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2"/>
  </p:notesMasterIdLst>
  <p:sldIdLst>
    <p:sldId id="258" r:id="rId2"/>
    <p:sldId id="287" r:id="rId3"/>
    <p:sldId id="288" r:id="rId4"/>
    <p:sldId id="289" r:id="rId5"/>
    <p:sldId id="259" r:id="rId6"/>
    <p:sldId id="262" r:id="rId7"/>
    <p:sldId id="263" r:id="rId8"/>
    <p:sldId id="264" r:id="rId9"/>
    <p:sldId id="265" r:id="rId10"/>
    <p:sldId id="266" r:id="rId11"/>
    <p:sldId id="267" r:id="rId12"/>
    <p:sldId id="268" r:id="rId13"/>
    <p:sldId id="269" r:id="rId14"/>
    <p:sldId id="270" r:id="rId15"/>
    <p:sldId id="271" r:id="rId16"/>
    <p:sldId id="272" r:id="rId17"/>
    <p:sldId id="273" r:id="rId18"/>
    <p:sldId id="274" r:id="rId19"/>
    <p:sldId id="275" r:id="rId20"/>
    <p:sldId id="276" r:id="rId21"/>
    <p:sldId id="277" r:id="rId22"/>
    <p:sldId id="284" r:id="rId23"/>
    <p:sldId id="278" r:id="rId24"/>
    <p:sldId id="279" r:id="rId25"/>
    <p:sldId id="280" r:id="rId26"/>
    <p:sldId id="281" r:id="rId27"/>
    <p:sldId id="282" r:id="rId28"/>
    <p:sldId id="283" r:id="rId29"/>
    <p:sldId id="285" r:id="rId30"/>
    <p:sldId id="286" r:id="rId3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4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FABAB"/>
    <a:srgbClr val="E7E6E6"/>
    <a:srgbClr val="4CC7C4"/>
    <a:srgbClr val="E2583D"/>
    <a:srgbClr val="3B3939"/>
    <a:srgbClr val="78D2D2"/>
    <a:srgbClr val="252323"/>
    <a:srgbClr val="767171"/>
    <a:srgbClr val="D63E20"/>
    <a:srgbClr val="E8786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5059" autoAdjust="0"/>
    <p:restoredTop sz="94660"/>
  </p:normalViewPr>
  <p:slideViewPr>
    <p:cSldViewPr snapToGrid="0" showGuides="1">
      <p:cViewPr varScale="1">
        <p:scale>
          <a:sx n="72" d="100"/>
          <a:sy n="72" d="100"/>
        </p:scale>
        <p:origin x="1002" y="78"/>
      </p:cViewPr>
      <p:guideLst>
        <p:guide orient="horz" pos="2184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c:spPr>
          <c:invertIfNegative val="0"/>
          <c:dPt>
            <c:idx val="0"/>
            <c:invertIfNegative val="0"/>
            <c:bubble3D val="0"/>
            <c:spPr>
              <a:solidFill>
                <a:srgbClr val="E2583D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1F01-4A44-BF02-33B3830054D2}"/>
              </c:ext>
            </c:extLst>
          </c:dPt>
          <c:dPt>
            <c:idx val="1"/>
            <c:invertIfNegative val="0"/>
            <c:bubble3D val="0"/>
            <c:spPr>
              <a:solidFill>
                <a:srgbClr val="AFABAB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1F01-4A44-BF02-33B3830054D2}"/>
              </c:ext>
            </c:extLst>
          </c:dPt>
          <c:dPt>
            <c:idx val="2"/>
            <c:invertIfNegative val="0"/>
            <c:bubble3D val="0"/>
            <c:spPr>
              <a:solidFill>
                <a:srgbClr val="78D2D2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1F01-4A44-BF02-33B3830054D2}"/>
              </c:ext>
            </c:extLst>
          </c:dPt>
          <c:dPt>
            <c:idx val="3"/>
            <c:invertIfNegative val="0"/>
            <c:bubble3D val="0"/>
            <c:spPr>
              <a:solidFill>
                <a:srgbClr val="3B3939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1F01-4A44-BF02-33B3830054D2}"/>
              </c:ext>
            </c:extLst>
          </c:dPt>
          <c:dPt>
            <c:idx val="4"/>
            <c:invertIfNegative val="0"/>
            <c:bubble3D val="0"/>
            <c:spPr>
              <a:solidFill>
                <a:srgbClr val="E2583D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9-1F01-4A44-BF02-33B3830054D2}"/>
              </c:ext>
            </c:extLst>
          </c:dPt>
          <c:dPt>
            <c:idx val="5"/>
            <c:invertIfNegative val="0"/>
            <c:bubble3D val="0"/>
            <c:spPr>
              <a:solidFill>
                <a:srgbClr val="AFABAB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B-1F01-4A44-BF02-33B3830054D2}"/>
              </c:ext>
            </c:extLst>
          </c:dPt>
          <c:dPt>
            <c:idx val="6"/>
            <c:invertIfNegative val="0"/>
            <c:bubble3D val="0"/>
            <c:spPr>
              <a:solidFill>
                <a:srgbClr val="78D2D2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D-1F01-4A44-BF02-33B3830054D2}"/>
              </c:ext>
            </c:extLst>
          </c:dPt>
          <c:dPt>
            <c:idx val="7"/>
            <c:invertIfNegative val="0"/>
            <c:bubble3D val="0"/>
            <c:spPr>
              <a:solidFill>
                <a:srgbClr val="3B3939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F-1F01-4A44-BF02-33B3830054D2}"/>
              </c:ext>
            </c:extLst>
          </c:dPt>
          <c:dPt>
            <c:idx val="8"/>
            <c:invertIfNegative val="0"/>
            <c:bubble3D val="0"/>
            <c:spPr>
              <a:solidFill>
                <a:srgbClr val="E2583D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11-1F01-4A44-BF02-33B3830054D2}"/>
              </c:ext>
            </c:extLst>
          </c:dPt>
          <c:cat>
            <c:numRef>
              <c:f>Sheet1!$A$2:$A$10</c:f>
              <c:numCache>
                <c:formatCode>h:mm\ AM/PM</c:formatCode>
                <c:ptCount val="9"/>
                <c:pt idx="0">
                  <c:v>0.375</c:v>
                </c:pt>
                <c:pt idx="1">
                  <c:v>0.41666666666666669</c:v>
                </c:pt>
                <c:pt idx="2">
                  <c:v>0.45833333333333331</c:v>
                </c:pt>
                <c:pt idx="3">
                  <c:v>0</c:v>
                </c:pt>
                <c:pt idx="4">
                  <c:v>0.54166666666666663</c:v>
                </c:pt>
                <c:pt idx="5">
                  <c:v>0.58333333333333337</c:v>
                </c:pt>
                <c:pt idx="6">
                  <c:v>0.625</c:v>
                </c:pt>
                <c:pt idx="7">
                  <c:v>0.66666666666666663</c:v>
                </c:pt>
                <c:pt idx="8">
                  <c:v>0.70833333333333337</c:v>
                </c:pt>
              </c:numCache>
            </c:numRef>
          </c:cat>
          <c:val>
            <c:numRef>
              <c:f>Sheet1!$B$2:$B$10</c:f>
              <c:numCache>
                <c:formatCode>General</c:formatCode>
                <c:ptCount val="9"/>
                <c:pt idx="0">
                  <c:v>20</c:v>
                </c:pt>
                <c:pt idx="1">
                  <c:v>30</c:v>
                </c:pt>
                <c:pt idx="2">
                  <c:v>40</c:v>
                </c:pt>
                <c:pt idx="3">
                  <c:v>15</c:v>
                </c:pt>
                <c:pt idx="4">
                  <c:v>20</c:v>
                </c:pt>
                <c:pt idx="5">
                  <c:v>40</c:v>
                </c:pt>
                <c:pt idx="6">
                  <c:v>50</c:v>
                </c:pt>
                <c:pt idx="7">
                  <c:v>45</c:v>
                </c:pt>
                <c:pt idx="8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1F01-4A44-BF02-33B3830054D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5"/>
        <c:overlap val="-3"/>
        <c:axId val="302773736"/>
        <c:axId val="302779224"/>
      </c:barChart>
      <c:catAx>
        <c:axId val="302773736"/>
        <c:scaling>
          <c:orientation val="minMax"/>
        </c:scaling>
        <c:delete val="1"/>
        <c:axPos val="b"/>
        <c:numFmt formatCode="h:mm\ AM/PM" sourceLinked="1"/>
        <c:majorTickMark val="none"/>
        <c:minorTickMark val="none"/>
        <c:tickLblPos val="nextTo"/>
        <c:crossAx val="302779224"/>
        <c:crosses val="autoZero"/>
        <c:auto val="1"/>
        <c:lblAlgn val="ctr"/>
        <c:lblOffset val="100"/>
        <c:noMultiLvlLbl val="0"/>
      </c:catAx>
      <c:valAx>
        <c:axId val="3027792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027737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ap="rnd">
              <a:solidFill>
                <a:schemeClr val="tx1">
                  <a:lumMod val="50000"/>
                  <a:lumOff val="50000"/>
                  <a:alpha val="60000"/>
                </a:schemeClr>
              </a:solidFill>
              <a:round/>
            </a:ln>
            <a:effectLst/>
          </c:spPr>
          <c:marker>
            <c:symbol val="none"/>
          </c:marker>
          <c:dPt>
            <c:idx val="2"/>
            <c:marker>
              <c:symbol val="circle"/>
              <c:size val="10"/>
              <c:spPr>
                <a:solidFill>
                  <a:srgbClr val="E2583D"/>
                </a:solidFill>
                <a:ln w="9525">
                  <a:noFill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6A8A-4AAC-8FCB-73C53B7AFD98}"/>
              </c:ext>
            </c:extLst>
          </c:dPt>
          <c:dPt>
            <c:idx val="4"/>
            <c:marker>
              <c:symbol val="circle"/>
              <c:size val="10"/>
              <c:spPr>
                <a:solidFill>
                  <a:srgbClr val="AFABAB"/>
                </a:solidFill>
                <a:ln w="9525">
                  <a:noFill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6A8A-4AAC-8FCB-73C53B7AFD98}"/>
              </c:ext>
            </c:extLst>
          </c:dPt>
          <c:dPt>
            <c:idx val="6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2-6A8A-4AAC-8FCB-73C53B7AFD98}"/>
              </c:ext>
            </c:extLst>
          </c:dPt>
          <c:dPt>
            <c:idx val="8"/>
            <c:marker>
              <c:symbol val="circle"/>
              <c:size val="10"/>
              <c:spPr>
                <a:solidFill>
                  <a:srgbClr val="78D2D2"/>
                </a:solidFill>
                <a:ln w="9525">
                  <a:noFill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6A8A-4AAC-8FCB-73C53B7AFD98}"/>
              </c:ext>
            </c:extLst>
          </c:dPt>
          <c:dPt>
            <c:idx val="9"/>
            <c:marker>
              <c:symbol val="circle"/>
              <c:size val="10"/>
              <c:spPr>
                <a:solidFill>
                  <a:srgbClr val="3B3939"/>
                </a:solidFill>
                <a:ln w="9525">
                  <a:noFill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6A8A-4AAC-8FCB-73C53B7AFD98}"/>
              </c:ext>
            </c:extLst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6A8A-4AAC-8FCB-73C53B7AFD98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6A8A-4AAC-8FCB-73C53B7AFD98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6A8A-4AAC-8FCB-73C53B7AFD98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6A8A-4AAC-8FCB-73C53B7AFD98}"/>
                </c:ext>
              </c:extLst>
            </c:dLbl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A8A-4AAC-8FCB-73C53B7AFD98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6A8A-4AAC-8FCB-73C53B7AFD98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6A8A-4AAC-8FCB-73C53B7AFD98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6A8A-4AAC-8FCB-73C53B7AFD98}"/>
                </c:ext>
              </c:extLst>
            </c:dLbl>
            <c:dLbl>
              <c:idx val="8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6A8A-4AAC-8FCB-73C53B7AFD98}"/>
                </c:ext>
              </c:extLst>
            </c:dLbl>
            <c:dLbl>
              <c:idx val="9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6A8A-4AAC-8FCB-73C53B7AFD9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1</c:f>
              <c:numCache>
                <c:formatCode>General</c:formatCode>
                <c:ptCount val="10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</c:v>
                </c:pt>
              </c:numCache>
            </c:num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0</c:v>
                </c:pt>
                <c:pt idx="1">
                  <c:v>5</c:v>
                </c:pt>
                <c:pt idx="2">
                  <c:v>20</c:v>
                </c:pt>
                <c:pt idx="3">
                  <c:v>12</c:v>
                </c:pt>
                <c:pt idx="4">
                  <c:v>15</c:v>
                </c:pt>
                <c:pt idx="5">
                  <c:v>7.6</c:v>
                </c:pt>
                <c:pt idx="6">
                  <c:v>8</c:v>
                </c:pt>
                <c:pt idx="7">
                  <c:v>7</c:v>
                </c:pt>
                <c:pt idx="8">
                  <c:v>17</c:v>
                </c:pt>
                <c:pt idx="9">
                  <c:v>15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A-6A8A-4AAC-8FCB-73C53B7AFD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88198120"/>
        <c:axId val="388200472"/>
      </c:lineChart>
      <c:catAx>
        <c:axId val="3881981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8200472"/>
        <c:crosses val="autoZero"/>
        <c:auto val="1"/>
        <c:lblAlgn val="ctr"/>
        <c:lblOffset val="100"/>
        <c:noMultiLvlLbl val="0"/>
      </c:catAx>
      <c:valAx>
        <c:axId val="3882004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81981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78D2D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1D8-4978-A219-A5B8698F3EA0}"/>
              </c:ext>
            </c:extLst>
          </c:dPt>
          <c:dPt>
            <c:idx val="1"/>
            <c:bubble3D val="0"/>
            <c:spPr>
              <a:solidFill>
                <a:srgbClr val="3B3939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1D8-4978-A219-A5B8698F3EA0}"/>
              </c:ext>
            </c:extLst>
          </c:dPt>
          <c:dPt>
            <c:idx val="2"/>
            <c:bubble3D val="0"/>
            <c:spPr>
              <a:solidFill>
                <a:srgbClr val="E2583D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31D8-4978-A219-A5B8698F3EA0}"/>
              </c:ext>
            </c:extLst>
          </c:dPt>
          <c:dPt>
            <c:idx val="3"/>
            <c:bubble3D val="0"/>
            <c:spPr>
              <a:solidFill>
                <a:srgbClr val="AFABAB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31D8-4978-A219-A5B8698F3EA0}"/>
              </c:ext>
            </c:extLst>
          </c:dPt>
          <c:cat>
            <c:strRef>
              <c:f>Sheet1!$A$2:$A$5</c:f>
              <c:strCache>
                <c:ptCount val="4"/>
                <c:pt idx="0">
                  <c:v>Lorem</c:v>
                </c:pt>
                <c:pt idx="1">
                  <c:v>Ipsum</c:v>
                </c:pt>
                <c:pt idx="2">
                  <c:v>Lorem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5</c:v>
                </c:pt>
                <c:pt idx="1">
                  <c:v>0.25</c:v>
                </c:pt>
                <c:pt idx="2">
                  <c:v>0.2</c:v>
                </c:pt>
                <c:pt idx="3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31D8-4978-A219-A5B8698F3E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852120571657516"/>
          <c:y val="0.32976544069893227"/>
          <c:w val="0.15101085913474083"/>
          <c:h val="0.3404687910922552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F448435-AB90-403D-BA16-051B234E3934}" type="datetimeFigureOut">
              <a:rPr lang="en-US" smtClean="0"/>
              <a:t>11/15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D86CDBC-8E74-4D41-8FD1-7E7D44F4E0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97327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446D3C-7248-4466-83D3-3CA300DE77F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7588629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86CDBC-8E74-4D41-8FD1-7E7D44F4E0DA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114490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86CDBC-8E74-4D41-8FD1-7E7D44F4E0DA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343651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86CDBC-8E74-4D41-8FD1-7E7D44F4E0DA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753159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86CDBC-8E74-4D41-8FD1-7E7D44F4E0DA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107995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86CDBC-8E74-4D41-8FD1-7E7D44F4E0DA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460221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86CDBC-8E74-4D41-8FD1-7E7D44F4E0DA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425185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86CDBC-8E74-4D41-8FD1-7E7D44F4E0DA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051564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E8EE67-7A75-494E-98A3-D8E57C5B2CB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470398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86CDBC-8E74-4D41-8FD1-7E7D44F4E0DA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774758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86CDBC-8E74-4D41-8FD1-7E7D44F4E0DA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721810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86CDBC-8E74-4D41-8FD1-7E7D44F4E0DA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570416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86CDBC-8E74-4D41-8FD1-7E7D44F4E0DA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503478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86CDBC-8E74-4D41-8FD1-7E7D44F4E0DA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441613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86CDBC-8E74-4D41-8FD1-7E7D44F4E0DA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809557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86CDBC-8E74-4D41-8FD1-7E7D44F4E0DA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81989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/>
          <p:cNvSpPr>
            <a:spLocks/>
          </p:cNvSpPr>
          <p:nvPr userDrawn="1"/>
        </p:nvSpPr>
        <p:spPr bwMode="auto">
          <a:xfrm>
            <a:off x="0" y="-639708"/>
            <a:ext cx="12192001" cy="8099370"/>
          </a:xfrm>
          <a:custGeom>
            <a:avLst/>
            <a:gdLst>
              <a:gd name="T0" fmla="*/ 471 w 542"/>
              <a:gd name="T1" fmla="*/ 110 h 359"/>
              <a:gd name="T2" fmla="*/ 494 w 542"/>
              <a:gd name="T3" fmla="*/ 124 h 359"/>
              <a:gd name="T4" fmla="*/ 473 w 542"/>
              <a:gd name="T5" fmla="*/ 118 h 359"/>
              <a:gd name="T6" fmla="*/ 352 w 542"/>
              <a:gd name="T7" fmla="*/ 60 h 359"/>
              <a:gd name="T8" fmla="*/ 361 w 542"/>
              <a:gd name="T9" fmla="*/ 68 h 359"/>
              <a:gd name="T10" fmla="*/ 315 w 542"/>
              <a:gd name="T11" fmla="*/ 52 h 359"/>
              <a:gd name="T12" fmla="*/ 341 w 542"/>
              <a:gd name="T13" fmla="*/ 68 h 359"/>
              <a:gd name="T14" fmla="*/ 369 w 542"/>
              <a:gd name="T15" fmla="*/ 86 h 359"/>
              <a:gd name="T16" fmla="*/ 325 w 542"/>
              <a:gd name="T17" fmla="*/ 66 h 359"/>
              <a:gd name="T18" fmla="*/ 304 w 542"/>
              <a:gd name="T19" fmla="*/ 63 h 359"/>
              <a:gd name="T20" fmla="*/ 254 w 542"/>
              <a:gd name="T21" fmla="*/ 49 h 359"/>
              <a:gd name="T22" fmla="*/ 302 w 542"/>
              <a:gd name="T23" fmla="*/ 75 h 359"/>
              <a:gd name="T24" fmla="*/ 245 w 542"/>
              <a:gd name="T25" fmla="*/ 49 h 359"/>
              <a:gd name="T26" fmla="*/ 240 w 542"/>
              <a:gd name="T27" fmla="*/ 54 h 359"/>
              <a:gd name="T28" fmla="*/ 217 w 542"/>
              <a:gd name="T29" fmla="*/ 54 h 359"/>
              <a:gd name="T30" fmla="*/ 215 w 542"/>
              <a:gd name="T31" fmla="*/ 65 h 359"/>
              <a:gd name="T32" fmla="*/ 211 w 542"/>
              <a:gd name="T33" fmla="*/ 69 h 359"/>
              <a:gd name="T34" fmla="*/ 270 w 542"/>
              <a:gd name="T35" fmla="*/ 101 h 359"/>
              <a:gd name="T36" fmla="*/ 242 w 542"/>
              <a:gd name="T37" fmla="*/ 92 h 359"/>
              <a:gd name="T38" fmla="*/ 149 w 542"/>
              <a:gd name="T39" fmla="*/ 52 h 359"/>
              <a:gd name="T40" fmla="*/ 101 w 542"/>
              <a:gd name="T41" fmla="*/ 27 h 359"/>
              <a:gd name="T42" fmla="*/ 123 w 542"/>
              <a:gd name="T43" fmla="*/ 42 h 359"/>
              <a:gd name="T44" fmla="*/ 159 w 542"/>
              <a:gd name="T45" fmla="*/ 62 h 359"/>
              <a:gd name="T46" fmla="*/ 118 w 542"/>
              <a:gd name="T47" fmla="*/ 46 h 359"/>
              <a:gd name="T48" fmla="*/ 108 w 542"/>
              <a:gd name="T49" fmla="*/ 52 h 359"/>
              <a:gd name="T50" fmla="*/ 14 w 542"/>
              <a:gd name="T51" fmla="*/ 2 h 359"/>
              <a:gd name="T52" fmla="*/ 36 w 542"/>
              <a:gd name="T53" fmla="*/ 19 h 359"/>
              <a:gd name="T54" fmla="*/ 35 w 542"/>
              <a:gd name="T55" fmla="*/ 27 h 359"/>
              <a:gd name="T56" fmla="*/ 21 w 542"/>
              <a:gd name="T57" fmla="*/ 35 h 359"/>
              <a:gd name="T58" fmla="*/ 0 w 542"/>
              <a:gd name="T59" fmla="*/ 108 h 359"/>
              <a:gd name="T60" fmla="*/ 3 w 542"/>
              <a:gd name="T61" fmla="*/ 221 h 359"/>
              <a:gd name="T62" fmla="*/ 75 w 542"/>
              <a:gd name="T63" fmla="*/ 257 h 359"/>
              <a:gd name="T64" fmla="*/ 99 w 542"/>
              <a:gd name="T65" fmla="*/ 264 h 359"/>
              <a:gd name="T66" fmla="*/ 28 w 542"/>
              <a:gd name="T67" fmla="*/ 229 h 359"/>
              <a:gd name="T68" fmla="*/ 169 w 542"/>
              <a:gd name="T69" fmla="*/ 290 h 359"/>
              <a:gd name="T70" fmla="*/ 204 w 542"/>
              <a:gd name="T71" fmla="*/ 306 h 359"/>
              <a:gd name="T72" fmla="*/ 218 w 542"/>
              <a:gd name="T73" fmla="*/ 308 h 359"/>
              <a:gd name="T74" fmla="*/ 208 w 542"/>
              <a:gd name="T75" fmla="*/ 294 h 359"/>
              <a:gd name="T76" fmla="*/ 150 w 542"/>
              <a:gd name="T77" fmla="*/ 267 h 359"/>
              <a:gd name="T78" fmla="*/ 226 w 542"/>
              <a:gd name="T79" fmla="*/ 299 h 359"/>
              <a:gd name="T80" fmla="*/ 250 w 542"/>
              <a:gd name="T81" fmla="*/ 305 h 359"/>
              <a:gd name="T82" fmla="*/ 275 w 542"/>
              <a:gd name="T83" fmla="*/ 305 h 359"/>
              <a:gd name="T84" fmla="*/ 242 w 542"/>
              <a:gd name="T85" fmla="*/ 287 h 359"/>
              <a:gd name="T86" fmla="*/ 263 w 542"/>
              <a:gd name="T87" fmla="*/ 294 h 359"/>
              <a:gd name="T88" fmla="*/ 307 w 542"/>
              <a:gd name="T89" fmla="*/ 304 h 359"/>
              <a:gd name="T90" fmla="*/ 317 w 542"/>
              <a:gd name="T91" fmla="*/ 302 h 359"/>
              <a:gd name="T92" fmla="*/ 328 w 542"/>
              <a:gd name="T93" fmla="*/ 298 h 359"/>
              <a:gd name="T94" fmla="*/ 344 w 542"/>
              <a:gd name="T95" fmla="*/ 299 h 359"/>
              <a:gd name="T96" fmla="*/ 277 w 542"/>
              <a:gd name="T97" fmla="*/ 263 h 359"/>
              <a:gd name="T98" fmla="*/ 293 w 542"/>
              <a:gd name="T99" fmla="*/ 267 h 359"/>
              <a:gd name="T100" fmla="*/ 380 w 542"/>
              <a:gd name="T101" fmla="*/ 302 h 359"/>
              <a:gd name="T102" fmla="*/ 448 w 542"/>
              <a:gd name="T103" fmla="*/ 334 h 359"/>
              <a:gd name="T104" fmla="*/ 414 w 542"/>
              <a:gd name="T105" fmla="*/ 314 h 359"/>
              <a:gd name="T106" fmla="*/ 385 w 542"/>
              <a:gd name="T107" fmla="*/ 303 h 359"/>
              <a:gd name="T108" fmla="*/ 396 w 542"/>
              <a:gd name="T109" fmla="*/ 300 h 359"/>
              <a:gd name="T110" fmla="*/ 460 w 542"/>
              <a:gd name="T111" fmla="*/ 320 h 359"/>
              <a:gd name="T112" fmla="*/ 519 w 542"/>
              <a:gd name="T113" fmla="*/ 351 h 359"/>
              <a:gd name="T114" fmla="*/ 509 w 542"/>
              <a:gd name="T115" fmla="*/ 341 h 359"/>
              <a:gd name="T116" fmla="*/ 503 w 542"/>
              <a:gd name="T117" fmla="*/ 328 h 359"/>
              <a:gd name="T118" fmla="*/ 504 w 542"/>
              <a:gd name="T119" fmla="*/ 317 h 359"/>
              <a:gd name="T120" fmla="*/ 541 w 542"/>
              <a:gd name="T121" fmla="*/ 254 h 359"/>
              <a:gd name="T122" fmla="*/ 542 w 542"/>
              <a:gd name="T123" fmla="*/ 147 h 3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42" h="359">
                <a:moveTo>
                  <a:pt x="542" y="144"/>
                </a:moveTo>
                <a:cubicBezTo>
                  <a:pt x="542" y="139"/>
                  <a:pt x="542" y="139"/>
                  <a:pt x="542" y="139"/>
                </a:cubicBezTo>
                <a:cubicBezTo>
                  <a:pt x="537" y="139"/>
                  <a:pt x="537" y="139"/>
                  <a:pt x="537" y="139"/>
                </a:cubicBezTo>
                <a:cubicBezTo>
                  <a:pt x="529" y="135"/>
                  <a:pt x="522" y="131"/>
                  <a:pt x="514" y="127"/>
                </a:cubicBezTo>
                <a:cubicBezTo>
                  <a:pt x="500" y="120"/>
                  <a:pt x="485" y="114"/>
                  <a:pt x="472" y="106"/>
                </a:cubicBezTo>
                <a:cubicBezTo>
                  <a:pt x="472" y="106"/>
                  <a:pt x="472" y="106"/>
                  <a:pt x="472" y="106"/>
                </a:cubicBezTo>
                <a:cubicBezTo>
                  <a:pt x="470" y="105"/>
                  <a:pt x="469" y="104"/>
                  <a:pt x="466" y="104"/>
                </a:cubicBezTo>
                <a:cubicBezTo>
                  <a:pt x="464" y="103"/>
                  <a:pt x="463" y="102"/>
                  <a:pt x="461" y="101"/>
                </a:cubicBezTo>
                <a:cubicBezTo>
                  <a:pt x="462" y="102"/>
                  <a:pt x="465" y="104"/>
                  <a:pt x="465" y="104"/>
                </a:cubicBezTo>
                <a:cubicBezTo>
                  <a:pt x="466" y="105"/>
                  <a:pt x="467" y="105"/>
                  <a:pt x="467" y="105"/>
                </a:cubicBezTo>
                <a:cubicBezTo>
                  <a:pt x="468" y="106"/>
                  <a:pt x="470" y="107"/>
                  <a:pt x="470" y="107"/>
                </a:cubicBezTo>
                <a:cubicBezTo>
                  <a:pt x="468" y="107"/>
                  <a:pt x="472" y="108"/>
                  <a:pt x="471" y="109"/>
                </a:cubicBezTo>
                <a:cubicBezTo>
                  <a:pt x="470" y="109"/>
                  <a:pt x="469" y="108"/>
                  <a:pt x="469" y="108"/>
                </a:cubicBezTo>
                <a:cubicBezTo>
                  <a:pt x="469" y="109"/>
                  <a:pt x="471" y="109"/>
                  <a:pt x="472" y="110"/>
                </a:cubicBezTo>
                <a:cubicBezTo>
                  <a:pt x="473" y="110"/>
                  <a:pt x="475" y="111"/>
                  <a:pt x="475" y="112"/>
                </a:cubicBezTo>
                <a:cubicBezTo>
                  <a:pt x="474" y="111"/>
                  <a:pt x="472" y="110"/>
                  <a:pt x="471" y="110"/>
                </a:cubicBezTo>
                <a:cubicBezTo>
                  <a:pt x="471" y="110"/>
                  <a:pt x="470" y="110"/>
                  <a:pt x="470" y="110"/>
                </a:cubicBezTo>
                <a:cubicBezTo>
                  <a:pt x="472" y="111"/>
                  <a:pt x="473" y="111"/>
                  <a:pt x="475" y="112"/>
                </a:cubicBezTo>
                <a:cubicBezTo>
                  <a:pt x="476" y="113"/>
                  <a:pt x="477" y="113"/>
                  <a:pt x="479" y="114"/>
                </a:cubicBezTo>
                <a:cubicBezTo>
                  <a:pt x="479" y="114"/>
                  <a:pt x="479" y="115"/>
                  <a:pt x="478" y="115"/>
                </a:cubicBezTo>
                <a:cubicBezTo>
                  <a:pt x="476" y="114"/>
                  <a:pt x="474" y="112"/>
                  <a:pt x="472" y="111"/>
                </a:cubicBezTo>
                <a:cubicBezTo>
                  <a:pt x="468" y="109"/>
                  <a:pt x="463" y="107"/>
                  <a:pt x="458" y="105"/>
                </a:cubicBezTo>
                <a:cubicBezTo>
                  <a:pt x="458" y="105"/>
                  <a:pt x="457" y="105"/>
                  <a:pt x="457" y="104"/>
                </a:cubicBezTo>
                <a:cubicBezTo>
                  <a:pt x="456" y="104"/>
                  <a:pt x="454" y="103"/>
                  <a:pt x="453" y="102"/>
                </a:cubicBezTo>
                <a:cubicBezTo>
                  <a:pt x="452" y="102"/>
                  <a:pt x="451" y="101"/>
                  <a:pt x="449" y="101"/>
                </a:cubicBezTo>
                <a:cubicBezTo>
                  <a:pt x="447" y="100"/>
                  <a:pt x="446" y="99"/>
                  <a:pt x="443" y="98"/>
                </a:cubicBezTo>
                <a:cubicBezTo>
                  <a:pt x="443" y="99"/>
                  <a:pt x="445" y="100"/>
                  <a:pt x="448" y="101"/>
                </a:cubicBezTo>
                <a:cubicBezTo>
                  <a:pt x="452" y="104"/>
                  <a:pt x="456" y="106"/>
                  <a:pt x="460" y="106"/>
                </a:cubicBezTo>
                <a:cubicBezTo>
                  <a:pt x="465" y="109"/>
                  <a:pt x="469" y="111"/>
                  <a:pt x="474" y="113"/>
                </a:cubicBezTo>
                <a:cubicBezTo>
                  <a:pt x="477" y="115"/>
                  <a:pt x="481" y="116"/>
                  <a:pt x="484" y="118"/>
                </a:cubicBezTo>
                <a:cubicBezTo>
                  <a:pt x="486" y="119"/>
                  <a:pt x="488" y="120"/>
                  <a:pt x="490" y="121"/>
                </a:cubicBezTo>
                <a:cubicBezTo>
                  <a:pt x="491" y="122"/>
                  <a:pt x="493" y="123"/>
                  <a:pt x="494" y="124"/>
                </a:cubicBezTo>
                <a:cubicBezTo>
                  <a:pt x="492" y="123"/>
                  <a:pt x="491" y="122"/>
                  <a:pt x="489" y="121"/>
                </a:cubicBezTo>
                <a:cubicBezTo>
                  <a:pt x="489" y="121"/>
                  <a:pt x="488" y="121"/>
                  <a:pt x="487" y="121"/>
                </a:cubicBezTo>
                <a:cubicBezTo>
                  <a:pt x="487" y="121"/>
                  <a:pt x="487" y="121"/>
                  <a:pt x="487" y="121"/>
                </a:cubicBezTo>
                <a:cubicBezTo>
                  <a:pt x="487" y="121"/>
                  <a:pt x="489" y="122"/>
                  <a:pt x="491" y="123"/>
                </a:cubicBezTo>
                <a:cubicBezTo>
                  <a:pt x="491" y="123"/>
                  <a:pt x="492" y="124"/>
                  <a:pt x="492" y="124"/>
                </a:cubicBezTo>
                <a:cubicBezTo>
                  <a:pt x="494" y="125"/>
                  <a:pt x="495" y="125"/>
                  <a:pt x="496" y="126"/>
                </a:cubicBezTo>
                <a:cubicBezTo>
                  <a:pt x="498" y="126"/>
                  <a:pt x="499" y="127"/>
                  <a:pt x="501" y="127"/>
                </a:cubicBezTo>
                <a:cubicBezTo>
                  <a:pt x="501" y="127"/>
                  <a:pt x="501" y="128"/>
                  <a:pt x="501" y="128"/>
                </a:cubicBezTo>
                <a:cubicBezTo>
                  <a:pt x="503" y="130"/>
                  <a:pt x="504" y="131"/>
                  <a:pt x="507" y="131"/>
                </a:cubicBezTo>
                <a:cubicBezTo>
                  <a:pt x="510" y="132"/>
                  <a:pt x="511" y="133"/>
                  <a:pt x="514" y="134"/>
                </a:cubicBezTo>
                <a:cubicBezTo>
                  <a:pt x="514" y="135"/>
                  <a:pt x="513" y="135"/>
                  <a:pt x="510" y="135"/>
                </a:cubicBezTo>
                <a:cubicBezTo>
                  <a:pt x="512" y="136"/>
                  <a:pt x="514" y="136"/>
                  <a:pt x="515" y="137"/>
                </a:cubicBezTo>
                <a:cubicBezTo>
                  <a:pt x="515" y="137"/>
                  <a:pt x="515" y="137"/>
                  <a:pt x="515" y="137"/>
                </a:cubicBezTo>
                <a:cubicBezTo>
                  <a:pt x="505" y="133"/>
                  <a:pt x="494" y="128"/>
                  <a:pt x="485" y="123"/>
                </a:cubicBezTo>
                <a:cubicBezTo>
                  <a:pt x="484" y="123"/>
                  <a:pt x="483" y="123"/>
                  <a:pt x="482" y="122"/>
                </a:cubicBezTo>
                <a:cubicBezTo>
                  <a:pt x="479" y="121"/>
                  <a:pt x="476" y="119"/>
                  <a:pt x="473" y="118"/>
                </a:cubicBezTo>
                <a:cubicBezTo>
                  <a:pt x="472" y="117"/>
                  <a:pt x="471" y="117"/>
                  <a:pt x="471" y="117"/>
                </a:cubicBezTo>
                <a:cubicBezTo>
                  <a:pt x="470" y="117"/>
                  <a:pt x="469" y="117"/>
                  <a:pt x="468" y="117"/>
                </a:cubicBezTo>
                <a:cubicBezTo>
                  <a:pt x="455" y="110"/>
                  <a:pt x="444" y="104"/>
                  <a:pt x="430" y="97"/>
                </a:cubicBezTo>
                <a:cubicBezTo>
                  <a:pt x="430" y="96"/>
                  <a:pt x="428" y="95"/>
                  <a:pt x="426" y="94"/>
                </a:cubicBezTo>
                <a:cubicBezTo>
                  <a:pt x="425" y="94"/>
                  <a:pt x="425" y="93"/>
                  <a:pt x="421" y="92"/>
                </a:cubicBezTo>
                <a:cubicBezTo>
                  <a:pt x="421" y="92"/>
                  <a:pt x="418" y="92"/>
                  <a:pt x="417" y="91"/>
                </a:cubicBezTo>
                <a:cubicBezTo>
                  <a:pt x="412" y="89"/>
                  <a:pt x="409" y="87"/>
                  <a:pt x="403" y="84"/>
                </a:cubicBezTo>
                <a:cubicBezTo>
                  <a:pt x="405" y="86"/>
                  <a:pt x="409" y="87"/>
                  <a:pt x="409" y="89"/>
                </a:cubicBezTo>
                <a:cubicBezTo>
                  <a:pt x="399" y="84"/>
                  <a:pt x="390" y="80"/>
                  <a:pt x="382" y="76"/>
                </a:cubicBezTo>
                <a:cubicBezTo>
                  <a:pt x="380" y="74"/>
                  <a:pt x="378" y="73"/>
                  <a:pt x="374" y="72"/>
                </a:cubicBezTo>
                <a:cubicBezTo>
                  <a:pt x="374" y="72"/>
                  <a:pt x="373" y="71"/>
                  <a:pt x="373" y="71"/>
                </a:cubicBezTo>
                <a:cubicBezTo>
                  <a:pt x="371" y="69"/>
                  <a:pt x="366" y="68"/>
                  <a:pt x="364" y="66"/>
                </a:cubicBezTo>
                <a:cubicBezTo>
                  <a:pt x="363" y="66"/>
                  <a:pt x="363" y="66"/>
                  <a:pt x="363" y="66"/>
                </a:cubicBezTo>
                <a:cubicBezTo>
                  <a:pt x="363" y="66"/>
                  <a:pt x="363" y="66"/>
                  <a:pt x="363" y="66"/>
                </a:cubicBezTo>
                <a:cubicBezTo>
                  <a:pt x="363" y="66"/>
                  <a:pt x="363" y="66"/>
                  <a:pt x="364" y="66"/>
                </a:cubicBezTo>
                <a:cubicBezTo>
                  <a:pt x="361" y="64"/>
                  <a:pt x="356" y="62"/>
                  <a:pt x="352" y="60"/>
                </a:cubicBezTo>
                <a:cubicBezTo>
                  <a:pt x="347" y="57"/>
                  <a:pt x="342" y="54"/>
                  <a:pt x="340" y="52"/>
                </a:cubicBezTo>
                <a:cubicBezTo>
                  <a:pt x="339" y="52"/>
                  <a:pt x="338" y="51"/>
                  <a:pt x="338" y="51"/>
                </a:cubicBezTo>
                <a:cubicBezTo>
                  <a:pt x="334" y="49"/>
                  <a:pt x="328" y="46"/>
                  <a:pt x="324" y="44"/>
                </a:cubicBezTo>
                <a:cubicBezTo>
                  <a:pt x="323" y="43"/>
                  <a:pt x="321" y="42"/>
                  <a:pt x="318" y="42"/>
                </a:cubicBezTo>
                <a:cubicBezTo>
                  <a:pt x="317" y="41"/>
                  <a:pt x="316" y="41"/>
                  <a:pt x="314" y="40"/>
                </a:cubicBezTo>
                <a:cubicBezTo>
                  <a:pt x="314" y="40"/>
                  <a:pt x="313" y="40"/>
                  <a:pt x="313" y="40"/>
                </a:cubicBezTo>
                <a:cubicBezTo>
                  <a:pt x="313" y="40"/>
                  <a:pt x="313" y="40"/>
                  <a:pt x="313" y="40"/>
                </a:cubicBezTo>
                <a:cubicBezTo>
                  <a:pt x="316" y="42"/>
                  <a:pt x="321" y="45"/>
                  <a:pt x="326" y="47"/>
                </a:cubicBezTo>
                <a:cubicBezTo>
                  <a:pt x="328" y="48"/>
                  <a:pt x="331" y="49"/>
                  <a:pt x="331" y="50"/>
                </a:cubicBezTo>
                <a:cubicBezTo>
                  <a:pt x="338" y="52"/>
                  <a:pt x="333" y="53"/>
                  <a:pt x="338" y="54"/>
                </a:cubicBezTo>
                <a:cubicBezTo>
                  <a:pt x="338" y="54"/>
                  <a:pt x="338" y="54"/>
                  <a:pt x="338" y="54"/>
                </a:cubicBezTo>
                <a:cubicBezTo>
                  <a:pt x="339" y="55"/>
                  <a:pt x="339" y="56"/>
                  <a:pt x="342" y="57"/>
                </a:cubicBezTo>
                <a:cubicBezTo>
                  <a:pt x="345" y="59"/>
                  <a:pt x="349" y="60"/>
                  <a:pt x="351" y="62"/>
                </a:cubicBezTo>
                <a:cubicBezTo>
                  <a:pt x="353" y="63"/>
                  <a:pt x="354" y="63"/>
                  <a:pt x="356" y="63"/>
                </a:cubicBezTo>
                <a:cubicBezTo>
                  <a:pt x="356" y="64"/>
                  <a:pt x="354" y="64"/>
                  <a:pt x="357" y="65"/>
                </a:cubicBezTo>
                <a:cubicBezTo>
                  <a:pt x="357" y="66"/>
                  <a:pt x="361" y="67"/>
                  <a:pt x="361" y="68"/>
                </a:cubicBezTo>
                <a:cubicBezTo>
                  <a:pt x="361" y="68"/>
                  <a:pt x="360" y="68"/>
                  <a:pt x="360" y="68"/>
                </a:cubicBezTo>
                <a:cubicBezTo>
                  <a:pt x="358" y="67"/>
                  <a:pt x="359" y="68"/>
                  <a:pt x="359" y="69"/>
                </a:cubicBezTo>
                <a:cubicBezTo>
                  <a:pt x="355" y="68"/>
                  <a:pt x="352" y="66"/>
                  <a:pt x="352" y="66"/>
                </a:cubicBezTo>
                <a:cubicBezTo>
                  <a:pt x="352" y="64"/>
                  <a:pt x="350" y="63"/>
                  <a:pt x="346" y="62"/>
                </a:cubicBezTo>
                <a:cubicBezTo>
                  <a:pt x="344" y="62"/>
                  <a:pt x="342" y="61"/>
                  <a:pt x="341" y="60"/>
                </a:cubicBezTo>
                <a:cubicBezTo>
                  <a:pt x="340" y="59"/>
                  <a:pt x="338" y="58"/>
                  <a:pt x="336" y="58"/>
                </a:cubicBezTo>
                <a:cubicBezTo>
                  <a:pt x="336" y="58"/>
                  <a:pt x="336" y="58"/>
                  <a:pt x="335" y="58"/>
                </a:cubicBezTo>
                <a:cubicBezTo>
                  <a:pt x="332" y="56"/>
                  <a:pt x="328" y="54"/>
                  <a:pt x="324" y="53"/>
                </a:cubicBezTo>
                <a:cubicBezTo>
                  <a:pt x="324" y="53"/>
                  <a:pt x="324" y="53"/>
                  <a:pt x="324" y="53"/>
                </a:cubicBezTo>
                <a:cubicBezTo>
                  <a:pt x="324" y="53"/>
                  <a:pt x="324" y="53"/>
                  <a:pt x="324" y="53"/>
                </a:cubicBezTo>
                <a:cubicBezTo>
                  <a:pt x="324" y="53"/>
                  <a:pt x="324" y="53"/>
                  <a:pt x="324" y="53"/>
                </a:cubicBezTo>
                <a:cubicBezTo>
                  <a:pt x="322" y="51"/>
                  <a:pt x="319" y="50"/>
                  <a:pt x="317" y="49"/>
                </a:cubicBezTo>
                <a:cubicBezTo>
                  <a:pt x="313" y="48"/>
                  <a:pt x="310" y="46"/>
                  <a:pt x="306" y="44"/>
                </a:cubicBezTo>
                <a:cubicBezTo>
                  <a:pt x="307" y="46"/>
                  <a:pt x="317" y="49"/>
                  <a:pt x="315" y="51"/>
                </a:cubicBezTo>
                <a:cubicBezTo>
                  <a:pt x="314" y="50"/>
                  <a:pt x="314" y="51"/>
                  <a:pt x="314" y="52"/>
                </a:cubicBezTo>
                <a:cubicBezTo>
                  <a:pt x="314" y="52"/>
                  <a:pt x="314" y="52"/>
                  <a:pt x="315" y="52"/>
                </a:cubicBezTo>
                <a:cubicBezTo>
                  <a:pt x="317" y="53"/>
                  <a:pt x="319" y="53"/>
                  <a:pt x="322" y="54"/>
                </a:cubicBezTo>
                <a:cubicBezTo>
                  <a:pt x="322" y="55"/>
                  <a:pt x="323" y="55"/>
                  <a:pt x="324" y="55"/>
                </a:cubicBezTo>
                <a:cubicBezTo>
                  <a:pt x="325" y="56"/>
                  <a:pt x="326" y="56"/>
                  <a:pt x="326" y="57"/>
                </a:cubicBezTo>
                <a:cubicBezTo>
                  <a:pt x="332" y="59"/>
                  <a:pt x="336" y="62"/>
                  <a:pt x="340" y="65"/>
                </a:cubicBezTo>
                <a:cubicBezTo>
                  <a:pt x="338" y="65"/>
                  <a:pt x="336" y="63"/>
                  <a:pt x="334" y="63"/>
                </a:cubicBezTo>
                <a:cubicBezTo>
                  <a:pt x="334" y="64"/>
                  <a:pt x="338" y="65"/>
                  <a:pt x="339" y="66"/>
                </a:cubicBezTo>
                <a:cubicBezTo>
                  <a:pt x="339" y="66"/>
                  <a:pt x="339" y="66"/>
                  <a:pt x="338" y="66"/>
                </a:cubicBezTo>
                <a:cubicBezTo>
                  <a:pt x="338" y="66"/>
                  <a:pt x="338" y="66"/>
                  <a:pt x="338" y="66"/>
                </a:cubicBezTo>
                <a:cubicBezTo>
                  <a:pt x="338" y="66"/>
                  <a:pt x="338" y="67"/>
                  <a:pt x="337" y="66"/>
                </a:cubicBezTo>
                <a:cubicBezTo>
                  <a:pt x="334" y="65"/>
                  <a:pt x="333" y="65"/>
                  <a:pt x="332" y="65"/>
                </a:cubicBezTo>
                <a:cubicBezTo>
                  <a:pt x="331" y="65"/>
                  <a:pt x="333" y="66"/>
                  <a:pt x="334" y="67"/>
                </a:cubicBezTo>
                <a:cubicBezTo>
                  <a:pt x="337" y="68"/>
                  <a:pt x="340" y="69"/>
                  <a:pt x="341" y="70"/>
                </a:cubicBezTo>
                <a:cubicBezTo>
                  <a:pt x="343" y="72"/>
                  <a:pt x="345" y="72"/>
                  <a:pt x="347" y="72"/>
                </a:cubicBezTo>
                <a:cubicBezTo>
                  <a:pt x="349" y="73"/>
                  <a:pt x="351" y="74"/>
                  <a:pt x="355" y="76"/>
                </a:cubicBezTo>
                <a:cubicBezTo>
                  <a:pt x="353" y="74"/>
                  <a:pt x="351" y="73"/>
                  <a:pt x="347" y="72"/>
                </a:cubicBezTo>
                <a:cubicBezTo>
                  <a:pt x="345" y="71"/>
                  <a:pt x="343" y="70"/>
                  <a:pt x="341" y="68"/>
                </a:cubicBezTo>
                <a:cubicBezTo>
                  <a:pt x="339" y="68"/>
                  <a:pt x="339" y="67"/>
                  <a:pt x="341" y="67"/>
                </a:cubicBezTo>
                <a:cubicBezTo>
                  <a:pt x="343" y="68"/>
                  <a:pt x="346" y="69"/>
                  <a:pt x="347" y="68"/>
                </a:cubicBezTo>
                <a:cubicBezTo>
                  <a:pt x="347" y="69"/>
                  <a:pt x="348" y="69"/>
                  <a:pt x="349" y="69"/>
                </a:cubicBezTo>
                <a:cubicBezTo>
                  <a:pt x="349" y="70"/>
                  <a:pt x="351" y="71"/>
                  <a:pt x="353" y="72"/>
                </a:cubicBezTo>
                <a:cubicBezTo>
                  <a:pt x="359" y="75"/>
                  <a:pt x="364" y="78"/>
                  <a:pt x="370" y="81"/>
                </a:cubicBezTo>
                <a:cubicBezTo>
                  <a:pt x="373" y="83"/>
                  <a:pt x="375" y="84"/>
                  <a:pt x="380" y="86"/>
                </a:cubicBezTo>
                <a:cubicBezTo>
                  <a:pt x="382" y="88"/>
                  <a:pt x="388" y="90"/>
                  <a:pt x="390" y="92"/>
                </a:cubicBezTo>
                <a:cubicBezTo>
                  <a:pt x="391" y="93"/>
                  <a:pt x="393" y="94"/>
                  <a:pt x="394" y="95"/>
                </a:cubicBezTo>
                <a:cubicBezTo>
                  <a:pt x="395" y="96"/>
                  <a:pt x="396" y="96"/>
                  <a:pt x="396" y="97"/>
                </a:cubicBezTo>
                <a:cubicBezTo>
                  <a:pt x="397" y="97"/>
                  <a:pt x="397" y="98"/>
                  <a:pt x="398" y="98"/>
                </a:cubicBezTo>
                <a:cubicBezTo>
                  <a:pt x="396" y="97"/>
                  <a:pt x="394" y="96"/>
                  <a:pt x="392" y="95"/>
                </a:cubicBezTo>
                <a:cubicBezTo>
                  <a:pt x="390" y="95"/>
                  <a:pt x="390" y="94"/>
                  <a:pt x="388" y="94"/>
                </a:cubicBezTo>
                <a:cubicBezTo>
                  <a:pt x="387" y="93"/>
                  <a:pt x="385" y="92"/>
                  <a:pt x="384" y="92"/>
                </a:cubicBezTo>
                <a:cubicBezTo>
                  <a:pt x="384" y="92"/>
                  <a:pt x="384" y="93"/>
                  <a:pt x="383" y="93"/>
                </a:cubicBezTo>
                <a:cubicBezTo>
                  <a:pt x="380" y="91"/>
                  <a:pt x="378" y="90"/>
                  <a:pt x="374" y="88"/>
                </a:cubicBezTo>
                <a:cubicBezTo>
                  <a:pt x="372" y="87"/>
                  <a:pt x="370" y="87"/>
                  <a:pt x="369" y="86"/>
                </a:cubicBezTo>
                <a:cubicBezTo>
                  <a:pt x="369" y="86"/>
                  <a:pt x="370" y="85"/>
                  <a:pt x="369" y="85"/>
                </a:cubicBezTo>
                <a:cubicBezTo>
                  <a:pt x="367" y="84"/>
                  <a:pt x="367" y="85"/>
                  <a:pt x="367" y="85"/>
                </a:cubicBezTo>
                <a:cubicBezTo>
                  <a:pt x="365" y="84"/>
                  <a:pt x="364" y="83"/>
                  <a:pt x="362" y="83"/>
                </a:cubicBezTo>
                <a:cubicBezTo>
                  <a:pt x="362" y="83"/>
                  <a:pt x="362" y="83"/>
                  <a:pt x="362" y="83"/>
                </a:cubicBezTo>
                <a:cubicBezTo>
                  <a:pt x="356" y="78"/>
                  <a:pt x="346" y="74"/>
                  <a:pt x="338" y="70"/>
                </a:cubicBezTo>
                <a:cubicBezTo>
                  <a:pt x="334" y="67"/>
                  <a:pt x="330" y="65"/>
                  <a:pt x="326" y="63"/>
                </a:cubicBezTo>
                <a:cubicBezTo>
                  <a:pt x="324" y="61"/>
                  <a:pt x="321" y="60"/>
                  <a:pt x="318" y="59"/>
                </a:cubicBezTo>
                <a:cubicBezTo>
                  <a:pt x="317" y="58"/>
                  <a:pt x="317" y="57"/>
                  <a:pt x="314" y="57"/>
                </a:cubicBezTo>
                <a:cubicBezTo>
                  <a:pt x="309" y="56"/>
                  <a:pt x="312" y="57"/>
                  <a:pt x="312" y="58"/>
                </a:cubicBezTo>
                <a:cubicBezTo>
                  <a:pt x="311" y="57"/>
                  <a:pt x="310" y="57"/>
                  <a:pt x="308" y="56"/>
                </a:cubicBezTo>
                <a:cubicBezTo>
                  <a:pt x="310" y="58"/>
                  <a:pt x="313" y="60"/>
                  <a:pt x="316" y="61"/>
                </a:cubicBezTo>
                <a:cubicBezTo>
                  <a:pt x="315" y="61"/>
                  <a:pt x="314" y="62"/>
                  <a:pt x="316" y="62"/>
                </a:cubicBezTo>
                <a:cubicBezTo>
                  <a:pt x="319" y="64"/>
                  <a:pt x="321" y="65"/>
                  <a:pt x="325" y="66"/>
                </a:cubicBezTo>
                <a:cubicBezTo>
                  <a:pt x="325" y="66"/>
                  <a:pt x="325" y="66"/>
                  <a:pt x="325" y="67"/>
                </a:cubicBezTo>
                <a:cubicBezTo>
                  <a:pt x="325" y="67"/>
                  <a:pt x="325" y="67"/>
                  <a:pt x="325" y="67"/>
                </a:cubicBezTo>
                <a:cubicBezTo>
                  <a:pt x="325" y="67"/>
                  <a:pt x="325" y="66"/>
                  <a:pt x="325" y="66"/>
                </a:cubicBezTo>
                <a:cubicBezTo>
                  <a:pt x="325" y="67"/>
                  <a:pt x="322" y="67"/>
                  <a:pt x="327" y="68"/>
                </a:cubicBezTo>
                <a:cubicBezTo>
                  <a:pt x="328" y="69"/>
                  <a:pt x="330" y="70"/>
                  <a:pt x="328" y="70"/>
                </a:cubicBezTo>
                <a:cubicBezTo>
                  <a:pt x="328" y="70"/>
                  <a:pt x="328" y="70"/>
                  <a:pt x="328" y="70"/>
                </a:cubicBezTo>
                <a:cubicBezTo>
                  <a:pt x="328" y="70"/>
                  <a:pt x="328" y="70"/>
                  <a:pt x="328" y="70"/>
                </a:cubicBezTo>
                <a:cubicBezTo>
                  <a:pt x="328" y="70"/>
                  <a:pt x="328" y="70"/>
                  <a:pt x="328" y="70"/>
                </a:cubicBezTo>
                <a:cubicBezTo>
                  <a:pt x="323" y="67"/>
                  <a:pt x="319" y="65"/>
                  <a:pt x="312" y="62"/>
                </a:cubicBezTo>
                <a:cubicBezTo>
                  <a:pt x="311" y="62"/>
                  <a:pt x="310" y="61"/>
                  <a:pt x="309" y="60"/>
                </a:cubicBezTo>
                <a:cubicBezTo>
                  <a:pt x="306" y="60"/>
                  <a:pt x="310" y="62"/>
                  <a:pt x="310" y="62"/>
                </a:cubicBezTo>
                <a:cubicBezTo>
                  <a:pt x="309" y="62"/>
                  <a:pt x="308" y="62"/>
                  <a:pt x="307" y="62"/>
                </a:cubicBezTo>
                <a:cubicBezTo>
                  <a:pt x="303" y="61"/>
                  <a:pt x="301" y="59"/>
                  <a:pt x="298" y="58"/>
                </a:cubicBezTo>
                <a:cubicBezTo>
                  <a:pt x="296" y="57"/>
                  <a:pt x="294" y="55"/>
                  <a:pt x="292" y="55"/>
                </a:cubicBezTo>
                <a:cubicBezTo>
                  <a:pt x="289" y="55"/>
                  <a:pt x="295" y="57"/>
                  <a:pt x="296" y="58"/>
                </a:cubicBezTo>
                <a:cubicBezTo>
                  <a:pt x="296" y="58"/>
                  <a:pt x="296" y="58"/>
                  <a:pt x="296" y="58"/>
                </a:cubicBezTo>
                <a:cubicBezTo>
                  <a:pt x="296" y="58"/>
                  <a:pt x="296" y="58"/>
                  <a:pt x="296" y="58"/>
                </a:cubicBezTo>
                <a:cubicBezTo>
                  <a:pt x="295" y="58"/>
                  <a:pt x="295" y="58"/>
                  <a:pt x="294" y="58"/>
                </a:cubicBezTo>
                <a:cubicBezTo>
                  <a:pt x="297" y="60"/>
                  <a:pt x="302" y="61"/>
                  <a:pt x="304" y="63"/>
                </a:cubicBezTo>
                <a:cubicBezTo>
                  <a:pt x="305" y="63"/>
                  <a:pt x="305" y="64"/>
                  <a:pt x="306" y="64"/>
                </a:cubicBezTo>
                <a:cubicBezTo>
                  <a:pt x="306" y="64"/>
                  <a:pt x="305" y="64"/>
                  <a:pt x="304" y="64"/>
                </a:cubicBezTo>
                <a:cubicBezTo>
                  <a:pt x="304" y="65"/>
                  <a:pt x="304" y="65"/>
                  <a:pt x="305" y="66"/>
                </a:cubicBezTo>
                <a:cubicBezTo>
                  <a:pt x="311" y="69"/>
                  <a:pt x="311" y="69"/>
                  <a:pt x="305" y="69"/>
                </a:cubicBezTo>
                <a:cubicBezTo>
                  <a:pt x="305" y="69"/>
                  <a:pt x="305" y="69"/>
                  <a:pt x="305" y="69"/>
                </a:cubicBezTo>
                <a:cubicBezTo>
                  <a:pt x="305" y="69"/>
                  <a:pt x="305" y="69"/>
                  <a:pt x="305" y="69"/>
                </a:cubicBezTo>
                <a:cubicBezTo>
                  <a:pt x="305" y="69"/>
                  <a:pt x="305" y="69"/>
                  <a:pt x="305" y="69"/>
                </a:cubicBezTo>
                <a:cubicBezTo>
                  <a:pt x="303" y="69"/>
                  <a:pt x="303" y="67"/>
                  <a:pt x="300" y="67"/>
                </a:cubicBezTo>
                <a:cubicBezTo>
                  <a:pt x="298" y="68"/>
                  <a:pt x="301" y="69"/>
                  <a:pt x="302" y="69"/>
                </a:cubicBezTo>
                <a:cubicBezTo>
                  <a:pt x="303" y="70"/>
                  <a:pt x="303" y="71"/>
                  <a:pt x="301" y="70"/>
                </a:cubicBezTo>
                <a:cubicBezTo>
                  <a:pt x="295" y="68"/>
                  <a:pt x="289" y="67"/>
                  <a:pt x="284" y="64"/>
                </a:cubicBezTo>
                <a:cubicBezTo>
                  <a:pt x="284" y="64"/>
                  <a:pt x="283" y="63"/>
                  <a:pt x="284" y="63"/>
                </a:cubicBezTo>
                <a:cubicBezTo>
                  <a:pt x="284" y="63"/>
                  <a:pt x="286" y="64"/>
                  <a:pt x="287" y="64"/>
                </a:cubicBezTo>
                <a:cubicBezTo>
                  <a:pt x="282" y="61"/>
                  <a:pt x="272" y="58"/>
                  <a:pt x="267" y="55"/>
                </a:cubicBezTo>
                <a:cubicBezTo>
                  <a:pt x="265" y="54"/>
                  <a:pt x="262" y="52"/>
                  <a:pt x="258" y="50"/>
                </a:cubicBezTo>
                <a:cubicBezTo>
                  <a:pt x="257" y="50"/>
                  <a:pt x="256" y="49"/>
                  <a:pt x="254" y="49"/>
                </a:cubicBezTo>
                <a:cubicBezTo>
                  <a:pt x="252" y="49"/>
                  <a:pt x="253" y="50"/>
                  <a:pt x="255" y="50"/>
                </a:cubicBezTo>
                <a:cubicBezTo>
                  <a:pt x="259" y="52"/>
                  <a:pt x="255" y="52"/>
                  <a:pt x="255" y="52"/>
                </a:cubicBezTo>
                <a:cubicBezTo>
                  <a:pt x="254" y="52"/>
                  <a:pt x="253" y="52"/>
                  <a:pt x="253" y="52"/>
                </a:cubicBezTo>
                <a:cubicBezTo>
                  <a:pt x="255" y="53"/>
                  <a:pt x="255" y="54"/>
                  <a:pt x="260" y="55"/>
                </a:cubicBezTo>
                <a:cubicBezTo>
                  <a:pt x="261" y="54"/>
                  <a:pt x="259" y="53"/>
                  <a:pt x="259" y="53"/>
                </a:cubicBezTo>
                <a:cubicBezTo>
                  <a:pt x="262" y="54"/>
                  <a:pt x="262" y="55"/>
                  <a:pt x="264" y="55"/>
                </a:cubicBezTo>
                <a:cubicBezTo>
                  <a:pt x="269" y="57"/>
                  <a:pt x="269" y="59"/>
                  <a:pt x="274" y="61"/>
                </a:cubicBezTo>
                <a:cubicBezTo>
                  <a:pt x="276" y="62"/>
                  <a:pt x="278" y="63"/>
                  <a:pt x="280" y="64"/>
                </a:cubicBezTo>
                <a:cubicBezTo>
                  <a:pt x="280" y="64"/>
                  <a:pt x="279" y="65"/>
                  <a:pt x="280" y="66"/>
                </a:cubicBezTo>
                <a:cubicBezTo>
                  <a:pt x="282" y="67"/>
                  <a:pt x="284" y="68"/>
                  <a:pt x="286" y="69"/>
                </a:cubicBezTo>
                <a:cubicBezTo>
                  <a:pt x="286" y="69"/>
                  <a:pt x="287" y="69"/>
                  <a:pt x="287" y="69"/>
                </a:cubicBezTo>
                <a:cubicBezTo>
                  <a:pt x="285" y="68"/>
                  <a:pt x="283" y="67"/>
                  <a:pt x="281" y="66"/>
                </a:cubicBezTo>
                <a:cubicBezTo>
                  <a:pt x="286" y="66"/>
                  <a:pt x="287" y="68"/>
                  <a:pt x="290" y="69"/>
                </a:cubicBezTo>
                <a:cubicBezTo>
                  <a:pt x="291" y="71"/>
                  <a:pt x="297" y="73"/>
                  <a:pt x="300" y="74"/>
                </a:cubicBezTo>
                <a:cubicBezTo>
                  <a:pt x="300" y="75"/>
                  <a:pt x="301" y="75"/>
                  <a:pt x="302" y="75"/>
                </a:cubicBezTo>
                <a:cubicBezTo>
                  <a:pt x="302" y="75"/>
                  <a:pt x="302" y="75"/>
                  <a:pt x="302" y="75"/>
                </a:cubicBezTo>
                <a:cubicBezTo>
                  <a:pt x="302" y="75"/>
                  <a:pt x="302" y="75"/>
                  <a:pt x="302" y="75"/>
                </a:cubicBezTo>
                <a:cubicBezTo>
                  <a:pt x="302" y="75"/>
                  <a:pt x="302" y="75"/>
                  <a:pt x="302" y="75"/>
                </a:cubicBezTo>
                <a:cubicBezTo>
                  <a:pt x="306" y="77"/>
                  <a:pt x="308" y="79"/>
                  <a:pt x="313" y="80"/>
                </a:cubicBezTo>
                <a:cubicBezTo>
                  <a:pt x="313" y="80"/>
                  <a:pt x="313" y="80"/>
                  <a:pt x="313" y="80"/>
                </a:cubicBezTo>
                <a:cubicBezTo>
                  <a:pt x="313" y="80"/>
                  <a:pt x="313" y="80"/>
                  <a:pt x="313" y="80"/>
                </a:cubicBezTo>
                <a:cubicBezTo>
                  <a:pt x="314" y="81"/>
                  <a:pt x="316" y="82"/>
                  <a:pt x="318" y="83"/>
                </a:cubicBezTo>
                <a:cubicBezTo>
                  <a:pt x="319" y="84"/>
                  <a:pt x="322" y="85"/>
                  <a:pt x="325" y="86"/>
                </a:cubicBezTo>
                <a:cubicBezTo>
                  <a:pt x="327" y="87"/>
                  <a:pt x="328" y="88"/>
                  <a:pt x="330" y="89"/>
                </a:cubicBezTo>
                <a:cubicBezTo>
                  <a:pt x="330" y="89"/>
                  <a:pt x="330" y="90"/>
                  <a:pt x="330" y="90"/>
                </a:cubicBezTo>
                <a:cubicBezTo>
                  <a:pt x="332" y="91"/>
                  <a:pt x="335" y="92"/>
                  <a:pt x="334" y="93"/>
                </a:cubicBezTo>
                <a:cubicBezTo>
                  <a:pt x="328" y="90"/>
                  <a:pt x="324" y="88"/>
                  <a:pt x="317" y="85"/>
                </a:cubicBezTo>
                <a:cubicBezTo>
                  <a:pt x="306" y="80"/>
                  <a:pt x="296" y="74"/>
                  <a:pt x="285" y="69"/>
                </a:cubicBezTo>
                <a:cubicBezTo>
                  <a:pt x="284" y="68"/>
                  <a:pt x="282" y="68"/>
                  <a:pt x="281" y="67"/>
                </a:cubicBezTo>
                <a:cubicBezTo>
                  <a:pt x="280" y="67"/>
                  <a:pt x="280" y="67"/>
                  <a:pt x="279" y="66"/>
                </a:cubicBezTo>
                <a:cubicBezTo>
                  <a:pt x="273" y="64"/>
                  <a:pt x="268" y="61"/>
                  <a:pt x="262" y="58"/>
                </a:cubicBezTo>
                <a:cubicBezTo>
                  <a:pt x="256" y="55"/>
                  <a:pt x="249" y="52"/>
                  <a:pt x="245" y="49"/>
                </a:cubicBezTo>
                <a:cubicBezTo>
                  <a:pt x="244" y="48"/>
                  <a:pt x="241" y="47"/>
                  <a:pt x="239" y="45"/>
                </a:cubicBezTo>
                <a:cubicBezTo>
                  <a:pt x="240" y="46"/>
                  <a:pt x="241" y="46"/>
                  <a:pt x="242" y="46"/>
                </a:cubicBezTo>
                <a:cubicBezTo>
                  <a:pt x="242" y="45"/>
                  <a:pt x="240" y="45"/>
                  <a:pt x="238" y="44"/>
                </a:cubicBezTo>
                <a:cubicBezTo>
                  <a:pt x="237" y="44"/>
                  <a:pt x="238" y="45"/>
                  <a:pt x="238" y="45"/>
                </a:cubicBezTo>
                <a:cubicBezTo>
                  <a:pt x="237" y="45"/>
                  <a:pt x="236" y="44"/>
                  <a:pt x="233" y="44"/>
                </a:cubicBezTo>
                <a:cubicBezTo>
                  <a:pt x="238" y="46"/>
                  <a:pt x="239" y="47"/>
                  <a:pt x="243" y="49"/>
                </a:cubicBezTo>
                <a:cubicBezTo>
                  <a:pt x="245" y="50"/>
                  <a:pt x="246" y="51"/>
                  <a:pt x="248" y="52"/>
                </a:cubicBezTo>
                <a:cubicBezTo>
                  <a:pt x="252" y="55"/>
                  <a:pt x="258" y="58"/>
                  <a:pt x="262" y="60"/>
                </a:cubicBezTo>
                <a:cubicBezTo>
                  <a:pt x="261" y="60"/>
                  <a:pt x="262" y="61"/>
                  <a:pt x="262" y="61"/>
                </a:cubicBezTo>
                <a:cubicBezTo>
                  <a:pt x="263" y="62"/>
                  <a:pt x="263" y="63"/>
                  <a:pt x="262" y="63"/>
                </a:cubicBezTo>
                <a:cubicBezTo>
                  <a:pt x="260" y="63"/>
                  <a:pt x="258" y="62"/>
                  <a:pt x="257" y="61"/>
                </a:cubicBezTo>
                <a:cubicBezTo>
                  <a:pt x="254" y="60"/>
                  <a:pt x="250" y="59"/>
                  <a:pt x="246" y="57"/>
                </a:cubicBezTo>
                <a:cubicBezTo>
                  <a:pt x="242" y="56"/>
                  <a:pt x="240" y="56"/>
                  <a:pt x="238" y="57"/>
                </a:cubicBezTo>
                <a:cubicBezTo>
                  <a:pt x="238" y="57"/>
                  <a:pt x="236" y="57"/>
                  <a:pt x="235" y="56"/>
                </a:cubicBezTo>
                <a:cubicBezTo>
                  <a:pt x="234" y="55"/>
                  <a:pt x="234" y="55"/>
                  <a:pt x="236" y="55"/>
                </a:cubicBezTo>
                <a:cubicBezTo>
                  <a:pt x="239" y="56"/>
                  <a:pt x="238" y="54"/>
                  <a:pt x="240" y="54"/>
                </a:cubicBezTo>
                <a:cubicBezTo>
                  <a:pt x="236" y="53"/>
                  <a:pt x="232" y="52"/>
                  <a:pt x="228" y="50"/>
                </a:cubicBezTo>
                <a:cubicBezTo>
                  <a:pt x="229" y="52"/>
                  <a:pt x="230" y="52"/>
                  <a:pt x="230" y="53"/>
                </a:cubicBezTo>
                <a:cubicBezTo>
                  <a:pt x="228" y="53"/>
                  <a:pt x="223" y="51"/>
                  <a:pt x="224" y="53"/>
                </a:cubicBezTo>
                <a:cubicBezTo>
                  <a:pt x="225" y="55"/>
                  <a:pt x="225" y="55"/>
                  <a:pt x="221" y="55"/>
                </a:cubicBezTo>
                <a:cubicBezTo>
                  <a:pt x="225" y="57"/>
                  <a:pt x="228" y="58"/>
                  <a:pt x="232" y="59"/>
                </a:cubicBezTo>
                <a:cubicBezTo>
                  <a:pt x="232" y="59"/>
                  <a:pt x="233" y="59"/>
                  <a:pt x="233" y="59"/>
                </a:cubicBezTo>
                <a:cubicBezTo>
                  <a:pt x="233" y="59"/>
                  <a:pt x="233" y="60"/>
                  <a:pt x="232" y="60"/>
                </a:cubicBezTo>
                <a:cubicBezTo>
                  <a:pt x="230" y="60"/>
                  <a:pt x="232" y="60"/>
                  <a:pt x="233" y="61"/>
                </a:cubicBezTo>
                <a:cubicBezTo>
                  <a:pt x="234" y="61"/>
                  <a:pt x="234" y="61"/>
                  <a:pt x="234" y="61"/>
                </a:cubicBezTo>
                <a:cubicBezTo>
                  <a:pt x="234" y="61"/>
                  <a:pt x="234" y="62"/>
                  <a:pt x="236" y="62"/>
                </a:cubicBezTo>
                <a:cubicBezTo>
                  <a:pt x="238" y="63"/>
                  <a:pt x="238" y="64"/>
                  <a:pt x="236" y="64"/>
                </a:cubicBezTo>
                <a:cubicBezTo>
                  <a:pt x="235" y="64"/>
                  <a:pt x="238" y="65"/>
                  <a:pt x="238" y="65"/>
                </a:cubicBezTo>
                <a:cubicBezTo>
                  <a:pt x="236" y="65"/>
                  <a:pt x="235" y="64"/>
                  <a:pt x="234" y="63"/>
                </a:cubicBezTo>
                <a:cubicBezTo>
                  <a:pt x="232" y="62"/>
                  <a:pt x="228" y="60"/>
                  <a:pt x="225" y="58"/>
                </a:cubicBezTo>
                <a:cubicBezTo>
                  <a:pt x="224" y="58"/>
                  <a:pt x="222" y="57"/>
                  <a:pt x="220" y="56"/>
                </a:cubicBezTo>
                <a:cubicBezTo>
                  <a:pt x="219" y="55"/>
                  <a:pt x="218" y="55"/>
                  <a:pt x="217" y="54"/>
                </a:cubicBezTo>
                <a:cubicBezTo>
                  <a:pt x="216" y="54"/>
                  <a:pt x="215" y="53"/>
                  <a:pt x="215" y="53"/>
                </a:cubicBezTo>
                <a:cubicBezTo>
                  <a:pt x="215" y="53"/>
                  <a:pt x="214" y="52"/>
                  <a:pt x="213" y="52"/>
                </a:cubicBezTo>
                <a:cubicBezTo>
                  <a:pt x="212" y="53"/>
                  <a:pt x="211" y="52"/>
                  <a:pt x="210" y="52"/>
                </a:cubicBezTo>
                <a:cubicBezTo>
                  <a:pt x="210" y="52"/>
                  <a:pt x="211" y="52"/>
                  <a:pt x="212" y="53"/>
                </a:cubicBezTo>
                <a:cubicBezTo>
                  <a:pt x="213" y="53"/>
                  <a:pt x="214" y="54"/>
                  <a:pt x="216" y="54"/>
                </a:cubicBezTo>
                <a:cubicBezTo>
                  <a:pt x="221" y="57"/>
                  <a:pt x="225" y="60"/>
                  <a:pt x="233" y="63"/>
                </a:cubicBezTo>
                <a:cubicBezTo>
                  <a:pt x="237" y="67"/>
                  <a:pt x="244" y="70"/>
                  <a:pt x="250" y="73"/>
                </a:cubicBezTo>
                <a:cubicBezTo>
                  <a:pt x="253" y="74"/>
                  <a:pt x="255" y="76"/>
                  <a:pt x="258" y="77"/>
                </a:cubicBezTo>
                <a:cubicBezTo>
                  <a:pt x="259" y="79"/>
                  <a:pt x="263" y="80"/>
                  <a:pt x="266" y="82"/>
                </a:cubicBezTo>
                <a:cubicBezTo>
                  <a:pt x="262" y="81"/>
                  <a:pt x="258" y="81"/>
                  <a:pt x="253" y="79"/>
                </a:cubicBezTo>
                <a:cubicBezTo>
                  <a:pt x="248" y="77"/>
                  <a:pt x="243" y="75"/>
                  <a:pt x="239" y="73"/>
                </a:cubicBezTo>
                <a:cubicBezTo>
                  <a:pt x="233" y="69"/>
                  <a:pt x="228" y="66"/>
                  <a:pt x="220" y="63"/>
                </a:cubicBezTo>
                <a:cubicBezTo>
                  <a:pt x="217" y="61"/>
                  <a:pt x="212" y="60"/>
                  <a:pt x="208" y="59"/>
                </a:cubicBezTo>
                <a:cubicBezTo>
                  <a:pt x="207" y="60"/>
                  <a:pt x="211" y="62"/>
                  <a:pt x="214" y="63"/>
                </a:cubicBezTo>
                <a:cubicBezTo>
                  <a:pt x="216" y="63"/>
                  <a:pt x="219" y="64"/>
                  <a:pt x="219" y="65"/>
                </a:cubicBezTo>
                <a:cubicBezTo>
                  <a:pt x="219" y="65"/>
                  <a:pt x="217" y="65"/>
                  <a:pt x="215" y="65"/>
                </a:cubicBezTo>
                <a:cubicBezTo>
                  <a:pt x="214" y="65"/>
                  <a:pt x="212" y="64"/>
                  <a:pt x="211" y="65"/>
                </a:cubicBezTo>
                <a:cubicBezTo>
                  <a:pt x="211" y="64"/>
                  <a:pt x="210" y="64"/>
                  <a:pt x="209" y="63"/>
                </a:cubicBezTo>
                <a:cubicBezTo>
                  <a:pt x="209" y="63"/>
                  <a:pt x="209" y="63"/>
                  <a:pt x="209" y="62"/>
                </a:cubicBezTo>
                <a:cubicBezTo>
                  <a:pt x="209" y="62"/>
                  <a:pt x="209" y="62"/>
                  <a:pt x="209" y="62"/>
                </a:cubicBezTo>
                <a:cubicBezTo>
                  <a:pt x="210" y="63"/>
                  <a:pt x="212" y="64"/>
                  <a:pt x="212" y="63"/>
                </a:cubicBezTo>
                <a:cubicBezTo>
                  <a:pt x="212" y="63"/>
                  <a:pt x="212" y="62"/>
                  <a:pt x="208" y="61"/>
                </a:cubicBezTo>
                <a:cubicBezTo>
                  <a:pt x="208" y="61"/>
                  <a:pt x="207" y="61"/>
                  <a:pt x="207" y="61"/>
                </a:cubicBezTo>
                <a:cubicBezTo>
                  <a:pt x="205" y="60"/>
                  <a:pt x="203" y="59"/>
                  <a:pt x="201" y="58"/>
                </a:cubicBezTo>
                <a:cubicBezTo>
                  <a:pt x="201" y="58"/>
                  <a:pt x="200" y="58"/>
                  <a:pt x="200" y="58"/>
                </a:cubicBezTo>
                <a:cubicBezTo>
                  <a:pt x="202" y="59"/>
                  <a:pt x="204" y="60"/>
                  <a:pt x="206" y="61"/>
                </a:cubicBezTo>
                <a:cubicBezTo>
                  <a:pt x="207" y="62"/>
                  <a:pt x="207" y="62"/>
                  <a:pt x="205" y="62"/>
                </a:cubicBezTo>
                <a:cubicBezTo>
                  <a:pt x="203" y="62"/>
                  <a:pt x="202" y="62"/>
                  <a:pt x="201" y="62"/>
                </a:cubicBezTo>
                <a:cubicBezTo>
                  <a:pt x="200" y="61"/>
                  <a:pt x="199" y="60"/>
                  <a:pt x="195" y="59"/>
                </a:cubicBezTo>
                <a:cubicBezTo>
                  <a:pt x="196" y="60"/>
                  <a:pt x="197" y="61"/>
                  <a:pt x="198" y="62"/>
                </a:cubicBezTo>
                <a:cubicBezTo>
                  <a:pt x="199" y="64"/>
                  <a:pt x="203" y="65"/>
                  <a:pt x="207" y="67"/>
                </a:cubicBezTo>
                <a:cubicBezTo>
                  <a:pt x="208" y="68"/>
                  <a:pt x="209" y="68"/>
                  <a:pt x="211" y="69"/>
                </a:cubicBezTo>
                <a:cubicBezTo>
                  <a:pt x="211" y="69"/>
                  <a:pt x="211" y="69"/>
                  <a:pt x="212" y="70"/>
                </a:cubicBezTo>
                <a:cubicBezTo>
                  <a:pt x="212" y="70"/>
                  <a:pt x="213" y="71"/>
                  <a:pt x="215" y="71"/>
                </a:cubicBezTo>
                <a:cubicBezTo>
                  <a:pt x="216" y="72"/>
                  <a:pt x="217" y="72"/>
                  <a:pt x="217" y="72"/>
                </a:cubicBezTo>
                <a:cubicBezTo>
                  <a:pt x="215" y="73"/>
                  <a:pt x="219" y="74"/>
                  <a:pt x="218" y="75"/>
                </a:cubicBezTo>
                <a:cubicBezTo>
                  <a:pt x="217" y="74"/>
                  <a:pt x="213" y="73"/>
                  <a:pt x="213" y="74"/>
                </a:cubicBezTo>
                <a:cubicBezTo>
                  <a:pt x="212" y="74"/>
                  <a:pt x="214" y="75"/>
                  <a:pt x="216" y="76"/>
                </a:cubicBezTo>
                <a:cubicBezTo>
                  <a:pt x="218" y="77"/>
                  <a:pt x="219" y="77"/>
                  <a:pt x="220" y="78"/>
                </a:cubicBezTo>
                <a:cubicBezTo>
                  <a:pt x="221" y="80"/>
                  <a:pt x="224" y="82"/>
                  <a:pt x="231" y="83"/>
                </a:cubicBezTo>
                <a:cubicBezTo>
                  <a:pt x="232" y="85"/>
                  <a:pt x="238" y="87"/>
                  <a:pt x="241" y="88"/>
                </a:cubicBezTo>
                <a:cubicBezTo>
                  <a:pt x="246" y="91"/>
                  <a:pt x="252" y="94"/>
                  <a:pt x="258" y="97"/>
                </a:cubicBezTo>
                <a:cubicBezTo>
                  <a:pt x="259" y="98"/>
                  <a:pt x="261" y="99"/>
                  <a:pt x="266" y="101"/>
                </a:cubicBezTo>
                <a:cubicBezTo>
                  <a:pt x="264" y="99"/>
                  <a:pt x="261" y="98"/>
                  <a:pt x="259" y="97"/>
                </a:cubicBezTo>
                <a:cubicBezTo>
                  <a:pt x="257" y="96"/>
                  <a:pt x="256" y="95"/>
                  <a:pt x="254" y="94"/>
                </a:cubicBezTo>
                <a:cubicBezTo>
                  <a:pt x="260" y="96"/>
                  <a:pt x="261" y="98"/>
                  <a:pt x="265" y="99"/>
                </a:cubicBezTo>
                <a:cubicBezTo>
                  <a:pt x="267" y="100"/>
                  <a:pt x="269" y="101"/>
                  <a:pt x="270" y="101"/>
                </a:cubicBezTo>
                <a:cubicBezTo>
                  <a:pt x="270" y="101"/>
                  <a:pt x="270" y="101"/>
                  <a:pt x="270" y="101"/>
                </a:cubicBezTo>
                <a:cubicBezTo>
                  <a:pt x="270" y="102"/>
                  <a:pt x="270" y="102"/>
                  <a:pt x="272" y="103"/>
                </a:cubicBezTo>
                <a:cubicBezTo>
                  <a:pt x="274" y="104"/>
                  <a:pt x="274" y="103"/>
                  <a:pt x="274" y="103"/>
                </a:cubicBezTo>
                <a:cubicBezTo>
                  <a:pt x="277" y="104"/>
                  <a:pt x="280" y="105"/>
                  <a:pt x="282" y="107"/>
                </a:cubicBezTo>
                <a:cubicBezTo>
                  <a:pt x="282" y="107"/>
                  <a:pt x="281" y="107"/>
                  <a:pt x="280" y="106"/>
                </a:cubicBezTo>
                <a:cubicBezTo>
                  <a:pt x="279" y="106"/>
                  <a:pt x="278" y="105"/>
                  <a:pt x="277" y="106"/>
                </a:cubicBezTo>
                <a:cubicBezTo>
                  <a:pt x="273" y="105"/>
                  <a:pt x="270" y="104"/>
                  <a:pt x="269" y="102"/>
                </a:cubicBezTo>
                <a:cubicBezTo>
                  <a:pt x="268" y="102"/>
                  <a:pt x="267" y="101"/>
                  <a:pt x="266" y="101"/>
                </a:cubicBezTo>
                <a:cubicBezTo>
                  <a:pt x="265" y="101"/>
                  <a:pt x="266" y="102"/>
                  <a:pt x="267" y="102"/>
                </a:cubicBezTo>
                <a:cubicBezTo>
                  <a:pt x="266" y="102"/>
                  <a:pt x="265" y="102"/>
                  <a:pt x="265" y="102"/>
                </a:cubicBezTo>
                <a:cubicBezTo>
                  <a:pt x="264" y="102"/>
                  <a:pt x="263" y="101"/>
                  <a:pt x="262" y="101"/>
                </a:cubicBezTo>
                <a:cubicBezTo>
                  <a:pt x="257" y="99"/>
                  <a:pt x="253" y="96"/>
                  <a:pt x="248" y="94"/>
                </a:cubicBezTo>
                <a:cubicBezTo>
                  <a:pt x="248" y="94"/>
                  <a:pt x="248" y="94"/>
                  <a:pt x="248" y="95"/>
                </a:cubicBezTo>
                <a:cubicBezTo>
                  <a:pt x="248" y="95"/>
                  <a:pt x="249" y="95"/>
                  <a:pt x="249" y="95"/>
                </a:cubicBezTo>
                <a:cubicBezTo>
                  <a:pt x="249" y="95"/>
                  <a:pt x="249" y="95"/>
                  <a:pt x="249" y="95"/>
                </a:cubicBezTo>
                <a:cubicBezTo>
                  <a:pt x="249" y="95"/>
                  <a:pt x="249" y="95"/>
                  <a:pt x="249" y="95"/>
                </a:cubicBezTo>
                <a:cubicBezTo>
                  <a:pt x="246" y="95"/>
                  <a:pt x="243" y="94"/>
                  <a:pt x="242" y="92"/>
                </a:cubicBezTo>
                <a:cubicBezTo>
                  <a:pt x="241" y="92"/>
                  <a:pt x="239" y="90"/>
                  <a:pt x="236" y="90"/>
                </a:cubicBezTo>
                <a:cubicBezTo>
                  <a:pt x="235" y="90"/>
                  <a:pt x="234" y="90"/>
                  <a:pt x="234" y="90"/>
                </a:cubicBezTo>
                <a:cubicBezTo>
                  <a:pt x="232" y="91"/>
                  <a:pt x="235" y="92"/>
                  <a:pt x="237" y="92"/>
                </a:cubicBezTo>
                <a:cubicBezTo>
                  <a:pt x="244" y="96"/>
                  <a:pt x="253" y="100"/>
                  <a:pt x="260" y="103"/>
                </a:cubicBezTo>
                <a:cubicBezTo>
                  <a:pt x="260" y="103"/>
                  <a:pt x="260" y="103"/>
                  <a:pt x="260" y="103"/>
                </a:cubicBezTo>
                <a:cubicBezTo>
                  <a:pt x="263" y="105"/>
                  <a:pt x="270" y="107"/>
                  <a:pt x="271" y="109"/>
                </a:cubicBezTo>
                <a:cubicBezTo>
                  <a:pt x="261" y="105"/>
                  <a:pt x="252" y="101"/>
                  <a:pt x="243" y="96"/>
                </a:cubicBezTo>
                <a:cubicBezTo>
                  <a:pt x="234" y="91"/>
                  <a:pt x="224" y="87"/>
                  <a:pt x="212" y="82"/>
                </a:cubicBezTo>
                <a:cubicBezTo>
                  <a:pt x="210" y="81"/>
                  <a:pt x="208" y="80"/>
                  <a:pt x="206" y="79"/>
                </a:cubicBezTo>
                <a:cubicBezTo>
                  <a:pt x="202" y="76"/>
                  <a:pt x="195" y="73"/>
                  <a:pt x="190" y="70"/>
                </a:cubicBezTo>
                <a:cubicBezTo>
                  <a:pt x="189" y="70"/>
                  <a:pt x="193" y="71"/>
                  <a:pt x="193" y="72"/>
                </a:cubicBezTo>
                <a:cubicBezTo>
                  <a:pt x="188" y="71"/>
                  <a:pt x="184" y="69"/>
                  <a:pt x="181" y="67"/>
                </a:cubicBezTo>
                <a:cubicBezTo>
                  <a:pt x="179" y="65"/>
                  <a:pt x="177" y="64"/>
                  <a:pt x="171" y="63"/>
                </a:cubicBezTo>
                <a:cubicBezTo>
                  <a:pt x="166" y="62"/>
                  <a:pt x="165" y="60"/>
                  <a:pt x="162" y="59"/>
                </a:cubicBezTo>
                <a:cubicBezTo>
                  <a:pt x="162" y="59"/>
                  <a:pt x="162" y="59"/>
                  <a:pt x="162" y="59"/>
                </a:cubicBezTo>
                <a:cubicBezTo>
                  <a:pt x="157" y="57"/>
                  <a:pt x="153" y="54"/>
                  <a:pt x="149" y="52"/>
                </a:cubicBezTo>
                <a:cubicBezTo>
                  <a:pt x="152" y="53"/>
                  <a:pt x="153" y="54"/>
                  <a:pt x="155" y="55"/>
                </a:cubicBezTo>
                <a:cubicBezTo>
                  <a:pt x="156" y="55"/>
                  <a:pt x="158" y="56"/>
                  <a:pt x="161" y="57"/>
                </a:cubicBezTo>
                <a:cubicBezTo>
                  <a:pt x="160" y="56"/>
                  <a:pt x="159" y="55"/>
                  <a:pt x="156" y="55"/>
                </a:cubicBezTo>
                <a:cubicBezTo>
                  <a:pt x="153" y="53"/>
                  <a:pt x="151" y="52"/>
                  <a:pt x="148" y="50"/>
                </a:cubicBezTo>
                <a:cubicBezTo>
                  <a:pt x="146" y="49"/>
                  <a:pt x="145" y="49"/>
                  <a:pt x="143" y="48"/>
                </a:cubicBezTo>
                <a:cubicBezTo>
                  <a:pt x="143" y="48"/>
                  <a:pt x="142" y="48"/>
                  <a:pt x="142" y="48"/>
                </a:cubicBezTo>
                <a:cubicBezTo>
                  <a:pt x="144" y="49"/>
                  <a:pt x="145" y="49"/>
                  <a:pt x="146" y="50"/>
                </a:cubicBezTo>
                <a:cubicBezTo>
                  <a:pt x="146" y="50"/>
                  <a:pt x="145" y="50"/>
                  <a:pt x="145" y="50"/>
                </a:cubicBezTo>
                <a:cubicBezTo>
                  <a:pt x="140" y="47"/>
                  <a:pt x="132" y="44"/>
                  <a:pt x="129" y="41"/>
                </a:cubicBezTo>
                <a:cubicBezTo>
                  <a:pt x="126" y="40"/>
                  <a:pt x="124" y="39"/>
                  <a:pt x="121" y="38"/>
                </a:cubicBezTo>
                <a:cubicBezTo>
                  <a:pt x="121" y="37"/>
                  <a:pt x="120" y="36"/>
                  <a:pt x="116" y="34"/>
                </a:cubicBezTo>
                <a:cubicBezTo>
                  <a:pt x="113" y="32"/>
                  <a:pt x="106" y="30"/>
                  <a:pt x="100" y="28"/>
                </a:cubicBezTo>
                <a:cubicBezTo>
                  <a:pt x="100" y="28"/>
                  <a:pt x="100" y="28"/>
                  <a:pt x="99" y="28"/>
                </a:cubicBezTo>
                <a:cubicBezTo>
                  <a:pt x="98" y="27"/>
                  <a:pt x="96" y="26"/>
                  <a:pt x="94" y="25"/>
                </a:cubicBezTo>
                <a:cubicBezTo>
                  <a:pt x="92" y="24"/>
                  <a:pt x="94" y="24"/>
                  <a:pt x="96" y="25"/>
                </a:cubicBezTo>
                <a:cubicBezTo>
                  <a:pt x="97" y="25"/>
                  <a:pt x="98" y="26"/>
                  <a:pt x="101" y="27"/>
                </a:cubicBezTo>
                <a:cubicBezTo>
                  <a:pt x="100" y="26"/>
                  <a:pt x="98" y="25"/>
                  <a:pt x="97" y="25"/>
                </a:cubicBezTo>
                <a:cubicBezTo>
                  <a:pt x="96" y="24"/>
                  <a:pt x="95" y="24"/>
                  <a:pt x="94" y="24"/>
                </a:cubicBezTo>
                <a:cubicBezTo>
                  <a:pt x="90" y="21"/>
                  <a:pt x="83" y="17"/>
                  <a:pt x="77" y="14"/>
                </a:cubicBezTo>
                <a:cubicBezTo>
                  <a:pt x="75" y="13"/>
                  <a:pt x="74" y="12"/>
                  <a:pt x="69" y="11"/>
                </a:cubicBezTo>
                <a:cubicBezTo>
                  <a:pt x="70" y="12"/>
                  <a:pt x="73" y="13"/>
                  <a:pt x="76" y="14"/>
                </a:cubicBezTo>
                <a:cubicBezTo>
                  <a:pt x="79" y="16"/>
                  <a:pt x="83" y="18"/>
                  <a:pt x="87" y="20"/>
                </a:cubicBezTo>
                <a:cubicBezTo>
                  <a:pt x="85" y="21"/>
                  <a:pt x="90" y="24"/>
                  <a:pt x="92" y="25"/>
                </a:cubicBezTo>
                <a:cubicBezTo>
                  <a:pt x="93" y="27"/>
                  <a:pt x="96" y="28"/>
                  <a:pt x="98" y="29"/>
                </a:cubicBezTo>
                <a:cubicBezTo>
                  <a:pt x="98" y="30"/>
                  <a:pt x="101" y="31"/>
                  <a:pt x="103" y="31"/>
                </a:cubicBezTo>
                <a:cubicBezTo>
                  <a:pt x="108" y="33"/>
                  <a:pt x="113" y="35"/>
                  <a:pt x="110" y="36"/>
                </a:cubicBezTo>
                <a:cubicBezTo>
                  <a:pt x="109" y="37"/>
                  <a:pt x="111" y="38"/>
                  <a:pt x="115" y="39"/>
                </a:cubicBezTo>
                <a:cubicBezTo>
                  <a:pt x="117" y="40"/>
                  <a:pt x="119" y="41"/>
                  <a:pt x="121" y="42"/>
                </a:cubicBezTo>
                <a:cubicBezTo>
                  <a:pt x="122" y="42"/>
                  <a:pt x="124" y="43"/>
                  <a:pt x="125" y="44"/>
                </a:cubicBezTo>
                <a:cubicBezTo>
                  <a:pt x="125" y="44"/>
                  <a:pt x="126" y="45"/>
                  <a:pt x="128" y="46"/>
                </a:cubicBezTo>
                <a:cubicBezTo>
                  <a:pt x="129" y="46"/>
                  <a:pt x="128" y="45"/>
                  <a:pt x="127" y="44"/>
                </a:cubicBezTo>
                <a:cubicBezTo>
                  <a:pt x="126" y="43"/>
                  <a:pt x="125" y="42"/>
                  <a:pt x="123" y="42"/>
                </a:cubicBezTo>
                <a:cubicBezTo>
                  <a:pt x="121" y="40"/>
                  <a:pt x="121" y="40"/>
                  <a:pt x="123" y="40"/>
                </a:cubicBezTo>
                <a:cubicBezTo>
                  <a:pt x="125" y="40"/>
                  <a:pt x="125" y="41"/>
                  <a:pt x="126" y="41"/>
                </a:cubicBezTo>
                <a:cubicBezTo>
                  <a:pt x="134" y="46"/>
                  <a:pt x="143" y="50"/>
                  <a:pt x="151" y="55"/>
                </a:cubicBezTo>
                <a:cubicBezTo>
                  <a:pt x="149" y="54"/>
                  <a:pt x="146" y="53"/>
                  <a:pt x="145" y="53"/>
                </a:cubicBezTo>
                <a:cubicBezTo>
                  <a:pt x="140" y="50"/>
                  <a:pt x="135" y="49"/>
                  <a:pt x="129" y="49"/>
                </a:cubicBezTo>
                <a:cubicBezTo>
                  <a:pt x="129" y="49"/>
                  <a:pt x="130" y="48"/>
                  <a:pt x="129" y="48"/>
                </a:cubicBezTo>
                <a:cubicBezTo>
                  <a:pt x="129" y="48"/>
                  <a:pt x="128" y="47"/>
                  <a:pt x="127" y="47"/>
                </a:cubicBezTo>
                <a:cubicBezTo>
                  <a:pt x="127" y="48"/>
                  <a:pt x="126" y="48"/>
                  <a:pt x="128" y="49"/>
                </a:cubicBezTo>
                <a:cubicBezTo>
                  <a:pt x="129" y="50"/>
                  <a:pt x="122" y="48"/>
                  <a:pt x="126" y="50"/>
                </a:cubicBezTo>
                <a:cubicBezTo>
                  <a:pt x="128" y="51"/>
                  <a:pt x="132" y="52"/>
                  <a:pt x="132" y="51"/>
                </a:cubicBezTo>
                <a:cubicBezTo>
                  <a:pt x="136" y="49"/>
                  <a:pt x="139" y="52"/>
                  <a:pt x="143" y="53"/>
                </a:cubicBezTo>
                <a:cubicBezTo>
                  <a:pt x="144" y="54"/>
                  <a:pt x="146" y="55"/>
                  <a:pt x="147" y="56"/>
                </a:cubicBezTo>
                <a:cubicBezTo>
                  <a:pt x="151" y="58"/>
                  <a:pt x="154" y="57"/>
                  <a:pt x="157" y="58"/>
                </a:cubicBezTo>
                <a:cubicBezTo>
                  <a:pt x="157" y="58"/>
                  <a:pt x="157" y="58"/>
                  <a:pt x="157" y="58"/>
                </a:cubicBezTo>
                <a:cubicBezTo>
                  <a:pt x="158" y="58"/>
                  <a:pt x="158" y="58"/>
                  <a:pt x="158" y="58"/>
                </a:cubicBezTo>
                <a:cubicBezTo>
                  <a:pt x="161" y="60"/>
                  <a:pt x="157" y="60"/>
                  <a:pt x="159" y="62"/>
                </a:cubicBezTo>
                <a:cubicBezTo>
                  <a:pt x="162" y="64"/>
                  <a:pt x="169" y="67"/>
                  <a:pt x="173" y="70"/>
                </a:cubicBezTo>
                <a:cubicBezTo>
                  <a:pt x="175" y="70"/>
                  <a:pt x="176" y="71"/>
                  <a:pt x="177" y="72"/>
                </a:cubicBezTo>
                <a:cubicBezTo>
                  <a:pt x="183" y="74"/>
                  <a:pt x="185" y="76"/>
                  <a:pt x="188" y="78"/>
                </a:cubicBezTo>
                <a:cubicBezTo>
                  <a:pt x="194" y="80"/>
                  <a:pt x="196" y="82"/>
                  <a:pt x="202" y="85"/>
                </a:cubicBezTo>
                <a:cubicBezTo>
                  <a:pt x="204" y="86"/>
                  <a:pt x="207" y="87"/>
                  <a:pt x="209" y="89"/>
                </a:cubicBezTo>
                <a:cubicBezTo>
                  <a:pt x="215" y="92"/>
                  <a:pt x="222" y="95"/>
                  <a:pt x="228" y="98"/>
                </a:cubicBezTo>
                <a:cubicBezTo>
                  <a:pt x="229" y="99"/>
                  <a:pt x="231" y="100"/>
                  <a:pt x="232" y="100"/>
                </a:cubicBezTo>
                <a:cubicBezTo>
                  <a:pt x="231" y="100"/>
                  <a:pt x="230" y="100"/>
                  <a:pt x="229" y="100"/>
                </a:cubicBezTo>
                <a:cubicBezTo>
                  <a:pt x="224" y="97"/>
                  <a:pt x="219" y="95"/>
                  <a:pt x="213" y="93"/>
                </a:cubicBezTo>
                <a:cubicBezTo>
                  <a:pt x="214" y="93"/>
                  <a:pt x="214" y="93"/>
                  <a:pt x="214" y="94"/>
                </a:cubicBezTo>
                <a:cubicBezTo>
                  <a:pt x="214" y="93"/>
                  <a:pt x="213" y="93"/>
                  <a:pt x="213" y="93"/>
                </a:cubicBezTo>
                <a:cubicBezTo>
                  <a:pt x="207" y="89"/>
                  <a:pt x="200" y="86"/>
                  <a:pt x="194" y="83"/>
                </a:cubicBezTo>
                <a:cubicBezTo>
                  <a:pt x="188" y="80"/>
                  <a:pt x="181" y="77"/>
                  <a:pt x="175" y="74"/>
                </a:cubicBezTo>
                <a:cubicBezTo>
                  <a:pt x="165" y="70"/>
                  <a:pt x="155" y="65"/>
                  <a:pt x="146" y="60"/>
                </a:cubicBezTo>
                <a:cubicBezTo>
                  <a:pt x="144" y="59"/>
                  <a:pt x="141" y="58"/>
                  <a:pt x="138" y="57"/>
                </a:cubicBezTo>
                <a:cubicBezTo>
                  <a:pt x="133" y="53"/>
                  <a:pt x="124" y="50"/>
                  <a:pt x="118" y="46"/>
                </a:cubicBezTo>
                <a:cubicBezTo>
                  <a:pt x="118" y="45"/>
                  <a:pt x="113" y="44"/>
                  <a:pt x="110" y="42"/>
                </a:cubicBezTo>
                <a:cubicBezTo>
                  <a:pt x="109" y="43"/>
                  <a:pt x="114" y="45"/>
                  <a:pt x="116" y="46"/>
                </a:cubicBezTo>
                <a:cubicBezTo>
                  <a:pt x="116" y="46"/>
                  <a:pt x="116" y="46"/>
                  <a:pt x="116" y="46"/>
                </a:cubicBezTo>
                <a:cubicBezTo>
                  <a:pt x="115" y="47"/>
                  <a:pt x="113" y="47"/>
                  <a:pt x="106" y="45"/>
                </a:cubicBezTo>
                <a:cubicBezTo>
                  <a:pt x="108" y="46"/>
                  <a:pt x="108" y="48"/>
                  <a:pt x="112" y="49"/>
                </a:cubicBezTo>
                <a:cubicBezTo>
                  <a:pt x="114" y="49"/>
                  <a:pt x="111" y="47"/>
                  <a:pt x="116" y="49"/>
                </a:cubicBezTo>
                <a:cubicBezTo>
                  <a:pt x="120" y="50"/>
                  <a:pt x="119" y="51"/>
                  <a:pt x="122" y="52"/>
                </a:cubicBezTo>
                <a:cubicBezTo>
                  <a:pt x="122" y="54"/>
                  <a:pt x="117" y="53"/>
                  <a:pt x="117" y="53"/>
                </a:cubicBezTo>
                <a:cubicBezTo>
                  <a:pt x="108" y="51"/>
                  <a:pt x="117" y="54"/>
                  <a:pt x="116" y="54"/>
                </a:cubicBezTo>
                <a:cubicBezTo>
                  <a:pt x="117" y="54"/>
                  <a:pt x="116" y="54"/>
                  <a:pt x="115" y="55"/>
                </a:cubicBezTo>
                <a:cubicBezTo>
                  <a:pt x="115" y="55"/>
                  <a:pt x="114" y="55"/>
                  <a:pt x="113" y="55"/>
                </a:cubicBezTo>
                <a:cubicBezTo>
                  <a:pt x="112" y="54"/>
                  <a:pt x="110" y="53"/>
                  <a:pt x="108" y="52"/>
                </a:cubicBezTo>
                <a:cubicBezTo>
                  <a:pt x="106" y="51"/>
                  <a:pt x="104" y="50"/>
                  <a:pt x="102" y="49"/>
                </a:cubicBezTo>
                <a:cubicBezTo>
                  <a:pt x="98" y="46"/>
                  <a:pt x="90" y="43"/>
                  <a:pt x="82" y="39"/>
                </a:cubicBezTo>
                <a:cubicBezTo>
                  <a:pt x="89" y="43"/>
                  <a:pt x="93" y="46"/>
                  <a:pt x="101" y="49"/>
                </a:cubicBezTo>
                <a:cubicBezTo>
                  <a:pt x="103" y="50"/>
                  <a:pt x="105" y="51"/>
                  <a:pt x="108" y="52"/>
                </a:cubicBezTo>
                <a:cubicBezTo>
                  <a:pt x="109" y="54"/>
                  <a:pt x="111" y="55"/>
                  <a:pt x="113" y="56"/>
                </a:cubicBezTo>
                <a:cubicBezTo>
                  <a:pt x="111" y="56"/>
                  <a:pt x="113" y="57"/>
                  <a:pt x="112" y="57"/>
                </a:cubicBezTo>
                <a:cubicBezTo>
                  <a:pt x="108" y="57"/>
                  <a:pt x="106" y="56"/>
                  <a:pt x="104" y="55"/>
                </a:cubicBezTo>
                <a:cubicBezTo>
                  <a:pt x="93" y="49"/>
                  <a:pt x="82" y="42"/>
                  <a:pt x="71" y="36"/>
                </a:cubicBezTo>
                <a:cubicBezTo>
                  <a:pt x="70" y="36"/>
                  <a:pt x="69" y="35"/>
                  <a:pt x="67" y="35"/>
                </a:cubicBezTo>
                <a:cubicBezTo>
                  <a:pt x="66" y="33"/>
                  <a:pt x="63" y="32"/>
                  <a:pt x="60" y="31"/>
                </a:cubicBezTo>
                <a:cubicBezTo>
                  <a:pt x="60" y="30"/>
                  <a:pt x="60" y="30"/>
                  <a:pt x="60" y="30"/>
                </a:cubicBezTo>
                <a:cubicBezTo>
                  <a:pt x="60" y="30"/>
                  <a:pt x="59" y="30"/>
                  <a:pt x="59" y="29"/>
                </a:cubicBezTo>
                <a:cubicBezTo>
                  <a:pt x="57" y="28"/>
                  <a:pt x="55" y="27"/>
                  <a:pt x="52" y="25"/>
                </a:cubicBezTo>
                <a:cubicBezTo>
                  <a:pt x="51" y="24"/>
                  <a:pt x="51" y="23"/>
                  <a:pt x="44" y="20"/>
                </a:cubicBezTo>
                <a:cubicBezTo>
                  <a:pt x="37" y="18"/>
                  <a:pt x="34" y="15"/>
                  <a:pt x="35" y="13"/>
                </a:cubicBezTo>
                <a:cubicBezTo>
                  <a:pt x="35" y="12"/>
                  <a:pt x="37" y="12"/>
                  <a:pt x="36" y="11"/>
                </a:cubicBezTo>
                <a:cubicBezTo>
                  <a:pt x="33" y="11"/>
                  <a:pt x="30" y="10"/>
                  <a:pt x="27" y="10"/>
                </a:cubicBezTo>
                <a:cubicBezTo>
                  <a:pt x="25" y="9"/>
                  <a:pt x="24" y="8"/>
                  <a:pt x="23" y="8"/>
                </a:cubicBezTo>
                <a:cubicBezTo>
                  <a:pt x="23" y="7"/>
                  <a:pt x="22" y="7"/>
                  <a:pt x="22" y="7"/>
                </a:cubicBezTo>
                <a:cubicBezTo>
                  <a:pt x="19" y="5"/>
                  <a:pt x="17" y="4"/>
                  <a:pt x="14" y="2"/>
                </a:cubicBezTo>
                <a:cubicBezTo>
                  <a:pt x="13" y="2"/>
                  <a:pt x="12" y="1"/>
                  <a:pt x="9" y="0"/>
                </a:cubicBezTo>
                <a:cubicBezTo>
                  <a:pt x="9" y="1"/>
                  <a:pt x="11" y="2"/>
                  <a:pt x="13" y="2"/>
                </a:cubicBezTo>
                <a:cubicBezTo>
                  <a:pt x="13" y="3"/>
                  <a:pt x="13" y="3"/>
                  <a:pt x="13" y="3"/>
                </a:cubicBezTo>
                <a:cubicBezTo>
                  <a:pt x="13" y="3"/>
                  <a:pt x="12" y="3"/>
                  <a:pt x="12" y="3"/>
                </a:cubicBezTo>
                <a:cubicBezTo>
                  <a:pt x="11" y="3"/>
                  <a:pt x="11" y="3"/>
                  <a:pt x="11" y="3"/>
                </a:cubicBezTo>
                <a:cubicBezTo>
                  <a:pt x="9" y="2"/>
                  <a:pt x="9" y="1"/>
                  <a:pt x="5" y="0"/>
                </a:cubicBezTo>
                <a:cubicBezTo>
                  <a:pt x="5" y="0"/>
                  <a:pt x="7" y="1"/>
                  <a:pt x="10" y="3"/>
                </a:cubicBezTo>
                <a:cubicBezTo>
                  <a:pt x="11" y="3"/>
                  <a:pt x="12" y="4"/>
                  <a:pt x="14" y="5"/>
                </a:cubicBezTo>
                <a:cubicBezTo>
                  <a:pt x="13" y="5"/>
                  <a:pt x="16" y="6"/>
                  <a:pt x="17" y="7"/>
                </a:cubicBezTo>
                <a:cubicBezTo>
                  <a:pt x="17" y="7"/>
                  <a:pt x="17" y="8"/>
                  <a:pt x="18" y="8"/>
                </a:cubicBezTo>
                <a:cubicBezTo>
                  <a:pt x="21" y="9"/>
                  <a:pt x="22" y="11"/>
                  <a:pt x="25" y="12"/>
                </a:cubicBezTo>
                <a:cubicBezTo>
                  <a:pt x="25" y="13"/>
                  <a:pt x="28" y="14"/>
                  <a:pt x="30" y="15"/>
                </a:cubicBezTo>
                <a:cubicBezTo>
                  <a:pt x="31" y="16"/>
                  <a:pt x="33" y="17"/>
                  <a:pt x="33" y="18"/>
                </a:cubicBezTo>
                <a:cubicBezTo>
                  <a:pt x="33" y="18"/>
                  <a:pt x="33" y="18"/>
                  <a:pt x="33" y="18"/>
                </a:cubicBezTo>
                <a:cubicBezTo>
                  <a:pt x="32" y="18"/>
                  <a:pt x="31" y="18"/>
                  <a:pt x="32" y="18"/>
                </a:cubicBezTo>
                <a:cubicBezTo>
                  <a:pt x="33" y="19"/>
                  <a:pt x="35" y="19"/>
                  <a:pt x="36" y="19"/>
                </a:cubicBezTo>
                <a:cubicBezTo>
                  <a:pt x="42" y="22"/>
                  <a:pt x="41" y="23"/>
                  <a:pt x="46" y="26"/>
                </a:cubicBezTo>
                <a:cubicBezTo>
                  <a:pt x="47" y="27"/>
                  <a:pt x="51" y="28"/>
                  <a:pt x="51" y="29"/>
                </a:cubicBezTo>
                <a:cubicBezTo>
                  <a:pt x="42" y="25"/>
                  <a:pt x="34" y="21"/>
                  <a:pt x="28" y="18"/>
                </a:cubicBezTo>
                <a:cubicBezTo>
                  <a:pt x="28" y="17"/>
                  <a:pt x="28" y="17"/>
                  <a:pt x="26" y="16"/>
                </a:cubicBezTo>
                <a:cubicBezTo>
                  <a:pt x="24" y="15"/>
                  <a:pt x="22" y="14"/>
                  <a:pt x="19" y="13"/>
                </a:cubicBezTo>
                <a:cubicBezTo>
                  <a:pt x="20" y="14"/>
                  <a:pt x="21" y="15"/>
                  <a:pt x="23" y="16"/>
                </a:cubicBezTo>
                <a:cubicBezTo>
                  <a:pt x="24" y="16"/>
                  <a:pt x="25" y="17"/>
                  <a:pt x="26" y="17"/>
                </a:cubicBezTo>
                <a:cubicBezTo>
                  <a:pt x="26" y="18"/>
                  <a:pt x="29" y="19"/>
                  <a:pt x="29" y="20"/>
                </a:cubicBezTo>
                <a:cubicBezTo>
                  <a:pt x="28" y="19"/>
                  <a:pt x="27" y="19"/>
                  <a:pt x="25" y="18"/>
                </a:cubicBezTo>
                <a:cubicBezTo>
                  <a:pt x="23" y="18"/>
                  <a:pt x="25" y="19"/>
                  <a:pt x="26" y="20"/>
                </a:cubicBezTo>
                <a:cubicBezTo>
                  <a:pt x="28" y="21"/>
                  <a:pt x="31" y="22"/>
                  <a:pt x="35" y="23"/>
                </a:cubicBezTo>
                <a:cubicBezTo>
                  <a:pt x="37" y="25"/>
                  <a:pt x="41" y="28"/>
                  <a:pt x="46" y="30"/>
                </a:cubicBezTo>
                <a:cubicBezTo>
                  <a:pt x="50" y="32"/>
                  <a:pt x="43" y="31"/>
                  <a:pt x="43" y="33"/>
                </a:cubicBezTo>
                <a:cubicBezTo>
                  <a:pt x="42" y="33"/>
                  <a:pt x="41" y="33"/>
                  <a:pt x="39" y="32"/>
                </a:cubicBezTo>
                <a:cubicBezTo>
                  <a:pt x="35" y="30"/>
                  <a:pt x="31" y="28"/>
                  <a:pt x="29" y="26"/>
                </a:cubicBezTo>
                <a:cubicBezTo>
                  <a:pt x="31" y="25"/>
                  <a:pt x="33" y="27"/>
                  <a:pt x="35" y="27"/>
                </a:cubicBezTo>
                <a:cubicBezTo>
                  <a:pt x="33" y="26"/>
                  <a:pt x="32" y="24"/>
                  <a:pt x="28" y="24"/>
                </a:cubicBezTo>
                <a:cubicBezTo>
                  <a:pt x="25" y="23"/>
                  <a:pt x="28" y="25"/>
                  <a:pt x="27" y="25"/>
                </a:cubicBezTo>
                <a:cubicBezTo>
                  <a:pt x="22" y="24"/>
                  <a:pt x="22" y="25"/>
                  <a:pt x="24" y="26"/>
                </a:cubicBezTo>
                <a:cubicBezTo>
                  <a:pt x="28" y="28"/>
                  <a:pt x="32" y="30"/>
                  <a:pt x="36" y="32"/>
                </a:cubicBezTo>
                <a:cubicBezTo>
                  <a:pt x="37" y="33"/>
                  <a:pt x="41" y="34"/>
                  <a:pt x="40" y="35"/>
                </a:cubicBezTo>
                <a:cubicBezTo>
                  <a:pt x="36" y="34"/>
                  <a:pt x="40" y="36"/>
                  <a:pt x="39" y="36"/>
                </a:cubicBezTo>
                <a:cubicBezTo>
                  <a:pt x="36" y="36"/>
                  <a:pt x="35" y="35"/>
                  <a:pt x="33" y="35"/>
                </a:cubicBezTo>
                <a:cubicBezTo>
                  <a:pt x="27" y="33"/>
                  <a:pt x="26" y="31"/>
                  <a:pt x="19" y="29"/>
                </a:cubicBezTo>
                <a:cubicBezTo>
                  <a:pt x="20" y="30"/>
                  <a:pt x="25" y="31"/>
                  <a:pt x="25" y="32"/>
                </a:cubicBezTo>
                <a:cubicBezTo>
                  <a:pt x="25" y="34"/>
                  <a:pt x="35" y="37"/>
                  <a:pt x="32" y="38"/>
                </a:cubicBezTo>
                <a:cubicBezTo>
                  <a:pt x="31" y="38"/>
                  <a:pt x="30" y="37"/>
                  <a:pt x="29" y="37"/>
                </a:cubicBezTo>
                <a:cubicBezTo>
                  <a:pt x="29" y="35"/>
                  <a:pt x="21" y="33"/>
                  <a:pt x="18" y="31"/>
                </a:cubicBezTo>
                <a:cubicBezTo>
                  <a:pt x="19" y="33"/>
                  <a:pt x="21" y="34"/>
                  <a:pt x="25" y="36"/>
                </a:cubicBezTo>
                <a:cubicBezTo>
                  <a:pt x="29" y="38"/>
                  <a:pt x="34" y="40"/>
                  <a:pt x="38" y="43"/>
                </a:cubicBezTo>
                <a:cubicBezTo>
                  <a:pt x="33" y="41"/>
                  <a:pt x="29" y="40"/>
                  <a:pt x="24" y="38"/>
                </a:cubicBezTo>
                <a:cubicBezTo>
                  <a:pt x="24" y="37"/>
                  <a:pt x="23" y="36"/>
                  <a:pt x="21" y="35"/>
                </a:cubicBezTo>
                <a:cubicBezTo>
                  <a:pt x="19" y="35"/>
                  <a:pt x="19" y="36"/>
                  <a:pt x="21" y="37"/>
                </a:cubicBezTo>
                <a:cubicBezTo>
                  <a:pt x="22" y="38"/>
                  <a:pt x="22" y="38"/>
                  <a:pt x="22" y="38"/>
                </a:cubicBezTo>
                <a:cubicBezTo>
                  <a:pt x="28" y="44"/>
                  <a:pt x="35" y="49"/>
                  <a:pt x="44" y="55"/>
                </a:cubicBezTo>
                <a:cubicBezTo>
                  <a:pt x="43" y="55"/>
                  <a:pt x="43" y="55"/>
                  <a:pt x="42" y="54"/>
                </a:cubicBezTo>
                <a:cubicBezTo>
                  <a:pt x="34" y="50"/>
                  <a:pt x="25" y="45"/>
                  <a:pt x="17" y="40"/>
                </a:cubicBezTo>
                <a:cubicBezTo>
                  <a:pt x="12" y="37"/>
                  <a:pt x="6" y="34"/>
                  <a:pt x="0" y="31"/>
                </a:cubicBezTo>
                <a:cubicBezTo>
                  <a:pt x="0" y="84"/>
                  <a:pt x="0" y="84"/>
                  <a:pt x="0" y="84"/>
                </a:cubicBezTo>
                <a:cubicBezTo>
                  <a:pt x="0" y="84"/>
                  <a:pt x="1" y="85"/>
                  <a:pt x="1" y="85"/>
                </a:cubicBezTo>
                <a:cubicBezTo>
                  <a:pt x="2" y="86"/>
                  <a:pt x="3" y="86"/>
                  <a:pt x="4" y="87"/>
                </a:cubicBezTo>
                <a:cubicBezTo>
                  <a:pt x="4" y="87"/>
                  <a:pt x="5" y="88"/>
                  <a:pt x="6" y="88"/>
                </a:cubicBezTo>
                <a:cubicBezTo>
                  <a:pt x="4" y="88"/>
                  <a:pt x="2" y="88"/>
                  <a:pt x="0" y="88"/>
                </a:cubicBezTo>
                <a:cubicBezTo>
                  <a:pt x="0" y="107"/>
                  <a:pt x="0" y="107"/>
                  <a:pt x="0" y="107"/>
                </a:cubicBezTo>
                <a:cubicBezTo>
                  <a:pt x="0" y="107"/>
                  <a:pt x="0" y="107"/>
                  <a:pt x="1" y="107"/>
                </a:cubicBezTo>
                <a:cubicBezTo>
                  <a:pt x="1" y="108"/>
                  <a:pt x="1" y="108"/>
                  <a:pt x="2" y="109"/>
                </a:cubicBezTo>
                <a:cubicBezTo>
                  <a:pt x="1" y="109"/>
                  <a:pt x="1" y="109"/>
                  <a:pt x="0" y="109"/>
                </a:cubicBezTo>
                <a:cubicBezTo>
                  <a:pt x="0" y="109"/>
                  <a:pt x="0" y="109"/>
                  <a:pt x="0" y="108"/>
                </a:cubicBezTo>
                <a:cubicBezTo>
                  <a:pt x="0" y="126"/>
                  <a:pt x="0" y="126"/>
                  <a:pt x="0" y="126"/>
                </a:cubicBezTo>
                <a:cubicBezTo>
                  <a:pt x="0" y="127"/>
                  <a:pt x="0" y="127"/>
                  <a:pt x="0" y="127"/>
                </a:cubicBezTo>
                <a:cubicBezTo>
                  <a:pt x="0" y="127"/>
                  <a:pt x="0" y="127"/>
                  <a:pt x="0" y="127"/>
                </a:cubicBezTo>
                <a:cubicBezTo>
                  <a:pt x="0" y="158"/>
                  <a:pt x="0" y="158"/>
                  <a:pt x="0" y="158"/>
                </a:cubicBezTo>
                <a:cubicBezTo>
                  <a:pt x="0" y="158"/>
                  <a:pt x="0" y="158"/>
                  <a:pt x="0" y="158"/>
                </a:cubicBezTo>
                <a:cubicBezTo>
                  <a:pt x="0" y="159"/>
                  <a:pt x="0" y="159"/>
                  <a:pt x="0" y="159"/>
                </a:cubicBezTo>
                <a:cubicBezTo>
                  <a:pt x="0" y="159"/>
                  <a:pt x="0" y="159"/>
                  <a:pt x="0" y="159"/>
                </a:cubicBezTo>
                <a:cubicBezTo>
                  <a:pt x="0" y="173"/>
                  <a:pt x="0" y="173"/>
                  <a:pt x="0" y="173"/>
                </a:cubicBezTo>
                <a:cubicBezTo>
                  <a:pt x="0" y="173"/>
                  <a:pt x="0" y="173"/>
                  <a:pt x="0" y="173"/>
                </a:cubicBezTo>
                <a:cubicBezTo>
                  <a:pt x="0" y="173"/>
                  <a:pt x="0" y="173"/>
                  <a:pt x="0" y="173"/>
                </a:cubicBezTo>
                <a:cubicBezTo>
                  <a:pt x="0" y="173"/>
                  <a:pt x="0" y="173"/>
                  <a:pt x="0" y="173"/>
                </a:cubicBezTo>
                <a:cubicBezTo>
                  <a:pt x="0" y="220"/>
                  <a:pt x="0" y="220"/>
                  <a:pt x="0" y="220"/>
                </a:cubicBezTo>
                <a:cubicBezTo>
                  <a:pt x="1" y="220"/>
                  <a:pt x="2" y="220"/>
                  <a:pt x="3" y="221"/>
                </a:cubicBezTo>
                <a:cubicBezTo>
                  <a:pt x="3" y="221"/>
                  <a:pt x="3" y="221"/>
                  <a:pt x="3" y="221"/>
                </a:cubicBezTo>
                <a:cubicBezTo>
                  <a:pt x="3" y="221"/>
                  <a:pt x="3" y="221"/>
                  <a:pt x="3" y="221"/>
                </a:cubicBezTo>
                <a:cubicBezTo>
                  <a:pt x="3" y="221"/>
                  <a:pt x="3" y="221"/>
                  <a:pt x="3" y="221"/>
                </a:cubicBezTo>
                <a:cubicBezTo>
                  <a:pt x="2" y="221"/>
                  <a:pt x="1" y="220"/>
                  <a:pt x="0" y="220"/>
                </a:cubicBezTo>
                <a:cubicBezTo>
                  <a:pt x="0" y="220"/>
                  <a:pt x="0" y="220"/>
                  <a:pt x="0" y="220"/>
                </a:cubicBezTo>
                <a:cubicBezTo>
                  <a:pt x="0" y="220"/>
                  <a:pt x="0" y="220"/>
                  <a:pt x="0" y="220"/>
                </a:cubicBezTo>
                <a:cubicBezTo>
                  <a:pt x="0" y="223"/>
                  <a:pt x="0" y="223"/>
                  <a:pt x="0" y="223"/>
                </a:cubicBezTo>
                <a:cubicBezTo>
                  <a:pt x="0" y="223"/>
                  <a:pt x="0" y="223"/>
                  <a:pt x="0" y="223"/>
                </a:cubicBezTo>
                <a:cubicBezTo>
                  <a:pt x="0" y="223"/>
                  <a:pt x="0" y="223"/>
                  <a:pt x="0" y="223"/>
                </a:cubicBezTo>
                <a:cubicBezTo>
                  <a:pt x="0" y="223"/>
                  <a:pt x="0" y="223"/>
                  <a:pt x="0" y="223"/>
                </a:cubicBezTo>
                <a:cubicBezTo>
                  <a:pt x="0" y="229"/>
                  <a:pt x="0" y="229"/>
                  <a:pt x="0" y="229"/>
                </a:cubicBezTo>
                <a:cubicBezTo>
                  <a:pt x="13" y="229"/>
                  <a:pt x="13" y="229"/>
                  <a:pt x="13" y="229"/>
                </a:cubicBezTo>
                <a:cubicBezTo>
                  <a:pt x="18" y="231"/>
                  <a:pt x="23" y="234"/>
                  <a:pt x="28" y="236"/>
                </a:cubicBezTo>
                <a:cubicBezTo>
                  <a:pt x="42" y="243"/>
                  <a:pt x="57" y="249"/>
                  <a:pt x="70" y="256"/>
                </a:cubicBezTo>
                <a:cubicBezTo>
                  <a:pt x="70" y="256"/>
                  <a:pt x="70" y="256"/>
                  <a:pt x="70" y="256"/>
                </a:cubicBezTo>
                <a:cubicBezTo>
                  <a:pt x="72" y="257"/>
                  <a:pt x="73" y="258"/>
                  <a:pt x="76" y="258"/>
                </a:cubicBezTo>
                <a:cubicBezTo>
                  <a:pt x="78" y="259"/>
                  <a:pt x="79" y="260"/>
                  <a:pt x="81" y="261"/>
                </a:cubicBezTo>
                <a:cubicBezTo>
                  <a:pt x="80" y="260"/>
                  <a:pt x="77" y="259"/>
                  <a:pt x="77" y="258"/>
                </a:cubicBezTo>
                <a:cubicBezTo>
                  <a:pt x="76" y="258"/>
                  <a:pt x="75" y="257"/>
                  <a:pt x="75" y="257"/>
                </a:cubicBezTo>
                <a:cubicBezTo>
                  <a:pt x="74" y="256"/>
                  <a:pt x="72" y="256"/>
                  <a:pt x="72" y="255"/>
                </a:cubicBezTo>
                <a:cubicBezTo>
                  <a:pt x="74" y="255"/>
                  <a:pt x="70" y="254"/>
                  <a:pt x="71" y="254"/>
                </a:cubicBezTo>
                <a:cubicBezTo>
                  <a:pt x="72" y="254"/>
                  <a:pt x="73" y="254"/>
                  <a:pt x="73" y="254"/>
                </a:cubicBezTo>
                <a:cubicBezTo>
                  <a:pt x="73" y="254"/>
                  <a:pt x="71" y="253"/>
                  <a:pt x="70" y="253"/>
                </a:cubicBezTo>
                <a:cubicBezTo>
                  <a:pt x="69" y="252"/>
                  <a:pt x="67" y="252"/>
                  <a:pt x="67" y="251"/>
                </a:cubicBezTo>
                <a:cubicBezTo>
                  <a:pt x="68" y="252"/>
                  <a:pt x="70" y="252"/>
                  <a:pt x="71" y="253"/>
                </a:cubicBezTo>
                <a:cubicBezTo>
                  <a:pt x="72" y="253"/>
                  <a:pt x="72" y="253"/>
                  <a:pt x="72" y="253"/>
                </a:cubicBezTo>
                <a:cubicBezTo>
                  <a:pt x="70" y="252"/>
                  <a:pt x="69" y="251"/>
                  <a:pt x="67" y="251"/>
                </a:cubicBezTo>
                <a:cubicBezTo>
                  <a:pt x="66" y="250"/>
                  <a:pt x="65" y="249"/>
                  <a:pt x="63" y="249"/>
                </a:cubicBezTo>
                <a:cubicBezTo>
                  <a:pt x="63" y="248"/>
                  <a:pt x="64" y="248"/>
                  <a:pt x="64" y="248"/>
                </a:cubicBezTo>
                <a:cubicBezTo>
                  <a:pt x="66" y="249"/>
                  <a:pt x="68" y="250"/>
                  <a:pt x="70" y="251"/>
                </a:cubicBezTo>
                <a:cubicBezTo>
                  <a:pt x="74" y="253"/>
                  <a:pt x="79" y="255"/>
                  <a:pt x="84" y="258"/>
                </a:cubicBezTo>
                <a:cubicBezTo>
                  <a:pt x="84" y="258"/>
                  <a:pt x="85" y="258"/>
                  <a:pt x="85" y="258"/>
                </a:cubicBezTo>
                <a:cubicBezTo>
                  <a:pt x="86" y="259"/>
                  <a:pt x="88" y="259"/>
                  <a:pt x="89" y="260"/>
                </a:cubicBezTo>
                <a:cubicBezTo>
                  <a:pt x="90" y="260"/>
                  <a:pt x="91" y="261"/>
                  <a:pt x="93" y="261"/>
                </a:cubicBezTo>
                <a:cubicBezTo>
                  <a:pt x="95" y="262"/>
                  <a:pt x="96" y="263"/>
                  <a:pt x="99" y="264"/>
                </a:cubicBezTo>
                <a:cubicBezTo>
                  <a:pt x="99" y="263"/>
                  <a:pt x="97" y="262"/>
                  <a:pt x="94" y="261"/>
                </a:cubicBezTo>
                <a:cubicBezTo>
                  <a:pt x="90" y="258"/>
                  <a:pt x="86" y="257"/>
                  <a:pt x="82" y="256"/>
                </a:cubicBezTo>
                <a:cubicBezTo>
                  <a:pt x="77" y="254"/>
                  <a:pt x="73" y="252"/>
                  <a:pt x="68" y="250"/>
                </a:cubicBezTo>
                <a:cubicBezTo>
                  <a:pt x="65" y="248"/>
                  <a:pt x="61" y="247"/>
                  <a:pt x="58" y="245"/>
                </a:cubicBezTo>
                <a:cubicBezTo>
                  <a:pt x="56" y="244"/>
                  <a:pt x="54" y="243"/>
                  <a:pt x="52" y="242"/>
                </a:cubicBezTo>
                <a:cubicBezTo>
                  <a:pt x="51" y="241"/>
                  <a:pt x="49" y="240"/>
                  <a:pt x="48" y="240"/>
                </a:cubicBezTo>
                <a:cubicBezTo>
                  <a:pt x="50" y="240"/>
                  <a:pt x="51" y="241"/>
                  <a:pt x="53" y="242"/>
                </a:cubicBezTo>
                <a:cubicBezTo>
                  <a:pt x="53" y="242"/>
                  <a:pt x="54" y="242"/>
                  <a:pt x="55" y="242"/>
                </a:cubicBezTo>
                <a:cubicBezTo>
                  <a:pt x="55" y="242"/>
                  <a:pt x="55" y="242"/>
                  <a:pt x="55" y="242"/>
                </a:cubicBezTo>
                <a:cubicBezTo>
                  <a:pt x="55" y="242"/>
                  <a:pt x="53" y="241"/>
                  <a:pt x="51" y="240"/>
                </a:cubicBezTo>
                <a:cubicBezTo>
                  <a:pt x="51" y="240"/>
                  <a:pt x="50" y="240"/>
                  <a:pt x="50" y="239"/>
                </a:cubicBezTo>
                <a:cubicBezTo>
                  <a:pt x="48" y="239"/>
                  <a:pt x="47" y="238"/>
                  <a:pt x="46" y="237"/>
                </a:cubicBezTo>
                <a:cubicBezTo>
                  <a:pt x="44" y="237"/>
                  <a:pt x="43" y="237"/>
                  <a:pt x="41" y="236"/>
                </a:cubicBezTo>
                <a:cubicBezTo>
                  <a:pt x="41" y="236"/>
                  <a:pt x="41" y="235"/>
                  <a:pt x="41" y="235"/>
                </a:cubicBezTo>
                <a:cubicBezTo>
                  <a:pt x="39" y="234"/>
                  <a:pt x="38" y="233"/>
                  <a:pt x="35" y="233"/>
                </a:cubicBezTo>
                <a:cubicBezTo>
                  <a:pt x="33" y="232"/>
                  <a:pt x="31" y="230"/>
                  <a:pt x="28" y="229"/>
                </a:cubicBezTo>
                <a:cubicBezTo>
                  <a:pt x="28" y="229"/>
                  <a:pt x="28" y="229"/>
                  <a:pt x="28" y="229"/>
                </a:cubicBezTo>
                <a:cubicBezTo>
                  <a:pt x="33" y="229"/>
                  <a:pt x="33" y="229"/>
                  <a:pt x="33" y="229"/>
                </a:cubicBezTo>
                <a:cubicBezTo>
                  <a:pt x="41" y="233"/>
                  <a:pt x="49" y="236"/>
                  <a:pt x="57" y="240"/>
                </a:cubicBezTo>
                <a:cubicBezTo>
                  <a:pt x="58" y="240"/>
                  <a:pt x="59" y="240"/>
                  <a:pt x="60" y="241"/>
                </a:cubicBezTo>
                <a:cubicBezTo>
                  <a:pt x="63" y="242"/>
                  <a:pt x="66" y="244"/>
                  <a:pt x="69" y="245"/>
                </a:cubicBezTo>
                <a:cubicBezTo>
                  <a:pt x="70" y="246"/>
                  <a:pt x="71" y="246"/>
                  <a:pt x="71" y="246"/>
                </a:cubicBezTo>
                <a:cubicBezTo>
                  <a:pt x="72" y="246"/>
                  <a:pt x="73" y="246"/>
                  <a:pt x="74" y="246"/>
                </a:cubicBezTo>
                <a:cubicBezTo>
                  <a:pt x="87" y="252"/>
                  <a:pt x="98" y="259"/>
                  <a:pt x="112" y="265"/>
                </a:cubicBezTo>
                <a:cubicBezTo>
                  <a:pt x="112" y="266"/>
                  <a:pt x="114" y="267"/>
                  <a:pt x="116" y="268"/>
                </a:cubicBezTo>
                <a:cubicBezTo>
                  <a:pt x="117" y="268"/>
                  <a:pt x="117" y="269"/>
                  <a:pt x="121" y="269"/>
                </a:cubicBezTo>
                <a:cubicBezTo>
                  <a:pt x="122" y="269"/>
                  <a:pt x="124" y="270"/>
                  <a:pt x="125" y="271"/>
                </a:cubicBezTo>
                <a:cubicBezTo>
                  <a:pt x="130" y="273"/>
                  <a:pt x="133" y="275"/>
                  <a:pt x="139" y="277"/>
                </a:cubicBezTo>
                <a:cubicBezTo>
                  <a:pt x="137" y="276"/>
                  <a:pt x="133" y="274"/>
                  <a:pt x="133" y="273"/>
                </a:cubicBezTo>
                <a:cubicBezTo>
                  <a:pt x="143" y="277"/>
                  <a:pt x="152" y="281"/>
                  <a:pt x="160" y="286"/>
                </a:cubicBezTo>
                <a:cubicBezTo>
                  <a:pt x="162" y="287"/>
                  <a:pt x="164" y="288"/>
                  <a:pt x="168" y="289"/>
                </a:cubicBezTo>
                <a:cubicBezTo>
                  <a:pt x="168" y="289"/>
                  <a:pt x="169" y="290"/>
                  <a:pt x="169" y="290"/>
                </a:cubicBezTo>
                <a:cubicBezTo>
                  <a:pt x="171" y="291"/>
                  <a:pt x="176" y="293"/>
                  <a:pt x="178" y="295"/>
                </a:cubicBezTo>
                <a:cubicBezTo>
                  <a:pt x="179" y="295"/>
                  <a:pt x="179" y="295"/>
                  <a:pt x="179" y="295"/>
                </a:cubicBezTo>
                <a:cubicBezTo>
                  <a:pt x="179" y="295"/>
                  <a:pt x="179" y="295"/>
                  <a:pt x="179" y="295"/>
                </a:cubicBezTo>
                <a:cubicBezTo>
                  <a:pt x="179" y="295"/>
                  <a:pt x="179" y="295"/>
                  <a:pt x="178" y="295"/>
                </a:cubicBezTo>
                <a:cubicBezTo>
                  <a:pt x="181" y="297"/>
                  <a:pt x="186" y="299"/>
                  <a:pt x="190" y="301"/>
                </a:cubicBezTo>
                <a:cubicBezTo>
                  <a:pt x="195" y="303"/>
                  <a:pt x="200" y="306"/>
                  <a:pt x="202" y="308"/>
                </a:cubicBezTo>
                <a:cubicBezTo>
                  <a:pt x="203" y="309"/>
                  <a:pt x="204" y="309"/>
                  <a:pt x="204" y="309"/>
                </a:cubicBezTo>
                <a:cubicBezTo>
                  <a:pt x="208" y="311"/>
                  <a:pt x="214" y="314"/>
                  <a:pt x="218" y="316"/>
                </a:cubicBezTo>
                <a:cubicBezTo>
                  <a:pt x="219" y="317"/>
                  <a:pt x="221" y="318"/>
                  <a:pt x="224" y="318"/>
                </a:cubicBezTo>
                <a:cubicBezTo>
                  <a:pt x="225" y="318"/>
                  <a:pt x="226" y="319"/>
                  <a:pt x="228" y="320"/>
                </a:cubicBezTo>
                <a:cubicBezTo>
                  <a:pt x="228" y="320"/>
                  <a:pt x="229" y="320"/>
                  <a:pt x="229" y="320"/>
                </a:cubicBezTo>
                <a:cubicBezTo>
                  <a:pt x="229" y="320"/>
                  <a:pt x="229" y="320"/>
                  <a:pt x="229" y="320"/>
                </a:cubicBezTo>
                <a:cubicBezTo>
                  <a:pt x="226" y="317"/>
                  <a:pt x="221" y="315"/>
                  <a:pt x="216" y="313"/>
                </a:cubicBezTo>
                <a:cubicBezTo>
                  <a:pt x="214" y="312"/>
                  <a:pt x="211" y="311"/>
                  <a:pt x="211" y="310"/>
                </a:cubicBezTo>
                <a:cubicBezTo>
                  <a:pt x="204" y="309"/>
                  <a:pt x="209" y="308"/>
                  <a:pt x="204" y="306"/>
                </a:cubicBezTo>
                <a:cubicBezTo>
                  <a:pt x="204" y="306"/>
                  <a:pt x="204" y="306"/>
                  <a:pt x="204" y="306"/>
                </a:cubicBezTo>
                <a:cubicBezTo>
                  <a:pt x="203" y="305"/>
                  <a:pt x="203" y="304"/>
                  <a:pt x="200" y="303"/>
                </a:cubicBezTo>
                <a:cubicBezTo>
                  <a:pt x="197" y="302"/>
                  <a:pt x="193" y="300"/>
                  <a:pt x="191" y="299"/>
                </a:cubicBezTo>
                <a:cubicBezTo>
                  <a:pt x="189" y="297"/>
                  <a:pt x="188" y="298"/>
                  <a:pt x="186" y="298"/>
                </a:cubicBezTo>
                <a:cubicBezTo>
                  <a:pt x="186" y="297"/>
                  <a:pt x="188" y="297"/>
                  <a:pt x="185" y="296"/>
                </a:cubicBezTo>
                <a:cubicBezTo>
                  <a:pt x="185" y="295"/>
                  <a:pt x="181" y="294"/>
                  <a:pt x="181" y="293"/>
                </a:cubicBezTo>
                <a:cubicBezTo>
                  <a:pt x="181" y="293"/>
                  <a:pt x="182" y="293"/>
                  <a:pt x="182" y="293"/>
                </a:cubicBezTo>
                <a:cubicBezTo>
                  <a:pt x="184" y="293"/>
                  <a:pt x="183" y="293"/>
                  <a:pt x="183" y="292"/>
                </a:cubicBezTo>
                <a:cubicBezTo>
                  <a:pt x="187" y="293"/>
                  <a:pt x="190" y="295"/>
                  <a:pt x="190" y="295"/>
                </a:cubicBezTo>
                <a:cubicBezTo>
                  <a:pt x="190" y="297"/>
                  <a:pt x="192" y="297"/>
                  <a:pt x="196" y="298"/>
                </a:cubicBezTo>
                <a:cubicBezTo>
                  <a:pt x="198" y="299"/>
                  <a:pt x="200" y="300"/>
                  <a:pt x="201" y="301"/>
                </a:cubicBezTo>
                <a:cubicBezTo>
                  <a:pt x="202" y="301"/>
                  <a:pt x="204" y="302"/>
                  <a:pt x="206" y="302"/>
                </a:cubicBezTo>
                <a:cubicBezTo>
                  <a:pt x="206" y="303"/>
                  <a:pt x="206" y="303"/>
                  <a:pt x="207" y="303"/>
                </a:cubicBezTo>
                <a:cubicBezTo>
                  <a:pt x="210" y="304"/>
                  <a:pt x="214" y="306"/>
                  <a:pt x="218" y="308"/>
                </a:cubicBezTo>
                <a:cubicBezTo>
                  <a:pt x="218" y="308"/>
                  <a:pt x="218" y="308"/>
                  <a:pt x="218" y="308"/>
                </a:cubicBezTo>
                <a:cubicBezTo>
                  <a:pt x="218" y="308"/>
                  <a:pt x="218" y="308"/>
                  <a:pt x="218" y="308"/>
                </a:cubicBezTo>
                <a:cubicBezTo>
                  <a:pt x="218" y="308"/>
                  <a:pt x="218" y="308"/>
                  <a:pt x="218" y="308"/>
                </a:cubicBezTo>
                <a:cubicBezTo>
                  <a:pt x="220" y="309"/>
                  <a:pt x="223" y="310"/>
                  <a:pt x="225" y="311"/>
                </a:cubicBezTo>
                <a:cubicBezTo>
                  <a:pt x="229" y="312"/>
                  <a:pt x="232" y="314"/>
                  <a:pt x="236" y="316"/>
                </a:cubicBezTo>
                <a:cubicBezTo>
                  <a:pt x="235" y="314"/>
                  <a:pt x="225" y="311"/>
                  <a:pt x="227" y="310"/>
                </a:cubicBezTo>
                <a:cubicBezTo>
                  <a:pt x="228" y="310"/>
                  <a:pt x="228" y="309"/>
                  <a:pt x="228" y="309"/>
                </a:cubicBezTo>
                <a:cubicBezTo>
                  <a:pt x="228" y="309"/>
                  <a:pt x="228" y="308"/>
                  <a:pt x="227" y="308"/>
                </a:cubicBezTo>
                <a:cubicBezTo>
                  <a:pt x="225" y="308"/>
                  <a:pt x="223" y="307"/>
                  <a:pt x="220" y="306"/>
                </a:cubicBezTo>
                <a:cubicBezTo>
                  <a:pt x="220" y="306"/>
                  <a:pt x="219" y="305"/>
                  <a:pt x="218" y="305"/>
                </a:cubicBezTo>
                <a:cubicBezTo>
                  <a:pt x="217" y="305"/>
                  <a:pt x="216" y="304"/>
                  <a:pt x="216" y="304"/>
                </a:cubicBezTo>
                <a:cubicBezTo>
                  <a:pt x="210" y="301"/>
                  <a:pt x="206" y="298"/>
                  <a:pt x="202" y="296"/>
                </a:cubicBezTo>
                <a:cubicBezTo>
                  <a:pt x="204" y="296"/>
                  <a:pt x="206" y="297"/>
                  <a:pt x="208" y="298"/>
                </a:cubicBezTo>
                <a:cubicBezTo>
                  <a:pt x="208" y="297"/>
                  <a:pt x="204" y="296"/>
                  <a:pt x="203" y="295"/>
                </a:cubicBezTo>
                <a:cubicBezTo>
                  <a:pt x="203" y="295"/>
                  <a:pt x="203" y="295"/>
                  <a:pt x="204" y="295"/>
                </a:cubicBezTo>
                <a:cubicBezTo>
                  <a:pt x="204" y="295"/>
                  <a:pt x="204" y="295"/>
                  <a:pt x="204" y="295"/>
                </a:cubicBezTo>
                <a:cubicBezTo>
                  <a:pt x="204" y="295"/>
                  <a:pt x="204" y="294"/>
                  <a:pt x="205" y="295"/>
                </a:cubicBezTo>
                <a:cubicBezTo>
                  <a:pt x="208" y="296"/>
                  <a:pt x="209" y="296"/>
                  <a:pt x="210" y="296"/>
                </a:cubicBezTo>
                <a:cubicBezTo>
                  <a:pt x="211" y="295"/>
                  <a:pt x="209" y="295"/>
                  <a:pt x="208" y="294"/>
                </a:cubicBezTo>
                <a:cubicBezTo>
                  <a:pt x="205" y="293"/>
                  <a:pt x="202" y="292"/>
                  <a:pt x="201" y="291"/>
                </a:cubicBezTo>
                <a:cubicBezTo>
                  <a:pt x="199" y="289"/>
                  <a:pt x="197" y="289"/>
                  <a:pt x="195" y="289"/>
                </a:cubicBezTo>
                <a:cubicBezTo>
                  <a:pt x="193" y="288"/>
                  <a:pt x="191" y="287"/>
                  <a:pt x="187" y="285"/>
                </a:cubicBezTo>
                <a:cubicBezTo>
                  <a:pt x="189" y="287"/>
                  <a:pt x="191" y="288"/>
                  <a:pt x="195" y="289"/>
                </a:cubicBezTo>
                <a:cubicBezTo>
                  <a:pt x="197" y="290"/>
                  <a:pt x="199" y="291"/>
                  <a:pt x="201" y="292"/>
                </a:cubicBezTo>
                <a:cubicBezTo>
                  <a:pt x="203" y="293"/>
                  <a:pt x="203" y="294"/>
                  <a:pt x="201" y="294"/>
                </a:cubicBezTo>
                <a:cubicBezTo>
                  <a:pt x="199" y="293"/>
                  <a:pt x="196" y="291"/>
                  <a:pt x="195" y="293"/>
                </a:cubicBezTo>
                <a:cubicBezTo>
                  <a:pt x="195" y="292"/>
                  <a:pt x="194" y="292"/>
                  <a:pt x="193" y="292"/>
                </a:cubicBezTo>
                <a:cubicBezTo>
                  <a:pt x="193" y="291"/>
                  <a:pt x="191" y="290"/>
                  <a:pt x="189" y="290"/>
                </a:cubicBezTo>
                <a:cubicBezTo>
                  <a:pt x="184" y="287"/>
                  <a:pt x="178" y="284"/>
                  <a:pt x="172" y="281"/>
                </a:cubicBezTo>
                <a:cubicBezTo>
                  <a:pt x="169" y="279"/>
                  <a:pt x="167" y="277"/>
                  <a:pt x="162" y="275"/>
                </a:cubicBezTo>
                <a:cubicBezTo>
                  <a:pt x="160" y="273"/>
                  <a:pt x="154" y="271"/>
                  <a:pt x="152" y="269"/>
                </a:cubicBezTo>
                <a:cubicBezTo>
                  <a:pt x="151" y="269"/>
                  <a:pt x="149" y="268"/>
                  <a:pt x="148" y="267"/>
                </a:cubicBezTo>
                <a:cubicBezTo>
                  <a:pt x="147" y="266"/>
                  <a:pt x="146" y="266"/>
                  <a:pt x="146" y="265"/>
                </a:cubicBezTo>
                <a:cubicBezTo>
                  <a:pt x="145" y="265"/>
                  <a:pt x="145" y="264"/>
                  <a:pt x="144" y="264"/>
                </a:cubicBezTo>
                <a:cubicBezTo>
                  <a:pt x="146" y="265"/>
                  <a:pt x="148" y="266"/>
                  <a:pt x="150" y="267"/>
                </a:cubicBezTo>
                <a:cubicBezTo>
                  <a:pt x="152" y="267"/>
                  <a:pt x="152" y="268"/>
                  <a:pt x="154" y="268"/>
                </a:cubicBezTo>
                <a:cubicBezTo>
                  <a:pt x="155" y="269"/>
                  <a:pt x="157" y="269"/>
                  <a:pt x="158" y="270"/>
                </a:cubicBezTo>
                <a:cubicBezTo>
                  <a:pt x="158" y="269"/>
                  <a:pt x="158" y="269"/>
                  <a:pt x="159" y="269"/>
                </a:cubicBezTo>
                <a:cubicBezTo>
                  <a:pt x="162" y="270"/>
                  <a:pt x="164" y="272"/>
                  <a:pt x="168" y="273"/>
                </a:cubicBezTo>
                <a:cubicBezTo>
                  <a:pt x="170" y="274"/>
                  <a:pt x="172" y="275"/>
                  <a:pt x="173" y="276"/>
                </a:cubicBezTo>
                <a:cubicBezTo>
                  <a:pt x="173" y="276"/>
                  <a:pt x="172" y="276"/>
                  <a:pt x="173" y="277"/>
                </a:cubicBezTo>
                <a:cubicBezTo>
                  <a:pt x="175" y="277"/>
                  <a:pt x="175" y="277"/>
                  <a:pt x="176" y="277"/>
                </a:cubicBezTo>
                <a:cubicBezTo>
                  <a:pt x="177" y="277"/>
                  <a:pt x="178" y="278"/>
                  <a:pt x="180" y="279"/>
                </a:cubicBezTo>
                <a:cubicBezTo>
                  <a:pt x="180" y="279"/>
                  <a:pt x="180" y="279"/>
                  <a:pt x="180" y="279"/>
                </a:cubicBezTo>
                <a:cubicBezTo>
                  <a:pt x="186" y="283"/>
                  <a:pt x="196" y="287"/>
                  <a:pt x="204" y="291"/>
                </a:cubicBezTo>
                <a:cubicBezTo>
                  <a:pt x="208" y="293"/>
                  <a:pt x="212" y="296"/>
                  <a:pt x="216" y="298"/>
                </a:cubicBezTo>
                <a:cubicBezTo>
                  <a:pt x="218" y="299"/>
                  <a:pt x="221" y="301"/>
                  <a:pt x="224" y="302"/>
                </a:cubicBezTo>
                <a:cubicBezTo>
                  <a:pt x="225" y="303"/>
                  <a:pt x="225" y="304"/>
                  <a:pt x="228" y="304"/>
                </a:cubicBezTo>
                <a:cubicBezTo>
                  <a:pt x="233" y="305"/>
                  <a:pt x="230" y="303"/>
                  <a:pt x="230" y="303"/>
                </a:cubicBezTo>
                <a:cubicBezTo>
                  <a:pt x="231" y="303"/>
                  <a:pt x="232" y="304"/>
                  <a:pt x="234" y="304"/>
                </a:cubicBezTo>
                <a:cubicBezTo>
                  <a:pt x="232" y="303"/>
                  <a:pt x="229" y="301"/>
                  <a:pt x="226" y="299"/>
                </a:cubicBezTo>
                <a:cubicBezTo>
                  <a:pt x="227" y="299"/>
                  <a:pt x="228" y="299"/>
                  <a:pt x="226" y="298"/>
                </a:cubicBezTo>
                <a:cubicBezTo>
                  <a:pt x="223" y="297"/>
                  <a:pt x="221" y="296"/>
                  <a:pt x="217" y="294"/>
                </a:cubicBezTo>
                <a:cubicBezTo>
                  <a:pt x="217" y="294"/>
                  <a:pt x="217" y="294"/>
                  <a:pt x="217" y="294"/>
                </a:cubicBezTo>
                <a:cubicBezTo>
                  <a:pt x="217" y="294"/>
                  <a:pt x="217" y="294"/>
                  <a:pt x="217" y="294"/>
                </a:cubicBezTo>
                <a:cubicBezTo>
                  <a:pt x="217" y="294"/>
                  <a:pt x="217" y="294"/>
                  <a:pt x="217" y="294"/>
                </a:cubicBezTo>
                <a:cubicBezTo>
                  <a:pt x="217" y="294"/>
                  <a:pt x="220" y="294"/>
                  <a:pt x="215" y="293"/>
                </a:cubicBezTo>
                <a:cubicBezTo>
                  <a:pt x="214" y="292"/>
                  <a:pt x="212" y="291"/>
                  <a:pt x="214" y="291"/>
                </a:cubicBezTo>
                <a:cubicBezTo>
                  <a:pt x="214" y="291"/>
                  <a:pt x="214" y="291"/>
                  <a:pt x="214" y="291"/>
                </a:cubicBezTo>
                <a:cubicBezTo>
                  <a:pt x="214" y="291"/>
                  <a:pt x="214" y="291"/>
                  <a:pt x="214" y="291"/>
                </a:cubicBezTo>
                <a:cubicBezTo>
                  <a:pt x="214" y="291"/>
                  <a:pt x="214" y="291"/>
                  <a:pt x="214" y="291"/>
                </a:cubicBezTo>
                <a:cubicBezTo>
                  <a:pt x="219" y="293"/>
                  <a:pt x="223" y="296"/>
                  <a:pt x="230" y="298"/>
                </a:cubicBezTo>
                <a:cubicBezTo>
                  <a:pt x="231" y="299"/>
                  <a:pt x="232" y="299"/>
                  <a:pt x="233" y="300"/>
                </a:cubicBezTo>
                <a:cubicBezTo>
                  <a:pt x="236" y="300"/>
                  <a:pt x="232" y="299"/>
                  <a:pt x="232" y="299"/>
                </a:cubicBezTo>
                <a:cubicBezTo>
                  <a:pt x="233" y="299"/>
                  <a:pt x="234" y="298"/>
                  <a:pt x="235" y="298"/>
                </a:cubicBezTo>
                <a:cubicBezTo>
                  <a:pt x="239" y="300"/>
                  <a:pt x="241" y="301"/>
                  <a:pt x="244" y="303"/>
                </a:cubicBezTo>
                <a:cubicBezTo>
                  <a:pt x="246" y="304"/>
                  <a:pt x="248" y="305"/>
                  <a:pt x="250" y="305"/>
                </a:cubicBezTo>
                <a:cubicBezTo>
                  <a:pt x="253" y="306"/>
                  <a:pt x="247" y="304"/>
                  <a:pt x="246" y="303"/>
                </a:cubicBezTo>
                <a:cubicBezTo>
                  <a:pt x="246" y="303"/>
                  <a:pt x="246" y="303"/>
                  <a:pt x="246" y="302"/>
                </a:cubicBezTo>
                <a:cubicBezTo>
                  <a:pt x="246" y="302"/>
                  <a:pt x="246" y="302"/>
                  <a:pt x="246" y="302"/>
                </a:cubicBezTo>
                <a:cubicBezTo>
                  <a:pt x="247" y="302"/>
                  <a:pt x="247" y="302"/>
                  <a:pt x="248" y="302"/>
                </a:cubicBezTo>
                <a:cubicBezTo>
                  <a:pt x="245" y="301"/>
                  <a:pt x="240" y="299"/>
                  <a:pt x="238" y="298"/>
                </a:cubicBezTo>
                <a:cubicBezTo>
                  <a:pt x="237" y="297"/>
                  <a:pt x="237" y="297"/>
                  <a:pt x="236" y="296"/>
                </a:cubicBezTo>
                <a:cubicBezTo>
                  <a:pt x="236" y="296"/>
                  <a:pt x="237" y="296"/>
                  <a:pt x="238" y="296"/>
                </a:cubicBezTo>
                <a:cubicBezTo>
                  <a:pt x="238" y="296"/>
                  <a:pt x="238" y="296"/>
                  <a:pt x="237" y="295"/>
                </a:cubicBezTo>
                <a:cubicBezTo>
                  <a:pt x="231" y="292"/>
                  <a:pt x="231" y="292"/>
                  <a:pt x="237" y="292"/>
                </a:cubicBezTo>
                <a:cubicBezTo>
                  <a:pt x="239" y="292"/>
                  <a:pt x="239" y="293"/>
                  <a:pt x="242" y="293"/>
                </a:cubicBezTo>
                <a:cubicBezTo>
                  <a:pt x="244" y="293"/>
                  <a:pt x="241" y="292"/>
                  <a:pt x="240" y="292"/>
                </a:cubicBezTo>
                <a:cubicBezTo>
                  <a:pt x="239" y="291"/>
                  <a:pt x="239" y="290"/>
                  <a:pt x="241" y="291"/>
                </a:cubicBezTo>
                <a:cubicBezTo>
                  <a:pt x="247" y="293"/>
                  <a:pt x="253" y="294"/>
                  <a:pt x="258" y="297"/>
                </a:cubicBezTo>
                <a:cubicBezTo>
                  <a:pt x="258" y="297"/>
                  <a:pt x="259" y="297"/>
                  <a:pt x="258" y="297"/>
                </a:cubicBezTo>
                <a:cubicBezTo>
                  <a:pt x="258" y="297"/>
                  <a:pt x="256" y="296"/>
                  <a:pt x="255" y="297"/>
                </a:cubicBezTo>
                <a:cubicBezTo>
                  <a:pt x="260" y="300"/>
                  <a:pt x="270" y="302"/>
                  <a:pt x="275" y="305"/>
                </a:cubicBezTo>
                <a:cubicBezTo>
                  <a:pt x="277" y="307"/>
                  <a:pt x="280" y="308"/>
                  <a:pt x="284" y="310"/>
                </a:cubicBezTo>
                <a:cubicBezTo>
                  <a:pt x="285" y="311"/>
                  <a:pt x="286" y="311"/>
                  <a:pt x="288" y="311"/>
                </a:cubicBezTo>
                <a:cubicBezTo>
                  <a:pt x="290" y="311"/>
                  <a:pt x="289" y="310"/>
                  <a:pt x="287" y="310"/>
                </a:cubicBezTo>
                <a:cubicBezTo>
                  <a:pt x="283" y="308"/>
                  <a:pt x="287" y="309"/>
                  <a:pt x="287" y="308"/>
                </a:cubicBezTo>
                <a:cubicBezTo>
                  <a:pt x="288" y="308"/>
                  <a:pt x="289" y="308"/>
                  <a:pt x="289" y="309"/>
                </a:cubicBezTo>
                <a:cubicBezTo>
                  <a:pt x="287" y="308"/>
                  <a:pt x="287" y="306"/>
                  <a:pt x="282" y="306"/>
                </a:cubicBezTo>
                <a:cubicBezTo>
                  <a:pt x="281" y="306"/>
                  <a:pt x="283" y="307"/>
                  <a:pt x="283" y="307"/>
                </a:cubicBezTo>
                <a:cubicBezTo>
                  <a:pt x="280" y="307"/>
                  <a:pt x="280" y="306"/>
                  <a:pt x="278" y="305"/>
                </a:cubicBezTo>
                <a:cubicBezTo>
                  <a:pt x="273" y="303"/>
                  <a:pt x="273" y="302"/>
                  <a:pt x="268" y="300"/>
                </a:cubicBezTo>
                <a:cubicBezTo>
                  <a:pt x="266" y="299"/>
                  <a:pt x="264" y="298"/>
                  <a:pt x="262" y="297"/>
                </a:cubicBezTo>
                <a:cubicBezTo>
                  <a:pt x="262" y="296"/>
                  <a:pt x="263" y="296"/>
                  <a:pt x="262" y="295"/>
                </a:cubicBezTo>
                <a:cubicBezTo>
                  <a:pt x="260" y="294"/>
                  <a:pt x="258" y="293"/>
                  <a:pt x="256" y="292"/>
                </a:cubicBezTo>
                <a:cubicBezTo>
                  <a:pt x="256" y="292"/>
                  <a:pt x="255" y="292"/>
                  <a:pt x="255" y="292"/>
                </a:cubicBezTo>
                <a:cubicBezTo>
                  <a:pt x="257" y="293"/>
                  <a:pt x="259" y="294"/>
                  <a:pt x="261" y="295"/>
                </a:cubicBezTo>
                <a:cubicBezTo>
                  <a:pt x="256" y="294"/>
                  <a:pt x="255" y="293"/>
                  <a:pt x="252" y="292"/>
                </a:cubicBezTo>
                <a:cubicBezTo>
                  <a:pt x="251" y="290"/>
                  <a:pt x="245" y="288"/>
                  <a:pt x="242" y="287"/>
                </a:cubicBezTo>
                <a:cubicBezTo>
                  <a:pt x="242" y="286"/>
                  <a:pt x="241" y="286"/>
                  <a:pt x="240" y="286"/>
                </a:cubicBezTo>
                <a:cubicBezTo>
                  <a:pt x="240" y="286"/>
                  <a:pt x="240" y="286"/>
                  <a:pt x="240" y="286"/>
                </a:cubicBezTo>
                <a:cubicBezTo>
                  <a:pt x="240" y="286"/>
                  <a:pt x="240" y="286"/>
                  <a:pt x="240" y="286"/>
                </a:cubicBezTo>
                <a:cubicBezTo>
                  <a:pt x="240" y="286"/>
                  <a:pt x="240" y="286"/>
                  <a:pt x="240" y="286"/>
                </a:cubicBezTo>
                <a:cubicBezTo>
                  <a:pt x="236" y="285"/>
                  <a:pt x="234" y="283"/>
                  <a:pt x="229" y="281"/>
                </a:cubicBezTo>
                <a:cubicBezTo>
                  <a:pt x="229" y="281"/>
                  <a:pt x="229" y="281"/>
                  <a:pt x="229" y="281"/>
                </a:cubicBezTo>
                <a:cubicBezTo>
                  <a:pt x="229" y="281"/>
                  <a:pt x="229" y="281"/>
                  <a:pt x="229" y="281"/>
                </a:cubicBezTo>
                <a:cubicBezTo>
                  <a:pt x="228" y="280"/>
                  <a:pt x="226" y="279"/>
                  <a:pt x="224" y="279"/>
                </a:cubicBezTo>
                <a:cubicBezTo>
                  <a:pt x="223" y="277"/>
                  <a:pt x="220" y="276"/>
                  <a:pt x="217" y="275"/>
                </a:cubicBezTo>
                <a:cubicBezTo>
                  <a:pt x="215" y="274"/>
                  <a:pt x="214" y="273"/>
                  <a:pt x="212" y="273"/>
                </a:cubicBezTo>
                <a:cubicBezTo>
                  <a:pt x="212" y="272"/>
                  <a:pt x="212" y="272"/>
                  <a:pt x="212" y="272"/>
                </a:cubicBezTo>
                <a:cubicBezTo>
                  <a:pt x="210" y="271"/>
                  <a:pt x="207" y="270"/>
                  <a:pt x="208" y="269"/>
                </a:cubicBezTo>
                <a:cubicBezTo>
                  <a:pt x="214" y="271"/>
                  <a:pt x="218" y="274"/>
                  <a:pt x="225" y="276"/>
                </a:cubicBezTo>
                <a:cubicBezTo>
                  <a:pt x="236" y="282"/>
                  <a:pt x="246" y="287"/>
                  <a:pt x="257" y="292"/>
                </a:cubicBezTo>
                <a:cubicBezTo>
                  <a:pt x="258" y="292"/>
                  <a:pt x="260" y="293"/>
                  <a:pt x="261" y="293"/>
                </a:cubicBezTo>
                <a:cubicBezTo>
                  <a:pt x="262" y="294"/>
                  <a:pt x="262" y="294"/>
                  <a:pt x="263" y="294"/>
                </a:cubicBezTo>
                <a:cubicBezTo>
                  <a:pt x="269" y="297"/>
                  <a:pt x="274" y="300"/>
                  <a:pt x="280" y="302"/>
                </a:cubicBezTo>
                <a:cubicBezTo>
                  <a:pt x="286" y="305"/>
                  <a:pt x="293" y="308"/>
                  <a:pt x="297" y="311"/>
                </a:cubicBezTo>
                <a:cubicBezTo>
                  <a:pt x="298" y="312"/>
                  <a:pt x="301" y="313"/>
                  <a:pt x="303" y="315"/>
                </a:cubicBezTo>
                <a:cubicBezTo>
                  <a:pt x="302" y="314"/>
                  <a:pt x="301" y="314"/>
                  <a:pt x="300" y="314"/>
                </a:cubicBezTo>
                <a:cubicBezTo>
                  <a:pt x="301" y="315"/>
                  <a:pt x="302" y="315"/>
                  <a:pt x="304" y="316"/>
                </a:cubicBezTo>
                <a:cubicBezTo>
                  <a:pt x="305" y="316"/>
                  <a:pt x="304" y="315"/>
                  <a:pt x="304" y="315"/>
                </a:cubicBezTo>
                <a:cubicBezTo>
                  <a:pt x="305" y="315"/>
                  <a:pt x="306" y="316"/>
                  <a:pt x="309" y="316"/>
                </a:cubicBezTo>
                <a:cubicBezTo>
                  <a:pt x="304" y="314"/>
                  <a:pt x="303" y="313"/>
                  <a:pt x="299" y="311"/>
                </a:cubicBezTo>
                <a:cubicBezTo>
                  <a:pt x="297" y="310"/>
                  <a:pt x="296" y="309"/>
                  <a:pt x="294" y="308"/>
                </a:cubicBezTo>
                <a:cubicBezTo>
                  <a:pt x="290" y="306"/>
                  <a:pt x="284" y="303"/>
                  <a:pt x="280" y="300"/>
                </a:cubicBezTo>
                <a:cubicBezTo>
                  <a:pt x="281" y="300"/>
                  <a:pt x="280" y="300"/>
                  <a:pt x="280" y="299"/>
                </a:cubicBezTo>
                <a:cubicBezTo>
                  <a:pt x="279" y="299"/>
                  <a:pt x="279" y="298"/>
                  <a:pt x="280" y="298"/>
                </a:cubicBezTo>
                <a:cubicBezTo>
                  <a:pt x="282" y="298"/>
                  <a:pt x="284" y="299"/>
                  <a:pt x="285" y="300"/>
                </a:cubicBezTo>
                <a:cubicBezTo>
                  <a:pt x="288" y="301"/>
                  <a:pt x="292" y="302"/>
                  <a:pt x="296" y="303"/>
                </a:cubicBezTo>
                <a:cubicBezTo>
                  <a:pt x="300" y="305"/>
                  <a:pt x="302" y="304"/>
                  <a:pt x="304" y="304"/>
                </a:cubicBezTo>
                <a:cubicBezTo>
                  <a:pt x="304" y="304"/>
                  <a:pt x="306" y="304"/>
                  <a:pt x="307" y="304"/>
                </a:cubicBezTo>
                <a:cubicBezTo>
                  <a:pt x="308" y="305"/>
                  <a:pt x="308" y="305"/>
                  <a:pt x="306" y="305"/>
                </a:cubicBezTo>
                <a:cubicBezTo>
                  <a:pt x="303" y="305"/>
                  <a:pt x="304" y="306"/>
                  <a:pt x="302" y="306"/>
                </a:cubicBezTo>
                <a:cubicBezTo>
                  <a:pt x="306" y="307"/>
                  <a:pt x="310" y="308"/>
                  <a:pt x="314" y="310"/>
                </a:cubicBezTo>
                <a:cubicBezTo>
                  <a:pt x="313" y="309"/>
                  <a:pt x="312" y="308"/>
                  <a:pt x="312" y="307"/>
                </a:cubicBezTo>
                <a:cubicBezTo>
                  <a:pt x="314" y="308"/>
                  <a:pt x="319" y="309"/>
                  <a:pt x="318" y="307"/>
                </a:cubicBezTo>
                <a:cubicBezTo>
                  <a:pt x="317" y="305"/>
                  <a:pt x="317" y="305"/>
                  <a:pt x="321" y="305"/>
                </a:cubicBezTo>
                <a:cubicBezTo>
                  <a:pt x="317" y="304"/>
                  <a:pt x="314" y="302"/>
                  <a:pt x="310" y="302"/>
                </a:cubicBezTo>
                <a:cubicBezTo>
                  <a:pt x="310" y="302"/>
                  <a:pt x="309" y="302"/>
                  <a:pt x="309" y="302"/>
                </a:cubicBezTo>
                <a:cubicBezTo>
                  <a:pt x="309" y="301"/>
                  <a:pt x="309" y="301"/>
                  <a:pt x="310" y="301"/>
                </a:cubicBezTo>
                <a:cubicBezTo>
                  <a:pt x="312" y="301"/>
                  <a:pt x="310" y="300"/>
                  <a:pt x="309" y="300"/>
                </a:cubicBezTo>
                <a:cubicBezTo>
                  <a:pt x="308" y="300"/>
                  <a:pt x="308" y="300"/>
                  <a:pt x="308" y="299"/>
                </a:cubicBezTo>
                <a:cubicBezTo>
                  <a:pt x="308" y="299"/>
                  <a:pt x="308" y="299"/>
                  <a:pt x="306" y="298"/>
                </a:cubicBezTo>
                <a:cubicBezTo>
                  <a:pt x="304" y="297"/>
                  <a:pt x="304" y="297"/>
                  <a:pt x="306" y="297"/>
                </a:cubicBezTo>
                <a:cubicBezTo>
                  <a:pt x="307" y="297"/>
                  <a:pt x="304" y="296"/>
                  <a:pt x="305" y="295"/>
                </a:cubicBezTo>
                <a:cubicBezTo>
                  <a:pt x="306" y="296"/>
                  <a:pt x="307" y="297"/>
                  <a:pt x="308" y="297"/>
                </a:cubicBezTo>
                <a:cubicBezTo>
                  <a:pt x="310" y="299"/>
                  <a:pt x="314" y="300"/>
                  <a:pt x="317" y="302"/>
                </a:cubicBezTo>
                <a:cubicBezTo>
                  <a:pt x="318" y="303"/>
                  <a:pt x="320" y="304"/>
                  <a:pt x="322" y="305"/>
                </a:cubicBezTo>
                <a:cubicBezTo>
                  <a:pt x="323" y="305"/>
                  <a:pt x="324" y="306"/>
                  <a:pt x="325" y="306"/>
                </a:cubicBezTo>
                <a:cubicBezTo>
                  <a:pt x="326" y="306"/>
                  <a:pt x="327" y="307"/>
                  <a:pt x="327" y="307"/>
                </a:cubicBezTo>
                <a:cubicBezTo>
                  <a:pt x="327" y="307"/>
                  <a:pt x="328" y="308"/>
                  <a:pt x="329" y="308"/>
                </a:cubicBezTo>
                <a:cubicBezTo>
                  <a:pt x="330" y="308"/>
                  <a:pt x="331" y="309"/>
                  <a:pt x="332" y="309"/>
                </a:cubicBezTo>
                <a:cubicBezTo>
                  <a:pt x="332" y="308"/>
                  <a:pt x="331" y="308"/>
                  <a:pt x="330" y="308"/>
                </a:cubicBezTo>
                <a:cubicBezTo>
                  <a:pt x="329" y="307"/>
                  <a:pt x="328" y="306"/>
                  <a:pt x="326" y="306"/>
                </a:cubicBezTo>
                <a:cubicBezTo>
                  <a:pt x="321" y="303"/>
                  <a:pt x="317" y="300"/>
                  <a:pt x="309" y="297"/>
                </a:cubicBezTo>
                <a:cubicBezTo>
                  <a:pt x="305" y="294"/>
                  <a:pt x="298" y="291"/>
                  <a:pt x="292" y="288"/>
                </a:cubicBezTo>
                <a:cubicBezTo>
                  <a:pt x="289" y="287"/>
                  <a:pt x="287" y="285"/>
                  <a:pt x="284" y="284"/>
                </a:cubicBezTo>
                <a:cubicBezTo>
                  <a:pt x="283" y="283"/>
                  <a:pt x="279" y="281"/>
                  <a:pt x="276" y="280"/>
                </a:cubicBezTo>
                <a:cubicBezTo>
                  <a:pt x="280" y="281"/>
                  <a:pt x="284" y="280"/>
                  <a:pt x="289" y="282"/>
                </a:cubicBezTo>
                <a:cubicBezTo>
                  <a:pt x="294" y="284"/>
                  <a:pt x="299" y="286"/>
                  <a:pt x="303" y="288"/>
                </a:cubicBezTo>
                <a:cubicBezTo>
                  <a:pt x="309" y="291"/>
                  <a:pt x="314" y="295"/>
                  <a:pt x="322" y="298"/>
                </a:cubicBezTo>
                <a:cubicBezTo>
                  <a:pt x="325" y="299"/>
                  <a:pt x="330" y="300"/>
                  <a:pt x="334" y="302"/>
                </a:cubicBezTo>
                <a:cubicBezTo>
                  <a:pt x="335" y="300"/>
                  <a:pt x="331" y="299"/>
                  <a:pt x="328" y="298"/>
                </a:cubicBezTo>
                <a:cubicBezTo>
                  <a:pt x="326" y="297"/>
                  <a:pt x="323" y="297"/>
                  <a:pt x="323" y="296"/>
                </a:cubicBezTo>
                <a:cubicBezTo>
                  <a:pt x="323" y="295"/>
                  <a:pt x="325" y="296"/>
                  <a:pt x="327" y="296"/>
                </a:cubicBezTo>
                <a:cubicBezTo>
                  <a:pt x="328" y="296"/>
                  <a:pt x="330" y="296"/>
                  <a:pt x="331" y="296"/>
                </a:cubicBezTo>
                <a:cubicBezTo>
                  <a:pt x="331" y="297"/>
                  <a:pt x="332" y="297"/>
                  <a:pt x="333" y="298"/>
                </a:cubicBezTo>
                <a:cubicBezTo>
                  <a:pt x="333" y="298"/>
                  <a:pt x="333" y="298"/>
                  <a:pt x="333" y="298"/>
                </a:cubicBezTo>
                <a:cubicBezTo>
                  <a:pt x="333" y="298"/>
                  <a:pt x="333" y="298"/>
                  <a:pt x="333" y="298"/>
                </a:cubicBezTo>
                <a:cubicBezTo>
                  <a:pt x="332" y="298"/>
                  <a:pt x="330" y="297"/>
                  <a:pt x="330" y="297"/>
                </a:cubicBezTo>
                <a:cubicBezTo>
                  <a:pt x="330" y="298"/>
                  <a:pt x="331" y="299"/>
                  <a:pt x="334" y="299"/>
                </a:cubicBezTo>
                <a:cubicBezTo>
                  <a:pt x="334" y="299"/>
                  <a:pt x="335" y="300"/>
                  <a:pt x="335" y="300"/>
                </a:cubicBezTo>
                <a:cubicBezTo>
                  <a:pt x="337" y="301"/>
                  <a:pt x="339" y="302"/>
                  <a:pt x="341" y="303"/>
                </a:cubicBezTo>
                <a:cubicBezTo>
                  <a:pt x="341" y="303"/>
                  <a:pt x="342" y="303"/>
                  <a:pt x="342" y="303"/>
                </a:cubicBezTo>
                <a:cubicBezTo>
                  <a:pt x="340" y="302"/>
                  <a:pt x="338" y="301"/>
                  <a:pt x="336" y="300"/>
                </a:cubicBezTo>
                <a:cubicBezTo>
                  <a:pt x="335" y="299"/>
                  <a:pt x="335" y="299"/>
                  <a:pt x="337" y="298"/>
                </a:cubicBezTo>
                <a:cubicBezTo>
                  <a:pt x="339" y="299"/>
                  <a:pt x="340" y="299"/>
                  <a:pt x="341" y="299"/>
                </a:cubicBezTo>
                <a:cubicBezTo>
                  <a:pt x="342" y="300"/>
                  <a:pt x="344" y="301"/>
                  <a:pt x="347" y="301"/>
                </a:cubicBezTo>
                <a:cubicBezTo>
                  <a:pt x="346" y="300"/>
                  <a:pt x="345" y="299"/>
                  <a:pt x="344" y="299"/>
                </a:cubicBezTo>
                <a:cubicBezTo>
                  <a:pt x="343" y="297"/>
                  <a:pt x="339" y="295"/>
                  <a:pt x="335" y="294"/>
                </a:cubicBezTo>
                <a:cubicBezTo>
                  <a:pt x="334" y="293"/>
                  <a:pt x="333" y="293"/>
                  <a:pt x="331" y="292"/>
                </a:cubicBezTo>
                <a:cubicBezTo>
                  <a:pt x="331" y="292"/>
                  <a:pt x="331" y="292"/>
                  <a:pt x="330" y="291"/>
                </a:cubicBezTo>
                <a:cubicBezTo>
                  <a:pt x="330" y="291"/>
                  <a:pt x="329" y="290"/>
                  <a:pt x="327" y="290"/>
                </a:cubicBezTo>
                <a:cubicBezTo>
                  <a:pt x="326" y="289"/>
                  <a:pt x="325" y="289"/>
                  <a:pt x="325" y="289"/>
                </a:cubicBezTo>
                <a:cubicBezTo>
                  <a:pt x="327" y="288"/>
                  <a:pt x="323" y="287"/>
                  <a:pt x="324" y="287"/>
                </a:cubicBezTo>
                <a:cubicBezTo>
                  <a:pt x="325" y="287"/>
                  <a:pt x="329" y="288"/>
                  <a:pt x="329" y="287"/>
                </a:cubicBezTo>
                <a:cubicBezTo>
                  <a:pt x="330" y="287"/>
                  <a:pt x="328" y="286"/>
                  <a:pt x="326" y="285"/>
                </a:cubicBezTo>
                <a:cubicBezTo>
                  <a:pt x="324" y="284"/>
                  <a:pt x="323" y="284"/>
                  <a:pt x="322" y="283"/>
                </a:cubicBezTo>
                <a:cubicBezTo>
                  <a:pt x="320" y="281"/>
                  <a:pt x="318" y="280"/>
                  <a:pt x="311" y="278"/>
                </a:cubicBezTo>
                <a:cubicBezTo>
                  <a:pt x="310" y="277"/>
                  <a:pt x="304" y="275"/>
                  <a:pt x="301" y="273"/>
                </a:cubicBezTo>
                <a:cubicBezTo>
                  <a:pt x="296" y="271"/>
                  <a:pt x="290" y="268"/>
                  <a:pt x="284" y="265"/>
                </a:cubicBezTo>
                <a:cubicBezTo>
                  <a:pt x="283" y="264"/>
                  <a:pt x="281" y="263"/>
                  <a:pt x="276" y="262"/>
                </a:cubicBezTo>
                <a:cubicBezTo>
                  <a:pt x="278" y="263"/>
                  <a:pt x="281" y="264"/>
                  <a:pt x="283" y="265"/>
                </a:cubicBezTo>
                <a:cubicBezTo>
                  <a:pt x="285" y="266"/>
                  <a:pt x="286" y="267"/>
                  <a:pt x="288" y="268"/>
                </a:cubicBezTo>
                <a:cubicBezTo>
                  <a:pt x="282" y="266"/>
                  <a:pt x="281" y="264"/>
                  <a:pt x="277" y="263"/>
                </a:cubicBezTo>
                <a:cubicBezTo>
                  <a:pt x="275" y="262"/>
                  <a:pt x="273" y="262"/>
                  <a:pt x="272" y="261"/>
                </a:cubicBezTo>
                <a:cubicBezTo>
                  <a:pt x="272" y="261"/>
                  <a:pt x="272" y="261"/>
                  <a:pt x="272" y="261"/>
                </a:cubicBezTo>
                <a:cubicBezTo>
                  <a:pt x="272" y="261"/>
                  <a:pt x="272" y="260"/>
                  <a:pt x="270" y="259"/>
                </a:cubicBezTo>
                <a:cubicBezTo>
                  <a:pt x="268" y="259"/>
                  <a:pt x="268" y="259"/>
                  <a:pt x="268" y="260"/>
                </a:cubicBezTo>
                <a:cubicBezTo>
                  <a:pt x="265" y="258"/>
                  <a:pt x="262" y="257"/>
                  <a:pt x="260" y="256"/>
                </a:cubicBezTo>
                <a:cubicBezTo>
                  <a:pt x="260" y="256"/>
                  <a:pt x="261" y="256"/>
                  <a:pt x="262" y="256"/>
                </a:cubicBezTo>
                <a:cubicBezTo>
                  <a:pt x="263" y="256"/>
                  <a:pt x="264" y="257"/>
                  <a:pt x="265" y="257"/>
                </a:cubicBezTo>
                <a:cubicBezTo>
                  <a:pt x="269" y="258"/>
                  <a:pt x="272" y="259"/>
                  <a:pt x="273" y="260"/>
                </a:cubicBezTo>
                <a:cubicBezTo>
                  <a:pt x="274" y="260"/>
                  <a:pt x="275" y="261"/>
                  <a:pt x="276" y="261"/>
                </a:cubicBezTo>
                <a:cubicBezTo>
                  <a:pt x="277" y="261"/>
                  <a:pt x="276" y="260"/>
                  <a:pt x="275" y="260"/>
                </a:cubicBezTo>
                <a:cubicBezTo>
                  <a:pt x="276" y="260"/>
                  <a:pt x="277" y="260"/>
                  <a:pt x="277" y="260"/>
                </a:cubicBezTo>
                <a:cubicBezTo>
                  <a:pt x="278" y="260"/>
                  <a:pt x="279" y="261"/>
                  <a:pt x="280" y="261"/>
                </a:cubicBezTo>
                <a:cubicBezTo>
                  <a:pt x="285" y="263"/>
                  <a:pt x="289" y="266"/>
                  <a:pt x="294" y="268"/>
                </a:cubicBezTo>
                <a:cubicBezTo>
                  <a:pt x="294" y="268"/>
                  <a:pt x="294" y="268"/>
                  <a:pt x="294" y="267"/>
                </a:cubicBezTo>
                <a:cubicBezTo>
                  <a:pt x="294" y="267"/>
                  <a:pt x="293" y="267"/>
                  <a:pt x="293" y="267"/>
                </a:cubicBezTo>
                <a:cubicBezTo>
                  <a:pt x="293" y="267"/>
                  <a:pt x="293" y="267"/>
                  <a:pt x="293" y="267"/>
                </a:cubicBezTo>
                <a:cubicBezTo>
                  <a:pt x="293" y="267"/>
                  <a:pt x="293" y="267"/>
                  <a:pt x="293" y="267"/>
                </a:cubicBezTo>
                <a:cubicBezTo>
                  <a:pt x="296" y="267"/>
                  <a:pt x="299" y="268"/>
                  <a:pt x="300" y="270"/>
                </a:cubicBezTo>
                <a:cubicBezTo>
                  <a:pt x="301" y="270"/>
                  <a:pt x="303" y="271"/>
                  <a:pt x="306" y="272"/>
                </a:cubicBezTo>
                <a:cubicBezTo>
                  <a:pt x="307" y="272"/>
                  <a:pt x="308" y="272"/>
                  <a:pt x="308" y="272"/>
                </a:cubicBezTo>
                <a:cubicBezTo>
                  <a:pt x="310" y="271"/>
                  <a:pt x="307" y="270"/>
                  <a:pt x="305" y="270"/>
                </a:cubicBezTo>
                <a:cubicBezTo>
                  <a:pt x="298" y="266"/>
                  <a:pt x="289" y="262"/>
                  <a:pt x="282" y="259"/>
                </a:cubicBezTo>
                <a:cubicBezTo>
                  <a:pt x="282" y="259"/>
                  <a:pt x="282" y="259"/>
                  <a:pt x="282" y="259"/>
                </a:cubicBezTo>
                <a:cubicBezTo>
                  <a:pt x="279" y="257"/>
                  <a:pt x="272" y="255"/>
                  <a:pt x="271" y="253"/>
                </a:cubicBezTo>
                <a:cubicBezTo>
                  <a:pt x="281" y="257"/>
                  <a:pt x="290" y="262"/>
                  <a:pt x="299" y="266"/>
                </a:cubicBezTo>
                <a:cubicBezTo>
                  <a:pt x="308" y="270"/>
                  <a:pt x="318" y="275"/>
                  <a:pt x="330" y="280"/>
                </a:cubicBezTo>
                <a:cubicBezTo>
                  <a:pt x="332" y="281"/>
                  <a:pt x="334" y="281"/>
                  <a:pt x="336" y="282"/>
                </a:cubicBezTo>
                <a:cubicBezTo>
                  <a:pt x="340" y="285"/>
                  <a:pt x="347" y="288"/>
                  <a:pt x="352" y="291"/>
                </a:cubicBezTo>
                <a:cubicBezTo>
                  <a:pt x="353" y="291"/>
                  <a:pt x="349" y="290"/>
                  <a:pt x="349" y="289"/>
                </a:cubicBezTo>
                <a:cubicBezTo>
                  <a:pt x="355" y="290"/>
                  <a:pt x="358" y="292"/>
                  <a:pt x="361" y="294"/>
                </a:cubicBezTo>
                <a:cubicBezTo>
                  <a:pt x="363" y="295"/>
                  <a:pt x="365" y="297"/>
                  <a:pt x="371" y="298"/>
                </a:cubicBezTo>
                <a:cubicBezTo>
                  <a:pt x="376" y="299"/>
                  <a:pt x="377" y="300"/>
                  <a:pt x="380" y="302"/>
                </a:cubicBezTo>
                <a:cubicBezTo>
                  <a:pt x="380" y="302"/>
                  <a:pt x="380" y="302"/>
                  <a:pt x="380" y="302"/>
                </a:cubicBezTo>
                <a:cubicBezTo>
                  <a:pt x="385" y="304"/>
                  <a:pt x="389" y="306"/>
                  <a:pt x="393" y="308"/>
                </a:cubicBezTo>
                <a:cubicBezTo>
                  <a:pt x="390" y="307"/>
                  <a:pt x="389" y="306"/>
                  <a:pt x="387" y="306"/>
                </a:cubicBezTo>
                <a:cubicBezTo>
                  <a:pt x="386" y="305"/>
                  <a:pt x="385" y="304"/>
                  <a:pt x="381" y="303"/>
                </a:cubicBezTo>
                <a:cubicBezTo>
                  <a:pt x="382" y="304"/>
                  <a:pt x="383" y="305"/>
                  <a:pt x="386" y="306"/>
                </a:cubicBezTo>
                <a:cubicBezTo>
                  <a:pt x="389" y="307"/>
                  <a:pt x="391" y="308"/>
                  <a:pt x="394" y="310"/>
                </a:cubicBezTo>
                <a:cubicBezTo>
                  <a:pt x="396" y="311"/>
                  <a:pt x="398" y="311"/>
                  <a:pt x="399" y="312"/>
                </a:cubicBezTo>
                <a:cubicBezTo>
                  <a:pt x="399" y="312"/>
                  <a:pt x="400" y="312"/>
                  <a:pt x="400" y="312"/>
                </a:cubicBezTo>
                <a:cubicBezTo>
                  <a:pt x="398" y="311"/>
                  <a:pt x="397" y="311"/>
                  <a:pt x="396" y="310"/>
                </a:cubicBezTo>
                <a:cubicBezTo>
                  <a:pt x="396" y="310"/>
                  <a:pt x="397" y="310"/>
                  <a:pt x="397" y="310"/>
                </a:cubicBezTo>
                <a:cubicBezTo>
                  <a:pt x="402" y="313"/>
                  <a:pt x="410" y="316"/>
                  <a:pt x="413" y="319"/>
                </a:cubicBezTo>
                <a:cubicBezTo>
                  <a:pt x="416" y="320"/>
                  <a:pt x="418" y="321"/>
                  <a:pt x="421" y="322"/>
                </a:cubicBezTo>
                <a:cubicBezTo>
                  <a:pt x="421" y="323"/>
                  <a:pt x="422" y="324"/>
                  <a:pt x="426" y="325"/>
                </a:cubicBezTo>
                <a:cubicBezTo>
                  <a:pt x="429" y="328"/>
                  <a:pt x="436" y="329"/>
                  <a:pt x="442" y="331"/>
                </a:cubicBezTo>
                <a:cubicBezTo>
                  <a:pt x="442" y="331"/>
                  <a:pt x="442" y="331"/>
                  <a:pt x="443" y="331"/>
                </a:cubicBezTo>
                <a:cubicBezTo>
                  <a:pt x="444" y="332"/>
                  <a:pt x="446" y="333"/>
                  <a:pt x="448" y="334"/>
                </a:cubicBezTo>
                <a:cubicBezTo>
                  <a:pt x="450" y="335"/>
                  <a:pt x="448" y="335"/>
                  <a:pt x="446" y="334"/>
                </a:cubicBezTo>
                <a:cubicBezTo>
                  <a:pt x="445" y="334"/>
                  <a:pt x="444" y="333"/>
                  <a:pt x="441" y="333"/>
                </a:cubicBezTo>
                <a:cubicBezTo>
                  <a:pt x="442" y="333"/>
                  <a:pt x="444" y="334"/>
                  <a:pt x="445" y="334"/>
                </a:cubicBezTo>
                <a:cubicBezTo>
                  <a:pt x="446" y="335"/>
                  <a:pt x="447" y="335"/>
                  <a:pt x="448" y="336"/>
                </a:cubicBezTo>
                <a:cubicBezTo>
                  <a:pt x="452" y="338"/>
                  <a:pt x="459" y="341"/>
                  <a:pt x="465" y="344"/>
                </a:cubicBezTo>
                <a:cubicBezTo>
                  <a:pt x="467" y="345"/>
                  <a:pt x="468" y="347"/>
                  <a:pt x="473" y="348"/>
                </a:cubicBezTo>
                <a:cubicBezTo>
                  <a:pt x="472" y="347"/>
                  <a:pt x="469" y="345"/>
                  <a:pt x="466" y="344"/>
                </a:cubicBezTo>
                <a:cubicBezTo>
                  <a:pt x="463" y="342"/>
                  <a:pt x="459" y="340"/>
                  <a:pt x="455" y="339"/>
                </a:cubicBezTo>
                <a:cubicBezTo>
                  <a:pt x="457" y="338"/>
                  <a:pt x="452" y="335"/>
                  <a:pt x="450" y="334"/>
                </a:cubicBezTo>
                <a:cubicBezTo>
                  <a:pt x="449" y="333"/>
                  <a:pt x="446" y="331"/>
                  <a:pt x="444" y="330"/>
                </a:cubicBezTo>
                <a:cubicBezTo>
                  <a:pt x="444" y="329"/>
                  <a:pt x="441" y="329"/>
                  <a:pt x="439" y="328"/>
                </a:cubicBezTo>
                <a:cubicBezTo>
                  <a:pt x="435" y="326"/>
                  <a:pt x="429" y="324"/>
                  <a:pt x="432" y="323"/>
                </a:cubicBezTo>
                <a:cubicBezTo>
                  <a:pt x="433" y="323"/>
                  <a:pt x="431" y="321"/>
                  <a:pt x="427" y="321"/>
                </a:cubicBezTo>
                <a:cubicBezTo>
                  <a:pt x="425" y="320"/>
                  <a:pt x="423" y="319"/>
                  <a:pt x="421" y="318"/>
                </a:cubicBezTo>
                <a:cubicBezTo>
                  <a:pt x="420" y="317"/>
                  <a:pt x="418" y="317"/>
                  <a:pt x="417" y="316"/>
                </a:cubicBezTo>
                <a:cubicBezTo>
                  <a:pt x="417" y="315"/>
                  <a:pt x="416" y="315"/>
                  <a:pt x="414" y="314"/>
                </a:cubicBezTo>
                <a:cubicBezTo>
                  <a:pt x="413" y="314"/>
                  <a:pt x="414" y="315"/>
                  <a:pt x="415" y="316"/>
                </a:cubicBezTo>
                <a:cubicBezTo>
                  <a:pt x="416" y="317"/>
                  <a:pt x="417" y="317"/>
                  <a:pt x="419" y="318"/>
                </a:cubicBezTo>
                <a:cubicBezTo>
                  <a:pt x="421" y="319"/>
                  <a:pt x="421" y="320"/>
                  <a:pt x="419" y="320"/>
                </a:cubicBezTo>
                <a:cubicBezTo>
                  <a:pt x="417" y="320"/>
                  <a:pt x="417" y="319"/>
                  <a:pt x="416" y="319"/>
                </a:cubicBezTo>
                <a:cubicBezTo>
                  <a:pt x="408" y="314"/>
                  <a:pt x="399" y="310"/>
                  <a:pt x="391" y="306"/>
                </a:cubicBezTo>
                <a:cubicBezTo>
                  <a:pt x="393" y="306"/>
                  <a:pt x="396" y="307"/>
                  <a:pt x="397" y="308"/>
                </a:cubicBezTo>
                <a:cubicBezTo>
                  <a:pt x="402" y="311"/>
                  <a:pt x="407" y="311"/>
                  <a:pt x="413" y="311"/>
                </a:cubicBezTo>
                <a:cubicBezTo>
                  <a:pt x="413" y="312"/>
                  <a:pt x="412" y="312"/>
                  <a:pt x="413" y="312"/>
                </a:cubicBezTo>
                <a:cubicBezTo>
                  <a:pt x="413" y="313"/>
                  <a:pt x="414" y="313"/>
                  <a:pt x="415" y="313"/>
                </a:cubicBezTo>
                <a:cubicBezTo>
                  <a:pt x="415" y="312"/>
                  <a:pt x="416" y="312"/>
                  <a:pt x="414" y="311"/>
                </a:cubicBezTo>
                <a:cubicBezTo>
                  <a:pt x="413" y="311"/>
                  <a:pt x="420" y="312"/>
                  <a:pt x="416" y="310"/>
                </a:cubicBezTo>
                <a:cubicBezTo>
                  <a:pt x="414" y="309"/>
                  <a:pt x="410" y="309"/>
                  <a:pt x="410" y="309"/>
                </a:cubicBezTo>
                <a:cubicBezTo>
                  <a:pt x="406" y="311"/>
                  <a:pt x="403" y="308"/>
                  <a:pt x="399" y="307"/>
                </a:cubicBezTo>
                <a:cubicBezTo>
                  <a:pt x="398" y="306"/>
                  <a:pt x="396" y="305"/>
                  <a:pt x="395" y="305"/>
                </a:cubicBezTo>
                <a:cubicBezTo>
                  <a:pt x="391" y="302"/>
                  <a:pt x="388" y="303"/>
                  <a:pt x="385" y="303"/>
                </a:cubicBezTo>
                <a:cubicBezTo>
                  <a:pt x="385" y="303"/>
                  <a:pt x="385" y="303"/>
                  <a:pt x="385" y="303"/>
                </a:cubicBezTo>
                <a:cubicBezTo>
                  <a:pt x="384" y="302"/>
                  <a:pt x="384" y="302"/>
                  <a:pt x="384" y="302"/>
                </a:cubicBezTo>
                <a:cubicBezTo>
                  <a:pt x="382" y="301"/>
                  <a:pt x="385" y="301"/>
                  <a:pt x="384" y="299"/>
                </a:cubicBezTo>
                <a:cubicBezTo>
                  <a:pt x="380" y="296"/>
                  <a:pt x="373" y="294"/>
                  <a:pt x="369" y="291"/>
                </a:cubicBezTo>
                <a:cubicBezTo>
                  <a:pt x="367" y="291"/>
                  <a:pt x="366" y="290"/>
                  <a:pt x="365" y="289"/>
                </a:cubicBezTo>
                <a:cubicBezTo>
                  <a:pt x="359" y="288"/>
                  <a:pt x="358" y="286"/>
                  <a:pt x="354" y="284"/>
                </a:cubicBezTo>
                <a:cubicBezTo>
                  <a:pt x="348" y="282"/>
                  <a:pt x="346" y="279"/>
                  <a:pt x="341" y="277"/>
                </a:cubicBezTo>
                <a:cubicBezTo>
                  <a:pt x="338" y="276"/>
                  <a:pt x="335" y="274"/>
                  <a:pt x="333" y="273"/>
                </a:cubicBezTo>
                <a:cubicBezTo>
                  <a:pt x="327" y="270"/>
                  <a:pt x="320" y="267"/>
                  <a:pt x="314" y="264"/>
                </a:cubicBezTo>
                <a:cubicBezTo>
                  <a:pt x="313" y="263"/>
                  <a:pt x="311" y="263"/>
                  <a:pt x="310" y="262"/>
                </a:cubicBezTo>
                <a:cubicBezTo>
                  <a:pt x="311" y="262"/>
                  <a:pt x="312" y="262"/>
                  <a:pt x="313" y="262"/>
                </a:cubicBezTo>
                <a:cubicBezTo>
                  <a:pt x="318" y="265"/>
                  <a:pt x="323" y="267"/>
                  <a:pt x="329" y="269"/>
                </a:cubicBezTo>
                <a:cubicBezTo>
                  <a:pt x="328" y="269"/>
                  <a:pt x="328" y="269"/>
                  <a:pt x="328" y="268"/>
                </a:cubicBezTo>
                <a:cubicBezTo>
                  <a:pt x="328" y="269"/>
                  <a:pt x="329" y="269"/>
                  <a:pt x="329" y="269"/>
                </a:cubicBezTo>
                <a:cubicBezTo>
                  <a:pt x="335" y="272"/>
                  <a:pt x="342" y="275"/>
                  <a:pt x="348" y="279"/>
                </a:cubicBezTo>
                <a:cubicBezTo>
                  <a:pt x="354" y="281"/>
                  <a:pt x="361" y="284"/>
                  <a:pt x="367" y="287"/>
                </a:cubicBezTo>
                <a:cubicBezTo>
                  <a:pt x="377" y="291"/>
                  <a:pt x="387" y="296"/>
                  <a:pt x="396" y="300"/>
                </a:cubicBezTo>
                <a:cubicBezTo>
                  <a:pt x="398" y="301"/>
                  <a:pt x="401" y="303"/>
                  <a:pt x="404" y="304"/>
                </a:cubicBezTo>
                <a:cubicBezTo>
                  <a:pt x="409" y="307"/>
                  <a:pt x="418" y="310"/>
                  <a:pt x="424" y="314"/>
                </a:cubicBezTo>
                <a:cubicBezTo>
                  <a:pt x="425" y="315"/>
                  <a:pt x="429" y="316"/>
                  <a:pt x="432" y="318"/>
                </a:cubicBezTo>
                <a:cubicBezTo>
                  <a:pt x="433" y="317"/>
                  <a:pt x="428" y="315"/>
                  <a:pt x="426" y="314"/>
                </a:cubicBezTo>
                <a:cubicBezTo>
                  <a:pt x="426" y="314"/>
                  <a:pt x="426" y="314"/>
                  <a:pt x="426" y="314"/>
                </a:cubicBezTo>
                <a:cubicBezTo>
                  <a:pt x="428" y="313"/>
                  <a:pt x="429" y="313"/>
                  <a:pt x="436" y="315"/>
                </a:cubicBezTo>
                <a:cubicBezTo>
                  <a:pt x="434" y="314"/>
                  <a:pt x="434" y="312"/>
                  <a:pt x="430" y="311"/>
                </a:cubicBezTo>
                <a:cubicBezTo>
                  <a:pt x="428" y="311"/>
                  <a:pt x="431" y="313"/>
                  <a:pt x="426" y="311"/>
                </a:cubicBezTo>
                <a:cubicBezTo>
                  <a:pt x="422" y="310"/>
                  <a:pt x="423" y="309"/>
                  <a:pt x="420" y="308"/>
                </a:cubicBezTo>
                <a:cubicBezTo>
                  <a:pt x="420" y="307"/>
                  <a:pt x="425" y="307"/>
                  <a:pt x="425" y="307"/>
                </a:cubicBezTo>
                <a:cubicBezTo>
                  <a:pt x="434" y="309"/>
                  <a:pt x="425" y="307"/>
                  <a:pt x="426" y="306"/>
                </a:cubicBezTo>
                <a:cubicBezTo>
                  <a:pt x="425" y="306"/>
                  <a:pt x="426" y="306"/>
                  <a:pt x="427" y="306"/>
                </a:cubicBezTo>
                <a:cubicBezTo>
                  <a:pt x="427" y="306"/>
                  <a:pt x="428" y="306"/>
                  <a:pt x="429" y="306"/>
                </a:cubicBezTo>
                <a:cubicBezTo>
                  <a:pt x="430" y="306"/>
                  <a:pt x="432" y="307"/>
                  <a:pt x="434" y="308"/>
                </a:cubicBezTo>
                <a:cubicBezTo>
                  <a:pt x="436" y="309"/>
                  <a:pt x="438" y="310"/>
                  <a:pt x="440" y="311"/>
                </a:cubicBezTo>
                <a:cubicBezTo>
                  <a:pt x="444" y="314"/>
                  <a:pt x="452" y="317"/>
                  <a:pt x="460" y="320"/>
                </a:cubicBezTo>
                <a:cubicBezTo>
                  <a:pt x="453" y="317"/>
                  <a:pt x="449" y="314"/>
                  <a:pt x="441" y="311"/>
                </a:cubicBezTo>
                <a:cubicBezTo>
                  <a:pt x="439" y="310"/>
                  <a:pt x="437" y="309"/>
                  <a:pt x="434" y="308"/>
                </a:cubicBezTo>
                <a:cubicBezTo>
                  <a:pt x="433" y="307"/>
                  <a:pt x="431" y="306"/>
                  <a:pt x="429" y="305"/>
                </a:cubicBezTo>
                <a:cubicBezTo>
                  <a:pt x="431" y="305"/>
                  <a:pt x="429" y="304"/>
                  <a:pt x="430" y="303"/>
                </a:cubicBezTo>
                <a:cubicBezTo>
                  <a:pt x="434" y="303"/>
                  <a:pt x="436" y="305"/>
                  <a:pt x="438" y="306"/>
                </a:cubicBezTo>
                <a:cubicBezTo>
                  <a:pt x="449" y="312"/>
                  <a:pt x="460" y="317"/>
                  <a:pt x="471" y="323"/>
                </a:cubicBezTo>
                <a:cubicBezTo>
                  <a:pt x="472" y="324"/>
                  <a:pt x="473" y="325"/>
                  <a:pt x="475" y="325"/>
                </a:cubicBezTo>
                <a:cubicBezTo>
                  <a:pt x="476" y="326"/>
                  <a:pt x="479" y="328"/>
                  <a:pt x="482" y="329"/>
                </a:cubicBezTo>
                <a:cubicBezTo>
                  <a:pt x="482" y="329"/>
                  <a:pt x="482" y="329"/>
                  <a:pt x="482" y="329"/>
                </a:cubicBezTo>
                <a:cubicBezTo>
                  <a:pt x="482" y="329"/>
                  <a:pt x="483" y="329"/>
                  <a:pt x="483" y="330"/>
                </a:cubicBezTo>
                <a:cubicBezTo>
                  <a:pt x="485" y="331"/>
                  <a:pt x="487" y="332"/>
                  <a:pt x="490" y="334"/>
                </a:cubicBezTo>
                <a:cubicBezTo>
                  <a:pt x="491" y="335"/>
                  <a:pt x="491" y="336"/>
                  <a:pt x="498" y="339"/>
                </a:cubicBezTo>
                <a:cubicBezTo>
                  <a:pt x="505" y="341"/>
                  <a:pt x="509" y="344"/>
                  <a:pt x="507" y="346"/>
                </a:cubicBezTo>
                <a:cubicBezTo>
                  <a:pt x="507" y="346"/>
                  <a:pt x="505" y="346"/>
                  <a:pt x="506" y="347"/>
                </a:cubicBezTo>
                <a:cubicBezTo>
                  <a:pt x="509" y="348"/>
                  <a:pt x="512" y="348"/>
                  <a:pt x="515" y="349"/>
                </a:cubicBezTo>
                <a:cubicBezTo>
                  <a:pt x="517" y="349"/>
                  <a:pt x="518" y="350"/>
                  <a:pt x="519" y="351"/>
                </a:cubicBezTo>
                <a:cubicBezTo>
                  <a:pt x="519" y="351"/>
                  <a:pt x="520" y="351"/>
                  <a:pt x="520" y="351"/>
                </a:cubicBezTo>
                <a:cubicBezTo>
                  <a:pt x="523" y="353"/>
                  <a:pt x="525" y="354"/>
                  <a:pt x="528" y="356"/>
                </a:cubicBezTo>
                <a:cubicBezTo>
                  <a:pt x="529" y="357"/>
                  <a:pt x="530" y="357"/>
                  <a:pt x="533" y="358"/>
                </a:cubicBezTo>
                <a:cubicBezTo>
                  <a:pt x="533" y="357"/>
                  <a:pt x="531" y="357"/>
                  <a:pt x="529" y="356"/>
                </a:cubicBezTo>
                <a:cubicBezTo>
                  <a:pt x="529" y="356"/>
                  <a:pt x="529" y="355"/>
                  <a:pt x="529" y="355"/>
                </a:cubicBezTo>
                <a:cubicBezTo>
                  <a:pt x="529" y="355"/>
                  <a:pt x="530" y="355"/>
                  <a:pt x="530" y="355"/>
                </a:cubicBezTo>
                <a:cubicBezTo>
                  <a:pt x="531" y="355"/>
                  <a:pt x="531" y="355"/>
                  <a:pt x="531" y="356"/>
                </a:cubicBezTo>
                <a:cubicBezTo>
                  <a:pt x="533" y="357"/>
                  <a:pt x="533" y="357"/>
                  <a:pt x="537" y="359"/>
                </a:cubicBezTo>
                <a:cubicBezTo>
                  <a:pt x="537" y="358"/>
                  <a:pt x="535" y="357"/>
                  <a:pt x="532" y="356"/>
                </a:cubicBezTo>
                <a:cubicBezTo>
                  <a:pt x="531" y="355"/>
                  <a:pt x="530" y="354"/>
                  <a:pt x="528" y="354"/>
                </a:cubicBezTo>
                <a:cubicBezTo>
                  <a:pt x="529" y="353"/>
                  <a:pt x="526" y="352"/>
                  <a:pt x="525" y="351"/>
                </a:cubicBezTo>
                <a:cubicBezTo>
                  <a:pt x="525" y="351"/>
                  <a:pt x="525" y="351"/>
                  <a:pt x="524" y="350"/>
                </a:cubicBezTo>
                <a:cubicBezTo>
                  <a:pt x="521" y="349"/>
                  <a:pt x="520" y="348"/>
                  <a:pt x="517" y="347"/>
                </a:cubicBezTo>
                <a:cubicBezTo>
                  <a:pt x="517" y="346"/>
                  <a:pt x="514" y="345"/>
                  <a:pt x="512" y="344"/>
                </a:cubicBezTo>
                <a:cubicBezTo>
                  <a:pt x="511" y="343"/>
                  <a:pt x="509" y="342"/>
                  <a:pt x="509" y="341"/>
                </a:cubicBezTo>
                <a:cubicBezTo>
                  <a:pt x="509" y="341"/>
                  <a:pt x="509" y="341"/>
                  <a:pt x="509" y="341"/>
                </a:cubicBezTo>
                <a:cubicBezTo>
                  <a:pt x="510" y="341"/>
                  <a:pt x="511" y="341"/>
                  <a:pt x="510" y="341"/>
                </a:cubicBezTo>
                <a:cubicBezTo>
                  <a:pt x="509" y="340"/>
                  <a:pt x="507" y="340"/>
                  <a:pt x="506" y="340"/>
                </a:cubicBezTo>
                <a:cubicBezTo>
                  <a:pt x="500" y="337"/>
                  <a:pt x="501" y="336"/>
                  <a:pt x="496" y="334"/>
                </a:cubicBezTo>
                <a:cubicBezTo>
                  <a:pt x="495" y="333"/>
                  <a:pt x="491" y="331"/>
                  <a:pt x="491" y="330"/>
                </a:cubicBezTo>
                <a:cubicBezTo>
                  <a:pt x="500" y="334"/>
                  <a:pt x="508" y="338"/>
                  <a:pt x="514" y="341"/>
                </a:cubicBezTo>
                <a:cubicBezTo>
                  <a:pt x="514" y="342"/>
                  <a:pt x="514" y="342"/>
                  <a:pt x="516" y="343"/>
                </a:cubicBezTo>
                <a:cubicBezTo>
                  <a:pt x="518" y="344"/>
                  <a:pt x="520" y="345"/>
                  <a:pt x="523" y="346"/>
                </a:cubicBezTo>
                <a:cubicBezTo>
                  <a:pt x="522" y="345"/>
                  <a:pt x="521" y="344"/>
                  <a:pt x="519" y="343"/>
                </a:cubicBezTo>
                <a:cubicBezTo>
                  <a:pt x="518" y="342"/>
                  <a:pt x="517" y="342"/>
                  <a:pt x="516" y="342"/>
                </a:cubicBezTo>
                <a:cubicBezTo>
                  <a:pt x="516" y="341"/>
                  <a:pt x="513" y="340"/>
                  <a:pt x="513" y="339"/>
                </a:cubicBezTo>
                <a:cubicBezTo>
                  <a:pt x="514" y="339"/>
                  <a:pt x="515" y="340"/>
                  <a:pt x="517" y="340"/>
                </a:cubicBezTo>
                <a:cubicBezTo>
                  <a:pt x="519" y="341"/>
                  <a:pt x="517" y="340"/>
                  <a:pt x="517" y="339"/>
                </a:cubicBezTo>
                <a:cubicBezTo>
                  <a:pt x="514" y="338"/>
                  <a:pt x="511" y="337"/>
                  <a:pt x="507" y="336"/>
                </a:cubicBezTo>
                <a:cubicBezTo>
                  <a:pt x="505" y="334"/>
                  <a:pt x="501" y="332"/>
                  <a:pt x="496" y="330"/>
                </a:cubicBezTo>
                <a:cubicBezTo>
                  <a:pt x="492" y="328"/>
                  <a:pt x="499" y="328"/>
                  <a:pt x="499" y="327"/>
                </a:cubicBezTo>
                <a:cubicBezTo>
                  <a:pt x="500" y="327"/>
                  <a:pt x="501" y="327"/>
                  <a:pt x="503" y="328"/>
                </a:cubicBezTo>
                <a:cubicBezTo>
                  <a:pt x="507" y="330"/>
                  <a:pt x="511" y="332"/>
                  <a:pt x="513" y="333"/>
                </a:cubicBezTo>
                <a:cubicBezTo>
                  <a:pt x="511" y="334"/>
                  <a:pt x="509" y="333"/>
                  <a:pt x="507" y="332"/>
                </a:cubicBezTo>
                <a:cubicBezTo>
                  <a:pt x="509" y="333"/>
                  <a:pt x="510" y="335"/>
                  <a:pt x="514" y="335"/>
                </a:cubicBezTo>
                <a:cubicBezTo>
                  <a:pt x="517" y="336"/>
                  <a:pt x="514" y="334"/>
                  <a:pt x="515" y="334"/>
                </a:cubicBezTo>
                <a:cubicBezTo>
                  <a:pt x="520" y="335"/>
                  <a:pt x="520" y="335"/>
                  <a:pt x="518" y="333"/>
                </a:cubicBezTo>
                <a:cubicBezTo>
                  <a:pt x="514" y="331"/>
                  <a:pt x="510" y="329"/>
                  <a:pt x="506" y="327"/>
                </a:cubicBezTo>
                <a:cubicBezTo>
                  <a:pt x="505" y="326"/>
                  <a:pt x="501" y="325"/>
                  <a:pt x="502" y="325"/>
                </a:cubicBezTo>
                <a:cubicBezTo>
                  <a:pt x="506" y="325"/>
                  <a:pt x="502" y="324"/>
                  <a:pt x="503" y="323"/>
                </a:cubicBezTo>
                <a:cubicBezTo>
                  <a:pt x="506" y="324"/>
                  <a:pt x="507" y="325"/>
                  <a:pt x="509" y="325"/>
                </a:cubicBezTo>
                <a:cubicBezTo>
                  <a:pt x="515" y="326"/>
                  <a:pt x="516" y="328"/>
                  <a:pt x="523" y="330"/>
                </a:cubicBezTo>
                <a:cubicBezTo>
                  <a:pt x="522" y="329"/>
                  <a:pt x="517" y="328"/>
                  <a:pt x="517" y="327"/>
                </a:cubicBezTo>
                <a:cubicBezTo>
                  <a:pt x="517" y="325"/>
                  <a:pt x="507" y="323"/>
                  <a:pt x="510" y="321"/>
                </a:cubicBezTo>
                <a:cubicBezTo>
                  <a:pt x="511" y="322"/>
                  <a:pt x="512" y="322"/>
                  <a:pt x="513" y="323"/>
                </a:cubicBezTo>
                <a:cubicBezTo>
                  <a:pt x="513" y="324"/>
                  <a:pt x="521" y="326"/>
                  <a:pt x="524" y="328"/>
                </a:cubicBezTo>
                <a:cubicBezTo>
                  <a:pt x="523" y="327"/>
                  <a:pt x="521" y="325"/>
                  <a:pt x="517" y="324"/>
                </a:cubicBezTo>
                <a:cubicBezTo>
                  <a:pt x="513" y="322"/>
                  <a:pt x="509" y="319"/>
                  <a:pt x="504" y="317"/>
                </a:cubicBezTo>
                <a:cubicBezTo>
                  <a:pt x="509" y="319"/>
                  <a:pt x="513" y="320"/>
                  <a:pt x="518" y="322"/>
                </a:cubicBezTo>
                <a:cubicBezTo>
                  <a:pt x="518" y="323"/>
                  <a:pt x="519" y="323"/>
                  <a:pt x="521" y="325"/>
                </a:cubicBezTo>
                <a:cubicBezTo>
                  <a:pt x="523" y="324"/>
                  <a:pt x="523" y="324"/>
                  <a:pt x="521" y="322"/>
                </a:cubicBezTo>
                <a:cubicBezTo>
                  <a:pt x="521" y="322"/>
                  <a:pt x="520" y="322"/>
                  <a:pt x="520" y="321"/>
                </a:cubicBezTo>
                <a:cubicBezTo>
                  <a:pt x="514" y="316"/>
                  <a:pt x="507" y="311"/>
                  <a:pt x="498" y="305"/>
                </a:cubicBezTo>
                <a:cubicBezTo>
                  <a:pt x="499" y="306"/>
                  <a:pt x="500" y="306"/>
                  <a:pt x="500" y="306"/>
                </a:cubicBezTo>
                <a:cubicBezTo>
                  <a:pt x="508" y="311"/>
                  <a:pt x="517" y="315"/>
                  <a:pt x="525" y="320"/>
                </a:cubicBezTo>
                <a:cubicBezTo>
                  <a:pt x="530" y="323"/>
                  <a:pt x="536" y="326"/>
                  <a:pt x="542" y="329"/>
                </a:cubicBezTo>
                <a:cubicBezTo>
                  <a:pt x="542" y="278"/>
                  <a:pt x="542" y="278"/>
                  <a:pt x="542" y="278"/>
                </a:cubicBezTo>
                <a:cubicBezTo>
                  <a:pt x="542" y="277"/>
                  <a:pt x="541" y="277"/>
                  <a:pt x="541" y="277"/>
                </a:cubicBezTo>
                <a:cubicBezTo>
                  <a:pt x="540" y="276"/>
                  <a:pt x="539" y="275"/>
                  <a:pt x="538" y="275"/>
                </a:cubicBezTo>
                <a:cubicBezTo>
                  <a:pt x="538" y="274"/>
                  <a:pt x="537" y="274"/>
                  <a:pt x="536" y="274"/>
                </a:cubicBezTo>
                <a:cubicBezTo>
                  <a:pt x="538" y="273"/>
                  <a:pt x="540" y="273"/>
                  <a:pt x="542" y="274"/>
                </a:cubicBezTo>
                <a:cubicBezTo>
                  <a:pt x="542" y="256"/>
                  <a:pt x="542" y="256"/>
                  <a:pt x="542" y="256"/>
                </a:cubicBezTo>
                <a:cubicBezTo>
                  <a:pt x="542" y="256"/>
                  <a:pt x="542" y="256"/>
                  <a:pt x="542" y="255"/>
                </a:cubicBezTo>
                <a:cubicBezTo>
                  <a:pt x="541" y="255"/>
                  <a:pt x="541" y="254"/>
                  <a:pt x="541" y="254"/>
                </a:cubicBezTo>
                <a:cubicBezTo>
                  <a:pt x="541" y="254"/>
                  <a:pt x="541" y="254"/>
                  <a:pt x="542" y="254"/>
                </a:cubicBezTo>
                <a:cubicBezTo>
                  <a:pt x="542" y="254"/>
                  <a:pt x="542" y="254"/>
                  <a:pt x="542" y="254"/>
                </a:cubicBezTo>
                <a:cubicBezTo>
                  <a:pt x="542" y="237"/>
                  <a:pt x="542" y="237"/>
                  <a:pt x="542" y="237"/>
                </a:cubicBezTo>
                <a:cubicBezTo>
                  <a:pt x="542" y="237"/>
                  <a:pt x="542" y="237"/>
                  <a:pt x="542" y="236"/>
                </a:cubicBezTo>
                <a:cubicBezTo>
                  <a:pt x="542" y="236"/>
                  <a:pt x="542" y="236"/>
                  <a:pt x="542" y="236"/>
                </a:cubicBezTo>
                <a:cubicBezTo>
                  <a:pt x="542" y="207"/>
                  <a:pt x="542" y="207"/>
                  <a:pt x="542" y="207"/>
                </a:cubicBezTo>
                <a:cubicBezTo>
                  <a:pt x="542" y="207"/>
                  <a:pt x="542" y="207"/>
                  <a:pt x="542" y="207"/>
                </a:cubicBezTo>
                <a:cubicBezTo>
                  <a:pt x="542" y="206"/>
                  <a:pt x="542" y="206"/>
                  <a:pt x="542" y="206"/>
                </a:cubicBezTo>
                <a:cubicBezTo>
                  <a:pt x="542" y="206"/>
                  <a:pt x="542" y="206"/>
                  <a:pt x="542" y="206"/>
                </a:cubicBezTo>
                <a:cubicBezTo>
                  <a:pt x="542" y="193"/>
                  <a:pt x="542" y="193"/>
                  <a:pt x="542" y="193"/>
                </a:cubicBezTo>
                <a:cubicBezTo>
                  <a:pt x="542" y="193"/>
                  <a:pt x="542" y="193"/>
                  <a:pt x="542" y="193"/>
                </a:cubicBezTo>
                <a:cubicBezTo>
                  <a:pt x="542" y="192"/>
                  <a:pt x="542" y="192"/>
                  <a:pt x="542" y="192"/>
                </a:cubicBezTo>
                <a:cubicBezTo>
                  <a:pt x="542" y="192"/>
                  <a:pt x="542" y="192"/>
                  <a:pt x="542" y="192"/>
                </a:cubicBezTo>
                <a:cubicBezTo>
                  <a:pt x="542" y="148"/>
                  <a:pt x="542" y="148"/>
                  <a:pt x="542" y="148"/>
                </a:cubicBezTo>
                <a:cubicBezTo>
                  <a:pt x="540" y="147"/>
                  <a:pt x="538" y="146"/>
                  <a:pt x="537" y="145"/>
                </a:cubicBezTo>
                <a:cubicBezTo>
                  <a:pt x="539" y="146"/>
                  <a:pt x="541" y="146"/>
                  <a:pt x="542" y="147"/>
                </a:cubicBezTo>
                <a:cubicBezTo>
                  <a:pt x="542" y="144"/>
                  <a:pt x="542" y="144"/>
                  <a:pt x="542" y="144"/>
                </a:cubicBezTo>
                <a:cubicBezTo>
                  <a:pt x="542" y="144"/>
                  <a:pt x="542" y="144"/>
                  <a:pt x="542" y="144"/>
                </a:cubicBezTo>
                <a:cubicBezTo>
                  <a:pt x="542" y="144"/>
                  <a:pt x="542" y="144"/>
                  <a:pt x="542" y="144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1857375" y="1014880"/>
            <a:ext cx="8380505" cy="400110"/>
          </a:xfrm>
        </p:spPr>
        <p:txBody>
          <a:bodyPr>
            <a:sp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1000" b="0" i="0" u="none" strike="noStrike" kern="1200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orem </a:t>
            </a:r>
            <a:r>
              <a:rPr lang="en-US" dirty="0" err="1"/>
              <a:t>Ipsum</a:t>
            </a:r>
            <a:r>
              <a:rPr lang="en-US" dirty="0"/>
              <a:t> is simply dummy text of the printing and typesetting industry. Lorem </a:t>
            </a:r>
            <a:r>
              <a:rPr lang="en-US" dirty="0" err="1"/>
              <a:t>Ipsum</a:t>
            </a:r>
            <a:r>
              <a:rPr lang="en-US" dirty="0"/>
              <a:t> has been the industry's standard dummy text ever since the 1500s, when an unknown printer took a galley of type and scrambled it to make a type specimen book. 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794000" y="360971"/>
            <a:ext cx="6604000" cy="535531"/>
          </a:xfrm>
        </p:spPr>
        <p:txBody>
          <a:bodyPr wrap="square" anchor="t">
            <a:spAutoFit/>
          </a:bodyPr>
          <a:lstStyle>
            <a:lvl1pPr marL="0" indent="0" algn="ctr">
              <a:buNone/>
              <a:defRPr sz="3200" normalizeH="0" baseline="0">
                <a:solidFill>
                  <a:schemeClr val="tx1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  <a:latin typeface="+mj-lt"/>
              </a:defRPr>
            </a:lvl2pPr>
            <a:lvl3pPr>
              <a:defRPr>
                <a:solidFill>
                  <a:schemeClr val="tx1"/>
                </a:solidFill>
                <a:latin typeface="+mj-lt"/>
              </a:defRPr>
            </a:lvl3pPr>
            <a:lvl4pPr>
              <a:defRPr>
                <a:solidFill>
                  <a:schemeClr val="tx1"/>
                </a:solidFill>
                <a:latin typeface="+mj-lt"/>
              </a:defRPr>
            </a:lvl4pPr>
            <a:lvl5pPr>
              <a:defRPr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- Click to edit Master text styles -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9852138-FCC6-44DD-9FFC-1C789392E7AA}" type="datetime1">
              <a:rPr lang="en-US" smtClean="0"/>
              <a:t>11/15/2018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3206E70-9524-410D-AE9B-78D656EAA14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Rectangle 7"/>
          <p:cNvSpPr/>
          <p:nvPr userDrawn="1"/>
        </p:nvSpPr>
        <p:spPr>
          <a:xfrm>
            <a:off x="10237880" y="0"/>
            <a:ext cx="571500" cy="55562"/>
          </a:xfrm>
          <a:prstGeom prst="rect">
            <a:avLst/>
          </a:prstGeom>
          <a:solidFill>
            <a:srgbClr val="E258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 userDrawn="1"/>
        </p:nvSpPr>
        <p:spPr>
          <a:xfrm>
            <a:off x="10880817" y="0"/>
            <a:ext cx="571500" cy="55562"/>
          </a:xfrm>
          <a:prstGeom prst="rect">
            <a:avLst/>
          </a:prstGeom>
          <a:solidFill>
            <a:srgbClr val="78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 userDrawn="1"/>
        </p:nvSpPr>
        <p:spPr>
          <a:xfrm>
            <a:off x="11523754" y="0"/>
            <a:ext cx="571500" cy="55562"/>
          </a:xfrm>
          <a:prstGeom prst="rect">
            <a:avLst/>
          </a:prstGeom>
          <a:solidFill>
            <a:srgbClr val="3B39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40383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/>
          <p:cNvSpPr>
            <a:spLocks/>
          </p:cNvSpPr>
          <p:nvPr userDrawn="1"/>
        </p:nvSpPr>
        <p:spPr bwMode="auto">
          <a:xfrm>
            <a:off x="0" y="-639708"/>
            <a:ext cx="12192001" cy="8099370"/>
          </a:xfrm>
          <a:custGeom>
            <a:avLst/>
            <a:gdLst>
              <a:gd name="T0" fmla="*/ 471 w 542"/>
              <a:gd name="T1" fmla="*/ 110 h 359"/>
              <a:gd name="T2" fmla="*/ 494 w 542"/>
              <a:gd name="T3" fmla="*/ 124 h 359"/>
              <a:gd name="T4" fmla="*/ 473 w 542"/>
              <a:gd name="T5" fmla="*/ 118 h 359"/>
              <a:gd name="T6" fmla="*/ 352 w 542"/>
              <a:gd name="T7" fmla="*/ 60 h 359"/>
              <a:gd name="T8" fmla="*/ 361 w 542"/>
              <a:gd name="T9" fmla="*/ 68 h 359"/>
              <a:gd name="T10" fmla="*/ 315 w 542"/>
              <a:gd name="T11" fmla="*/ 52 h 359"/>
              <a:gd name="T12" fmla="*/ 341 w 542"/>
              <a:gd name="T13" fmla="*/ 68 h 359"/>
              <a:gd name="T14" fmla="*/ 369 w 542"/>
              <a:gd name="T15" fmla="*/ 86 h 359"/>
              <a:gd name="T16" fmla="*/ 325 w 542"/>
              <a:gd name="T17" fmla="*/ 66 h 359"/>
              <a:gd name="T18" fmla="*/ 304 w 542"/>
              <a:gd name="T19" fmla="*/ 63 h 359"/>
              <a:gd name="T20" fmla="*/ 254 w 542"/>
              <a:gd name="T21" fmla="*/ 49 h 359"/>
              <a:gd name="T22" fmla="*/ 302 w 542"/>
              <a:gd name="T23" fmla="*/ 75 h 359"/>
              <a:gd name="T24" fmla="*/ 245 w 542"/>
              <a:gd name="T25" fmla="*/ 49 h 359"/>
              <a:gd name="T26" fmla="*/ 240 w 542"/>
              <a:gd name="T27" fmla="*/ 54 h 359"/>
              <a:gd name="T28" fmla="*/ 217 w 542"/>
              <a:gd name="T29" fmla="*/ 54 h 359"/>
              <a:gd name="T30" fmla="*/ 215 w 542"/>
              <a:gd name="T31" fmla="*/ 65 h 359"/>
              <a:gd name="T32" fmla="*/ 211 w 542"/>
              <a:gd name="T33" fmla="*/ 69 h 359"/>
              <a:gd name="T34" fmla="*/ 270 w 542"/>
              <a:gd name="T35" fmla="*/ 101 h 359"/>
              <a:gd name="T36" fmla="*/ 242 w 542"/>
              <a:gd name="T37" fmla="*/ 92 h 359"/>
              <a:gd name="T38" fmla="*/ 149 w 542"/>
              <a:gd name="T39" fmla="*/ 52 h 359"/>
              <a:gd name="T40" fmla="*/ 101 w 542"/>
              <a:gd name="T41" fmla="*/ 27 h 359"/>
              <a:gd name="T42" fmla="*/ 123 w 542"/>
              <a:gd name="T43" fmla="*/ 42 h 359"/>
              <a:gd name="T44" fmla="*/ 159 w 542"/>
              <a:gd name="T45" fmla="*/ 62 h 359"/>
              <a:gd name="T46" fmla="*/ 118 w 542"/>
              <a:gd name="T47" fmla="*/ 46 h 359"/>
              <a:gd name="T48" fmla="*/ 108 w 542"/>
              <a:gd name="T49" fmla="*/ 52 h 359"/>
              <a:gd name="T50" fmla="*/ 14 w 542"/>
              <a:gd name="T51" fmla="*/ 2 h 359"/>
              <a:gd name="T52" fmla="*/ 36 w 542"/>
              <a:gd name="T53" fmla="*/ 19 h 359"/>
              <a:gd name="T54" fmla="*/ 35 w 542"/>
              <a:gd name="T55" fmla="*/ 27 h 359"/>
              <a:gd name="T56" fmla="*/ 21 w 542"/>
              <a:gd name="T57" fmla="*/ 35 h 359"/>
              <a:gd name="T58" fmla="*/ 0 w 542"/>
              <a:gd name="T59" fmla="*/ 108 h 359"/>
              <a:gd name="T60" fmla="*/ 3 w 542"/>
              <a:gd name="T61" fmla="*/ 221 h 359"/>
              <a:gd name="T62" fmla="*/ 75 w 542"/>
              <a:gd name="T63" fmla="*/ 257 h 359"/>
              <a:gd name="T64" fmla="*/ 99 w 542"/>
              <a:gd name="T65" fmla="*/ 264 h 359"/>
              <a:gd name="T66" fmla="*/ 28 w 542"/>
              <a:gd name="T67" fmla="*/ 229 h 359"/>
              <a:gd name="T68" fmla="*/ 169 w 542"/>
              <a:gd name="T69" fmla="*/ 290 h 359"/>
              <a:gd name="T70" fmla="*/ 204 w 542"/>
              <a:gd name="T71" fmla="*/ 306 h 359"/>
              <a:gd name="T72" fmla="*/ 218 w 542"/>
              <a:gd name="T73" fmla="*/ 308 h 359"/>
              <a:gd name="T74" fmla="*/ 208 w 542"/>
              <a:gd name="T75" fmla="*/ 294 h 359"/>
              <a:gd name="T76" fmla="*/ 150 w 542"/>
              <a:gd name="T77" fmla="*/ 267 h 359"/>
              <a:gd name="T78" fmla="*/ 226 w 542"/>
              <a:gd name="T79" fmla="*/ 299 h 359"/>
              <a:gd name="T80" fmla="*/ 250 w 542"/>
              <a:gd name="T81" fmla="*/ 305 h 359"/>
              <a:gd name="T82" fmla="*/ 275 w 542"/>
              <a:gd name="T83" fmla="*/ 305 h 359"/>
              <a:gd name="T84" fmla="*/ 242 w 542"/>
              <a:gd name="T85" fmla="*/ 287 h 359"/>
              <a:gd name="T86" fmla="*/ 263 w 542"/>
              <a:gd name="T87" fmla="*/ 294 h 359"/>
              <a:gd name="T88" fmla="*/ 307 w 542"/>
              <a:gd name="T89" fmla="*/ 304 h 359"/>
              <a:gd name="T90" fmla="*/ 317 w 542"/>
              <a:gd name="T91" fmla="*/ 302 h 359"/>
              <a:gd name="T92" fmla="*/ 328 w 542"/>
              <a:gd name="T93" fmla="*/ 298 h 359"/>
              <a:gd name="T94" fmla="*/ 344 w 542"/>
              <a:gd name="T95" fmla="*/ 299 h 359"/>
              <a:gd name="T96" fmla="*/ 277 w 542"/>
              <a:gd name="T97" fmla="*/ 263 h 359"/>
              <a:gd name="T98" fmla="*/ 293 w 542"/>
              <a:gd name="T99" fmla="*/ 267 h 359"/>
              <a:gd name="T100" fmla="*/ 380 w 542"/>
              <a:gd name="T101" fmla="*/ 302 h 359"/>
              <a:gd name="T102" fmla="*/ 448 w 542"/>
              <a:gd name="T103" fmla="*/ 334 h 359"/>
              <a:gd name="T104" fmla="*/ 414 w 542"/>
              <a:gd name="T105" fmla="*/ 314 h 359"/>
              <a:gd name="T106" fmla="*/ 385 w 542"/>
              <a:gd name="T107" fmla="*/ 303 h 359"/>
              <a:gd name="T108" fmla="*/ 396 w 542"/>
              <a:gd name="T109" fmla="*/ 300 h 359"/>
              <a:gd name="T110" fmla="*/ 460 w 542"/>
              <a:gd name="T111" fmla="*/ 320 h 359"/>
              <a:gd name="T112" fmla="*/ 519 w 542"/>
              <a:gd name="T113" fmla="*/ 351 h 359"/>
              <a:gd name="T114" fmla="*/ 509 w 542"/>
              <a:gd name="T115" fmla="*/ 341 h 359"/>
              <a:gd name="T116" fmla="*/ 503 w 542"/>
              <a:gd name="T117" fmla="*/ 328 h 359"/>
              <a:gd name="T118" fmla="*/ 504 w 542"/>
              <a:gd name="T119" fmla="*/ 317 h 359"/>
              <a:gd name="T120" fmla="*/ 541 w 542"/>
              <a:gd name="T121" fmla="*/ 254 h 359"/>
              <a:gd name="T122" fmla="*/ 542 w 542"/>
              <a:gd name="T123" fmla="*/ 147 h 3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42" h="359">
                <a:moveTo>
                  <a:pt x="542" y="144"/>
                </a:moveTo>
                <a:cubicBezTo>
                  <a:pt x="542" y="139"/>
                  <a:pt x="542" y="139"/>
                  <a:pt x="542" y="139"/>
                </a:cubicBezTo>
                <a:cubicBezTo>
                  <a:pt x="537" y="139"/>
                  <a:pt x="537" y="139"/>
                  <a:pt x="537" y="139"/>
                </a:cubicBezTo>
                <a:cubicBezTo>
                  <a:pt x="529" y="135"/>
                  <a:pt x="522" y="131"/>
                  <a:pt x="514" y="127"/>
                </a:cubicBezTo>
                <a:cubicBezTo>
                  <a:pt x="500" y="120"/>
                  <a:pt x="485" y="114"/>
                  <a:pt x="472" y="106"/>
                </a:cubicBezTo>
                <a:cubicBezTo>
                  <a:pt x="472" y="106"/>
                  <a:pt x="472" y="106"/>
                  <a:pt x="472" y="106"/>
                </a:cubicBezTo>
                <a:cubicBezTo>
                  <a:pt x="470" y="105"/>
                  <a:pt x="469" y="104"/>
                  <a:pt x="466" y="104"/>
                </a:cubicBezTo>
                <a:cubicBezTo>
                  <a:pt x="464" y="103"/>
                  <a:pt x="463" y="102"/>
                  <a:pt x="461" y="101"/>
                </a:cubicBezTo>
                <a:cubicBezTo>
                  <a:pt x="462" y="102"/>
                  <a:pt x="465" y="104"/>
                  <a:pt x="465" y="104"/>
                </a:cubicBezTo>
                <a:cubicBezTo>
                  <a:pt x="466" y="105"/>
                  <a:pt x="467" y="105"/>
                  <a:pt x="467" y="105"/>
                </a:cubicBezTo>
                <a:cubicBezTo>
                  <a:pt x="468" y="106"/>
                  <a:pt x="470" y="107"/>
                  <a:pt x="470" y="107"/>
                </a:cubicBezTo>
                <a:cubicBezTo>
                  <a:pt x="468" y="107"/>
                  <a:pt x="472" y="108"/>
                  <a:pt x="471" y="109"/>
                </a:cubicBezTo>
                <a:cubicBezTo>
                  <a:pt x="470" y="109"/>
                  <a:pt x="469" y="108"/>
                  <a:pt x="469" y="108"/>
                </a:cubicBezTo>
                <a:cubicBezTo>
                  <a:pt x="469" y="109"/>
                  <a:pt x="471" y="109"/>
                  <a:pt x="472" y="110"/>
                </a:cubicBezTo>
                <a:cubicBezTo>
                  <a:pt x="473" y="110"/>
                  <a:pt x="475" y="111"/>
                  <a:pt x="475" y="112"/>
                </a:cubicBezTo>
                <a:cubicBezTo>
                  <a:pt x="474" y="111"/>
                  <a:pt x="472" y="110"/>
                  <a:pt x="471" y="110"/>
                </a:cubicBezTo>
                <a:cubicBezTo>
                  <a:pt x="471" y="110"/>
                  <a:pt x="470" y="110"/>
                  <a:pt x="470" y="110"/>
                </a:cubicBezTo>
                <a:cubicBezTo>
                  <a:pt x="472" y="111"/>
                  <a:pt x="473" y="111"/>
                  <a:pt x="475" y="112"/>
                </a:cubicBezTo>
                <a:cubicBezTo>
                  <a:pt x="476" y="113"/>
                  <a:pt x="477" y="113"/>
                  <a:pt x="479" y="114"/>
                </a:cubicBezTo>
                <a:cubicBezTo>
                  <a:pt x="479" y="114"/>
                  <a:pt x="479" y="115"/>
                  <a:pt x="478" y="115"/>
                </a:cubicBezTo>
                <a:cubicBezTo>
                  <a:pt x="476" y="114"/>
                  <a:pt x="474" y="112"/>
                  <a:pt x="472" y="111"/>
                </a:cubicBezTo>
                <a:cubicBezTo>
                  <a:pt x="468" y="109"/>
                  <a:pt x="463" y="107"/>
                  <a:pt x="458" y="105"/>
                </a:cubicBezTo>
                <a:cubicBezTo>
                  <a:pt x="458" y="105"/>
                  <a:pt x="457" y="105"/>
                  <a:pt x="457" y="104"/>
                </a:cubicBezTo>
                <a:cubicBezTo>
                  <a:pt x="456" y="104"/>
                  <a:pt x="454" y="103"/>
                  <a:pt x="453" y="102"/>
                </a:cubicBezTo>
                <a:cubicBezTo>
                  <a:pt x="452" y="102"/>
                  <a:pt x="451" y="101"/>
                  <a:pt x="449" y="101"/>
                </a:cubicBezTo>
                <a:cubicBezTo>
                  <a:pt x="447" y="100"/>
                  <a:pt x="446" y="99"/>
                  <a:pt x="443" y="98"/>
                </a:cubicBezTo>
                <a:cubicBezTo>
                  <a:pt x="443" y="99"/>
                  <a:pt x="445" y="100"/>
                  <a:pt x="448" y="101"/>
                </a:cubicBezTo>
                <a:cubicBezTo>
                  <a:pt x="452" y="104"/>
                  <a:pt x="456" y="106"/>
                  <a:pt x="460" y="106"/>
                </a:cubicBezTo>
                <a:cubicBezTo>
                  <a:pt x="465" y="109"/>
                  <a:pt x="469" y="111"/>
                  <a:pt x="474" y="113"/>
                </a:cubicBezTo>
                <a:cubicBezTo>
                  <a:pt x="477" y="115"/>
                  <a:pt x="481" y="116"/>
                  <a:pt x="484" y="118"/>
                </a:cubicBezTo>
                <a:cubicBezTo>
                  <a:pt x="486" y="119"/>
                  <a:pt x="488" y="120"/>
                  <a:pt x="490" y="121"/>
                </a:cubicBezTo>
                <a:cubicBezTo>
                  <a:pt x="491" y="122"/>
                  <a:pt x="493" y="123"/>
                  <a:pt x="494" y="124"/>
                </a:cubicBezTo>
                <a:cubicBezTo>
                  <a:pt x="492" y="123"/>
                  <a:pt x="491" y="122"/>
                  <a:pt x="489" y="121"/>
                </a:cubicBezTo>
                <a:cubicBezTo>
                  <a:pt x="489" y="121"/>
                  <a:pt x="488" y="121"/>
                  <a:pt x="487" y="121"/>
                </a:cubicBezTo>
                <a:cubicBezTo>
                  <a:pt x="487" y="121"/>
                  <a:pt x="487" y="121"/>
                  <a:pt x="487" y="121"/>
                </a:cubicBezTo>
                <a:cubicBezTo>
                  <a:pt x="487" y="121"/>
                  <a:pt x="489" y="122"/>
                  <a:pt x="491" y="123"/>
                </a:cubicBezTo>
                <a:cubicBezTo>
                  <a:pt x="491" y="123"/>
                  <a:pt x="492" y="124"/>
                  <a:pt x="492" y="124"/>
                </a:cubicBezTo>
                <a:cubicBezTo>
                  <a:pt x="494" y="125"/>
                  <a:pt x="495" y="125"/>
                  <a:pt x="496" y="126"/>
                </a:cubicBezTo>
                <a:cubicBezTo>
                  <a:pt x="498" y="126"/>
                  <a:pt x="499" y="127"/>
                  <a:pt x="501" y="127"/>
                </a:cubicBezTo>
                <a:cubicBezTo>
                  <a:pt x="501" y="127"/>
                  <a:pt x="501" y="128"/>
                  <a:pt x="501" y="128"/>
                </a:cubicBezTo>
                <a:cubicBezTo>
                  <a:pt x="503" y="130"/>
                  <a:pt x="504" y="131"/>
                  <a:pt x="507" y="131"/>
                </a:cubicBezTo>
                <a:cubicBezTo>
                  <a:pt x="510" y="132"/>
                  <a:pt x="511" y="133"/>
                  <a:pt x="514" y="134"/>
                </a:cubicBezTo>
                <a:cubicBezTo>
                  <a:pt x="514" y="135"/>
                  <a:pt x="513" y="135"/>
                  <a:pt x="510" y="135"/>
                </a:cubicBezTo>
                <a:cubicBezTo>
                  <a:pt x="512" y="136"/>
                  <a:pt x="514" y="136"/>
                  <a:pt x="515" y="137"/>
                </a:cubicBezTo>
                <a:cubicBezTo>
                  <a:pt x="515" y="137"/>
                  <a:pt x="515" y="137"/>
                  <a:pt x="515" y="137"/>
                </a:cubicBezTo>
                <a:cubicBezTo>
                  <a:pt x="505" y="133"/>
                  <a:pt x="494" y="128"/>
                  <a:pt x="485" y="123"/>
                </a:cubicBezTo>
                <a:cubicBezTo>
                  <a:pt x="484" y="123"/>
                  <a:pt x="483" y="123"/>
                  <a:pt x="482" y="122"/>
                </a:cubicBezTo>
                <a:cubicBezTo>
                  <a:pt x="479" y="121"/>
                  <a:pt x="476" y="119"/>
                  <a:pt x="473" y="118"/>
                </a:cubicBezTo>
                <a:cubicBezTo>
                  <a:pt x="472" y="117"/>
                  <a:pt x="471" y="117"/>
                  <a:pt x="471" y="117"/>
                </a:cubicBezTo>
                <a:cubicBezTo>
                  <a:pt x="470" y="117"/>
                  <a:pt x="469" y="117"/>
                  <a:pt x="468" y="117"/>
                </a:cubicBezTo>
                <a:cubicBezTo>
                  <a:pt x="455" y="110"/>
                  <a:pt x="444" y="104"/>
                  <a:pt x="430" y="97"/>
                </a:cubicBezTo>
                <a:cubicBezTo>
                  <a:pt x="430" y="96"/>
                  <a:pt x="428" y="95"/>
                  <a:pt x="426" y="94"/>
                </a:cubicBezTo>
                <a:cubicBezTo>
                  <a:pt x="425" y="94"/>
                  <a:pt x="425" y="93"/>
                  <a:pt x="421" y="92"/>
                </a:cubicBezTo>
                <a:cubicBezTo>
                  <a:pt x="421" y="92"/>
                  <a:pt x="418" y="92"/>
                  <a:pt x="417" y="91"/>
                </a:cubicBezTo>
                <a:cubicBezTo>
                  <a:pt x="412" y="89"/>
                  <a:pt x="409" y="87"/>
                  <a:pt x="403" y="84"/>
                </a:cubicBezTo>
                <a:cubicBezTo>
                  <a:pt x="405" y="86"/>
                  <a:pt x="409" y="87"/>
                  <a:pt x="409" y="89"/>
                </a:cubicBezTo>
                <a:cubicBezTo>
                  <a:pt x="399" y="84"/>
                  <a:pt x="390" y="80"/>
                  <a:pt x="382" y="76"/>
                </a:cubicBezTo>
                <a:cubicBezTo>
                  <a:pt x="380" y="74"/>
                  <a:pt x="378" y="73"/>
                  <a:pt x="374" y="72"/>
                </a:cubicBezTo>
                <a:cubicBezTo>
                  <a:pt x="374" y="72"/>
                  <a:pt x="373" y="71"/>
                  <a:pt x="373" y="71"/>
                </a:cubicBezTo>
                <a:cubicBezTo>
                  <a:pt x="371" y="69"/>
                  <a:pt x="366" y="68"/>
                  <a:pt x="364" y="66"/>
                </a:cubicBezTo>
                <a:cubicBezTo>
                  <a:pt x="363" y="66"/>
                  <a:pt x="363" y="66"/>
                  <a:pt x="363" y="66"/>
                </a:cubicBezTo>
                <a:cubicBezTo>
                  <a:pt x="363" y="66"/>
                  <a:pt x="363" y="66"/>
                  <a:pt x="363" y="66"/>
                </a:cubicBezTo>
                <a:cubicBezTo>
                  <a:pt x="363" y="66"/>
                  <a:pt x="363" y="66"/>
                  <a:pt x="364" y="66"/>
                </a:cubicBezTo>
                <a:cubicBezTo>
                  <a:pt x="361" y="64"/>
                  <a:pt x="356" y="62"/>
                  <a:pt x="352" y="60"/>
                </a:cubicBezTo>
                <a:cubicBezTo>
                  <a:pt x="347" y="57"/>
                  <a:pt x="342" y="54"/>
                  <a:pt x="340" y="52"/>
                </a:cubicBezTo>
                <a:cubicBezTo>
                  <a:pt x="339" y="52"/>
                  <a:pt x="338" y="51"/>
                  <a:pt x="338" y="51"/>
                </a:cubicBezTo>
                <a:cubicBezTo>
                  <a:pt x="334" y="49"/>
                  <a:pt x="328" y="46"/>
                  <a:pt x="324" y="44"/>
                </a:cubicBezTo>
                <a:cubicBezTo>
                  <a:pt x="323" y="43"/>
                  <a:pt x="321" y="42"/>
                  <a:pt x="318" y="42"/>
                </a:cubicBezTo>
                <a:cubicBezTo>
                  <a:pt x="317" y="41"/>
                  <a:pt x="316" y="41"/>
                  <a:pt x="314" y="40"/>
                </a:cubicBezTo>
                <a:cubicBezTo>
                  <a:pt x="314" y="40"/>
                  <a:pt x="313" y="40"/>
                  <a:pt x="313" y="40"/>
                </a:cubicBezTo>
                <a:cubicBezTo>
                  <a:pt x="313" y="40"/>
                  <a:pt x="313" y="40"/>
                  <a:pt x="313" y="40"/>
                </a:cubicBezTo>
                <a:cubicBezTo>
                  <a:pt x="316" y="42"/>
                  <a:pt x="321" y="45"/>
                  <a:pt x="326" y="47"/>
                </a:cubicBezTo>
                <a:cubicBezTo>
                  <a:pt x="328" y="48"/>
                  <a:pt x="331" y="49"/>
                  <a:pt x="331" y="50"/>
                </a:cubicBezTo>
                <a:cubicBezTo>
                  <a:pt x="338" y="52"/>
                  <a:pt x="333" y="53"/>
                  <a:pt x="338" y="54"/>
                </a:cubicBezTo>
                <a:cubicBezTo>
                  <a:pt x="338" y="54"/>
                  <a:pt x="338" y="54"/>
                  <a:pt x="338" y="54"/>
                </a:cubicBezTo>
                <a:cubicBezTo>
                  <a:pt x="339" y="55"/>
                  <a:pt x="339" y="56"/>
                  <a:pt x="342" y="57"/>
                </a:cubicBezTo>
                <a:cubicBezTo>
                  <a:pt x="345" y="59"/>
                  <a:pt x="349" y="60"/>
                  <a:pt x="351" y="62"/>
                </a:cubicBezTo>
                <a:cubicBezTo>
                  <a:pt x="353" y="63"/>
                  <a:pt x="354" y="63"/>
                  <a:pt x="356" y="63"/>
                </a:cubicBezTo>
                <a:cubicBezTo>
                  <a:pt x="356" y="64"/>
                  <a:pt x="354" y="64"/>
                  <a:pt x="357" y="65"/>
                </a:cubicBezTo>
                <a:cubicBezTo>
                  <a:pt x="357" y="66"/>
                  <a:pt x="361" y="67"/>
                  <a:pt x="361" y="68"/>
                </a:cubicBezTo>
                <a:cubicBezTo>
                  <a:pt x="361" y="68"/>
                  <a:pt x="360" y="68"/>
                  <a:pt x="360" y="68"/>
                </a:cubicBezTo>
                <a:cubicBezTo>
                  <a:pt x="358" y="67"/>
                  <a:pt x="359" y="68"/>
                  <a:pt x="359" y="69"/>
                </a:cubicBezTo>
                <a:cubicBezTo>
                  <a:pt x="355" y="68"/>
                  <a:pt x="352" y="66"/>
                  <a:pt x="352" y="66"/>
                </a:cubicBezTo>
                <a:cubicBezTo>
                  <a:pt x="352" y="64"/>
                  <a:pt x="350" y="63"/>
                  <a:pt x="346" y="62"/>
                </a:cubicBezTo>
                <a:cubicBezTo>
                  <a:pt x="344" y="62"/>
                  <a:pt x="342" y="61"/>
                  <a:pt x="341" y="60"/>
                </a:cubicBezTo>
                <a:cubicBezTo>
                  <a:pt x="340" y="59"/>
                  <a:pt x="338" y="58"/>
                  <a:pt x="336" y="58"/>
                </a:cubicBezTo>
                <a:cubicBezTo>
                  <a:pt x="336" y="58"/>
                  <a:pt x="336" y="58"/>
                  <a:pt x="335" y="58"/>
                </a:cubicBezTo>
                <a:cubicBezTo>
                  <a:pt x="332" y="56"/>
                  <a:pt x="328" y="54"/>
                  <a:pt x="324" y="53"/>
                </a:cubicBezTo>
                <a:cubicBezTo>
                  <a:pt x="324" y="53"/>
                  <a:pt x="324" y="53"/>
                  <a:pt x="324" y="53"/>
                </a:cubicBezTo>
                <a:cubicBezTo>
                  <a:pt x="324" y="53"/>
                  <a:pt x="324" y="53"/>
                  <a:pt x="324" y="53"/>
                </a:cubicBezTo>
                <a:cubicBezTo>
                  <a:pt x="324" y="53"/>
                  <a:pt x="324" y="53"/>
                  <a:pt x="324" y="53"/>
                </a:cubicBezTo>
                <a:cubicBezTo>
                  <a:pt x="322" y="51"/>
                  <a:pt x="319" y="50"/>
                  <a:pt x="317" y="49"/>
                </a:cubicBezTo>
                <a:cubicBezTo>
                  <a:pt x="313" y="48"/>
                  <a:pt x="310" y="46"/>
                  <a:pt x="306" y="44"/>
                </a:cubicBezTo>
                <a:cubicBezTo>
                  <a:pt x="307" y="46"/>
                  <a:pt x="317" y="49"/>
                  <a:pt x="315" y="51"/>
                </a:cubicBezTo>
                <a:cubicBezTo>
                  <a:pt x="314" y="50"/>
                  <a:pt x="314" y="51"/>
                  <a:pt x="314" y="52"/>
                </a:cubicBezTo>
                <a:cubicBezTo>
                  <a:pt x="314" y="52"/>
                  <a:pt x="314" y="52"/>
                  <a:pt x="315" y="52"/>
                </a:cubicBezTo>
                <a:cubicBezTo>
                  <a:pt x="317" y="53"/>
                  <a:pt x="319" y="53"/>
                  <a:pt x="322" y="54"/>
                </a:cubicBezTo>
                <a:cubicBezTo>
                  <a:pt x="322" y="55"/>
                  <a:pt x="323" y="55"/>
                  <a:pt x="324" y="55"/>
                </a:cubicBezTo>
                <a:cubicBezTo>
                  <a:pt x="325" y="56"/>
                  <a:pt x="326" y="56"/>
                  <a:pt x="326" y="57"/>
                </a:cubicBezTo>
                <a:cubicBezTo>
                  <a:pt x="332" y="59"/>
                  <a:pt x="336" y="62"/>
                  <a:pt x="340" y="65"/>
                </a:cubicBezTo>
                <a:cubicBezTo>
                  <a:pt x="338" y="65"/>
                  <a:pt x="336" y="63"/>
                  <a:pt x="334" y="63"/>
                </a:cubicBezTo>
                <a:cubicBezTo>
                  <a:pt x="334" y="64"/>
                  <a:pt x="338" y="65"/>
                  <a:pt x="339" y="66"/>
                </a:cubicBezTo>
                <a:cubicBezTo>
                  <a:pt x="339" y="66"/>
                  <a:pt x="339" y="66"/>
                  <a:pt x="338" y="66"/>
                </a:cubicBezTo>
                <a:cubicBezTo>
                  <a:pt x="338" y="66"/>
                  <a:pt x="338" y="66"/>
                  <a:pt x="338" y="66"/>
                </a:cubicBezTo>
                <a:cubicBezTo>
                  <a:pt x="338" y="66"/>
                  <a:pt x="338" y="67"/>
                  <a:pt x="337" y="66"/>
                </a:cubicBezTo>
                <a:cubicBezTo>
                  <a:pt x="334" y="65"/>
                  <a:pt x="333" y="65"/>
                  <a:pt x="332" y="65"/>
                </a:cubicBezTo>
                <a:cubicBezTo>
                  <a:pt x="331" y="65"/>
                  <a:pt x="333" y="66"/>
                  <a:pt x="334" y="67"/>
                </a:cubicBezTo>
                <a:cubicBezTo>
                  <a:pt x="337" y="68"/>
                  <a:pt x="340" y="69"/>
                  <a:pt x="341" y="70"/>
                </a:cubicBezTo>
                <a:cubicBezTo>
                  <a:pt x="343" y="72"/>
                  <a:pt x="345" y="72"/>
                  <a:pt x="347" y="72"/>
                </a:cubicBezTo>
                <a:cubicBezTo>
                  <a:pt x="349" y="73"/>
                  <a:pt x="351" y="74"/>
                  <a:pt x="355" y="76"/>
                </a:cubicBezTo>
                <a:cubicBezTo>
                  <a:pt x="353" y="74"/>
                  <a:pt x="351" y="73"/>
                  <a:pt x="347" y="72"/>
                </a:cubicBezTo>
                <a:cubicBezTo>
                  <a:pt x="345" y="71"/>
                  <a:pt x="343" y="70"/>
                  <a:pt x="341" y="68"/>
                </a:cubicBezTo>
                <a:cubicBezTo>
                  <a:pt x="339" y="68"/>
                  <a:pt x="339" y="67"/>
                  <a:pt x="341" y="67"/>
                </a:cubicBezTo>
                <a:cubicBezTo>
                  <a:pt x="343" y="68"/>
                  <a:pt x="346" y="69"/>
                  <a:pt x="347" y="68"/>
                </a:cubicBezTo>
                <a:cubicBezTo>
                  <a:pt x="347" y="69"/>
                  <a:pt x="348" y="69"/>
                  <a:pt x="349" y="69"/>
                </a:cubicBezTo>
                <a:cubicBezTo>
                  <a:pt x="349" y="70"/>
                  <a:pt x="351" y="71"/>
                  <a:pt x="353" y="72"/>
                </a:cubicBezTo>
                <a:cubicBezTo>
                  <a:pt x="359" y="75"/>
                  <a:pt x="364" y="78"/>
                  <a:pt x="370" y="81"/>
                </a:cubicBezTo>
                <a:cubicBezTo>
                  <a:pt x="373" y="83"/>
                  <a:pt x="375" y="84"/>
                  <a:pt x="380" y="86"/>
                </a:cubicBezTo>
                <a:cubicBezTo>
                  <a:pt x="382" y="88"/>
                  <a:pt x="388" y="90"/>
                  <a:pt x="390" y="92"/>
                </a:cubicBezTo>
                <a:cubicBezTo>
                  <a:pt x="391" y="93"/>
                  <a:pt x="393" y="94"/>
                  <a:pt x="394" y="95"/>
                </a:cubicBezTo>
                <a:cubicBezTo>
                  <a:pt x="395" y="96"/>
                  <a:pt x="396" y="96"/>
                  <a:pt x="396" y="97"/>
                </a:cubicBezTo>
                <a:cubicBezTo>
                  <a:pt x="397" y="97"/>
                  <a:pt x="397" y="98"/>
                  <a:pt x="398" y="98"/>
                </a:cubicBezTo>
                <a:cubicBezTo>
                  <a:pt x="396" y="97"/>
                  <a:pt x="394" y="96"/>
                  <a:pt x="392" y="95"/>
                </a:cubicBezTo>
                <a:cubicBezTo>
                  <a:pt x="390" y="95"/>
                  <a:pt x="390" y="94"/>
                  <a:pt x="388" y="94"/>
                </a:cubicBezTo>
                <a:cubicBezTo>
                  <a:pt x="387" y="93"/>
                  <a:pt x="385" y="92"/>
                  <a:pt x="384" y="92"/>
                </a:cubicBezTo>
                <a:cubicBezTo>
                  <a:pt x="384" y="92"/>
                  <a:pt x="384" y="93"/>
                  <a:pt x="383" y="93"/>
                </a:cubicBezTo>
                <a:cubicBezTo>
                  <a:pt x="380" y="91"/>
                  <a:pt x="378" y="90"/>
                  <a:pt x="374" y="88"/>
                </a:cubicBezTo>
                <a:cubicBezTo>
                  <a:pt x="372" y="87"/>
                  <a:pt x="370" y="87"/>
                  <a:pt x="369" y="86"/>
                </a:cubicBezTo>
                <a:cubicBezTo>
                  <a:pt x="369" y="86"/>
                  <a:pt x="370" y="85"/>
                  <a:pt x="369" y="85"/>
                </a:cubicBezTo>
                <a:cubicBezTo>
                  <a:pt x="367" y="84"/>
                  <a:pt x="367" y="85"/>
                  <a:pt x="367" y="85"/>
                </a:cubicBezTo>
                <a:cubicBezTo>
                  <a:pt x="365" y="84"/>
                  <a:pt x="364" y="83"/>
                  <a:pt x="362" y="83"/>
                </a:cubicBezTo>
                <a:cubicBezTo>
                  <a:pt x="362" y="83"/>
                  <a:pt x="362" y="83"/>
                  <a:pt x="362" y="83"/>
                </a:cubicBezTo>
                <a:cubicBezTo>
                  <a:pt x="356" y="78"/>
                  <a:pt x="346" y="74"/>
                  <a:pt x="338" y="70"/>
                </a:cubicBezTo>
                <a:cubicBezTo>
                  <a:pt x="334" y="67"/>
                  <a:pt x="330" y="65"/>
                  <a:pt x="326" y="63"/>
                </a:cubicBezTo>
                <a:cubicBezTo>
                  <a:pt x="324" y="61"/>
                  <a:pt x="321" y="60"/>
                  <a:pt x="318" y="59"/>
                </a:cubicBezTo>
                <a:cubicBezTo>
                  <a:pt x="317" y="58"/>
                  <a:pt x="317" y="57"/>
                  <a:pt x="314" y="57"/>
                </a:cubicBezTo>
                <a:cubicBezTo>
                  <a:pt x="309" y="56"/>
                  <a:pt x="312" y="57"/>
                  <a:pt x="312" y="58"/>
                </a:cubicBezTo>
                <a:cubicBezTo>
                  <a:pt x="311" y="57"/>
                  <a:pt x="310" y="57"/>
                  <a:pt x="308" y="56"/>
                </a:cubicBezTo>
                <a:cubicBezTo>
                  <a:pt x="310" y="58"/>
                  <a:pt x="313" y="60"/>
                  <a:pt x="316" y="61"/>
                </a:cubicBezTo>
                <a:cubicBezTo>
                  <a:pt x="315" y="61"/>
                  <a:pt x="314" y="62"/>
                  <a:pt x="316" y="62"/>
                </a:cubicBezTo>
                <a:cubicBezTo>
                  <a:pt x="319" y="64"/>
                  <a:pt x="321" y="65"/>
                  <a:pt x="325" y="66"/>
                </a:cubicBezTo>
                <a:cubicBezTo>
                  <a:pt x="325" y="66"/>
                  <a:pt x="325" y="66"/>
                  <a:pt x="325" y="67"/>
                </a:cubicBezTo>
                <a:cubicBezTo>
                  <a:pt x="325" y="67"/>
                  <a:pt x="325" y="67"/>
                  <a:pt x="325" y="67"/>
                </a:cubicBezTo>
                <a:cubicBezTo>
                  <a:pt x="325" y="67"/>
                  <a:pt x="325" y="66"/>
                  <a:pt x="325" y="66"/>
                </a:cubicBezTo>
                <a:cubicBezTo>
                  <a:pt x="325" y="67"/>
                  <a:pt x="322" y="67"/>
                  <a:pt x="327" y="68"/>
                </a:cubicBezTo>
                <a:cubicBezTo>
                  <a:pt x="328" y="69"/>
                  <a:pt x="330" y="70"/>
                  <a:pt x="328" y="70"/>
                </a:cubicBezTo>
                <a:cubicBezTo>
                  <a:pt x="328" y="70"/>
                  <a:pt x="328" y="70"/>
                  <a:pt x="328" y="70"/>
                </a:cubicBezTo>
                <a:cubicBezTo>
                  <a:pt x="328" y="70"/>
                  <a:pt x="328" y="70"/>
                  <a:pt x="328" y="70"/>
                </a:cubicBezTo>
                <a:cubicBezTo>
                  <a:pt x="328" y="70"/>
                  <a:pt x="328" y="70"/>
                  <a:pt x="328" y="70"/>
                </a:cubicBezTo>
                <a:cubicBezTo>
                  <a:pt x="323" y="67"/>
                  <a:pt x="319" y="65"/>
                  <a:pt x="312" y="62"/>
                </a:cubicBezTo>
                <a:cubicBezTo>
                  <a:pt x="311" y="62"/>
                  <a:pt x="310" y="61"/>
                  <a:pt x="309" y="60"/>
                </a:cubicBezTo>
                <a:cubicBezTo>
                  <a:pt x="306" y="60"/>
                  <a:pt x="310" y="62"/>
                  <a:pt x="310" y="62"/>
                </a:cubicBezTo>
                <a:cubicBezTo>
                  <a:pt x="309" y="62"/>
                  <a:pt x="308" y="62"/>
                  <a:pt x="307" y="62"/>
                </a:cubicBezTo>
                <a:cubicBezTo>
                  <a:pt x="303" y="61"/>
                  <a:pt x="301" y="59"/>
                  <a:pt x="298" y="58"/>
                </a:cubicBezTo>
                <a:cubicBezTo>
                  <a:pt x="296" y="57"/>
                  <a:pt x="294" y="55"/>
                  <a:pt x="292" y="55"/>
                </a:cubicBezTo>
                <a:cubicBezTo>
                  <a:pt x="289" y="55"/>
                  <a:pt x="295" y="57"/>
                  <a:pt x="296" y="58"/>
                </a:cubicBezTo>
                <a:cubicBezTo>
                  <a:pt x="296" y="58"/>
                  <a:pt x="296" y="58"/>
                  <a:pt x="296" y="58"/>
                </a:cubicBezTo>
                <a:cubicBezTo>
                  <a:pt x="296" y="58"/>
                  <a:pt x="296" y="58"/>
                  <a:pt x="296" y="58"/>
                </a:cubicBezTo>
                <a:cubicBezTo>
                  <a:pt x="295" y="58"/>
                  <a:pt x="295" y="58"/>
                  <a:pt x="294" y="58"/>
                </a:cubicBezTo>
                <a:cubicBezTo>
                  <a:pt x="297" y="60"/>
                  <a:pt x="302" y="61"/>
                  <a:pt x="304" y="63"/>
                </a:cubicBezTo>
                <a:cubicBezTo>
                  <a:pt x="305" y="63"/>
                  <a:pt x="305" y="64"/>
                  <a:pt x="306" y="64"/>
                </a:cubicBezTo>
                <a:cubicBezTo>
                  <a:pt x="306" y="64"/>
                  <a:pt x="305" y="64"/>
                  <a:pt x="304" y="64"/>
                </a:cubicBezTo>
                <a:cubicBezTo>
                  <a:pt x="304" y="65"/>
                  <a:pt x="304" y="65"/>
                  <a:pt x="305" y="66"/>
                </a:cubicBezTo>
                <a:cubicBezTo>
                  <a:pt x="311" y="69"/>
                  <a:pt x="311" y="69"/>
                  <a:pt x="305" y="69"/>
                </a:cubicBezTo>
                <a:cubicBezTo>
                  <a:pt x="305" y="69"/>
                  <a:pt x="305" y="69"/>
                  <a:pt x="305" y="69"/>
                </a:cubicBezTo>
                <a:cubicBezTo>
                  <a:pt x="305" y="69"/>
                  <a:pt x="305" y="69"/>
                  <a:pt x="305" y="69"/>
                </a:cubicBezTo>
                <a:cubicBezTo>
                  <a:pt x="305" y="69"/>
                  <a:pt x="305" y="69"/>
                  <a:pt x="305" y="69"/>
                </a:cubicBezTo>
                <a:cubicBezTo>
                  <a:pt x="303" y="69"/>
                  <a:pt x="303" y="67"/>
                  <a:pt x="300" y="67"/>
                </a:cubicBezTo>
                <a:cubicBezTo>
                  <a:pt x="298" y="68"/>
                  <a:pt x="301" y="69"/>
                  <a:pt x="302" y="69"/>
                </a:cubicBezTo>
                <a:cubicBezTo>
                  <a:pt x="303" y="70"/>
                  <a:pt x="303" y="71"/>
                  <a:pt x="301" y="70"/>
                </a:cubicBezTo>
                <a:cubicBezTo>
                  <a:pt x="295" y="68"/>
                  <a:pt x="289" y="67"/>
                  <a:pt x="284" y="64"/>
                </a:cubicBezTo>
                <a:cubicBezTo>
                  <a:pt x="284" y="64"/>
                  <a:pt x="283" y="63"/>
                  <a:pt x="284" y="63"/>
                </a:cubicBezTo>
                <a:cubicBezTo>
                  <a:pt x="284" y="63"/>
                  <a:pt x="286" y="64"/>
                  <a:pt x="287" y="64"/>
                </a:cubicBezTo>
                <a:cubicBezTo>
                  <a:pt x="282" y="61"/>
                  <a:pt x="272" y="58"/>
                  <a:pt x="267" y="55"/>
                </a:cubicBezTo>
                <a:cubicBezTo>
                  <a:pt x="265" y="54"/>
                  <a:pt x="262" y="52"/>
                  <a:pt x="258" y="50"/>
                </a:cubicBezTo>
                <a:cubicBezTo>
                  <a:pt x="257" y="50"/>
                  <a:pt x="256" y="49"/>
                  <a:pt x="254" y="49"/>
                </a:cubicBezTo>
                <a:cubicBezTo>
                  <a:pt x="252" y="49"/>
                  <a:pt x="253" y="50"/>
                  <a:pt x="255" y="50"/>
                </a:cubicBezTo>
                <a:cubicBezTo>
                  <a:pt x="259" y="52"/>
                  <a:pt x="255" y="52"/>
                  <a:pt x="255" y="52"/>
                </a:cubicBezTo>
                <a:cubicBezTo>
                  <a:pt x="254" y="52"/>
                  <a:pt x="253" y="52"/>
                  <a:pt x="253" y="52"/>
                </a:cubicBezTo>
                <a:cubicBezTo>
                  <a:pt x="255" y="53"/>
                  <a:pt x="255" y="54"/>
                  <a:pt x="260" y="55"/>
                </a:cubicBezTo>
                <a:cubicBezTo>
                  <a:pt x="261" y="54"/>
                  <a:pt x="259" y="53"/>
                  <a:pt x="259" y="53"/>
                </a:cubicBezTo>
                <a:cubicBezTo>
                  <a:pt x="262" y="54"/>
                  <a:pt x="262" y="55"/>
                  <a:pt x="264" y="55"/>
                </a:cubicBezTo>
                <a:cubicBezTo>
                  <a:pt x="269" y="57"/>
                  <a:pt x="269" y="59"/>
                  <a:pt x="274" y="61"/>
                </a:cubicBezTo>
                <a:cubicBezTo>
                  <a:pt x="276" y="62"/>
                  <a:pt x="278" y="63"/>
                  <a:pt x="280" y="64"/>
                </a:cubicBezTo>
                <a:cubicBezTo>
                  <a:pt x="280" y="64"/>
                  <a:pt x="279" y="65"/>
                  <a:pt x="280" y="66"/>
                </a:cubicBezTo>
                <a:cubicBezTo>
                  <a:pt x="282" y="67"/>
                  <a:pt x="284" y="68"/>
                  <a:pt x="286" y="69"/>
                </a:cubicBezTo>
                <a:cubicBezTo>
                  <a:pt x="286" y="69"/>
                  <a:pt x="287" y="69"/>
                  <a:pt x="287" y="69"/>
                </a:cubicBezTo>
                <a:cubicBezTo>
                  <a:pt x="285" y="68"/>
                  <a:pt x="283" y="67"/>
                  <a:pt x="281" y="66"/>
                </a:cubicBezTo>
                <a:cubicBezTo>
                  <a:pt x="286" y="66"/>
                  <a:pt x="287" y="68"/>
                  <a:pt x="290" y="69"/>
                </a:cubicBezTo>
                <a:cubicBezTo>
                  <a:pt x="291" y="71"/>
                  <a:pt x="297" y="73"/>
                  <a:pt x="300" y="74"/>
                </a:cubicBezTo>
                <a:cubicBezTo>
                  <a:pt x="300" y="75"/>
                  <a:pt x="301" y="75"/>
                  <a:pt x="302" y="75"/>
                </a:cubicBezTo>
                <a:cubicBezTo>
                  <a:pt x="302" y="75"/>
                  <a:pt x="302" y="75"/>
                  <a:pt x="302" y="75"/>
                </a:cubicBezTo>
                <a:cubicBezTo>
                  <a:pt x="302" y="75"/>
                  <a:pt x="302" y="75"/>
                  <a:pt x="302" y="75"/>
                </a:cubicBezTo>
                <a:cubicBezTo>
                  <a:pt x="302" y="75"/>
                  <a:pt x="302" y="75"/>
                  <a:pt x="302" y="75"/>
                </a:cubicBezTo>
                <a:cubicBezTo>
                  <a:pt x="306" y="77"/>
                  <a:pt x="308" y="79"/>
                  <a:pt x="313" y="80"/>
                </a:cubicBezTo>
                <a:cubicBezTo>
                  <a:pt x="313" y="80"/>
                  <a:pt x="313" y="80"/>
                  <a:pt x="313" y="80"/>
                </a:cubicBezTo>
                <a:cubicBezTo>
                  <a:pt x="313" y="80"/>
                  <a:pt x="313" y="80"/>
                  <a:pt x="313" y="80"/>
                </a:cubicBezTo>
                <a:cubicBezTo>
                  <a:pt x="314" y="81"/>
                  <a:pt x="316" y="82"/>
                  <a:pt x="318" y="83"/>
                </a:cubicBezTo>
                <a:cubicBezTo>
                  <a:pt x="319" y="84"/>
                  <a:pt x="322" y="85"/>
                  <a:pt x="325" y="86"/>
                </a:cubicBezTo>
                <a:cubicBezTo>
                  <a:pt x="327" y="87"/>
                  <a:pt x="328" y="88"/>
                  <a:pt x="330" y="89"/>
                </a:cubicBezTo>
                <a:cubicBezTo>
                  <a:pt x="330" y="89"/>
                  <a:pt x="330" y="90"/>
                  <a:pt x="330" y="90"/>
                </a:cubicBezTo>
                <a:cubicBezTo>
                  <a:pt x="332" y="91"/>
                  <a:pt x="335" y="92"/>
                  <a:pt x="334" y="93"/>
                </a:cubicBezTo>
                <a:cubicBezTo>
                  <a:pt x="328" y="90"/>
                  <a:pt x="324" y="88"/>
                  <a:pt x="317" y="85"/>
                </a:cubicBezTo>
                <a:cubicBezTo>
                  <a:pt x="306" y="80"/>
                  <a:pt x="296" y="74"/>
                  <a:pt x="285" y="69"/>
                </a:cubicBezTo>
                <a:cubicBezTo>
                  <a:pt x="284" y="68"/>
                  <a:pt x="282" y="68"/>
                  <a:pt x="281" y="67"/>
                </a:cubicBezTo>
                <a:cubicBezTo>
                  <a:pt x="280" y="67"/>
                  <a:pt x="280" y="67"/>
                  <a:pt x="279" y="66"/>
                </a:cubicBezTo>
                <a:cubicBezTo>
                  <a:pt x="273" y="64"/>
                  <a:pt x="268" y="61"/>
                  <a:pt x="262" y="58"/>
                </a:cubicBezTo>
                <a:cubicBezTo>
                  <a:pt x="256" y="55"/>
                  <a:pt x="249" y="52"/>
                  <a:pt x="245" y="49"/>
                </a:cubicBezTo>
                <a:cubicBezTo>
                  <a:pt x="244" y="48"/>
                  <a:pt x="241" y="47"/>
                  <a:pt x="239" y="45"/>
                </a:cubicBezTo>
                <a:cubicBezTo>
                  <a:pt x="240" y="46"/>
                  <a:pt x="241" y="46"/>
                  <a:pt x="242" y="46"/>
                </a:cubicBezTo>
                <a:cubicBezTo>
                  <a:pt x="242" y="45"/>
                  <a:pt x="240" y="45"/>
                  <a:pt x="238" y="44"/>
                </a:cubicBezTo>
                <a:cubicBezTo>
                  <a:pt x="237" y="44"/>
                  <a:pt x="238" y="45"/>
                  <a:pt x="238" y="45"/>
                </a:cubicBezTo>
                <a:cubicBezTo>
                  <a:pt x="237" y="45"/>
                  <a:pt x="236" y="44"/>
                  <a:pt x="233" y="44"/>
                </a:cubicBezTo>
                <a:cubicBezTo>
                  <a:pt x="238" y="46"/>
                  <a:pt x="239" y="47"/>
                  <a:pt x="243" y="49"/>
                </a:cubicBezTo>
                <a:cubicBezTo>
                  <a:pt x="245" y="50"/>
                  <a:pt x="246" y="51"/>
                  <a:pt x="248" y="52"/>
                </a:cubicBezTo>
                <a:cubicBezTo>
                  <a:pt x="252" y="55"/>
                  <a:pt x="258" y="58"/>
                  <a:pt x="262" y="60"/>
                </a:cubicBezTo>
                <a:cubicBezTo>
                  <a:pt x="261" y="60"/>
                  <a:pt x="262" y="61"/>
                  <a:pt x="262" y="61"/>
                </a:cubicBezTo>
                <a:cubicBezTo>
                  <a:pt x="263" y="62"/>
                  <a:pt x="263" y="63"/>
                  <a:pt x="262" y="63"/>
                </a:cubicBezTo>
                <a:cubicBezTo>
                  <a:pt x="260" y="63"/>
                  <a:pt x="258" y="62"/>
                  <a:pt x="257" y="61"/>
                </a:cubicBezTo>
                <a:cubicBezTo>
                  <a:pt x="254" y="60"/>
                  <a:pt x="250" y="59"/>
                  <a:pt x="246" y="57"/>
                </a:cubicBezTo>
                <a:cubicBezTo>
                  <a:pt x="242" y="56"/>
                  <a:pt x="240" y="56"/>
                  <a:pt x="238" y="57"/>
                </a:cubicBezTo>
                <a:cubicBezTo>
                  <a:pt x="238" y="57"/>
                  <a:pt x="236" y="57"/>
                  <a:pt x="235" y="56"/>
                </a:cubicBezTo>
                <a:cubicBezTo>
                  <a:pt x="234" y="55"/>
                  <a:pt x="234" y="55"/>
                  <a:pt x="236" y="55"/>
                </a:cubicBezTo>
                <a:cubicBezTo>
                  <a:pt x="239" y="56"/>
                  <a:pt x="238" y="54"/>
                  <a:pt x="240" y="54"/>
                </a:cubicBezTo>
                <a:cubicBezTo>
                  <a:pt x="236" y="53"/>
                  <a:pt x="232" y="52"/>
                  <a:pt x="228" y="50"/>
                </a:cubicBezTo>
                <a:cubicBezTo>
                  <a:pt x="229" y="52"/>
                  <a:pt x="230" y="52"/>
                  <a:pt x="230" y="53"/>
                </a:cubicBezTo>
                <a:cubicBezTo>
                  <a:pt x="228" y="53"/>
                  <a:pt x="223" y="51"/>
                  <a:pt x="224" y="53"/>
                </a:cubicBezTo>
                <a:cubicBezTo>
                  <a:pt x="225" y="55"/>
                  <a:pt x="225" y="55"/>
                  <a:pt x="221" y="55"/>
                </a:cubicBezTo>
                <a:cubicBezTo>
                  <a:pt x="225" y="57"/>
                  <a:pt x="228" y="58"/>
                  <a:pt x="232" y="59"/>
                </a:cubicBezTo>
                <a:cubicBezTo>
                  <a:pt x="232" y="59"/>
                  <a:pt x="233" y="59"/>
                  <a:pt x="233" y="59"/>
                </a:cubicBezTo>
                <a:cubicBezTo>
                  <a:pt x="233" y="59"/>
                  <a:pt x="233" y="60"/>
                  <a:pt x="232" y="60"/>
                </a:cubicBezTo>
                <a:cubicBezTo>
                  <a:pt x="230" y="60"/>
                  <a:pt x="232" y="60"/>
                  <a:pt x="233" y="61"/>
                </a:cubicBezTo>
                <a:cubicBezTo>
                  <a:pt x="234" y="61"/>
                  <a:pt x="234" y="61"/>
                  <a:pt x="234" y="61"/>
                </a:cubicBezTo>
                <a:cubicBezTo>
                  <a:pt x="234" y="61"/>
                  <a:pt x="234" y="62"/>
                  <a:pt x="236" y="62"/>
                </a:cubicBezTo>
                <a:cubicBezTo>
                  <a:pt x="238" y="63"/>
                  <a:pt x="238" y="64"/>
                  <a:pt x="236" y="64"/>
                </a:cubicBezTo>
                <a:cubicBezTo>
                  <a:pt x="235" y="64"/>
                  <a:pt x="238" y="65"/>
                  <a:pt x="238" y="65"/>
                </a:cubicBezTo>
                <a:cubicBezTo>
                  <a:pt x="236" y="65"/>
                  <a:pt x="235" y="64"/>
                  <a:pt x="234" y="63"/>
                </a:cubicBezTo>
                <a:cubicBezTo>
                  <a:pt x="232" y="62"/>
                  <a:pt x="228" y="60"/>
                  <a:pt x="225" y="58"/>
                </a:cubicBezTo>
                <a:cubicBezTo>
                  <a:pt x="224" y="58"/>
                  <a:pt x="222" y="57"/>
                  <a:pt x="220" y="56"/>
                </a:cubicBezTo>
                <a:cubicBezTo>
                  <a:pt x="219" y="55"/>
                  <a:pt x="218" y="55"/>
                  <a:pt x="217" y="54"/>
                </a:cubicBezTo>
                <a:cubicBezTo>
                  <a:pt x="216" y="54"/>
                  <a:pt x="215" y="53"/>
                  <a:pt x="215" y="53"/>
                </a:cubicBezTo>
                <a:cubicBezTo>
                  <a:pt x="215" y="53"/>
                  <a:pt x="214" y="52"/>
                  <a:pt x="213" y="52"/>
                </a:cubicBezTo>
                <a:cubicBezTo>
                  <a:pt x="212" y="53"/>
                  <a:pt x="211" y="52"/>
                  <a:pt x="210" y="52"/>
                </a:cubicBezTo>
                <a:cubicBezTo>
                  <a:pt x="210" y="52"/>
                  <a:pt x="211" y="52"/>
                  <a:pt x="212" y="53"/>
                </a:cubicBezTo>
                <a:cubicBezTo>
                  <a:pt x="213" y="53"/>
                  <a:pt x="214" y="54"/>
                  <a:pt x="216" y="54"/>
                </a:cubicBezTo>
                <a:cubicBezTo>
                  <a:pt x="221" y="57"/>
                  <a:pt x="225" y="60"/>
                  <a:pt x="233" y="63"/>
                </a:cubicBezTo>
                <a:cubicBezTo>
                  <a:pt x="237" y="67"/>
                  <a:pt x="244" y="70"/>
                  <a:pt x="250" y="73"/>
                </a:cubicBezTo>
                <a:cubicBezTo>
                  <a:pt x="253" y="74"/>
                  <a:pt x="255" y="76"/>
                  <a:pt x="258" y="77"/>
                </a:cubicBezTo>
                <a:cubicBezTo>
                  <a:pt x="259" y="79"/>
                  <a:pt x="263" y="80"/>
                  <a:pt x="266" y="82"/>
                </a:cubicBezTo>
                <a:cubicBezTo>
                  <a:pt x="262" y="81"/>
                  <a:pt x="258" y="81"/>
                  <a:pt x="253" y="79"/>
                </a:cubicBezTo>
                <a:cubicBezTo>
                  <a:pt x="248" y="77"/>
                  <a:pt x="243" y="75"/>
                  <a:pt x="239" y="73"/>
                </a:cubicBezTo>
                <a:cubicBezTo>
                  <a:pt x="233" y="69"/>
                  <a:pt x="228" y="66"/>
                  <a:pt x="220" y="63"/>
                </a:cubicBezTo>
                <a:cubicBezTo>
                  <a:pt x="217" y="61"/>
                  <a:pt x="212" y="60"/>
                  <a:pt x="208" y="59"/>
                </a:cubicBezTo>
                <a:cubicBezTo>
                  <a:pt x="207" y="60"/>
                  <a:pt x="211" y="62"/>
                  <a:pt x="214" y="63"/>
                </a:cubicBezTo>
                <a:cubicBezTo>
                  <a:pt x="216" y="63"/>
                  <a:pt x="219" y="64"/>
                  <a:pt x="219" y="65"/>
                </a:cubicBezTo>
                <a:cubicBezTo>
                  <a:pt x="219" y="65"/>
                  <a:pt x="217" y="65"/>
                  <a:pt x="215" y="65"/>
                </a:cubicBezTo>
                <a:cubicBezTo>
                  <a:pt x="214" y="65"/>
                  <a:pt x="212" y="64"/>
                  <a:pt x="211" y="65"/>
                </a:cubicBezTo>
                <a:cubicBezTo>
                  <a:pt x="211" y="64"/>
                  <a:pt x="210" y="64"/>
                  <a:pt x="209" y="63"/>
                </a:cubicBezTo>
                <a:cubicBezTo>
                  <a:pt x="209" y="63"/>
                  <a:pt x="209" y="63"/>
                  <a:pt x="209" y="62"/>
                </a:cubicBezTo>
                <a:cubicBezTo>
                  <a:pt x="209" y="62"/>
                  <a:pt x="209" y="62"/>
                  <a:pt x="209" y="62"/>
                </a:cubicBezTo>
                <a:cubicBezTo>
                  <a:pt x="210" y="63"/>
                  <a:pt x="212" y="64"/>
                  <a:pt x="212" y="63"/>
                </a:cubicBezTo>
                <a:cubicBezTo>
                  <a:pt x="212" y="63"/>
                  <a:pt x="212" y="62"/>
                  <a:pt x="208" y="61"/>
                </a:cubicBezTo>
                <a:cubicBezTo>
                  <a:pt x="208" y="61"/>
                  <a:pt x="207" y="61"/>
                  <a:pt x="207" y="61"/>
                </a:cubicBezTo>
                <a:cubicBezTo>
                  <a:pt x="205" y="60"/>
                  <a:pt x="203" y="59"/>
                  <a:pt x="201" y="58"/>
                </a:cubicBezTo>
                <a:cubicBezTo>
                  <a:pt x="201" y="58"/>
                  <a:pt x="200" y="58"/>
                  <a:pt x="200" y="58"/>
                </a:cubicBezTo>
                <a:cubicBezTo>
                  <a:pt x="202" y="59"/>
                  <a:pt x="204" y="60"/>
                  <a:pt x="206" y="61"/>
                </a:cubicBezTo>
                <a:cubicBezTo>
                  <a:pt x="207" y="62"/>
                  <a:pt x="207" y="62"/>
                  <a:pt x="205" y="62"/>
                </a:cubicBezTo>
                <a:cubicBezTo>
                  <a:pt x="203" y="62"/>
                  <a:pt x="202" y="62"/>
                  <a:pt x="201" y="62"/>
                </a:cubicBezTo>
                <a:cubicBezTo>
                  <a:pt x="200" y="61"/>
                  <a:pt x="199" y="60"/>
                  <a:pt x="195" y="59"/>
                </a:cubicBezTo>
                <a:cubicBezTo>
                  <a:pt x="196" y="60"/>
                  <a:pt x="197" y="61"/>
                  <a:pt x="198" y="62"/>
                </a:cubicBezTo>
                <a:cubicBezTo>
                  <a:pt x="199" y="64"/>
                  <a:pt x="203" y="65"/>
                  <a:pt x="207" y="67"/>
                </a:cubicBezTo>
                <a:cubicBezTo>
                  <a:pt x="208" y="68"/>
                  <a:pt x="209" y="68"/>
                  <a:pt x="211" y="69"/>
                </a:cubicBezTo>
                <a:cubicBezTo>
                  <a:pt x="211" y="69"/>
                  <a:pt x="211" y="69"/>
                  <a:pt x="212" y="70"/>
                </a:cubicBezTo>
                <a:cubicBezTo>
                  <a:pt x="212" y="70"/>
                  <a:pt x="213" y="71"/>
                  <a:pt x="215" y="71"/>
                </a:cubicBezTo>
                <a:cubicBezTo>
                  <a:pt x="216" y="72"/>
                  <a:pt x="217" y="72"/>
                  <a:pt x="217" y="72"/>
                </a:cubicBezTo>
                <a:cubicBezTo>
                  <a:pt x="215" y="73"/>
                  <a:pt x="219" y="74"/>
                  <a:pt x="218" y="75"/>
                </a:cubicBezTo>
                <a:cubicBezTo>
                  <a:pt x="217" y="74"/>
                  <a:pt x="213" y="73"/>
                  <a:pt x="213" y="74"/>
                </a:cubicBezTo>
                <a:cubicBezTo>
                  <a:pt x="212" y="74"/>
                  <a:pt x="214" y="75"/>
                  <a:pt x="216" y="76"/>
                </a:cubicBezTo>
                <a:cubicBezTo>
                  <a:pt x="218" y="77"/>
                  <a:pt x="219" y="77"/>
                  <a:pt x="220" y="78"/>
                </a:cubicBezTo>
                <a:cubicBezTo>
                  <a:pt x="221" y="80"/>
                  <a:pt x="224" y="82"/>
                  <a:pt x="231" y="83"/>
                </a:cubicBezTo>
                <a:cubicBezTo>
                  <a:pt x="232" y="85"/>
                  <a:pt x="238" y="87"/>
                  <a:pt x="241" y="88"/>
                </a:cubicBezTo>
                <a:cubicBezTo>
                  <a:pt x="246" y="91"/>
                  <a:pt x="252" y="94"/>
                  <a:pt x="258" y="97"/>
                </a:cubicBezTo>
                <a:cubicBezTo>
                  <a:pt x="259" y="98"/>
                  <a:pt x="261" y="99"/>
                  <a:pt x="266" y="101"/>
                </a:cubicBezTo>
                <a:cubicBezTo>
                  <a:pt x="264" y="99"/>
                  <a:pt x="261" y="98"/>
                  <a:pt x="259" y="97"/>
                </a:cubicBezTo>
                <a:cubicBezTo>
                  <a:pt x="257" y="96"/>
                  <a:pt x="256" y="95"/>
                  <a:pt x="254" y="94"/>
                </a:cubicBezTo>
                <a:cubicBezTo>
                  <a:pt x="260" y="96"/>
                  <a:pt x="261" y="98"/>
                  <a:pt x="265" y="99"/>
                </a:cubicBezTo>
                <a:cubicBezTo>
                  <a:pt x="267" y="100"/>
                  <a:pt x="269" y="101"/>
                  <a:pt x="270" y="101"/>
                </a:cubicBezTo>
                <a:cubicBezTo>
                  <a:pt x="270" y="101"/>
                  <a:pt x="270" y="101"/>
                  <a:pt x="270" y="101"/>
                </a:cubicBezTo>
                <a:cubicBezTo>
                  <a:pt x="270" y="102"/>
                  <a:pt x="270" y="102"/>
                  <a:pt x="272" y="103"/>
                </a:cubicBezTo>
                <a:cubicBezTo>
                  <a:pt x="274" y="104"/>
                  <a:pt x="274" y="103"/>
                  <a:pt x="274" y="103"/>
                </a:cubicBezTo>
                <a:cubicBezTo>
                  <a:pt x="277" y="104"/>
                  <a:pt x="280" y="105"/>
                  <a:pt x="282" y="107"/>
                </a:cubicBezTo>
                <a:cubicBezTo>
                  <a:pt x="282" y="107"/>
                  <a:pt x="281" y="107"/>
                  <a:pt x="280" y="106"/>
                </a:cubicBezTo>
                <a:cubicBezTo>
                  <a:pt x="279" y="106"/>
                  <a:pt x="278" y="105"/>
                  <a:pt x="277" y="106"/>
                </a:cubicBezTo>
                <a:cubicBezTo>
                  <a:pt x="273" y="105"/>
                  <a:pt x="270" y="104"/>
                  <a:pt x="269" y="102"/>
                </a:cubicBezTo>
                <a:cubicBezTo>
                  <a:pt x="268" y="102"/>
                  <a:pt x="267" y="101"/>
                  <a:pt x="266" y="101"/>
                </a:cubicBezTo>
                <a:cubicBezTo>
                  <a:pt x="265" y="101"/>
                  <a:pt x="266" y="102"/>
                  <a:pt x="267" y="102"/>
                </a:cubicBezTo>
                <a:cubicBezTo>
                  <a:pt x="266" y="102"/>
                  <a:pt x="265" y="102"/>
                  <a:pt x="265" y="102"/>
                </a:cubicBezTo>
                <a:cubicBezTo>
                  <a:pt x="264" y="102"/>
                  <a:pt x="263" y="101"/>
                  <a:pt x="262" y="101"/>
                </a:cubicBezTo>
                <a:cubicBezTo>
                  <a:pt x="257" y="99"/>
                  <a:pt x="253" y="96"/>
                  <a:pt x="248" y="94"/>
                </a:cubicBezTo>
                <a:cubicBezTo>
                  <a:pt x="248" y="94"/>
                  <a:pt x="248" y="94"/>
                  <a:pt x="248" y="95"/>
                </a:cubicBezTo>
                <a:cubicBezTo>
                  <a:pt x="248" y="95"/>
                  <a:pt x="249" y="95"/>
                  <a:pt x="249" y="95"/>
                </a:cubicBezTo>
                <a:cubicBezTo>
                  <a:pt x="249" y="95"/>
                  <a:pt x="249" y="95"/>
                  <a:pt x="249" y="95"/>
                </a:cubicBezTo>
                <a:cubicBezTo>
                  <a:pt x="249" y="95"/>
                  <a:pt x="249" y="95"/>
                  <a:pt x="249" y="95"/>
                </a:cubicBezTo>
                <a:cubicBezTo>
                  <a:pt x="246" y="95"/>
                  <a:pt x="243" y="94"/>
                  <a:pt x="242" y="92"/>
                </a:cubicBezTo>
                <a:cubicBezTo>
                  <a:pt x="241" y="92"/>
                  <a:pt x="239" y="90"/>
                  <a:pt x="236" y="90"/>
                </a:cubicBezTo>
                <a:cubicBezTo>
                  <a:pt x="235" y="90"/>
                  <a:pt x="234" y="90"/>
                  <a:pt x="234" y="90"/>
                </a:cubicBezTo>
                <a:cubicBezTo>
                  <a:pt x="232" y="91"/>
                  <a:pt x="235" y="92"/>
                  <a:pt x="237" y="92"/>
                </a:cubicBezTo>
                <a:cubicBezTo>
                  <a:pt x="244" y="96"/>
                  <a:pt x="253" y="100"/>
                  <a:pt x="260" y="103"/>
                </a:cubicBezTo>
                <a:cubicBezTo>
                  <a:pt x="260" y="103"/>
                  <a:pt x="260" y="103"/>
                  <a:pt x="260" y="103"/>
                </a:cubicBezTo>
                <a:cubicBezTo>
                  <a:pt x="263" y="105"/>
                  <a:pt x="270" y="107"/>
                  <a:pt x="271" y="109"/>
                </a:cubicBezTo>
                <a:cubicBezTo>
                  <a:pt x="261" y="105"/>
                  <a:pt x="252" y="101"/>
                  <a:pt x="243" y="96"/>
                </a:cubicBezTo>
                <a:cubicBezTo>
                  <a:pt x="234" y="91"/>
                  <a:pt x="224" y="87"/>
                  <a:pt x="212" y="82"/>
                </a:cubicBezTo>
                <a:cubicBezTo>
                  <a:pt x="210" y="81"/>
                  <a:pt x="208" y="80"/>
                  <a:pt x="206" y="79"/>
                </a:cubicBezTo>
                <a:cubicBezTo>
                  <a:pt x="202" y="76"/>
                  <a:pt x="195" y="73"/>
                  <a:pt x="190" y="70"/>
                </a:cubicBezTo>
                <a:cubicBezTo>
                  <a:pt x="189" y="70"/>
                  <a:pt x="193" y="71"/>
                  <a:pt x="193" y="72"/>
                </a:cubicBezTo>
                <a:cubicBezTo>
                  <a:pt x="188" y="71"/>
                  <a:pt x="184" y="69"/>
                  <a:pt x="181" y="67"/>
                </a:cubicBezTo>
                <a:cubicBezTo>
                  <a:pt x="179" y="65"/>
                  <a:pt x="177" y="64"/>
                  <a:pt x="171" y="63"/>
                </a:cubicBezTo>
                <a:cubicBezTo>
                  <a:pt x="166" y="62"/>
                  <a:pt x="165" y="60"/>
                  <a:pt x="162" y="59"/>
                </a:cubicBezTo>
                <a:cubicBezTo>
                  <a:pt x="162" y="59"/>
                  <a:pt x="162" y="59"/>
                  <a:pt x="162" y="59"/>
                </a:cubicBezTo>
                <a:cubicBezTo>
                  <a:pt x="157" y="57"/>
                  <a:pt x="153" y="54"/>
                  <a:pt x="149" y="52"/>
                </a:cubicBezTo>
                <a:cubicBezTo>
                  <a:pt x="152" y="53"/>
                  <a:pt x="153" y="54"/>
                  <a:pt x="155" y="55"/>
                </a:cubicBezTo>
                <a:cubicBezTo>
                  <a:pt x="156" y="55"/>
                  <a:pt x="158" y="56"/>
                  <a:pt x="161" y="57"/>
                </a:cubicBezTo>
                <a:cubicBezTo>
                  <a:pt x="160" y="56"/>
                  <a:pt x="159" y="55"/>
                  <a:pt x="156" y="55"/>
                </a:cubicBezTo>
                <a:cubicBezTo>
                  <a:pt x="153" y="53"/>
                  <a:pt x="151" y="52"/>
                  <a:pt x="148" y="50"/>
                </a:cubicBezTo>
                <a:cubicBezTo>
                  <a:pt x="146" y="49"/>
                  <a:pt x="145" y="49"/>
                  <a:pt x="143" y="48"/>
                </a:cubicBezTo>
                <a:cubicBezTo>
                  <a:pt x="143" y="48"/>
                  <a:pt x="142" y="48"/>
                  <a:pt x="142" y="48"/>
                </a:cubicBezTo>
                <a:cubicBezTo>
                  <a:pt x="144" y="49"/>
                  <a:pt x="145" y="49"/>
                  <a:pt x="146" y="50"/>
                </a:cubicBezTo>
                <a:cubicBezTo>
                  <a:pt x="146" y="50"/>
                  <a:pt x="145" y="50"/>
                  <a:pt x="145" y="50"/>
                </a:cubicBezTo>
                <a:cubicBezTo>
                  <a:pt x="140" y="47"/>
                  <a:pt x="132" y="44"/>
                  <a:pt x="129" y="41"/>
                </a:cubicBezTo>
                <a:cubicBezTo>
                  <a:pt x="126" y="40"/>
                  <a:pt x="124" y="39"/>
                  <a:pt x="121" y="38"/>
                </a:cubicBezTo>
                <a:cubicBezTo>
                  <a:pt x="121" y="37"/>
                  <a:pt x="120" y="36"/>
                  <a:pt x="116" y="34"/>
                </a:cubicBezTo>
                <a:cubicBezTo>
                  <a:pt x="113" y="32"/>
                  <a:pt x="106" y="30"/>
                  <a:pt x="100" y="28"/>
                </a:cubicBezTo>
                <a:cubicBezTo>
                  <a:pt x="100" y="28"/>
                  <a:pt x="100" y="28"/>
                  <a:pt x="99" y="28"/>
                </a:cubicBezTo>
                <a:cubicBezTo>
                  <a:pt x="98" y="27"/>
                  <a:pt x="96" y="26"/>
                  <a:pt x="94" y="25"/>
                </a:cubicBezTo>
                <a:cubicBezTo>
                  <a:pt x="92" y="24"/>
                  <a:pt x="94" y="24"/>
                  <a:pt x="96" y="25"/>
                </a:cubicBezTo>
                <a:cubicBezTo>
                  <a:pt x="97" y="25"/>
                  <a:pt x="98" y="26"/>
                  <a:pt x="101" y="27"/>
                </a:cubicBezTo>
                <a:cubicBezTo>
                  <a:pt x="100" y="26"/>
                  <a:pt x="98" y="25"/>
                  <a:pt x="97" y="25"/>
                </a:cubicBezTo>
                <a:cubicBezTo>
                  <a:pt x="96" y="24"/>
                  <a:pt x="95" y="24"/>
                  <a:pt x="94" y="24"/>
                </a:cubicBezTo>
                <a:cubicBezTo>
                  <a:pt x="90" y="21"/>
                  <a:pt x="83" y="17"/>
                  <a:pt x="77" y="14"/>
                </a:cubicBezTo>
                <a:cubicBezTo>
                  <a:pt x="75" y="13"/>
                  <a:pt x="74" y="12"/>
                  <a:pt x="69" y="11"/>
                </a:cubicBezTo>
                <a:cubicBezTo>
                  <a:pt x="70" y="12"/>
                  <a:pt x="73" y="13"/>
                  <a:pt x="76" y="14"/>
                </a:cubicBezTo>
                <a:cubicBezTo>
                  <a:pt x="79" y="16"/>
                  <a:pt x="83" y="18"/>
                  <a:pt x="87" y="20"/>
                </a:cubicBezTo>
                <a:cubicBezTo>
                  <a:pt x="85" y="21"/>
                  <a:pt x="90" y="24"/>
                  <a:pt x="92" y="25"/>
                </a:cubicBezTo>
                <a:cubicBezTo>
                  <a:pt x="93" y="27"/>
                  <a:pt x="96" y="28"/>
                  <a:pt x="98" y="29"/>
                </a:cubicBezTo>
                <a:cubicBezTo>
                  <a:pt x="98" y="30"/>
                  <a:pt x="101" y="31"/>
                  <a:pt x="103" y="31"/>
                </a:cubicBezTo>
                <a:cubicBezTo>
                  <a:pt x="108" y="33"/>
                  <a:pt x="113" y="35"/>
                  <a:pt x="110" y="36"/>
                </a:cubicBezTo>
                <a:cubicBezTo>
                  <a:pt x="109" y="37"/>
                  <a:pt x="111" y="38"/>
                  <a:pt x="115" y="39"/>
                </a:cubicBezTo>
                <a:cubicBezTo>
                  <a:pt x="117" y="40"/>
                  <a:pt x="119" y="41"/>
                  <a:pt x="121" y="42"/>
                </a:cubicBezTo>
                <a:cubicBezTo>
                  <a:pt x="122" y="42"/>
                  <a:pt x="124" y="43"/>
                  <a:pt x="125" y="44"/>
                </a:cubicBezTo>
                <a:cubicBezTo>
                  <a:pt x="125" y="44"/>
                  <a:pt x="126" y="45"/>
                  <a:pt x="128" y="46"/>
                </a:cubicBezTo>
                <a:cubicBezTo>
                  <a:pt x="129" y="46"/>
                  <a:pt x="128" y="45"/>
                  <a:pt x="127" y="44"/>
                </a:cubicBezTo>
                <a:cubicBezTo>
                  <a:pt x="126" y="43"/>
                  <a:pt x="125" y="42"/>
                  <a:pt x="123" y="42"/>
                </a:cubicBezTo>
                <a:cubicBezTo>
                  <a:pt x="121" y="40"/>
                  <a:pt x="121" y="40"/>
                  <a:pt x="123" y="40"/>
                </a:cubicBezTo>
                <a:cubicBezTo>
                  <a:pt x="125" y="40"/>
                  <a:pt x="125" y="41"/>
                  <a:pt x="126" y="41"/>
                </a:cubicBezTo>
                <a:cubicBezTo>
                  <a:pt x="134" y="46"/>
                  <a:pt x="143" y="50"/>
                  <a:pt x="151" y="55"/>
                </a:cubicBezTo>
                <a:cubicBezTo>
                  <a:pt x="149" y="54"/>
                  <a:pt x="146" y="53"/>
                  <a:pt x="145" y="53"/>
                </a:cubicBezTo>
                <a:cubicBezTo>
                  <a:pt x="140" y="50"/>
                  <a:pt x="135" y="49"/>
                  <a:pt x="129" y="49"/>
                </a:cubicBezTo>
                <a:cubicBezTo>
                  <a:pt x="129" y="49"/>
                  <a:pt x="130" y="48"/>
                  <a:pt x="129" y="48"/>
                </a:cubicBezTo>
                <a:cubicBezTo>
                  <a:pt x="129" y="48"/>
                  <a:pt x="128" y="47"/>
                  <a:pt x="127" y="47"/>
                </a:cubicBezTo>
                <a:cubicBezTo>
                  <a:pt x="127" y="48"/>
                  <a:pt x="126" y="48"/>
                  <a:pt x="128" y="49"/>
                </a:cubicBezTo>
                <a:cubicBezTo>
                  <a:pt x="129" y="50"/>
                  <a:pt x="122" y="48"/>
                  <a:pt x="126" y="50"/>
                </a:cubicBezTo>
                <a:cubicBezTo>
                  <a:pt x="128" y="51"/>
                  <a:pt x="132" y="52"/>
                  <a:pt x="132" y="51"/>
                </a:cubicBezTo>
                <a:cubicBezTo>
                  <a:pt x="136" y="49"/>
                  <a:pt x="139" y="52"/>
                  <a:pt x="143" y="53"/>
                </a:cubicBezTo>
                <a:cubicBezTo>
                  <a:pt x="144" y="54"/>
                  <a:pt x="146" y="55"/>
                  <a:pt x="147" y="56"/>
                </a:cubicBezTo>
                <a:cubicBezTo>
                  <a:pt x="151" y="58"/>
                  <a:pt x="154" y="57"/>
                  <a:pt x="157" y="58"/>
                </a:cubicBezTo>
                <a:cubicBezTo>
                  <a:pt x="157" y="58"/>
                  <a:pt x="157" y="58"/>
                  <a:pt x="157" y="58"/>
                </a:cubicBezTo>
                <a:cubicBezTo>
                  <a:pt x="158" y="58"/>
                  <a:pt x="158" y="58"/>
                  <a:pt x="158" y="58"/>
                </a:cubicBezTo>
                <a:cubicBezTo>
                  <a:pt x="161" y="60"/>
                  <a:pt x="157" y="60"/>
                  <a:pt x="159" y="62"/>
                </a:cubicBezTo>
                <a:cubicBezTo>
                  <a:pt x="162" y="64"/>
                  <a:pt x="169" y="67"/>
                  <a:pt x="173" y="70"/>
                </a:cubicBezTo>
                <a:cubicBezTo>
                  <a:pt x="175" y="70"/>
                  <a:pt x="176" y="71"/>
                  <a:pt x="177" y="72"/>
                </a:cubicBezTo>
                <a:cubicBezTo>
                  <a:pt x="183" y="74"/>
                  <a:pt x="185" y="76"/>
                  <a:pt x="188" y="78"/>
                </a:cubicBezTo>
                <a:cubicBezTo>
                  <a:pt x="194" y="80"/>
                  <a:pt x="196" y="82"/>
                  <a:pt x="202" y="85"/>
                </a:cubicBezTo>
                <a:cubicBezTo>
                  <a:pt x="204" y="86"/>
                  <a:pt x="207" y="87"/>
                  <a:pt x="209" y="89"/>
                </a:cubicBezTo>
                <a:cubicBezTo>
                  <a:pt x="215" y="92"/>
                  <a:pt x="222" y="95"/>
                  <a:pt x="228" y="98"/>
                </a:cubicBezTo>
                <a:cubicBezTo>
                  <a:pt x="229" y="99"/>
                  <a:pt x="231" y="100"/>
                  <a:pt x="232" y="100"/>
                </a:cubicBezTo>
                <a:cubicBezTo>
                  <a:pt x="231" y="100"/>
                  <a:pt x="230" y="100"/>
                  <a:pt x="229" y="100"/>
                </a:cubicBezTo>
                <a:cubicBezTo>
                  <a:pt x="224" y="97"/>
                  <a:pt x="219" y="95"/>
                  <a:pt x="213" y="93"/>
                </a:cubicBezTo>
                <a:cubicBezTo>
                  <a:pt x="214" y="93"/>
                  <a:pt x="214" y="93"/>
                  <a:pt x="214" y="94"/>
                </a:cubicBezTo>
                <a:cubicBezTo>
                  <a:pt x="214" y="93"/>
                  <a:pt x="213" y="93"/>
                  <a:pt x="213" y="93"/>
                </a:cubicBezTo>
                <a:cubicBezTo>
                  <a:pt x="207" y="89"/>
                  <a:pt x="200" y="86"/>
                  <a:pt x="194" y="83"/>
                </a:cubicBezTo>
                <a:cubicBezTo>
                  <a:pt x="188" y="80"/>
                  <a:pt x="181" y="77"/>
                  <a:pt x="175" y="74"/>
                </a:cubicBezTo>
                <a:cubicBezTo>
                  <a:pt x="165" y="70"/>
                  <a:pt x="155" y="65"/>
                  <a:pt x="146" y="60"/>
                </a:cubicBezTo>
                <a:cubicBezTo>
                  <a:pt x="144" y="59"/>
                  <a:pt x="141" y="58"/>
                  <a:pt x="138" y="57"/>
                </a:cubicBezTo>
                <a:cubicBezTo>
                  <a:pt x="133" y="53"/>
                  <a:pt x="124" y="50"/>
                  <a:pt x="118" y="46"/>
                </a:cubicBezTo>
                <a:cubicBezTo>
                  <a:pt x="118" y="45"/>
                  <a:pt x="113" y="44"/>
                  <a:pt x="110" y="42"/>
                </a:cubicBezTo>
                <a:cubicBezTo>
                  <a:pt x="109" y="43"/>
                  <a:pt x="114" y="45"/>
                  <a:pt x="116" y="46"/>
                </a:cubicBezTo>
                <a:cubicBezTo>
                  <a:pt x="116" y="46"/>
                  <a:pt x="116" y="46"/>
                  <a:pt x="116" y="46"/>
                </a:cubicBezTo>
                <a:cubicBezTo>
                  <a:pt x="115" y="47"/>
                  <a:pt x="113" y="47"/>
                  <a:pt x="106" y="45"/>
                </a:cubicBezTo>
                <a:cubicBezTo>
                  <a:pt x="108" y="46"/>
                  <a:pt x="108" y="48"/>
                  <a:pt x="112" y="49"/>
                </a:cubicBezTo>
                <a:cubicBezTo>
                  <a:pt x="114" y="49"/>
                  <a:pt x="111" y="47"/>
                  <a:pt x="116" y="49"/>
                </a:cubicBezTo>
                <a:cubicBezTo>
                  <a:pt x="120" y="50"/>
                  <a:pt x="119" y="51"/>
                  <a:pt x="122" y="52"/>
                </a:cubicBezTo>
                <a:cubicBezTo>
                  <a:pt x="122" y="54"/>
                  <a:pt x="117" y="53"/>
                  <a:pt x="117" y="53"/>
                </a:cubicBezTo>
                <a:cubicBezTo>
                  <a:pt x="108" y="51"/>
                  <a:pt x="117" y="54"/>
                  <a:pt x="116" y="54"/>
                </a:cubicBezTo>
                <a:cubicBezTo>
                  <a:pt x="117" y="54"/>
                  <a:pt x="116" y="54"/>
                  <a:pt x="115" y="55"/>
                </a:cubicBezTo>
                <a:cubicBezTo>
                  <a:pt x="115" y="55"/>
                  <a:pt x="114" y="55"/>
                  <a:pt x="113" y="55"/>
                </a:cubicBezTo>
                <a:cubicBezTo>
                  <a:pt x="112" y="54"/>
                  <a:pt x="110" y="53"/>
                  <a:pt x="108" y="52"/>
                </a:cubicBezTo>
                <a:cubicBezTo>
                  <a:pt x="106" y="51"/>
                  <a:pt x="104" y="50"/>
                  <a:pt x="102" y="49"/>
                </a:cubicBezTo>
                <a:cubicBezTo>
                  <a:pt x="98" y="46"/>
                  <a:pt x="90" y="43"/>
                  <a:pt x="82" y="39"/>
                </a:cubicBezTo>
                <a:cubicBezTo>
                  <a:pt x="89" y="43"/>
                  <a:pt x="93" y="46"/>
                  <a:pt x="101" y="49"/>
                </a:cubicBezTo>
                <a:cubicBezTo>
                  <a:pt x="103" y="50"/>
                  <a:pt x="105" y="51"/>
                  <a:pt x="108" y="52"/>
                </a:cubicBezTo>
                <a:cubicBezTo>
                  <a:pt x="109" y="54"/>
                  <a:pt x="111" y="55"/>
                  <a:pt x="113" y="56"/>
                </a:cubicBezTo>
                <a:cubicBezTo>
                  <a:pt x="111" y="56"/>
                  <a:pt x="113" y="57"/>
                  <a:pt x="112" y="57"/>
                </a:cubicBezTo>
                <a:cubicBezTo>
                  <a:pt x="108" y="57"/>
                  <a:pt x="106" y="56"/>
                  <a:pt x="104" y="55"/>
                </a:cubicBezTo>
                <a:cubicBezTo>
                  <a:pt x="93" y="49"/>
                  <a:pt x="82" y="42"/>
                  <a:pt x="71" y="36"/>
                </a:cubicBezTo>
                <a:cubicBezTo>
                  <a:pt x="70" y="36"/>
                  <a:pt x="69" y="35"/>
                  <a:pt x="67" y="35"/>
                </a:cubicBezTo>
                <a:cubicBezTo>
                  <a:pt x="66" y="33"/>
                  <a:pt x="63" y="32"/>
                  <a:pt x="60" y="31"/>
                </a:cubicBezTo>
                <a:cubicBezTo>
                  <a:pt x="60" y="30"/>
                  <a:pt x="60" y="30"/>
                  <a:pt x="60" y="30"/>
                </a:cubicBezTo>
                <a:cubicBezTo>
                  <a:pt x="60" y="30"/>
                  <a:pt x="59" y="30"/>
                  <a:pt x="59" y="29"/>
                </a:cubicBezTo>
                <a:cubicBezTo>
                  <a:pt x="57" y="28"/>
                  <a:pt x="55" y="27"/>
                  <a:pt x="52" y="25"/>
                </a:cubicBezTo>
                <a:cubicBezTo>
                  <a:pt x="51" y="24"/>
                  <a:pt x="51" y="23"/>
                  <a:pt x="44" y="20"/>
                </a:cubicBezTo>
                <a:cubicBezTo>
                  <a:pt x="37" y="18"/>
                  <a:pt x="34" y="15"/>
                  <a:pt x="35" y="13"/>
                </a:cubicBezTo>
                <a:cubicBezTo>
                  <a:pt x="35" y="12"/>
                  <a:pt x="37" y="12"/>
                  <a:pt x="36" y="11"/>
                </a:cubicBezTo>
                <a:cubicBezTo>
                  <a:pt x="33" y="11"/>
                  <a:pt x="30" y="10"/>
                  <a:pt x="27" y="10"/>
                </a:cubicBezTo>
                <a:cubicBezTo>
                  <a:pt x="25" y="9"/>
                  <a:pt x="24" y="8"/>
                  <a:pt x="23" y="8"/>
                </a:cubicBezTo>
                <a:cubicBezTo>
                  <a:pt x="23" y="7"/>
                  <a:pt x="22" y="7"/>
                  <a:pt x="22" y="7"/>
                </a:cubicBezTo>
                <a:cubicBezTo>
                  <a:pt x="19" y="5"/>
                  <a:pt x="17" y="4"/>
                  <a:pt x="14" y="2"/>
                </a:cubicBezTo>
                <a:cubicBezTo>
                  <a:pt x="13" y="2"/>
                  <a:pt x="12" y="1"/>
                  <a:pt x="9" y="0"/>
                </a:cubicBezTo>
                <a:cubicBezTo>
                  <a:pt x="9" y="1"/>
                  <a:pt x="11" y="2"/>
                  <a:pt x="13" y="2"/>
                </a:cubicBezTo>
                <a:cubicBezTo>
                  <a:pt x="13" y="3"/>
                  <a:pt x="13" y="3"/>
                  <a:pt x="13" y="3"/>
                </a:cubicBezTo>
                <a:cubicBezTo>
                  <a:pt x="13" y="3"/>
                  <a:pt x="12" y="3"/>
                  <a:pt x="12" y="3"/>
                </a:cubicBezTo>
                <a:cubicBezTo>
                  <a:pt x="11" y="3"/>
                  <a:pt x="11" y="3"/>
                  <a:pt x="11" y="3"/>
                </a:cubicBezTo>
                <a:cubicBezTo>
                  <a:pt x="9" y="2"/>
                  <a:pt x="9" y="1"/>
                  <a:pt x="5" y="0"/>
                </a:cubicBezTo>
                <a:cubicBezTo>
                  <a:pt x="5" y="0"/>
                  <a:pt x="7" y="1"/>
                  <a:pt x="10" y="3"/>
                </a:cubicBezTo>
                <a:cubicBezTo>
                  <a:pt x="11" y="3"/>
                  <a:pt x="12" y="4"/>
                  <a:pt x="14" y="5"/>
                </a:cubicBezTo>
                <a:cubicBezTo>
                  <a:pt x="13" y="5"/>
                  <a:pt x="16" y="6"/>
                  <a:pt x="17" y="7"/>
                </a:cubicBezTo>
                <a:cubicBezTo>
                  <a:pt x="17" y="7"/>
                  <a:pt x="17" y="8"/>
                  <a:pt x="18" y="8"/>
                </a:cubicBezTo>
                <a:cubicBezTo>
                  <a:pt x="21" y="9"/>
                  <a:pt x="22" y="11"/>
                  <a:pt x="25" y="12"/>
                </a:cubicBezTo>
                <a:cubicBezTo>
                  <a:pt x="25" y="13"/>
                  <a:pt x="28" y="14"/>
                  <a:pt x="30" y="15"/>
                </a:cubicBezTo>
                <a:cubicBezTo>
                  <a:pt x="31" y="16"/>
                  <a:pt x="33" y="17"/>
                  <a:pt x="33" y="18"/>
                </a:cubicBezTo>
                <a:cubicBezTo>
                  <a:pt x="33" y="18"/>
                  <a:pt x="33" y="18"/>
                  <a:pt x="33" y="18"/>
                </a:cubicBezTo>
                <a:cubicBezTo>
                  <a:pt x="32" y="18"/>
                  <a:pt x="31" y="18"/>
                  <a:pt x="32" y="18"/>
                </a:cubicBezTo>
                <a:cubicBezTo>
                  <a:pt x="33" y="19"/>
                  <a:pt x="35" y="19"/>
                  <a:pt x="36" y="19"/>
                </a:cubicBezTo>
                <a:cubicBezTo>
                  <a:pt x="42" y="22"/>
                  <a:pt x="41" y="23"/>
                  <a:pt x="46" y="26"/>
                </a:cubicBezTo>
                <a:cubicBezTo>
                  <a:pt x="47" y="27"/>
                  <a:pt x="51" y="28"/>
                  <a:pt x="51" y="29"/>
                </a:cubicBezTo>
                <a:cubicBezTo>
                  <a:pt x="42" y="25"/>
                  <a:pt x="34" y="21"/>
                  <a:pt x="28" y="18"/>
                </a:cubicBezTo>
                <a:cubicBezTo>
                  <a:pt x="28" y="17"/>
                  <a:pt x="28" y="17"/>
                  <a:pt x="26" y="16"/>
                </a:cubicBezTo>
                <a:cubicBezTo>
                  <a:pt x="24" y="15"/>
                  <a:pt x="22" y="14"/>
                  <a:pt x="19" y="13"/>
                </a:cubicBezTo>
                <a:cubicBezTo>
                  <a:pt x="20" y="14"/>
                  <a:pt x="21" y="15"/>
                  <a:pt x="23" y="16"/>
                </a:cubicBezTo>
                <a:cubicBezTo>
                  <a:pt x="24" y="16"/>
                  <a:pt x="25" y="17"/>
                  <a:pt x="26" y="17"/>
                </a:cubicBezTo>
                <a:cubicBezTo>
                  <a:pt x="26" y="18"/>
                  <a:pt x="29" y="19"/>
                  <a:pt x="29" y="20"/>
                </a:cubicBezTo>
                <a:cubicBezTo>
                  <a:pt x="28" y="19"/>
                  <a:pt x="27" y="19"/>
                  <a:pt x="25" y="18"/>
                </a:cubicBezTo>
                <a:cubicBezTo>
                  <a:pt x="23" y="18"/>
                  <a:pt x="25" y="19"/>
                  <a:pt x="26" y="20"/>
                </a:cubicBezTo>
                <a:cubicBezTo>
                  <a:pt x="28" y="21"/>
                  <a:pt x="31" y="22"/>
                  <a:pt x="35" y="23"/>
                </a:cubicBezTo>
                <a:cubicBezTo>
                  <a:pt x="37" y="25"/>
                  <a:pt x="41" y="28"/>
                  <a:pt x="46" y="30"/>
                </a:cubicBezTo>
                <a:cubicBezTo>
                  <a:pt x="50" y="32"/>
                  <a:pt x="43" y="31"/>
                  <a:pt x="43" y="33"/>
                </a:cubicBezTo>
                <a:cubicBezTo>
                  <a:pt x="42" y="33"/>
                  <a:pt x="41" y="33"/>
                  <a:pt x="39" y="32"/>
                </a:cubicBezTo>
                <a:cubicBezTo>
                  <a:pt x="35" y="30"/>
                  <a:pt x="31" y="28"/>
                  <a:pt x="29" y="26"/>
                </a:cubicBezTo>
                <a:cubicBezTo>
                  <a:pt x="31" y="25"/>
                  <a:pt x="33" y="27"/>
                  <a:pt x="35" y="27"/>
                </a:cubicBezTo>
                <a:cubicBezTo>
                  <a:pt x="33" y="26"/>
                  <a:pt x="32" y="24"/>
                  <a:pt x="28" y="24"/>
                </a:cubicBezTo>
                <a:cubicBezTo>
                  <a:pt x="25" y="23"/>
                  <a:pt x="28" y="25"/>
                  <a:pt x="27" y="25"/>
                </a:cubicBezTo>
                <a:cubicBezTo>
                  <a:pt x="22" y="24"/>
                  <a:pt x="22" y="25"/>
                  <a:pt x="24" y="26"/>
                </a:cubicBezTo>
                <a:cubicBezTo>
                  <a:pt x="28" y="28"/>
                  <a:pt x="32" y="30"/>
                  <a:pt x="36" y="32"/>
                </a:cubicBezTo>
                <a:cubicBezTo>
                  <a:pt x="37" y="33"/>
                  <a:pt x="41" y="34"/>
                  <a:pt x="40" y="35"/>
                </a:cubicBezTo>
                <a:cubicBezTo>
                  <a:pt x="36" y="34"/>
                  <a:pt x="40" y="36"/>
                  <a:pt x="39" y="36"/>
                </a:cubicBezTo>
                <a:cubicBezTo>
                  <a:pt x="36" y="36"/>
                  <a:pt x="35" y="35"/>
                  <a:pt x="33" y="35"/>
                </a:cubicBezTo>
                <a:cubicBezTo>
                  <a:pt x="27" y="33"/>
                  <a:pt x="26" y="31"/>
                  <a:pt x="19" y="29"/>
                </a:cubicBezTo>
                <a:cubicBezTo>
                  <a:pt x="20" y="30"/>
                  <a:pt x="25" y="31"/>
                  <a:pt x="25" y="32"/>
                </a:cubicBezTo>
                <a:cubicBezTo>
                  <a:pt x="25" y="34"/>
                  <a:pt x="35" y="37"/>
                  <a:pt x="32" y="38"/>
                </a:cubicBezTo>
                <a:cubicBezTo>
                  <a:pt x="31" y="38"/>
                  <a:pt x="30" y="37"/>
                  <a:pt x="29" y="37"/>
                </a:cubicBezTo>
                <a:cubicBezTo>
                  <a:pt x="29" y="35"/>
                  <a:pt x="21" y="33"/>
                  <a:pt x="18" y="31"/>
                </a:cubicBezTo>
                <a:cubicBezTo>
                  <a:pt x="19" y="33"/>
                  <a:pt x="21" y="34"/>
                  <a:pt x="25" y="36"/>
                </a:cubicBezTo>
                <a:cubicBezTo>
                  <a:pt x="29" y="38"/>
                  <a:pt x="34" y="40"/>
                  <a:pt x="38" y="43"/>
                </a:cubicBezTo>
                <a:cubicBezTo>
                  <a:pt x="33" y="41"/>
                  <a:pt x="29" y="40"/>
                  <a:pt x="24" y="38"/>
                </a:cubicBezTo>
                <a:cubicBezTo>
                  <a:pt x="24" y="37"/>
                  <a:pt x="23" y="36"/>
                  <a:pt x="21" y="35"/>
                </a:cubicBezTo>
                <a:cubicBezTo>
                  <a:pt x="19" y="35"/>
                  <a:pt x="19" y="36"/>
                  <a:pt x="21" y="37"/>
                </a:cubicBezTo>
                <a:cubicBezTo>
                  <a:pt x="22" y="38"/>
                  <a:pt x="22" y="38"/>
                  <a:pt x="22" y="38"/>
                </a:cubicBezTo>
                <a:cubicBezTo>
                  <a:pt x="28" y="44"/>
                  <a:pt x="35" y="49"/>
                  <a:pt x="44" y="55"/>
                </a:cubicBezTo>
                <a:cubicBezTo>
                  <a:pt x="43" y="55"/>
                  <a:pt x="43" y="55"/>
                  <a:pt x="42" y="54"/>
                </a:cubicBezTo>
                <a:cubicBezTo>
                  <a:pt x="34" y="50"/>
                  <a:pt x="25" y="45"/>
                  <a:pt x="17" y="40"/>
                </a:cubicBezTo>
                <a:cubicBezTo>
                  <a:pt x="12" y="37"/>
                  <a:pt x="6" y="34"/>
                  <a:pt x="0" y="31"/>
                </a:cubicBezTo>
                <a:cubicBezTo>
                  <a:pt x="0" y="84"/>
                  <a:pt x="0" y="84"/>
                  <a:pt x="0" y="84"/>
                </a:cubicBezTo>
                <a:cubicBezTo>
                  <a:pt x="0" y="84"/>
                  <a:pt x="1" y="85"/>
                  <a:pt x="1" y="85"/>
                </a:cubicBezTo>
                <a:cubicBezTo>
                  <a:pt x="2" y="86"/>
                  <a:pt x="3" y="86"/>
                  <a:pt x="4" y="87"/>
                </a:cubicBezTo>
                <a:cubicBezTo>
                  <a:pt x="4" y="87"/>
                  <a:pt x="5" y="88"/>
                  <a:pt x="6" y="88"/>
                </a:cubicBezTo>
                <a:cubicBezTo>
                  <a:pt x="4" y="88"/>
                  <a:pt x="2" y="88"/>
                  <a:pt x="0" y="88"/>
                </a:cubicBezTo>
                <a:cubicBezTo>
                  <a:pt x="0" y="107"/>
                  <a:pt x="0" y="107"/>
                  <a:pt x="0" y="107"/>
                </a:cubicBezTo>
                <a:cubicBezTo>
                  <a:pt x="0" y="107"/>
                  <a:pt x="0" y="107"/>
                  <a:pt x="1" y="107"/>
                </a:cubicBezTo>
                <a:cubicBezTo>
                  <a:pt x="1" y="108"/>
                  <a:pt x="1" y="108"/>
                  <a:pt x="2" y="109"/>
                </a:cubicBezTo>
                <a:cubicBezTo>
                  <a:pt x="1" y="109"/>
                  <a:pt x="1" y="109"/>
                  <a:pt x="0" y="109"/>
                </a:cubicBezTo>
                <a:cubicBezTo>
                  <a:pt x="0" y="109"/>
                  <a:pt x="0" y="109"/>
                  <a:pt x="0" y="108"/>
                </a:cubicBezTo>
                <a:cubicBezTo>
                  <a:pt x="0" y="126"/>
                  <a:pt x="0" y="126"/>
                  <a:pt x="0" y="126"/>
                </a:cubicBezTo>
                <a:cubicBezTo>
                  <a:pt x="0" y="127"/>
                  <a:pt x="0" y="127"/>
                  <a:pt x="0" y="127"/>
                </a:cubicBezTo>
                <a:cubicBezTo>
                  <a:pt x="0" y="127"/>
                  <a:pt x="0" y="127"/>
                  <a:pt x="0" y="127"/>
                </a:cubicBezTo>
                <a:cubicBezTo>
                  <a:pt x="0" y="158"/>
                  <a:pt x="0" y="158"/>
                  <a:pt x="0" y="158"/>
                </a:cubicBezTo>
                <a:cubicBezTo>
                  <a:pt x="0" y="158"/>
                  <a:pt x="0" y="158"/>
                  <a:pt x="0" y="158"/>
                </a:cubicBezTo>
                <a:cubicBezTo>
                  <a:pt x="0" y="159"/>
                  <a:pt x="0" y="159"/>
                  <a:pt x="0" y="159"/>
                </a:cubicBezTo>
                <a:cubicBezTo>
                  <a:pt x="0" y="159"/>
                  <a:pt x="0" y="159"/>
                  <a:pt x="0" y="159"/>
                </a:cubicBezTo>
                <a:cubicBezTo>
                  <a:pt x="0" y="173"/>
                  <a:pt x="0" y="173"/>
                  <a:pt x="0" y="173"/>
                </a:cubicBezTo>
                <a:cubicBezTo>
                  <a:pt x="0" y="173"/>
                  <a:pt x="0" y="173"/>
                  <a:pt x="0" y="173"/>
                </a:cubicBezTo>
                <a:cubicBezTo>
                  <a:pt x="0" y="173"/>
                  <a:pt x="0" y="173"/>
                  <a:pt x="0" y="173"/>
                </a:cubicBezTo>
                <a:cubicBezTo>
                  <a:pt x="0" y="173"/>
                  <a:pt x="0" y="173"/>
                  <a:pt x="0" y="173"/>
                </a:cubicBezTo>
                <a:cubicBezTo>
                  <a:pt x="0" y="220"/>
                  <a:pt x="0" y="220"/>
                  <a:pt x="0" y="220"/>
                </a:cubicBezTo>
                <a:cubicBezTo>
                  <a:pt x="1" y="220"/>
                  <a:pt x="2" y="220"/>
                  <a:pt x="3" y="221"/>
                </a:cubicBezTo>
                <a:cubicBezTo>
                  <a:pt x="3" y="221"/>
                  <a:pt x="3" y="221"/>
                  <a:pt x="3" y="221"/>
                </a:cubicBezTo>
                <a:cubicBezTo>
                  <a:pt x="3" y="221"/>
                  <a:pt x="3" y="221"/>
                  <a:pt x="3" y="221"/>
                </a:cubicBezTo>
                <a:cubicBezTo>
                  <a:pt x="3" y="221"/>
                  <a:pt x="3" y="221"/>
                  <a:pt x="3" y="221"/>
                </a:cubicBezTo>
                <a:cubicBezTo>
                  <a:pt x="2" y="221"/>
                  <a:pt x="1" y="220"/>
                  <a:pt x="0" y="220"/>
                </a:cubicBezTo>
                <a:cubicBezTo>
                  <a:pt x="0" y="220"/>
                  <a:pt x="0" y="220"/>
                  <a:pt x="0" y="220"/>
                </a:cubicBezTo>
                <a:cubicBezTo>
                  <a:pt x="0" y="220"/>
                  <a:pt x="0" y="220"/>
                  <a:pt x="0" y="220"/>
                </a:cubicBezTo>
                <a:cubicBezTo>
                  <a:pt x="0" y="223"/>
                  <a:pt x="0" y="223"/>
                  <a:pt x="0" y="223"/>
                </a:cubicBezTo>
                <a:cubicBezTo>
                  <a:pt x="0" y="223"/>
                  <a:pt x="0" y="223"/>
                  <a:pt x="0" y="223"/>
                </a:cubicBezTo>
                <a:cubicBezTo>
                  <a:pt x="0" y="223"/>
                  <a:pt x="0" y="223"/>
                  <a:pt x="0" y="223"/>
                </a:cubicBezTo>
                <a:cubicBezTo>
                  <a:pt x="0" y="223"/>
                  <a:pt x="0" y="223"/>
                  <a:pt x="0" y="223"/>
                </a:cubicBezTo>
                <a:cubicBezTo>
                  <a:pt x="0" y="229"/>
                  <a:pt x="0" y="229"/>
                  <a:pt x="0" y="229"/>
                </a:cubicBezTo>
                <a:cubicBezTo>
                  <a:pt x="13" y="229"/>
                  <a:pt x="13" y="229"/>
                  <a:pt x="13" y="229"/>
                </a:cubicBezTo>
                <a:cubicBezTo>
                  <a:pt x="18" y="231"/>
                  <a:pt x="23" y="234"/>
                  <a:pt x="28" y="236"/>
                </a:cubicBezTo>
                <a:cubicBezTo>
                  <a:pt x="42" y="243"/>
                  <a:pt x="57" y="249"/>
                  <a:pt x="70" y="256"/>
                </a:cubicBezTo>
                <a:cubicBezTo>
                  <a:pt x="70" y="256"/>
                  <a:pt x="70" y="256"/>
                  <a:pt x="70" y="256"/>
                </a:cubicBezTo>
                <a:cubicBezTo>
                  <a:pt x="72" y="257"/>
                  <a:pt x="73" y="258"/>
                  <a:pt x="76" y="258"/>
                </a:cubicBezTo>
                <a:cubicBezTo>
                  <a:pt x="78" y="259"/>
                  <a:pt x="79" y="260"/>
                  <a:pt x="81" y="261"/>
                </a:cubicBezTo>
                <a:cubicBezTo>
                  <a:pt x="80" y="260"/>
                  <a:pt x="77" y="259"/>
                  <a:pt x="77" y="258"/>
                </a:cubicBezTo>
                <a:cubicBezTo>
                  <a:pt x="76" y="258"/>
                  <a:pt x="75" y="257"/>
                  <a:pt x="75" y="257"/>
                </a:cubicBezTo>
                <a:cubicBezTo>
                  <a:pt x="74" y="256"/>
                  <a:pt x="72" y="256"/>
                  <a:pt x="72" y="255"/>
                </a:cubicBezTo>
                <a:cubicBezTo>
                  <a:pt x="74" y="255"/>
                  <a:pt x="70" y="254"/>
                  <a:pt x="71" y="254"/>
                </a:cubicBezTo>
                <a:cubicBezTo>
                  <a:pt x="72" y="254"/>
                  <a:pt x="73" y="254"/>
                  <a:pt x="73" y="254"/>
                </a:cubicBezTo>
                <a:cubicBezTo>
                  <a:pt x="73" y="254"/>
                  <a:pt x="71" y="253"/>
                  <a:pt x="70" y="253"/>
                </a:cubicBezTo>
                <a:cubicBezTo>
                  <a:pt x="69" y="252"/>
                  <a:pt x="67" y="252"/>
                  <a:pt x="67" y="251"/>
                </a:cubicBezTo>
                <a:cubicBezTo>
                  <a:pt x="68" y="252"/>
                  <a:pt x="70" y="252"/>
                  <a:pt x="71" y="253"/>
                </a:cubicBezTo>
                <a:cubicBezTo>
                  <a:pt x="72" y="253"/>
                  <a:pt x="72" y="253"/>
                  <a:pt x="72" y="253"/>
                </a:cubicBezTo>
                <a:cubicBezTo>
                  <a:pt x="70" y="252"/>
                  <a:pt x="69" y="251"/>
                  <a:pt x="67" y="251"/>
                </a:cubicBezTo>
                <a:cubicBezTo>
                  <a:pt x="66" y="250"/>
                  <a:pt x="65" y="249"/>
                  <a:pt x="63" y="249"/>
                </a:cubicBezTo>
                <a:cubicBezTo>
                  <a:pt x="63" y="248"/>
                  <a:pt x="64" y="248"/>
                  <a:pt x="64" y="248"/>
                </a:cubicBezTo>
                <a:cubicBezTo>
                  <a:pt x="66" y="249"/>
                  <a:pt x="68" y="250"/>
                  <a:pt x="70" y="251"/>
                </a:cubicBezTo>
                <a:cubicBezTo>
                  <a:pt x="74" y="253"/>
                  <a:pt x="79" y="255"/>
                  <a:pt x="84" y="258"/>
                </a:cubicBezTo>
                <a:cubicBezTo>
                  <a:pt x="84" y="258"/>
                  <a:pt x="85" y="258"/>
                  <a:pt x="85" y="258"/>
                </a:cubicBezTo>
                <a:cubicBezTo>
                  <a:pt x="86" y="259"/>
                  <a:pt x="88" y="259"/>
                  <a:pt x="89" y="260"/>
                </a:cubicBezTo>
                <a:cubicBezTo>
                  <a:pt x="90" y="260"/>
                  <a:pt x="91" y="261"/>
                  <a:pt x="93" y="261"/>
                </a:cubicBezTo>
                <a:cubicBezTo>
                  <a:pt x="95" y="262"/>
                  <a:pt x="96" y="263"/>
                  <a:pt x="99" y="264"/>
                </a:cubicBezTo>
                <a:cubicBezTo>
                  <a:pt x="99" y="263"/>
                  <a:pt x="97" y="262"/>
                  <a:pt x="94" y="261"/>
                </a:cubicBezTo>
                <a:cubicBezTo>
                  <a:pt x="90" y="258"/>
                  <a:pt x="86" y="257"/>
                  <a:pt x="82" y="256"/>
                </a:cubicBezTo>
                <a:cubicBezTo>
                  <a:pt x="77" y="254"/>
                  <a:pt x="73" y="252"/>
                  <a:pt x="68" y="250"/>
                </a:cubicBezTo>
                <a:cubicBezTo>
                  <a:pt x="65" y="248"/>
                  <a:pt x="61" y="247"/>
                  <a:pt x="58" y="245"/>
                </a:cubicBezTo>
                <a:cubicBezTo>
                  <a:pt x="56" y="244"/>
                  <a:pt x="54" y="243"/>
                  <a:pt x="52" y="242"/>
                </a:cubicBezTo>
                <a:cubicBezTo>
                  <a:pt x="51" y="241"/>
                  <a:pt x="49" y="240"/>
                  <a:pt x="48" y="240"/>
                </a:cubicBezTo>
                <a:cubicBezTo>
                  <a:pt x="50" y="240"/>
                  <a:pt x="51" y="241"/>
                  <a:pt x="53" y="242"/>
                </a:cubicBezTo>
                <a:cubicBezTo>
                  <a:pt x="53" y="242"/>
                  <a:pt x="54" y="242"/>
                  <a:pt x="55" y="242"/>
                </a:cubicBezTo>
                <a:cubicBezTo>
                  <a:pt x="55" y="242"/>
                  <a:pt x="55" y="242"/>
                  <a:pt x="55" y="242"/>
                </a:cubicBezTo>
                <a:cubicBezTo>
                  <a:pt x="55" y="242"/>
                  <a:pt x="53" y="241"/>
                  <a:pt x="51" y="240"/>
                </a:cubicBezTo>
                <a:cubicBezTo>
                  <a:pt x="51" y="240"/>
                  <a:pt x="50" y="240"/>
                  <a:pt x="50" y="239"/>
                </a:cubicBezTo>
                <a:cubicBezTo>
                  <a:pt x="48" y="239"/>
                  <a:pt x="47" y="238"/>
                  <a:pt x="46" y="237"/>
                </a:cubicBezTo>
                <a:cubicBezTo>
                  <a:pt x="44" y="237"/>
                  <a:pt x="43" y="237"/>
                  <a:pt x="41" y="236"/>
                </a:cubicBezTo>
                <a:cubicBezTo>
                  <a:pt x="41" y="236"/>
                  <a:pt x="41" y="235"/>
                  <a:pt x="41" y="235"/>
                </a:cubicBezTo>
                <a:cubicBezTo>
                  <a:pt x="39" y="234"/>
                  <a:pt x="38" y="233"/>
                  <a:pt x="35" y="233"/>
                </a:cubicBezTo>
                <a:cubicBezTo>
                  <a:pt x="33" y="232"/>
                  <a:pt x="31" y="230"/>
                  <a:pt x="28" y="229"/>
                </a:cubicBezTo>
                <a:cubicBezTo>
                  <a:pt x="28" y="229"/>
                  <a:pt x="28" y="229"/>
                  <a:pt x="28" y="229"/>
                </a:cubicBezTo>
                <a:cubicBezTo>
                  <a:pt x="33" y="229"/>
                  <a:pt x="33" y="229"/>
                  <a:pt x="33" y="229"/>
                </a:cubicBezTo>
                <a:cubicBezTo>
                  <a:pt x="41" y="233"/>
                  <a:pt x="49" y="236"/>
                  <a:pt x="57" y="240"/>
                </a:cubicBezTo>
                <a:cubicBezTo>
                  <a:pt x="58" y="240"/>
                  <a:pt x="59" y="240"/>
                  <a:pt x="60" y="241"/>
                </a:cubicBezTo>
                <a:cubicBezTo>
                  <a:pt x="63" y="242"/>
                  <a:pt x="66" y="244"/>
                  <a:pt x="69" y="245"/>
                </a:cubicBezTo>
                <a:cubicBezTo>
                  <a:pt x="70" y="246"/>
                  <a:pt x="71" y="246"/>
                  <a:pt x="71" y="246"/>
                </a:cubicBezTo>
                <a:cubicBezTo>
                  <a:pt x="72" y="246"/>
                  <a:pt x="73" y="246"/>
                  <a:pt x="74" y="246"/>
                </a:cubicBezTo>
                <a:cubicBezTo>
                  <a:pt x="87" y="252"/>
                  <a:pt x="98" y="259"/>
                  <a:pt x="112" y="265"/>
                </a:cubicBezTo>
                <a:cubicBezTo>
                  <a:pt x="112" y="266"/>
                  <a:pt x="114" y="267"/>
                  <a:pt x="116" y="268"/>
                </a:cubicBezTo>
                <a:cubicBezTo>
                  <a:pt x="117" y="268"/>
                  <a:pt x="117" y="269"/>
                  <a:pt x="121" y="269"/>
                </a:cubicBezTo>
                <a:cubicBezTo>
                  <a:pt x="122" y="269"/>
                  <a:pt x="124" y="270"/>
                  <a:pt x="125" y="271"/>
                </a:cubicBezTo>
                <a:cubicBezTo>
                  <a:pt x="130" y="273"/>
                  <a:pt x="133" y="275"/>
                  <a:pt x="139" y="277"/>
                </a:cubicBezTo>
                <a:cubicBezTo>
                  <a:pt x="137" y="276"/>
                  <a:pt x="133" y="274"/>
                  <a:pt x="133" y="273"/>
                </a:cubicBezTo>
                <a:cubicBezTo>
                  <a:pt x="143" y="277"/>
                  <a:pt x="152" y="281"/>
                  <a:pt x="160" y="286"/>
                </a:cubicBezTo>
                <a:cubicBezTo>
                  <a:pt x="162" y="287"/>
                  <a:pt x="164" y="288"/>
                  <a:pt x="168" y="289"/>
                </a:cubicBezTo>
                <a:cubicBezTo>
                  <a:pt x="168" y="289"/>
                  <a:pt x="169" y="290"/>
                  <a:pt x="169" y="290"/>
                </a:cubicBezTo>
                <a:cubicBezTo>
                  <a:pt x="171" y="291"/>
                  <a:pt x="176" y="293"/>
                  <a:pt x="178" y="295"/>
                </a:cubicBezTo>
                <a:cubicBezTo>
                  <a:pt x="179" y="295"/>
                  <a:pt x="179" y="295"/>
                  <a:pt x="179" y="295"/>
                </a:cubicBezTo>
                <a:cubicBezTo>
                  <a:pt x="179" y="295"/>
                  <a:pt x="179" y="295"/>
                  <a:pt x="179" y="295"/>
                </a:cubicBezTo>
                <a:cubicBezTo>
                  <a:pt x="179" y="295"/>
                  <a:pt x="179" y="295"/>
                  <a:pt x="178" y="295"/>
                </a:cubicBezTo>
                <a:cubicBezTo>
                  <a:pt x="181" y="297"/>
                  <a:pt x="186" y="299"/>
                  <a:pt x="190" y="301"/>
                </a:cubicBezTo>
                <a:cubicBezTo>
                  <a:pt x="195" y="303"/>
                  <a:pt x="200" y="306"/>
                  <a:pt x="202" y="308"/>
                </a:cubicBezTo>
                <a:cubicBezTo>
                  <a:pt x="203" y="309"/>
                  <a:pt x="204" y="309"/>
                  <a:pt x="204" y="309"/>
                </a:cubicBezTo>
                <a:cubicBezTo>
                  <a:pt x="208" y="311"/>
                  <a:pt x="214" y="314"/>
                  <a:pt x="218" y="316"/>
                </a:cubicBezTo>
                <a:cubicBezTo>
                  <a:pt x="219" y="317"/>
                  <a:pt x="221" y="318"/>
                  <a:pt x="224" y="318"/>
                </a:cubicBezTo>
                <a:cubicBezTo>
                  <a:pt x="225" y="318"/>
                  <a:pt x="226" y="319"/>
                  <a:pt x="228" y="320"/>
                </a:cubicBezTo>
                <a:cubicBezTo>
                  <a:pt x="228" y="320"/>
                  <a:pt x="229" y="320"/>
                  <a:pt x="229" y="320"/>
                </a:cubicBezTo>
                <a:cubicBezTo>
                  <a:pt x="229" y="320"/>
                  <a:pt x="229" y="320"/>
                  <a:pt x="229" y="320"/>
                </a:cubicBezTo>
                <a:cubicBezTo>
                  <a:pt x="226" y="317"/>
                  <a:pt x="221" y="315"/>
                  <a:pt x="216" y="313"/>
                </a:cubicBezTo>
                <a:cubicBezTo>
                  <a:pt x="214" y="312"/>
                  <a:pt x="211" y="311"/>
                  <a:pt x="211" y="310"/>
                </a:cubicBezTo>
                <a:cubicBezTo>
                  <a:pt x="204" y="309"/>
                  <a:pt x="209" y="308"/>
                  <a:pt x="204" y="306"/>
                </a:cubicBezTo>
                <a:cubicBezTo>
                  <a:pt x="204" y="306"/>
                  <a:pt x="204" y="306"/>
                  <a:pt x="204" y="306"/>
                </a:cubicBezTo>
                <a:cubicBezTo>
                  <a:pt x="203" y="305"/>
                  <a:pt x="203" y="304"/>
                  <a:pt x="200" y="303"/>
                </a:cubicBezTo>
                <a:cubicBezTo>
                  <a:pt x="197" y="302"/>
                  <a:pt x="193" y="300"/>
                  <a:pt x="191" y="299"/>
                </a:cubicBezTo>
                <a:cubicBezTo>
                  <a:pt x="189" y="297"/>
                  <a:pt x="188" y="298"/>
                  <a:pt x="186" y="298"/>
                </a:cubicBezTo>
                <a:cubicBezTo>
                  <a:pt x="186" y="297"/>
                  <a:pt x="188" y="297"/>
                  <a:pt x="185" y="296"/>
                </a:cubicBezTo>
                <a:cubicBezTo>
                  <a:pt x="185" y="295"/>
                  <a:pt x="181" y="294"/>
                  <a:pt x="181" y="293"/>
                </a:cubicBezTo>
                <a:cubicBezTo>
                  <a:pt x="181" y="293"/>
                  <a:pt x="182" y="293"/>
                  <a:pt x="182" y="293"/>
                </a:cubicBezTo>
                <a:cubicBezTo>
                  <a:pt x="184" y="293"/>
                  <a:pt x="183" y="293"/>
                  <a:pt x="183" y="292"/>
                </a:cubicBezTo>
                <a:cubicBezTo>
                  <a:pt x="187" y="293"/>
                  <a:pt x="190" y="295"/>
                  <a:pt x="190" y="295"/>
                </a:cubicBezTo>
                <a:cubicBezTo>
                  <a:pt x="190" y="297"/>
                  <a:pt x="192" y="297"/>
                  <a:pt x="196" y="298"/>
                </a:cubicBezTo>
                <a:cubicBezTo>
                  <a:pt x="198" y="299"/>
                  <a:pt x="200" y="300"/>
                  <a:pt x="201" y="301"/>
                </a:cubicBezTo>
                <a:cubicBezTo>
                  <a:pt x="202" y="301"/>
                  <a:pt x="204" y="302"/>
                  <a:pt x="206" y="302"/>
                </a:cubicBezTo>
                <a:cubicBezTo>
                  <a:pt x="206" y="303"/>
                  <a:pt x="206" y="303"/>
                  <a:pt x="207" y="303"/>
                </a:cubicBezTo>
                <a:cubicBezTo>
                  <a:pt x="210" y="304"/>
                  <a:pt x="214" y="306"/>
                  <a:pt x="218" y="308"/>
                </a:cubicBezTo>
                <a:cubicBezTo>
                  <a:pt x="218" y="308"/>
                  <a:pt x="218" y="308"/>
                  <a:pt x="218" y="308"/>
                </a:cubicBezTo>
                <a:cubicBezTo>
                  <a:pt x="218" y="308"/>
                  <a:pt x="218" y="308"/>
                  <a:pt x="218" y="308"/>
                </a:cubicBezTo>
                <a:cubicBezTo>
                  <a:pt x="218" y="308"/>
                  <a:pt x="218" y="308"/>
                  <a:pt x="218" y="308"/>
                </a:cubicBezTo>
                <a:cubicBezTo>
                  <a:pt x="220" y="309"/>
                  <a:pt x="223" y="310"/>
                  <a:pt x="225" y="311"/>
                </a:cubicBezTo>
                <a:cubicBezTo>
                  <a:pt x="229" y="312"/>
                  <a:pt x="232" y="314"/>
                  <a:pt x="236" y="316"/>
                </a:cubicBezTo>
                <a:cubicBezTo>
                  <a:pt x="235" y="314"/>
                  <a:pt x="225" y="311"/>
                  <a:pt x="227" y="310"/>
                </a:cubicBezTo>
                <a:cubicBezTo>
                  <a:pt x="228" y="310"/>
                  <a:pt x="228" y="309"/>
                  <a:pt x="228" y="309"/>
                </a:cubicBezTo>
                <a:cubicBezTo>
                  <a:pt x="228" y="309"/>
                  <a:pt x="228" y="308"/>
                  <a:pt x="227" y="308"/>
                </a:cubicBezTo>
                <a:cubicBezTo>
                  <a:pt x="225" y="308"/>
                  <a:pt x="223" y="307"/>
                  <a:pt x="220" y="306"/>
                </a:cubicBezTo>
                <a:cubicBezTo>
                  <a:pt x="220" y="306"/>
                  <a:pt x="219" y="305"/>
                  <a:pt x="218" y="305"/>
                </a:cubicBezTo>
                <a:cubicBezTo>
                  <a:pt x="217" y="305"/>
                  <a:pt x="216" y="304"/>
                  <a:pt x="216" y="304"/>
                </a:cubicBezTo>
                <a:cubicBezTo>
                  <a:pt x="210" y="301"/>
                  <a:pt x="206" y="298"/>
                  <a:pt x="202" y="296"/>
                </a:cubicBezTo>
                <a:cubicBezTo>
                  <a:pt x="204" y="296"/>
                  <a:pt x="206" y="297"/>
                  <a:pt x="208" y="298"/>
                </a:cubicBezTo>
                <a:cubicBezTo>
                  <a:pt x="208" y="297"/>
                  <a:pt x="204" y="296"/>
                  <a:pt x="203" y="295"/>
                </a:cubicBezTo>
                <a:cubicBezTo>
                  <a:pt x="203" y="295"/>
                  <a:pt x="203" y="295"/>
                  <a:pt x="204" y="295"/>
                </a:cubicBezTo>
                <a:cubicBezTo>
                  <a:pt x="204" y="295"/>
                  <a:pt x="204" y="295"/>
                  <a:pt x="204" y="295"/>
                </a:cubicBezTo>
                <a:cubicBezTo>
                  <a:pt x="204" y="295"/>
                  <a:pt x="204" y="294"/>
                  <a:pt x="205" y="295"/>
                </a:cubicBezTo>
                <a:cubicBezTo>
                  <a:pt x="208" y="296"/>
                  <a:pt x="209" y="296"/>
                  <a:pt x="210" y="296"/>
                </a:cubicBezTo>
                <a:cubicBezTo>
                  <a:pt x="211" y="295"/>
                  <a:pt x="209" y="295"/>
                  <a:pt x="208" y="294"/>
                </a:cubicBezTo>
                <a:cubicBezTo>
                  <a:pt x="205" y="293"/>
                  <a:pt x="202" y="292"/>
                  <a:pt x="201" y="291"/>
                </a:cubicBezTo>
                <a:cubicBezTo>
                  <a:pt x="199" y="289"/>
                  <a:pt x="197" y="289"/>
                  <a:pt x="195" y="289"/>
                </a:cubicBezTo>
                <a:cubicBezTo>
                  <a:pt x="193" y="288"/>
                  <a:pt x="191" y="287"/>
                  <a:pt x="187" y="285"/>
                </a:cubicBezTo>
                <a:cubicBezTo>
                  <a:pt x="189" y="287"/>
                  <a:pt x="191" y="288"/>
                  <a:pt x="195" y="289"/>
                </a:cubicBezTo>
                <a:cubicBezTo>
                  <a:pt x="197" y="290"/>
                  <a:pt x="199" y="291"/>
                  <a:pt x="201" y="292"/>
                </a:cubicBezTo>
                <a:cubicBezTo>
                  <a:pt x="203" y="293"/>
                  <a:pt x="203" y="294"/>
                  <a:pt x="201" y="294"/>
                </a:cubicBezTo>
                <a:cubicBezTo>
                  <a:pt x="199" y="293"/>
                  <a:pt x="196" y="291"/>
                  <a:pt x="195" y="293"/>
                </a:cubicBezTo>
                <a:cubicBezTo>
                  <a:pt x="195" y="292"/>
                  <a:pt x="194" y="292"/>
                  <a:pt x="193" y="292"/>
                </a:cubicBezTo>
                <a:cubicBezTo>
                  <a:pt x="193" y="291"/>
                  <a:pt x="191" y="290"/>
                  <a:pt x="189" y="290"/>
                </a:cubicBezTo>
                <a:cubicBezTo>
                  <a:pt x="184" y="287"/>
                  <a:pt x="178" y="284"/>
                  <a:pt x="172" y="281"/>
                </a:cubicBezTo>
                <a:cubicBezTo>
                  <a:pt x="169" y="279"/>
                  <a:pt x="167" y="277"/>
                  <a:pt x="162" y="275"/>
                </a:cubicBezTo>
                <a:cubicBezTo>
                  <a:pt x="160" y="273"/>
                  <a:pt x="154" y="271"/>
                  <a:pt x="152" y="269"/>
                </a:cubicBezTo>
                <a:cubicBezTo>
                  <a:pt x="151" y="269"/>
                  <a:pt x="149" y="268"/>
                  <a:pt x="148" y="267"/>
                </a:cubicBezTo>
                <a:cubicBezTo>
                  <a:pt x="147" y="266"/>
                  <a:pt x="146" y="266"/>
                  <a:pt x="146" y="265"/>
                </a:cubicBezTo>
                <a:cubicBezTo>
                  <a:pt x="145" y="265"/>
                  <a:pt x="145" y="264"/>
                  <a:pt x="144" y="264"/>
                </a:cubicBezTo>
                <a:cubicBezTo>
                  <a:pt x="146" y="265"/>
                  <a:pt x="148" y="266"/>
                  <a:pt x="150" y="267"/>
                </a:cubicBezTo>
                <a:cubicBezTo>
                  <a:pt x="152" y="267"/>
                  <a:pt x="152" y="268"/>
                  <a:pt x="154" y="268"/>
                </a:cubicBezTo>
                <a:cubicBezTo>
                  <a:pt x="155" y="269"/>
                  <a:pt x="157" y="269"/>
                  <a:pt x="158" y="270"/>
                </a:cubicBezTo>
                <a:cubicBezTo>
                  <a:pt x="158" y="269"/>
                  <a:pt x="158" y="269"/>
                  <a:pt x="159" y="269"/>
                </a:cubicBezTo>
                <a:cubicBezTo>
                  <a:pt x="162" y="270"/>
                  <a:pt x="164" y="272"/>
                  <a:pt x="168" y="273"/>
                </a:cubicBezTo>
                <a:cubicBezTo>
                  <a:pt x="170" y="274"/>
                  <a:pt x="172" y="275"/>
                  <a:pt x="173" y="276"/>
                </a:cubicBezTo>
                <a:cubicBezTo>
                  <a:pt x="173" y="276"/>
                  <a:pt x="172" y="276"/>
                  <a:pt x="173" y="277"/>
                </a:cubicBezTo>
                <a:cubicBezTo>
                  <a:pt x="175" y="277"/>
                  <a:pt x="175" y="277"/>
                  <a:pt x="176" y="277"/>
                </a:cubicBezTo>
                <a:cubicBezTo>
                  <a:pt x="177" y="277"/>
                  <a:pt x="178" y="278"/>
                  <a:pt x="180" y="279"/>
                </a:cubicBezTo>
                <a:cubicBezTo>
                  <a:pt x="180" y="279"/>
                  <a:pt x="180" y="279"/>
                  <a:pt x="180" y="279"/>
                </a:cubicBezTo>
                <a:cubicBezTo>
                  <a:pt x="186" y="283"/>
                  <a:pt x="196" y="287"/>
                  <a:pt x="204" y="291"/>
                </a:cubicBezTo>
                <a:cubicBezTo>
                  <a:pt x="208" y="293"/>
                  <a:pt x="212" y="296"/>
                  <a:pt x="216" y="298"/>
                </a:cubicBezTo>
                <a:cubicBezTo>
                  <a:pt x="218" y="299"/>
                  <a:pt x="221" y="301"/>
                  <a:pt x="224" y="302"/>
                </a:cubicBezTo>
                <a:cubicBezTo>
                  <a:pt x="225" y="303"/>
                  <a:pt x="225" y="304"/>
                  <a:pt x="228" y="304"/>
                </a:cubicBezTo>
                <a:cubicBezTo>
                  <a:pt x="233" y="305"/>
                  <a:pt x="230" y="303"/>
                  <a:pt x="230" y="303"/>
                </a:cubicBezTo>
                <a:cubicBezTo>
                  <a:pt x="231" y="303"/>
                  <a:pt x="232" y="304"/>
                  <a:pt x="234" y="304"/>
                </a:cubicBezTo>
                <a:cubicBezTo>
                  <a:pt x="232" y="303"/>
                  <a:pt x="229" y="301"/>
                  <a:pt x="226" y="299"/>
                </a:cubicBezTo>
                <a:cubicBezTo>
                  <a:pt x="227" y="299"/>
                  <a:pt x="228" y="299"/>
                  <a:pt x="226" y="298"/>
                </a:cubicBezTo>
                <a:cubicBezTo>
                  <a:pt x="223" y="297"/>
                  <a:pt x="221" y="296"/>
                  <a:pt x="217" y="294"/>
                </a:cubicBezTo>
                <a:cubicBezTo>
                  <a:pt x="217" y="294"/>
                  <a:pt x="217" y="294"/>
                  <a:pt x="217" y="294"/>
                </a:cubicBezTo>
                <a:cubicBezTo>
                  <a:pt x="217" y="294"/>
                  <a:pt x="217" y="294"/>
                  <a:pt x="217" y="294"/>
                </a:cubicBezTo>
                <a:cubicBezTo>
                  <a:pt x="217" y="294"/>
                  <a:pt x="217" y="294"/>
                  <a:pt x="217" y="294"/>
                </a:cubicBezTo>
                <a:cubicBezTo>
                  <a:pt x="217" y="294"/>
                  <a:pt x="220" y="294"/>
                  <a:pt x="215" y="293"/>
                </a:cubicBezTo>
                <a:cubicBezTo>
                  <a:pt x="214" y="292"/>
                  <a:pt x="212" y="291"/>
                  <a:pt x="214" y="291"/>
                </a:cubicBezTo>
                <a:cubicBezTo>
                  <a:pt x="214" y="291"/>
                  <a:pt x="214" y="291"/>
                  <a:pt x="214" y="291"/>
                </a:cubicBezTo>
                <a:cubicBezTo>
                  <a:pt x="214" y="291"/>
                  <a:pt x="214" y="291"/>
                  <a:pt x="214" y="291"/>
                </a:cubicBezTo>
                <a:cubicBezTo>
                  <a:pt x="214" y="291"/>
                  <a:pt x="214" y="291"/>
                  <a:pt x="214" y="291"/>
                </a:cubicBezTo>
                <a:cubicBezTo>
                  <a:pt x="219" y="293"/>
                  <a:pt x="223" y="296"/>
                  <a:pt x="230" y="298"/>
                </a:cubicBezTo>
                <a:cubicBezTo>
                  <a:pt x="231" y="299"/>
                  <a:pt x="232" y="299"/>
                  <a:pt x="233" y="300"/>
                </a:cubicBezTo>
                <a:cubicBezTo>
                  <a:pt x="236" y="300"/>
                  <a:pt x="232" y="299"/>
                  <a:pt x="232" y="299"/>
                </a:cubicBezTo>
                <a:cubicBezTo>
                  <a:pt x="233" y="299"/>
                  <a:pt x="234" y="298"/>
                  <a:pt x="235" y="298"/>
                </a:cubicBezTo>
                <a:cubicBezTo>
                  <a:pt x="239" y="300"/>
                  <a:pt x="241" y="301"/>
                  <a:pt x="244" y="303"/>
                </a:cubicBezTo>
                <a:cubicBezTo>
                  <a:pt x="246" y="304"/>
                  <a:pt x="248" y="305"/>
                  <a:pt x="250" y="305"/>
                </a:cubicBezTo>
                <a:cubicBezTo>
                  <a:pt x="253" y="306"/>
                  <a:pt x="247" y="304"/>
                  <a:pt x="246" y="303"/>
                </a:cubicBezTo>
                <a:cubicBezTo>
                  <a:pt x="246" y="303"/>
                  <a:pt x="246" y="303"/>
                  <a:pt x="246" y="302"/>
                </a:cubicBezTo>
                <a:cubicBezTo>
                  <a:pt x="246" y="302"/>
                  <a:pt x="246" y="302"/>
                  <a:pt x="246" y="302"/>
                </a:cubicBezTo>
                <a:cubicBezTo>
                  <a:pt x="247" y="302"/>
                  <a:pt x="247" y="302"/>
                  <a:pt x="248" y="302"/>
                </a:cubicBezTo>
                <a:cubicBezTo>
                  <a:pt x="245" y="301"/>
                  <a:pt x="240" y="299"/>
                  <a:pt x="238" y="298"/>
                </a:cubicBezTo>
                <a:cubicBezTo>
                  <a:pt x="237" y="297"/>
                  <a:pt x="237" y="297"/>
                  <a:pt x="236" y="296"/>
                </a:cubicBezTo>
                <a:cubicBezTo>
                  <a:pt x="236" y="296"/>
                  <a:pt x="237" y="296"/>
                  <a:pt x="238" y="296"/>
                </a:cubicBezTo>
                <a:cubicBezTo>
                  <a:pt x="238" y="296"/>
                  <a:pt x="238" y="296"/>
                  <a:pt x="237" y="295"/>
                </a:cubicBezTo>
                <a:cubicBezTo>
                  <a:pt x="231" y="292"/>
                  <a:pt x="231" y="292"/>
                  <a:pt x="237" y="292"/>
                </a:cubicBezTo>
                <a:cubicBezTo>
                  <a:pt x="239" y="292"/>
                  <a:pt x="239" y="293"/>
                  <a:pt x="242" y="293"/>
                </a:cubicBezTo>
                <a:cubicBezTo>
                  <a:pt x="244" y="293"/>
                  <a:pt x="241" y="292"/>
                  <a:pt x="240" y="292"/>
                </a:cubicBezTo>
                <a:cubicBezTo>
                  <a:pt x="239" y="291"/>
                  <a:pt x="239" y="290"/>
                  <a:pt x="241" y="291"/>
                </a:cubicBezTo>
                <a:cubicBezTo>
                  <a:pt x="247" y="293"/>
                  <a:pt x="253" y="294"/>
                  <a:pt x="258" y="297"/>
                </a:cubicBezTo>
                <a:cubicBezTo>
                  <a:pt x="258" y="297"/>
                  <a:pt x="259" y="297"/>
                  <a:pt x="258" y="297"/>
                </a:cubicBezTo>
                <a:cubicBezTo>
                  <a:pt x="258" y="297"/>
                  <a:pt x="256" y="296"/>
                  <a:pt x="255" y="297"/>
                </a:cubicBezTo>
                <a:cubicBezTo>
                  <a:pt x="260" y="300"/>
                  <a:pt x="270" y="302"/>
                  <a:pt x="275" y="305"/>
                </a:cubicBezTo>
                <a:cubicBezTo>
                  <a:pt x="277" y="307"/>
                  <a:pt x="280" y="308"/>
                  <a:pt x="284" y="310"/>
                </a:cubicBezTo>
                <a:cubicBezTo>
                  <a:pt x="285" y="311"/>
                  <a:pt x="286" y="311"/>
                  <a:pt x="288" y="311"/>
                </a:cubicBezTo>
                <a:cubicBezTo>
                  <a:pt x="290" y="311"/>
                  <a:pt x="289" y="310"/>
                  <a:pt x="287" y="310"/>
                </a:cubicBezTo>
                <a:cubicBezTo>
                  <a:pt x="283" y="308"/>
                  <a:pt x="287" y="309"/>
                  <a:pt x="287" y="308"/>
                </a:cubicBezTo>
                <a:cubicBezTo>
                  <a:pt x="288" y="308"/>
                  <a:pt x="289" y="308"/>
                  <a:pt x="289" y="309"/>
                </a:cubicBezTo>
                <a:cubicBezTo>
                  <a:pt x="287" y="308"/>
                  <a:pt x="287" y="306"/>
                  <a:pt x="282" y="306"/>
                </a:cubicBezTo>
                <a:cubicBezTo>
                  <a:pt x="281" y="306"/>
                  <a:pt x="283" y="307"/>
                  <a:pt x="283" y="307"/>
                </a:cubicBezTo>
                <a:cubicBezTo>
                  <a:pt x="280" y="307"/>
                  <a:pt x="280" y="306"/>
                  <a:pt x="278" y="305"/>
                </a:cubicBezTo>
                <a:cubicBezTo>
                  <a:pt x="273" y="303"/>
                  <a:pt x="273" y="302"/>
                  <a:pt x="268" y="300"/>
                </a:cubicBezTo>
                <a:cubicBezTo>
                  <a:pt x="266" y="299"/>
                  <a:pt x="264" y="298"/>
                  <a:pt x="262" y="297"/>
                </a:cubicBezTo>
                <a:cubicBezTo>
                  <a:pt x="262" y="296"/>
                  <a:pt x="263" y="296"/>
                  <a:pt x="262" y="295"/>
                </a:cubicBezTo>
                <a:cubicBezTo>
                  <a:pt x="260" y="294"/>
                  <a:pt x="258" y="293"/>
                  <a:pt x="256" y="292"/>
                </a:cubicBezTo>
                <a:cubicBezTo>
                  <a:pt x="256" y="292"/>
                  <a:pt x="255" y="292"/>
                  <a:pt x="255" y="292"/>
                </a:cubicBezTo>
                <a:cubicBezTo>
                  <a:pt x="257" y="293"/>
                  <a:pt x="259" y="294"/>
                  <a:pt x="261" y="295"/>
                </a:cubicBezTo>
                <a:cubicBezTo>
                  <a:pt x="256" y="294"/>
                  <a:pt x="255" y="293"/>
                  <a:pt x="252" y="292"/>
                </a:cubicBezTo>
                <a:cubicBezTo>
                  <a:pt x="251" y="290"/>
                  <a:pt x="245" y="288"/>
                  <a:pt x="242" y="287"/>
                </a:cubicBezTo>
                <a:cubicBezTo>
                  <a:pt x="242" y="286"/>
                  <a:pt x="241" y="286"/>
                  <a:pt x="240" y="286"/>
                </a:cubicBezTo>
                <a:cubicBezTo>
                  <a:pt x="240" y="286"/>
                  <a:pt x="240" y="286"/>
                  <a:pt x="240" y="286"/>
                </a:cubicBezTo>
                <a:cubicBezTo>
                  <a:pt x="240" y="286"/>
                  <a:pt x="240" y="286"/>
                  <a:pt x="240" y="286"/>
                </a:cubicBezTo>
                <a:cubicBezTo>
                  <a:pt x="240" y="286"/>
                  <a:pt x="240" y="286"/>
                  <a:pt x="240" y="286"/>
                </a:cubicBezTo>
                <a:cubicBezTo>
                  <a:pt x="236" y="285"/>
                  <a:pt x="234" y="283"/>
                  <a:pt x="229" y="281"/>
                </a:cubicBezTo>
                <a:cubicBezTo>
                  <a:pt x="229" y="281"/>
                  <a:pt x="229" y="281"/>
                  <a:pt x="229" y="281"/>
                </a:cubicBezTo>
                <a:cubicBezTo>
                  <a:pt x="229" y="281"/>
                  <a:pt x="229" y="281"/>
                  <a:pt x="229" y="281"/>
                </a:cubicBezTo>
                <a:cubicBezTo>
                  <a:pt x="228" y="280"/>
                  <a:pt x="226" y="279"/>
                  <a:pt x="224" y="279"/>
                </a:cubicBezTo>
                <a:cubicBezTo>
                  <a:pt x="223" y="277"/>
                  <a:pt x="220" y="276"/>
                  <a:pt x="217" y="275"/>
                </a:cubicBezTo>
                <a:cubicBezTo>
                  <a:pt x="215" y="274"/>
                  <a:pt x="214" y="273"/>
                  <a:pt x="212" y="273"/>
                </a:cubicBezTo>
                <a:cubicBezTo>
                  <a:pt x="212" y="272"/>
                  <a:pt x="212" y="272"/>
                  <a:pt x="212" y="272"/>
                </a:cubicBezTo>
                <a:cubicBezTo>
                  <a:pt x="210" y="271"/>
                  <a:pt x="207" y="270"/>
                  <a:pt x="208" y="269"/>
                </a:cubicBezTo>
                <a:cubicBezTo>
                  <a:pt x="214" y="271"/>
                  <a:pt x="218" y="274"/>
                  <a:pt x="225" y="276"/>
                </a:cubicBezTo>
                <a:cubicBezTo>
                  <a:pt x="236" y="282"/>
                  <a:pt x="246" y="287"/>
                  <a:pt x="257" y="292"/>
                </a:cubicBezTo>
                <a:cubicBezTo>
                  <a:pt x="258" y="292"/>
                  <a:pt x="260" y="293"/>
                  <a:pt x="261" y="293"/>
                </a:cubicBezTo>
                <a:cubicBezTo>
                  <a:pt x="262" y="294"/>
                  <a:pt x="262" y="294"/>
                  <a:pt x="263" y="294"/>
                </a:cubicBezTo>
                <a:cubicBezTo>
                  <a:pt x="269" y="297"/>
                  <a:pt x="274" y="300"/>
                  <a:pt x="280" y="302"/>
                </a:cubicBezTo>
                <a:cubicBezTo>
                  <a:pt x="286" y="305"/>
                  <a:pt x="293" y="308"/>
                  <a:pt x="297" y="311"/>
                </a:cubicBezTo>
                <a:cubicBezTo>
                  <a:pt x="298" y="312"/>
                  <a:pt x="301" y="313"/>
                  <a:pt x="303" y="315"/>
                </a:cubicBezTo>
                <a:cubicBezTo>
                  <a:pt x="302" y="314"/>
                  <a:pt x="301" y="314"/>
                  <a:pt x="300" y="314"/>
                </a:cubicBezTo>
                <a:cubicBezTo>
                  <a:pt x="301" y="315"/>
                  <a:pt x="302" y="315"/>
                  <a:pt x="304" y="316"/>
                </a:cubicBezTo>
                <a:cubicBezTo>
                  <a:pt x="305" y="316"/>
                  <a:pt x="304" y="315"/>
                  <a:pt x="304" y="315"/>
                </a:cubicBezTo>
                <a:cubicBezTo>
                  <a:pt x="305" y="315"/>
                  <a:pt x="306" y="316"/>
                  <a:pt x="309" y="316"/>
                </a:cubicBezTo>
                <a:cubicBezTo>
                  <a:pt x="304" y="314"/>
                  <a:pt x="303" y="313"/>
                  <a:pt x="299" y="311"/>
                </a:cubicBezTo>
                <a:cubicBezTo>
                  <a:pt x="297" y="310"/>
                  <a:pt x="296" y="309"/>
                  <a:pt x="294" y="308"/>
                </a:cubicBezTo>
                <a:cubicBezTo>
                  <a:pt x="290" y="306"/>
                  <a:pt x="284" y="303"/>
                  <a:pt x="280" y="300"/>
                </a:cubicBezTo>
                <a:cubicBezTo>
                  <a:pt x="281" y="300"/>
                  <a:pt x="280" y="300"/>
                  <a:pt x="280" y="299"/>
                </a:cubicBezTo>
                <a:cubicBezTo>
                  <a:pt x="279" y="299"/>
                  <a:pt x="279" y="298"/>
                  <a:pt x="280" y="298"/>
                </a:cubicBezTo>
                <a:cubicBezTo>
                  <a:pt x="282" y="298"/>
                  <a:pt x="284" y="299"/>
                  <a:pt x="285" y="300"/>
                </a:cubicBezTo>
                <a:cubicBezTo>
                  <a:pt x="288" y="301"/>
                  <a:pt x="292" y="302"/>
                  <a:pt x="296" y="303"/>
                </a:cubicBezTo>
                <a:cubicBezTo>
                  <a:pt x="300" y="305"/>
                  <a:pt x="302" y="304"/>
                  <a:pt x="304" y="304"/>
                </a:cubicBezTo>
                <a:cubicBezTo>
                  <a:pt x="304" y="304"/>
                  <a:pt x="306" y="304"/>
                  <a:pt x="307" y="304"/>
                </a:cubicBezTo>
                <a:cubicBezTo>
                  <a:pt x="308" y="305"/>
                  <a:pt x="308" y="305"/>
                  <a:pt x="306" y="305"/>
                </a:cubicBezTo>
                <a:cubicBezTo>
                  <a:pt x="303" y="305"/>
                  <a:pt x="304" y="306"/>
                  <a:pt x="302" y="306"/>
                </a:cubicBezTo>
                <a:cubicBezTo>
                  <a:pt x="306" y="307"/>
                  <a:pt x="310" y="308"/>
                  <a:pt x="314" y="310"/>
                </a:cubicBezTo>
                <a:cubicBezTo>
                  <a:pt x="313" y="309"/>
                  <a:pt x="312" y="308"/>
                  <a:pt x="312" y="307"/>
                </a:cubicBezTo>
                <a:cubicBezTo>
                  <a:pt x="314" y="308"/>
                  <a:pt x="319" y="309"/>
                  <a:pt x="318" y="307"/>
                </a:cubicBezTo>
                <a:cubicBezTo>
                  <a:pt x="317" y="305"/>
                  <a:pt x="317" y="305"/>
                  <a:pt x="321" y="305"/>
                </a:cubicBezTo>
                <a:cubicBezTo>
                  <a:pt x="317" y="304"/>
                  <a:pt x="314" y="302"/>
                  <a:pt x="310" y="302"/>
                </a:cubicBezTo>
                <a:cubicBezTo>
                  <a:pt x="310" y="302"/>
                  <a:pt x="309" y="302"/>
                  <a:pt x="309" y="302"/>
                </a:cubicBezTo>
                <a:cubicBezTo>
                  <a:pt x="309" y="301"/>
                  <a:pt x="309" y="301"/>
                  <a:pt x="310" y="301"/>
                </a:cubicBezTo>
                <a:cubicBezTo>
                  <a:pt x="312" y="301"/>
                  <a:pt x="310" y="300"/>
                  <a:pt x="309" y="300"/>
                </a:cubicBezTo>
                <a:cubicBezTo>
                  <a:pt x="308" y="300"/>
                  <a:pt x="308" y="300"/>
                  <a:pt x="308" y="299"/>
                </a:cubicBezTo>
                <a:cubicBezTo>
                  <a:pt x="308" y="299"/>
                  <a:pt x="308" y="299"/>
                  <a:pt x="306" y="298"/>
                </a:cubicBezTo>
                <a:cubicBezTo>
                  <a:pt x="304" y="297"/>
                  <a:pt x="304" y="297"/>
                  <a:pt x="306" y="297"/>
                </a:cubicBezTo>
                <a:cubicBezTo>
                  <a:pt x="307" y="297"/>
                  <a:pt x="304" y="296"/>
                  <a:pt x="305" y="295"/>
                </a:cubicBezTo>
                <a:cubicBezTo>
                  <a:pt x="306" y="296"/>
                  <a:pt x="307" y="297"/>
                  <a:pt x="308" y="297"/>
                </a:cubicBezTo>
                <a:cubicBezTo>
                  <a:pt x="310" y="299"/>
                  <a:pt x="314" y="300"/>
                  <a:pt x="317" y="302"/>
                </a:cubicBezTo>
                <a:cubicBezTo>
                  <a:pt x="318" y="303"/>
                  <a:pt x="320" y="304"/>
                  <a:pt x="322" y="305"/>
                </a:cubicBezTo>
                <a:cubicBezTo>
                  <a:pt x="323" y="305"/>
                  <a:pt x="324" y="306"/>
                  <a:pt x="325" y="306"/>
                </a:cubicBezTo>
                <a:cubicBezTo>
                  <a:pt x="326" y="306"/>
                  <a:pt x="327" y="307"/>
                  <a:pt x="327" y="307"/>
                </a:cubicBezTo>
                <a:cubicBezTo>
                  <a:pt x="327" y="307"/>
                  <a:pt x="328" y="308"/>
                  <a:pt x="329" y="308"/>
                </a:cubicBezTo>
                <a:cubicBezTo>
                  <a:pt x="330" y="308"/>
                  <a:pt x="331" y="309"/>
                  <a:pt x="332" y="309"/>
                </a:cubicBezTo>
                <a:cubicBezTo>
                  <a:pt x="332" y="308"/>
                  <a:pt x="331" y="308"/>
                  <a:pt x="330" y="308"/>
                </a:cubicBezTo>
                <a:cubicBezTo>
                  <a:pt x="329" y="307"/>
                  <a:pt x="328" y="306"/>
                  <a:pt x="326" y="306"/>
                </a:cubicBezTo>
                <a:cubicBezTo>
                  <a:pt x="321" y="303"/>
                  <a:pt x="317" y="300"/>
                  <a:pt x="309" y="297"/>
                </a:cubicBezTo>
                <a:cubicBezTo>
                  <a:pt x="305" y="294"/>
                  <a:pt x="298" y="291"/>
                  <a:pt x="292" y="288"/>
                </a:cubicBezTo>
                <a:cubicBezTo>
                  <a:pt x="289" y="287"/>
                  <a:pt x="287" y="285"/>
                  <a:pt x="284" y="284"/>
                </a:cubicBezTo>
                <a:cubicBezTo>
                  <a:pt x="283" y="283"/>
                  <a:pt x="279" y="281"/>
                  <a:pt x="276" y="280"/>
                </a:cubicBezTo>
                <a:cubicBezTo>
                  <a:pt x="280" y="281"/>
                  <a:pt x="284" y="280"/>
                  <a:pt x="289" y="282"/>
                </a:cubicBezTo>
                <a:cubicBezTo>
                  <a:pt x="294" y="284"/>
                  <a:pt x="299" y="286"/>
                  <a:pt x="303" y="288"/>
                </a:cubicBezTo>
                <a:cubicBezTo>
                  <a:pt x="309" y="291"/>
                  <a:pt x="314" y="295"/>
                  <a:pt x="322" y="298"/>
                </a:cubicBezTo>
                <a:cubicBezTo>
                  <a:pt x="325" y="299"/>
                  <a:pt x="330" y="300"/>
                  <a:pt x="334" y="302"/>
                </a:cubicBezTo>
                <a:cubicBezTo>
                  <a:pt x="335" y="300"/>
                  <a:pt x="331" y="299"/>
                  <a:pt x="328" y="298"/>
                </a:cubicBezTo>
                <a:cubicBezTo>
                  <a:pt x="326" y="297"/>
                  <a:pt x="323" y="297"/>
                  <a:pt x="323" y="296"/>
                </a:cubicBezTo>
                <a:cubicBezTo>
                  <a:pt x="323" y="295"/>
                  <a:pt x="325" y="296"/>
                  <a:pt x="327" y="296"/>
                </a:cubicBezTo>
                <a:cubicBezTo>
                  <a:pt x="328" y="296"/>
                  <a:pt x="330" y="296"/>
                  <a:pt x="331" y="296"/>
                </a:cubicBezTo>
                <a:cubicBezTo>
                  <a:pt x="331" y="297"/>
                  <a:pt x="332" y="297"/>
                  <a:pt x="333" y="298"/>
                </a:cubicBezTo>
                <a:cubicBezTo>
                  <a:pt x="333" y="298"/>
                  <a:pt x="333" y="298"/>
                  <a:pt x="333" y="298"/>
                </a:cubicBezTo>
                <a:cubicBezTo>
                  <a:pt x="333" y="298"/>
                  <a:pt x="333" y="298"/>
                  <a:pt x="333" y="298"/>
                </a:cubicBezTo>
                <a:cubicBezTo>
                  <a:pt x="332" y="298"/>
                  <a:pt x="330" y="297"/>
                  <a:pt x="330" y="297"/>
                </a:cubicBezTo>
                <a:cubicBezTo>
                  <a:pt x="330" y="298"/>
                  <a:pt x="331" y="299"/>
                  <a:pt x="334" y="299"/>
                </a:cubicBezTo>
                <a:cubicBezTo>
                  <a:pt x="334" y="299"/>
                  <a:pt x="335" y="300"/>
                  <a:pt x="335" y="300"/>
                </a:cubicBezTo>
                <a:cubicBezTo>
                  <a:pt x="337" y="301"/>
                  <a:pt x="339" y="302"/>
                  <a:pt x="341" y="303"/>
                </a:cubicBezTo>
                <a:cubicBezTo>
                  <a:pt x="341" y="303"/>
                  <a:pt x="342" y="303"/>
                  <a:pt x="342" y="303"/>
                </a:cubicBezTo>
                <a:cubicBezTo>
                  <a:pt x="340" y="302"/>
                  <a:pt x="338" y="301"/>
                  <a:pt x="336" y="300"/>
                </a:cubicBezTo>
                <a:cubicBezTo>
                  <a:pt x="335" y="299"/>
                  <a:pt x="335" y="299"/>
                  <a:pt x="337" y="298"/>
                </a:cubicBezTo>
                <a:cubicBezTo>
                  <a:pt x="339" y="299"/>
                  <a:pt x="340" y="299"/>
                  <a:pt x="341" y="299"/>
                </a:cubicBezTo>
                <a:cubicBezTo>
                  <a:pt x="342" y="300"/>
                  <a:pt x="344" y="301"/>
                  <a:pt x="347" y="301"/>
                </a:cubicBezTo>
                <a:cubicBezTo>
                  <a:pt x="346" y="300"/>
                  <a:pt x="345" y="299"/>
                  <a:pt x="344" y="299"/>
                </a:cubicBezTo>
                <a:cubicBezTo>
                  <a:pt x="343" y="297"/>
                  <a:pt x="339" y="295"/>
                  <a:pt x="335" y="294"/>
                </a:cubicBezTo>
                <a:cubicBezTo>
                  <a:pt x="334" y="293"/>
                  <a:pt x="333" y="293"/>
                  <a:pt x="331" y="292"/>
                </a:cubicBezTo>
                <a:cubicBezTo>
                  <a:pt x="331" y="292"/>
                  <a:pt x="331" y="292"/>
                  <a:pt x="330" y="291"/>
                </a:cubicBezTo>
                <a:cubicBezTo>
                  <a:pt x="330" y="291"/>
                  <a:pt x="329" y="290"/>
                  <a:pt x="327" y="290"/>
                </a:cubicBezTo>
                <a:cubicBezTo>
                  <a:pt x="326" y="289"/>
                  <a:pt x="325" y="289"/>
                  <a:pt x="325" y="289"/>
                </a:cubicBezTo>
                <a:cubicBezTo>
                  <a:pt x="327" y="288"/>
                  <a:pt x="323" y="287"/>
                  <a:pt x="324" y="287"/>
                </a:cubicBezTo>
                <a:cubicBezTo>
                  <a:pt x="325" y="287"/>
                  <a:pt x="329" y="288"/>
                  <a:pt x="329" y="287"/>
                </a:cubicBezTo>
                <a:cubicBezTo>
                  <a:pt x="330" y="287"/>
                  <a:pt x="328" y="286"/>
                  <a:pt x="326" y="285"/>
                </a:cubicBezTo>
                <a:cubicBezTo>
                  <a:pt x="324" y="284"/>
                  <a:pt x="323" y="284"/>
                  <a:pt x="322" y="283"/>
                </a:cubicBezTo>
                <a:cubicBezTo>
                  <a:pt x="320" y="281"/>
                  <a:pt x="318" y="280"/>
                  <a:pt x="311" y="278"/>
                </a:cubicBezTo>
                <a:cubicBezTo>
                  <a:pt x="310" y="277"/>
                  <a:pt x="304" y="275"/>
                  <a:pt x="301" y="273"/>
                </a:cubicBezTo>
                <a:cubicBezTo>
                  <a:pt x="296" y="271"/>
                  <a:pt x="290" y="268"/>
                  <a:pt x="284" y="265"/>
                </a:cubicBezTo>
                <a:cubicBezTo>
                  <a:pt x="283" y="264"/>
                  <a:pt x="281" y="263"/>
                  <a:pt x="276" y="262"/>
                </a:cubicBezTo>
                <a:cubicBezTo>
                  <a:pt x="278" y="263"/>
                  <a:pt x="281" y="264"/>
                  <a:pt x="283" y="265"/>
                </a:cubicBezTo>
                <a:cubicBezTo>
                  <a:pt x="285" y="266"/>
                  <a:pt x="286" y="267"/>
                  <a:pt x="288" y="268"/>
                </a:cubicBezTo>
                <a:cubicBezTo>
                  <a:pt x="282" y="266"/>
                  <a:pt x="281" y="264"/>
                  <a:pt x="277" y="263"/>
                </a:cubicBezTo>
                <a:cubicBezTo>
                  <a:pt x="275" y="262"/>
                  <a:pt x="273" y="262"/>
                  <a:pt x="272" y="261"/>
                </a:cubicBezTo>
                <a:cubicBezTo>
                  <a:pt x="272" y="261"/>
                  <a:pt x="272" y="261"/>
                  <a:pt x="272" y="261"/>
                </a:cubicBezTo>
                <a:cubicBezTo>
                  <a:pt x="272" y="261"/>
                  <a:pt x="272" y="260"/>
                  <a:pt x="270" y="259"/>
                </a:cubicBezTo>
                <a:cubicBezTo>
                  <a:pt x="268" y="259"/>
                  <a:pt x="268" y="259"/>
                  <a:pt x="268" y="260"/>
                </a:cubicBezTo>
                <a:cubicBezTo>
                  <a:pt x="265" y="258"/>
                  <a:pt x="262" y="257"/>
                  <a:pt x="260" y="256"/>
                </a:cubicBezTo>
                <a:cubicBezTo>
                  <a:pt x="260" y="256"/>
                  <a:pt x="261" y="256"/>
                  <a:pt x="262" y="256"/>
                </a:cubicBezTo>
                <a:cubicBezTo>
                  <a:pt x="263" y="256"/>
                  <a:pt x="264" y="257"/>
                  <a:pt x="265" y="257"/>
                </a:cubicBezTo>
                <a:cubicBezTo>
                  <a:pt x="269" y="258"/>
                  <a:pt x="272" y="259"/>
                  <a:pt x="273" y="260"/>
                </a:cubicBezTo>
                <a:cubicBezTo>
                  <a:pt x="274" y="260"/>
                  <a:pt x="275" y="261"/>
                  <a:pt x="276" y="261"/>
                </a:cubicBezTo>
                <a:cubicBezTo>
                  <a:pt x="277" y="261"/>
                  <a:pt x="276" y="260"/>
                  <a:pt x="275" y="260"/>
                </a:cubicBezTo>
                <a:cubicBezTo>
                  <a:pt x="276" y="260"/>
                  <a:pt x="277" y="260"/>
                  <a:pt x="277" y="260"/>
                </a:cubicBezTo>
                <a:cubicBezTo>
                  <a:pt x="278" y="260"/>
                  <a:pt x="279" y="261"/>
                  <a:pt x="280" y="261"/>
                </a:cubicBezTo>
                <a:cubicBezTo>
                  <a:pt x="285" y="263"/>
                  <a:pt x="289" y="266"/>
                  <a:pt x="294" y="268"/>
                </a:cubicBezTo>
                <a:cubicBezTo>
                  <a:pt x="294" y="268"/>
                  <a:pt x="294" y="268"/>
                  <a:pt x="294" y="267"/>
                </a:cubicBezTo>
                <a:cubicBezTo>
                  <a:pt x="294" y="267"/>
                  <a:pt x="293" y="267"/>
                  <a:pt x="293" y="267"/>
                </a:cubicBezTo>
                <a:cubicBezTo>
                  <a:pt x="293" y="267"/>
                  <a:pt x="293" y="267"/>
                  <a:pt x="293" y="267"/>
                </a:cubicBezTo>
                <a:cubicBezTo>
                  <a:pt x="293" y="267"/>
                  <a:pt x="293" y="267"/>
                  <a:pt x="293" y="267"/>
                </a:cubicBezTo>
                <a:cubicBezTo>
                  <a:pt x="296" y="267"/>
                  <a:pt x="299" y="268"/>
                  <a:pt x="300" y="270"/>
                </a:cubicBezTo>
                <a:cubicBezTo>
                  <a:pt x="301" y="270"/>
                  <a:pt x="303" y="271"/>
                  <a:pt x="306" y="272"/>
                </a:cubicBezTo>
                <a:cubicBezTo>
                  <a:pt x="307" y="272"/>
                  <a:pt x="308" y="272"/>
                  <a:pt x="308" y="272"/>
                </a:cubicBezTo>
                <a:cubicBezTo>
                  <a:pt x="310" y="271"/>
                  <a:pt x="307" y="270"/>
                  <a:pt x="305" y="270"/>
                </a:cubicBezTo>
                <a:cubicBezTo>
                  <a:pt x="298" y="266"/>
                  <a:pt x="289" y="262"/>
                  <a:pt x="282" y="259"/>
                </a:cubicBezTo>
                <a:cubicBezTo>
                  <a:pt x="282" y="259"/>
                  <a:pt x="282" y="259"/>
                  <a:pt x="282" y="259"/>
                </a:cubicBezTo>
                <a:cubicBezTo>
                  <a:pt x="279" y="257"/>
                  <a:pt x="272" y="255"/>
                  <a:pt x="271" y="253"/>
                </a:cubicBezTo>
                <a:cubicBezTo>
                  <a:pt x="281" y="257"/>
                  <a:pt x="290" y="262"/>
                  <a:pt x="299" y="266"/>
                </a:cubicBezTo>
                <a:cubicBezTo>
                  <a:pt x="308" y="270"/>
                  <a:pt x="318" y="275"/>
                  <a:pt x="330" y="280"/>
                </a:cubicBezTo>
                <a:cubicBezTo>
                  <a:pt x="332" y="281"/>
                  <a:pt x="334" y="281"/>
                  <a:pt x="336" y="282"/>
                </a:cubicBezTo>
                <a:cubicBezTo>
                  <a:pt x="340" y="285"/>
                  <a:pt x="347" y="288"/>
                  <a:pt x="352" y="291"/>
                </a:cubicBezTo>
                <a:cubicBezTo>
                  <a:pt x="353" y="291"/>
                  <a:pt x="349" y="290"/>
                  <a:pt x="349" y="289"/>
                </a:cubicBezTo>
                <a:cubicBezTo>
                  <a:pt x="355" y="290"/>
                  <a:pt x="358" y="292"/>
                  <a:pt x="361" y="294"/>
                </a:cubicBezTo>
                <a:cubicBezTo>
                  <a:pt x="363" y="295"/>
                  <a:pt x="365" y="297"/>
                  <a:pt x="371" y="298"/>
                </a:cubicBezTo>
                <a:cubicBezTo>
                  <a:pt x="376" y="299"/>
                  <a:pt x="377" y="300"/>
                  <a:pt x="380" y="302"/>
                </a:cubicBezTo>
                <a:cubicBezTo>
                  <a:pt x="380" y="302"/>
                  <a:pt x="380" y="302"/>
                  <a:pt x="380" y="302"/>
                </a:cubicBezTo>
                <a:cubicBezTo>
                  <a:pt x="385" y="304"/>
                  <a:pt x="389" y="306"/>
                  <a:pt x="393" y="308"/>
                </a:cubicBezTo>
                <a:cubicBezTo>
                  <a:pt x="390" y="307"/>
                  <a:pt x="389" y="306"/>
                  <a:pt x="387" y="306"/>
                </a:cubicBezTo>
                <a:cubicBezTo>
                  <a:pt x="386" y="305"/>
                  <a:pt x="385" y="304"/>
                  <a:pt x="381" y="303"/>
                </a:cubicBezTo>
                <a:cubicBezTo>
                  <a:pt x="382" y="304"/>
                  <a:pt x="383" y="305"/>
                  <a:pt x="386" y="306"/>
                </a:cubicBezTo>
                <a:cubicBezTo>
                  <a:pt x="389" y="307"/>
                  <a:pt x="391" y="308"/>
                  <a:pt x="394" y="310"/>
                </a:cubicBezTo>
                <a:cubicBezTo>
                  <a:pt x="396" y="311"/>
                  <a:pt x="398" y="311"/>
                  <a:pt x="399" y="312"/>
                </a:cubicBezTo>
                <a:cubicBezTo>
                  <a:pt x="399" y="312"/>
                  <a:pt x="400" y="312"/>
                  <a:pt x="400" y="312"/>
                </a:cubicBezTo>
                <a:cubicBezTo>
                  <a:pt x="398" y="311"/>
                  <a:pt x="397" y="311"/>
                  <a:pt x="396" y="310"/>
                </a:cubicBezTo>
                <a:cubicBezTo>
                  <a:pt x="396" y="310"/>
                  <a:pt x="397" y="310"/>
                  <a:pt x="397" y="310"/>
                </a:cubicBezTo>
                <a:cubicBezTo>
                  <a:pt x="402" y="313"/>
                  <a:pt x="410" y="316"/>
                  <a:pt x="413" y="319"/>
                </a:cubicBezTo>
                <a:cubicBezTo>
                  <a:pt x="416" y="320"/>
                  <a:pt x="418" y="321"/>
                  <a:pt x="421" y="322"/>
                </a:cubicBezTo>
                <a:cubicBezTo>
                  <a:pt x="421" y="323"/>
                  <a:pt x="422" y="324"/>
                  <a:pt x="426" y="325"/>
                </a:cubicBezTo>
                <a:cubicBezTo>
                  <a:pt x="429" y="328"/>
                  <a:pt x="436" y="329"/>
                  <a:pt x="442" y="331"/>
                </a:cubicBezTo>
                <a:cubicBezTo>
                  <a:pt x="442" y="331"/>
                  <a:pt x="442" y="331"/>
                  <a:pt x="443" y="331"/>
                </a:cubicBezTo>
                <a:cubicBezTo>
                  <a:pt x="444" y="332"/>
                  <a:pt x="446" y="333"/>
                  <a:pt x="448" y="334"/>
                </a:cubicBezTo>
                <a:cubicBezTo>
                  <a:pt x="450" y="335"/>
                  <a:pt x="448" y="335"/>
                  <a:pt x="446" y="334"/>
                </a:cubicBezTo>
                <a:cubicBezTo>
                  <a:pt x="445" y="334"/>
                  <a:pt x="444" y="333"/>
                  <a:pt x="441" y="333"/>
                </a:cubicBezTo>
                <a:cubicBezTo>
                  <a:pt x="442" y="333"/>
                  <a:pt x="444" y="334"/>
                  <a:pt x="445" y="334"/>
                </a:cubicBezTo>
                <a:cubicBezTo>
                  <a:pt x="446" y="335"/>
                  <a:pt x="447" y="335"/>
                  <a:pt x="448" y="336"/>
                </a:cubicBezTo>
                <a:cubicBezTo>
                  <a:pt x="452" y="338"/>
                  <a:pt x="459" y="341"/>
                  <a:pt x="465" y="344"/>
                </a:cubicBezTo>
                <a:cubicBezTo>
                  <a:pt x="467" y="345"/>
                  <a:pt x="468" y="347"/>
                  <a:pt x="473" y="348"/>
                </a:cubicBezTo>
                <a:cubicBezTo>
                  <a:pt x="472" y="347"/>
                  <a:pt x="469" y="345"/>
                  <a:pt x="466" y="344"/>
                </a:cubicBezTo>
                <a:cubicBezTo>
                  <a:pt x="463" y="342"/>
                  <a:pt x="459" y="340"/>
                  <a:pt x="455" y="339"/>
                </a:cubicBezTo>
                <a:cubicBezTo>
                  <a:pt x="457" y="338"/>
                  <a:pt x="452" y="335"/>
                  <a:pt x="450" y="334"/>
                </a:cubicBezTo>
                <a:cubicBezTo>
                  <a:pt x="449" y="333"/>
                  <a:pt x="446" y="331"/>
                  <a:pt x="444" y="330"/>
                </a:cubicBezTo>
                <a:cubicBezTo>
                  <a:pt x="444" y="329"/>
                  <a:pt x="441" y="329"/>
                  <a:pt x="439" y="328"/>
                </a:cubicBezTo>
                <a:cubicBezTo>
                  <a:pt x="435" y="326"/>
                  <a:pt x="429" y="324"/>
                  <a:pt x="432" y="323"/>
                </a:cubicBezTo>
                <a:cubicBezTo>
                  <a:pt x="433" y="323"/>
                  <a:pt x="431" y="321"/>
                  <a:pt x="427" y="321"/>
                </a:cubicBezTo>
                <a:cubicBezTo>
                  <a:pt x="425" y="320"/>
                  <a:pt x="423" y="319"/>
                  <a:pt x="421" y="318"/>
                </a:cubicBezTo>
                <a:cubicBezTo>
                  <a:pt x="420" y="317"/>
                  <a:pt x="418" y="317"/>
                  <a:pt x="417" y="316"/>
                </a:cubicBezTo>
                <a:cubicBezTo>
                  <a:pt x="417" y="315"/>
                  <a:pt x="416" y="315"/>
                  <a:pt x="414" y="314"/>
                </a:cubicBezTo>
                <a:cubicBezTo>
                  <a:pt x="413" y="314"/>
                  <a:pt x="414" y="315"/>
                  <a:pt x="415" y="316"/>
                </a:cubicBezTo>
                <a:cubicBezTo>
                  <a:pt x="416" y="317"/>
                  <a:pt x="417" y="317"/>
                  <a:pt x="419" y="318"/>
                </a:cubicBezTo>
                <a:cubicBezTo>
                  <a:pt x="421" y="319"/>
                  <a:pt x="421" y="320"/>
                  <a:pt x="419" y="320"/>
                </a:cubicBezTo>
                <a:cubicBezTo>
                  <a:pt x="417" y="320"/>
                  <a:pt x="417" y="319"/>
                  <a:pt x="416" y="319"/>
                </a:cubicBezTo>
                <a:cubicBezTo>
                  <a:pt x="408" y="314"/>
                  <a:pt x="399" y="310"/>
                  <a:pt x="391" y="306"/>
                </a:cubicBezTo>
                <a:cubicBezTo>
                  <a:pt x="393" y="306"/>
                  <a:pt x="396" y="307"/>
                  <a:pt x="397" y="308"/>
                </a:cubicBezTo>
                <a:cubicBezTo>
                  <a:pt x="402" y="311"/>
                  <a:pt x="407" y="311"/>
                  <a:pt x="413" y="311"/>
                </a:cubicBezTo>
                <a:cubicBezTo>
                  <a:pt x="413" y="312"/>
                  <a:pt x="412" y="312"/>
                  <a:pt x="413" y="312"/>
                </a:cubicBezTo>
                <a:cubicBezTo>
                  <a:pt x="413" y="313"/>
                  <a:pt x="414" y="313"/>
                  <a:pt x="415" y="313"/>
                </a:cubicBezTo>
                <a:cubicBezTo>
                  <a:pt x="415" y="312"/>
                  <a:pt x="416" y="312"/>
                  <a:pt x="414" y="311"/>
                </a:cubicBezTo>
                <a:cubicBezTo>
                  <a:pt x="413" y="311"/>
                  <a:pt x="420" y="312"/>
                  <a:pt x="416" y="310"/>
                </a:cubicBezTo>
                <a:cubicBezTo>
                  <a:pt x="414" y="309"/>
                  <a:pt x="410" y="309"/>
                  <a:pt x="410" y="309"/>
                </a:cubicBezTo>
                <a:cubicBezTo>
                  <a:pt x="406" y="311"/>
                  <a:pt x="403" y="308"/>
                  <a:pt x="399" y="307"/>
                </a:cubicBezTo>
                <a:cubicBezTo>
                  <a:pt x="398" y="306"/>
                  <a:pt x="396" y="305"/>
                  <a:pt x="395" y="305"/>
                </a:cubicBezTo>
                <a:cubicBezTo>
                  <a:pt x="391" y="302"/>
                  <a:pt x="388" y="303"/>
                  <a:pt x="385" y="303"/>
                </a:cubicBezTo>
                <a:cubicBezTo>
                  <a:pt x="385" y="303"/>
                  <a:pt x="385" y="303"/>
                  <a:pt x="385" y="303"/>
                </a:cubicBezTo>
                <a:cubicBezTo>
                  <a:pt x="384" y="302"/>
                  <a:pt x="384" y="302"/>
                  <a:pt x="384" y="302"/>
                </a:cubicBezTo>
                <a:cubicBezTo>
                  <a:pt x="382" y="301"/>
                  <a:pt x="385" y="301"/>
                  <a:pt x="384" y="299"/>
                </a:cubicBezTo>
                <a:cubicBezTo>
                  <a:pt x="380" y="296"/>
                  <a:pt x="373" y="294"/>
                  <a:pt x="369" y="291"/>
                </a:cubicBezTo>
                <a:cubicBezTo>
                  <a:pt x="367" y="291"/>
                  <a:pt x="366" y="290"/>
                  <a:pt x="365" y="289"/>
                </a:cubicBezTo>
                <a:cubicBezTo>
                  <a:pt x="359" y="288"/>
                  <a:pt x="358" y="286"/>
                  <a:pt x="354" y="284"/>
                </a:cubicBezTo>
                <a:cubicBezTo>
                  <a:pt x="348" y="282"/>
                  <a:pt x="346" y="279"/>
                  <a:pt x="341" y="277"/>
                </a:cubicBezTo>
                <a:cubicBezTo>
                  <a:pt x="338" y="276"/>
                  <a:pt x="335" y="274"/>
                  <a:pt x="333" y="273"/>
                </a:cubicBezTo>
                <a:cubicBezTo>
                  <a:pt x="327" y="270"/>
                  <a:pt x="320" y="267"/>
                  <a:pt x="314" y="264"/>
                </a:cubicBezTo>
                <a:cubicBezTo>
                  <a:pt x="313" y="263"/>
                  <a:pt x="311" y="263"/>
                  <a:pt x="310" y="262"/>
                </a:cubicBezTo>
                <a:cubicBezTo>
                  <a:pt x="311" y="262"/>
                  <a:pt x="312" y="262"/>
                  <a:pt x="313" y="262"/>
                </a:cubicBezTo>
                <a:cubicBezTo>
                  <a:pt x="318" y="265"/>
                  <a:pt x="323" y="267"/>
                  <a:pt x="329" y="269"/>
                </a:cubicBezTo>
                <a:cubicBezTo>
                  <a:pt x="328" y="269"/>
                  <a:pt x="328" y="269"/>
                  <a:pt x="328" y="268"/>
                </a:cubicBezTo>
                <a:cubicBezTo>
                  <a:pt x="328" y="269"/>
                  <a:pt x="329" y="269"/>
                  <a:pt x="329" y="269"/>
                </a:cubicBezTo>
                <a:cubicBezTo>
                  <a:pt x="335" y="272"/>
                  <a:pt x="342" y="275"/>
                  <a:pt x="348" y="279"/>
                </a:cubicBezTo>
                <a:cubicBezTo>
                  <a:pt x="354" y="281"/>
                  <a:pt x="361" y="284"/>
                  <a:pt x="367" y="287"/>
                </a:cubicBezTo>
                <a:cubicBezTo>
                  <a:pt x="377" y="291"/>
                  <a:pt x="387" y="296"/>
                  <a:pt x="396" y="300"/>
                </a:cubicBezTo>
                <a:cubicBezTo>
                  <a:pt x="398" y="301"/>
                  <a:pt x="401" y="303"/>
                  <a:pt x="404" y="304"/>
                </a:cubicBezTo>
                <a:cubicBezTo>
                  <a:pt x="409" y="307"/>
                  <a:pt x="418" y="310"/>
                  <a:pt x="424" y="314"/>
                </a:cubicBezTo>
                <a:cubicBezTo>
                  <a:pt x="425" y="315"/>
                  <a:pt x="429" y="316"/>
                  <a:pt x="432" y="318"/>
                </a:cubicBezTo>
                <a:cubicBezTo>
                  <a:pt x="433" y="317"/>
                  <a:pt x="428" y="315"/>
                  <a:pt x="426" y="314"/>
                </a:cubicBezTo>
                <a:cubicBezTo>
                  <a:pt x="426" y="314"/>
                  <a:pt x="426" y="314"/>
                  <a:pt x="426" y="314"/>
                </a:cubicBezTo>
                <a:cubicBezTo>
                  <a:pt x="428" y="313"/>
                  <a:pt x="429" y="313"/>
                  <a:pt x="436" y="315"/>
                </a:cubicBezTo>
                <a:cubicBezTo>
                  <a:pt x="434" y="314"/>
                  <a:pt x="434" y="312"/>
                  <a:pt x="430" y="311"/>
                </a:cubicBezTo>
                <a:cubicBezTo>
                  <a:pt x="428" y="311"/>
                  <a:pt x="431" y="313"/>
                  <a:pt x="426" y="311"/>
                </a:cubicBezTo>
                <a:cubicBezTo>
                  <a:pt x="422" y="310"/>
                  <a:pt x="423" y="309"/>
                  <a:pt x="420" y="308"/>
                </a:cubicBezTo>
                <a:cubicBezTo>
                  <a:pt x="420" y="307"/>
                  <a:pt x="425" y="307"/>
                  <a:pt x="425" y="307"/>
                </a:cubicBezTo>
                <a:cubicBezTo>
                  <a:pt x="434" y="309"/>
                  <a:pt x="425" y="307"/>
                  <a:pt x="426" y="306"/>
                </a:cubicBezTo>
                <a:cubicBezTo>
                  <a:pt x="425" y="306"/>
                  <a:pt x="426" y="306"/>
                  <a:pt x="427" y="306"/>
                </a:cubicBezTo>
                <a:cubicBezTo>
                  <a:pt x="427" y="306"/>
                  <a:pt x="428" y="306"/>
                  <a:pt x="429" y="306"/>
                </a:cubicBezTo>
                <a:cubicBezTo>
                  <a:pt x="430" y="306"/>
                  <a:pt x="432" y="307"/>
                  <a:pt x="434" y="308"/>
                </a:cubicBezTo>
                <a:cubicBezTo>
                  <a:pt x="436" y="309"/>
                  <a:pt x="438" y="310"/>
                  <a:pt x="440" y="311"/>
                </a:cubicBezTo>
                <a:cubicBezTo>
                  <a:pt x="444" y="314"/>
                  <a:pt x="452" y="317"/>
                  <a:pt x="460" y="320"/>
                </a:cubicBezTo>
                <a:cubicBezTo>
                  <a:pt x="453" y="317"/>
                  <a:pt x="449" y="314"/>
                  <a:pt x="441" y="311"/>
                </a:cubicBezTo>
                <a:cubicBezTo>
                  <a:pt x="439" y="310"/>
                  <a:pt x="437" y="309"/>
                  <a:pt x="434" y="308"/>
                </a:cubicBezTo>
                <a:cubicBezTo>
                  <a:pt x="433" y="307"/>
                  <a:pt x="431" y="306"/>
                  <a:pt x="429" y="305"/>
                </a:cubicBezTo>
                <a:cubicBezTo>
                  <a:pt x="431" y="305"/>
                  <a:pt x="429" y="304"/>
                  <a:pt x="430" y="303"/>
                </a:cubicBezTo>
                <a:cubicBezTo>
                  <a:pt x="434" y="303"/>
                  <a:pt x="436" y="305"/>
                  <a:pt x="438" y="306"/>
                </a:cubicBezTo>
                <a:cubicBezTo>
                  <a:pt x="449" y="312"/>
                  <a:pt x="460" y="317"/>
                  <a:pt x="471" y="323"/>
                </a:cubicBezTo>
                <a:cubicBezTo>
                  <a:pt x="472" y="324"/>
                  <a:pt x="473" y="325"/>
                  <a:pt x="475" y="325"/>
                </a:cubicBezTo>
                <a:cubicBezTo>
                  <a:pt x="476" y="326"/>
                  <a:pt x="479" y="328"/>
                  <a:pt x="482" y="329"/>
                </a:cubicBezTo>
                <a:cubicBezTo>
                  <a:pt x="482" y="329"/>
                  <a:pt x="482" y="329"/>
                  <a:pt x="482" y="329"/>
                </a:cubicBezTo>
                <a:cubicBezTo>
                  <a:pt x="482" y="329"/>
                  <a:pt x="483" y="329"/>
                  <a:pt x="483" y="330"/>
                </a:cubicBezTo>
                <a:cubicBezTo>
                  <a:pt x="485" y="331"/>
                  <a:pt x="487" y="332"/>
                  <a:pt x="490" y="334"/>
                </a:cubicBezTo>
                <a:cubicBezTo>
                  <a:pt x="491" y="335"/>
                  <a:pt x="491" y="336"/>
                  <a:pt x="498" y="339"/>
                </a:cubicBezTo>
                <a:cubicBezTo>
                  <a:pt x="505" y="341"/>
                  <a:pt x="509" y="344"/>
                  <a:pt x="507" y="346"/>
                </a:cubicBezTo>
                <a:cubicBezTo>
                  <a:pt x="507" y="346"/>
                  <a:pt x="505" y="346"/>
                  <a:pt x="506" y="347"/>
                </a:cubicBezTo>
                <a:cubicBezTo>
                  <a:pt x="509" y="348"/>
                  <a:pt x="512" y="348"/>
                  <a:pt x="515" y="349"/>
                </a:cubicBezTo>
                <a:cubicBezTo>
                  <a:pt x="517" y="349"/>
                  <a:pt x="518" y="350"/>
                  <a:pt x="519" y="351"/>
                </a:cubicBezTo>
                <a:cubicBezTo>
                  <a:pt x="519" y="351"/>
                  <a:pt x="520" y="351"/>
                  <a:pt x="520" y="351"/>
                </a:cubicBezTo>
                <a:cubicBezTo>
                  <a:pt x="523" y="353"/>
                  <a:pt x="525" y="354"/>
                  <a:pt x="528" y="356"/>
                </a:cubicBezTo>
                <a:cubicBezTo>
                  <a:pt x="529" y="357"/>
                  <a:pt x="530" y="357"/>
                  <a:pt x="533" y="358"/>
                </a:cubicBezTo>
                <a:cubicBezTo>
                  <a:pt x="533" y="357"/>
                  <a:pt x="531" y="357"/>
                  <a:pt x="529" y="356"/>
                </a:cubicBezTo>
                <a:cubicBezTo>
                  <a:pt x="529" y="356"/>
                  <a:pt x="529" y="355"/>
                  <a:pt x="529" y="355"/>
                </a:cubicBezTo>
                <a:cubicBezTo>
                  <a:pt x="529" y="355"/>
                  <a:pt x="530" y="355"/>
                  <a:pt x="530" y="355"/>
                </a:cubicBezTo>
                <a:cubicBezTo>
                  <a:pt x="531" y="355"/>
                  <a:pt x="531" y="355"/>
                  <a:pt x="531" y="356"/>
                </a:cubicBezTo>
                <a:cubicBezTo>
                  <a:pt x="533" y="357"/>
                  <a:pt x="533" y="357"/>
                  <a:pt x="537" y="359"/>
                </a:cubicBezTo>
                <a:cubicBezTo>
                  <a:pt x="537" y="358"/>
                  <a:pt x="535" y="357"/>
                  <a:pt x="532" y="356"/>
                </a:cubicBezTo>
                <a:cubicBezTo>
                  <a:pt x="531" y="355"/>
                  <a:pt x="530" y="354"/>
                  <a:pt x="528" y="354"/>
                </a:cubicBezTo>
                <a:cubicBezTo>
                  <a:pt x="529" y="353"/>
                  <a:pt x="526" y="352"/>
                  <a:pt x="525" y="351"/>
                </a:cubicBezTo>
                <a:cubicBezTo>
                  <a:pt x="525" y="351"/>
                  <a:pt x="525" y="351"/>
                  <a:pt x="524" y="350"/>
                </a:cubicBezTo>
                <a:cubicBezTo>
                  <a:pt x="521" y="349"/>
                  <a:pt x="520" y="348"/>
                  <a:pt x="517" y="347"/>
                </a:cubicBezTo>
                <a:cubicBezTo>
                  <a:pt x="517" y="346"/>
                  <a:pt x="514" y="345"/>
                  <a:pt x="512" y="344"/>
                </a:cubicBezTo>
                <a:cubicBezTo>
                  <a:pt x="511" y="343"/>
                  <a:pt x="509" y="342"/>
                  <a:pt x="509" y="341"/>
                </a:cubicBezTo>
                <a:cubicBezTo>
                  <a:pt x="509" y="341"/>
                  <a:pt x="509" y="341"/>
                  <a:pt x="509" y="341"/>
                </a:cubicBezTo>
                <a:cubicBezTo>
                  <a:pt x="510" y="341"/>
                  <a:pt x="511" y="341"/>
                  <a:pt x="510" y="341"/>
                </a:cubicBezTo>
                <a:cubicBezTo>
                  <a:pt x="509" y="340"/>
                  <a:pt x="507" y="340"/>
                  <a:pt x="506" y="340"/>
                </a:cubicBezTo>
                <a:cubicBezTo>
                  <a:pt x="500" y="337"/>
                  <a:pt x="501" y="336"/>
                  <a:pt x="496" y="334"/>
                </a:cubicBezTo>
                <a:cubicBezTo>
                  <a:pt x="495" y="333"/>
                  <a:pt x="491" y="331"/>
                  <a:pt x="491" y="330"/>
                </a:cubicBezTo>
                <a:cubicBezTo>
                  <a:pt x="500" y="334"/>
                  <a:pt x="508" y="338"/>
                  <a:pt x="514" y="341"/>
                </a:cubicBezTo>
                <a:cubicBezTo>
                  <a:pt x="514" y="342"/>
                  <a:pt x="514" y="342"/>
                  <a:pt x="516" y="343"/>
                </a:cubicBezTo>
                <a:cubicBezTo>
                  <a:pt x="518" y="344"/>
                  <a:pt x="520" y="345"/>
                  <a:pt x="523" y="346"/>
                </a:cubicBezTo>
                <a:cubicBezTo>
                  <a:pt x="522" y="345"/>
                  <a:pt x="521" y="344"/>
                  <a:pt x="519" y="343"/>
                </a:cubicBezTo>
                <a:cubicBezTo>
                  <a:pt x="518" y="342"/>
                  <a:pt x="517" y="342"/>
                  <a:pt x="516" y="342"/>
                </a:cubicBezTo>
                <a:cubicBezTo>
                  <a:pt x="516" y="341"/>
                  <a:pt x="513" y="340"/>
                  <a:pt x="513" y="339"/>
                </a:cubicBezTo>
                <a:cubicBezTo>
                  <a:pt x="514" y="339"/>
                  <a:pt x="515" y="340"/>
                  <a:pt x="517" y="340"/>
                </a:cubicBezTo>
                <a:cubicBezTo>
                  <a:pt x="519" y="341"/>
                  <a:pt x="517" y="340"/>
                  <a:pt x="517" y="339"/>
                </a:cubicBezTo>
                <a:cubicBezTo>
                  <a:pt x="514" y="338"/>
                  <a:pt x="511" y="337"/>
                  <a:pt x="507" y="336"/>
                </a:cubicBezTo>
                <a:cubicBezTo>
                  <a:pt x="505" y="334"/>
                  <a:pt x="501" y="332"/>
                  <a:pt x="496" y="330"/>
                </a:cubicBezTo>
                <a:cubicBezTo>
                  <a:pt x="492" y="328"/>
                  <a:pt x="499" y="328"/>
                  <a:pt x="499" y="327"/>
                </a:cubicBezTo>
                <a:cubicBezTo>
                  <a:pt x="500" y="327"/>
                  <a:pt x="501" y="327"/>
                  <a:pt x="503" y="328"/>
                </a:cubicBezTo>
                <a:cubicBezTo>
                  <a:pt x="507" y="330"/>
                  <a:pt x="511" y="332"/>
                  <a:pt x="513" y="333"/>
                </a:cubicBezTo>
                <a:cubicBezTo>
                  <a:pt x="511" y="334"/>
                  <a:pt x="509" y="333"/>
                  <a:pt x="507" y="332"/>
                </a:cubicBezTo>
                <a:cubicBezTo>
                  <a:pt x="509" y="333"/>
                  <a:pt x="510" y="335"/>
                  <a:pt x="514" y="335"/>
                </a:cubicBezTo>
                <a:cubicBezTo>
                  <a:pt x="517" y="336"/>
                  <a:pt x="514" y="334"/>
                  <a:pt x="515" y="334"/>
                </a:cubicBezTo>
                <a:cubicBezTo>
                  <a:pt x="520" y="335"/>
                  <a:pt x="520" y="335"/>
                  <a:pt x="518" y="333"/>
                </a:cubicBezTo>
                <a:cubicBezTo>
                  <a:pt x="514" y="331"/>
                  <a:pt x="510" y="329"/>
                  <a:pt x="506" y="327"/>
                </a:cubicBezTo>
                <a:cubicBezTo>
                  <a:pt x="505" y="326"/>
                  <a:pt x="501" y="325"/>
                  <a:pt x="502" y="325"/>
                </a:cubicBezTo>
                <a:cubicBezTo>
                  <a:pt x="506" y="325"/>
                  <a:pt x="502" y="324"/>
                  <a:pt x="503" y="323"/>
                </a:cubicBezTo>
                <a:cubicBezTo>
                  <a:pt x="506" y="324"/>
                  <a:pt x="507" y="325"/>
                  <a:pt x="509" y="325"/>
                </a:cubicBezTo>
                <a:cubicBezTo>
                  <a:pt x="515" y="326"/>
                  <a:pt x="516" y="328"/>
                  <a:pt x="523" y="330"/>
                </a:cubicBezTo>
                <a:cubicBezTo>
                  <a:pt x="522" y="329"/>
                  <a:pt x="517" y="328"/>
                  <a:pt x="517" y="327"/>
                </a:cubicBezTo>
                <a:cubicBezTo>
                  <a:pt x="517" y="325"/>
                  <a:pt x="507" y="323"/>
                  <a:pt x="510" y="321"/>
                </a:cubicBezTo>
                <a:cubicBezTo>
                  <a:pt x="511" y="322"/>
                  <a:pt x="512" y="322"/>
                  <a:pt x="513" y="323"/>
                </a:cubicBezTo>
                <a:cubicBezTo>
                  <a:pt x="513" y="324"/>
                  <a:pt x="521" y="326"/>
                  <a:pt x="524" y="328"/>
                </a:cubicBezTo>
                <a:cubicBezTo>
                  <a:pt x="523" y="327"/>
                  <a:pt x="521" y="325"/>
                  <a:pt x="517" y="324"/>
                </a:cubicBezTo>
                <a:cubicBezTo>
                  <a:pt x="513" y="322"/>
                  <a:pt x="509" y="319"/>
                  <a:pt x="504" y="317"/>
                </a:cubicBezTo>
                <a:cubicBezTo>
                  <a:pt x="509" y="319"/>
                  <a:pt x="513" y="320"/>
                  <a:pt x="518" y="322"/>
                </a:cubicBezTo>
                <a:cubicBezTo>
                  <a:pt x="518" y="323"/>
                  <a:pt x="519" y="323"/>
                  <a:pt x="521" y="325"/>
                </a:cubicBezTo>
                <a:cubicBezTo>
                  <a:pt x="523" y="324"/>
                  <a:pt x="523" y="324"/>
                  <a:pt x="521" y="322"/>
                </a:cubicBezTo>
                <a:cubicBezTo>
                  <a:pt x="521" y="322"/>
                  <a:pt x="520" y="322"/>
                  <a:pt x="520" y="321"/>
                </a:cubicBezTo>
                <a:cubicBezTo>
                  <a:pt x="514" y="316"/>
                  <a:pt x="507" y="311"/>
                  <a:pt x="498" y="305"/>
                </a:cubicBezTo>
                <a:cubicBezTo>
                  <a:pt x="499" y="306"/>
                  <a:pt x="500" y="306"/>
                  <a:pt x="500" y="306"/>
                </a:cubicBezTo>
                <a:cubicBezTo>
                  <a:pt x="508" y="311"/>
                  <a:pt x="517" y="315"/>
                  <a:pt x="525" y="320"/>
                </a:cubicBezTo>
                <a:cubicBezTo>
                  <a:pt x="530" y="323"/>
                  <a:pt x="536" y="326"/>
                  <a:pt x="542" y="329"/>
                </a:cubicBezTo>
                <a:cubicBezTo>
                  <a:pt x="542" y="278"/>
                  <a:pt x="542" y="278"/>
                  <a:pt x="542" y="278"/>
                </a:cubicBezTo>
                <a:cubicBezTo>
                  <a:pt x="542" y="277"/>
                  <a:pt x="541" y="277"/>
                  <a:pt x="541" y="277"/>
                </a:cubicBezTo>
                <a:cubicBezTo>
                  <a:pt x="540" y="276"/>
                  <a:pt x="539" y="275"/>
                  <a:pt x="538" y="275"/>
                </a:cubicBezTo>
                <a:cubicBezTo>
                  <a:pt x="538" y="274"/>
                  <a:pt x="537" y="274"/>
                  <a:pt x="536" y="274"/>
                </a:cubicBezTo>
                <a:cubicBezTo>
                  <a:pt x="538" y="273"/>
                  <a:pt x="540" y="273"/>
                  <a:pt x="542" y="274"/>
                </a:cubicBezTo>
                <a:cubicBezTo>
                  <a:pt x="542" y="256"/>
                  <a:pt x="542" y="256"/>
                  <a:pt x="542" y="256"/>
                </a:cubicBezTo>
                <a:cubicBezTo>
                  <a:pt x="542" y="256"/>
                  <a:pt x="542" y="256"/>
                  <a:pt x="542" y="255"/>
                </a:cubicBezTo>
                <a:cubicBezTo>
                  <a:pt x="541" y="255"/>
                  <a:pt x="541" y="254"/>
                  <a:pt x="541" y="254"/>
                </a:cubicBezTo>
                <a:cubicBezTo>
                  <a:pt x="541" y="254"/>
                  <a:pt x="541" y="254"/>
                  <a:pt x="542" y="254"/>
                </a:cubicBezTo>
                <a:cubicBezTo>
                  <a:pt x="542" y="254"/>
                  <a:pt x="542" y="254"/>
                  <a:pt x="542" y="254"/>
                </a:cubicBezTo>
                <a:cubicBezTo>
                  <a:pt x="542" y="237"/>
                  <a:pt x="542" y="237"/>
                  <a:pt x="542" y="237"/>
                </a:cubicBezTo>
                <a:cubicBezTo>
                  <a:pt x="542" y="237"/>
                  <a:pt x="542" y="237"/>
                  <a:pt x="542" y="236"/>
                </a:cubicBezTo>
                <a:cubicBezTo>
                  <a:pt x="542" y="236"/>
                  <a:pt x="542" y="236"/>
                  <a:pt x="542" y="236"/>
                </a:cubicBezTo>
                <a:cubicBezTo>
                  <a:pt x="542" y="207"/>
                  <a:pt x="542" y="207"/>
                  <a:pt x="542" y="207"/>
                </a:cubicBezTo>
                <a:cubicBezTo>
                  <a:pt x="542" y="207"/>
                  <a:pt x="542" y="207"/>
                  <a:pt x="542" y="207"/>
                </a:cubicBezTo>
                <a:cubicBezTo>
                  <a:pt x="542" y="206"/>
                  <a:pt x="542" y="206"/>
                  <a:pt x="542" y="206"/>
                </a:cubicBezTo>
                <a:cubicBezTo>
                  <a:pt x="542" y="206"/>
                  <a:pt x="542" y="206"/>
                  <a:pt x="542" y="206"/>
                </a:cubicBezTo>
                <a:cubicBezTo>
                  <a:pt x="542" y="193"/>
                  <a:pt x="542" y="193"/>
                  <a:pt x="542" y="193"/>
                </a:cubicBezTo>
                <a:cubicBezTo>
                  <a:pt x="542" y="193"/>
                  <a:pt x="542" y="193"/>
                  <a:pt x="542" y="193"/>
                </a:cubicBezTo>
                <a:cubicBezTo>
                  <a:pt x="542" y="192"/>
                  <a:pt x="542" y="192"/>
                  <a:pt x="542" y="192"/>
                </a:cubicBezTo>
                <a:cubicBezTo>
                  <a:pt x="542" y="192"/>
                  <a:pt x="542" y="192"/>
                  <a:pt x="542" y="192"/>
                </a:cubicBezTo>
                <a:cubicBezTo>
                  <a:pt x="542" y="148"/>
                  <a:pt x="542" y="148"/>
                  <a:pt x="542" y="148"/>
                </a:cubicBezTo>
                <a:cubicBezTo>
                  <a:pt x="540" y="147"/>
                  <a:pt x="538" y="146"/>
                  <a:pt x="537" y="145"/>
                </a:cubicBezTo>
                <a:cubicBezTo>
                  <a:pt x="539" y="146"/>
                  <a:pt x="541" y="146"/>
                  <a:pt x="542" y="147"/>
                </a:cubicBezTo>
                <a:cubicBezTo>
                  <a:pt x="542" y="144"/>
                  <a:pt x="542" y="144"/>
                  <a:pt x="542" y="144"/>
                </a:cubicBezTo>
                <a:cubicBezTo>
                  <a:pt x="542" y="144"/>
                  <a:pt x="542" y="144"/>
                  <a:pt x="542" y="144"/>
                </a:cubicBezTo>
                <a:cubicBezTo>
                  <a:pt x="542" y="144"/>
                  <a:pt x="542" y="144"/>
                  <a:pt x="542" y="144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" name="Freeform 17"/>
          <p:cNvSpPr>
            <a:spLocks noGrp="1"/>
          </p:cNvSpPr>
          <p:nvPr>
            <p:ph type="pic" sz="quarter" idx="16"/>
          </p:nvPr>
        </p:nvSpPr>
        <p:spPr>
          <a:xfrm>
            <a:off x="3789544" y="1808163"/>
            <a:ext cx="2237315" cy="2782495"/>
          </a:xfrm>
          <a:custGeom>
            <a:avLst/>
            <a:gdLst>
              <a:gd name="connsiteX0" fmla="*/ 386048 w 2237315"/>
              <a:gd name="connsiteY0" fmla="*/ 0 h 2782495"/>
              <a:gd name="connsiteX1" fmla="*/ 2237315 w 2237315"/>
              <a:gd name="connsiteY1" fmla="*/ 0 h 2782495"/>
              <a:gd name="connsiteX2" fmla="*/ 1851266 w 2237315"/>
              <a:gd name="connsiteY2" fmla="*/ 2782495 h 2782495"/>
              <a:gd name="connsiteX3" fmla="*/ 0 w 2237315"/>
              <a:gd name="connsiteY3" fmla="*/ 2782495 h 2782495"/>
              <a:gd name="connsiteX4" fmla="*/ 0 w 2237315"/>
              <a:gd name="connsiteY4" fmla="*/ 2782488 h 27824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37315" h="2782495">
                <a:moveTo>
                  <a:pt x="386048" y="0"/>
                </a:moveTo>
                <a:lnTo>
                  <a:pt x="2237315" y="0"/>
                </a:lnTo>
                <a:lnTo>
                  <a:pt x="1851266" y="2782495"/>
                </a:lnTo>
                <a:lnTo>
                  <a:pt x="0" y="2782495"/>
                </a:lnTo>
                <a:lnTo>
                  <a:pt x="0" y="2782488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>
        <p:nvSpPr>
          <p:cNvPr id="19" name="Freeform 18"/>
          <p:cNvSpPr>
            <a:spLocks noGrp="1"/>
          </p:cNvSpPr>
          <p:nvPr>
            <p:ph type="pic" sz="quarter" idx="17"/>
          </p:nvPr>
        </p:nvSpPr>
        <p:spPr>
          <a:xfrm>
            <a:off x="6165143" y="1808163"/>
            <a:ext cx="2237315" cy="2782495"/>
          </a:xfrm>
          <a:custGeom>
            <a:avLst/>
            <a:gdLst>
              <a:gd name="connsiteX0" fmla="*/ 386048 w 2237315"/>
              <a:gd name="connsiteY0" fmla="*/ 0 h 2782495"/>
              <a:gd name="connsiteX1" fmla="*/ 2237315 w 2237315"/>
              <a:gd name="connsiteY1" fmla="*/ 0 h 2782495"/>
              <a:gd name="connsiteX2" fmla="*/ 1851266 w 2237315"/>
              <a:gd name="connsiteY2" fmla="*/ 2782495 h 2782495"/>
              <a:gd name="connsiteX3" fmla="*/ 0 w 2237315"/>
              <a:gd name="connsiteY3" fmla="*/ 2782495 h 2782495"/>
              <a:gd name="connsiteX4" fmla="*/ 0 w 2237315"/>
              <a:gd name="connsiteY4" fmla="*/ 2782488 h 27824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37315" h="2782495">
                <a:moveTo>
                  <a:pt x="386048" y="0"/>
                </a:moveTo>
                <a:lnTo>
                  <a:pt x="2237315" y="0"/>
                </a:lnTo>
                <a:lnTo>
                  <a:pt x="1851266" y="2782495"/>
                </a:lnTo>
                <a:lnTo>
                  <a:pt x="0" y="2782495"/>
                </a:lnTo>
                <a:lnTo>
                  <a:pt x="0" y="2782488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>
        <p:nvSpPr>
          <p:cNvPr id="20" name="Freeform 19"/>
          <p:cNvSpPr>
            <a:spLocks noGrp="1"/>
          </p:cNvSpPr>
          <p:nvPr>
            <p:ph type="pic" sz="quarter" idx="18"/>
          </p:nvPr>
        </p:nvSpPr>
        <p:spPr>
          <a:xfrm>
            <a:off x="8540741" y="1808163"/>
            <a:ext cx="2237315" cy="2782495"/>
          </a:xfrm>
          <a:custGeom>
            <a:avLst/>
            <a:gdLst>
              <a:gd name="connsiteX0" fmla="*/ 386048 w 2237315"/>
              <a:gd name="connsiteY0" fmla="*/ 0 h 2782495"/>
              <a:gd name="connsiteX1" fmla="*/ 2237315 w 2237315"/>
              <a:gd name="connsiteY1" fmla="*/ 0 h 2782495"/>
              <a:gd name="connsiteX2" fmla="*/ 1851266 w 2237315"/>
              <a:gd name="connsiteY2" fmla="*/ 2782495 h 2782495"/>
              <a:gd name="connsiteX3" fmla="*/ 0 w 2237315"/>
              <a:gd name="connsiteY3" fmla="*/ 2782495 h 2782495"/>
              <a:gd name="connsiteX4" fmla="*/ 0 w 2237315"/>
              <a:gd name="connsiteY4" fmla="*/ 2782488 h 27824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37315" h="2782495">
                <a:moveTo>
                  <a:pt x="386048" y="0"/>
                </a:moveTo>
                <a:lnTo>
                  <a:pt x="2237315" y="0"/>
                </a:lnTo>
                <a:lnTo>
                  <a:pt x="1851266" y="2782495"/>
                </a:lnTo>
                <a:lnTo>
                  <a:pt x="0" y="2782495"/>
                </a:lnTo>
                <a:lnTo>
                  <a:pt x="0" y="2782488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1857375" y="1014880"/>
            <a:ext cx="8380505" cy="400110"/>
          </a:xfrm>
        </p:spPr>
        <p:txBody>
          <a:bodyPr>
            <a:sp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1000" b="0" i="0" u="none" strike="noStrike" kern="1200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orem </a:t>
            </a:r>
            <a:r>
              <a:rPr lang="en-US" dirty="0" err="1"/>
              <a:t>Ipsum</a:t>
            </a:r>
            <a:r>
              <a:rPr lang="en-US" dirty="0"/>
              <a:t> is simply dummy text of the printing and typesetting industry. Lorem </a:t>
            </a:r>
            <a:r>
              <a:rPr lang="en-US" dirty="0" err="1"/>
              <a:t>Ipsum</a:t>
            </a:r>
            <a:r>
              <a:rPr lang="en-US" dirty="0"/>
              <a:t> has been the industry's standard dummy text ever since the 1500s, when an unknown printer took a galley of type and scrambled it to make a type specimen book. 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794000" y="360971"/>
            <a:ext cx="6604000" cy="535531"/>
          </a:xfrm>
        </p:spPr>
        <p:txBody>
          <a:bodyPr wrap="square" anchor="t">
            <a:spAutoFit/>
          </a:bodyPr>
          <a:lstStyle>
            <a:lvl1pPr marL="0" indent="0" algn="ctr">
              <a:buNone/>
              <a:defRPr sz="3200" normalizeH="0" baseline="0">
                <a:solidFill>
                  <a:schemeClr val="tx1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  <a:latin typeface="+mj-lt"/>
              </a:defRPr>
            </a:lvl2pPr>
            <a:lvl3pPr>
              <a:defRPr>
                <a:solidFill>
                  <a:schemeClr val="tx1"/>
                </a:solidFill>
                <a:latin typeface="+mj-lt"/>
              </a:defRPr>
            </a:lvl3pPr>
            <a:lvl4pPr>
              <a:defRPr>
                <a:solidFill>
                  <a:schemeClr val="tx1"/>
                </a:solidFill>
                <a:latin typeface="+mj-lt"/>
              </a:defRPr>
            </a:lvl4pPr>
            <a:lvl5pPr>
              <a:defRPr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- Click to edit Master text styles -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9852138-FCC6-44DD-9FFC-1C789392E7AA}" type="datetime1">
              <a:rPr lang="en-US" smtClean="0"/>
              <a:t>11/15/2018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3206E70-9524-410D-AE9B-78D656EAA14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Rectangle 7"/>
          <p:cNvSpPr/>
          <p:nvPr userDrawn="1"/>
        </p:nvSpPr>
        <p:spPr>
          <a:xfrm>
            <a:off x="10237880" y="0"/>
            <a:ext cx="571500" cy="55562"/>
          </a:xfrm>
          <a:prstGeom prst="rect">
            <a:avLst/>
          </a:prstGeom>
          <a:solidFill>
            <a:srgbClr val="E258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 userDrawn="1"/>
        </p:nvSpPr>
        <p:spPr>
          <a:xfrm>
            <a:off x="10880817" y="0"/>
            <a:ext cx="571500" cy="55562"/>
          </a:xfrm>
          <a:prstGeom prst="rect">
            <a:avLst/>
          </a:prstGeom>
          <a:solidFill>
            <a:srgbClr val="78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 userDrawn="1"/>
        </p:nvSpPr>
        <p:spPr>
          <a:xfrm>
            <a:off x="11523754" y="0"/>
            <a:ext cx="571500" cy="55562"/>
          </a:xfrm>
          <a:prstGeom prst="rect">
            <a:avLst/>
          </a:prstGeom>
          <a:solidFill>
            <a:srgbClr val="3B39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Freeform 16"/>
          <p:cNvSpPr>
            <a:spLocks noGrp="1"/>
          </p:cNvSpPr>
          <p:nvPr>
            <p:ph type="pic" sz="quarter" idx="15"/>
          </p:nvPr>
        </p:nvSpPr>
        <p:spPr>
          <a:xfrm>
            <a:off x="1413946" y="1808163"/>
            <a:ext cx="2237315" cy="2782495"/>
          </a:xfrm>
          <a:custGeom>
            <a:avLst/>
            <a:gdLst>
              <a:gd name="connsiteX0" fmla="*/ 386048 w 2237315"/>
              <a:gd name="connsiteY0" fmla="*/ 0 h 2782495"/>
              <a:gd name="connsiteX1" fmla="*/ 2237315 w 2237315"/>
              <a:gd name="connsiteY1" fmla="*/ 0 h 2782495"/>
              <a:gd name="connsiteX2" fmla="*/ 1851266 w 2237315"/>
              <a:gd name="connsiteY2" fmla="*/ 2782495 h 2782495"/>
              <a:gd name="connsiteX3" fmla="*/ 0 w 2237315"/>
              <a:gd name="connsiteY3" fmla="*/ 2782495 h 2782495"/>
              <a:gd name="connsiteX4" fmla="*/ 0 w 2237315"/>
              <a:gd name="connsiteY4" fmla="*/ 2782488 h 27824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37315" h="2782495">
                <a:moveTo>
                  <a:pt x="386048" y="0"/>
                </a:moveTo>
                <a:lnTo>
                  <a:pt x="2237315" y="0"/>
                </a:lnTo>
                <a:lnTo>
                  <a:pt x="1851266" y="2782495"/>
                </a:lnTo>
                <a:lnTo>
                  <a:pt x="0" y="2782495"/>
                </a:lnTo>
                <a:lnTo>
                  <a:pt x="0" y="2782488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07272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/>
          <p:cNvSpPr>
            <a:spLocks/>
          </p:cNvSpPr>
          <p:nvPr userDrawn="1"/>
        </p:nvSpPr>
        <p:spPr bwMode="auto">
          <a:xfrm>
            <a:off x="0" y="-639708"/>
            <a:ext cx="12192001" cy="8099370"/>
          </a:xfrm>
          <a:custGeom>
            <a:avLst/>
            <a:gdLst>
              <a:gd name="T0" fmla="*/ 471 w 542"/>
              <a:gd name="T1" fmla="*/ 110 h 359"/>
              <a:gd name="T2" fmla="*/ 494 w 542"/>
              <a:gd name="T3" fmla="*/ 124 h 359"/>
              <a:gd name="T4" fmla="*/ 473 w 542"/>
              <a:gd name="T5" fmla="*/ 118 h 359"/>
              <a:gd name="T6" fmla="*/ 352 w 542"/>
              <a:gd name="T7" fmla="*/ 60 h 359"/>
              <a:gd name="T8" fmla="*/ 361 w 542"/>
              <a:gd name="T9" fmla="*/ 68 h 359"/>
              <a:gd name="T10" fmla="*/ 315 w 542"/>
              <a:gd name="T11" fmla="*/ 52 h 359"/>
              <a:gd name="T12" fmla="*/ 341 w 542"/>
              <a:gd name="T13" fmla="*/ 68 h 359"/>
              <a:gd name="T14" fmla="*/ 369 w 542"/>
              <a:gd name="T15" fmla="*/ 86 h 359"/>
              <a:gd name="T16" fmla="*/ 325 w 542"/>
              <a:gd name="T17" fmla="*/ 66 h 359"/>
              <a:gd name="T18" fmla="*/ 304 w 542"/>
              <a:gd name="T19" fmla="*/ 63 h 359"/>
              <a:gd name="T20" fmla="*/ 254 w 542"/>
              <a:gd name="T21" fmla="*/ 49 h 359"/>
              <a:gd name="T22" fmla="*/ 302 w 542"/>
              <a:gd name="T23" fmla="*/ 75 h 359"/>
              <a:gd name="T24" fmla="*/ 245 w 542"/>
              <a:gd name="T25" fmla="*/ 49 h 359"/>
              <a:gd name="T26" fmla="*/ 240 w 542"/>
              <a:gd name="T27" fmla="*/ 54 h 359"/>
              <a:gd name="T28" fmla="*/ 217 w 542"/>
              <a:gd name="T29" fmla="*/ 54 h 359"/>
              <a:gd name="T30" fmla="*/ 215 w 542"/>
              <a:gd name="T31" fmla="*/ 65 h 359"/>
              <a:gd name="T32" fmla="*/ 211 w 542"/>
              <a:gd name="T33" fmla="*/ 69 h 359"/>
              <a:gd name="T34" fmla="*/ 270 w 542"/>
              <a:gd name="T35" fmla="*/ 101 h 359"/>
              <a:gd name="T36" fmla="*/ 242 w 542"/>
              <a:gd name="T37" fmla="*/ 92 h 359"/>
              <a:gd name="T38" fmla="*/ 149 w 542"/>
              <a:gd name="T39" fmla="*/ 52 h 359"/>
              <a:gd name="T40" fmla="*/ 101 w 542"/>
              <a:gd name="T41" fmla="*/ 27 h 359"/>
              <a:gd name="T42" fmla="*/ 123 w 542"/>
              <a:gd name="T43" fmla="*/ 42 h 359"/>
              <a:gd name="T44" fmla="*/ 159 w 542"/>
              <a:gd name="T45" fmla="*/ 62 h 359"/>
              <a:gd name="T46" fmla="*/ 118 w 542"/>
              <a:gd name="T47" fmla="*/ 46 h 359"/>
              <a:gd name="T48" fmla="*/ 108 w 542"/>
              <a:gd name="T49" fmla="*/ 52 h 359"/>
              <a:gd name="T50" fmla="*/ 14 w 542"/>
              <a:gd name="T51" fmla="*/ 2 h 359"/>
              <a:gd name="T52" fmla="*/ 36 w 542"/>
              <a:gd name="T53" fmla="*/ 19 h 359"/>
              <a:gd name="T54" fmla="*/ 35 w 542"/>
              <a:gd name="T55" fmla="*/ 27 h 359"/>
              <a:gd name="T56" fmla="*/ 21 w 542"/>
              <a:gd name="T57" fmla="*/ 35 h 359"/>
              <a:gd name="T58" fmla="*/ 0 w 542"/>
              <a:gd name="T59" fmla="*/ 108 h 359"/>
              <a:gd name="T60" fmla="*/ 3 w 542"/>
              <a:gd name="T61" fmla="*/ 221 h 359"/>
              <a:gd name="T62" fmla="*/ 75 w 542"/>
              <a:gd name="T63" fmla="*/ 257 h 359"/>
              <a:gd name="T64" fmla="*/ 99 w 542"/>
              <a:gd name="T65" fmla="*/ 264 h 359"/>
              <a:gd name="T66" fmla="*/ 28 w 542"/>
              <a:gd name="T67" fmla="*/ 229 h 359"/>
              <a:gd name="T68" fmla="*/ 169 w 542"/>
              <a:gd name="T69" fmla="*/ 290 h 359"/>
              <a:gd name="T70" fmla="*/ 204 w 542"/>
              <a:gd name="T71" fmla="*/ 306 h 359"/>
              <a:gd name="T72" fmla="*/ 218 w 542"/>
              <a:gd name="T73" fmla="*/ 308 h 359"/>
              <a:gd name="T74" fmla="*/ 208 w 542"/>
              <a:gd name="T75" fmla="*/ 294 h 359"/>
              <a:gd name="T76" fmla="*/ 150 w 542"/>
              <a:gd name="T77" fmla="*/ 267 h 359"/>
              <a:gd name="T78" fmla="*/ 226 w 542"/>
              <a:gd name="T79" fmla="*/ 299 h 359"/>
              <a:gd name="T80" fmla="*/ 250 w 542"/>
              <a:gd name="T81" fmla="*/ 305 h 359"/>
              <a:gd name="T82" fmla="*/ 275 w 542"/>
              <a:gd name="T83" fmla="*/ 305 h 359"/>
              <a:gd name="T84" fmla="*/ 242 w 542"/>
              <a:gd name="T85" fmla="*/ 287 h 359"/>
              <a:gd name="T86" fmla="*/ 263 w 542"/>
              <a:gd name="T87" fmla="*/ 294 h 359"/>
              <a:gd name="T88" fmla="*/ 307 w 542"/>
              <a:gd name="T89" fmla="*/ 304 h 359"/>
              <a:gd name="T90" fmla="*/ 317 w 542"/>
              <a:gd name="T91" fmla="*/ 302 h 359"/>
              <a:gd name="T92" fmla="*/ 328 w 542"/>
              <a:gd name="T93" fmla="*/ 298 h 359"/>
              <a:gd name="T94" fmla="*/ 344 w 542"/>
              <a:gd name="T95" fmla="*/ 299 h 359"/>
              <a:gd name="T96" fmla="*/ 277 w 542"/>
              <a:gd name="T97" fmla="*/ 263 h 359"/>
              <a:gd name="T98" fmla="*/ 293 w 542"/>
              <a:gd name="T99" fmla="*/ 267 h 359"/>
              <a:gd name="T100" fmla="*/ 380 w 542"/>
              <a:gd name="T101" fmla="*/ 302 h 359"/>
              <a:gd name="T102" fmla="*/ 448 w 542"/>
              <a:gd name="T103" fmla="*/ 334 h 359"/>
              <a:gd name="T104" fmla="*/ 414 w 542"/>
              <a:gd name="T105" fmla="*/ 314 h 359"/>
              <a:gd name="T106" fmla="*/ 385 w 542"/>
              <a:gd name="T107" fmla="*/ 303 h 359"/>
              <a:gd name="T108" fmla="*/ 396 w 542"/>
              <a:gd name="T109" fmla="*/ 300 h 359"/>
              <a:gd name="T110" fmla="*/ 460 w 542"/>
              <a:gd name="T111" fmla="*/ 320 h 359"/>
              <a:gd name="T112" fmla="*/ 519 w 542"/>
              <a:gd name="T113" fmla="*/ 351 h 359"/>
              <a:gd name="T114" fmla="*/ 509 w 542"/>
              <a:gd name="T115" fmla="*/ 341 h 359"/>
              <a:gd name="T116" fmla="*/ 503 w 542"/>
              <a:gd name="T117" fmla="*/ 328 h 359"/>
              <a:gd name="T118" fmla="*/ 504 w 542"/>
              <a:gd name="T119" fmla="*/ 317 h 359"/>
              <a:gd name="T120" fmla="*/ 541 w 542"/>
              <a:gd name="T121" fmla="*/ 254 h 359"/>
              <a:gd name="T122" fmla="*/ 542 w 542"/>
              <a:gd name="T123" fmla="*/ 147 h 3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42" h="359">
                <a:moveTo>
                  <a:pt x="542" y="144"/>
                </a:moveTo>
                <a:cubicBezTo>
                  <a:pt x="542" y="139"/>
                  <a:pt x="542" y="139"/>
                  <a:pt x="542" y="139"/>
                </a:cubicBezTo>
                <a:cubicBezTo>
                  <a:pt x="537" y="139"/>
                  <a:pt x="537" y="139"/>
                  <a:pt x="537" y="139"/>
                </a:cubicBezTo>
                <a:cubicBezTo>
                  <a:pt x="529" y="135"/>
                  <a:pt x="522" y="131"/>
                  <a:pt x="514" y="127"/>
                </a:cubicBezTo>
                <a:cubicBezTo>
                  <a:pt x="500" y="120"/>
                  <a:pt x="485" y="114"/>
                  <a:pt x="472" y="106"/>
                </a:cubicBezTo>
                <a:cubicBezTo>
                  <a:pt x="472" y="106"/>
                  <a:pt x="472" y="106"/>
                  <a:pt x="472" y="106"/>
                </a:cubicBezTo>
                <a:cubicBezTo>
                  <a:pt x="470" y="105"/>
                  <a:pt x="469" y="104"/>
                  <a:pt x="466" y="104"/>
                </a:cubicBezTo>
                <a:cubicBezTo>
                  <a:pt x="464" y="103"/>
                  <a:pt x="463" y="102"/>
                  <a:pt x="461" y="101"/>
                </a:cubicBezTo>
                <a:cubicBezTo>
                  <a:pt x="462" y="102"/>
                  <a:pt x="465" y="104"/>
                  <a:pt x="465" y="104"/>
                </a:cubicBezTo>
                <a:cubicBezTo>
                  <a:pt x="466" y="105"/>
                  <a:pt x="467" y="105"/>
                  <a:pt x="467" y="105"/>
                </a:cubicBezTo>
                <a:cubicBezTo>
                  <a:pt x="468" y="106"/>
                  <a:pt x="470" y="107"/>
                  <a:pt x="470" y="107"/>
                </a:cubicBezTo>
                <a:cubicBezTo>
                  <a:pt x="468" y="107"/>
                  <a:pt x="472" y="108"/>
                  <a:pt x="471" y="109"/>
                </a:cubicBezTo>
                <a:cubicBezTo>
                  <a:pt x="470" y="109"/>
                  <a:pt x="469" y="108"/>
                  <a:pt x="469" y="108"/>
                </a:cubicBezTo>
                <a:cubicBezTo>
                  <a:pt x="469" y="109"/>
                  <a:pt x="471" y="109"/>
                  <a:pt x="472" y="110"/>
                </a:cubicBezTo>
                <a:cubicBezTo>
                  <a:pt x="473" y="110"/>
                  <a:pt x="475" y="111"/>
                  <a:pt x="475" y="112"/>
                </a:cubicBezTo>
                <a:cubicBezTo>
                  <a:pt x="474" y="111"/>
                  <a:pt x="472" y="110"/>
                  <a:pt x="471" y="110"/>
                </a:cubicBezTo>
                <a:cubicBezTo>
                  <a:pt x="471" y="110"/>
                  <a:pt x="470" y="110"/>
                  <a:pt x="470" y="110"/>
                </a:cubicBezTo>
                <a:cubicBezTo>
                  <a:pt x="472" y="111"/>
                  <a:pt x="473" y="111"/>
                  <a:pt x="475" y="112"/>
                </a:cubicBezTo>
                <a:cubicBezTo>
                  <a:pt x="476" y="113"/>
                  <a:pt x="477" y="113"/>
                  <a:pt x="479" y="114"/>
                </a:cubicBezTo>
                <a:cubicBezTo>
                  <a:pt x="479" y="114"/>
                  <a:pt x="479" y="115"/>
                  <a:pt x="478" y="115"/>
                </a:cubicBezTo>
                <a:cubicBezTo>
                  <a:pt x="476" y="114"/>
                  <a:pt x="474" y="112"/>
                  <a:pt x="472" y="111"/>
                </a:cubicBezTo>
                <a:cubicBezTo>
                  <a:pt x="468" y="109"/>
                  <a:pt x="463" y="107"/>
                  <a:pt x="458" y="105"/>
                </a:cubicBezTo>
                <a:cubicBezTo>
                  <a:pt x="458" y="105"/>
                  <a:pt x="457" y="105"/>
                  <a:pt x="457" y="104"/>
                </a:cubicBezTo>
                <a:cubicBezTo>
                  <a:pt x="456" y="104"/>
                  <a:pt x="454" y="103"/>
                  <a:pt x="453" y="102"/>
                </a:cubicBezTo>
                <a:cubicBezTo>
                  <a:pt x="452" y="102"/>
                  <a:pt x="451" y="101"/>
                  <a:pt x="449" y="101"/>
                </a:cubicBezTo>
                <a:cubicBezTo>
                  <a:pt x="447" y="100"/>
                  <a:pt x="446" y="99"/>
                  <a:pt x="443" y="98"/>
                </a:cubicBezTo>
                <a:cubicBezTo>
                  <a:pt x="443" y="99"/>
                  <a:pt x="445" y="100"/>
                  <a:pt x="448" y="101"/>
                </a:cubicBezTo>
                <a:cubicBezTo>
                  <a:pt x="452" y="104"/>
                  <a:pt x="456" y="106"/>
                  <a:pt x="460" y="106"/>
                </a:cubicBezTo>
                <a:cubicBezTo>
                  <a:pt x="465" y="109"/>
                  <a:pt x="469" y="111"/>
                  <a:pt x="474" y="113"/>
                </a:cubicBezTo>
                <a:cubicBezTo>
                  <a:pt x="477" y="115"/>
                  <a:pt x="481" y="116"/>
                  <a:pt x="484" y="118"/>
                </a:cubicBezTo>
                <a:cubicBezTo>
                  <a:pt x="486" y="119"/>
                  <a:pt x="488" y="120"/>
                  <a:pt x="490" y="121"/>
                </a:cubicBezTo>
                <a:cubicBezTo>
                  <a:pt x="491" y="122"/>
                  <a:pt x="493" y="123"/>
                  <a:pt x="494" y="124"/>
                </a:cubicBezTo>
                <a:cubicBezTo>
                  <a:pt x="492" y="123"/>
                  <a:pt x="491" y="122"/>
                  <a:pt x="489" y="121"/>
                </a:cubicBezTo>
                <a:cubicBezTo>
                  <a:pt x="489" y="121"/>
                  <a:pt x="488" y="121"/>
                  <a:pt x="487" y="121"/>
                </a:cubicBezTo>
                <a:cubicBezTo>
                  <a:pt x="487" y="121"/>
                  <a:pt x="487" y="121"/>
                  <a:pt x="487" y="121"/>
                </a:cubicBezTo>
                <a:cubicBezTo>
                  <a:pt x="487" y="121"/>
                  <a:pt x="489" y="122"/>
                  <a:pt x="491" y="123"/>
                </a:cubicBezTo>
                <a:cubicBezTo>
                  <a:pt x="491" y="123"/>
                  <a:pt x="492" y="124"/>
                  <a:pt x="492" y="124"/>
                </a:cubicBezTo>
                <a:cubicBezTo>
                  <a:pt x="494" y="125"/>
                  <a:pt x="495" y="125"/>
                  <a:pt x="496" y="126"/>
                </a:cubicBezTo>
                <a:cubicBezTo>
                  <a:pt x="498" y="126"/>
                  <a:pt x="499" y="127"/>
                  <a:pt x="501" y="127"/>
                </a:cubicBezTo>
                <a:cubicBezTo>
                  <a:pt x="501" y="127"/>
                  <a:pt x="501" y="128"/>
                  <a:pt x="501" y="128"/>
                </a:cubicBezTo>
                <a:cubicBezTo>
                  <a:pt x="503" y="130"/>
                  <a:pt x="504" y="131"/>
                  <a:pt x="507" y="131"/>
                </a:cubicBezTo>
                <a:cubicBezTo>
                  <a:pt x="510" y="132"/>
                  <a:pt x="511" y="133"/>
                  <a:pt x="514" y="134"/>
                </a:cubicBezTo>
                <a:cubicBezTo>
                  <a:pt x="514" y="135"/>
                  <a:pt x="513" y="135"/>
                  <a:pt x="510" y="135"/>
                </a:cubicBezTo>
                <a:cubicBezTo>
                  <a:pt x="512" y="136"/>
                  <a:pt x="514" y="136"/>
                  <a:pt x="515" y="137"/>
                </a:cubicBezTo>
                <a:cubicBezTo>
                  <a:pt x="515" y="137"/>
                  <a:pt x="515" y="137"/>
                  <a:pt x="515" y="137"/>
                </a:cubicBezTo>
                <a:cubicBezTo>
                  <a:pt x="505" y="133"/>
                  <a:pt x="494" y="128"/>
                  <a:pt x="485" y="123"/>
                </a:cubicBezTo>
                <a:cubicBezTo>
                  <a:pt x="484" y="123"/>
                  <a:pt x="483" y="123"/>
                  <a:pt x="482" y="122"/>
                </a:cubicBezTo>
                <a:cubicBezTo>
                  <a:pt x="479" y="121"/>
                  <a:pt x="476" y="119"/>
                  <a:pt x="473" y="118"/>
                </a:cubicBezTo>
                <a:cubicBezTo>
                  <a:pt x="472" y="117"/>
                  <a:pt x="471" y="117"/>
                  <a:pt x="471" y="117"/>
                </a:cubicBezTo>
                <a:cubicBezTo>
                  <a:pt x="470" y="117"/>
                  <a:pt x="469" y="117"/>
                  <a:pt x="468" y="117"/>
                </a:cubicBezTo>
                <a:cubicBezTo>
                  <a:pt x="455" y="110"/>
                  <a:pt x="444" y="104"/>
                  <a:pt x="430" y="97"/>
                </a:cubicBezTo>
                <a:cubicBezTo>
                  <a:pt x="430" y="96"/>
                  <a:pt x="428" y="95"/>
                  <a:pt x="426" y="94"/>
                </a:cubicBezTo>
                <a:cubicBezTo>
                  <a:pt x="425" y="94"/>
                  <a:pt x="425" y="93"/>
                  <a:pt x="421" y="92"/>
                </a:cubicBezTo>
                <a:cubicBezTo>
                  <a:pt x="421" y="92"/>
                  <a:pt x="418" y="92"/>
                  <a:pt x="417" y="91"/>
                </a:cubicBezTo>
                <a:cubicBezTo>
                  <a:pt x="412" y="89"/>
                  <a:pt x="409" y="87"/>
                  <a:pt x="403" y="84"/>
                </a:cubicBezTo>
                <a:cubicBezTo>
                  <a:pt x="405" y="86"/>
                  <a:pt x="409" y="87"/>
                  <a:pt x="409" y="89"/>
                </a:cubicBezTo>
                <a:cubicBezTo>
                  <a:pt x="399" y="84"/>
                  <a:pt x="390" y="80"/>
                  <a:pt x="382" y="76"/>
                </a:cubicBezTo>
                <a:cubicBezTo>
                  <a:pt x="380" y="74"/>
                  <a:pt x="378" y="73"/>
                  <a:pt x="374" y="72"/>
                </a:cubicBezTo>
                <a:cubicBezTo>
                  <a:pt x="374" y="72"/>
                  <a:pt x="373" y="71"/>
                  <a:pt x="373" y="71"/>
                </a:cubicBezTo>
                <a:cubicBezTo>
                  <a:pt x="371" y="69"/>
                  <a:pt x="366" y="68"/>
                  <a:pt x="364" y="66"/>
                </a:cubicBezTo>
                <a:cubicBezTo>
                  <a:pt x="363" y="66"/>
                  <a:pt x="363" y="66"/>
                  <a:pt x="363" y="66"/>
                </a:cubicBezTo>
                <a:cubicBezTo>
                  <a:pt x="363" y="66"/>
                  <a:pt x="363" y="66"/>
                  <a:pt x="363" y="66"/>
                </a:cubicBezTo>
                <a:cubicBezTo>
                  <a:pt x="363" y="66"/>
                  <a:pt x="363" y="66"/>
                  <a:pt x="364" y="66"/>
                </a:cubicBezTo>
                <a:cubicBezTo>
                  <a:pt x="361" y="64"/>
                  <a:pt x="356" y="62"/>
                  <a:pt x="352" y="60"/>
                </a:cubicBezTo>
                <a:cubicBezTo>
                  <a:pt x="347" y="57"/>
                  <a:pt x="342" y="54"/>
                  <a:pt x="340" y="52"/>
                </a:cubicBezTo>
                <a:cubicBezTo>
                  <a:pt x="339" y="52"/>
                  <a:pt x="338" y="51"/>
                  <a:pt x="338" y="51"/>
                </a:cubicBezTo>
                <a:cubicBezTo>
                  <a:pt x="334" y="49"/>
                  <a:pt x="328" y="46"/>
                  <a:pt x="324" y="44"/>
                </a:cubicBezTo>
                <a:cubicBezTo>
                  <a:pt x="323" y="43"/>
                  <a:pt x="321" y="42"/>
                  <a:pt x="318" y="42"/>
                </a:cubicBezTo>
                <a:cubicBezTo>
                  <a:pt x="317" y="41"/>
                  <a:pt x="316" y="41"/>
                  <a:pt x="314" y="40"/>
                </a:cubicBezTo>
                <a:cubicBezTo>
                  <a:pt x="314" y="40"/>
                  <a:pt x="313" y="40"/>
                  <a:pt x="313" y="40"/>
                </a:cubicBezTo>
                <a:cubicBezTo>
                  <a:pt x="313" y="40"/>
                  <a:pt x="313" y="40"/>
                  <a:pt x="313" y="40"/>
                </a:cubicBezTo>
                <a:cubicBezTo>
                  <a:pt x="316" y="42"/>
                  <a:pt x="321" y="45"/>
                  <a:pt x="326" y="47"/>
                </a:cubicBezTo>
                <a:cubicBezTo>
                  <a:pt x="328" y="48"/>
                  <a:pt x="331" y="49"/>
                  <a:pt x="331" y="50"/>
                </a:cubicBezTo>
                <a:cubicBezTo>
                  <a:pt x="338" y="52"/>
                  <a:pt x="333" y="53"/>
                  <a:pt x="338" y="54"/>
                </a:cubicBezTo>
                <a:cubicBezTo>
                  <a:pt x="338" y="54"/>
                  <a:pt x="338" y="54"/>
                  <a:pt x="338" y="54"/>
                </a:cubicBezTo>
                <a:cubicBezTo>
                  <a:pt x="339" y="55"/>
                  <a:pt x="339" y="56"/>
                  <a:pt x="342" y="57"/>
                </a:cubicBezTo>
                <a:cubicBezTo>
                  <a:pt x="345" y="59"/>
                  <a:pt x="349" y="60"/>
                  <a:pt x="351" y="62"/>
                </a:cubicBezTo>
                <a:cubicBezTo>
                  <a:pt x="353" y="63"/>
                  <a:pt x="354" y="63"/>
                  <a:pt x="356" y="63"/>
                </a:cubicBezTo>
                <a:cubicBezTo>
                  <a:pt x="356" y="64"/>
                  <a:pt x="354" y="64"/>
                  <a:pt x="357" y="65"/>
                </a:cubicBezTo>
                <a:cubicBezTo>
                  <a:pt x="357" y="66"/>
                  <a:pt x="361" y="67"/>
                  <a:pt x="361" y="68"/>
                </a:cubicBezTo>
                <a:cubicBezTo>
                  <a:pt x="361" y="68"/>
                  <a:pt x="360" y="68"/>
                  <a:pt x="360" y="68"/>
                </a:cubicBezTo>
                <a:cubicBezTo>
                  <a:pt x="358" y="67"/>
                  <a:pt x="359" y="68"/>
                  <a:pt x="359" y="69"/>
                </a:cubicBezTo>
                <a:cubicBezTo>
                  <a:pt x="355" y="68"/>
                  <a:pt x="352" y="66"/>
                  <a:pt x="352" y="66"/>
                </a:cubicBezTo>
                <a:cubicBezTo>
                  <a:pt x="352" y="64"/>
                  <a:pt x="350" y="63"/>
                  <a:pt x="346" y="62"/>
                </a:cubicBezTo>
                <a:cubicBezTo>
                  <a:pt x="344" y="62"/>
                  <a:pt x="342" y="61"/>
                  <a:pt x="341" y="60"/>
                </a:cubicBezTo>
                <a:cubicBezTo>
                  <a:pt x="340" y="59"/>
                  <a:pt x="338" y="58"/>
                  <a:pt x="336" y="58"/>
                </a:cubicBezTo>
                <a:cubicBezTo>
                  <a:pt x="336" y="58"/>
                  <a:pt x="336" y="58"/>
                  <a:pt x="335" y="58"/>
                </a:cubicBezTo>
                <a:cubicBezTo>
                  <a:pt x="332" y="56"/>
                  <a:pt x="328" y="54"/>
                  <a:pt x="324" y="53"/>
                </a:cubicBezTo>
                <a:cubicBezTo>
                  <a:pt x="324" y="53"/>
                  <a:pt x="324" y="53"/>
                  <a:pt x="324" y="53"/>
                </a:cubicBezTo>
                <a:cubicBezTo>
                  <a:pt x="324" y="53"/>
                  <a:pt x="324" y="53"/>
                  <a:pt x="324" y="53"/>
                </a:cubicBezTo>
                <a:cubicBezTo>
                  <a:pt x="324" y="53"/>
                  <a:pt x="324" y="53"/>
                  <a:pt x="324" y="53"/>
                </a:cubicBezTo>
                <a:cubicBezTo>
                  <a:pt x="322" y="51"/>
                  <a:pt x="319" y="50"/>
                  <a:pt x="317" y="49"/>
                </a:cubicBezTo>
                <a:cubicBezTo>
                  <a:pt x="313" y="48"/>
                  <a:pt x="310" y="46"/>
                  <a:pt x="306" y="44"/>
                </a:cubicBezTo>
                <a:cubicBezTo>
                  <a:pt x="307" y="46"/>
                  <a:pt x="317" y="49"/>
                  <a:pt x="315" y="51"/>
                </a:cubicBezTo>
                <a:cubicBezTo>
                  <a:pt x="314" y="50"/>
                  <a:pt x="314" y="51"/>
                  <a:pt x="314" y="52"/>
                </a:cubicBezTo>
                <a:cubicBezTo>
                  <a:pt x="314" y="52"/>
                  <a:pt x="314" y="52"/>
                  <a:pt x="315" y="52"/>
                </a:cubicBezTo>
                <a:cubicBezTo>
                  <a:pt x="317" y="53"/>
                  <a:pt x="319" y="53"/>
                  <a:pt x="322" y="54"/>
                </a:cubicBezTo>
                <a:cubicBezTo>
                  <a:pt x="322" y="55"/>
                  <a:pt x="323" y="55"/>
                  <a:pt x="324" y="55"/>
                </a:cubicBezTo>
                <a:cubicBezTo>
                  <a:pt x="325" y="56"/>
                  <a:pt x="326" y="56"/>
                  <a:pt x="326" y="57"/>
                </a:cubicBezTo>
                <a:cubicBezTo>
                  <a:pt x="332" y="59"/>
                  <a:pt x="336" y="62"/>
                  <a:pt x="340" y="65"/>
                </a:cubicBezTo>
                <a:cubicBezTo>
                  <a:pt x="338" y="65"/>
                  <a:pt x="336" y="63"/>
                  <a:pt x="334" y="63"/>
                </a:cubicBezTo>
                <a:cubicBezTo>
                  <a:pt x="334" y="64"/>
                  <a:pt x="338" y="65"/>
                  <a:pt x="339" y="66"/>
                </a:cubicBezTo>
                <a:cubicBezTo>
                  <a:pt x="339" y="66"/>
                  <a:pt x="339" y="66"/>
                  <a:pt x="338" y="66"/>
                </a:cubicBezTo>
                <a:cubicBezTo>
                  <a:pt x="338" y="66"/>
                  <a:pt x="338" y="66"/>
                  <a:pt x="338" y="66"/>
                </a:cubicBezTo>
                <a:cubicBezTo>
                  <a:pt x="338" y="66"/>
                  <a:pt x="338" y="67"/>
                  <a:pt x="337" y="66"/>
                </a:cubicBezTo>
                <a:cubicBezTo>
                  <a:pt x="334" y="65"/>
                  <a:pt x="333" y="65"/>
                  <a:pt x="332" y="65"/>
                </a:cubicBezTo>
                <a:cubicBezTo>
                  <a:pt x="331" y="65"/>
                  <a:pt x="333" y="66"/>
                  <a:pt x="334" y="67"/>
                </a:cubicBezTo>
                <a:cubicBezTo>
                  <a:pt x="337" y="68"/>
                  <a:pt x="340" y="69"/>
                  <a:pt x="341" y="70"/>
                </a:cubicBezTo>
                <a:cubicBezTo>
                  <a:pt x="343" y="72"/>
                  <a:pt x="345" y="72"/>
                  <a:pt x="347" y="72"/>
                </a:cubicBezTo>
                <a:cubicBezTo>
                  <a:pt x="349" y="73"/>
                  <a:pt x="351" y="74"/>
                  <a:pt x="355" y="76"/>
                </a:cubicBezTo>
                <a:cubicBezTo>
                  <a:pt x="353" y="74"/>
                  <a:pt x="351" y="73"/>
                  <a:pt x="347" y="72"/>
                </a:cubicBezTo>
                <a:cubicBezTo>
                  <a:pt x="345" y="71"/>
                  <a:pt x="343" y="70"/>
                  <a:pt x="341" y="68"/>
                </a:cubicBezTo>
                <a:cubicBezTo>
                  <a:pt x="339" y="68"/>
                  <a:pt x="339" y="67"/>
                  <a:pt x="341" y="67"/>
                </a:cubicBezTo>
                <a:cubicBezTo>
                  <a:pt x="343" y="68"/>
                  <a:pt x="346" y="69"/>
                  <a:pt x="347" y="68"/>
                </a:cubicBezTo>
                <a:cubicBezTo>
                  <a:pt x="347" y="69"/>
                  <a:pt x="348" y="69"/>
                  <a:pt x="349" y="69"/>
                </a:cubicBezTo>
                <a:cubicBezTo>
                  <a:pt x="349" y="70"/>
                  <a:pt x="351" y="71"/>
                  <a:pt x="353" y="72"/>
                </a:cubicBezTo>
                <a:cubicBezTo>
                  <a:pt x="359" y="75"/>
                  <a:pt x="364" y="78"/>
                  <a:pt x="370" y="81"/>
                </a:cubicBezTo>
                <a:cubicBezTo>
                  <a:pt x="373" y="83"/>
                  <a:pt x="375" y="84"/>
                  <a:pt x="380" y="86"/>
                </a:cubicBezTo>
                <a:cubicBezTo>
                  <a:pt x="382" y="88"/>
                  <a:pt x="388" y="90"/>
                  <a:pt x="390" y="92"/>
                </a:cubicBezTo>
                <a:cubicBezTo>
                  <a:pt x="391" y="93"/>
                  <a:pt x="393" y="94"/>
                  <a:pt x="394" y="95"/>
                </a:cubicBezTo>
                <a:cubicBezTo>
                  <a:pt x="395" y="96"/>
                  <a:pt x="396" y="96"/>
                  <a:pt x="396" y="97"/>
                </a:cubicBezTo>
                <a:cubicBezTo>
                  <a:pt x="397" y="97"/>
                  <a:pt x="397" y="98"/>
                  <a:pt x="398" y="98"/>
                </a:cubicBezTo>
                <a:cubicBezTo>
                  <a:pt x="396" y="97"/>
                  <a:pt x="394" y="96"/>
                  <a:pt x="392" y="95"/>
                </a:cubicBezTo>
                <a:cubicBezTo>
                  <a:pt x="390" y="95"/>
                  <a:pt x="390" y="94"/>
                  <a:pt x="388" y="94"/>
                </a:cubicBezTo>
                <a:cubicBezTo>
                  <a:pt x="387" y="93"/>
                  <a:pt x="385" y="92"/>
                  <a:pt x="384" y="92"/>
                </a:cubicBezTo>
                <a:cubicBezTo>
                  <a:pt x="384" y="92"/>
                  <a:pt x="384" y="93"/>
                  <a:pt x="383" y="93"/>
                </a:cubicBezTo>
                <a:cubicBezTo>
                  <a:pt x="380" y="91"/>
                  <a:pt x="378" y="90"/>
                  <a:pt x="374" y="88"/>
                </a:cubicBezTo>
                <a:cubicBezTo>
                  <a:pt x="372" y="87"/>
                  <a:pt x="370" y="87"/>
                  <a:pt x="369" y="86"/>
                </a:cubicBezTo>
                <a:cubicBezTo>
                  <a:pt x="369" y="86"/>
                  <a:pt x="370" y="85"/>
                  <a:pt x="369" y="85"/>
                </a:cubicBezTo>
                <a:cubicBezTo>
                  <a:pt x="367" y="84"/>
                  <a:pt x="367" y="85"/>
                  <a:pt x="367" y="85"/>
                </a:cubicBezTo>
                <a:cubicBezTo>
                  <a:pt x="365" y="84"/>
                  <a:pt x="364" y="83"/>
                  <a:pt x="362" y="83"/>
                </a:cubicBezTo>
                <a:cubicBezTo>
                  <a:pt x="362" y="83"/>
                  <a:pt x="362" y="83"/>
                  <a:pt x="362" y="83"/>
                </a:cubicBezTo>
                <a:cubicBezTo>
                  <a:pt x="356" y="78"/>
                  <a:pt x="346" y="74"/>
                  <a:pt x="338" y="70"/>
                </a:cubicBezTo>
                <a:cubicBezTo>
                  <a:pt x="334" y="67"/>
                  <a:pt x="330" y="65"/>
                  <a:pt x="326" y="63"/>
                </a:cubicBezTo>
                <a:cubicBezTo>
                  <a:pt x="324" y="61"/>
                  <a:pt x="321" y="60"/>
                  <a:pt x="318" y="59"/>
                </a:cubicBezTo>
                <a:cubicBezTo>
                  <a:pt x="317" y="58"/>
                  <a:pt x="317" y="57"/>
                  <a:pt x="314" y="57"/>
                </a:cubicBezTo>
                <a:cubicBezTo>
                  <a:pt x="309" y="56"/>
                  <a:pt x="312" y="57"/>
                  <a:pt x="312" y="58"/>
                </a:cubicBezTo>
                <a:cubicBezTo>
                  <a:pt x="311" y="57"/>
                  <a:pt x="310" y="57"/>
                  <a:pt x="308" y="56"/>
                </a:cubicBezTo>
                <a:cubicBezTo>
                  <a:pt x="310" y="58"/>
                  <a:pt x="313" y="60"/>
                  <a:pt x="316" y="61"/>
                </a:cubicBezTo>
                <a:cubicBezTo>
                  <a:pt x="315" y="61"/>
                  <a:pt x="314" y="62"/>
                  <a:pt x="316" y="62"/>
                </a:cubicBezTo>
                <a:cubicBezTo>
                  <a:pt x="319" y="64"/>
                  <a:pt x="321" y="65"/>
                  <a:pt x="325" y="66"/>
                </a:cubicBezTo>
                <a:cubicBezTo>
                  <a:pt x="325" y="66"/>
                  <a:pt x="325" y="66"/>
                  <a:pt x="325" y="67"/>
                </a:cubicBezTo>
                <a:cubicBezTo>
                  <a:pt x="325" y="67"/>
                  <a:pt x="325" y="67"/>
                  <a:pt x="325" y="67"/>
                </a:cubicBezTo>
                <a:cubicBezTo>
                  <a:pt x="325" y="67"/>
                  <a:pt x="325" y="66"/>
                  <a:pt x="325" y="66"/>
                </a:cubicBezTo>
                <a:cubicBezTo>
                  <a:pt x="325" y="67"/>
                  <a:pt x="322" y="67"/>
                  <a:pt x="327" y="68"/>
                </a:cubicBezTo>
                <a:cubicBezTo>
                  <a:pt x="328" y="69"/>
                  <a:pt x="330" y="70"/>
                  <a:pt x="328" y="70"/>
                </a:cubicBezTo>
                <a:cubicBezTo>
                  <a:pt x="328" y="70"/>
                  <a:pt x="328" y="70"/>
                  <a:pt x="328" y="70"/>
                </a:cubicBezTo>
                <a:cubicBezTo>
                  <a:pt x="328" y="70"/>
                  <a:pt x="328" y="70"/>
                  <a:pt x="328" y="70"/>
                </a:cubicBezTo>
                <a:cubicBezTo>
                  <a:pt x="328" y="70"/>
                  <a:pt x="328" y="70"/>
                  <a:pt x="328" y="70"/>
                </a:cubicBezTo>
                <a:cubicBezTo>
                  <a:pt x="323" y="67"/>
                  <a:pt x="319" y="65"/>
                  <a:pt x="312" y="62"/>
                </a:cubicBezTo>
                <a:cubicBezTo>
                  <a:pt x="311" y="62"/>
                  <a:pt x="310" y="61"/>
                  <a:pt x="309" y="60"/>
                </a:cubicBezTo>
                <a:cubicBezTo>
                  <a:pt x="306" y="60"/>
                  <a:pt x="310" y="62"/>
                  <a:pt x="310" y="62"/>
                </a:cubicBezTo>
                <a:cubicBezTo>
                  <a:pt x="309" y="62"/>
                  <a:pt x="308" y="62"/>
                  <a:pt x="307" y="62"/>
                </a:cubicBezTo>
                <a:cubicBezTo>
                  <a:pt x="303" y="61"/>
                  <a:pt x="301" y="59"/>
                  <a:pt x="298" y="58"/>
                </a:cubicBezTo>
                <a:cubicBezTo>
                  <a:pt x="296" y="57"/>
                  <a:pt x="294" y="55"/>
                  <a:pt x="292" y="55"/>
                </a:cubicBezTo>
                <a:cubicBezTo>
                  <a:pt x="289" y="55"/>
                  <a:pt x="295" y="57"/>
                  <a:pt x="296" y="58"/>
                </a:cubicBezTo>
                <a:cubicBezTo>
                  <a:pt x="296" y="58"/>
                  <a:pt x="296" y="58"/>
                  <a:pt x="296" y="58"/>
                </a:cubicBezTo>
                <a:cubicBezTo>
                  <a:pt x="296" y="58"/>
                  <a:pt x="296" y="58"/>
                  <a:pt x="296" y="58"/>
                </a:cubicBezTo>
                <a:cubicBezTo>
                  <a:pt x="295" y="58"/>
                  <a:pt x="295" y="58"/>
                  <a:pt x="294" y="58"/>
                </a:cubicBezTo>
                <a:cubicBezTo>
                  <a:pt x="297" y="60"/>
                  <a:pt x="302" y="61"/>
                  <a:pt x="304" y="63"/>
                </a:cubicBezTo>
                <a:cubicBezTo>
                  <a:pt x="305" y="63"/>
                  <a:pt x="305" y="64"/>
                  <a:pt x="306" y="64"/>
                </a:cubicBezTo>
                <a:cubicBezTo>
                  <a:pt x="306" y="64"/>
                  <a:pt x="305" y="64"/>
                  <a:pt x="304" y="64"/>
                </a:cubicBezTo>
                <a:cubicBezTo>
                  <a:pt x="304" y="65"/>
                  <a:pt x="304" y="65"/>
                  <a:pt x="305" y="66"/>
                </a:cubicBezTo>
                <a:cubicBezTo>
                  <a:pt x="311" y="69"/>
                  <a:pt x="311" y="69"/>
                  <a:pt x="305" y="69"/>
                </a:cubicBezTo>
                <a:cubicBezTo>
                  <a:pt x="305" y="69"/>
                  <a:pt x="305" y="69"/>
                  <a:pt x="305" y="69"/>
                </a:cubicBezTo>
                <a:cubicBezTo>
                  <a:pt x="305" y="69"/>
                  <a:pt x="305" y="69"/>
                  <a:pt x="305" y="69"/>
                </a:cubicBezTo>
                <a:cubicBezTo>
                  <a:pt x="305" y="69"/>
                  <a:pt x="305" y="69"/>
                  <a:pt x="305" y="69"/>
                </a:cubicBezTo>
                <a:cubicBezTo>
                  <a:pt x="303" y="69"/>
                  <a:pt x="303" y="67"/>
                  <a:pt x="300" y="67"/>
                </a:cubicBezTo>
                <a:cubicBezTo>
                  <a:pt x="298" y="68"/>
                  <a:pt x="301" y="69"/>
                  <a:pt x="302" y="69"/>
                </a:cubicBezTo>
                <a:cubicBezTo>
                  <a:pt x="303" y="70"/>
                  <a:pt x="303" y="71"/>
                  <a:pt x="301" y="70"/>
                </a:cubicBezTo>
                <a:cubicBezTo>
                  <a:pt x="295" y="68"/>
                  <a:pt x="289" y="67"/>
                  <a:pt x="284" y="64"/>
                </a:cubicBezTo>
                <a:cubicBezTo>
                  <a:pt x="284" y="64"/>
                  <a:pt x="283" y="63"/>
                  <a:pt x="284" y="63"/>
                </a:cubicBezTo>
                <a:cubicBezTo>
                  <a:pt x="284" y="63"/>
                  <a:pt x="286" y="64"/>
                  <a:pt x="287" y="64"/>
                </a:cubicBezTo>
                <a:cubicBezTo>
                  <a:pt x="282" y="61"/>
                  <a:pt x="272" y="58"/>
                  <a:pt x="267" y="55"/>
                </a:cubicBezTo>
                <a:cubicBezTo>
                  <a:pt x="265" y="54"/>
                  <a:pt x="262" y="52"/>
                  <a:pt x="258" y="50"/>
                </a:cubicBezTo>
                <a:cubicBezTo>
                  <a:pt x="257" y="50"/>
                  <a:pt x="256" y="49"/>
                  <a:pt x="254" y="49"/>
                </a:cubicBezTo>
                <a:cubicBezTo>
                  <a:pt x="252" y="49"/>
                  <a:pt x="253" y="50"/>
                  <a:pt x="255" y="50"/>
                </a:cubicBezTo>
                <a:cubicBezTo>
                  <a:pt x="259" y="52"/>
                  <a:pt x="255" y="52"/>
                  <a:pt x="255" y="52"/>
                </a:cubicBezTo>
                <a:cubicBezTo>
                  <a:pt x="254" y="52"/>
                  <a:pt x="253" y="52"/>
                  <a:pt x="253" y="52"/>
                </a:cubicBezTo>
                <a:cubicBezTo>
                  <a:pt x="255" y="53"/>
                  <a:pt x="255" y="54"/>
                  <a:pt x="260" y="55"/>
                </a:cubicBezTo>
                <a:cubicBezTo>
                  <a:pt x="261" y="54"/>
                  <a:pt x="259" y="53"/>
                  <a:pt x="259" y="53"/>
                </a:cubicBezTo>
                <a:cubicBezTo>
                  <a:pt x="262" y="54"/>
                  <a:pt x="262" y="55"/>
                  <a:pt x="264" y="55"/>
                </a:cubicBezTo>
                <a:cubicBezTo>
                  <a:pt x="269" y="57"/>
                  <a:pt x="269" y="59"/>
                  <a:pt x="274" y="61"/>
                </a:cubicBezTo>
                <a:cubicBezTo>
                  <a:pt x="276" y="62"/>
                  <a:pt x="278" y="63"/>
                  <a:pt x="280" y="64"/>
                </a:cubicBezTo>
                <a:cubicBezTo>
                  <a:pt x="280" y="64"/>
                  <a:pt x="279" y="65"/>
                  <a:pt x="280" y="66"/>
                </a:cubicBezTo>
                <a:cubicBezTo>
                  <a:pt x="282" y="67"/>
                  <a:pt x="284" y="68"/>
                  <a:pt x="286" y="69"/>
                </a:cubicBezTo>
                <a:cubicBezTo>
                  <a:pt x="286" y="69"/>
                  <a:pt x="287" y="69"/>
                  <a:pt x="287" y="69"/>
                </a:cubicBezTo>
                <a:cubicBezTo>
                  <a:pt x="285" y="68"/>
                  <a:pt x="283" y="67"/>
                  <a:pt x="281" y="66"/>
                </a:cubicBezTo>
                <a:cubicBezTo>
                  <a:pt x="286" y="66"/>
                  <a:pt x="287" y="68"/>
                  <a:pt x="290" y="69"/>
                </a:cubicBezTo>
                <a:cubicBezTo>
                  <a:pt x="291" y="71"/>
                  <a:pt x="297" y="73"/>
                  <a:pt x="300" y="74"/>
                </a:cubicBezTo>
                <a:cubicBezTo>
                  <a:pt x="300" y="75"/>
                  <a:pt x="301" y="75"/>
                  <a:pt x="302" y="75"/>
                </a:cubicBezTo>
                <a:cubicBezTo>
                  <a:pt x="302" y="75"/>
                  <a:pt x="302" y="75"/>
                  <a:pt x="302" y="75"/>
                </a:cubicBezTo>
                <a:cubicBezTo>
                  <a:pt x="302" y="75"/>
                  <a:pt x="302" y="75"/>
                  <a:pt x="302" y="75"/>
                </a:cubicBezTo>
                <a:cubicBezTo>
                  <a:pt x="302" y="75"/>
                  <a:pt x="302" y="75"/>
                  <a:pt x="302" y="75"/>
                </a:cubicBezTo>
                <a:cubicBezTo>
                  <a:pt x="306" y="77"/>
                  <a:pt x="308" y="79"/>
                  <a:pt x="313" y="80"/>
                </a:cubicBezTo>
                <a:cubicBezTo>
                  <a:pt x="313" y="80"/>
                  <a:pt x="313" y="80"/>
                  <a:pt x="313" y="80"/>
                </a:cubicBezTo>
                <a:cubicBezTo>
                  <a:pt x="313" y="80"/>
                  <a:pt x="313" y="80"/>
                  <a:pt x="313" y="80"/>
                </a:cubicBezTo>
                <a:cubicBezTo>
                  <a:pt x="314" y="81"/>
                  <a:pt x="316" y="82"/>
                  <a:pt x="318" y="83"/>
                </a:cubicBezTo>
                <a:cubicBezTo>
                  <a:pt x="319" y="84"/>
                  <a:pt x="322" y="85"/>
                  <a:pt x="325" y="86"/>
                </a:cubicBezTo>
                <a:cubicBezTo>
                  <a:pt x="327" y="87"/>
                  <a:pt x="328" y="88"/>
                  <a:pt x="330" y="89"/>
                </a:cubicBezTo>
                <a:cubicBezTo>
                  <a:pt x="330" y="89"/>
                  <a:pt x="330" y="90"/>
                  <a:pt x="330" y="90"/>
                </a:cubicBezTo>
                <a:cubicBezTo>
                  <a:pt x="332" y="91"/>
                  <a:pt x="335" y="92"/>
                  <a:pt x="334" y="93"/>
                </a:cubicBezTo>
                <a:cubicBezTo>
                  <a:pt x="328" y="90"/>
                  <a:pt x="324" y="88"/>
                  <a:pt x="317" y="85"/>
                </a:cubicBezTo>
                <a:cubicBezTo>
                  <a:pt x="306" y="80"/>
                  <a:pt x="296" y="74"/>
                  <a:pt x="285" y="69"/>
                </a:cubicBezTo>
                <a:cubicBezTo>
                  <a:pt x="284" y="68"/>
                  <a:pt x="282" y="68"/>
                  <a:pt x="281" y="67"/>
                </a:cubicBezTo>
                <a:cubicBezTo>
                  <a:pt x="280" y="67"/>
                  <a:pt x="280" y="67"/>
                  <a:pt x="279" y="66"/>
                </a:cubicBezTo>
                <a:cubicBezTo>
                  <a:pt x="273" y="64"/>
                  <a:pt x="268" y="61"/>
                  <a:pt x="262" y="58"/>
                </a:cubicBezTo>
                <a:cubicBezTo>
                  <a:pt x="256" y="55"/>
                  <a:pt x="249" y="52"/>
                  <a:pt x="245" y="49"/>
                </a:cubicBezTo>
                <a:cubicBezTo>
                  <a:pt x="244" y="48"/>
                  <a:pt x="241" y="47"/>
                  <a:pt x="239" y="45"/>
                </a:cubicBezTo>
                <a:cubicBezTo>
                  <a:pt x="240" y="46"/>
                  <a:pt x="241" y="46"/>
                  <a:pt x="242" y="46"/>
                </a:cubicBezTo>
                <a:cubicBezTo>
                  <a:pt x="242" y="45"/>
                  <a:pt x="240" y="45"/>
                  <a:pt x="238" y="44"/>
                </a:cubicBezTo>
                <a:cubicBezTo>
                  <a:pt x="237" y="44"/>
                  <a:pt x="238" y="45"/>
                  <a:pt x="238" y="45"/>
                </a:cubicBezTo>
                <a:cubicBezTo>
                  <a:pt x="237" y="45"/>
                  <a:pt x="236" y="44"/>
                  <a:pt x="233" y="44"/>
                </a:cubicBezTo>
                <a:cubicBezTo>
                  <a:pt x="238" y="46"/>
                  <a:pt x="239" y="47"/>
                  <a:pt x="243" y="49"/>
                </a:cubicBezTo>
                <a:cubicBezTo>
                  <a:pt x="245" y="50"/>
                  <a:pt x="246" y="51"/>
                  <a:pt x="248" y="52"/>
                </a:cubicBezTo>
                <a:cubicBezTo>
                  <a:pt x="252" y="55"/>
                  <a:pt x="258" y="58"/>
                  <a:pt x="262" y="60"/>
                </a:cubicBezTo>
                <a:cubicBezTo>
                  <a:pt x="261" y="60"/>
                  <a:pt x="262" y="61"/>
                  <a:pt x="262" y="61"/>
                </a:cubicBezTo>
                <a:cubicBezTo>
                  <a:pt x="263" y="62"/>
                  <a:pt x="263" y="63"/>
                  <a:pt x="262" y="63"/>
                </a:cubicBezTo>
                <a:cubicBezTo>
                  <a:pt x="260" y="63"/>
                  <a:pt x="258" y="62"/>
                  <a:pt x="257" y="61"/>
                </a:cubicBezTo>
                <a:cubicBezTo>
                  <a:pt x="254" y="60"/>
                  <a:pt x="250" y="59"/>
                  <a:pt x="246" y="57"/>
                </a:cubicBezTo>
                <a:cubicBezTo>
                  <a:pt x="242" y="56"/>
                  <a:pt x="240" y="56"/>
                  <a:pt x="238" y="57"/>
                </a:cubicBezTo>
                <a:cubicBezTo>
                  <a:pt x="238" y="57"/>
                  <a:pt x="236" y="57"/>
                  <a:pt x="235" y="56"/>
                </a:cubicBezTo>
                <a:cubicBezTo>
                  <a:pt x="234" y="55"/>
                  <a:pt x="234" y="55"/>
                  <a:pt x="236" y="55"/>
                </a:cubicBezTo>
                <a:cubicBezTo>
                  <a:pt x="239" y="56"/>
                  <a:pt x="238" y="54"/>
                  <a:pt x="240" y="54"/>
                </a:cubicBezTo>
                <a:cubicBezTo>
                  <a:pt x="236" y="53"/>
                  <a:pt x="232" y="52"/>
                  <a:pt x="228" y="50"/>
                </a:cubicBezTo>
                <a:cubicBezTo>
                  <a:pt x="229" y="52"/>
                  <a:pt x="230" y="52"/>
                  <a:pt x="230" y="53"/>
                </a:cubicBezTo>
                <a:cubicBezTo>
                  <a:pt x="228" y="53"/>
                  <a:pt x="223" y="51"/>
                  <a:pt x="224" y="53"/>
                </a:cubicBezTo>
                <a:cubicBezTo>
                  <a:pt x="225" y="55"/>
                  <a:pt x="225" y="55"/>
                  <a:pt x="221" y="55"/>
                </a:cubicBezTo>
                <a:cubicBezTo>
                  <a:pt x="225" y="57"/>
                  <a:pt x="228" y="58"/>
                  <a:pt x="232" y="59"/>
                </a:cubicBezTo>
                <a:cubicBezTo>
                  <a:pt x="232" y="59"/>
                  <a:pt x="233" y="59"/>
                  <a:pt x="233" y="59"/>
                </a:cubicBezTo>
                <a:cubicBezTo>
                  <a:pt x="233" y="59"/>
                  <a:pt x="233" y="60"/>
                  <a:pt x="232" y="60"/>
                </a:cubicBezTo>
                <a:cubicBezTo>
                  <a:pt x="230" y="60"/>
                  <a:pt x="232" y="60"/>
                  <a:pt x="233" y="61"/>
                </a:cubicBezTo>
                <a:cubicBezTo>
                  <a:pt x="234" y="61"/>
                  <a:pt x="234" y="61"/>
                  <a:pt x="234" y="61"/>
                </a:cubicBezTo>
                <a:cubicBezTo>
                  <a:pt x="234" y="61"/>
                  <a:pt x="234" y="62"/>
                  <a:pt x="236" y="62"/>
                </a:cubicBezTo>
                <a:cubicBezTo>
                  <a:pt x="238" y="63"/>
                  <a:pt x="238" y="64"/>
                  <a:pt x="236" y="64"/>
                </a:cubicBezTo>
                <a:cubicBezTo>
                  <a:pt x="235" y="64"/>
                  <a:pt x="238" y="65"/>
                  <a:pt x="238" y="65"/>
                </a:cubicBezTo>
                <a:cubicBezTo>
                  <a:pt x="236" y="65"/>
                  <a:pt x="235" y="64"/>
                  <a:pt x="234" y="63"/>
                </a:cubicBezTo>
                <a:cubicBezTo>
                  <a:pt x="232" y="62"/>
                  <a:pt x="228" y="60"/>
                  <a:pt x="225" y="58"/>
                </a:cubicBezTo>
                <a:cubicBezTo>
                  <a:pt x="224" y="58"/>
                  <a:pt x="222" y="57"/>
                  <a:pt x="220" y="56"/>
                </a:cubicBezTo>
                <a:cubicBezTo>
                  <a:pt x="219" y="55"/>
                  <a:pt x="218" y="55"/>
                  <a:pt x="217" y="54"/>
                </a:cubicBezTo>
                <a:cubicBezTo>
                  <a:pt x="216" y="54"/>
                  <a:pt x="215" y="53"/>
                  <a:pt x="215" y="53"/>
                </a:cubicBezTo>
                <a:cubicBezTo>
                  <a:pt x="215" y="53"/>
                  <a:pt x="214" y="52"/>
                  <a:pt x="213" y="52"/>
                </a:cubicBezTo>
                <a:cubicBezTo>
                  <a:pt x="212" y="53"/>
                  <a:pt x="211" y="52"/>
                  <a:pt x="210" y="52"/>
                </a:cubicBezTo>
                <a:cubicBezTo>
                  <a:pt x="210" y="52"/>
                  <a:pt x="211" y="52"/>
                  <a:pt x="212" y="53"/>
                </a:cubicBezTo>
                <a:cubicBezTo>
                  <a:pt x="213" y="53"/>
                  <a:pt x="214" y="54"/>
                  <a:pt x="216" y="54"/>
                </a:cubicBezTo>
                <a:cubicBezTo>
                  <a:pt x="221" y="57"/>
                  <a:pt x="225" y="60"/>
                  <a:pt x="233" y="63"/>
                </a:cubicBezTo>
                <a:cubicBezTo>
                  <a:pt x="237" y="67"/>
                  <a:pt x="244" y="70"/>
                  <a:pt x="250" y="73"/>
                </a:cubicBezTo>
                <a:cubicBezTo>
                  <a:pt x="253" y="74"/>
                  <a:pt x="255" y="76"/>
                  <a:pt x="258" y="77"/>
                </a:cubicBezTo>
                <a:cubicBezTo>
                  <a:pt x="259" y="79"/>
                  <a:pt x="263" y="80"/>
                  <a:pt x="266" y="82"/>
                </a:cubicBezTo>
                <a:cubicBezTo>
                  <a:pt x="262" y="81"/>
                  <a:pt x="258" y="81"/>
                  <a:pt x="253" y="79"/>
                </a:cubicBezTo>
                <a:cubicBezTo>
                  <a:pt x="248" y="77"/>
                  <a:pt x="243" y="75"/>
                  <a:pt x="239" y="73"/>
                </a:cubicBezTo>
                <a:cubicBezTo>
                  <a:pt x="233" y="69"/>
                  <a:pt x="228" y="66"/>
                  <a:pt x="220" y="63"/>
                </a:cubicBezTo>
                <a:cubicBezTo>
                  <a:pt x="217" y="61"/>
                  <a:pt x="212" y="60"/>
                  <a:pt x="208" y="59"/>
                </a:cubicBezTo>
                <a:cubicBezTo>
                  <a:pt x="207" y="60"/>
                  <a:pt x="211" y="62"/>
                  <a:pt x="214" y="63"/>
                </a:cubicBezTo>
                <a:cubicBezTo>
                  <a:pt x="216" y="63"/>
                  <a:pt x="219" y="64"/>
                  <a:pt x="219" y="65"/>
                </a:cubicBezTo>
                <a:cubicBezTo>
                  <a:pt x="219" y="65"/>
                  <a:pt x="217" y="65"/>
                  <a:pt x="215" y="65"/>
                </a:cubicBezTo>
                <a:cubicBezTo>
                  <a:pt x="214" y="65"/>
                  <a:pt x="212" y="64"/>
                  <a:pt x="211" y="65"/>
                </a:cubicBezTo>
                <a:cubicBezTo>
                  <a:pt x="211" y="64"/>
                  <a:pt x="210" y="64"/>
                  <a:pt x="209" y="63"/>
                </a:cubicBezTo>
                <a:cubicBezTo>
                  <a:pt x="209" y="63"/>
                  <a:pt x="209" y="63"/>
                  <a:pt x="209" y="62"/>
                </a:cubicBezTo>
                <a:cubicBezTo>
                  <a:pt x="209" y="62"/>
                  <a:pt x="209" y="62"/>
                  <a:pt x="209" y="62"/>
                </a:cubicBezTo>
                <a:cubicBezTo>
                  <a:pt x="210" y="63"/>
                  <a:pt x="212" y="64"/>
                  <a:pt x="212" y="63"/>
                </a:cubicBezTo>
                <a:cubicBezTo>
                  <a:pt x="212" y="63"/>
                  <a:pt x="212" y="62"/>
                  <a:pt x="208" y="61"/>
                </a:cubicBezTo>
                <a:cubicBezTo>
                  <a:pt x="208" y="61"/>
                  <a:pt x="207" y="61"/>
                  <a:pt x="207" y="61"/>
                </a:cubicBezTo>
                <a:cubicBezTo>
                  <a:pt x="205" y="60"/>
                  <a:pt x="203" y="59"/>
                  <a:pt x="201" y="58"/>
                </a:cubicBezTo>
                <a:cubicBezTo>
                  <a:pt x="201" y="58"/>
                  <a:pt x="200" y="58"/>
                  <a:pt x="200" y="58"/>
                </a:cubicBezTo>
                <a:cubicBezTo>
                  <a:pt x="202" y="59"/>
                  <a:pt x="204" y="60"/>
                  <a:pt x="206" y="61"/>
                </a:cubicBezTo>
                <a:cubicBezTo>
                  <a:pt x="207" y="62"/>
                  <a:pt x="207" y="62"/>
                  <a:pt x="205" y="62"/>
                </a:cubicBezTo>
                <a:cubicBezTo>
                  <a:pt x="203" y="62"/>
                  <a:pt x="202" y="62"/>
                  <a:pt x="201" y="62"/>
                </a:cubicBezTo>
                <a:cubicBezTo>
                  <a:pt x="200" y="61"/>
                  <a:pt x="199" y="60"/>
                  <a:pt x="195" y="59"/>
                </a:cubicBezTo>
                <a:cubicBezTo>
                  <a:pt x="196" y="60"/>
                  <a:pt x="197" y="61"/>
                  <a:pt x="198" y="62"/>
                </a:cubicBezTo>
                <a:cubicBezTo>
                  <a:pt x="199" y="64"/>
                  <a:pt x="203" y="65"/>
                  <a:pt x="207" y="67"/>
                </a:cubicBezTo>
                <a:cubicBezTo>
                  <a:pt x="208" y="68"/>
                  <a:pt x="209" y="68"/>
                  <a:pt x="211" y="69"/>
                </a:cubicBezTo>
                <a:cubicBezTo>
                  <a:pt x="211" y="69"/>
                  <a:pt x="211" y="69"/>
                  <a:pt x="212" y="70"/>
                </a:cubicBezTo>
                <a:cubicBezTo>
                  <a:pt x="212" y="70"/>
                  <a:pt x="213" y="71"/>
                  <a:pt x="215" y="71"/>
                </a:cubicBezTo>
                <a:cubicBezTo>
                  <a:pt x="216" y="72"/>
                  <a:pt x="217" y="72"/>
                  <a:pt x="217" y="72"/>
                </a:cubicBezTo>
                <a:cubicBezTo>
                  <a:pt x="215" y="73"/>
                  <a:pt x="219" y="74"/>
                  <a:pt x="218" y="75"/>
                </a:cubicBezTo>
                <a:cubicBezTo>
                  <a:pt x="217" y="74"/>
                  <a:pt x="213" y="73"/>
                  <a:pt x="213" y="74"/>
                </a:cubicBezTo>
                <a:cubicBezTo>
                  <a:pt x="212" y="74"/>
                  <a:pt x="214" y="75"/>
                  <a:pt x="216" y="76"/>
                </a:cubicBezTo>
                <a:cubicBezTo>
                  <a:pt x="218" y="77"/>
                  <a:pt x="219" y="77"/>
                  <a:pt x="220" y="78"/>
                </a:cubicBezTo>
                <a:cubicBezTo>
                  <a:pt x="221" y="80"/>
                  <a:pt x="224" y="82"/>
                  <a:pt x="231" y="83"/>
                </a:cubicBezTo>
                <a:cubicBezTo>
                  <a:pt x="232" y="85"/>
                  <a:pt x="238" y="87"/>
                  <a:pt x="241" y="88"/>
                </a:cubicBezTo>
                <a:cubicBezTo>
                  <a:pt x="246" y="91"/>
                  <a:pt x="252" y="94"/>
                  <a:pt x="258" y="97"/>
                </a:cubicBezTo>
                <a:cubicBezTo>
                  <a:pt x="259" y="98"/>
                  <a:pt x="261" y="99"/>
                  <a:pt x="266" y="101"/>
                </a:cubicBezTo>
                <a:cubicBezTo>
                  <a:pt x="264" y="99"/>
                  <a:pt x="261" y="98"/>
                  <a:pt x="259" y="97"/>
                </a:cubicBezTo>
                <a:cubicBezTo>
                  <a:pt x="257" y="96"/>
                  <a:pt x="256" y="95"/>
                  <a:pt x="254" y="94"/>
                </a:cubicBezTo>
                <a:cubicBezTo>
                  <a:pt x="260" y="96"/>
                  <a:pt x="261" y="98"/>
                  <a:pt x="265" y="99"/>
                </a:cubicBezTo>
                <a:cubicBezTo>
                  <a:pt x="267" y="100"/>
                  <a:pt x="269" y="101"/>
                  <a:pt x="270" y="101"/>
                </a:cubicBezTo>
                <a:cubicBezTo>
                  <a:pt x="270" y="101"/>
                  <a:pt x="270" y="101"/>
                  <a:pt x="270" y="101"/>
                </a:cubicBezTo>
                <a:cubicBezTo>
                  <a:pt x="270" y="102"/>
                  <a:pt x="270" y="102"/>
                  <a:pt x="272" y="103"/>
                </a:cubicBezTo>
                <a:cubicBezTo>
                  <a:pt x="274" y="104"/>
                  <a:pt x="274" y="103"/>
                  <a:pt x="274" y="103"/>
                </a:cubicBezTo>
                <a:cubicBezTo>
                  <a:pt x="277" y="104"/>
                  <a:pt x="280" y="105"/>
                  <a:pt x="282" y="107"/>
                </a:cubicBezTo>
                <a:cubicBezTo>
                  <a:pt x="282" y="107"/>
                  <a:pt x="281" y="107"/>
                  <a:pt x="280" y="106"/>
                </a:cubicBezTo>
                <a:cubicBezTo>
                  <a:pt x="279" y="106"/>
                  <a:pt x="278" y="105"/>
                  <a:pt x="277" y="106"/>
                </a:cubicBezTo>
                <a:cubicBezTo>
                  <a:pt x="273" y="105"/>
                  <a:pt x="270" y="104"/>
                  <a:pt x="269" y="102"/>
                </a:cubicBezTo>
                <a:cubicBezTo>
                  <a:pt x="268" y="102"/>
                  <a:pt x="267" y="101"/>
                  <a:pt x="266" y="101"/>
                </a:cubicBezTo>
                <a:cubicBezTo>
                  <a:pt x="265" y="101"/>
                  <a:pt x="266" y="102"/>
                  <a:pt x="267" y="102"/>
                </a:cubicBezTo>
                <a:cubicBezTo>
                  <a:pt x="266" y="102"/>
                  <a:pt x="265" y="102"/>
                  <a:pt x="265" y="102"/>
                </a:cubicBezTo>
                <a:cubicBezTo>
                  <a:pt x="264" y="102"/>
                  <a:pt x="263" y="101"/>
                  <a:pt x="262" y="101"/>
                </a:cubicBezTo>
                <a:cubicBezTo>
                  <a:pt x="257" y="99"/>
                  <a:pt x="253" y="96"/>
                  <a:pt x="248" y="94"/>
                </a:cubicBezTo>
                <a:cubicBezTo>
                  <a:pt x="248" y="94"/>
                  <a:pt x="248" y="94"/>
                  <a:pt x="248" y="95"/>
                </a:cubicBezTo>
                <a:cubicBezTo>
                  <a:pt x="248" y="95"/>
                  <a:pt x="249" y="95"/>
                  <a:pt x="249" y="95"/>
                </a:cubicBezTo>
                <a:cubicBezTo>
                  <a:pt x="249" y="95"/>
                  <a:pt x="249" y="95"/>
                  <a:pt x="249" y="95"/>
                </a:cubicBezTo>
                <a:cubicBezTo>
                  <a:pt x="249" y="95"/>
                  <a:pt x="249" y="95"/>
                  <a:pt x="249" y="95"/>
                </a:cubicBezTo>
                <a:cubicBezTo>
                  <a:pt x="246" y="95"/>
                  <a:pt x="243" y="94"/>
                  <a:pt x="242" y="92"/>
                </a:cubicBezTo>
                <a:cubicBezTo>
                  <a:pt x="241" y="92"/>
                  <a:pt x="239" y="90"/>
                  <a:pt x="236" y="90"/>
                </a:cubicBezTo>
                <a:cubicBezTo>
                  <a:pt x="235" y="90"/>
                  <a:pt x="234" y="90"/>
                  <a:pt x="234" y="90"/>
                </a:cubicBezTo>
                <a:cubicBezTo>
                  <a:pt x="232" y="91"/>
                  <a:pt x="235" y="92"/>
                  <a:pt x="237" y="92"/>
                </a:cubicBezTo>
                <a:cubicBezTo>
                  <a:pt x="244" y="96"/>
                  <a:pt x="253" y="100"/>
                  <a:pt x="260" y="103"/>
                </a:cubicBezTo>
                <a:cubicBezTo>
                  <a:pt x="260" y="103"/>
                  <a:pt x="260" y="103"/>
                  <a:pt x="260" y="103"/>
                </a:cubicBezTo>
                <a:cubicBezTo>
                  <a:pt x="263" y="105"/>
                  <a:pt x="270" y="107"/>
                  <a:pt x="271" y="109"/>
                </a:cubicBezTo>
                <a:cubicBezTo>
                  <a:pt x="261" y="105"/>
                  <a:pt x="252" y="101"/>
                  <a:pt x="243" y="96"/>
                </a:cubicBezTo>
                <a:cubicBezTo>
                  <a:pt x="234" y="91"/>
                  <a:pt x="224" y="87"/>
                  <a:pt x="212" y="82"/>
                </a:cubicBezTo>
                <a:cubicBezTo>
                  <a:pt x="210" y="81"/>
                  <a:pt x="208" y="80"/>
                  <a:pt x="206" y="79"/>
                </a:cubicBezTo>
                <a:cubicBezTo>
                  <a:pt x="202" y="76"/>
                  <a:pt x="195" y="73"/>
                  <a:pt x="190" y="70"/>
                </a:cubicBezTo>
                <a:cubicBezTo>
                  <a:pt x="189" y="70"/>
                  <a:pt x="193" y="71"/>
                  <a:pt x="193" y="72"/>
                </a:cubicBezTo>
                <a:cubicBezTo>
                  <a:pt x="188" y="71"/>
                  <a:pt x="184" y="69"/>
                  <a:pt x="181" y="67"/>
                </a:cubicBezTo>
                <a:cubicBezTo>
                  <a:pt x="179" y="65"/>
                  <a:pt x="177" y="64"/>
                  <a:pt x="171" y="63"/>
                </a:cubicBezTo>
                <a:cubicBezTo>
                  <a:pt x="166" y="62"/>
                  <a:pt x="165" y="60"/>
                  <a:pt x="162" y="59"/>
                </a:cubicBezTo>
                <a:cubicBezTo>
                  <a:pt x="162" y="59"/>
                  <a:pt x="162" y="59"/>
                  <a:pt x="162" y="59"/>
                </a:cubicBezTo>
                <a:cubicBezTo>
                  <a:pt x="157" y="57"/>
                  <a:pt x="153" y="54"/>
                  <a:pt x="149" y="52"/>
                </a:cubicBezTo>
                <a:cubicBezTo>
                  <a:pt x="152" y="53"/>
                  <a:pt x="153" y="54"/>
                  <a:pt x="155" y="55"/>
                </a:cubicBezTo>
                <a:cubicBezTo>
                  <a:pt x="156" y="55"/>
                  <a:pt x="158" y="56"/>
                  <a:pt x="161" y="57"/>
                </a:cubicBezTo>
                <a:cubicBezTo>
                  <a:pt x="160" y="56"/>
                  <a:pt x="159" y="55"/>
                  <a:pt x="156" y="55"/>
                </a:cubicBezTo>
                <a:cubicBezTo>
                  <a:pt x="153" y="53"/>
                  <a:pt x="151" y="52"/>
                  <a:pt x="148" y="50"/>
                </a:cubicBezTo>
                <a:cubicBezTo>
                  <a:pt x="146" y="49"/>
                  <a:pt x="145" y="49"/>
                  <a:pt x="143" y="48"/>
                </a:cubicBezTo>
                <a:cubicBezTo>
                  <a:pt x="143" y="48"/>
                  <a:pt x="142" y="48"/>
                  <a:pt x="142" y="48"/>
                </a:cubicBezTo>
                <a:cubicBezTo>
                  <a:pt x="144" y="49"/>
                  <a:pt x="145" y="49"/>
                  <a:pt x="146" y="50"/>
                </a:cubicBezTo>
                <a:cubicBezTo>
                  <a:pt x="146" y="50"/>
                  <a:pt x="145" y="50"/>
                  <a:pt x="145" y="50"/>
                </a:cubicBezTo>
                <a:cubicBezTo>
                  <a:pt x="140" y="47"/>
                  <a:pt x="132" y="44"/>
                  <a:pt x="129" y="41"/>
                </a:cubicBezTo>
                <a:cubicBezTo>
                  <a:pt x="126" y="40"/>
                  <a:pt x="124" y="39"/>
                  <a:pt x="121" y="38"/>
                </a:cubicBezTo>
                <a:cubicBezTo>
                  <a:pt x="121" y="37"/>
                  <a:pt x="120" y="36"/>
                  <a:pt x="116" y="34"/>
                </a:cubicBezTo>
                <a:cubicBezTo>
                  <a:pt x="113" y="32"/>
                  <a:pt x="106" y="30"/>
                  <a:pt x="100" y="28"/>
                </a:cubicBezTo>
                <a:cubicBezTo>
                  <a:pt x="100" y="28"/>
                  <a:pt x="100" y="28"/>
                  <a:pt x="99" y="28"/>
                </a:cubicBezTo>
                <a:cubicBezTo>
                  <a:pt x="98" y="27"/>
                  <a:pt x="96" y="26"/>
                  <a:pt x="94" y="25"/>
                </a:cubicBezTo>
                <a:cubicBezTo>
                  <a:pt x="92" y="24"/>
                  <a:pt x="94" y="24"/>
                  <a:pt x="96" y="25"/>
                </a:cubicBezTo>
                <a:cubicBezTo>
                  <a:pt x="97" y="25"/>
                  <a:pt x="98" y="26"/>
                  <a:pt x="101" y="27"/>
                </a:cubicBezTo>
                <a:cubicBezTo>
                  <a:pt x="100" y="26"/>
                  <a:pt x="98" y="25"/>
                  <a:pt x="97" y="25"/>
                </a:cubicBezTo>
                <a:cubicBezTo>
                  <a:pt x="96" y="24"/>
                  <a:pt x="95" y="24"/>
                  <a:pt x="94" y="24"/>
                </a:cubicBezTo>
                <a:cubicBezTo>
                  <a:pt x="90" y="21"/>
                  <a:pt x="83" y="17"/>
                  <a:pt x="77" y="14"/>
                </a:cubicBezTo>
                <a:cubicBezTo>
                  <a:pt x="75" y="13"/>
                  <a:pt x="74" y="12"/>
                  <a:pt x="69" y="11"/>
                </a:cubicBezTo>
                <a:cubicBezTo>
                  <a:pt x="70" y="12"/>
                  <a:pt x="73" y="13"/>
                  <a:pt x="76" y="14"/>
                </a:cubicBezTo>
                <a:cubicBezTo>
                  <a:pt x="79" y="16"/>
                  <a:pt x="83" y="18"/>
                  <a:pt x="87" y="20"/>
                </a:cubicBezTo>
                <a:cubicBezTo>
                  <a:pt x="85" y="21"/>
                  <a:pt x="90" y="24"/>
                  <a:pt x="92" y="25"/>
                </a:cubicBezTo>
                <a:cubicBezTo>
                  <a:pt x="93" y="27"/>
                  <a:pt x="96" y="28"/>
                  <a:pt x="98" y="29"/>
                </a:cubicBezTo>
                <a:cubicBezTo>
                  <a:pt x="98" y="30"/>
                  <a:pt x="101" y="31"/>
                  <a:pt x="103" y="31"/>
                </a:cubicBezTo>
                <a:cubicBezTo>
                  <a:pt x="108" y="33"/>
                  <a:pt x="113" y="35"/>
                  <a:pt x="110" y="36"/>
                </a:cubicBezTo>
                <a:cubicBezTo>
                  <a:pt x="109" y="37"/>
                  <a:pt x="111" y="38"/>
                  <a:pt x="115" y="39"/>
                </a:cubicBezTo>
                <a:cubicBezTo>
                  <a:pt x="117" y="40"/>
                  <a:pt x="119" y="41"/>
                  <a:pt x="121" y="42"/>
                </a:cubicBezTo>
                <a:cubicBezTo>
                  <a:pt x="122" y="42"/>
                  <a:pt x="124" y="43"/>
                  <a:pt x="125" y="44"/>
                </a:cubicBezTo>
                <a:cubicBezTo>
                  <a:pt x="125" y="44"/>
                  <a:pt x="126" y="45"/>
                  <a:pt x="128" y="46"/>
                </a:cubicBezTo>
                <a:cubicBezTo>
                  <a:pt x="129" y="46"/>
                  <a:pt x="128" y="45"/>
                  <a:pt x="127" y="44"/>
                </a:cubicBezTo>
                <a:cubicBezTo>
                  <a:pt x="126" y="43"/>
                  <a:pt x="125" y="42"/>
                  <a:pt x="123" y="42"/>
                </a:cubicBezTo>
                <a:cubicBezTo>
                  <a:pt x="121" y="40"/>
                  <a:pt x="121" y="40"/>
                  <a:pt x="123" y="40"/>
                </a:cubicBezTo>
                <a:cubicBezTo>
                  <a:pt x="125" y="40"/>
                  <a:pt x="125" y="41"/>
                  <a:pt x="126" y="41"/>
                </a:cubicBezTo>
                <a:cubicBezTo>
                  <a:pt x="134" y="46"/>
                  <a:pt x="143" y="50"/>
                  <a:pt x="151" y="55"/>
                </a:cubicBezTo>
                <a:cubicBezTo>
                  <a:pt x="149" y="54"/>
                  <a:pt x="146" y="53"/>
                  <a:pt x="145" y="53"/>
                </a:cubicBezTo>
                <a:cubicBezTo>
                  <a:pt x="140" y="50"/>
                  <a:pt x="135" y="49"/>
                  <a:pt x="129" y="49"/>
                </a:cubicBezTo>
                <a:cubicBezTo>
                  <a:pt x="129" y="49"/>
                  <a:pt x="130" y="48"/>
                  <a:pt x="129" y="48"/>
                </a:cubicBezTo>
                <a:cubicBezTo>
                  <a:pt x="129" y="48"/>
                  <a:pt x="128" y="47"/>
                  <a:pt x="127" y="47"/>
                </a:cubicBezTo>
                <a:cubicBezTo>
                  <a:pt x="127" y="48"/>
                  <a:pt x="126" y="48"/>
                  <a:pt x="128" y="49"/>
                </a:cubicBezTo>
                <a:cubicBezTo>
                  <a:pt x="129" y="50"/>
                  <a:pt x="122" y="48"/>
                  <a:pt x="126" y="50"/>
                </a:cubicBezTo>
                <a:cubicBezTo>
                  <a:pt x="128" y="51"/>
                  <a:pt x="132" y="52"/>
                  <a:pt x="132" y="51"/>
                </a:cubicBezTo>
                <a:cubicBezTo>
                  <a:pt x="136" y="49"/>
                  <a:pt x="139" y="52"/>
                  <a:pt x="143" y="53"/>
                </a:cubicBezTo>
                <a:cubicBezTo>
                  <a:pt x="144" y="54"/>
                  <a:pt x="146" y="55"/>
                  <a:pt x="147" y="56"/>
                </a:cubicBezTo>
                <a:cubicBezTo>
                  <a:pt x="151" y="58"/>
                  <a:pt x="154" y="57"/>
                  <a:pt x="157" y="58"/>
                </a:cubicBezTo>
                <a:cubicBezTo>
                  <a:pt x="157" y="58"/>
                  <a:pt x="157" y="58"/>
                  <a:pt x="157" y="58"/>
                </a:cubicBezTo>
                <a:cubicBezTo>
                  <a:pt x="158" y="58"/>
                  <a:pt x="158" y="58"/>
                  <a:pt x="158" y="58"/>
                </a:cubicBezTo>
                <a:cubicBezTo>
                  <a:pt x="161" y="60"/>
                  <a:pt x="157" y="60"/>
                  <a:pt x="159" y="62"/>
                </a:cubicBezTo>
                <a:cubicBezTo>
                  <a:pt x="162" y="64"/>
                  <a:pt x="169" y="67"/>
                  <a:pt x="173" y="70"/>
                </a:cubicBezTo>
                <a:cubicBezTo>
                  <a:pt x="175" y="70"/>
                  <a:pt x="176" y="71"/>
                  <a:pt x="177" y="72"/>
                </a:cubicBezTo>
                <a:cubicBezTo>
                  <a:pt x="183" y="74"/>
                  <a:pt x="185" y="76"/>
                  <a:pt x="188" y="78"/>
                </a:cubicBezTo>
                <a:cubicBezTo>
                  <a:pt x="194" y="80"/>
                  <a:pt x="196" y="82"/>
                  <a:pt x="202" y="85"/>
                </a:cubicBezTo>
                <a:cubicBezTo>
                  <a:pt x="204" y="86"/>
                  <a:pt x="207" y="87"/>
                  <a:pt x="209" y="89"/>
                </a:cubicBezTo>
                <a:cubicBezTo>
                  <a:pt x="215" y="92"/>
                  <a:pt x="222" y="95"/>
                  <a:pt x="228" y="98"/>
                </a:cubicBezTo>
                <a:cubicBezTo>
                  <a:pt x="229" y="99"/>
                  <a:pt x="231" y="100"/>
                  <a:pt x="232" y="100"/>
                </a:cubicBezTo>
                <a:cubicBezTo>
                  <a:pt x="231" y="100"/>
                  <a:pt x="230" y="100"/>
                  <a:pt x="229" y="100"/>
                </a:cubicBezTo>
                <a:cubicBezTo>
                  <a:pt x="224" y="97"/>
                  <a:pt x="219" y="95"/>
                  <a:pt x="213" y="93"/>
                </a:cubicBezTo>
                <a:cubicBezTo>
                  <a:pt x="214" y="93"/>
                  <a:pt x="214" y="93"/>
                  <a:pt x="214" y="94"/>
                </a:cubicBezTo>
                <a:cubicBezTo>
                  <a:pt x="214" y="93"/>
                  <a:pt x="213" y="93"/>
                  <a:pt x="213" y="93"/>
                </a:cubicBezTo>
                <a:cubicBezTo>
                  <a:pt x="207" y="89"/>
                  <a:pt x="200" y="86"/>
                  <a:pt x="194" y="83"/>
                </a:cubicBezTo>
                <a:cubicBezTo>
                  <a:pt x="188" y="80"/>
                  <a:pt x="181" y="77"/>
                  <a:pt x="175" y="74"/>
                </a:cubicBezTo>
                <a:cubicBezTo>
                  <a:pt x="165" y="70"/>
                  <a:pt x="155" y="65"/>
                  <a:pt x="146" y="60"/>
                </a:cubicBezTo>
                <a:cubicBezTo>
                  <a:pt x="144" y="59"/>
                  <a:pt x="141" y="58"/>
                  <a:pt x="138" y="57"/>
                </a:cubicBezTo>
                <a:cubicBezTo>
                  <a:pt x="133" y="53"/>
                  <a:pt x="124" y="50"/>
                  <a:pt x="118" y="46"/>
                </a:cubicBezTo>
                <a:cubicBezTo>
                  <a:pt x="118" y="45"/>
                  <a:pt x="113" y="44"/>
                  <a:pt x="110" y="42"/>
                </a:cubicBezTo>
                <a:cubicBezTo>
                  <a:pt x="109" y="43"/>
                  <a:pt x="114" y="45"/>
                  <a:pt x="116" y="46"/>
                </a:cubicBezTo>
                <a:cubicBezTo>
                  <a:pt x="116" y="46"/>
                  <a:pt x="116" y="46"/>
                  <a:pt x="116" y="46"/>
                </a:cubicBezTo>
                <a:cubicBezTo>
                  <a:pt x="115" y="47"/>
                  <a:pt x="113" y="47"/>
                  <a:pt x="106" y="45"/>
                </a:cubicBezTo>
                <a:cubicBezTo>
                  <a:pt x="108" y="46"/>
                  <a:pt x="108" y="48"/>
                  <a:pt x="112" y="49"/>
                </a:cubicBezTo>
                <a:cubicBezTo>
                  <a:pt x="114" y="49"/>
                  <a:pt x="111" y="47"/>
                  <a:pt x="116" y="49"/>
                </a:cubicBezTo>
                <a:cubicBezTo>
                  <a:pt x="120" y="50"/>
                  <a:pt x="119" y="51"/>
                  <a:pt x="122" y="52"/>
                </a:cubicBezTo>
                <a:cubicBezTo>
                  <a:pt x="122" y="54"/>
                  <a:pt x="117" y="53"/>
                  <a:pt x="117" y="53"/>
                </a:cubicBezTo>
                <a:cubicBezTo>
                  <a:pt x="108" y="51"/>
                  <a:pt x="117" y="54"/>
                  <a:pt x="116" y="54"/>
                </a:cubicBezTo>
                <a:cubicBezTo>
                  <a:pt x="117" y="54"/>
                  <a:pt x="116" y="54"/>
                  <a:pt x="115" y="55"/>
                </a:cubicBezTo>
                <a:cubicBezTo>
                  <a:pt x="115" y="55"/>
                  <a:pt x="114" y="55"/>
                  <a:pt x="113" y="55"/>
                </a:cubicBezTo>
                <a:cubicBezTo>
                  <a:pt x="112" y="54"/>
                  <a:pt x="110" y="53"/>
                  <a:pt x="108" y="52"/>
                </a:cubicBezTo>
                <a:cubicBezTo>
                  <a:pt x="106" y="51"/>
                  <a:pt x="104" y="50"/>
                  <a:pt x="102" y="49"/>
                </a:cubicBezTo>
                <a:cubicBezTo>
                  <a:pt x="98" y="46"/>
                  <a:pt x="90" y="43"/>
                  <a:pt x="82" y="39"/>
                </a:cubicBezTo>
                <a:cubicBezTo>
                  <a:pt x="89" y="43"/>
                  <a:pt x="93" y="46"/>
                  <a:pt x="101" y="49"/>
                </a:cubicBezTo>
                <a:cubicBezTo>
                  <a:pt x="103" y="50"/>
                  <a:pt x="105" y="51"/>
                  <a:pt x="108" y="52"/>
                </a:cubicBezTo>
                <a:cubicBezTo>
                  <a:pt x="109" y="54"/>
                  <a:pt x="111" y="55"/>
                  <a:pt x="113" y="56"/>
                </a:cubicBezTo>
                <a:cubicBezTo>
                  <a:pt x="111" y="56"/>
                  <a:pt x="113" y="57"/>
                  <a:pt x="112" y="57"/>
                </a:cubicBezTo>
                <a:cubicBezTo>
                  <a:pt x="108" y="57"/>
                  <a:pt x="106" y="56"/>
                  <a:pt x="104" y="55"/>
                </a:cubicBezTo>
                <a:cubicBezTo>
                  <a:pt x="93" y="49"/>
                  <a:pt x="82" y="42"/>
                  <a:pt x="71" y="36"/>
                </a:cubicBezTo>
                <a:cubicBezTo>
                  <a:pt x="70" y="36"/>
                  <a:pt x="69" y="35"/>
                  <a:pt x="67" y="35"/>
                </a:cubicBezTo>
                <a:cubicBezTo>
                  <a:pt x="66" y="33"/>
                  <a:pt x="63" y="32"/>
                  <a:pt x="60" y="31"/>
                </a:cubicBezTo>
                <a:cubicBezTo>
                  <a:pt x="60" y="30"/>
                  <a:pt x="60" y="30"/>
                  <a:pt x="60" y="30"/>
                </a:cubicBezTo>
                <a:cubicBezTo>
                  <a:pt x="60" y="30"/>
                  <a:pt x="59" y="30"/>
                  <a:pt x="59" y="29"/>
                </a:cubicBezTo>
                <a:cubicBezTo>
                  <a:pt x="57" y="28"/>
                  <a:pt x="55" y="27"/>
                  <a:pt x="52" y="25"/>
                </a:cubicBezTo>
                <a:cubicBezTo>
                  <a:pt x="51" y="24"/>
                  <a:pt x="51" y="23"/>
                  <a:pt x="44" y="20"/>
                </a:cubicBezTo>
                <a:cubicBezTo>
                  <a:pt x="37" y="18"/>
                  <a:pt x="34" y="15"/>
                  <a:pt x="35" y="13"/>
                </a:cubicBezTo>
                <a:cubicBezTo>
                  <a:pt x="35" y="12"/>
                  <a:pt x="37" y="12"/>
                  <a:pt x="36" y="11"/>
                </a:cubicBezTo>
                <a:cubicBezTo>
                  <a:pt x="33" y="11"/>
                  <a:pt x="30" y="10"/>
                  <a:pt x="27" y="10"/>
                </a:cubicBezTo>
                <a:cubicBezTo>
                  <a:pt x="25" y="9"/>
                  <a:pt x="24" y="8"/>
                  <a:pt x="23" y="8"/>
                </a:cubicBezTo>
                <a:cubicBezTo>
                  <a:pt x="23" y="7"/>
                  <a:pt x="22" y="7"/>
                  <a:pt x="22" y="7"/>
                </a:cubicBezTo>
                <a:cubicBezTo>
                  <a:pt x="19" y="5"/>
                  <a:pt x="17" y="4"/>
                  <a:pt x="14" y="2"/>
                </a:cubicBezTo>
                <a:cubicBezTo>
                  <a:pt x="13" y="2"/>
                  <a:pt x="12" y="1"/>
                  <a:pt x="9" y="0"/>
                </a:cubicBezTo>
                <a:cubicBezTo>
                  <a:pt x="9" y="1"/>
                  <a:pt x="11" y="2"/>
                  <a:pt x="13" y="2"/>
                </a:cubicBezTo>
                <a:cubicBezTo>
                  <a:pt x="13" y="3"/>
                  <a:pt x="13" y="3"/>
                  <a:pt x="13" y="3"/>
                </a:cubicBezTo>
                <a:cubicBezTo>
                  <a:pt x="13" y="3"/>
                  <a:pt x="12" y="3"/>
                  <a:pt x="12" y="3"/>
                </a:cubicBezTo>
                <a:cubicBezTo>
                  <a:pt x="11" y="3"/>
                  <a:pt x="11" y="3"/>
                  <a:pt x="11" y="3"/>
                </a:cubicBezTo>
                <a:cubicBezTo>
                  <a:pt x="9" y="2"/>
                  <a:pt x="9" y="1"/>
                  <a:pt x="5" y="0"/>
                </a:cubicBezTo>
                <a:cubicBezTo>
                  <a:pt x="5" y="0"/>
                  <a:pt x="7" y="1"/>
                  <a:pt x="10" y="3"/>
                </a:cubicBezTo>
                <a:cubicBezTo>
                  <a:pt x="11" y="3"/>
                  <a:pt x="12" y="4"/>
                  <a:pt x="14" y="5"/>
                </a:cubicBezTo>
                <a:cubicBezTo>
                  <a:pt x="13" y="5"/>
                  <a:pt x="16" y="6"/>
                  <a:pt x="17" y="7"/>
                </a:cubicBezTo>
                <a:cubicBezTo>
                  <a:pt x="17" y="7"/>
                  <a:pt x="17" y="8"/>
                  <a:pt x="18" y="8"/>
                </a:cubicBezTo>
                <a:cubicBezTo>
                  <a:pt x="21" y="9"/>
                  <a:pt x="22" y="11"/>
                  <a:pt x="25" y="12"/>
                </a:cubicBezTo>
                <a:cubicBezTo>
                  <a:pt x="25" y="13"/>
                  <a:pt x="28" y="14"/>
                  <a:pt x="30" y="15"/>
                </a:cubicBezTo>
                <a:cubicBezTo>
                  <a:pt x="31" y="16"/>
                  <a:pt x="33" y="17"/>
                  <a:pt x="33" y="18"/>
                </a:cubicBezTo>
                <a:cubicBezTo>
                  <a:pt x="33" y="18"/>
                  <a:pt x="33" y="18"/>
                  <a:pt x="33" y="18"/>
                </a:cubicBezTo>
                <a:cubicBezTo>
                  <a:pt x="32" y="18"/>
                  <a:pt x="31" y="18"/>
                  <a:pt x="32" y="18"/>
                </a:cubicBezTo>
                <a:cubicBezTo>
                  <a:pt x="33" y="19"/>
                  <a:pt x="35" y="19"/>
                  <a:pt x="36" y="19"/>
                </a:cubicBezTo>
                <a:cubicBezTo>
                  <a:pt x="42" y="22"/>
                  <a:pt x="41" y="23"/>
                  <a:pt x="46" y="26"/>
                </a:cubicBezTo>
                <a:cubicBezTo>
                  <a:pt x="47" y="27"/>
                  <a:pt x="51" y="28"/>
                  <a:pt x="51" y="29"/>
                </a:cubicBezTo>
                <a:cubicBezTo>
                  <a:pt x="42" y="25"/>
                  <a:pt x="34" y="21"/>
                  <a:pt x="28" y="18"/>
                </a:cubicBezTo>
                <a:cubicBezTo>
                  <a:pt x="28" y="17"/>
                  <a:pt x="28" y="17"/>
                  <a:pt x="26" y="16"/>
                </a:cubicBezTo>
                <a:cubicBezTo>
                  <a:pt x="24" y="15"/>
                  <a:pt x="22" y="14"/>
                  <a:pt x="19" y="13"/>
                </a:cubicBezTo>
                <a:cubicBezTo>
                  <a:pt x="20" y="14"/>
                  <a:pt x="21" y="15"/>
                  <a:pt x="23" y="16"/>
                </a:cubicBezTo>
                <a:cubicBezTo>
                  <a:pt x="24" y="16"/>
                  <a:pt x="25" y="17"/>
                  <a:pt x="26" y="17"/>
                </a:cubicBezTo>
                <a:cubicBezTo>
                  <a:pt x="26" y="18"/>
                  <a:pt x="29" y="19"/>
                  <a:pt x="29" y="20"/>
                </a:cubicBezTo>
                <a:cubicBezTo>
                  <a:pt x="28" y="19"/>
                  <a:pt x="27" y="19"/>
                  <a:pt x="25" y="18"/>
                </a:cubicBezTo>
                <a:cubicBezTo>
                  <a:pt x="23" y="18"/>
                  <a:pt x="25" y="19"/>
                  <a:pt x="26" y="20"/>
                </a:cubicBezTo>
                <a:cubicBezTo>
                  <a:pt x="28" y="21"/>
                  <a:pt x="31" y="22"/>
                  <a:pt x="35" y="23"/>
                </a:cubicBezTo>
                <a:cubicBezTo>
                  <a:pt x="37" y="25"/>
                  <a:pt x="41" y="28"/>
                  <a:pt x="46" y="30"/>
                </a:cubicBezTo>
                <a:cubicBezTo>
                  <a:pt x="50" y="32"/>
                  <a:pt x="43" y="31"/>
                  <a:pt x="43" y="33"/>
                </a:cubicBezTo>
                <a:cubicBezTo>
                  <a:pt x="42" y="33"/>
                  <a:pt x="41" y="33"/>
                  <a:pt x="39" y="32"/>
                </a:cubicBezTo>
                <a:cubicBezTo>
                  <a:pt x="35" y="30"/>
                  <a:pt x="31" y="28"/>
                  <a:pt x="29" y="26"/>
                </a:cubicBezTo>
                <a:cubicBezTo>
                  <a:pt x="31" y="25"/>
                  <a:pt x="33" y="27"/>
                  <a:pt x="35" y="27"/>
                </a:cubicBezTo>
                <a:cubicBezTo>
                  <a:pt x="33" y="26"/>
                  <a:pt x="32" y="24"/>
                  <a:pt x="28" y="24"/>
                </a:cubicBezTo>
                <a:cubicBezTo>
                  <a:pt x="25" y="23"/>
                  <a:pt x="28" y="25"/>
                  <a:pt x="27" y="25"/>
                </a:cubicBezTo>
                <a:cubicBezTo>
                  <a:pt x="22" y="24"/>
                  <a:pt x="22" y="25"/>
                  <a:pt x="24" y="26"/>
                </a:cubicBezTo>
                <a:cubicBezTo>
                  <a:pt x="28" y="28"/>
                  <a:pt x="32" y="30"/>
                  <a:pt x="36" y="32"/>
                </a:cubicBezTo>
                <a:cubicBezTo>
                  <a:pt x="37" y="33"/>
                  <a:pt x="41" y="34"/>
                  <a:pt x="40" y="35"/>
                </a:cubicBezTo>
                <a:cubicBezTo>
                  <a:pt x="36" y="34"/>
                  <a:pt x="40" y="36"/>
                  <a:pt x="39" y="36"/>
                </a:cubicBezTo>
                <a:cubicBezTo>
                  <a:pt x="36" y="36"/>
                  <a:pt x="35" y="35"/>
                  <a:pt x="33" y="35"/>
                </a:cubicBezTo>
                <a:cubicBezTo>
                  <a:pt x="27" y="33"/>
                  <a:pt x="26" y="31"/>
                  <a:pt x="19" y="29"/>
                </a:cubicBezTo>
                <a:cubicBezTo>
                  <a:pt x="20" y="30"/>
                  <a:pt x="25" y="31"/>
                  <a:pt x="25" y="32"/>
                </a:cubicBezTo>
                <a:cubicBezTo>
                  <a:pt x="25" y="34"/>
                  <a:pt x="35" y="37"/>
                  <a:pt x="32" y="38"/>
                </a:cubicBezTo>
                <a:cubicBezTo>
                  <a:pt x="31" y="38"/>
                  <a:pt x="30" y="37"/>
                  <a:pt x="29" y="37"/>
                </a:cubicBezTo>
                <a:cubicBezTo>
                  <a:pt x="29" y="35"/>
                  <a:pt x="21" y="33"/>
                  <a:pt x="18" y="31"/>
                </a:cubicBezTo>
                <a:cubicBezTo>
                  <a:pt x="19" y="33"/>
                  <a:pt x="21" y="34"/>
                  <a:pt x="25" y="36"/>
                </a:cubicBezTo>
                <a:cubicBezTo>
                  <a:pt x="29" y="38"/>
                  <a:pt x="34" y="40"/>
                  <a:pt x="38" y="43"/>
                </a:cubicBezTo>
                <a:cubicBezTo>
                  <a:pt x="33" y="41"/>
                  <a:pt x="29" y="40"/>
                  <a:pt x="24" y="38"/>
                </a:cubicBezTo>
                <a:cubicBezTo>
                  <a:pt x="24" y="37"/>
                  <a:pt x="23" y="36"/>
                  <a:pt x="21" y="35"/>
                </a:cubicBezTo>
                <a:cubicBezTo>
                  <a:pt x="19" y="35"/>
                  <a:pt x="19" y="36"/>
                  <a:pt x="21" y="37"/>
                </a:cubicBezTo>
                <a:cubicBezTo>
                  <a:pt x="22" y="38"/>
                  <a:pt x="22" y="38"/>
                  <a:pt x="22" y="38"/>
                </a:cubicBezTo>
                <a:cubicBezTo>
                  <a:pt x="28" y="44"/>
                  <a:pt x="35" y="49"/>
                  <a:pt x="44" y="55"/>
                </a:cubicBezTo>
                <a:cubicBezTo>
                  <a:pt x="43" y="55"/>
                  <a:pt x="43" y="55"/>
                  <a:pt x="42" y="54"/>
                </a:cubicBezTo>
                <a:cubicBezTo>
                  <a:pt x="34" y="50"/>
                  <a:pt x="25" y="45"/>
                  <a:pt x="17" y="40"/>
                </a:cubicBezTo>
                <a:cubicBezTo>
                  <a:pt x="12" y="37"/>
                  <a:pt x="6" y="34"/>
                  <a:pt x="0" y="31"/>
                </a:cubicBezTo>
                <a:cubicBezTo>
                  <a:pt x="0" y="84"/>
                  <a:pt x="0" y="84"/>
                  <a:pt x="0" y="84"/>
                </a:cubicBezTo>
                <a:cubicBezTo>
                  <a:pt x="0" y="84"/>
                  <a:pt x="1" y="85"/>
                  <a:pt x="1" y="85"/>
                </a:cubicBezTo>
                <a:cubicBezTo>
                  <a:pt x="2" y="86"/>
                  <a:pt x="3" y="86"/>
                  <a:pt x="4" y="87"/>
                </a:cubicBezTo>
                <a:cubicBezTo>
                  <a:pt x="4" y="87"/>
                  <a:pt x="5" y="88"/>
                  <a:pt x="6" y="88"/>
                </a:cubicBezTo>
                <a:cubicBezTo>
                  <a:pt x="4" y="88"/>
                  <a:pt x="2" y="88"/>
                  <a:pt x="0" y="88"/>
                </a:cubicBezTo>
                <a:cubicBezTo>
                  <a:pt x="0" y="107"/>
                  <a:pt x="0" y="107"/>
                  <a:pt x="0" y="107"/>
                </a:cubicBezTo>
                <a:cubicBezTo>
                  <a:pt x="0" y="107"/>
                  <a:pt x="0" y="107"/>
                  <a:pt x="1" y="107"/>
                </a:cubicBezTo>
                <a:cubicBezTo>
                  <a:pt x="1" y="108"/>
                  <a:pt x="1" y="108"/>
                  <a:pt x="2" y="109"/>
                </a:cubicBezTo>
                <a:cubicBezTo>
                  <a:pt x="1" y="109"/>
                  <a:pt x="1" y="109"/>
                  <a:pt x="0" y="109"/>
                </a:cubicBezTo>
                <a:cubicBezTo>
                  <a:pt x="0" y="109"/>
                  <a:pt x="0" y="109"/>
                  <a:pt x="0" y="108"/>
                </a:cubicBezTo>
                <a:cubicBezTo>
                  <a:pt x="0" y="126"/>
                  <a:pt x="0" y="126"/>
                  <a:pt x="0" y="126"/>
                </a:cubicBezTo>
                <a:cubicBezTo>
                  <a:pt x="0" y="127"/>
                  <a:pt x="0" y="127"/>
                  <a:pt x="0" y="127"/>
                </a:cubicBezTo>
                <a:cubicBezTo>
                  <a:pt x="0" y="127"/>
                  <a:pt x="0" y="127"/>
                  <a:pt x="0" y="127"/>
                </a:cubicBezTo>
                <a:cubicBezTo>
                  <a:pt x="0" y="158"/>
                  <a:pt x="0" y="158"/>
                  <a:pt x="0" y="158"/>
                </a:cubicBezTo>
                <a:cubicBezTo>
                  <a:pt x="0" y="158"/>
                  <a:pt x="0" y="158"/>
                  <a:pt x="0" y="158"/>
                </a:cubicBezTo>
                <a:cubicBezTo>
                  <a:pt x="0" y="159"/>
                  <a:pt x="0" y="159"/>
                  <a:pt x="0" y="159"/>
                </a:cubicBezTo>
                <a:cubicBezTo>
                  <a:pt x="0" y="159"/>
                  <a:pt x="0" y="159"/>
                  <a:pt x="0" y="159"/>
                </a:cubicBezTo>
                <a:cubicBezTo>
                  <a:pt x="0" y="173"/>
                  <a:pt x="0" y="173"/>
                  <a:pt x="0" y="173"/>
                </a:cubicBezTo>
                <a:cubicBezTo>
                  <a:pt x="0" y="173"/>
                  <a:pt x="0" y="173"/>
                  <a:pt x="0" y="173"/>
                </a:cubicBezTo>
                <a:cubicBezTo>
                  <a:pt x="0" y="173"/>
                  <a:pt x="0" y="173"/>
                  <a:pt x="0" y="173"/>
                </a:cubicBezTo>
                <a:cubicBezTo>
                  <a:pt x="0" y="173"/>
                  <a:pt x="0" y="173"/>
                  <a:pt x="0" y="173"/>
                </a:cubicBezTo>
                <a:cubicBezTo>
                  <a:pt x="0" y="220"/>
                  <a:pt x="0" y="220"/>
                  <a:pt x="0" y="220"/>
                </a:cubicBezTo>
                <a:cubicBezTo>
                  <a:pt x="1" y="220"/>
                  <a:pt x="2" y="220"/>
                  <a:pt x="3" y="221"/>
                </a:cubicBezTo>
                <a:cubicBezTo>
                  <a:pt x="3" y="221"/>
                  <a:pt x="3" y="221"/>
                  <a:pt x="3" y="221"/>
                </a:cubicBezTo>
                <a:cubicBezTo>
                  <a:pt x="3" y="221"/>
                  <a:pt x="3" y="221"/>
                  <a:pt x="3" y="221"/>
                </a:cubicBezTo>
                <a:cubicBezTo>
                  <a:pt x="3" y="221"/>
                  <a:pt x="3" y="221"/>
                  <a:pt x="3" y="221"/>
                </a:cubicBezTo>
                <a:cubicBezTo>
                  <a:pt x="2" y="221"/>
                  <a:pt x="1" y="220"/>
                  <a:pt x="0" y="220"/>
                </a:cubicBezTo>
                <a:cubicBezTo>
                  <a:pt x="0" y="220"/>
                  <a:pt x="0" y="220"/>
                  <a:pt x="0" y="220"/>
                </a:cubicBezTo>
                <a:cubicBezTo>
                  <a:pt x="0" y="220"/>
                  <a:pt x="0" y="220"/>
                  <a:pt x="0" y="220"/>
                </a:cubicBezTo>
                <a:cubicBezTo>
                  <a:pt x="0" y="223"/>
                  <a:pt x="0" y="223"/>
                  <a:pt x="0" y="223"/>
                </a:cubicBezTo>
                <a:cubicBezTo>
                  <a:pt x="0" y="223"/>
                  <a:pt x="0" y="223"/>
                  <a:pt x="0" y="223"/>
                </a:cubicBezTo>
                <a:cubicBezTo>
                  <a:pt x="0" y="223"/>
                  <a:pt x="0" y="223"/>
                  <a:pt x="0" y="223"/>
                </a:cubicBezTo>
                <a:cubicBezTo>
                  <a:pt x="0" y="223"/>
                  <a:pt x="0" y="223"/>
                  <a:pt x="0" y="223"/>
                </a:cubicBezTo>
                <a:cubicBezTo>
                  <a:pt x="0" y="229"/>
                  <a:pt x="0" y="229"/>
                  <a:pt x="0" y="229"/>
                </a:cubicBezTo>
                <a:cubicBezTo>
                  <a:pt x="13" y="229"/>
                  <a:pt x="13" y="229"/>
                  <a:pt x="13" y="229"/>
                </a:cubicBezTo>
                <a:cubicBezTo>
                  <a:pt x="18" y="231"/>
                  <a:pt x="23" y="234"/>
                  <a:pt x="28" y="236"/>
                </a:cubicBezTo>
                <a:cubicBezTo>
                  <a:pt x="42" y="243"/>
                  <a:pt x="57" y="249"/>
                  <a:pt x="70" y="256"/>
                </a:cubicBezTo>
                <a:cubicBezTo>
                  <a:pt x="70" y="256"/>
                  <a:pt x="70" y="256"/>
                  <a:pt x="70" y="256"/>
                </a:cubicBezTo>
                <a:cubicBezTo>
                  <a:pt x="72" y="257"/>
                  <a:pt x="73" y="258"/>
                  <a:pt x="76" y="258"/>
                </a:cubicBezTo>
                <a:cubicBezTo>
                  <a:pt x="78" y="259"/>
                  <a:pt x="79" y="260"/>
                  <a:pt x="81" y="261"/>
                </a:cubicBezTo>
                <a:cubicBezTo>
                  <a:pt x="80" y="260"/>
                  <a:pt x="77" y="259"/>
                  <a:pt x="77" y="258"/>
                </a:cubicBezTo>
                <a:cubicBezTo>
                  <a:pt x="76" y="258"/>
                  <a:pt x="75" y="257"/>
                  <a:pt x="75" y="257"/>
                </a:cubicBezTo>
                <a:cubicBezTo>
                  <a:pt x="74" y="256"/>
                  <a:pt x="72" y="256"/>
                  <a:pt x="72" y="255"/>
                </a:cubicBezTo>
                <a:cubicBezTo>
                  <a:pt x="74" y="255"/>
                  <a:pt x="70" y="254"/>
                  <a:pt x="71" y="254"/>
                </a:cubicBezTo>
                <a:cubicBezTo>
                  <a:pt x="72" y="254"/>
                  <a:pt x="73" y="254"/>
                  <a:pt x="73" y="254"/>
                </a:cubicBezTo>
                <a:cubicBezTo>
                  <a:pt x="73" y="254"/>
                  <a:pt x="71" y="253"/>
                  <a:pt x="70" y="253"/>
                </a:cubicBezTo>
                <a:cubicBezTo>
                  <a:pt x="69" y="252"/>
                  <a:pt x="67" y="252"/>
                  <a:pt x="67" y="251"/>
                </a:cubicBezTo>
                <a:cubicBezTo>
                  <a:pt x="68" y="252"/>
                  <a:pt x="70" y="252"/>
                  <a:pt x="71" y="253"/>
                </a:cubicBezTo>
                <a:cubicBezTo>
                  <a:pt x="72" y="253"/>
                  <a:pt x="72" y="253"/>
                  <a:pt x="72" y="253"/>
                </a:cubicBezTo>
                <a:cubicBezTo>
                  <a:pt x="70" y="252"/>
                  <a:pt x="69" y="251"/>
                  <a:pt x="67" y="251"/>
                </a:cubicBezTo>
                <a:cubicBezTo>
                  <a:pt x="66" y="250"/>
                  <a:pt x="65" y="249"/>
                  <a:pt x="63" y="249"/>
                </a:cubicBezTo>
                <a:cubicBezTo>
                  <a:pt x="63" y="248"/>
                  <a:pt x="64" y="248"/>
                  <a:pt x="64" y="248"/>
                </a:cubicBezTo>
                <a:cubicBezTo>
                  <a:pt x="66" y="249"/>
                  <a:pt x="68" y="250"/>
                  <a:pt x="70" y="251"/>
                </a:cubicBezTo>
                <a:cubicBezTo>
                  <a:pt x="74" y="253"/>
                  <a:pt x="79" y="255"/>
                  <a:pt x="84" y="258"/>
                </a:cubicBezTo>
                <a:cubicBezTo>
                  <a:pt x="84" y="258"/>
                  <a:pt x="85" y="258"/>
                  <a:pt x="85" y="258"/>
                </a:cubicBezTo>
                <a:cubicBezTo>
                  <a:pt x="86" y="259"/>
                  <a:pt x="88" y="259"/>
                  <a:pt x="89" y="260"/>
                </a:cubicBezTo>
                <a:cubicBezTo>
                  <a:pt x="90" y="260"/>
                  <a:pt x="91" y="261"/>
                  <a:pt x="93" y="261"/>
                </a:cubicBezTo>
                <a:cubicBezTo>
                  <a:pt x="95" y="262"/>
                  <a:pt x="96" y="263"/>
                  <a:pt x="99" y="264"/>
                </a:cubicBezTo>
                <a:cubicBezTo>
                  <a:pt x="99" y="263"/>
                  <a:pt x="97" y="262"/>
                  <a:pt x="94" y="261"/>
                </a:cubicBezTo>
                <a:cubicBezTo>
                  <a:pt x="90" y="258"/>
                  <a:pt x="86" y="257"/>
                  <a:pt x="82" y="256"/>
                </a:cubicBezTo>
                <a:cubicBezTo>
                  <a:pt x="77" y="254"/>
                  <a:pt x="73" y="252"/>
                  <a:pt x="68" y="250"/>
                </a:cubicBezTo>
                <a:cubicBezTo>
                  <a:pt x="65" y="248"/>
                  <a:pt x="61" y="247"/>
                  <a:pt x="58" y="245"/>
                </a:cubicBezTo>
                <a:cubicBezTo>
                  <a:pt x="56" y="244"/>
                  <a:pt x="54" y="243"/>
                  <a:pt x="52" y="242"/>
                </a:cubicBezTo>
                <a:cubicBezTo>
                  <a:pt x="51" y="241"/>
                  <a:pt x="49" y="240"/>
                  <a:pt x="48" y="240"/>
                </a:cubicBezTo>
                <a:cubicBezTo>
                  <a:pt x="50" y="240"/>
                  <a:pt x="51" y="241"/>
                  <a:pt x="53" y="242"/>
                </a:cubicBezTo>
                <a:cubicBezTo>
                  <a:pt x="53" y="242"/>
                  <a:pt x="54" y="242"/>
                  <a:pt x="55" y="242"/>
                </a:cubicBezTo>
                <a:cubicBezTo>
                  <a:pt x="55" y="242"/>
                  <a:pt x="55" y="242"/>
                  <a:pt x="55" y="242"/>
                </a:cubicBezTo>
                <a:cubicBezTo>
                  <a:pt x="55" y="242"/>
                  <a:pt x="53" y="241"/>
                  <a:pt x="51" y="240"/>
                </a:cubicBezTo>
                <a:cubicBezTo>
                  <a:pt x="51" y="240"/>
                  <a:pt x="50" y="240"/>
                  <a:pt x="50" y="239"/>
                </a:cubicBezTo>
                <a:cubicBezTo>
                  <a:pt x="48" y="239"/>
                  <a:pt x="47" y="238"/>
                  <a:pt x="46" y="237"/>
                </a:cubicBezTo>
                <a:cubicBezTo>
                  <a:pt x="44" y="237"/>
                  <a:pt x="43" y="237"/>
                  <a:pt x="41" y="236"/>
                </a:cubicBezTo>
                <a:cubicBezTo>
                  <a:pt x="41" y="236"/>
                  <a:pt x="41" y="235"/>
                  <a:pt x="41" y="235"/>
                </a:cubicBezTo>
                <a:cubicBezTo>
                  <a:pt x="39" y="234"/>
                  <a:pt x="38" y="233"/>
                  <a:pt x="35" y="233"/>
                </a:cubicBezTo>
                <a:cubicBezTo>
                  <a:pt x="33" y="232"/>
                  <a:pt x="31" y="230"/>
                  <a:pt x="28" y="229"/>
                </a:cubicBezTo>
                <a:cubicBezTo>
                  <a:pt x="28" y="229"/>
                  <a:pt x="28" y="229"/>
                  <a:pt x="28" y="229"/>
                </a:cubicBezTo>
                <a:cubicBezTo>
                  <a:pt x="33" y="229"/>
                  <a:pt x="33" y="229"/>
                  <a:pt x="33" y="229"/>
                </a:cubicBezTo>
                <a:cubicBezTo>
                  <a:pt x="41" y="233"/>
                  <a:pt x="49" y="236"/>
                  <a:pt x="57" y="240"/>
                </a:cubicBezTo>
                <a:cubicBezTo>
                  <a:pt x="58" y="240"/>
                  <a:pt x="59" y="240"/>
                  <a:pt x="60" y="241"/>
                </a:cubicBezTo>
                <a:cubicBezTo>
                  <a:pt x="63" y="242"/>
                  <a:pt x="66" y="244"/>
                  <a:pt x="69" y="245"/>
                </a:cubicBezTo>
                <a:cubicBezTo>
                  <a:pt x="70" y="246"/>
                  <a:pt x="71" y="246"/>
                  <a:pt x="71" y="246"/>
                </a:cubicBezTo>
                <a:cubicBezTo>
                  <a:pt x="72" y="246"/>
                  <a:pt x="73" y="246"/>
                  <a:pt x="74" y="246"/>
                </a:cubicBezTo>
                <a:cubicBezTo>
                  <a:pt x="87" y="252"/>
                  <a:pt x="98" y="259"/>
                  <a:pt x="112" y="265"/>
                </a:cubicBezTo>
                <a:cubicBezTo>
                  <a:pt x="112" y="266"/>
                  <a:pt x="114" y="267"/>
                  <a:pt x="116" y="268"/>
                </a:cubicBezTo>
                <a:cubicBezTo>
                  <a:pt x="117" y="268"/>
                  <a:pt x="117" y="269"/>
                  <a:pt x="121" y="269"/>
                </a:cubicBezTo>
                <a:cubicBezTo>
                  <a:pt x="122" y="269"/>
                  <a:pt x="124" y="270"/>
                  <a:pt x="125" y="271"/>
                </a:cubicBezTo>
                <a:cubicBezTo>
                  <a:pt x="130" y="273"/>
                  <a:pt x="133" y="275"/>
                  <a:pt x="139" y="277"/>
                </a:cubicBezTo>
                <a:cubicBezTo>
                  <a:pt x="137" y="276"/>
                  <a:pt x="133" y="274"/>
                  <a:pt x="133" y="273"/>
                </a:cubicBezTo>
                <a:cubicBezTo>
                  <a:pt x="143" y="277"/>
                  <a:pt x="152" y="281"/>
                  <a:pt x="160" y="286"/>
                </a:cubicBezTo>
                <a:cubicBezTo>
                  <a:pt x="162" y="287"/>
                  <a:pt x="164" y="288"/>
                  <a:pt x="168" y="289"/>
                </a:cubicBezTo>
                <a:cubicBezTo>
                  <a:pt x="168" y="289"/>
                  <a:pt x="169" y="290"/>
                  <a:pt x="169" y="290"/>
                </a:cubicBezTo>
                <a:cubicBezTo>
                  <a:pt x="171" y="291"/>
                  <a:pt x="176" y="293"/>
                  <a:pt x="178" y="295"/>
                </a:cubicBezTo>
                <a:cubicBezTo>
                  <a:pt x="179" y="295"/>
                  <a:pt x="179" y="295"/>
                  <a:pt x="179" y="295"/>
                </a:cubicBezTo>
                <a:cubicBezTo>
                  <a:pt x="179" y="295"/>
                  <a:pt x="179" y="295"/>
                  <a:pt x="179" y="295"/>
                </a:cubicBezTo>
                <a:cubicBezTo>
                  <a:pt x="179" y="295"/>
                  <a:pt x="179" y="295"/>
                  <a:pt x="178" y="295"/>
                </a:cubicBezTo>
                <a:cubicBezTo>
                  <a:pt x="181" y="297"/>
                  <a:pt x="186" y="299"/>
                  <a:pt x="190" y="301"/>
                </a:cubicBezTo>
                <a:cubicBezTo>
                  <a:pt x="195" y="303"/>
                  <a:pt x="200" y="306"/>
                  <a:pt x="202" y="308"/>
                </a:cubicBezTo>
                <a:cubicBezTo>
                  <a:pt x="203" y="309"/>
                  <a:pt x="204" y="309"/>
                  <a:pt x="204" y="309"/>
                </a:cubicBezTo>
                <a:cubicBezTo>
                  <a:pt x="208" y="311"/>
                  <a:pt x="214" y="314"/>
                  <a:pt x="218" y="316"/>
                </a:cubicBezTo>
                <a:cubicBezTo>
                  <a:pt x="219" y="317"/>
                  <a:pt x="221" y="318"/>
                  <a:pt x="224" y="318"/>
                </a:cubicBezTo>
                <a:cubicBezTo>
                  <a:pt x="225" y="318"/>
                  <a:pt x="226" y="319"/>
                  <a:pt x="228" y="320"/>
                </a:cubicBezTo>
                <a:cubicBezTo>
                  <a:pt x="228" y="320"/>
                  <a:pt x="229" y="320"/>
                  <a:pt x="229" y="320"/>
                </a:cubicBezTo>
                <a:cubicBezTo>
                  <a:pt x="229" y="320"/>
                  <a:pt x="229" y="320"/>
                  <a:pt x="229" y="320"/>
                </a:cubicBezTo>
                <a:cubicBezTo>
                  <a:pt x="226" y="317"/>
                  <a:pt x="221" y="315"/>
                  <a:pt x="216" y="313"/>
                </a:cubicBezTo>
                <a:cubicBezTo>
                  <a:pt x="214" y="312"/>
                  <a:pt x="211" y="311"/>
                  <a:pt x="211" y="310"/>
                </a:cubicBezTo>
                <a:cubicBezTo>
                  <a:pt x="204" y="309"/>
                  <a:pt x="209" y="308"/>
                  <a:pt x="204" y="306"/>
                </a:cubicBezTo>
                <a:cubicBezTo>
                  <a:pt x="204" y="306"/>
                  <a:pt x="204" y="306"/>
                  <a:pt x="204" y="306"/>
                </a:cubicBezTo>
                <a:cubicBezTo>
                  <a:pt x="203" y="305"/>
                  <a:pt x="203" y="304"/>
                  <a:pt x="200" y="303"/>
                </a:cubicBezTo>
                <a:cubicBezTo>
                  <a:pt x="197" y="302"/>
                  <a:pt x="193" y="300"/>
                  <a:pt x="191" y="299"/>
                </a:cubicBezTo>
                <a:cubicBezTo>
                  <a:pt x="189" y="297"/>
                  <a:pt x="188" y="298"/>
                  <a:pt x="186" y="298"/>
                </a:cubicBezTo>
                <a:cubicBezTo>
                  <a:pt x="186" y="297"/>
                  <a:pt x="188" y="297"/>
                  <a:pt x="185" y="296"/>
                </a:cubicBezTo>
                <a:cubicBezTo>
                  <a:pt x="185" y="295"/>
                  <a:pt x="181" y="294"/>
                  <a:pt x="181" y="293"/>
                </a:cubicBezTo>
                <a:cubicBezTo>
                  <a:pt x="181" y="293"/>
                  <a:pt x="182" y="293"/>
                  <a:pt x="182" y="293"/>
                </a:cubicBezTo>
                <a:cubicBezTo>
                  <a:pt x="184" y="293"/>
                  <a:pt x="183" y="293"/>
                  <a:pt x="183" y="292"/>
                </a:cubicBezTo>
                <a:cubicBezTo>
                  <a:pt x="187" y="293"/>
                  <a:pt x="190" y="295"/>
                  <a:pt x="190" y="295"/>
                </a:cubicBezTo>
                <a:cubicBezTo>
                  <a:pt x="190" y="297"/>
                  <a:pt x="192" y="297"/>
                  <a:pt x="196" y="298"/>
                </a:cubicBezTo>
                <a:cubicBezTo>
                  <a:pt x="198" y="299"/>
                  <a:pt x="200" y="300"/>
                  <a:pt x="201" y="301"/>
                </a:cubicBezTo>
                <a:cubicBezTo>
                  <a:pt x="202" y="301"/>
                  <a:pt x="204" y="302"/>
                  <a:pt x="206" y="302"/>
                </a:cubicBezTo>
                <a:cubicBezTo>
                  <a:pt x="206" y="303"/>
                  <a:pt x="206" y="303"/>
                  <a:pt x="207" y="303"/>
                </a:cubicBezTo>
                <a:cubicBezTo>
                  <a:pt x="210" y="304"/>
                  <a:pt x="214" y="306"/>
                  <a:pt x="218" y="308"/>
                </a:cubicBezTo>
                <a:cubicBezTo>
                  <a:pt x="218" y="308"/>
                  <a:pt x="218" y="308"/>
                  <a:pt x="218" y="308"/>
                </a:cubicBezTo>
                <a:cubicBezTo>
                  <a:pt x="218" y="308"/>
                  <a:pt x="218" y="308"/>
                  <a:pt x="218" y="308"/>
                </a:cubicBezTo>
                <a:cubicBezTo>
                  <a:pt x="218" y="308"/>
                  <a:pt x="218" y="308"/>
                  <a:pt x="218" y="308"/>
                </a:cubicBezTo>
                <a:cubicBezTo>
                  <a:pt x="220" y="309"/>
                  <a:pt x="223" y="310"/>
                  <a:pt x="225" y="311"/>
                </a:cubicBezTo>
                <a:cubicBezTo>
                  <a:pt x="229" y="312"/>
                  <a:pt x="232" y="314"/>
                  <a:pt x="236" y="316"/>
                </a:cubicBezTo>
                <a:cubicBezTo>
                  <a:pt x="235" y="314"/>
                  <a:pt x="225" y="311"/>
                  <a:pt x="227" y="310"/>
                </a:cubicBezTo>
                <a:cubicBezTo>
                  <a:pt x="228" y="310"/>
                  <a:pt x="228" y="309"/>
                  <a:pt x="228" y="309"/>
                </a:cubicBezTo>
                <a:cubicBezTo>
                  <a:pt x="228" y="309"/>
                  <a:pt x="228" y="308"/>
                  <a:pt x="227" y="308"/>
                </a:cubicBezTo>
                <a:cubicBezTo>
                  <a:pt x="225" y="308"/>
                  <a:pt x="223" y="307"/>
                  <a:pt x="220" y="306"/>
                </a:cubicBezTo>
                <a:cubicBezTo>
                  <a:pt x="220" y="306"/>
                  <a:pt x="219" y="305"/>
                  <a:pt x="218" y="305"/>
                </a:cubicBezTo>
                <a:cubicBezTo>
                  <a:pt x="217" y="305"/>
                  <a:pt x="216" y="304"/>
                  <a:pt x="216" y="304"/>
                </a:cubicBezTo>
                <a:cubicBezTo>
                  <a:pt x="210" y="301"/>
                  <a:pt x="206" y="298"/>
                  <a:pt x="202" y="296"/>
                </a:cubicBezTo>
                <a:cubicBezTo>
                  <a:pt x="204" y="296"/>
                  <a:pt x="206" y="297"/>
                  <a:pt x="208" y="298"/>
                </a:cubicBezTo>
                <a:cubicBezTo>
                  <a:pt x="208" y="297"/>
                  <a:pt x="204" y="296"/>
                  <a:pt x="203" y="295"/>
                </a:cubicBezTo>
                <a:cubicBezTo>
                  <a:pt x="203" y="295"/>
                  <a:pt x="203" y="295"/>
                  <a:pt x="204" y="295"/>
                </a:cubicBezTo>
                <a:cubicBezTo>
                  <a:pt x="204" y="295"/>
                  <a:pt x="204" y="295"/>
                  <a:pt x="204" y="295"/>
                </a:cubicBezTo>
                <a:cubicBezTo>
                  <a:pt x="204" y="295"/>
                  <a:pt x="204" y="294"/>
                  <a:pt x="205" y="295"/>
                </a:cubicBezTo>
                <a:cubicBezTo>
                  <a:pt x="208" y="296"/>
                  <a:pt x="209" y="296"/>
                  <a:pt x="210" y="296"/>
                </a:cubicBezTo>
                <a:cubicBezTo>
                  <a:pt x="211" y="295"/>
                  <a:pt x="209" y="295"/>
                  <a:pt x="208" y="294"/>
                </a:cubicBezTo>
                <a:cubicBezTo>
                  <a:pt x="205" y="293"/>
                  <a:pt x="202" y="292"/>
                  <a:pt x="201" y="291"/>
                </a:cubicBezTo>
                <a:cubicBezTo>
                  <a:pt x="199" y="289"/>
                  <a:pt x="197" y="289"/>
                  <a:pt x="195" y="289"/>
                </a:cubicBezTo>
                <a:cubicBezTo>
                  <a:pt x="193" y="288"/>
                  <a:pt x="191" y="287"/>
                  <a:pt x="187" y="285"/>
                </a:cubicBezTo>
                <a:cubicBezTo>
                  <a:pt x="189" y="287"/>
                  <a:pt x="191" y="288"/>
                  <a:pt x="195" y="289"/>
                </a:cubicBezTo>
                <a:cubicBezTo>
                  <a:pt x="197" y="290"/>
                  <a:pt x="199" y="291"/>
                  <a:pt x="201" y="292"/>
                </a:cubicBezTo>
                <a:cubicBezTo>
                  <a:pt x="203" y="293"/>
                  <a:pt x="203" y="294"/>
                  <a:pt x="201" y="294"/>
                </a:cubicBezTo>
                <a:cubicBezTo>
                  <a:pt x="199" y="293"/>
                  <a:pt x="196" y="291"/>
                  <a:pt x="195" y="293"/>
                </a:cubicBezTo>
                <a:cubicBezTo>
                  <a:pt x="195" y="292"/>
                  <a:pt x="194" y="292"/>
                  <a:pt x="193" y="292"/>
                </a:cubicBezTo>
                <a:cubicBezTo>
                  <a:pt x="193" y="291"/>
                  <a:pt x="191" y="290"/>
                  <a:pt x="189" y="290"/>
                </a:cubicBezTo>
                <a:cubicBezTo>
                  <a:pt x="184" y="287"/>
                  <a:pt x="178" y="284"/>
                  <a:pt x="172" y="281"/>
                </a:cubicBezTo>
                <a:cubicBezTo>
                  <a:pt x="169" y="279"/>
                  <a:pt x="167" y="277"/>
                  <a:pt x="162" y="275"/>
                </a:cubicBezTo>
                <a:cubicBezTo>
                  <a:pt x="160" y="273"/>
                  <a:pt x="154" y="271"/>
                  <a:pt x="152" y="269"/>
                </a:cubicBezTo>
                <a:cubicBezTo>
                  <a:pt x="151" y="269"/>
                  <a:pt x="149" y="268"/>
                  <a:pt x="148" y="267"/>
                </a:cubicBezTo>
                <a:cubicBezTo>
                  <a:pt x="147" y="266"/>
                  <a:pt x="146" y="266"/>
                  <a:pt x="146" y="265"/>
                </a:cubicBezTo>
                <a:cubicBezTo>
                  <a:pt x="145" y="265"/>
                  <a:pt x="145" y="264"/>
                  <a:pt x="144" y="264"/>
                </a:cubicBezTo>
                <a:cubicBezTo>
                  <a:pt x="146" y="265"/>
                  <a:pt x="148" y="266"/>
                  <a:pt x="150" y="267"/>
                </a:cubicBezTo>
                <a:cubicBezTo>
                  <a:pt x="152" y="267"/>
                  <a:pt x="152" y="268"/>
                  <a:pt x="154" y="268"/>
                </a:cubicBezTo>
                <a:cubicBezTo>
                  <a:pt x="155" y="269"/>
                  <a:pt x="157" y="269"/>
                  <a:pt x="158" y="270"/>
                </a:cubicBezTo>
                <a:cubicBezTo>
                  <a:pt x="158" y="269"/>
                  <a:pt x="158" y="269"/>
                  <a:pt x="159" y="269"/>
                </a:cubicBezTo>
                <a:cubicBezTo>
                  <a:pt x="162" y="270"/>
                  <a:pt x="164" y="272"/>
                  <a:pt x="168" y="273"/>
                </a:cubicBezTo>
                <a:cubicBezTo>
                  <a:pt x="170" y="274"/>
                  <a:pt x="172" y="275"/>
                  <a:pt x="173" y="276"/>
                </a:cubicBezTo>
                <a:cubicBezTo>
                  <a:pt x="173" y="276"/>
                  <a:pt x="172" y="276"/>
                  <a:pt x="173" y="277"/>
                </a:cubicBezTo>
                <a:cubicBezTo>
                  <a:pt x="175" y="277"/>
                  <a:pt x="175" y="277"/>
                  <a:pt x="176" y="277"/>
                </a:cubicBezTo>
                <a:cubicBezTo>
                  <a:pt x="177" y="277"/>
                  <a:pt x="178" y="278"/>
                  <a:pt x="180" y="279"/>
                </a:cubicBezTo>
                <a:cubicBezTo>
                  <a:pt x="180" y="279"/>
                  <a:pt x="180" y="279"/>
                  <a:pt x="180" y="279"/>
                </a:cubicBezTo>
                <a:cubicBezTo>
                  <a:pt x="186" y="283"/>
                  <a:pt x="196" y="287"/>
                  <a:pt x="204" y="291"/>
                </a:cubicBezTo>
                <a:cubicBezTo>
                  <a:pt x="208" y="293"/>
                  <a:pt x="212" y="296"/>
                  <a:pt x="216" y="298"/>
                </a:cubicBezTo>
                <a:cubicBezTo>
                  <a:pt x="218" y="299"/>
                  <a:pt x="221" y="301"/>
                  <a:pt x="224" y="302"/>
                </a:cubicBezTo>
                <a:cubicBezTo>
                  <a:pt x="225" y="303"/>
                  <a:pt x="225" y="304"/>
                  <a:pt x="228" y="304"/>
                </a:cubicBezTo>
                <a:cubicBezTo>
                  <a:pt x="233" y="305"/>
                  <a:pt x="230" y="303"/>
                  <a:pt x="230" y="303"/>
                </a:cubicBezTo>
                <a:cubicBezTo>
                  <a:pt x="231" y="303"/>
                  <a:pt x="232" y="304"/>
                  <a:pt x="234" y="304"/>
                </a:cubicBezTo>
                <a:cubicBezTo>
                  <a:pt x="232" y="303"/>
                  <a:pt x="229" y="301"/>
                  <a:pt x="226" y="299"/>
                </a:cubicBezTo>
                <a:cubicBezTo>
                  <a:pt x="227" y="299"/>
                  <a:pt x="228" y="299"/>
                  <a:pt x="226" y="298"/>
                </a:cubicBezTo>
                <a:cubicBezTo>
                  <a:pt x="223" y="297"/>
                  <a:pt x="221" y="296"/>
                  <a:pt x="217" y="294"/>
                </a:cubicBezTo>
                <a:cubicBezTo>
                  <a:pt x="217" y="294"/>
                  <a:pt x="217" y="294"/>
                  <a:pt x="217" y="294"/>
                </a:cubicBezTo>
                <a:cubicBezTo>
                  <a:pt x="217" y="294"/>
                  <a:pt x="217" y="294"/>
                  <a:pt x="217" y="294"/>
                </a:cubicBezTo>
                <a:cubicBezTo>
                  <a:pt x="217" y="294"/>
                  <a:pt x="217" y="294"/>
                  <a:pt x="217" y="294"/>
                </a:cubicBezTo>
                <a:cubicBezTo>
                  <a:pt x="217" y="294"/>
                  <a:pt x="220" y="294"/>
                  <a:pt x="215" y="293"/>
                </a:cubicBezTo>
                <a:cubicBezTo>
                  <a:pt x="214" y="292"/>
                  <a:pt x="212" y="291"/>
                  <a:pt x="214" y="291"/>
                </a:cubicBezTo>
                <a:cubicBezTo>
                  <a:pt x="214" y="291"/>
                  <a:pt x="214" y="291"/>
                  <a:pt x="214" y="291"/>
                </a:cubicBezTo>
                <a:cubicBezTo>
                  <a:pt x="214" y="291"/>
                  <a:pt x="214" y="291"/>
                  <a:pt x="214" y="291"/>
                </a:cubicBezTo>
                <a:cubicBezTo>
                  <a:pt x="214" y="291"/>
                  <a:pt x="214" y="291"/>
                  <a:pt x="214" y="291"/>
                </a:cubicBezTo>
                <a:cubicBezTo>
                  <a:pt x="219" y="293"/>
                  <a:pt x="223" y="296"/>
                  <a:pt x="230" y="298"/>
                </a:cubicBezTo>
                <a:cubicBezTo>
                  <a:pt x="231" y="299"/>
                  <a:pt x="232" y="299"/>
                  <a:pt x="233" y="300"/>
                </a:cubicBezTo>
                <a:cubicBezTo>
                  <a:pt x="236" y="300"/>
                  <a:pt x="232" y="299"/>
                  <a:pt x="232" y="299"/>
                </a:cubicBezTo>
                <a:cubicBezTo>
                  <a:pt x="233" y="299"/>
                  <a:pt x="234" y="298"/>
                  <a:pt x="235" y="298"/>
                </a:cubicBezTo>
                <a:cubicBezTo>
                  <a:pt x="239" y="300"/>
                  <a:pt x="241" y="301"/>
                  <a:pt x="244" y="303"/>
                </a:cubicBezTo>
                <a:cubicBezTo>
                  <a:pt x="246" y="304"/>
                  <a:pt x="248" y="305"/>
                  <a:pt x="250" y="305"/>
                </a:cubicBezTo>
                <a:cubicBezTo>
                  <a:pt x="253" y="306"/>
                  <a:pt x="247" y="304"/>
                  <a:pt x="246" y="303"/>
                </a:cubicBezTo>
                <a:cubicBezTo>
                  <a:pt x="246" y="303"/>
                  <a:pt x="246" y="303"/>
                  <a:pt x="246" y="302"/>
                </a:cubicBezTo>
                <a:cubicBezTo>
                  <a:pt x="246" y="302"/>
                  <a:pt x="246" y="302"/>
                  <a:pt x="246" y="302"/>
                </a:cubicBezTo>
                <a:cubicBezTo>
                  <a:pt x="247" y="302"/>
                  <a:pt x="247" y="302"/>
                  <a:pt x="248" y="302"/>
                </a:cubicBezTo>
                <a:cubicBezTo>
                  <a:pt x="245" y="301"/>
                  <a:pt x="240" y="299"/>
                  <a:pt x="238" y="298"/>
                </a:cubicBezTo>
                <a:cubicBezTo>
                  <a:pt x="237" y="297"/>
                  <a:pt x="237" y="297"/>
                  <a:pt x="236" y="296"/>
                </a:cubicBezTo>
                <a:cubicBezTo>
                  <a:pt x="236" y="296"/>
                  <a:pt x="237" y="296"/>
                  <a:pt x="238" y="296"/>
                </a:cubicBezTo>
                <a:cubicBezTo>
                  <a:pt x="238" y="296"/>
                  <a:pt x="238" y="296"/>
                  <a:pt x="237" y="295"/>
                </a:cubicBezTo>
                <a:cubicBezTo>
                  <a:pt x="231" y="292"/>
                  <a:pt x="231" y="292"/>
                  <a:pt x="237" y="292"/>
                </a:cubicBezTo>
                <a:cubicBezTo>
                  <a:pt x="239" y="292"/>
                  <a:pt x="239" y="293"/>
                  <a:pt x="242" y="293"/>
                </a:cubicBezTo>
                <a:cubicBezTo>
                  <a:pt x="244" y="293"/>
                  <a:pt x="241" y="292"/>
                  <a:pt x="240" y="292"/>
                </a:cubicBezTo>
                <a:cubicBezTo>
                  <a:pt x="239" y="291"/>
                  <a:pt x="239" y="290"/>
                  <a:pt x="241" y="291"/>
                </a:cubicBezTo>
                <a:cubicBezTo>
                  <a:pt x="247" y="293"/>
                  <a:pt x="253" y="294"/>
                  <a:pt x="258" y="297"/>
                </a:cubicBezTo>
                <a:cubicBezTo>
                  <a:pt x="258" y="297"/>
                  <a:pt x="259" y="297"/>
                  <a:pt x="258" y="297"/>
                </a:cubicBezTo>
                <a:cubicBezTo>
                  <a:pt x="258" y="297"/>
                  <a:pt x="256" y="296"/>
                  <a:pt x="255" y="297"/>
                </a:cubicBezTo>
                <a:cubicBezTo>
                  <a:pt x="260" y="300"/>
                  <a:pt x="270" y="302"/>
                  <a:pt x="275" y="305"/>
                </a:cubicBezTo>
                <a:cubicBezTo>
                  <a:pt x="277" y="307"/>
                  <a:pt x="280" y="308"/>
                  <a:pt x="284" y="310"/>
                </a:cubicBezTo>
                <a:cubicBezTo>
                  <a:pt x="285" y="311"/>
                  <a:pt x="286" y="311"/>
                  <a:pt x="288" y="311"/>
                </a:cubicBezTo>
                <a:cubicBezTo>
                  <a:pt x="290" y="311"/>
                  <a:pt x="289" y="310"/>
                  <a:pt x="287" y="310"/>
                </a:cubicBezTo>
                <a:cubicBezTo>
                  <a:pt x="283" y="308"/>
                  <a:pt x="287" y="309"/>
                  <a:pt x="287" y="308"/>
                </a:cubicBezTo>
                <a:cubicBezTo>
                  <a:pt x="288" y="308"/>
                  <a:pt x="289" y="308"/>
                  <a:pt x="289" y="309"/>
                </a:cubicBezTo>
                <a:cubicBezTo>
                  <a:pt x="287" y="308"/>
                  <a:pt x="287" y="306"/>
                  <a:pt x="282" y="306"/>
                </a:cubicBezTo>
                <a:cubicBezTo>
                  <a:pt x="281" y="306"/>
                  <a:pt x="283" y="307"/>
                  <a:pt x="283" y="307"/>
                </a:cubicBezTo>
                <a:cubicBezTo>
                  <a:pt x="280" y="307"/>
                  <a:pt x="280" y="306"/>
                  <a:pt x="278" y="305"/>
                </a:cubicBezTo>
                <a:cubicBezTo>
                  <a:pt x="273" y="303"/>
                  <a:pt x="273" y="302"/>
                  <a:pt x="268" y="300"/>
                </a:cubicBezTo>
                <a:cubicBezTo>
                  <a:pt x="266" y="299"/>
                  <a:pt x="264" y="298"/>
                  <a:pt x="262" y="297"/>
                </a:cubicBezTo>
                <a:cubicBezTo>
                  <a:pt x="262" y="296"/>
                  <a:pt x="263" y="296"/>
                  <a:pt x="262" y="295"/>
                </a:cubicBezTo>
                <a:cubicBezTo>
                  <a:pt x="260" y="294"/>
                  <a:pt x="258" y="293"/>
                  <a:pt x="256" y="292"/>
                </a:cubicBezTo>
                <a:cubicBezTo>
                  <a:pt x="256" y="292"/>
                  <a:pt x="255" y="292"/>
                  <a:pt x="255" y="292"/>
                </a:cubicBezTo>
                <a:cubicBezTo>
                  <a:pt x="257" y="293"/>
                  <a:pt x="259" y="294"/>
                  <a:pt x="261" y="295"/>
                </a:cubicBezTo>
                <a:cubicBezTo>
                  <a:pt x="256" y="294"/>
                  <a:pt x="255" y="293"/>
                  <a:pt x="252" y="292"/>
                </a:cubicBezTo>
                <a:cubicBezTo>
                  <a:pt x="251" y="290"/>
                  <a:pt x="245" y="288"/>
                  <a:pt x="242" y="287"/>
                </a:cubicBezTo>
                <a:cubicBezTo>
                  <a:pt x="242" y="286"/>
                  <a:pt x="241" y="286"/>
                  <a:pt x="240" y="286"/>
                </a:cubicBezTo>
                <a:cubicBezTo>
                  <a:pt x="240" y="286"/>
                  <a:pt x="240" y="286"/>
                  <a:pt x="240" y="286"/>
                </a:cubicBezTo>
                <a:cubicBezTo>
                  <a:pt x="240" y="286"/>
                  <a:pt x="240" y="286"/>
                  <a:pt x="240" y="286"/>
                </a:cubicBezTo>
                <a:cubicBezTo>
                  <a:pt x="240" y="286"/>
                  <a:pt x="240" y="286"/>
                  <a:pt x="240" y="286"/>
                </a:cubicBezTo>
                <a:cubicBezTo>
                  <a:pt x="236" y="285"/>
                  <a:pt x="234" y="283"/>
                  <a:pt x="229" y="281"/>
                </a:cubicBezTo>
                <a:cubicBezTo>
                  <a:pt x="229" y="281"/>
                  <a:pt x="229" y="281"/>
                  <a:pt x="229" y="281"/>
                </a:cubicBezTo>
                <a:cubicBezTo>
                  <a:pt x="229" y="281"/>
                  <a:pt x="229" y="281"/>
                  <a:pt x="229" y="281"/>
                </a:cubicBezTo>
                <a:cubicBezTo>
                  <a:pt x="228" y="280"/>
                  <a:pt x="226" y="279"/>
                  <a:pt x="224" y="279"/>
                </a:cubicBezTo>
                <a:cubicBezTo>
                  <a:pt x="223" y="277"/>
                  <a:pt x="220" y="276"/>
                  <a:pt x="217" y="275"/>
                </a:cubicBezTo>
                <a:cubicBezTo>
                  <a:pt x="215" y="274"/>
                  <a:pt x="214" y="273"/>
                  <a:pt x="212" y="273"/>
                </a:cubicBezTo>
                <a:cubicBezTo>
                  <a:pt x="212" y="272"/>
                  <a:pt x="212" y="272"/>
                  <a:pt x="212" y="272"/>
                </a:cubicBezTo>
                <a:cubicBezTo>
                  <a:pt x="210" y="271"/>
                  <a:pt x="207" y="270"/>
                  <a:pt x="208" y="269"/>
                </a:cubicBezTo>
                <a:cubicBezTo>
                  <a:pt x="214" y="271"/>
                  <a:pt x="218" y="274"/>
                  <a:pt x="225" y="276"/>
                </a:cubicBezTo>
                <a:cubicBezTo>
                  <a:pt x="236" y="282"/>
                  <a:pt x="246" y="287"/>
                  <a:pt x="257" y="292"/>
                </a:cubicBezTo>
                <a:cubicBezTo>
                  <a:pt x="258" y="292"/>
                  <a:pt x="260" y="293"/>
                  <a:pt x="261" y="293"/>
                </a:cubicBezTo>
                <a:cubicBezTo>
                  <a:pt x="262" y="294"/>
                  <a:pt x="262" y="294"/>
                  <a:pt x="263" y="294"/>
                </a:cubicBezTo>
                <a:cubicBezTo>
                  <a:pt x="269" y="297"/>
                  <a:pt x="274" y="300"/>
                  <a:pt x="280" y="302"/>
                </a:cubicBezTo>
                <a:cubicBezTo>
                  <a:pt x="286" y="305"/>
                  <a:pt x="293" y="308"/>
                  <a:pt x="297" y="311"/>
                </a:cubicBezTo>
                <a:cubicBezTo>
                  <a:pt x="298" y="312"/>
                  <a:pt x="301" y="313"/>
                  <a:pt x="303" y="315"/>
                </a:cubicBezTo>
                <a:cubicBezTo>
                  <a:pt x="302" y="314"/>
                  <a:pt x="301" y="314"/>
                  <a:pt x="300" y="314"/>
                </a:cubicBezTo>
                <a:cubicBezTo>
                  <a:pt x="301" y="315"/>
                  <a:pt x="302" y="315"/>
                  <a:pt x="304" y="316"/>
                </a:cubicBezTo>
                <a:cubicBezTo>
                  <a:pt x="305" y="316"/>
                  <a:pt x="304" y="315"/>
                  <a:pt x="304" y="315"/>
                </a:cubicBezTo>
                <a:cubicBezTo>
                  <a:pt x="305" y="315"/>
                  <a:pt x="306" y="316"/>
                  <a:pt x="309" y="316"/>
                </a:cubicBezTo>
                <a:cubicBezTo>
                  <a:pt x="304" y="314"/>
                  <a:pt x="303" y="313"/>
                  <a:pt x="299" y="311"/>
                </a:cubicBezTo>
                <a:cubicBezTo>
                  <a:pt x="297" y="310"/>
                  <a:pt x="296" y="309"/>
                  <a:pt x="294" y="308"/>
                </a:cubicBezTo>
                <a:cubicBezTo>
                  <a:pt x="290" y="306"/>
                  <a:pt x="284" y="303"/>
                  <a:pt x="280" y="300"/>
                </a:cubicBezTo>
                <a:cubicBezTo>
                  <a:pt x="281" y="300"/>
                  <a:pt x="280" y="300"/>
                  <a:pt x="280" y="299"/>
                </a:cubicBezTo>
                <a:cubicBezTo>
                  <a:pt x="279" y="299"/>
                  <a:pt x="279" y="298"/>
                  <a:pt x="280" y="298"/>
                </a:cubicBezTo>
                <a:cubicBezTo>
                  <a:pt x="282" y="298"/>
                  <a:pt x="284" y="299"/>
                  <a:pt x="285" y="300"/>
                </a:cubicBezTo>
                <a:cubicBezTo>
                  <a:pt x="288" y="301"/>
                  <a:pt x="292" y="302"/>
                  <a:pt x="296" y="303"/>
                </a:cubicBezTo>
                <a:cubicBezTo>
                  <a:pt x="300" y="305"/>
                  <a:pt x="302" y="304"/>
                  <a:pt x="304" y="304"/>
                </a:cubicBezTo>
                <a:cubicBezTo>
                  <a:pt x="304" y="304"/>
                  <a:pt x="306" y="304"/>
                  <a:pt x="307" y="304"/>
                </a:cubicBezTo>
                <a:cubicBezTo>
                  <a:pt x="308" y="305"/>
                  <a:pt x="308" y="305"/>
                  <a:pt x="306" y="305"/>
                </a:cubicBezTo>
                <a:cubicBezTo>
                  <a:pt x="303" y="305"/>
                  <a:pt x="304" y="306"/>
                  <a:pt x="302" y="306"/>
                </a:cubicBezTo>
                <a:cubicBezTo>
                  <a:pt x="306" y="307"/>
                  <a:pt x="310" y="308"/>
                  <a:pt x="314" y="310"/>
                </a:cubicBezTo>
                <a:cubicBezTo>
                  <a:pt x="313" y="309"/>
                  <a:pt x="312" y="308"/>
                  <a:pt x="312" y="307"/>
                </a:cubicBezTo>
                <a:cubicBezTo>
                  <a:pt x="314" y="308"/>
                  <a:pt x="319" y="309"/>
                  <a:pt x="318" y="307"/>
                </a:cubicBezTo>
                <a:cubicBezTo>
                  <a:pt x="317" y="305"/>
                  <a:pt x="317" y="305"/>
                  <a:pt x="321" y="305"/>
                </a:cubicBezTo>
                <a:cubicBezTo>
                  <a:pt x="317" y="304"/>
                  <a:pt x="314" y="302"/>
                  <a:pt x="310" y="302"/>
                </a:cubicBezTo>
                <a:cubicBezTo>
                  <a:pt x="310" y="302"/>
                  <a:pt x="309" y="302"/>
                  <a:pt x="309" y="302"/>
                </a:cubicBezTo>
                <a:cubicBezTo>
                  <a:pt x="309" y="301"/>
                  <a:pt x="309" y="301"/>
                  <a:pt x="310" y="301"/>
                </a:cubicBezTo>
                <a:cubicBezTo>
                  <a:pt x="312" y="301"/>
                  <a:pt x="310" y="300"/>
                  <a:pt x="309" y="300"/>
                </a:cubicBezTo>
                <a:cubicBezTo>
                  <a:pt x="308" y="300"/>
                  <a:pt x="308" y="300"/>
                  <a:pt x="308" y="299"/>
                </a:cubicBezTo>
                <a:cubicBezTo>
                  <a:pt x="308" y="299"/>
                  <a:pt x="308" y="299"/>
                  <a:pt x="306" y="298"/>
                </a:cubicBezTo>
                <a:cubicBezTo>
                  <a:pt x="304" y="297"/>
                  <a:pt x="304" y="297"/>
                  <a:pt x="306" y="297"/>
                </a:cubicBezTo>
                <a:cubicBezTo>
                  <a:pt x="307" y="297"/>
                  <a:pt x="304" y="296"/>
                  <a:pt x="305" y="295"/>
                </a:cubicBezTo>
                <a:cubicBezTo>
                  <a:pt x="306" y="296"/>
                  <a:pt x="307" y="297"/>
                  <a:pt x="308" y="297"/>
                </a:cubicBezTo>
                <a:cubicBezTo>
                  <a:pt x="310" y="299"/>
                  <a:pt x="314" y="300"/>
                  <a:pt x="317" y="302"/>
                </a:cubicBezTo>
                <a:cubicBezTo>
                  <a:pt x="318" y="303"/>
                  <a:pt x="320" y="304"/>
                  <a:pt x="322" y="305"/>
                </a:cubicBezTo>
                <a:cubicBezTo>
                  <a:pt x="323" y="305"/>
                  <a:pt x="324" y="306"/>
                  <a:pt x="325" y="306"/>
                </a:cubicBezTo>
                <a:cubicBezTo>
                  <a:pt x="326" y="306"/>
                  <a:pt x="327" y="307"/>
                  <a:pt x="327" y="307"/>
                </a:cubicBezTo>
                <a:cubicBezTo>
                  <a:pt x="327" y="307"/>
                  <a:pt x="328" y="308"/>
                  <a:pt x="329" y="308"/>
                </a:cubicBezTo>
                <a:cubicBezTo>
                  <a:pt x="330" y="308"/>
                  <a:pt x="331" y="309"/>
                  <a:pt x="332" y="309"/>
                </a:cubicBezTo>
                <a:cubicBezTo>
                  <a:pt x="332" y="308"/>
                  <a:pt x="331" y="308"/>
                  <a:pt x="330" y="308"/>
                </a:cubicBezTo>
                <a:cubicBezTo>
                  <a:pt x="329" y="307"/>
                  <a:pt x="328" y="306"/>
                  <a:pt x="326" y="306"/>
                </a:cubicBezTo>
                <a:cubicBezTo>
                  <a:pt x="321" y="303"/>
                  <a:pt x="317" y="300"/>
                  <a:pt x="309" y="297"/>
                </a:cubicBezTo>
                <a:cubicBezTo>
                  <a:pt x="305" y="294"/>
                  <a:pt x="298" y="291"/>
                  <a:pt x="292" y="288"/>
                </a:cubicBezTo>
                <a:cubicBezTo>
                  <a:pt x="289" y="287"/>
                  <a:pt x="287" y="285"/>
                  <a:pt x="284" y="284"/>
                </a:cubicBezTo>
                <a:cubicBezTo>
                  <a:pt x="283" y="283"/>
                  <a:pt x="279" y="281"/>
                  <a:pt x="276" y="280"/>
                </a:cubicBezTo>
                <a:cubicBezTo>
                  <a:pt x="280" y="281"/>
                  <a:pt x="284" y="280"/>
                  <a:pt x="289" y="282"/>
                </a:cubicBezTo>
                <a:cubicBezTo>
                  <a:pt x="294" y="284"/>
                  <a:pt x="299" y="286"/>
                  <a:pt x="303" y="288"/>
                </a:cubicBezTo>
                <a:cubicBezTo>
                  <a:pt x="309" y="291"/>
                  <a:pt x="314" y="295"/>
                  <a:pt x="322" y="298"/>
                </a:cubicBezTo>
                <a:cubicBezTo>
                  <a:pt x="325" y="299"/>
                  <a:pt x="330" y="300"/>
                  <a:pt x="334" y="302"/>
                </a:cubicBezTo>
                <a:cubicBezTo>
                  <a:pt x="335" y="300"/>
                  <a:pt x="331" y="299"/>
                  <a:pt x="328" y="298"/>
                </a:cubicBezTo>
                <a:cubicBezTo>
                  <a:pt x="326" y="297"/>
                  <a:pt x="323" y="297"/>
                  <a:pt x="323" y="296"/>
                </a:cubicBezTo>
                <a:cubicBezTo>
                  <a:pt x="323" y="295"/>
                  <a:pt x="325" y="296"/>
                  <a:pt x="327" y="296"/>
                </a:cubicBezTo>
                <a:cubicBezTo>
                  <a:pt x="328" y="296"/>
                  <a:pt x="330" y="296"/>
                  <a:pt x="331" y="296"/>
                </a:cubicBezTo>
                <a:cubicBezTo>
                  <a:pt x="331" y="297"/>
                  <a:pt x="332" y="297"/>
                  <a:pt x="333" y="298"/>
                </a:cubicBezTo>
                <a:cubicBezTo>
                  <a:pt x="333" y="298"/>
                  <a:pt x="333" y="298"/>
                  <a:pt x="333" y="298"/>
                </a:cubicBezTo>
                <a:cubicBezTo>
                  <a:pt x="333" y="298"/>
                  <a:pt x="333" y="298"/>
                  <a:pt x="333" y="298"/>
                </a:cubicBezTo>
                <a:cubicBezTo>
                  <a:pt x="332" y="298"/>
                  <a:pt x="330" y="297"/>
                  <a:pt x="330" y="297"/>
                </a:cubicBezTo>
                <a:cubicBezTo>
                  <a:pt x="330" y="298"/>
                  <a:pt x="331" y="299"/>
                  <a:pt x="334" y="299"/>
                </a:cubicBezTo>
                <a:cubicBezTo>
                  <a:pt x="334" y="299"/>
                  <a:pt x="335" y="300"/>
                  <a:pt x="335" y="300"/>
                </a:cubicBezTo>
                <a:cubicBezTo>
                  <a:pt x="337" y="301"/>
                  <a:pt x="339" y="302"/>
                  <a:pt x="341" y="303"/>
                </a:cubicBezTo>
                <a:cubicBezTo>
                  <a:pt x="341" y="303"/>
                  <a:pt x="342" y="303"/>
                  <a:pt x="342" y="303"/>
                </a:cubicBezTo>
                <a:cubicBezTo>
                  <a:pt x="340" y="302"/>
                  <a:pt x="338" y="301"/>
                  <a:pt x="336" y="300"/>
                </a:cubicBezTo>
                <a:cubicBezTo>
                  <a:pt x="335" y="299"/>
                  <a:pt x="335" y="299"/>
                  <a:pt x="337" y="298"/>
                </a:cubicBezTo>
                <a:cubicBezTo>
                  <a:pt x="339" y="299"/>
                  <a:pt x="340" y="299"/>
                  <a:pt x="341" y="299"/>
                </a:cubicBezTo>
                <a:cubicBezTo>
                  <a:pt x="342" y="300"/>
                  <a:pt x="344" y="301"/>
                  <a:pt x="347" y="301"/>
                </a:cubicBezTo>
                <a:cubicBezTo>
                  <a:pt x="346" y="300"/>
                  <a:pt x="345" y="299"/>
                  <a:pt x="344" y="299"/>
                </a:cubicBezTo>
                <a:cubicBezTo>
                  <a:pt x="343" y="297"/>
                  <a:pt x="339" y="295"/>
                  <a:pt x="335" y="294"/>
                </a:cubicBezTo>
                <a:cubicBezTo>
                  <a:pt x="334" y="293"/>
                  <a:pt x="333" y="293"/>
                  <a:pt x="331" y="292"/>
                </a:cubicBezTo>
                <a:cubicBezTo>
                  <a:pt x="331" y="292"/>
                  <a:pt x="331" y="292"/>
                  <a:pt x="330" y="291"/>
                </a:cubicBezTo>
                <a:cubicBezTo>
                  <a:pt x="330" y="291"/>
                  <a:pt x="329" y="290"/>
                  <a:pt x="327" y="290"/>
                </a:cubicBezTo>
                <a:cubicBezTo>
                  <a:pt x="326" y="289"/>
                  <a:pt x="325" y="289"/>
                  <a:pt x="325" y="289"/>
                </a:cubicBezTo>
                <a:cubicBezTo>
                  <a:pt x="327" y="288"/>
                  <a:pt x="323" y="287"/>
                  <a:pt x="324" y="287"/>
                </a:cubicBezTo>
                <a:cubicBezTo>
                  <a:pt x="325" y="287"/>
                  <a:pt x="329" y="288"/>
                  <a:pt x="329" y="287"/>
                </a:cubicBezTo>
                <a:cubicBezTo>
                  <a:pt x="330" y="287"/>
                  <a:pt x="328" y="286"/>
                  <a:pt x="326" y="285"/>
                </a:cubicBezTo>
                <a:cubicBezTo>
                  <a:pt x="324" y="284"/>
                  <a:pt x="323" y="284"/>
                  <a:pt x="322" y="283"/>
                </a:cubicBezTo>
                <a:cubicBezTo>
                  <a:pt x="320" y="281"/>
                  <a:pt x="318" y="280"/>
                  <a:pt x="311" y="278"/>
                </a:cubicBezTo>
                <a:cubicBezTo>
                  <a:pt x="310" y="277"/>
                  <a:pt x="304" y="275"/>
                  <a:pt x="301" y="273"/>
                </a:cubicBezTo>
                <a:cubicBezTo>
                  <a:pt x="296" y="271"/>
                  <a:pt x="290" y="268"/>
                  <a:pt x="284" y="265"/>
                </a:cubicBezTo>
                <a:cubicBezTo>
                  <a:pt x="283" y="264"/>
                  <a:pt x="281" y="263"/>
                  <a:pt x="276" y="262"/>
                </a:cubicBezTo>
                <a:cubicBezTo>
                  <a:pt x="278" y="263"/>
                  <a:pt x="281" y="264"/>
                  <a:pt x="283" y="265"/>
                </a:cubicBezTo>
                <a:cubicBezTo>
                  <a:pt x="285" y="266"/>
                  <a:pt x="286" y="267"/>
                  <a:pt x="288" y="268"/>
                </a:cubicBezTo>
                <a:cubicBezTo>
                  <a:pt x="282" y="266"/>
                  <a:pt x="281" y="264"/>
                  <a:pt x="277" y="263"/>
                </a:cubicBezTo>
                <a:cubicBezTo>
                  <a:pt x="275" y="262"/>
                  <a:pt x="273" y="262"/>
                  <a:pt x="272" y="261"/>
                </a:cubicBezTo>
                <a:cubicBezTo>
                  <a:pt x="272" y="261"/>
                  <a:pt x="272" y="261"/>
                  <a:pt x="272" y="261"/>
                </a:cubicBezTo>
                <a:cubicBezTo>
                  <a:pt x="272" y="261"/>
                  <a:pt x="272" y="260"/>
                  <a:pt x="270" y="259"/>
                </a:cubicBezTo>
                <a:cubicBezTo>
                  <a:pt x="268" y="259"/>
                  <a:pt x="268" y="259"/>
                  <a:pt x="268" y="260"/>
                </a:cubicBezTo>
                <a:cubicBezTo>
                  <a:pt x="265" y="258"/>
                  <a:pt x="262" y="257"/>
                  <a:pt x="260" y="256"/>
                </a:cubicBezTo>
                <a:cubicBezTo>
                  <a:pt x="260" y="256"/>
                  <a:pt x="261" y="256"/>
                  <a:pt x="262" y="256"/>
                </a:cubicBezTo>
                <a:cubicBezTo>
                  <a:pt x="263" y="256"/>
                  <a:pt x="264" y="257"/>
                  <a:pt x="265" y="257"/>
                </a:cubicBezTo>
                <a:cubicBezTo>
                  <a:pt x="269" y="258"/>
                  <a:pt x="272" y="259"/>
                  <a:pt x="273" y="260"/>
                </a:cubicBezTo>
                <a:cubicBezTo>
                  <a:pt x="274" y="260"/>
                  <a:pt x="275" y="261"/>
                  <a:pt x="276" y="261"/>
                </a:cubicBezTo>
                <a:cubicBezTo>
                  <a:pt x="277" y="261"/>
                  <a:pt x="276" y="260"/>
                  <a:pt x="275" y="260"/>
                </a:cubicBezTo>
                <a:cubicBezTo>
                  <a:pt x="276" y="260"/>
                  <a:pt x="277" y="260"/>
                  <a:pt x="277" y="260"/>
                </a:cubicBezTo>
                <a:cubicBezTo>
                  <a:pt x="278" y="260"/>
                  <a:pt x="279" y="261"/>
                  <a:pt x="280" y="261"/>
                </a:cubicBezTo>
                <a:cubicBezTo>
                  <a:pt x="285" y="263"/>
                  <a:pt x="289" y="266"/>
                  <a:pt x="294" y="268"/>
                </a:cubicBezTo>
                <a:cubicBezTo>
                  <a:pt x="294" y="268"/>
                  <a:pt x="294" y="268"/>
                  <a:pt x="294" y="267"/>
                </a:cubicBezTo>
                <a:cubicBezTo>
                  <a:pt x="294" y="267"/>
                  <a:pt x="293" y="267"/>
                  <a:pt x="293" y="267"/>
                </a:cubicBezTo>
                <a:cubicBezTo>
                  <a:pt x="293" y="267"/>
                  <a:pt x="293" y="267"/>
                  <a:pt x="293" y="267"/>
                </a:cubicBezTo>
                <a:cubicBezTo>
                  <a:pt x="293" y="267"/>
                  <a:pt x="293" y="267"/>
                  <a:pt x="293" y="267"/>
                </a:cubicBezTo>
                <a:cubicBezTo>
                  <a:pt x="296" y="267"/>
                  <a:pt x="299" y="268"/>
                  <a:pt x="300" y="270"/>
                </a:cubicBezTo>
                <a:cubicBezTo>
                  <a:pt x="301" y="270"/>
                  <a:pt x="303" y="271"/>
                  <a:pt x="306" y="272"/>
                </a:cubicBezTo>
                <a:cubicBezTo>
                  <a:pt x="307" y="272"/>
                  <a:pt x="308" y="272"/>
                  <a:pt x="308" y="272"/>
                </a:cubicBezTo>
                <a:cubicBezTo>
                  <a:pt x="310" y="271"/>
                  <a:pt x="307" y="270"/>
                  <a:pt x="305" y="270"/>
                </a:cubicBezTo>
                <a:cubicBezTo>
                  <a:pt x="298" y="266"/>
                  <a:pt x="289" y="262"/>
                  <a:pt x="282" y="259"/>
                </a:cubicBezTo>
                <a:cubicBezTo>
                  <a:pt x="282" y="259"/>
                  <a:pt x="282" y="259"/>
                  <a:pt x="282" y="259"/>
                </a:cubicBezTo>
                <a:cubicBezTo>
                  <a:pt x="279" y="257"/>
                  <a:pt x="272" y="255"/>
                  <a:pt x="271" y="253"/>
                </a:cubicBezTo>
                <a:cubicBezTo>
                  <a:pt x="281" y="257"/>
                  <a:pt x="290" y="262"/>
                  <a:pt x="299" y="266"/>
                </a:cubicBezTo>
                <a:cubicBezTo>
                  <a:pt x="308" y="270"/>
                  <a:pt x="318" y="275"/>
                  <a:pt x="330" y="280"/>
                </a:cubicBezTo>
                <a:cubicBezTo>
                  <a:pt x="332" y="281"/>
                  <a:pt x="334" y="281"/>
                  <a:pt x="336" y="282"/>
                </a:cubicBezTo>
                <a:cubicBezTo>
                  <a:pt x="340" y="285"/>
                  <a:pt x="347" y="288"/>
                  <a:pt x="352" y="291"/>
                </a:cubicBezTo>
                <a:cubicBezTo>
                  <a:pt x="353" y="291"/>
                  <a:pt x="349" y="290"/>
                  <a:pt x="349" y="289"/>
                </a:cubicBezTo>
                <a:cubicBezTo>
                  <a:pt x="355" y="290"/>
                  <a:pt x="358" y="292"/>
                  <a:pt x="361" y="294"/>
                </a:cubicBezTo>
                <a:cubicBezTo>
                  <a:pt x="363" y="295"/>
                  <a:pt x="365" y="297"/>
                  <a:pt x="371" y="298"/>
                </a:cubicBezTo>
                <a:cubicBezTo>
                  <a:pt x="376" y="299"/>
                  <a:pt x="377" y="300"/>
                  <a:pt x="380" y="302"/>
                </a:cubicBezTo>
                <a:cubicBezTo>
                  <a:pt x="380" y="302"/>
                  <a:pt x="380" y="302"/>
                  <a:pt x="380" y="302"/>
                </a:cubicBezTo>
                <a:cubicBezTo>
                  <a:pt x="385" y="304"/>
                  <a:pt x="389" y="306"/>
                  <a:pt x="393" y="308"/>
                </a:cubicBezTo>
                <a:cubicBezTo>
                  <a:pt x="390" y="307"/>
                  <a:pt x="389" y="306"/>
                  <a:pt x="387" y="306"/>
                </a:cubicBezTo>
                <a:cubicBezTo>
                  <a:pt x="386" y="305"/>
                  <a:pt x="385" y="304"/>
                  <a:pt x="381" y="303"/>
                </a:cubicBezTo>
                <a:cubicBezTo>
                  <a:pt x="382" y="304"/>
                  <a:pt x="383" y="305"/>
                  <a:pt x="386" y="306"/>
                </a:cubicBezTo>
                <a:cubicBezTo>
                  <a:pt x="389" y="307"/>
                  <a:pt x="391" y="308"/>
                  <a:pt x="394" y="310"/>
                </a:cubicBezTo>
                <a:cubicBezTo>
                  <a:pt x="396" y="311"/>
                  <a:pt x="398" y="311"/>
                  <a:pt x="399" y="312"/>
                </a:cubicBezTo>
                <a:cubicBezTo>
                  <a:pt x="399" y="312"/>
                  <a:pt x="400" y="312"/>
                  <a:pt x="400" y="312"/>
                </a:cubicBezTo>
                <a:cubicBezTo>
                  <a:pt x="398" y="311"/>
                  <a:pt x="397" y="311"/>
                  <a:pt x="396" y="310"/>
                </a:cubicBezTo>
                <a:cubicBezTo>
                  <a:pt x="396" y="310"/>
                  <a:pt x="397" y="310"/>
                  <a:pt x="397" y="310"/>
                </a:cubicBezTo>
                <a:cubicBezTo>
                  <a:pt x="402" y="313"/>
                  <a:pt x="410" y="316"/>
                  <a:pt x="413" y="319"/>
                </a:cubicBezTo>
                <a:cubicBezTo>
                  <a:pt x="416" y="320"/>
                  <a:pt x="418" y="321"/>
                  <a:pt x="421" y="322"/>
                </a:cubicBezTo>
                <a:cubicBezTo>
                  <a:pt x="421" y="323"/>
                  <a:pt x="422" y="324"/>
                  <a:pt x="426" y="325"/>
                </a:cubicBezTo>
                <a:cubicBezTo>
                  <a:pt x="429" y="328"/>
                  <a:pt x="436" y="329"/>
                  <a:pt x="442" y="331"/>
                </a:cubicBezTo>
                <a:cubicBezTo>
                  <a:pt x="442" y="331"/>
                  <a:pt x="442" y="331"/>
                  <a:pt x="443" y="331"/>
                </a:cubicBezTo>
                <a:cubicBezTo>
                  <a:pt x="444" y="332"/>
                  <a:pt x="446" y="333"/>
                  <a:pt x="448" y="334"/>
                </a:cubicBezTo>
                <a:cubicBezTo>
                  <a:pt x="450" y="335"/>
                  <a:pt x="448" y="335"/>
                  <a:pt x="446" y="334"/>
                </a:cubicBezTo>
                <a:cubicBezTo>
                  <a:pt x="445" y="334"/>
                  <a:pt x="444" y="333"/>
                  <a:pt x="441" y="333"/>
                </a:cubicBezTo>
                <a:cubicBezTo>
                  <a:pt x="442" y="333"/>
                  <a:pt x="444" y="334"/>
                  <a:pt x="445" y="334"/>
                </a:cubicBezTo>
                <a:cubicBezTo>
                  <a:pt x="446" y="335"/>
                  <a:pt x="447" y="335"/>
                  <a:pt x="448" y="336"/>
                </a:cubicBezTo>
                <a:cubicBezTo>
                  <a:pt x="452" y="338"/>
                  <a:pt x="459" y="341"/>
                  <a:pt x="465" y="344"/>
                </a:cubicBezTo>
                <a:cubicBezTo>
                  <a:pt x="467" y="345"/>
                  <a:pt x="468" y="347"/>
                  <a:pt x="473" y="348"/>
                </a:cubicBezTo>
                <a:cubicBezTo>
                  <a:pt x="472" y="347"/>
                  <a:pt x="469" y="345"/>
                  <a:pt x="466" y="344"/>
                </a:cubicBezTo>
                <a:cubicBezTo>
                  <a:pt x="463" y="342"/>
                  <a:pt x="459" y="340"/>
                  <a:pt x="455" y="339"/>
                </a:cubicBezTo>
                <a:cubicBezTo>
                  <a:pt x="457" y="338"/>
                  <a:pt x="452" y="335"/>
                  <a:pt x="450" y="334"/>
                </a:cubicBezTo>
                <a:cubicBezTo>
                  <a:pt x="449" y="333"/>
                  <a:pt x="446" y="331"/>
                  <a:pt x="444" y="330"/>
                </a:cubicBezTo>
                <a:cubicBezTo>
                  <a:pt x="444" y="329"/>
                  <a:pt x="441" y="329"/>
                  <a:pt x="439" y="328"/>
                </a:cubicBezTo>
                <a:cubicBezTo>
                  <a:pt x="435" y="326"/>
                  <a:pt x="429" y="324"/>
                  <a:pt x="432" y="323"/>
                </a:cubicBezTo>
                <a:cubicBezTo>
                  <a:pt x="433" y="323"/>
                  <a:pt x="431" y="321"/>
                  <a:pt x="427" y="321"/>
                </a:cubicBezTo>
                <a:cubicBezTo>
                  <a:pt x="425" y="320"/>
                  <a:pt x="423" y="319"/>
                  <a:pt x="421" y="318"/>
                </a:cubicBezTo>
                <a:cubicBezTo>
                  <a:pt x="420" y="317"/>
                  <a:pt x="418" y="317"/>
                  <a:pt x="417" y="316"/>
                </a:cubicBezTo>
                <a:cubicBezTo>
                  <a:pt x="417" y="315"/>
                  <a:pt x="416" y="315"/>
                  <a:pt x="414" y="314"/>
                </a:cubicBezTo>
                <a:cubicBezTo>
                  <a:pt x="413" y="314"/>
                  <a:pt x="414" y="315"/>
                  <a:pt x="415" y="316"/>
                </a:cubicBezTo>
                <a:cubicBezTo>
                  <a:pt x="416" y="317"/>
                  <a:pt x="417" y="317"/>
                  <a:pt x="419" y="318"/>
                </a:cubicBezTo>
                <a:cubicBezTo>
                  <a:pt x="421" y="319"/>
                  <a:pt x="421" y="320"/>
                  <a:pt x="419" y="320"/>
                </a:cubicBezTo>
                <a:cubicBezTo>
                  <a:pt x="417" y="320"/>
                  <a:pt x="417" y="319"/>
                  <a:pt x="416" y="319"/>
                </a:cubicBezTo>
                <a:cubicBezTo>
                  <a:pt x="408" y="314"/>
                  <a:pt x="399" y="310"/>
                  <a:pt x="391" y="306"/>
                </a:cubicBezTo>
                <a:cubicBezTo>
                  <a:pt x="393" y="306"/>
                  <a:pt x="396" y="307"/>
                  <a:pt x="397" y="308"/>
                </a:cubicBezTo>
                <a:cubicBezTo>
                  <a:pt x="402" y="311"/>
                  <a:pt x="407" y="311"/>
                  <a:pt x="413" y="311"/>
                </a:cubicBezTo>
                <a:cubicBezTo>
                  <a:pt x="413" y="312"/>
                  <a:pt x="412" y="312"/>
                  <a:pt x="413" y="312"/>
                </a:cubicBezTo>
                <a:cubicBezTo>
                  <a:pt x="413" y="313"/>
                  <a:pt x="414" y="313"/>
                  <a:pt x="415" y="313"/>
                </a:cubicBezTo>
                <a:cubicBezTo>
                  <a:pt x="415" y="312"/>
                  <a:pt x="416" y="312"/>
                  <a:pt x="414" y="311"/>
                </a:cubicBezTo>
                <a:cubicBezTo>
                  <a:pt x="413" y="311"/>
                  <a:pt x="420" y="312"/>
                  <a:pt x="416" y="310"/>
                </a:cubicBezTo>
                <a:cubicBezTo>
                  <a:pt x="414" y="309"/>
                  <a:pt x="410" y="309"/>
                  <a:pt x="410" y="309"/>
                </a:cubicBezTo>
                <a:cubicBezTo>
                  <a:pt x="406" y="311"/>
                  <a:pt x="403" y="308"/>
                  <a:pt x="399" y="307"/>
                </a:cubicBezTo>
                <a:cubicBezTo>
                  <a:pt x="398" y="306"/>
                  <a:pt x="396" y="305"/>
                  <a:pt x="395" y="305"/>
                </a:cubicBezTo>
                <a:cubicBezTo>
                  <a:pt x="391" y="302"/>
                  <a:pt x="388" y="303"/>
                  <a:pt x="385" y="303"/>
                </a:cubicBezTo>
                <a:cubicBezTo>
                  <a:pt x="385" y="303"/>
                  <a:pt x="385" y="303"/>
                  <a:pt x="385" y="303"/>
                </a:cubicBezTo>
                <a:cubicBezTo>
                  <a:pt x="384" y="302"/>
                  <a:pt x="384" y="302"/>
                  <a:pt x="384" y="302"/>
                </a:cubicBezTo>
                <a:cubicBezTo>
                  <a:pt x="382" y="301"/>
                  <a:pt x="385" y="301"/>
                  <a:pt x="384" y="299"/>
                </a:cubicBezTo>
                <a:cubicBezTo>
                  <a:pt x="380" y="296"/>
                  <a:pt x="373" y="294"/>
                  <a:pt x="369" y="291"/>
                </a:cubicBezTo>
                <a:cubicBezTo>
                  <a:pt x="367" y="291"/>
                  <a:pt x="366" y="290"/>
                  <a:pt x="365" y="289"/>
                </a:cubicBezTo>
                <a:cubicBezTo>
                  <a:pt x="359" y="288"/>
                  <a:pt x="358" y="286"/>
                  <a:pt x="354" y="284"/>
                </a:cubicBezTo>
                <a:cubicBezTo>
                  <a:pt x="348" y="282"/>
                  <a:pt x="346" y="279"/>
                  <a:pt x="341" y="277"/>
                </a:cubicBezTo>
                <a:cubicBezTo>
                  <a:pt x="338" y="276"/>
                  <a:pt x="335" y="274"/>
                  <a:pt x="333" y="273"/>
                </a:cubicBezTo>
                <a:cubicBezTo>
                  <a:pt x="327" y="270"/>
                  <a:pt x="320" y="267"/>
                  <a:pt x="314" y="264"/>
                </a:cubicBezTo>
                <a:cubicBezTo>
                  <a:pt x="313" y="263"/>
                  <a:pt x="311" y="263"/>
                  <a:pt x="310" y="262"/>
                </a:cubicBezTo>
                <a:cubicBezTo>
                  <a:pt x="311" y="262"/>
                  <a:pt x="312" y="262"/>
                  <a:pt x="313" y="262"/>
                </a:cubicBezTo>
                <a:cubicBezTo>
                  <a:pt x="318" y="265"/>
                  <a:pt x="323" y="267"/>
                  <a:pt x="329" y="269"/>
                </a:cubicBezTo>
                <a:cubicBezTo>
                  <a:pt x="328" y="269"/>
                  <a:pt x="328" y="269"/>
                  <a:pt x="328" y="268"/>
                </a:cubicBezTo>
                <a:cubicBezTo>
                  <a:pt x="328" y="269"/>
                  <a:pt x="329" y="269"/>
                  <a:pt x="329" y="269"/>
                </a:cubicBezTo>
                <a:cubicBezTo>
                  <a:pt x="335" y="272"/>
                  <a:pt x="342" y="275"/>
                  <a:pt x="348" y="279"/>
                </a:cubicBezTo>
                <a:cubicBezTo>
                  <a:pt x="354" y="281"/>
                  <a:pt x="361" y="284"/>
                  <a:pt x="367" y="287"/>
                </a:cubicBezTo>
                <a:cubicBezTo>
                  <a:pt x="377" y="291"/>
                  <a:pt x="387" y="296"/>
                  <a:pt x="396" y="300"/>
                </a:cubicBezTo>
                <a:cubicBezTo>
                  <a:pt x="398" y="301"/>
                  <a:pt x="401" y="303"/>
                  <a:pt x="404" y="304"/>
                </a:cubicBezTo>
                <a:cubicBezTo>
                  <a:pt x="409" y="307"/>
                  <a:pt x="418" y="310"/>
                  <a:pt x="424" y="314"/>
                </a:cubicBezTo>
                <a:cubicBezTo>
                  <a:pt x="425" y="315"/>
                  <a:pt x="429" y="316"/>
                  <a:pt x="432" y="318"/>
                </a:cubicBezTo>
                <a:cubicBezTo>
                  <a:pt x="433" y="317"/>
                  <a:pt x="428" y="315"/>
                  <a:pt x="426" y="314"/>
                </a:cubicBezTo>
                <a:cubicBezTo>
                  <a:pt x="426" y="314"/>
                  <a:pt x="426" y="314"/>
                  <a:pt x="426" y="314"/>
                </a:cubicBezTo>
                <a:cubicBezTo>
                  <a:pt x="428" y="313"/>
                  <a:pt x="429" y="313"/>
                  <a:pt x="436" y="315"/>
                </a:cubicBezTo>
                <a:cubicBezTo>
                  <a:pt x="434" y="314"/>
                  <a:pt x="434" y="312"/>
                  <a:pt x="430" y="311"/>
                </a:cubicBezTo>
                <a:cubicBezTo>
                  <a:pt x="428" y="311"/>
                  <a:pt x="431" y="313"/>
                  <a:pt x="426" y="311"/>
                </a:cubicBezTo>
                <a:cubicBezTo>
                  <a:pt x="422" y="310"/>
                  <a:pt x="423" y="309"/>
                  <a:pt x="420" y="308"/>
                </a:cubicBezTo>
                <a:cubicBezTo>
                  <a:pt x="420" y="307"/>
                  <a:pt x="425" y="307"/>
                  <a:pt x="425" y="307"/>
                </a:cubicBezTo>
                <a:cubicBezTo>
                  <a:pt x="434" y="309"/>
                  <a:pt x="425" y="307"/>
                  <a:pt x="426" y="306"/>
                </a:cubicBezTo>
                <a:cubicBezTo>
                  <a:pt x="425" y="306"/>
                  <a:pt x="426" y="306"/>
                  <a:pt x="427" y="306"/>
                </a:cubicBezTo>
                <a:cubicBezTo>
                  <a:pt x="427" y="306"/>
                  <a:pt x="428" y="306"/>
                  <a:pt x="429" y="306"/>
                </a:cubicBezTo>
                <a:cubicBezTo>
                  <a:pt x="430" y="306"/>
                  <a:pt x="432" y="307"/>
                  <a:pt x="434" y="308"/>
                </a:cubicBezTo>
                <a:cubicBezTo>
                  <a:pt x="436" y="309"/>
                  <a:pt x="438" y="310"/>
                  <a:pt x="440" y="311"/>
                </a:cubicBezTo>
                <a:cubicBezTo>
                  <a:pt x="444" y="314"/>
                  <a:pt x="452" y="317"/>
                  <a:pt x="460" y="320"/>
                </a:cubicBezTo>
                <a:cubicBezTo>
                  <a:pt x="453" y="317"/>
                  <a:pt x="449" y="314"/>
                  <a:pt x="441" y="311"/>
                </a:cubicBezTo>
                <a:cubicBezTo>
                  <a:pt x="439" y="310"/>
                  <a:pt x="437" y="309"/>
                  <a:pt x="434" y="308"/>
                </a:cubicBezTo>
                <a:cubicBezTo>
                  <a:pt x="433" y="307"/>
                  <a:pt x="431" y="306"/>
                  <a:pt x="429" y="305"/>
                </a:cubicBezTo>
                <a:cubicBezTo>
                  <a:pt x="431" y="305"/>
                  <a:pt x="429" y="304"/>
                  <a:pt x="430" y="303"/>
                </a:cubicBezTo>
                <a:cubicBezTo>
                  <a:pt x="434" y="303"/>
                  <a:pt x="436" y="305"/>
                  <a:pt x="438" y="306"/>
                </a:cubicBezTo>
                <a:cubicBezTo>
                  <a:pt x="449" y="312"/>
                  <a:pt x="460" y="317"/>
                  <a:pt x="471" y="323"/>
                </a:cubicBezTo>
                <a:cubicBezTo>
                  <a:pt x="472" y="324"/>
                  <a:pt x="473" y="325"/>
                  <a:pt x="475" y="325"/>
                </a:cubicBezTo>
                <a:cubicBezTo>
                  <a:pt x="476" y="326"/>
                  <a:pt x="479" y="328"/>
                  <a:pt x="482" y="329"/>
                </a:cubicBezTo>
                <a:cubicBezTo>
                  <a:pt x="482" y="329"/>
                  <a:pt x="482" y="329"/>
                  <a:pt x="482" y="329"/>
                </a:cubicBezTo>
                <a:cubicBezTo>
                  <a:pt x="482" y="329"/>
                  <a:pt x="483" y="329"/>
                  <a:pt x="483" y="330"/>
                </a:cubicBezTo>
                <a:cubicBezTo>
                  <a:pt x="485" y="331"/>
                  <a:pt x="487" y="332"/>
                  <a:pt x="490" y="334"/>
                </a:cubicBezTo>
                <a:cubicBezTo>
                  <a:pt x="491" y="335"/>
                  <a:pt x="491" y="336"/>
                  <a:pt x="498" y="339"/>
                </a:cubicBezTo>
                <a:cubicBezTo>
                  <a:pt x="505" y="341"/>
                  <a:pt x="509" y="344"/>
                  <a:pt x="507" y="346"/>
                </a:cubicBezTo>
                <a:cubicBezTo>
                  <a:pt x="507" y="346"/>
                  <a:pt x="505" y="346"/>
                  <a:pt x="506" y="347"/>
                </a:cubicBezTo>
                <a:cubicBezTo>
                  <a:pt x="509" y="348"/>
                  <a:pt x="512" y="348"/>
                  <a:pt x="515" y="349"/>
                </a:cubicBezTo>
                <a:cubicBezTo>
                  <a:pt x="517" y="349"/>
                  <a:pt x="518" y="350"/>
                  <a:pt x="519" y="351"/>
                </a:cubicBezTo>
                <a:cubicBezTo>
                  <a:pt x="519" y="351"/>
                  <a:pt x="520" y="351"/>
                  <a:pt x="520" y="351"/>
                </a:cubicBezTo>
                <a:cubicBezTo>
                  <a:pt x="523" y="353"/>
                  <a:pt x="525" y="354"/>
                  <a:pt x="528" y="356"/>
                </a:cubicBezTo>
                <a:cubicBezTo>
                  <a:pt x="529" y="357"/>
                  <a:pt x="530" y="357"/>
                  <a:pt x="533" y="358"/>
                </a:cubicBezTo>
                <a:cubicBezTo>
                  <a:pt x="533" y="357"/>
                  <a:pt x="531" y="357"/>
                  <a:pt x="529" y="356"/>
                </a:cubicBezTo>
                <a:cubicBezTo>
                  <a:pt x="529" y="356"/>
                  <a:pt x="529" y="355"/>
                  <a:pt x="529" y="355"/>
                </a:cubicBezTo>
                <a:cubicBezTo>
                  <a:pt x="529" y="355"/>
                  <a:pt x="530" y="355"/>
                  <a:pt x="530" y="355"/>
                </a:cubicBezTo>
                <a:cubicBezTo>
                  <a:pt x="531" y="355"/>
                  <a:pt x="531" y="355"/>
                  <a:pt x="531" y="356"/>
                </a:cubicBezTo>
                <a:cubicBezTo>
                  <a:pt x="533" y="357"/>
                  <a:pt x="533" y="357"/>
                  <a:pt x="537" y="359"/>
                </a:cubicBezTo>
                <a:cubicBezTo>
                  <a:pt x="537" y="358"/>
                  <a:pt x="535" y="357"/>
                  <a:pt x="532" y="356"/>
                </a:cubicBezTo>
                <a:cubicBezTo>
                  <a:pt x="531" y="355"/>
                  <a:pt x="530" y="354"/>
                  <a:pt x="528" y="354"/>
                </a:cubicBezTo>
                <a:cubicBezTo>
                  <a:pt x="529" y="353"/>
                  <a:pt x="526" y="352"/>
                  <a:pt x="525" y="351"/>
                </a:cubicBezTo>
                <a:cubicBezTo>
                  <a:pt x="525" y="351"/>
                  <a:pt x="525" y="351"/>
                  <a:pt x="524" y="350"/>
                </a:cubicBezTo>
                <a:cubicBezTo>
                  <a:pt x="521" y="349"/>
                  <a:pt x="520" y="348"/>
                  <a:pt x="517" y="347"/>
                </a:cubicBezTo>
                <a:cubicBezTo>
                  <a:pt x="517" y="346"/>
                  <a:pt x="514" y="345"/>
                  <a:pt x="512" y="344"/>
                </a:cubicBezTo>
                <a:cubicBezTo>
                  <a:pt x="511" y="343"/>
                  <a:pt x="509" y="342"/>
                  <a:pt x="509" y="341"/>
                </a:cubicBezTo>
                <a:cubicBezTo>
                  <a:pt x="509" y="341"/>
                  <a:pt x="509" y="341"/>
                  <a:pt x="509" y="341"/>
                </a:cubicBezTo>
                <a:cubicBezTo>
                  <a:pt x="510" y="341"/>
                  <a:pt x="511" y="341"/>
                  <a:pt x="510" y="341"/>
                </a:cubicBezTo>
                <a:cubicBezTo>
                  <a:pt x="509" y="340"/>
                  <a:pt x="507" y="340"/>
                  <a:pt x="506" y="340"/>
                </a:cubicBezTo>
                <a:cubicBezTo>
                  <a:pt x="500" y="337"/>
                  <a:pt x="501" y="336"/>
                  <a:pt x="496" y="334"/>
                </a:cubicBezTo>
                <a:cubicBezTo>
                  <a:pt x="495" y="333"/>
                  <a:pt x="491" y="331"/>
                  <a:pt x="491" y="330"/>
                </a:cubicBezTo>
                <a:cubicBezTo>
                  <a:pt x="500" y="334"/>
                  <a:pt x="508" y="338"/>
                  <a:pt x="514" y="341"/>
                </a:cubicBezTo>
                <a:cubicBezTo>
                  <a:pt x="514" y="342"/>
                  <a:pt x="514" y="342"/>
                  <a:pt x="516" y="343"/>
                </a:cubicBezTo>
                <a:cubicBezTo>
                  <a:pt x="518" y="344"/>
                  <a:pt x="520" y="345"/>
                  <a:pt x="523" y="346"/>
                </a:cubicBezTo>
                <a:cubicBezTo>
                  <a:pt x="522" y="345"/>
                  <a:pt x="521" y="344"/>
                  <a:pt x="519" y="343"/>
                </a:cubicBezTo>
                <a:cubicBezTo>
                  <a:pt x="518" y="342"/>
                  <a:pt x="517" y="342"/>
                  <a:pt x="516" y="342"/>
                </a:cubicBezTo>
                <a:cubicBezTo>
                  <a:pt x="516" y="341"/>
                  <a:pt x="513" y="340"/>
                  <a:pt x="513" y="339"/>
                </a:cubicBezTo>
                <a:cubicBezTo>
                  <a:pt x="514" y="339"/>
                  <a:pt x="515" y="340"/>
                  <a:pt x="517" y="340"/>
                </a:cubicBezTo>
                <a:cubicBezTo>
                  <a:pt x="519" y="341"/>
                  <a:pt x="517" y="340"/>
                  <a:pt x="517" y="339"/>
                </a:cubicBezTo>
                <a:cubicBezTo>
                  <a:pt x="514" y="338"/>
                  <a:pt x="511" y="337"/>
                  <a:pt x="507" y="336"/>
                </a:cubicBezTo>
                <a:cubicBezTo>
                  <a:pt x="505" y="334"/>
                  <a:pt x="501" y="332"/>
                  <a:pt x="496" y="330"/>
                </a:cubicBezTo>
                <a:cubicBezTo>
                  <a:pt x="492" y="328"/>
                  <a:pt x="499" y="328"/>
                  <a:pt x="499" y="327"/>
                </a:cubicBezTo>
                <a:cubicBezTo>
                  <a:pt x="500" y="327"/>
                  <a:pt x="501" y="327"/>
                  <a:pt x="503" y="328"/>
                </a:cubicBezTo>
                <a:cubicBezTo>
                  <a:pt x="507" y="330"/>
                  <a:pt x="511" y="332"/>
                  <a:pt x="513" y="333"/>
                </a:cubicBezTo>
                <a:cubicBezTo>
                  <a:pt x="511" y="334"/>
                  <a:pt x="509" y="333"/>
                  <a:pt x="507" y="332"/>
                </a:cubicBezTo>
                <a:cubicBezTo>
                  <a:pt x="509" y="333"/>
                  <a:pt x="510" y="335"/>
                  <a:pt x="514" y="335"/>
                </a:cubicBezTo>
                <a:cubicBezTo>
                  <a:pt x="517" y="336"/>
                  <a:pt x="514" y="334"/>
                  <a:pt x="515" y="334"/>
                </a:cubicBezTo>
                <a:cubicBezTo>
                  <a:pt x="520" y="335"/>
                  <a:pt x="520" y="335"/>
                  <a:pt x="518" y="333"/>
                </a:cubicBezTo>
                <a:cubicBezTo>
                  <a:pt x="514" y="331"/>
                  <a:pt x="510" y="329"/>
                  <a:pt x="506" y="327"/>
                </a:cubicBezTo>
                <a:cubicBezTo>
                  <a:pt x="505" y="326"/>
                  <a:pt x="501" y="325"/>
                  <a:pt x="502" y="325"/>
                </a:cubicBezTo>
                <a:cubicBezTo>
                  <a:pt x="506" y="325"/>
                  <a:pt x="502" y="324"/>
                  <a:pt x="503" y="323"/>
                </a:cubicBezTo>
                <a:cubicBezTo>
                  <a:pt x="506" y="324"/>
                  <a:pt x="507" y="325"/>
                  <a:pt x="509" y="325"/>
                </a:cubicBezTo>
                <a:cubicBezTo>
                  <a:pt x="515" y="326"/>
                  <a:pt x="516" y="328"/>
                  <a:pt x="523" y="330"/>
                </a:cubicBezTo>
                <a:cubicBezTo>
                  <a:pt x="522" y="329"/>
                  <a:pt x="517" y="328"/>
                  <a:pt x="517" y="327"/>
                </a:cubicBezTo>
                <a:cubicBezTo>
                  <a:pt x="517" y="325"/>
                  <a:pt x="507" y="323"/>
                  <a:pt x="510" y="321"/>
                </a:cubicBezTo>
                <a:cubicBezTo>
                  <a:pt x="511" y="322"/>
                  <a:pt x="512" y="322"/>
                  <a:pt x="513" y="323"/>
                </a:cubicBezTo>
                <a:cubicBezTo>
                  <a:pt x="513" y="324"/>
                  <a:pt x="521" y="326"/>
                  <a:pt x="524" y="328"/>
                </a:cubicBezTo>
                <a:cubicBezTo>
                  <a:pt x="523" y="327"/>
                  <a:pt x="521" y="325"/>
                  <a:pt x="517" y="324"/>
                </a:cubicBezTo>
                <a:cubicBezTo>
                  <a:pt x="513" y="322"/>
                  <a:pt x="509" y="319"/>
                  <a:pt x="504" y="317"/>
                </a:cubicBezTo>
                <a:cubicBezTo>
                  <a:pt x="509" y="319"/>
                  <a:pt x="513" y="320"/>
                  <a:pt x="518" y="322"/>
                </a:cubicBezTo>
                <a:cubicBezTo>
                  <a:pt x="518" y="323"/>
                  <a:pt x="519" y="323"/>
                  <a:pt x="521" y="325"/>
                </a:cubicBezTo>
                <a:cubicBezTo>
                  <a:pt x="523" y="324"/>
                  <a:pt x="523" y="324"/>
                  <a:pt x="521" y="322"/>
                </a:cubicBezTo>
                <a:cubicBezTo>
                  <a:pt x="521" y="322"/>
                  <a:pt x="520" y="322"/>
                  <a:pt x="520" y="321"/>
                </a:cubicBezTo>
                <a:cubicBezTo>
                  <a:pt x="514" y="316"/>
                  <a:pt x="507" y="311"/>
                  <a:pt x="498" y="305"/>
                </a:cubicBezTo>
                <a:cubicBezTo>
                  <a:pt x="499" y="306"/>
                  <a:pt x="500" y="306"/>
                  <a:pt x="500" y="306"/>
                </a:cubicBezTo>
                <a:cubicBezTo>
                  <a:pt x="508" y="311"/>
                  <a:pt x="517" y="315"/>
                  <a:pt x="525" y="320"/>
                </a:cubicBezTo>
                <a:cubicBezTo>
                  <a:pt x="530" y="323"/>
                  <a:pt x="536" y="326"/>
                  <a:pt x="542" y="329"/>
                </a:cubicBezTo>
                <a:cubicBezTo>
                  <a:pt x="542" y="278"/>
                  <a:pt x="542" y="278"/>
                  <a:pt x="542" y="278"/>
                </a:cubicBezTo>
                <a:cubicBezTo>
                  <a:pt x="542" y="277"/>
                  <a:pt x="541" y="277"/>
                  <a:pt x="541" y="277"/>
                </a:cubicBezTo>
                <a:cubicBezTo>
                  <a:pt x="540" y="276"/>
                  <a:pt x="539" y="275"/>
                  <a:pt x="538" y="275"/>
                </a:cubicBezTo>
                <a:cubicBezTo>
                  <a:pt x="538" y="274"/>
                  <a:pt x="537" y="274"/>
                  <a:pt x="536" y="274"/>
                </a:cubicBezTo>
                <a:cubicBezTo>
                  <a:pt x="538" y="273"/>
                  <a:pt x="540" y="273"/>
                  <a:pt x="542" y="274"/>
                </a:cubicBezTo>
                <a:cubicBezTo>
                  <a:pt x="542" y="256"/>
                  <a:pt x="542" y="256"/>
                  <a:pt x="542" y="256"/>
                </a:cubicBezTo>
                <a:cubicBezTo>
                  <a:pt x="542" y="256"/>
                  <a:pt x="542" y="256"/>
                  <a:pt x="542" y="255"/>
                </a:cubicBezTo>
                <a:cubicBezTo>
                  <a:pt x="541" y="255"/>
                  <a:pt x="541" y="254"/>
                  <a:pt x="541" y="254"/>
                </a:cubicBezTo>
                <a:cubicBezTo>
                  <a:pt x="541" y="254"/>
                  <a:pt x="541" y="254"/>
                  <a:pt x="542" y="254"/>
                </a:cubicBezTo>
                <a:cubicBezTo>
                  <a:pt x="542" y="254"/>
                  <a:pt x="542" y="254"/>
                  <a:pt x="542" y="254"/>
                </a:cubicBezTo>
                <a:cubicBezTo>
                  <a:pt x="542" y="237"/>
                  <a:pt x="542" y="237"/>
                  <a:pt x="542" y="237"/>
                </a:cubicBezTo>
                <a:cubicBezTo>
                  <a:pt x="542" y="237"/>
                  <a:pt x="542" y="237"/>
                  <a:pt x="542" y="236"/>
                </a:cubicBezTo>
                <a:cubicBezTo>
                  <a:pt x="542" y="236"/>
                  <a:pt x="542" y="236"/>
                  <a:pt x="542" y="236"/>
                </a:cubicBezTo>
                <a:cubicBezTo>
                  <a:pt x="542" y="207"/>
                  <a:pt x="542" y="207"/>
                  <a:pt x="542" y="207"/>
                </a:cubicBezTo>
                <a:cubicBezTo>
                  <a:pt x="542" y="207"/>
                  <a:pt x="542" y="207"/>
                  <a:pt x="542" y="207"/>
                </a:cubicBezTo>
                <a:cubicBezTo>
                  <a:pt x="542" y="206"/>
                  <a:pt x="542" y="206"/>
                  <a:pt x="542" y="206"/>
                </a:cubicBezTo>
                <a:cubicBezTo>
                  <a:pt x="542" y="206"/>
                  <a:pt x="542" y="206"/>
                  <a:pt x="542" y="206"/>
                </a:cubicBezTo>
                <a:cubicBezTo>
                  <a:pt x="542" y="193"/>
                  <a:pt x="542" y="193"/>
                  <a:pt x="542" y="193"/>
                </a:cubicBezTo>
                <a:cubicBezTo>
                  <a:pt x="542" y="193"/>
                  <a:pt x="542" y="193"/>
                  <a:pt x="542" y="193"/>
                </a:cubicBezTo>
                <a:cubicBezTo>
                  <a:pt x="542" y="192"/>
                  <a:pt x="542" y="192"/>
                  <a:pt x="542" y="192"/>
                </a:cubicBezTo>
                <a:cubicBezTo>
                  <a:pt x="542" y="192"/>
                  <a:pt x="542" y="192"/>
                  <a:pt x="542" y="192"/>
                </a:cubicBezTo>
                <a:cubicBezTo>
                  <a:pt x="542" y="148"/>
                  <a:pt x="542" y="148"/>
                  <a:pt x="542" y="148"/>
                </a:cubicBezTo>
                <a:cubicBezTo>
                  <a:pt x="540" y="147"/>
                  <a:pt x="538" y="146"/>
                  <a:pt x="537" y="145"/>
                </a:cubicBezTo>
                <a:cubicBezTo>
                  <a:pt x="539" y="146"/>
                  <a:pt x="541" y="146"/>
                  <a:pt x="542" y="147"/>
                </a:cubicBezTo>
                <a:cubicBezTo>
                  <a:pt x="542" y="144"/>
                  <a:pt x="542" y="144"/>
                  <a:pt x="542" y="144"/>
                </a:cubicBezTo>
                <a:cubicBezTo>
                  <a:pt x="542" y="144"/>
                  <a:pt x="542" y="144"/>
                  <a:pt x="542" y="144"/>
                </a:cubicBezTo>
                <a:cubicBezTo>
                  <a:pt x="542" y="144"/>
                  <a:pt x="542" y="144"/>
                  <a:pt x="542" y="144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794000" y="360971"/>
            <a:ext cx="6604000" cy="535531"/>
          </a:xfrm>
        </p:spPr>
        <p:txBody>
          <a:bodyPr wrap="square" anchor="t">
            <a:spAutoFit/>
          </a:bodyPr>
          <a:lstStyle>
            <a:lvl1pPr marL="0" indent="0" algn="ctr">
              <a:buNone/>
              <a:defRPr sz="3200" normalizeH="0" baseline="0">
                <a:solidFill>
                  <a:schemeClr val="tx1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  <a:latin typeface="+mj-lt"/>
              </a:defRPr>
            </a:lvl2pPr>
            <a:lvl3pPr>
              <a:defRPr>
                <a:solidFill>
                  <a:schemeClr val="tx1"/>
                </a:solidFill>
                <a:latin typeface="+mj-lt"/>
              </a:defRPr>
            </a:lvl3pPr>
            <a:lvl4pPr>
              <a:defRPr>
                <a:solidFill>
                  <a:schemeClr val="tx1"/>
                </a:solidFill>
                <a:latin typeface="+mj-lt"/>
              </a:defRPr>
            </a:lvl4pPr>
            <a:lvl5pPr>
              <a:defRPr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- Click to edit Master text styles -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9852138-FCC6-44DD-9FFC-1C789392E7AA}" type="datetime1">
              <a:rPr lang="en-US" smtClean="0"/>
              <a:t>11/15/2018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3206E70-9524-410D-AE9B-78D656EAA14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Rectangle 7"/>
          <p:cNvSpPr/>
          <p:nvPr userDrawn="1"/>
        </p:nvSpPr>
        <p:spPr>
          <a:xfrm>
            <a:off x="10237880" y="0"/>
            <a:ext cx="571500" cy="55562"/>
          </a:xfrm>
          <a:prstGeom prst="rect">
            <a:avLst/>
          </a:prstGeom>
          <a:solidFill>
            <a:srgbClr val="E258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 userDrawn="1"/>
        </p:nvSpPr>
        <p:spPr>
          <a:xfrm>
            <a:off x="10880817" y="0"/>
            <a:ext cx="571500" cy="55562"/>
          </a:xfrm>
          <a:prstGeom prst="rect">
            <a:avLst/>
          </a:prstGeom>
          <a:solidFill>
            <a:srgbClr val="78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 userDrawn="1"/>
        </p:nvSpPr>
        <p:spPr>
          <a:xfrm>
            <a:off x="11523754" y="0"/>
            <a:ext cx="571500" cy="55562"/>
          </a:xfrm>
          <a:prstGeom prst="rect">
            <a:avLst/>
          </a:prstGeom>
          <a:solidFill>
            <a:srgbClr val="3B39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74860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/>
          <p:cNvSpPr>
            <a:spLocks/>
          </p:cNvSpPr>
          <p:nvPr userDrawn="1"/>
        </p:nvSpPr>
        <p:spPr bwMode="auto">
          <a:xfrm>
            <a:off x="0" y="-639708"/>
            <a:ext cx="12192001" cy="8099370"/>
          </a:xfrm>
          <a:custGeom>
            <a:avLst/>
            <a:gdLst>
              <a:gd name="T0" fmla="*/ 471 w 542"/>
              <a:gd name="T1" fmla="*/ 110 h 359"/>
              <a:gd name="T2" fmla="*/ 494 w 542"/>
              <a:gd name="T3" fmla="*/ 124 h 359"/>
              <a:gd name="T4" fmla="*/ 473 w 542"/>
              <a:gd name="T5" fmla="*/ 118 h 359"/>
              <a:gd name="T6" fmla="*/ 352 w 542"/>
              <a:gd name="T7" fmla="*/ 60 h 359"/>
              <a:gd name="T8" fmla="*/ 361 w 542"/>
              <a:gd name="T9" fmla="*/ 68 h 359"/>
              <a:gd name="T10" fmla="*/ 315 w 542"/>
              <a:gd name="T11" fmla="*/ 52 h 359"/>
              <a:gd name="T12" fmla="*/ 341 w 542"/>
              <a:gd name="T13" fmla="*/ 68 h 359"/>
              <a:gd name="T14" fmla="*/ 369 w 542"/>
              <a:gd name="T15" fmla="*/ 86 h 359"/>
              <a:gd name="T16" fmla="*/ 325 w 542"/>
              <a:gd name="T17" fmla="*/ 66 h 359"/>
              <a:gd name="T18" fmla="*/ 304 w 542"/>
              <a:gd name="T19" fmla="*/ 63 h 359"/>
              <a:gd name="T20" fmla="*/ 254 w 542"/>
              <a:gd name="T21" fmla="*/ 49 h 359"/>
              <a:gd name="T22" fmla="*/ 302 w 542"/>
              <a:gd name="T23" fmla="*/ 75 h 359"/>
              <a:gd name="T24" fmla="*/ 245 w 542"/>
              <a:gd name="T25" fmla="*/ 49 h 359"/>
              <a:gd name="T26" fmla="*/ 240 w 542"/>
              <a:gd name="T27" fmla="*/ 54 h 359"/>
              <a:gd name="T28" fmla="*/ 217 w 542"/>
              <a:gd name="T29" fmla="*/ 54 h 359"/>
              <a:gd name="T30" fmla="*/ 215 w 542"/>
              <a:gd name="T31" fmla="*/ 65 h 359"/>
              <a:gd name="T32" fmla="*/ 211 w 542"/>
              <a:gd name="T33" fmla="*/ 69 h 359"/>
              <a:gd name="T34" fmla="*/ 270 w 542"/>
              <a:gd name="T35" fmla="*/ 101 h 359"/>
              <a:gd name="T36" fmla="*/ 242 w 542"/>
              <a:gd name="T37" fmla="*/ 92 h 359"/>
              <a:gd name="T38" fmla="*/ 149 w 542"/>
              <a:gd name="T39" fmla="*/ 52 h 359"/>
              <a:gd name="T40" fmla="*/ 101 w 542"/>
              <a:gd name="T41" fmla="*/ 27 h 359"/>
              <a:gd name="T42" fmla="*/ 123 w 542"/>
              <a:gd name="T43" fmla="*/ 42 h 359"/>
              <a:gd name="T44" fmla="*/ 159 w 542"/>
              <a:gd name="T45" fmla="*/ 62 h 359"/>
              <a:gd name="T46" fmla="*/ 118 w 542"/>
              <a:gd name="T47" fmla="*/ 46 h 359"/>
              <a:gd name="T48" fmla="*/ 108 w 542"/>
              <a:gd name="T49" fmla="*/ 52 h 359"/>
              <a:gd name="T50" fmla="*/ 14 w 542"/>
              <a:gd name="T51" fmla="*/ 2 h 359"/>
              <a:gd name="T52" fmla="*/ 36 w 542"/>
              <a:gd name="T53" fmla="*/ 19 h 359"/>
              <a:gd name="T54" fmla="*/ 35 w 542"/>
              <a:gd name="T55" fmla="*/ 27 h 359"/>
              <a:gd name="T56" fmla="*/ 21 w 542"/>
              <a:gd name="T57" fmla="*/ 35 h 359"/>
              <a:gd name="T58" fmla="*/ 0 w 542"/>
              <a:gd name="T59" fmla="*/ 108 h 359"/>
              <a:gd name="T60" fmla="*/ 3 w 542"/>
              <a:gd name="T61" fmla="*/ 221 h 359"/>
              <a:gd name="T62" fmla="*/ 75 w 542"/>
              <a:gd name="T63" fmla="*/ 257 h 359"/>
              <a:gd name="T64" fmla="*/ 99 w 542"/>
              <a:gd name="T65" fmla="*/ 264 h 359"/>
              <a:gd name="T66" fmla="*/ 28 w 542"/>
              <a:gd name="T67" fmla="*/ 229 h 359"/>
              <a:gd name="T68" fmla="*/ 169 w 542"/>
              <a:gd name="T69" fmla="*/ 290 h 359"/>
              <a:gd name="T70" fmla="*/ 204 w 542"/>
              <a:gd name="T71" fmla="*/ 306 h 359"/>
              <a:gd name="T72" fmla="*/ 218 w 542"/>
              <a:gd name="T73" fmla="*/ 308 h 359"/>
              <a:gd name="T74" fmla="*/ 208 w 542"/>
              <a:gd name="T75" fmla="*/ 294 h 359"/>
              <a:gd name="T76" fmla="*/ 150 w 542"/>
              <a:gd name="T77" fmla="*/ 267 h 359"/>
              <a:gd name="T78" fmla="*/ 226 w 542"/>
              <a:gd name="T79" fmla="*/ 299 h 359"/>
              <a:gd name="T80" fmla="*/ 250 w 542"/>
              <a:gd name="T81" fmla="*/ 305 h 359"/>
              <a:gd name="T82" fmla="*/ 275 w 542"/>
              <a:gd name="T83" fmla="*/ 305 h 359"/>
              <a:gd name="T84" fmla="*/ 242 w 542"/>
              <a:gd name="T85" fmla="*/ 287 h 359"/>
              <a:gd name="T86" fmla="*/ 263 w 542"/>
              <a:gd name="T87" fmla="*/ 294 h 359"/>
              <a:gd name="T88" fmla="*/ 307 w 542"/>
              <a:gd name="T89" fmla="*/ 304 h 359"/>
              <a:gd name="T90" fmla="*/ 317 w 542"/>
              <a:gd name="T91" fmla="*/ 302 h 359"/>
              <a:gd name="T92" fmla="*/ 328 w 542"/>
              <a:gd name="T93" fmla="*/ 298 h 359"/>
              <a:gd name="T94" fmla="*/ 344 w 542"/>
              <a:gd name="T95" fmla="*/ 299 h 359"/>
              <a:gd name="T96" fmla="*/ 277 w 542"/>
              <a:gd name="T97" fmla="*/ 263 h 359"/>
              <a:gd name="T98" fmla="*/ 293 w 542"/>
              <a:gd name="T99" fmla="*/ 267 h 359"/>
              <a:gd name="T100" fmla="*/ 380 w 542"/>
              <a:gd name="T101" fmla="*/ 302 h 359"/>
              <a:gd name="T102" fmla="*/ 448 w 542"/>
              <a:gd name="T103" fmla="*/ 334 h 359"/>
              <a:gd name="T104" fmla="*/ 414 w 542"/>
              <a:gd name="T105" fmla="*/ 314 h 359"/>
              <a:gd name="T106" fmla="*/ 385 w 542"/>
              <a:gd name="T107" fmla="*/ 303 h 359"/>
              <a:gd name="T108" fmla="*/ 396 w 542"/>
              <a:gd name="T109" fmla="*/ 300 h 359"/>
              <a:gd name="T110" fmla="*/ 460 w 542"/>
              <a:gd name="T111" fmla="*/ 320 h 359"/>
              <a:gd name="T112" fmla="*/ 519 w 542"/>
              <a:gd name="T113" fmla="*/ 351 h 359"/>
              <a:gd name="T114" fmla="*/ 509 w 542"/>
              <a:gd name="T115" fmla="*/ 341 h 359"/>
              <a:gd name="T116" fmla="*/ 503 w 542"/>
              <a:gd name="T117" fmla="*/ 328 h 359"/>
              <a:gd name="T118" fmla="*/ 504 w 542"/>
              <a:gd name="T119" fmla="*/ 317 h 359"/>
              <a:gd name="T120" fmla="*/ 541 w 542"/>
              <a:gd name="T121" fmla="*/ 254 h 359"/>
              <a:gd name="T122" fmla="*/ 542 w 542"/>
              <a:gd name="T123" fmla="*/ 147 h 3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42" h="359">
                <a:moveTo>
                  <a:pt x="542" y="144"/>
                </a:moveTo>
                <a:cubicBezTo>
                  <a:pt x="542" y="139"/>
                  <a:pt x="542" y="139"/>
                  <a:pt x="542" y="139"/>
                </a:cubicBezTo>
                <a:cubicBezTo>
                  <a:pt x="537" y="139"/>
                  <a:pt x="537" y="139"/>
                  <a:pt x="537" y="139"/>
                </a:cubicBezTo>
                <a:cubicBezTo>
                  <a:pt x="529" y="135"/>
                  <a:pt x="522" y="131"/>
                  <a:pt x="514" y="127"/>
                </a:cubicBezTo>
                <a:cubicBezTo>
                  <a:pt x="500" y="120"/>
                  <a:pt x="485" y="114"/>
                  <a:pt x="472" y="106"/>
                </a:cubicBezTo>
                <a:cubicBezTo>
                  <a:pt x="472" y="106"/>
                  <a:pt x="472" y="106"/>
                  <a:pt x="472" y="106"/>
                </a:cubicBezTo>
                <a:cubicBezTo>
                  <a:pt x="470" y="105"/>
                  <a:pt x="469" y="104"/>
                  <a:pt x="466" y="104"/>
                </a:cubicBezTo>
                <a:cubicBezTo>
                  <a:pt x="464" y="103"/>
                  <a:pt x="463" y="102"/>
                  <a:pt x="461" y="101"/>
                </a:cubicBezTo>
                <a:cubicBezTo>
                  <a:pt x="462" y="102"/>
                  <a:pt x="465" y="104"/>
                  <a:pt x="465" y="104"/>
                </a:cubicBezTo>
                <a:cubicBezTo>
                  <a:pt x="466" y="105"/>
                  <a:pt x="467" y="105"/>
                  <a:pt x="467" y="105"/>
                </a:cubicBezTo>
                <a:cubicBezTo>
                  <a:pt x="468" y="106"/>
                  <a:pt x="470" y="107"/>
                  <a:pt x="470" y="107"/>
                </a:cubicBezTo>
                <a:cubicBezTo>
                  <a:pt x="468" y="107"/>
                  <a:pt x="472" y="108"/>
                  <a:pt x="471" y="109"/>
                </a:cubicBezTo>
                <a:cubicBezTo>
                  <a:pt x="470" y="109"/>
                  <a:pt x="469" y="108"/>
                  <a:pt x="469" y="108"/>
                </a:cubicBezTo>
                <a:cubicBezTo>
                  <a:pt x="469" y="109"/>
                  <a:pt x="471" y="109"/>
                  <a:pt x="472" y="110"/>
                </a:cubicBezTo>
                <a:cubicBezTo>
                  <a:pt x="473" y="110"/>
                  <a:pt x="475" y="111"/>
                  <a:pt x="475" y="112"/>
                </a:cubicBezTo>
                <a:cubicBezTo>
                  <a:pt x="474" y="111"/>
                  <a:pt x="472" y="110"/>
                  <a:pt x="471" y="110"/>
                </a:cubicBezTo>
                <a:cubicBezTo>
                  <a:pt x="471" y="110"/>
                  <a:pt x="470" y="110"/>
                  <a:pt x="470" y="110"/>
                </a:cubicBezTo>
                <a:cubicBezTo>
                  <a:pt x="472" y="111"/>
                  <a:pt x="473" y="111"/>
                  <a:pt x="475" y="112"/>
                </a:cubicBezTo>
                <a:cubicBezTo>
                  <a:pt x="476" y="113"/>
                  <a:pt x="477" y="113"/>
                  <a:pt x="479" y="114"/>
                </a:cubicBezTo>
                <a:cubicBezTo>
                  <a:pt x="479" y="114"/>
                  <a:pt x="479" y="115"/>
                  <a:pt x="478" y="115"/>
                </a:cubicBezTo>
                <a:cubicBezTo>
                  <a:pt x="476" y="114"/>
                  <a:pt x="474" y="112"/>
                  <a:pt x="472" y="111"/>
                </a:cubicBezTo>
                <a:cubicBezTo>
                  <a:pt x="468" y="109"/>
                  <a:pt x="463" y="107"/>
                  <a:pt x="458" y="105"/>
                </a:cubicBezTo>
                <a:cubicBezTo>
                  <a:pt x="458" y="105"/>
                  <a:pt x="457" y="105"/>
                  <a:pt x="457" y="104"/>
                </a:cubicBezTo>
                <a:cubicBezTo>
                  <a:pt x="456" y="104"/>
                  <a:pt x="454" y="103"/>
                  <a:pt x="453" y="102"/>
                </a:cubicBezTo>
                <a:cubicBezTo>
                  <a:pt x="452" y="102"/>
                  <a:pt x="451" y="101"/>
                  <a:pt x="449" y="101"/>
                </a:cubicBezTo>
                <a:cubicBezTo>
                  <a:pt x="447" y="100"/>
                  <a:pt x="446" y="99"/>
                  <a:pt x="443" y="98"/>
                </a:cubicBezTo>
                <a:cubicBezTo>
                  <a:pt x="443" y="99"/>
                  <a:pt x="445" y="100"/>
                  <a:pt x="448" y="101"/>
                </a:cubicBezTo>
                <a:cubicBezTo>
                  <a:pt x="452" y="104"/>
                  <a:pt x="456" y="106"/>
                  <a:pt x="460" y="106"/>
                </a:cubicBezTo>
                <a:cubicBezTo>
                  <a:pt x="465" y="109"/>
                  <a:pt x="469" y="111"/>
                  <a:pt x="474" y="113"/>
                </a:cubicBezTo>
                <a:cubicBezTo>
                  <a:pt x="477" y="115"/>
                  <a:pt x="481" y="116"/>
                  <a:pt x="484" y="118"/>
                </a:cubicBezTo>
                <a:cubicBezTo>
                  <a:pt x="486" y="119"/>
                  <a:pt x="488" y="120"/>
                  <a:pt x="490" y="121"/>
                </a:cubicBezTo>
                <a:cubicBezTo>
                  <a:pt x="491" y="122"/>
                  <a:pt x="493" y="123"/>
                  <a:pt x="494" y="124"/>
                </a:cubicBezTo>
                <a:cubicBezTo>
                  <a:pt x="492" y="123"/>
                  <a:pt x="491" y="122"/>
                  <a:pt x="489" y="121"/>
                </a:cubicBezTo>
                <a:cubicBezTo>
                  <a:pt x="489" y="121"/>
                  <a:pt x="488" y="121"/>
                  <a:pt x="487" y="121"/>
                </a:cubicBezTo>
                <a:cubicBezTo>
                  <a:pt x="487" y="121"/>
                  <a:pt x="487" y="121"/>
                  <a:pt x="487" y="121"/>
                </a:cubicBezTo>
                <a:cubicBezTo>
                  <a:pt x="487" y="121"/>
                  <a:pt x="489" y="122"/>
                  <a:pt x="491" y="123"/>
                </a:cubicBezTo>
                <a:cubicBezTo>
                  <a:pt x="491" y="123"/>
                  <a:pt x="492" y="124"/>
                  <a:pt x="492" y="124"/>
                </a:cubicBezTo>
                <a:cubicBezTo>
                  <a:pt x="494" y="125"/>
                  <a:pt x="495" y="125"/>
                  <a:pt x="496" y="126"/>
                </a:cubicBezTo>
                <a:cubicBezTo>
                  <a:pt x="498" y="126"/>
                  <a:pt x="499" y="127"/>
                  <a:pt x="501" y="127"/>
                </a:cubicBezTo>
                <a:cubicBezTo>
                  <a:pt x="501" y="127"/>
                  <a:pt x="501" y="128"/>
                  <a:pt x="501" y="128"/>
                </a:cubicBezTo>
                <a:cubicBezTo>
                  <a:pt x="503" y="130"/>
                  <a:pt x="504" y="131"/>
                  <a:pt x="507" y="131"/>
                </a:cubicBezTo>
                <a:cubicBezTo>
                  <a:pt x="510" y="132"/>
                  <a:pt x="511" y="133"/>
                  <a:pt x="514" y="134"/>
                </a:cubicBezTo>
                <a:cubicBezTo>
                  <a:pt x="514" y="135"/>
                  <a:pt x="513" y="135"/>
                  <a:pt x="510" y="135"/>
                </a:cubicBezTo>
                <a:cubicBezTo>
                  <a:pt x="512" y="136"/>
                  <a:pt x="514" y="136"/>
                  <a:pt x="515" y="137"/>
                </a:cubicBezTo>
                <a:cubicBezTo>
                  <a:pt x="515" y="137"/>
                  <a:pt x="515" y="137"/>
                  <a:pt x="515" y="137"/>
                </a:cubicBezTo>
                <a:cubicBezTo>
                  <a:pt x="505" y="133"/>
                  <a:pt x="494" y="128"/>
                  <a:pt x="485" y="123"/>
                </a:cubicBezTo>
                <a:cubicBezTo>
                  <a:pt x="484" y="123"/>
                  <a:pt x="483" y="123"/>
                  <a:pt x="482" y="122"/>
                </a:cubicBezTo>
                <a:cubicBezTo>
                  <a:pt x="479" y="121"/>
                  <a:pt x="476" y="119"/>
                  <a:pt x="473" y="118"/>
                </a:cubicBezTo>
                <a:cubicBezTo>
                  <a:pt x="472" y="117"/>
                  <a:pt x="471" y="117"/>
                  <a:pt x="471" y="117"/>
                </a:cubicBezTo>
                <a:cubicBezTo>
                  <a:pt x="470" y="117"/>
                  <a:pt x="469" y="117"/>
                  <a:pt x="468" y="117"/>
                </a:cubicBezTo>
                <a:cubicBezTo>
                  <a:pt x="455" y="110"/>
                  <a:pt x="444" y="104"/>
                  <a:pt x="430" y="97"/>
                </a:cubicBezTo>
                <a:cubicBezTo>
                  <a:pt x="430" y="96"/>
                  <a:pt x="428" y="95"/>
                  <a:pt x="426" y="94"/>
                </a:cubicBezTo>
                <a:cubicBezTo>
                  <a:pt x="425" y="94"/>
                  <a:pt x="425" y="93"/>
                  <a:pt x="421" y="92"/>
                </a:cubicBezTo>
                <a:cubicBezTo>
                  <a:pt x="421" y="92"/>
                  <a:pt x="418" y="92"/>
                  <a:pt x="417" y="91"/>
                </a:cubicBezTo>
                <a:cubicBezTo>
                  <a:pt x="412" y="89"/>
                  <a:pt x="409" y="87"/>
                  <a:pt x="403" y="84"/>
                </a:cubicBezTo>
                <a:cubicBezTo>
                  <a:pt x="405" y="86"/>
                  <a:pt x="409" y="87"/>
                  <a:pt x="409" y="89"/>
                </a:cubicBezTo>
                <a:cubicBezTo>
                  <a:pt x="399" y="84"/>
                  <a:pt x="390" y="80"/>
                  <a:pt x="382" y="76"/>
                </a:cubicBezTo>
                <a:cubicBezTo>
                  <a:pt x="380" y="74"/>
                  <a:pt x="378" y="73"/>
                  <a:pt x="374" y="72"/>
                </a:cubicBezTo>
                <a:cubicBezTo>
                  <a:pt x="374" y="72"/>
                  <a:pt x="373" y="71"/>
                  <a:pt x="373" y="71"/>
                </a:cubicBezTo>
                <a:cubicBezTo>
                  <a:pt x="371" y="69"/>
                  <a:pt x="366" y="68"/>
                  <a:pt x="364" y="66"/>
                </a:cubicBezTo>
                <a:cubicBezTo>
                  <a:pt x="363" y="66"/>
                  <a:pt x="363" y="66"/>
                  <a:pt x="363" y="66"/>
                </a:cubicBezTo>
                <a:cubicBezTo>
                  <a:pt x="363" y="66"/>
                  <a:pt x="363" y="66"/>
                  <a:pt x="363" y="66"/>
                </a:cubicBezTo>
                <a:cubicBezTo>
                  <a:pt x="363" y="66"/>
                  <a:pt x="363" y="66"/>
                  <a:pt x="364" y="66"/>
                </a:cubicBezTo>
                <a:cubicBezTo>
                  <a:pt x="361" y="64"/>
                  <a:pt x="356" y="62"/>
                  <a:pt x="352" y="60"/>
                </a:cubicBezTo>
                <a:cubicBezTo>
                  <a:pt x="347" y="57"/>
                  <a:pt x="342" y="54"/>
                  <a:pt x="340" y="52"/>
                </a:cubicBezTo>
                <a:cubicBezTo>
                  <a:pt x="339" y="52"/>
                  <a:pt x="338" y="51"/>
                  <a:pt x="338" y="51"/>
                </a:cubicBezTo>
                <a:cubicBezTo>
                  <a:pt x="334" y="49"/>
                  <a:pt x="328" y="46"/>
                  <a:pt x="324" y="44"/>
                </a:cubicBezTo>
                <a:cubicBezTo>
                  <a:pt x="323" y="43"/>
                  <a:pt x="321" y="42"/>
                  <a:pt x="318" y="42"/>
                </a:cubicBezTo>
                <a:cubicBezTo>
                  <a:pt x="317" y="41"/>
                  <a:pt x="316" y="41"/>
                  <a:pt x="314" y="40"/>
                </a:cubicBezTo>
                <a:cubicBezTo>
                  <a:pt x="314" y="40"/>
                  <a:pt x="313" y="40"/>
                  <a:pt x="313" y="40"/>
                </a:cubicBezTo>
                <a:cubicBezTo>
                  <a:pt x="313" y="40"/>
                  <a:pt x="313" y="40"/>
                  <a:pt x="313" y="40"/>
                </a:cubicBezTo>
                <a:cubicBezTo>
                  <a:pt x="316" y="42"/>
                  <a:pt x="321" y="45"/>
                  <a:pt x="326" y="47"/>
                </a:cubicBezTo>
                <a:cubicBezTo>
                  <a:pt x="328" y="48"/>
                  <a:pt x="331" y="49"/>
                  <a:pt x="331" y="50"/>
                </a:cubicBezTo>
                <a:cubicBezTo>
                  <a:pt x="338" y="52"/>
                  <a:pt x="333" y="53"/>
                  <a:pt x="338" y="54"/>
                </a:cubicBezTo>
                <a:cubicBezTo>
                  <a:pt x="338" y="54"/>
                  <a:pt x="338" y="54"/>
                  <a:pt x="338" y="54"/>
                </a:cubicBezTo>
                <a:cubicBezTo>
                  <a:pt x="339" y="55"/>
                  <a:pt x="339" y="56"/>
                  <a:pt x="342" y="57"/>
                </a:cubicBezTo>
                <a:cubicBezTo>
                  <a:pt x="345" y="59"/>
                  <a:pt x="349" y="60"/>
                  <a:pt x="351" y="62"/>
                </a:cubicBezTo>
                <a:cubicBezTo>
                  <a:pt x="353" y="63"/>
                  <a:pt x="354" y="63"/>
                  <a:pt x="356" y="63"/>
                </a:cubicBezTo>
                <a:cubicBezTo>
                  <a:pt x="356" y="64"/>
                  <a:pt x="354" y="64"/>
                  <a:pt x="357" y="65"/>
                </a:cubicBezTo>
                <a:cubicBezTo>
                  <a:pt x="357" y="66"/>
                  <a:pt x="361" y="67"/>
                  <a:pt x="361" y="68"/>
                </a:cubicBezTo>
                <a:cubicBezTo>
                  <a:pt x="361" y="68"/>
                  <a:pt x="360" y="68"/>
                  <a:pt x="360" y="68"/>
                </a:cubicBezTo>
                <a:cubicBezTo>
                  <a:pt x="358" y="67"/>
                  <a:pt x="359" y="68"/>
                  <a:pt x="359" y="69"/>
                </a:cubicBezTo>
                <a:cubicBezTo>
                  <a:pt x="355" y="68"/>
                  <a:pt x="352" y="66"/>
                  <a:pt x="352" y="66"/>
                </a:cubicBezTo>
                <a:cubicBezTo>
                  <a:pt x="352" y="64"/>
                  <a:pt x="350" y="63"/>
                  <a:pt x="346" y="62"/>
                </a:cubicBezTo>
                <a:cubicBezTo>
                  <a:pt x="344" y="62"/>
                  <a:pt x="342" y="61"/>
                  <a:pt x="341" y="60"/>
                </a:cubicBezTo>
                <a:cubicBezTo>
                  <a:pt x="340" y="59"/>
                  <a:pt x="338" y="58"/>
                  <a:pt x="336" y="58"/>
                </a:cubicBezTo>
                <a:cubicBezTo>
                  <a:pt x="336" y="58"/>
                  <a:pt x="336" y="58"/>
                  <a:pt x="335" y="58"/>
                </a:cubicBezTo>
                <a:cubicBezTo>
                  <a:pt x="332" y="56"/>
                  <a:pt x="328" y="54"/>
                  <a:pt x="324" y="53"/>
                </a:cubicBezTo>
                <a:cubicBezTo>
                  <a:pt x="324" y="53"/>
                  <a:pt x="324" y="53"/>
                  <a:pt x="324" y="53"/>
                </a:cubicBezTo>
                <a:cubicBezTo>
                  <a:pt x="324" y="53"/>
                  <a:pt x="324" y="53"/>
                  <a:pt x="324" y="53"/>
                </a:cubicBezTo>
                <a:cubicBezTo>
                  <a:pt x="324" y="53"/>
                  <a:pt x="324" y="53"/>
                  <a:pt x="324" y="53"/>
                </a:cubicBezTo>
                <a:cubicBezTo>
                  <a:pt x="322" y="51"/>
                  <a:pt x="319" y="50"/>
                  <a:pt x="317" y="49"/>
                </a:cubicBezTo>
                <a:cubicBezTo>
                  <a:pt x="313" y="48"/>
                  <a:pt x="310" y="46"/>
                  <a:pt x="306" y="44"/>
                </a:cubicBezTo>
                <a:cubicBezTo>
                  <a:pt x="307" y="46"/>
                  <a:pt x="317" y="49"/>
                  <a:pt x="315" y="51"/>
                </a:cubicBezTo>
                <a:cubicBezTo>
                  <a:pt x="314" y="50"/>
                  <a:pt x="314" y="51"/>
                  <a:pt x="314" y="52"/>
                </a:cubicBezTo>
                <a:cubicBezTo>
                  <a:pt x="314" y="52"/>
                  <a:pt x="314" y="52"/>
                  <a:pt x="315" y="52"/>
                </a:cubicBezTo>
                <a:cubicBezTo>
                  <a:pt x="317" y="53"/>
                  <a:pt x="319" y="53"/>
                  <a:pt x="322" y="54"/>
                </a:cubicBezTo>
                <a:cubicBezTo>
                  <a:pt x="322" y="55"/>
                  <a:pt x="323" y="55"/>
                  <a:pt x="324" y="55"/>
                </a:cubicBezTo>
                <a:cubicBezTo>
                  <a:pt x="325" y="56"/>
                  <a:pt x="326" y="56"/>
                  <a:pt x="326" y="57"/>
                </a:cubicBezTo>
                <a:cubicBezTo>
                  <a:pt x="332" y="59"/>
                  <a:pt x="336" y="62"/>
                  <a:pt x="340" y="65"/>
                </a:cubicBezTo>
                <a:cubicBezTo>
                  <a:pt x="338" y="65"/>
                  <a:pt x="336" y="63"/>
                  <a:pt x="334" y="63"/>
                </a:cubicBezTo>
                <a:cubicBezTo>
                  <a:pt x="334" y="64"/>
                  <a:pt x="338" y="65"/>
                  <a:pt x="339" y="66"/>
                </a:cubicBezTo>
                <a:cubicBezTo>
                  <a:pt x="339" y="66"/>
                  <a:pt x="339" y="66"/>
                  <a:pt x="338" y="66"/>
                </a:cubicBezTo>
                <a:cubicBezTo>
                  <a:pt x="338" y="66"/>
                  <a:pt x="338" y="66"/>
                  <a:pt x="338" y="66"/>
                </a:cubicBezTo>
                <a:cubicBezTo>
                  <a:pt x="338" y="66"/>
                  <a:pt x="338" y="67"/>
                  <a:pt x="337" y="66"/>
                </a:cubicBezTo>
                <a:cubicBezTo>
                  <a:pt x="334" y="65"/>
                  <a:pt x="333" y="65"/>
                  <a:pt x="332" y="65"/>
                </a:cubicBezTo>
                <a:cubicBezTo>
                  <a:pt x="331" y="65"/>
                  <a:pt x="333" y="66"/>
                  <a:pt x="334" y="67"/>
                </a:cubicBezTo>
                <a:cubicBezTo>
                  <a:pt x="337" y="68"/>
                  <a:pt x="340" y="69"/>
                  <a:pt x="341" y="70"/>
                </a:cubicBezTo>
                <a:cubicBezTo>
                  <a:pt x="343" y="72"/>
                  <a:pt x="345" y="72"/>
                  <a:pt x="347" y="72"/>
                </a:cubicBezTo>
                <a:cubicBezTo>
                  <a:pt x="349" y="73"/>
                  <a:pt x="351" y="74"/>
                  <a:pt x="355" y="76"/>
                </a:cubicBezTo>
                <a:cubicBezTo>
                  <a:pt x="353" y="74"/>
                  <a:pt x="351" y="73"/>
                  <a:pt x="347" y="72"/>
                </a:cubicBezTo>
                <a:cubicBezTo>
                  <a:pt x="345" y="71"/>
                  <a:pt x="343" y="70"/>
                  <a:pt x="341" y="68"/>
                </a:cubicBezTo>
                <a:cubicBezTo>
                  <a:pt x="339" y="68"/>
                  <a:pt x="339" y="67"/>
                  <a:pt x="341" y="67"/>
                </a:cubicBezTo>
                <a:cubicBezTo>
                  <a:pt x="343" y="68"/>
                  <a:pt x="346" y="69"/>
                  <a:pt x="347" y="68"/>
                </a:cubicBezTo>
                <a:cubicBezTo>
                  <a:pt x="347" y="69"/>
                  <a:pt x="348" y="69"/>
                  <a:pt x="349" y="69"/>
                </a:cubicBezTo>
                <a:cubicBezTo>
                  <a:pt x="349" y="70"/>
                  <a:pt x="351" y="71"/>
                  <a:pt x="353" y="72"/>
                </a:cubicBezTo>
                <a:cubicBezTo>
                  <a:pt x="359" y="75"/>
                  <a:pt x="364" y="78"/>
                  <a:pt x="370" y="81"/>
                </a:cubicBezTo>
                <a:cubicBezTo>
                  <a:pt x="373" y="83"/>
                  <a:pt x="375" y="84"/>
                  <a:pt x="380" y="86"/>
                </a:cubicBezTo>
                <a:cubicBezTo>
                  <a:pt x="382" y="88"/>
                  <a:pt x="388" y="90"/>
                  <a:pt x="390" y="92"/>
                </a:cubicBezTo>
                <a:cubicBezTo>
                  <a:pt x="391" y="93"/>
                  <a:pt x="393" y="94"/>
                  <a:pt x="394" y="95"/>
                </a:cubicBezTo>
                <a:cubicBezTo>
                  <a:pt x="395" y="96"/>
                  <a:pt x="396" y="96"/>
                  <a:pt x="396" y="97"/>
                </a:cubicBezTo>
                <a:cubicBezTo>
                  <a:pt x="397" y="97"/>
                  <a:pt x="397" y="98"/>
                  <a:pt x="398" y="98"/>
                </a:cubicBezTo>
                <a:cubicBezTo>
                  <a:pt x="396" y="97"/>
                  <a:pt x="394" y="96"/>
                  <a:pt x="392" y="95"/>
                </a:cubicBezTo>
                <a:cubicBezTo>
                  <a:pt x="390" y="95"/>
                  <a:pt x="390" y="94"/>
                  <a:pt x="388" y="94"/>
                </a:cubicBezTo>
                <a:cubicBezTo>
                  <a:pt x="387" y="93"/>
                  <a:pt x="385" y="92"/>
                  <a:pt x="384" y="92"/>
                </a:cubicBezTo>
                <a:cubicBezTo>
                  <a:pt x="384" y="92"/>
                  <a:pt x="384" y="93"/>
                  <a:pt x="383" y="93"/>
                </a:cubicBezTo>
                <a:cubicBezTo>
                  <a:pt x="380" y="91"/>
                  <a:pt x="378" y="90"/>
                  <a:pt x="374" y="88"/>
                </a:cubicBezTo>
                <a:cubicBezTo>
                  <a:pt x="372" y="87"/>
                  <a:pt x="370" y="87"/>
                  <a:pt x="369" y="86"/>
                </a:cubicBezTo>
                <a:cubicBezTo>
                  <a:pt x="369" y="86"/>
                  <a:pt x="370" y="85"/>
                  <a:pt x="369" y="85"/>
                </a:cubicBezTo>
                <a:cubicBezTo>
                  <a:pt x="367" y="84"/>
                  <a:pt x="367" y="85"/>
                  <a:pt x="367" y="85"/>
                </a:cubicBezTo>
                <a:cubicBezTo>
                  <a:pt x="365" y="84"/>
                  <a:pt x="364" y="83"/>
                  <a:pt x="362" y="83"/>
                </a:cubicBezTo>
                <a:cubicBezTo>
                  <a:pt x="362" y="83"/>
                  <a:pt x="362" y="83"/>
                  <a:pt x="362" y="83"/>
                </a:cubicBezTo>
                <a:cubicBezTo>
                  <a:pt x="356" y="78"/>
                  <a:pt x="346" y="74"/>
                  <a:pt x="338" y="70"/>
                </a:cubicBezTo>
                <a:cubicBezTo>
                  <a:pt x="334" y="67"/>
                  <a:pt x="330" y="65"/>
                  <a:pt x="326" y="63"/>
                </a:cubicBezTo>
                <a:cubicBezTo>
                  <a:pt x="324" y="61"/>
                  <a:pt x="321" y="60"/>
                  <a:pt x="318" y="59"/>
                </a:cubicBezTo>
                <a:cubicBezTo>
                  <a:pt x="317" y="58"/>
                  <a:pt x="317" y="57"/>
                  <a:pt x="314" y="57"/>
                </a:cubicBezTo>
                <a:cubicBezTo>
                  <a:pt x="309" y="56"/>
                  <a:pt x="312" y="57"/>
                  <a:pt x="312" y="58"/>
                </a:cubicBezTo>
                <a:cubicBezTo>
                  <a:pt x="311" y="57"/>
                  <a:pt x="310" y="57"/>
                  <a:pt x="308" y="56"/>
                </a:cubicBezTo>
                <a:cubicBezTo>
                  <a:pt x="310" y="58"/>
                  <a:pt x="313" y="60"/>
                  <a:pt x="316" y="61"/>
                </a:cubicBezTo>
                <a:cubicBezTo>
                  <a:pt x="315" y="61"/>
                  <a:pt x="314" y="62"/>
                  <a:pt x="316" y="62"/>
                </a:cubicBezTo>
                <a:cubicBezTo>
                  <a:pt x="319" y="64"/>
                  <a:pt x="321" y="65"/>
                  <a:pt x="325" y="66"/>
                </a:cubicBezTo>
                <a:cubicBezTo>
                  <a:pt x="325" y="66"/>
                  <a:pt x="325" y="66"/>
                  <a:pt x="325" y="67"/>
                </a:cubicBezTo>
                <a:cubicBezTo>
                  <a:pt x="325" y="67"/>
                  <a:pt x="325" y="67"/>
                  <a:pt x="325" y="67"/>
                </a:cubicBezTo>
                <a:cubicBezTo>
                  <a:pt x="325" y="67"/>
                  <a:pt x="325" y="66"/>
                  <a:pt x="325" y="66"/>
                </a:cubicBezTo>
                <a:cubicBezTo>
                  <a:pt x="325" y="67"/>
                  <a:pt x="322" y="67"/>
                  <a:pt x="327" y="68"/>
                </a:cubicBezTo>
                <a:cubicBezTo>
                  <a:pt x="328" y="69"/>
                  <a:pt x="330" y="70"/>
                  <a:pt x="328" y="70"/>
                </a:cubicBezTo>
                <a:cubicBezTo>
                  <a:pt x="328" y="70"/>
                  <a:pt x="328" y="70"/>
                  <a:pt x="328" y="70"/>
                </a:cubicBezTo>
                <a:cubicBezTo>
                  <a:pt x="328" y="70"/>
                  <a:pt x="328" y="70"/>
                  <a:pt x="328" y="70"/>
                </a:cubicBezTo>
                <a:cubicBezTo>
                  <a:pt x="328" y="70"/>
                  <a:pt x="328" y="70"/>
                  <a:pt x="328" y="70"/>
                </a:cubicBezTo>
                <a:cubicBezTo>
                  <a:pt x="323" y="67"/>
                  <a:pt x="319" y="65"/>
                  <a:pt x="312" y="62"/>
                </a:cubicBezTo>
                <a:cubicBezTo>
                  <a:pt x="311" y="62"/>
                  <a:pt x="310" y="61"/>
                  <a:pt x="309" y="60"/>
                </a:cubicBezTo>
                <a:cubicBezTo>
                  <a:pt x="306" y="60"/>
                  <a:pt x="310" y="62"/>
                  <a:pt x="310" y="62"/>
                </a:cubicBezTo>
                <a:cubicBezTo>
                  <a:pt x="309" y="62"/>
                  <a:pt x="308" y="62"/>
                  <a:pt x="307" y="62"/>
                </a:cubicBezTo>
                <a:cubicBezTo>
                  <a:pt x="303" y="61"/>
                  <a:pt x="301" y="59"/>
                  <a:pt x="298" y="58"/>
                </a:cubicBezTo>
                <a:cubicBezTo>
                  <a:pt x="296" y="57"/>
                  <a:pt x="294" y="55"/>
                  <a:pt x="292" y="55"/>
                </a:cubicBezTo>
                <a:cubicBezTo>
                  <a:pt x="289" y="55"/>
                  <a:pt x="295" y="57"/>
                  <a:pt x="296" y="58"/>
                </a:cubicBezTo>
                <a:cubicBezTo>
                  <a:pt x="296" y="58"/>
                  <a:pt x="296" y="58"/>
                  <a:pt x="296" y="58"/>
                </a:cubicBezTo>
                <a:cubicBezTo>
                  <a:pt x="296" y="58"/>
                  <a:pt x="296" y="58"/>
                  <a:pt x="296" y="58"/>
                </a:cubicBezTo>
                <a:cubicBezTo>
                  <a:pt x="295" y="58"/>
                  <a:pt x="295" y="58"/>
                  <a:pt x="294" y="58"/>
                </a:cubicBezTo>
                <a:cubicBezTo>
                  <a:pt x="297" y="60"/>
                  <a:pt x="302" y="61"/>
                  <a:pt x="304" y="63"/>
                </a:cubicBezTo>
                <a:cubicBezTo>
                  <a:pt x="305" y="63"/>
                  <a:pt x="305" y="64"/>
                  <a:pt x="306" y="64"/>
                </a:cubicBezTo>
                <a:cubicBezTo>
                  <a:pt x="306" y="64"/>
                  <a:pt x="305" y="64"/>
                  <a:pt x="304" y="64"/>
                </a:cubicBezTo>
                <a:cubicBezTo>
                  <a:pt x="304" y="65"/>
                  <a:pt x="304" y="65"/>
                  <a:pt x="305" y="66"/>
                </a:cubicBezTo>
                <a:cubicBezTo>
                  <a:pt x="311" y="69"/>
                  <a:pt x="311" y="69"/>
                  <a:pt x="305" y="69"/>
                </a:cubicBezTo>
                <a:cubicBezTo>
                  <a:pt x="305" y="69"/>
                  <a:pt x="305" y="69"/>
                  <a:pt x="305" y="69"/>
                </a:cubicBezTo>
                <a:cubicBezTo>
                  <a:pt x="305" y="69"/>
                  <a:pt x="305" y="69"/>
                  <a:pt x="305" y="69"/>
                </a:cubicBezTo>
                <a:cubicBezTo>
                  <a:pt x="305" y="69"/>
                  <a:pt x="305" y="69"/>
                  <a:pt x="305" y="69"/>
                </a:cubicBezTo>
                <a:cubicBezTo>
                  <a:pt x="303" y="69"/>
                  <a:pt x="303" y="67"/>
                  <a:pt x="300" y="67"/>
                </a:cubicBezTo>
                <a:cubicBezTo>
                  <a:pt x="298" y="68"/>
                  <a:pt x="301" y="69"/>
                  <a:pt x="302" y="69"/>
                </a:cubicBezTo>
                <a:cubicBezTo>
                  <a:pt x="303" y="70"/>
                  <a:pt x="303" y="71"/>
                  <a:pt x="301" y="70"/>
                </a:cubicBezTo>
                <a:cubicBezTo>
                  <a:pt x="295" y="68"/>
                  <a:pt x="289" y="67"/>
                  <a:pt x="284" y="64"/>
                </a:cubicBezTo>
                <a:cubicBezTo>
                  <a:pt x="284" y="64"/>
                  <a:pt x="283" y="63"/>
                  <a:pt x="284" y="63"/>
                </a:cubicBezTo>
                <a:cubicBezTo>
                  <a:pt x="284" y="63"/>
                  <a:pt x="286" y="64"/>
                  <a:pt x="287" y="64"/>
                </a:cubicBezTo>
                <a:cubicBezTo>
                  <a:pt x="282" y="61"/>
                  <a:pt x="272" y="58"/>
                  <a:pt x="267" y="55"/>
                </a:cubicBezTo>
                <a:cubicBezTo>
                  <a:pt x="265" y="54"/>
                  <a:pt x="262" y="52"/>
                  <a:pt x="258" y="50"/>
                </a:cubicBezTo>
                <a:cubicBezTo>
                  <a:pt x="257" y="50"/>
                  <a:pt x="256" y="49"/>
                  <a:pt x="254" y="49"/>
                </a:cubicBezTo>
                <a:cubicBezTo>
                  <a:pt x="252" y="49"/>
                  <a:pt x="253" y="50"/>
                  <a:pt x="255" y="50"/>
                </a:cubicBezTo>
                <a:cubicBezTo>
                  <a:pt x="259" y="52"/>
                  <a:pt x="255" y="52"/>
                  <a:pt x="255" y="52"/>
                </a:cubicBezTo>
                <a:cubicBezTo>
                  <a:pt x="254" y="52"/>
                  <a:pt x="253" y="52"/>
                  <a:pt x="253" y="52"/>
                </a:cubicBezTo>
                <a:cubicBezTo>
                  <a:pt x="255" y="53"/>
                  <a:pt x="255" y="54"/>
                  <a:pt x="260" y="55"/>
                </a:cubicBezTo>
                <a:cubicBezTo>
                  <a:pt x="261" y="54"/>
                  <a:pt x="259" y="53"/>
                  <a:pt x="259" y="53"/>
                </a:cubicBezTo>
                <a:cubicBezTo>
                  <a:pt x="262" y="54"/>
                  <a:pt x="262" y="55"/>
                  <a:pt x="264" y="55"/>
                </a:cubicBezTo>
                <a:cubicBezTo>
                  <a:pt x="269" y="57"/>
                  <a:pt x="269" y="59"/>
                  <a:pt x="274" y="61"/>
                </a:cubicBezTo>
                <a:cubicBezTo>
                  <a:pt x="276" y="62"/>
                  <a:pt x="278" y="63"/>
                  <a:pt x="280" y="64"/>
                </a:cubicBezTo>
                <a:cubicBezTo>
                  <a:pt x="280" y="64"/>
                  <a:pt x="279" y="65"/>
                  <a:pt x="280" y="66"/>
                </a:cubicBezTo>
                <a:cubicBezTo>
                  <a:pt x="282" y="67"/>
                  <a:pt x="284" y="68"/>
                  <a:pt x="286" y="69"/>
                </a:cubicBezTo>
                <a:cubicBezTo>
                  <a:pt x="286" y="69"/>
                  <a:pt x="287" y="69"/>
                  <a:pt x="287" y="69"/>
                </a:cubicBezTo>
                <a:cubicBezTo>
                  <a:pt x="285" y="68"/>
                  <a:pt x="283" y="67"/>
                  <a:pt x="281" y="66"/>
                </a:cubicBezTo>
                <a:cubicBezTo>
                  <a:pt x="286" y="66"/>
                  <a:pt x="287" y="68"/>
                  <a:pt x="290" y="69"/>
                </a:cubicBezTo>
                <a:cubicBezTo>
                  <a:pt x="291" y="71"/>
                  <a:pt x="297" y="73"/>
                  <a:pt x="300" y="74"/>
                </a:cubicBezTo>
                <a:cubicBezTo>
                  <a:pt x="300" y="75"/>
                  <a:pt x="301" y="75"/>
                  <a:pt x="302" y="75"/>
                </a:cubicBezTo>
                <a:cubicBezTo>
                  <a:pt x="302" y="75"/>
                  <a:pt x="302" y="75"/>
                  <a:pt x="302" y="75"/>
                </a:cubicBezTo>
                <a:cubicBezTo>
                  <a:pt x="302" y="75"/>
                  <a:pt x="302" y="75"/>
                  <a:pt x="302" y="75"/>
                </a:cubicBezTo>
                <a:cubicBezTo>
                  <a:pt x="302" y="75"/>
                  <a:pt x="302" y="75"/>
                  <a:pt x="302" y="75"/>
                </a:cubicBezTo>
                <a:cubicBezTo>
                  <a:pt x="306" y="77"/>
                  <a:pt x="308" y="79"/>
                  <a:pt x="313" y="80"/>
                </a:cubicBezTo>
                <a:cubicBezTo>
                  <a:pt x="313" y="80"/>
                  <a:pt x="313" y="80"/>
                  <a:pt x="313" y="80"/>
                </a:cubicBezTo>
                <a:cubicBezTo>
                  <a:pt x="313" y="80"/>
                  <a:pt x="313" y="80"/>
                  <a:pt x="313" y="80"/>
                </a:cubicBezTo>
                <a:cubicBezTo>
                  <a:pt x="314" y="81"/>
                  <a:pt x="316" y="82"/>
                  <a:pt x="318" y="83"/>
                </a:cubicBezTo>
                <a:cubicBezTo>
                  <a:pt x="319" y="84"/>
                  <a:pt x="322" y="85"/>
                  <a:pt x="325" y="86"/>
                </a:cubicBezTo>
                <a:cubicBezTo>
                  <a:pt x="327" y="87"/>
                  <a:pt x="328" y="88"/>
                  <a:pt x="330" y="89"/>
                </a:cubicBezTo>
                <a:cubicBezTo>
                  <a:pt x="330" y="89"/>
                  <a:pt x="330" y="90"/>
                  <a:pt x="330" y="90"/>
                </a:cubicBezTo>
                <a:cubicBezTo>
                  <a:pt x="332" y="91"/>
                  <a:pt x="335" y="92"/>
                  <a:pt x="334" y="93"/>
                </a:cubicBezTo>
                <a:cubicBezTo>
                  <a:pt x="328" y="90"/>
                  <a:pt x="324" y="88"/>
                  <a:pt x="317" y="85"/>
                </a:cubicBezTo>
                <a:cubicBezTo>
                  <a:pt x="306" y="80"/>
                  <a:pt x="296" y="74"/>
                  <a:pt x="285" y="69"/>
                </a:cubicBezTo>
                <a:cubicBezTo>
                  <a:pt x="284" y="68"/>
                  <a:pt x="282" y="68"/>
                  <a:pt x="281" y="67"/>
                </a:cubicBezTo>
                <a:cubicBezTo>
                  <a:pt x="280" y="67"/>
                  <a:pt x="280" y="67"/>
                  <a:pt x="279" y="66"/>
                </a:cubicBezTo>
                <a:cubicBezTo>
                  <a:pt x="273" y="64"/>
                  <a:pt x="268" y="61"/>
                  <a:pt x="262" y="58"/>
                </a:cubicBezTo>
                <a:cubicBezTo>
                  <a:pt x="256" y="55"/>
                  <a:pt x="249" y="52"/>
                  <a:pt x="245" y="49"/>
                </a:cubicBezTo>
                <a:cubicBezTo>
                  <a:pt x="244" y="48"/>
                  <a:pt x="241" y="47"/>
                  <a:pt x="239" y="45"/>
                </a:cubicBezTo>
                <a:cubicBezTo>
                  <a:pt x="240" y="46"/>
                  <a:pt x="241" y="46"/>
                  <a:pt x="242" y="46"/>
                </a:cubicBezTo>
                <a:cubicBezTo>
                  <a:pt x="242" y="45"/>
                  <a:pt x="240" y="45"/>
                  <a:pt x="238" y="44"/>
                </a:cubicBezTo>
                <a:cubicBezTo>
                  <a:pt x="237" y="44"/>
                  <a:pt x="238" y="45"/>
                  <a:pt x="238" y="45"/>
                </a:cubicBezTo>
                <a:cubicBezTo>
                  <a:pt x="237" y="45"/>
                  <a:pt x="236" y="44"/>
                  <a:pt x="233" y="44"/>
                </a:cubicBezTo>
                <a:cubicBezTo>
                  <a:pt x="238" y="46"/>
                  <a:pt x="239" y="47"/>
                  <a:pt x="243" y="49"/>
                </a:cubicBezTo>
                <a:cubicBezTo>
                  <a:pt x="245" y="50"/>
                  <a:pt x="246" y="51"/>
                  <a:pt x="248" y="52"/>
                </a:cubicBezTo>
                <a:cubicBezTo>
                  <a:pt x="252" y="55"/>
                  <a:pt x="258" y="58"/>
                  <a:pt x="262" y="60"/>
                </a:cubicBezTo>
                <a:cubicBezTo>
                  <a:pt x="261" y="60"/>
                  <a:pt x="262" y="61"/>
                  <a:pt x="262" y="61"/>
                </a:cubicBezTo>
                <a:cubicBezTo>
                  <a:pt x="263" y="62"/>
                  <a:pt x="263" y="63"/>
                  <a:pt x="262" y="63"/>
                </a:cubicBezTo>
                <a:cubicBezTo>
                  <a:pt x="260" y="63"/>
                  <a:pt x="258" y="62"/>
                  <a:pt x="257" y="61"/>
                </a:cubicBezTo>
                <a:cubicBezTo>
                  <a:pt x="254" y="60"/>
                  <a:pt x="250" y="59"/>
                  <a:pt x="246" y="57"/>
                </a:cubicBezTo>
                <a:cubicBezTo>
                  <a:pt x="242" y="56"/>
                  <a:pt x="240" y="56"/>
                  <a:pt x="238" y="57"/>
                </a:cubicBezTo>
                <a:cubicBezTo>
                  <a:pt x="238" y="57"/>
                  <a:pt x="236" y="57"/>
                  <a:pt x="235" y="56"/>
                </a:cubicBezTo>
                <a:cubicBezTo>
                  <a:pt x="234" y="55"/>
                  <a:pt x="234" y="55"/>
                  <a:pt x="236" y="55"/>
                </a:cubicBezTo>
                <a:cubicBezTo>
                  <a:pt x="239" y="56"/>
                  <a:pt x="238" y="54"/>
                  <a:pt x="240" y="54"/>
                </a:cubicBezTo>
                <a:cubicBezTo>
                  <a:pt x="236" y="53"/>
                  <a:pt x="232" y="52"/>
                  <a:pt x="228" y="50"/>
                </a:cubicBezTo>
                <a:cubicBezTo>
                  <a:pt x="229" y="52"/>
                  <a:pt x="230" y="52"/>
                  <a:pt x="230" y="53"/>
                </a:cubicBezTo>
                <a:cubicBezTo>
                  <a:pt x="228" y="53"/>
                  <a:pt x="223" y="51"/>
                  <a:pt x="224" y="53"/>
                </a:cubicBezTo>
                <a:cubicBezTo>
                  <a:pt x="225" y="55"/>
                  <a:pt x="225" y="55"/>
                  <a:pt x="221" y="55"/>
                </a:cubicBezTo>
                <a:cubicBezTo>
                  <a:pt x="225" y="57"/>
                  <a:pt x="228" y="58"/>
                  <a:pt x="232" y="59"/>
                </a:cubicBezTo>
                <a:cubicBezTo>
                  <a:pt x="232" y="59"/>
                  <a:pt x="233" y="59"/>
                  <a:pt x="233" y="59"/>
                </a:cubicBezTo>
                <a:cubicBezTo>
                  <a:pt x="233" y="59"/>
                  <a:pt x="233" y="60"/>
                  <a:pt x="232" y="60"/>
                </a:cubicBezTo>
                <a:cubicBezTo>
                  <a:pt x="230" y="60"/>
                  <a:pt x="232" y="60"/>
                  <a:pt x="233" y="61"/>
                </a:cubicBezTo>
                <a:cubicBezTo>
                  <a:pt x="234" y="61"/>
                  <a:pt x="234" y="61"/>
                  <a:pt x="234" y="61"/>
                </a:cubicBezTo>
                <a:cubicBezTo>
                  <a:pt x="234" y="61"/>
                  <a:pt x="234" y="62"/>
                  <a:pt x="236" y="62"/>
                </a:cubicBezTo>
                <a:cubicBezTo>
                  <a:pt x="238" y="63"/>
                  <a:pt x="238" y="64"/>
                  <a:pt x="236" y="64"/>
                </a:cubicBezTo>
                <a:cubicBezTo>
                  <a:pt x="235" y="64"/>
                  <a:pt x="238" y="65"/>
                  <a:pt x="238" y="65"/>
                </a:cubicBezTo>
                <a:cubicBezTo>
                  <a:pt x="236" y="65"/>
                  <a:pt x="235" y="64"/>
                  <a:pt x="234" y="63"/>
                </a:cubicBezTo>
                <a:cubicBezTo>
                  <a:pt x="232" y="62"/>
                  <a:pt x="228" y="60"/>
                  <a:pt x="225" y="58"/>
                </a:cubicBezTo>
                <a:cubicBezTo>
                  <a:pt x="224" y="58"/>
                  <a:pt x="222" y="57"/>
                  <a:pt x="220" y="56"/>
                </a:cubicBezTo>
                <a:cubicBezTo>
                  <a:pt x="219" y="55"/>
                  <a:pt x="218" y="55"/>
                  <a:pt x="217" y="54"/>
                </a:cubicBezTo>
                <a:cubicBezTo>
                  <a:pt x="216" y="54"/>
                  <a:pt x="215" y="53"/>
                  <a:pt x="215" y="53"/>
                </a:cubicBezTo>
                <a:cubicBezTo>
                  <a:pt x="215" y="53"/>
                  <a:pt x="214" y="52"/>
                  <a:pt x="213" y="52"/>
                </a:cubicBezTo>
                <a:cubicBezTo>
                  <a:pt x="212" y="53"/>
                  <a:pt x="211" y="52"/>
                  <a:pt x="210" y="52"/>
                </a:cubicBezTo>
                <a:cubicBezTo>
                  <a:pt x="210" y="52"/>
                  <a:pt x="211" y="52"/>
                  <a:pt x="212" y="53"/>
                </a:cubicBezTo>
                <a:cubicBezTo>
                  <a:pt x="213" y="53"/>
                  <a:pt x="214" y="54"/>
                  <a:pt x="216" y="54"/>
                </a:cubicBezTo>
                <a:cubicBezTo>
                  <a:pt x="221" y="57"/>
                  <a:pt x="225" y="60"/>
                  <a:pt x="233" y="63"/>
                </a:cubicBezTo>
                <a:cubicBezTo>
                  <a:pt x="237" y="67"/>
                  <a:pt x="244" y="70"/>
                  <a:pt x="250" y="73"/>
                </a:cubicBezTo>
                <a:cubicBezTo>
                  <a:pt x="253" y="74"/>
                  <a:pt x="255" y="76"/>
                  <a:pt x="258" y="77"/>
                </a:cubicBezTo>
                <a:cubicBezTo>
                  <a:pt x="259" y="79"/>
                  <a:pt x="263" y="80"/>
                  <a:pt x="266" y="82"/>
                </a:cubicBezTo>
                <a:cubicBezTo>
                  <a:pt x="262" y="81"/>
                  <a:pt x="258" y="81"/>
                  <a:pt x="253" y="79"/>
                </a:cubicBezTo>
                <a:cubicBezTo>
                  <a:pt x="248" y="77"/>
                  <a:pt x="243" y="75"/>
                  <a:pt x="239" y="73"/>
                </a:cubicBezTo>
                <a:cubicBezTo>
                  <a:pt x="233" y="69"/>
                  <a:pt x="228" y="66"/>
                  <a:pt x="220" y="63"/>
                </a:cubicBezTo>
                <a:cubicBezTo>
                  <a:pt x="217" y="61"/>
                  <a:pt x="212" y="60"/>
                  <a:pt x="208" y="59"/>
                </a:cubicBezTo>
                <a:cubicBezTo>
                  <a:pt x="207" y="60"/>
                  <a:pt x="211" y="62"/>
                  <a:pt x="214" y="63"/>
                </a:cubicBezTo>
                <a:cubicBezTo>
                  <a:pt x="216" y="63"/>
                  <a:pt x="219" y="64"/>
                  <a:pt x="219" y="65"/>
                </a:cubicBezTo>
                <a:cubicBezTo>
                  <a:pt x="219" y="65"/>
                  <a:pt x="217" y="65"/>
                  <a:pt x="215" y="65"/>
                </a:cubicBezTo>
                <a:cubicBezTo>
                  <a:pt x="214" y="65"/>
                  <a:pt x="212" y="64"/>
                  <a:pt x="211" y="65"/>
                </a:cubicBezTo>
                <a:cubicBezTo>
                  <a:pt x="211" y="64"/>
                  <a:pt x="210" y="64"/>
                  <a:pt x="209" y="63"/>
                </a:cubicBezTo>
                <a:cubicBezTo>
                  <a:pt x="209" y="63"/>
                  <a:pt x="209" y="63"/>
                  <a:pt x="209" y="62"/>
                </a:cubicBezTo>
                <a:cubicBezTo>
                  <a:pt x="209" y="62"/>
                  <a:pt x="209" y="62"/>
                  <a:pt x="209" y="62"/>
                </a:cubicBezTo>
                <a:cubicBezTo>
                  <a:pt x="210" y="63"/>
                  <a:pt x="212" y="64"/>
                  <a:pt x="212" y="63"/>
                </a:cubicBezTo>
                <a:cubicBezTo>
                  <a:pt x="212" y="63"/>
                  <a:pt x="212" y="62"/>
                  <a:pt x="208" y="61"/>
                </a:cubicBezTo>
                <a:cubicBezTo>
                  <a:pt x="208" y="61"/>
                  <a:pt x="207" y="61"/>
                  <a:pt x="207" y="61"/>
                </a:cubicBezTo>
                <a:cubicBezTo>
                  <a:pt x="205" y="60"/>
                  <a:pt x="203" y="59"/>
                  <a:pt x="201" y="58"/>
                </a:cubicBezTo>
                <a:cubicBezTo>
                  <a:pt x="201" y="58"/>
                  <a:pt x="200" y="58"/>
                  <a:pt x="200" y="58"/>
                </a:cubicBezTo>
                <a:cubicBezTo>
                  <a:pt x="202" y="59"/>
                  <a:pt x="204" y="60"/>
                  <a:pt x="206" y="61"/>
                </a:cubicBezTo>
                <a:cubicBezTo>
                  <a:pt x="207" y="62"/>
                  <a:pt x="207" y="62"/>
                  <a:pt x="205" y="62"/>
                </a:cubicBezTo>
                <a:cubicBezTo>
                  <a:pt x="203" y="62"/>
                  <a:pt x="202" y="62"/>
                  <a:pt x="201" y="62"/>
                </a:cubicBezTo>
                <a:cubicBezTo>
                  <a:pt x="200" y="61"/>
                  <a:pt x="199" y="60"/>
                  <a:pt x="195" y="59"/>
                </a:cubicBezTo>
                <a:cubicBezTo>
                  <a:pt x="196" y="60"/>
                  <a:pt x="197" y="61"/>
                  <a:pt x="198" y="62"/>
                </a:cubicBezTo>
                <a:cubicBezTo>
                  <a:pt x="199" y="64"/>
                  <a:pt x="203" y="65"/>
                  <a:pt x="207" y="67"/>
                </a:cubicBezTo>
                <a:cubicBezTo>
                  <a:pt x="208" y="68"/>
                  <a:pt x="209" y="68"/>
                  <a:pt x="211" y="69"/>
                </a:cubicBezTo>
                <a:cubicBezTo>
                  <a:pt x="211" y="69"/>
                  <a:pt x="211" y="69"/>
                  <a:pt x="212" y="70"/>
                </a:cubicBezTo>
                <a:cubicBezTo>
                  <a:pt x="212" y="70"/>
                  <a:pt x="213" y="71"/>
                  <a:pt x="215" y="71"/>
                </a:cubicBezTo>
                <a:cubicBezTo>
                  <a:pt x="216" y="72"/>
                  <a:pt x="217" y="72"/>
                  <a:pt x="217" y="72"/>
                </a:cubicBezTo>
                <a:cubicBezTo>
                  <a:pt x="215" y="73"/>
                  <a:pt x="219" y="74"/>
                  <a:pt x="218" y="75"/>
                </a:cubicBezTo>
                <a:cubicBezTo>
                  <a:pt x="217" y="74"/>
                  <a:pt x="213" y="73"/>
                  <a:pt x="213" y="74"/>
                </a:cubicBezTo>
                <a:cubicBezTo>
                  <a:pt x="212" y="74"/>
                  <a:pt x="214" y="75"/>
                  <a:pt x="216" y="76"/>
                </a:cubicBezTo>
                <a:cubicBezTo>
                  <a:pt x="218" y="77"/>
                  <a:pt x="219" y="77"/>
                  <a:pt x="220" y="78"/>
                </a:cubicBezTo>
                <a:cubicBezTo>
                  <a:pt x="221" y="80"/>
                  <a:pt x="224" y="82"/>
                  <a:pt x="231" y="83"/>
                </a:cubicBezTo>
                <a:cubicBezTo>
                  <a:pt x="232" y="85"/>
                  <a:pt x="238" y="87"/>
                  <a:pt x="241" y="88"/>
                </a:cubicBezTo>
                <a:cubicBezTo>
                  <a:pt x="246" y="91"/>
                  <a:pt x="252" y="94"/>
                  <a:pt x="258" y="97"/>
                </a:cubicBezTo>
                <a:cubicBezTo>
                  <a:pt x="259" y="98"/>
                  <a:pt x="261" y="99"/>
                  <a:pt x="266" y="101"/>
                </a:cubicBezTo>
                <a:cubicBezTo>
                  <a:pt x="264" y="99"/>
                  <a:pt x="261" y="98"/>
                  <a:pt x="259" y="97"/>
                </a:cubicBezTo>
                <a:cubicBezTo>
                  <a:pt x="257" y="96"/>
                  <a:pt x="256" y="95"/>
                  <a:pt x="254" y="94"/>
                </a:cubicBezTo>
                <a:cubicBezTo>
                  <a:pt x="260" y="96"/>
                  <a:pt x="261" y="98"/>
                  <a:pt x="265" y="99"/>
                </a:cubicBezTo>
                <a:cubicBezTo>
                  <a:pt x="267" y="100"/>
                  <a:pt x="269" y="101"/>
                  <a:pt x="270" y="101"/>
                </a:cubicBezTo>
                <a:cubicBezTo>
                  <a:pt x="270" y="101"/>
                  <a:pt x="270" y="101"/>
                  <a:pt x="270" y="101"/>
                </a:cubicBezTo>
                <a:cubicBezTo>
                  <a:pt x="270" y="102"/>
                  <a:pt x="270" y="102"/>
                  <a:pt x="272" y="103"/>
                </a:cubicBezTo>
                <a:cubicBezTo>
                  <a:pt x="274" y="104"/>
                  <a:pt x="274" y="103"/>
                  <a:pt x="274" y="103"/>
                </a:cubicBezTo>
                <a:cubicBezTo>
                  <a:pt x="277" y="104"/>
                  <a:pt x="280" y="105"/>
                  <a:pt x="282" y="107"/>
                </a:cubicBezTo>
                <a:cubicBezTo>
                  <a:pt x="282" y="107"/>
                  <a:pt x="281" y="107"/>
                  <a:pt x="280" y="106"/>
                </a:cubicBezTo>
                <a:cubicBezTo>
                  <a:pt x="279" y="106"/>
                  <a:pt x="278" y="105"/>
                  <a:pt x="277" y="106"/>
                </a:cubicBezTo>
                <a:cubicBezTo>
                  <a:pt x="273" y="105"/>
                  <a:pt x="270" y="104"/>
                  <a:pt x="269" y="102"/>
                </a:cubicBezTo>
                <a:cubicBezTo>
                  <a:pt x="268" y="102"/>
                  <a:pt x="267" y="101"/>
                  <a:pt x="266" y="101"/>
                </a:cubicBezTo>
                <a:cubicBezTo>
                  <a:pt x="265" y="101"/>
                  <a:pt x="266" y="102"/>
                  <a:pt x="267" y="102"/>
                </a:cubicBezTo>
                <a:cubicBezTo>
                  <a:pt x="266" y="102"/>
                  <a:pt x="265" y="102"/>
                  <a:pt x="265" y="102"/>
                </a:cubicBezTo>
                <a:cubicBezTo>
                  <a:pt x="264" y="102"/>
                  <a:pt x="263" y="101"/>
                  <a:pt x="262" y="101"/>
                </a:cubicBezTo>
                <a:cubicBezTo>
                  <a:pt x="257" y="99"/>
                  <a:pt x="253" y="96"/>
                  <a:pt x="248" y="94"/>
                </a:cubicBezTo>
                <a:cubicBezTo>
                  <a:pt x="248" y="94"/>
                  <a:pt x="248" y="94"/>
                  <a:pt x="248" y="95"/>
                </a:cubicBezTo>
                <a:cubicBezTo>
                  <a:pt x="248" y="95"/>
                  <a:pt x="249" y="95"/>
                  <a:pt x="249" y="95"/>
                </a:cubicBezTo>
                <a:cubicBezTo>
                  <a:pt x="249" y="95"/>
                  <a:pt x="249" y="95"/>
                  <a:pt x="249" y="95"/>
                </a:cubicBezTo>
                <a:cubicBezTo>
                  <a:pt x="249" y="95"/>
                  <a:pt x="249" y="95"/>
                  <a:pt x="249" y="95"/>
                </a:cubicBezTo>
                <a:cubicBezTo>
                  <a:pt x="246" y="95"/>
                  <a:pt x="243" y="94"/>
                  <a:pt x="242" y="92"/>
                </a:cubicBezTo>
                <a:cubicBezTo>
                  <a:pt x="241" y="92"/>
                  <a:pt x="239" y="90"/>
                  <a:pt x="236" y="90"/>
                </a:cubicBezTo>
                <a:cubicBezTo>
                  <a:pt x="235" y="90"/>
                  <a:pt x="234" y="90"/>
                  <a:pt x="234" y="90"/>
                </a:cubicBezTo>
                <a:cubicBezTo>
                  <a:pt x="232" y="91"/>
                  <a:pt x="235" y="92"/>
                  <a:pt x="237" y="92"/>
                </a:cubicBezTo>
                <a:cubicBezTo>
                  <a:pt x="244" y="96"/>
                  <a:pt x="253" y="100"/>
                  <a:pt x="260" y="103"/>
                </a:cubicBezTo>
                <a:cubicBezTo>
                  <a:pt x="260" y="103"/>
                  <a:pt x="260" y="103"/>
                  <a:pt x="260" y="103"/>
                </a:cubicBezTo>
                <a:cubicBezTo>
                  <a:pt x="263" y="105"/>
                  <a:pt x="270" y="107"/>
                  <a:pt x="271" y="109"/>
                </a:cubicBezTo>
                <a:cubicBezTo>
                  <a:pt x="261" y="105"/>
                  <a:pt x="252" y="101"/>
                  <a:pt x="243" y="96"/>
                </a:cubicBezTo>
                <a:cubicBezTo>
                  <a:pt x="234" y="91"/>
                  <a:pt x="224" y="87"/>
                  <a:pt x="212" y="82"/>
                </a:cubicBezTo>
                <a:cubicBezTo>
                  <a:pt x="210" y="81"/>
                  <a:pt x="208" y="80"/>
                  <a:pt x="206" y="79"/>
                </a:cubicBezTo>
                <a:cubicBezTo>
                  <a:pt x="202" y="76"/>
                  <a:pt x="195" y="73"/>
                  <a:pt x="190" y="70"/>
                </a:cubicBezTo>
                <a:cubicBezTo>
                  <a:pt x="189" y="70"/>
                  <a:pt x="193" y="71"/>
                  <a:pt x="193" y="72"/>
                </a:cubicBezTo>
                <a:cubicBezTo>
                  <a:pt x="188" y="71"/>
                  <a:pt x="184" y="69"/>
                  <a:pt x="181" y="67"/>
                </a:cubicBezTo>
                <a:cubicBezTo>
                  <a:pt x="179" y="65"/>
                  <a:pt x="177" y="64"/>
                  <a:pt x="171" y="63"/>
                </a:cubicBezTo>
                <a:cubicBezTo>
                  <a:pt x="166" y="62"/>
                  <a:pt x="165" y="60"/>
                  <a:pt x="162" y="59"/>
                </a:cubicBezTo>
                <a:cubicBezTo>
                  <a:pt x="162" y="59"/>
                  <a:pt x="162" y="59"/>
                  <a:pt x="162" y="59"/>
                </a:cubicBezTo>
                <a:cubicBezTo>
                  <a:pt x="157" y="57"/>
                  <a:pt x="153" y="54"/>
                  <a:pt x="149" y="52"/>
                </a:cubicBezTo>
                <a:cubicBezTo>
                  <a:pt x="152" y="53"/>
                  <a:pt x="153" y="54"/>
                  <a:pt x="155" y="55"/>
                </a:cubicBezTo>
                <a:cubicBezTo>
                  <a:pt x="156" y="55"/>
                  <a:pt x="158" y="56"/>
                  <a:pt x="161" y="57"/>
                </a:cubicBezTo>
                <a:cubicBezTo>
                  <a:pt x="160" y="56"/>
                  <a:pt x="159" y="55"/>
                  <a:pt x="156" y="55"/>
                </a:cubicBezTo>
                <a:cubicBezTo>
                  <a:pt x="153" y="53"/>
                  <a:pt x="151" y="52"/>
                  <a:pt x="148" y="50"/>
                </a:cubicBezTo>
                <a:cubicBezTo>
                  <a:pt x="146" y="49"/>
                  <a:pt x="145" y="49"/>
                  <a:pt x="143" y="48"/>
                </a:cubicBezTo>
                <a:cubicBezTo>
                  <a:pt x="143" y="48"/>
                  <a:pt x="142" y="48"/>
                  <a:pt x="142" y="48"/>
                </a:cubicBezTo>
                <a:cubicBezTo>
                  <a:pt x="144" y="49"/>
                  <a:pt x="145" y="49"/>
                  <a:pt x="146" y="50"/>
                </a:cubicBezTo>
                <a:cubicBezTo>
                  <a:pt x="146" y="50"/>
                  <a:pt x="145" y="50"/>
                  <a:pt x="145" y="50"/>
                </a:cubicBezTo>
                <a:cubicBezTo>
                  <a:pt x="140" y="47"/>
                  <a:pt x="132" y="44"/>
                  <a:pt x="129" y="41"/>
                </a:cubicBezTo>
                <a:cubicBezTo>
                  <a:pt x="126" y="40"/>
                  <a:pt x="124" y="39"/>
                  <a:pt x="121" y="38"/>
                </a:cubicBezTo>
                <a:cubicBezTo>
                  <a:pt x="121" y="37"/>
                  <a:pt x="120" y="36"/>
                  <a:pt x="116" y="34"/>
                </a:cubicBezTo>
                <a:cubicBezTo>
                  <a:pt x="113" y="32"/>
                  <a:pt x="106" y="30"/>
                  <a:pt x="100" y="28"/>
                </a:cubicBezTo>
                <a:cubicBezTo>
                  <a:pt x="100" y="28"/>
                  <a:pt x="100" y="28"/>
                  <a:pt x="99" y="28"/>
                </a:cubicBezTo>
                <a:cubicBezTo>
                  <a:pt x="98" y="27"/>
                  <a:pt x="96" y="26"/>
                  <a:pt x="94" y="25"/>
                </a:cubicBezTo>
                <a:cubicBezTo>
                  <a:pt x="92" y="24"/>
                  <a:pt x="94" y="24"/>
                  <a:pt x="96" y="25"/>
                </a:cubicBezTo>
                <a:cubicBezTo>
                  <a:pt x="97" y="25"/>
                  <a:pt x="98" y="26"/>
                  <a:pt x="101" y="27"/>
                </a:cubicBezTo>
                <a:cubicBezTo>
                  <a:pt x="100" y="26"/>
                  <a:pt x="98" y="25"/>
                  <a:pt x="97" y="25"/>
                </a:cubicBezTo>
                <a:cubicBezTo>
                  <a:pt x="96" y="24"/>
                  <a:pt x="95" y="24"/>
                  <a:pt x="94" y="24"/>
                </a:cubicBezTo>
                <a:cubicBezTo>
                  <a:pt x="90" y="21"/>
                  <a:pt x="83" y="17"/>
                  <a:pt x="77" y="14"/>
                </a:cubicBezTo>
                <a:cubicBezTo>
                  <a:pt x="75" y="13"/>
                  <a:pt x="74" y="12"/>
                  <a:pt x="69" y="11"/>
                </a:cubicBezTo>
                <a:cubicBezTo>
                  <a:pt x="70" y="12"/>
                  <a:pt x="73" y="13"/>
                  <a:pt x="76" y="14"/>
                </a:cubicBezTo>
                <a:cubicBezTo>
                  <a:pt x="79" y="16"/>
                  <a:pt x="83" y="18"/>
                  <a:pt x="87" y="20"/>
                </a:cubicBezTo>
                <a:cubicBezTo>
                  <a:pt x="85" y="21"/>
                  <a:pt x="90" y="24"/>
                  <a:pt x="92" y="25"/>
                </a:cubicBezTo>
                <a:cubicBezTo>
                  <a:pt x="93" y="27"/>
                  <a:pt x="96" y="28"/>
                  <a:pt x="98" y="29"/>
                </a:cubicBezTo>
                <a:cubicBezTo>
                  <a:pt x="98" y="30"/>
                  <a:pt x="101" y="31"/>
                  <a:pt x="103" y="31"/>
                </a:cubicBezTo>
                <a:cubicBezTo>
                  <a:pt x="108" y="33"/>
                  <a:pt x="113" y="35"/>
                  <a:pt x="110" y="36"/>
                </a:cubicBezTo>
                <a:cubicBezTo>
                  <a:pt x="109" y="37"/>
                  <a:pt x="111" y="38"/>
                  <a:pt x="115" y="39"/>
                </a:cubicBezTo>
                <a:cubicBezTo>
                  <a:pt x="117" y="40"/>
                  <a:pt x="119" y="41"/>
                  <a:pt x="121" y="42"/>
                </a:cubicBezTo>
                <a:cubicBezTo>
                  <a:pt x="122" y="42"/>
                  <a:pt x="124" y="43"/>
                  <a:pt x="125" y="44"/>
                </a:cubicBezTo>
                <a:cubicBezTo>
                  <a:pt x="125" y="44"/>
                  <a:pt x="126" y="45"/>
                  <a:pt x="128" y="46"/>
                </a:cubicBezTo>
                <a:cubicBezTo>
                  <a:pt x="129" y="46"/>
                  <a:pt x="128" y="45"/>
                  <a:pt x="127" y="44"/>
                </a:cubicBezTo>
                <a:cubicBezTo>
                  <a:pt x="126" y="43"/>
                  <a:pt x="125" y="42"/>
                  <a:pt x="123" y="42"/>
                </a:cubicBezTo>
                <a:cubicBezTo>
                  <a:pt x="121" y="40"/>
                  <a:pt x="121" y="40"/>
                  <a:pt x="123" y="40"/>
                </a:cubicBezTo>
                <a:cubicBezTo>
                  <a:pt x="125" y="40"/>
                  <a:pt x="125" y="41"/>
                  <a:pt x="126" y="41"/>
                </a:cubicBezTo>
                <a:cubicBezTo>
                  <a:pt x="134" y="46"/>
                  <a:pt x="143" y="50"/>
                  <a:pt x="151" y="55"/>
                </a:cubicBezTo>
                <a:cubicBezTo>
                  <a:pt x="149" y="54"/>
                  <a:pt x="146" y="53"/>
                  <a:pt x="145" y="53"/>
                </a:cubicBezTo>
                <a:cubicBezTo>
                  <a:pt x="140" y="50"/>
                  <a:pt x="135" y="49"/>
                  <a:pt x="129" y="49"/>
                </a:cubicBezTo>
                <a:cubicBezTo>
                  <a:pt x="129" y="49"/>
                  <a:pt x="130" y="48"/>
                  <a:pt x="129" y="48"/>
                </a:cubicBezTo>
                <a:cubicBezTo>
                  <a:pt x="129" y="48"/>
                  <a:pt x="128" y="47"/>
                  <a:pt x="127" y="47"/>
                </a:cubicBezTo>
                <a:cubicBezTo>
                  <a:pt x="127" y="48"/>
                  <a:pt x="126" y="48"/>
                  <a:pt x="128" y="49"/>
                </a:cubicBezTo>
                <a:cubicBezTo>
                  <a:pt x="129" y="50"/>
                  <a:pt x="122" y="48"/>
                  <a:pt x="126" y="50"/>
                </a:cubicBezTo>
                <a:cubicBezTo>
                  <a:pt x="128" y="51"/>
                  <a:pt x="132" y="52"/>
                  <a:pt x="132" y="51"/>
                </a:cubicBezTo>
                <a:cubicBezTo>
                  <a:pt x="136" y="49"/>
                  <a:pt x="139" y="52"/>
                  <a:pt x="143" y="53"/>
                </a:cubicBezTo>
                <a:cubicBezTo>
                  <a:pt x="144" y="54"/>
                  <a:pt x="146" y="55"/>
                  <a:pt x="147" y="56"/>
                </a:cubicBezTo>
                <a:cubicBezTo>
                  <a:pt x="151" y="58"/>
                  <a:pt x="154" y="57"/>
                  <a:pt x="157" y="58"/>
                </a:cubicBezTo>
                <a:cubicBezTo>
                  <a:pt x="157" y="58"/>
                  <a:pt x="157" y="58"/>
                  <a:pt x="157" y="58"/>
                </a:cubicBezTo>
                <a:cubicBezTo>
                  <a:pt x="158" y="58"/>
                  <a:pt x="158" y="58"/>
                  <a:pt x="158" y="58"/>
                </a:cubicBezTo>
                <a:cubicBezTo>
                  <a:pt x="161" y="60"/>
                  <a:pt x="157" y="60"/>
                  <a:pt x="159" y="62"/>
                </a:cubicBezTo>
                <a:cubicBezTo>
                  <a:pt x="162" y="64"/>
                  <a:pt x="169" y="67"/>
                  <a:pt x="173" y="70"/>
                </a:cubicBezTo>
                <a:cubicBezTo>
                  <a:pt x="175" y="70"/>
                  <a:pt x="176" y="71"/>
                  <a:pt x="177" y="72"/>
                </a:cubicBezTo>
                <a:cubicBezTo>
                  <a:pt x="183" y="74"/>
                  <a:pt x="185" y="76"/>
                  <a:pt x="188" y="78"/>
                </a:cubicBezTo>
                <a:cubicBezTo>
                  <a:pt x="194" y="80"/>
                  <a:pt x="196" y="82"/>
                  <a:pt x="202" y="85"/>
                </a:cubicBezTo>
                <a:cubicBezTo>
                  <a:pt x="204" y="86"/>
                  <a:pt x="207" y="87"/>
                  <a:pt x="209" y="89"/>
                </a:cubicBezTo>
                <a:cubicBezTo>
                  <a:pt x="215" y="92"/>
                  <a:pt x="222" y="95"/>
                  <a:pt x="228" y="98"/>
                </a:cubicBezTo>
                <a:cubicBezTo>
                  <a:pt x="229" y="99"/>
                  <a:pt x="231" y="100"/>
                  <a:pt x="232" y="100"/>
                </a:cubicBezTo>
                <a:cubicBezTo>
                  <a:pt x="231" y="100"/>
                  <a:pt x="230" y="100"/>
                  <a:pt x="229" y="100"/>
                </a:cubicBezTo>
                <a:cubicBezTo>
                  <a:pt x="224" y="97"/>
                  <a:pt x="219" y="95"/>
                  <a:pt x="213" y="93"/>
                </a:cubicBezTo>
                <a:cubicBezTo>
                  <a:pt x="214" y="93"/>
                  <a:pt x="214" y="93"/>
                  <a:pt x="214" y="94"/>
                </a:cubicBezTo>
                <a:cubicBezTo>
                  <a:pt x="214" y="93"/>
                  <a:pt x="213" y="93"/>
                  <a:pt x="213" y="93"/>
                </a:cubicBezTo>
                <a:cubicBezTo>
                  <a:pt x="207" y="89"/>
                  <a:pt x="200" y="86"/>
                  <a:pt x="194" y="83"/>
                </a:cubicBezTo>
                <a:cubicBezTo>
                  <a:pt x="188" y="80"/>
                  <a:pt x="181" y="77"/>
                  <a:pt x="175" y="74"/>
                </a:cubicBezTo>
                <a:cubicBezTo>
                  <a:pt x="165" y="70"/>
                  <a:pt x="155" y="65"/>
                  <a:pt x="146" y="60"/>
                </a:cubicBezTo>
                <a:cubicBezTo>
                  <a:pt x="144" y="59"/>
                  <a:pt x="141" y="58"/>
                  <a:pt x="138" y="57"/>
                </a:cubicBezTo>
                <a:cubicBezTo>
                  <a:pt x="133" y="53"/>
                  <a:pt x="124" y="50"/>
                  <a:pt x="118" y="46"/>
                </a:cubicBezTo>
                <a:cubicBezTo>
                  <a:pt x="118" y="45"/>
                  <a:pt x="113" y="44"/>
                  <a:pt x="110" y="42"/>
                </a:cubicBezTo>
                <a:cubicBezTo>
                  <a:pt x="109" y="43"/>
                  <a:pt x="114" y="45"/>
                  <a:pt x="116" y="46"/>
                </a:cubicBezTo>
                <a:cubicBezTo>
                  <a:pt x="116" y="46"/>
                  <a:pt x="116" y="46"/>
                  <a:pt x="116" y="46"/>
                </a:cubicBezTo>
                <a:cubicBezTo>
                  <a:pt x="115" y="47"/>
                  <a:pt x="113" y="47"/>
                  <a:pt x="106" y="45"/>
                </a:cubicBezTo>
                <a:cubicBezTo>
                  <a:pt x="108" y="46"/>
                  <a:pt x="108" y="48"/>
                  <a:pt x="112" y="49"/>
                </a:cubicBezTo>
                <a:cubicBezTo>
                  <a:pt x="114" y="49"/>
                  <a:pt x="111" y="47"/>
                  <a:pt x="116" y="49"/>
                </a:cubicBezTo>
                <a:cubicBezTo>
                  <a:pt x="120" y="50"/>
                  <a:pt x="119" y="51"/>
                  <a:pt x="122" y="52"/>
                </a:cubicBezTo>
                <a:cubicBezTo>
                  <a:pt x="122" y="54"/>
                  <a:pt x="117" y="53"/>
                  <a:pt x="117" y="53"/>
                </a:cubicBezTo>
                <a:cubicBezTo>
                  <a:pt x="108" y="51"/>
                  <a:pt x="117" y="54"/>
                  <a:pt x="116" y="54"/>
                </a:cubicBezTo>
                <a:cubicBezTo>
                  <a:pt x="117" y="54"/>
                  <a:pt x="116" y="54"/>
                  <a:pt x="115" y="55"/>
                </a:cubicBezTo>
                <a:cubicBezTo>
                  <a:pt x="115" y="55"/>
                  <a:pt x="114" y="55"/>
                  <a:pt x="113" y="55"/>
                </a:cubicBezTo>
                <a:cubicBezTo>
                  <a:pt x="112" y="54"/>
                  <a:pt x="110" y="53"/>
                  <a:pt x="108" y="52"/>
                </a:cubicBezTo>
                <a:cubicBezTo>
                  <a:pt x="106" y="51"/>
                  <a:pt x="104" y="50"/>
                  <a:pt x="102" y="49"/>
                </a:cubicBezTo>
                <a:cubicBezTo>
                  <a:pt x="98" y="46"/>
                  <a:pt x="90" y="43"/>
                  <a:pt x="82" y="39"/>
                </a:cubicBezTo>
                <a:cubicBezTo>
                  <a:pt x="89" y="43"/>
                  <a:pt x="93" y="46"/>
                  <a:pt x="101" y="49"/>
                </a:cubicBezTo>
                <a:cubicBezTo>
                  <a:pt x="103" y="50"/>
                  <a:pt x="105" y="51"/>
                  <a:pt x="108" y="52"/>
                </a:cubicBezTo>
                <a:cubicBezTo>
                  <a:pt x="109" y="54"/>
                  <a:pt x="111" y="55"/>
                  <a:pt x="113" y="56"/>
                </a:cubicBezTo>
                <a:cubicBezTo>
                  <a:pt x="111" y="56"/>
                  <a:pt x="113" y="57"/>
                  <a:pt x="112" y="57"/>
                </a:cubicBezTo>
                <a:cubicBezTo>
                  <a:pt x="108" y="57"/>
                  <a:pt x="106" y="56"/>
                  <a:pt x="104" y="55"/>
                </a:cubicBezTo>
                <a:cubicBezTo>
                  <a:pt x="93" y="49"/>
                  <a:pt x="82" y="42"/>
                  <a:pt x="71" y="36"/>
                </a:cubicBezTo>
                <a:cubicBezTo>
                  <a:pt x="70" y="36"/>
                  <a:pt x="69" y="35"/>
                  <a:pt x="67" y="35"/>
                </a:cubicBezTo>
                <a:cubicBezTo>
                  <a:pt x="66" y="33"/>
                  <a:pt x="63" y="32"/>
                  <a:pt x="60" y="31"/>
                </a:cubicBezTo>
                <a:cubicBezTo>
                  <a:pt x="60" y="30"/>
                  <a:pt x="60" y="30"/>
                  <a:pt x="60" y="30"/>
                </a:cubicBezTo>
                <a:cubicBezTo>
                  <a:pt x="60" y="30"/>
                  <a:pt x="59" y="30"/>
                  <a:pt x="59" y="29"/>
                </a:cubicBezTo>
                <a:cubicBezTo>
                  <a:pt x="57" y="28"/>
                  <a:pt x="55" y="27"/>
                  <a:pt x="52" y="25"/>
                </a:cubicBezTo>
                <a:cubicBezTo>
                  <a:pt x="51" y="24"/>
                  <a:pt x="51" y="23"/>
                  <a:pt x="44" y="20"/>
                </a:cubicBezTo>
                <a:cubicBezTo>
                  <a:pt x="37" y="18"/>
                  <a:pt x="34" y="15"/>
                  <a:pt x="35" y="13"/>
                </a:cubicBezTo>
                <a:cubicBezTo>
                  <a:pt x="35" y="12"/>
                  <a:pt x="37" y="12"/>
                  <a:pt x="36" y="11"/>
                </a:cubicBezTo>
                <a:cubicBezTo>
                  <a:pt x="33" y="11"/>
                  <a:pt x="30" y="10"/>
                  <a:pt x="27" y="10"/>
                </a:cubicBezTo>
                <a:cubicBezTo>
                  <a:pt x="25" y="9"/>
                  <a:pt x="24" y="8"/>
                  <a:pt x="23" y="8"/>
                </a:cubicBezTo>
                <a:cubicBezTo>
                  <a:pt x="23" y="7"/>
                  <a:pt x="22" y="7"/>
                  <a:pt x="22" y="7"/>
                </a:cubicBezTo>
                <a:cubicBezTo>
                  <a:pt x="19" y="5"/>
                  <a:pt x="17" y="4"/>
                  <a:pt x="14" y="2"/>
                </a:cubicBezTo>
                <a:cubicBezTo>
                  <a:pt x="13" y="2"/>
                  <a:pt x="12" y="1"/>
                  <a:pt x="9" y="0"/>
                </a:cubicBezTo>
                <a:cubicBezTo>
                  <a:pt x="9" y="1"/>
                  <a:pt x="11" y="2"/>
                  <a:pt x="13" y="2"/>
                </a:cubicBezTo>
                <a:cubicBezTo>
                  <a:pt x="13" y="3"/>
                  <a:pt x="13" y="3"/>
                  <a:pt x="13" y="3"/>
                </a:cubicBezTo>
                <a:cubicBezTo>
                  <a:pt x="13" y="3"/>
                  <a:pt x="12" y="3"/>
                  <a:pt x="12" y="3"/>
                </a:cubicBezTo>
                <a:cubicBezTo>
                  <a:pt x="11" y="3"/>
                  <a:pt x="11" y="3"/>
                  <a:pt x="11" y="3"/>
                </a:cubicBezTo>
                <a:cubicBezTo>
                  <a:pt x="9" y="2"/>
                  <a:pt x="9" y="1"/>
                  <a:pt x="5" y="0"/>
                </a:cubicBezTo>
                <a:cubicBezTo>
                  <a:pt x="5" y="0"/>
                  <a:pt x="7" y="1"/>
                  <a:pt x="10" y="3"/>
                </a:cubicBezTo>
                <a:cubicBezTo>
                  <a:pt x="11" y="3"/>
                  <a:pt x="12" y="4"/>
                  <a:pt x="14" y="5"/>
                </a:cubicBezTo>
                <a:cubicBezTo>
                  <a:pt x="13" y="5"/>
                  <a:pt x="16" y="6"/>
                  <a:pt x="17" y="7"/>
                </a:cubicBezTo>
                <a:cubicBezTo>
                  <a:pt x="17" y="7"/>
                  <a:pt x="17" y="8"/>
                  <a:pt x="18" y="8"/>
                </a:cubicBezTo>
                <a:cubicBezTo>
                  <a:pt x="21" y="9"/>
                  <a:pt x="22" y="11"/>
                  <a:pt x="25" y="12"/>
                </a:cubicBezTo>
                <a:cubicBezTo>
                  <a:pt x="25" y="13"/>
                  <a:pt x="28" y="14"/>
                  <a:pt x="30" y="15"/>
                </a:cubicBezTo>
                <a:cubicBezTo>
                  <a:pt x="31" y="16"/>
                  <a:pt x="33" y="17"/>
                  <a:pt x="33" y="18"/>
                </a:cubicBezTo>
                <a:cubicBezTo>
                  <a:pt x="33" y="18"/>
                  <a:pt x="33" y="18"/>
                  <a:pt x="33" y="18"/>
                </a:cubicBezTo>
                <a:cubicBezTo>
                  <a:pt x="32" y="18"/>
                  <a:pt x="31" y="18"/>
                  <a:pt x="32" y="18"/>
                </a:cubicBezTo>
                <a:cubicBezTo>
                  <a:pt x="33" y="19"/>
                  <a:pt x="35" y="19"/>
                  <a:pt x="36" y="19"/>
                </a:cubicBezTo>
                <a:cubicBezTo>
                  <a:pt x="42" y="22"/>
                  <a:pt x="41" y="23"/>
                  <a:pt x="46" y="26"/>
                </a:cubicBezTo>
                <a:cubicBezTo>
                  <a:pt x="47" y="27"/>
                  <a:pt x="51" y="28"/>
                  <a:pt x="51" y="29"/>
                </a:cubicBezTo>
                <a:cubicBezTo>
                  <a:pt x="42" y="25"/>
                  <a:pt x="34" y="21"/>
                  <a:pt x="28" y="18"/>
                </a:cubicBezTo>
                <a:cubicBezTo>
                  <a:pt x="28" y="17"/>
                  <a:pt x="28" y="17"/>
                  <a:pt x="26" y="16"/>
                </a:cubicBezTo>
                <a:cubicBezTo>
                  <a:pt x="24" y="15"/>
                  <a:pt x="22" y="14"/>
                  <a:pt x="19" y="13"/>
                </a:cubicBezTo>
                <a:cubicBezTo>
                  <a:pt x="20" y="14"/>
                  <a:pt x="21" y="15"/>
                  <a:pt x="23" y="16"/>
                </a:cubicBezTo>
                <a:cubicBezTo>
                  <a:pt x="24" y="16"/>
                  <a:pt x="25" y="17"/>
                  <a:pt x="26" y="17"/>
                </a:cubicBezTo>
                <a:cubicBezTo>
                  <a:pt x="26" y="18"/>
                  <a:pt x="29" y="19"/>
                  <a:pt x="29" y="20"/>
                </a:cubicBezTo>
                <a:cubicBezTo>
                  <a:pt x="28" y="19"/>
                  <a:pt x="27" y="19"/>
                  <a:pt x="25" y="18"/>
                </a:cubicBezTo>
                <a:cubicBezTo>
                  <a:pt x="23" y="18"/>
                  <a:pt x="25" y="19"/>
                  <a:pt x="26" y="20"/>
                </a:cubicBezTo>
                <a:cubicBezTo>
                  <a:pt x="28" y="21"/>
                  <a:pt x="31" y="22"/>
                  <a:pt x="35" y="23"/>
                </a:cubicBezTo>
                <a:cubicBezTo>
                  <a:pt x="37" y="25"/>
                  <a:pt x="41" y="28"/>
                  <a:pt x="46" y="30"/>
                </a:cubicBezTo>
                <a:cubicBezTo>
                  <a:pt x="50" y="32"/>
                  <a:pt x="43" y="31"/>
                  <a:pt x="43" y="33"/>
                </a:cubicBezTo>
                <a:cubicBezTo>
                  <a:pt x="42" y="33"/>
                  <a:pt x="41" y="33"/>
                  <a:pt x="39" y="32"/>
                </a:cubicBezTo>
                <a:cubicBezTo>
                  <a:pt x="35" y="30"/>
                  <a:pt x="31" y="28"/>
                  <a:pt x="29" y="26"/>
                </a:cubicBezTo>
                <a:cubicBezTo>
                  <a:pt x="31" y="25"/>
                  <a:pt x="33" y="27"/>
                  <a:pt x="35" y="27"/>
                </a:cubicBezTo>
                <a:cubicBezTo>
                  <a:pt x="33" y="26"/>
                  <a:pt x="32" y="24"/>
                  <a:pt x="28" y="24"/>
                </a:cubicBezTo>
                <a:cubicBezTo>
                  <a:pt x="25" y="23"/>
                  <a:pt x="28" y="25"/>
                  <a:pt x="27" y="25"/>
                </a:cubicBezTo>
                <a:cubicBezTo>
                  <a:pt x="22" y="24"/>
                  <a:pt x="22" y="25"/>
                  <a:pt x="24" y="26"/>
                </a:cubicBezTo>
                <a:cubicBezTo>
                  <a:pt x="28" y="28"/>
                  <a:pt x="32" y="30"/>
                  <a:pt x="36" y="32"/>
                </a:cubicBezTo>
                <a:cubicBezTo>
                  <a:pt x="37" y="33"/>
                  <a:pt x="41" y="34"/>
                  <a:pt x="40" y="35"/>
                </a:cubicBezTo>
                <a:cubicBezTo>
                  <a:pt x="36" y="34"/>
                  <a:pt x="40" y="36"/>
                  <a:pt x="39" y="36"/>
                </a:cubicBezTo>
                <a:cubicBezTo>
                  <a:pt x="36" y="36"/>
                  <a:pt x="35" y="35"/>
                  <a:pt x="33" y="35"/>
                </a:cubicBezTo>
                <a:cubicBezTo>
                  <a:pt x="27" y="33"/>
                  <a:pt x="26" y="31"/>
                  <a:pt x="19" y="29"/>
                </a:cubicBezTo>
                <a:cubicBezTo>
                  <a:pt x="20" y="30"/>
                  <a:pt x="25" y="31"/>
                  <a:pt x="25" y="32"/>
                </a:cubicBezTo>
                <a:cubicBezTo>
                  <a:pt x="25" y="34"/>
                  <a:pt x="35" y="37"/>
                  <a:pt x="32" y="38"/>
                </a:cubicBezTo>
                <a:cubicBezTo>
                  <a:pt x="31" y="38"/>
                  <a:pt x="30" y="37"/>
                  <a:pt x="29" y="37"/>
                </a:cubicBezTo>
                <a:cubicBezTo>
                  <a:pt x="29" y="35"/>
                  <a:pt x="21" y="33"/>
                  <a:pt x="18" y="31"/>
                </a:cubicBezTo>
                <a:cubicBezTo>
                  <a:pt x="19" y="33"/>
                  <a:pt x="21" y="34"/>
                  <a:pt x="25" y="36"/>
                </a:cubicBezTo>
                <a:cubicBezTo>
                  <a:pt x="29" y="38"/>
                  <a:pt x="34" y="40"/>
                  <a:pt x="38" y="43"/>
                </a:cubicBezTo>
                <a:cubicBezTo>
                  <a:pt x="33" y="41"/>
                  <a:pt x="29" y="40"/>
                  <a:pt x="24" y="38"/>
                </a:cubicBezTo>
                <a:cubicBezTo>
                  <a:pt x="24" y="37"/>
                  <a:pt x="23" y="36"/>
                  <a:pt x="21" y="35"/>
                </a:cubicBezTo>
                <a:cubicBezTo>
                  <a:pt x="19" y="35"/>
                  <a:pt x="19" y="36"/>
                  <a:pt x="21" y="37"/>
                </a:cubicBezTo>
                <a:cubicBezTo>
                  <a:pt x="22" y="38"/>
                  <a:pt x="22" y="38"/>
                  <a:pt x="22" y="38"/>
                </a:cubicBezTo>
                <a:cubicBezTo>
                  <a:pt x="28" y="44"/>
                  <a:pt x="35" y="49"/>
                  <a:pt x="44" y="55"/>
                </a:cubicBezTo>
                <a:cubicBezTo>
                  <a:pt x="43" y="55"/>
                  <a:pt x="43" y="55"/>
                  <a:pt x="42" y="54"/>
                </a:cubicBezTo>
                <a:cubicBezTo>
                  <a:pt x="34" y="50"/>
                  <a:pt x="25" y="45"/>
                  <a:pt x="17" y="40"/>
                </a:cubicBezTo>
                <a:cubicBezTo>
                  <a:pt x="12" y="37"/>
                  <a:pt x="6" y="34"/>
                  <a:pt x="0" y="31"/>
                </a:cubicBezTo>
                <a:cubicBezTo>
                  <a:pt x="0" y="84"/>
                  <a:pt x="0" y="84"/>
                  <a:pt x="0" y="84"/>
                </a:cubicBezTo>
                <a:cubicBezTo>
                  <a:pt x="0" y="84"/>
                  <a:pt x="1" y="85"/>
                  <a:pt x="1" y="85"/>
                </a:cubicBezTo>
                <a:cubicBezTo>
                  <a:pt x="2" y="86"/>
                  <a:pt x="3" y="86"/>
                  <a:pt x="4" y="87"/>
                </a:cubicBezTo>
                <a:cubicBezTo>
                  <a:pt x="4" y="87"/>
                  <a:pt x="5" y="88"/>
                  <a:pt x="6" y="88"/>
                </a:cubicBezTo>
                <a:cubicBezTo>
                  <a:pt x="4" y="88"/>
                  <a:pt x="2" y="88"/>
                  <a:pt x="0" y="88"/>
                </a:cubicBezTo>
                <a:cubicBezTo>
                  <a:pt x="0" y="107"/>
                  <a:pt x="0" y="107"/>
                  <a:pt x="0" y="107"/>
                </a:cubicBezTo>
                <a:cubicBezTo>
                  <a:pt x="0" y="107"/>
                  <a:pt x="0" y="107"/>
                  <a:pt x="1" y="107"/>
                </a:cubicBezTo>
                <a:cubicBezTo>
                  <a:pt x="1" y="108"/>
                  <a:pt x="1" y="108"/>
                  <a:pt x="2" y="109"/>
                </a:cubicBezTo>
                <a:cubicBezTo>
                  <a:pt x="1" y="109"/>
                  <a:pt x="1" y="109"/>
                  <a:pt x="0" y="109"/>
                </a:cubicBezTo>
                <a:cubicBezTo>
                  <a:pt x="0" y="109"/>
                  <a:pt x="0" y="109"/>
                  <a:pt x="0" y="108"/>
                </a:cubicBezTo>
                <a:cubicBezTo>
                  <a:pt x="0" y="126"/>
                  <a:pt x="0" y="126"/>
                  <a:pt x="0" y="126"/>
                </a:cubicBezTo>
                <a:cubicBezTo>
                  <a:pt x="0" y="127"/>
                  <a:pt x="0" y="127"/>
                  <a:pt x="0" y="127"/>
                </a:cubicBezTo>
                <a:cubicBezTo>
                  <a:pt x="0" y="127"/>
                  <a:pt x="0" y="127"/>
                  <a:pt x="0" y="127"/>
                </a:cubicBezTo>
                <a:cubicBezTo>
                  <a:pt x="0" y="158"/>
                  <a:pt x="0" y="158"/>
                  <a:pt x="0" y="158"/>
                </a:cubicBezTo>
                <a:cubicBezTo>
                  <a:pt x="0" y="158"/>
                  <a:pt x="0" y="158"/>
                  <a:pt x="0" y="158"/>
                </a:cubicBezTo>
                <a:cubicBezTo>
                  <a:pt x="0" y="159"/>
                  <a:pt x="0" y="159"/>
                  <a:pt x="0" y="159"/>
                </a:cubicBezTo>
                <a:cubicBezTo>
                  <a:pt x="0" y="159"/>
                  <a:pt x="0" y="159"/>
                  <a:pt x="0" y="159"/>
                </a:cubicBezTo>
                <a:cubicBezTo>
                  <a:pt x="0" y="173"/>
                  <a:pt x="0" y="173"/>
                  <a:pt x="0" y="173"/>
                </a:cubicBezTo>
                <a:cubicBezTo>
                  <a:pt x="0" y="173"/>
                  <a:pt x="0" y="173"/>
                  <a:pt x="0" y="173"/>
                </a:cubicBezTo>
                <a:cubicBezTo>
                  <a:pt x="0" y="173"/>
                  <a:pt x="0" y="173"/>
                  <a:pt x="0" y="173"/>
                </a:cubicBezTo>
                <a:cubicBezTo>
                  <a:pt x="0" y="173"/>
                  <a:pt x="0" y="173"/>
                  <a:pt x="0" y="173"/>
                </a:cubicBezTo>
                <a:cubicBezTo>
                  <a:pt x="0" y="220"/>
                  <a:pt x="0" y="220"/>
                  <a:pt x="0" y="220"/>
                </a:cubicBezTo>
                <a:cubicBezTo>
                  <a:pt x="1" y="220"/>
                  <a:pt x="2" y="220"/>
                  <a:pt x="3" y="221"/>
                </a:cubicBezTo>
                <a:cubicBezTo>
                  <a:pt x="3" y="221"/>
                  <a:pt x="3" y="221"/>
                  <a:pt x="3" y="221"/>
                </a:cubicBezTo>
                <a:cubicBezTo>
                  <a:pt x="3" y="221"/>
                  <a:pt x="3" y="221"/>
                  <a:pt x="3" y="221"/>
                </a:cubicBezTo>
                <a:cubicBezTo>
                  <a:pt x="3" y="221"/>
                  <a:pt x="3" y="221"/>
                  <a:pt x="3" y="221"/>
                </a:cubicBezTo>
                <a:cubicBezTo>
                  <a:pt x="2" y="221"/>
                  <a:pt x="1" y="220"/>
                  <a:pt x="0" y="220"/>
                </a:cubicBezTo>
                <a:cubicBezTo>
                  <a:pt x="0" y="220"/>
                  <a:pt x="0" y="220"/>
                  <a:pt x="0" y="220"/>
                </a:cubicBezTo>
                <a:cubicBezTo>
                  <a:pt x="0" y="220"/>
                  <a:pt x="0" y="220"/>
                  <a:pt x="0" y="220"/>
                </a:cubicBezTo>
                <a:cubicBezTo>
                  <a:pt x="0" y="223"/>
                  <a:pt x="0" y="223"/>
                  <a:pt x="0" y="223"/>
                </a:cubicBezTo>
                <a:cubicBezTo>
                  <a:pt x="0" y="223"/>
                  <a:pt x="0" y="223"/>
                  <a:pt x="0" y="223"/>
                </a:cubicBezTo>
                <a:cubicBezTo>
                  <a:pt x="0" y="223"/>
                  <a:pt x="0" y="223"/>
                  <a:pt x="0" y="223"/>
                </a:cubicBezTo>
                <a:cubicBezTo>
                  <a:pt x="0" y="223"/>
                  <a:pt x="0" y="223"/>
                  <a:pt x="0" y="223"/>
                </a:cubicBezTo>
                <a:cubicBezTo>
                  <a:pt x="0" y="229"/>
                  <a:pt x="0" y="229"/>
                  <a:pt x="0" y="229"/>
                </a:cubicBezTo>
                <a:cubicBezTo>
                  <a:pt x="13" y="229"/>
                  <a:pt x="13" y="229"/>
                  <a:pt x="13" y="229"/>
                </a:cubicBezTo>
                <a:cubicBezTo>
                  <a:pt x="18" y="231"/>
                  <a:pt x="23" y="234"/>
                  <a:pt x="28" y="236"/>
                </a:cubicBezTo>
                <a:cubicBezTo>
                  <a:pt x="42" y="243"/>
                  <a:pt x="57" y="249"/>
                  <a:pt x="70" y="256"/>
                </a:cubicBezTo>
                <a:cubicBezTo>
                  <a:pt x="70" y="256"/>
                  <a:pt x="70" y="256"/>
                  <a:pt x="70" y="256"/>
                </a:cubicBezTo>
                <a:cubicBezTo>
                  <a:pt x="72" y="257"/>
                  <a:pt x="73" y="258"/>
                  <a:pt x="76" y="258"/>
                </a:cubicBezTo>
                <a:cubicBezTo>
                  <a:pt x="78" y="259"/>
                  <a:pt x="79" y="260"/>
                  <a:pt x="81" y="261"/>
                </a:cubicBezTo>
                <a:cubicBezTo>
                  <a:pt x="80" y="260"/>
                  <a:pt x="77" y="259"/>
                  <a:pt x="77" y="258"/>
                </a:cubicBezTo>
                <a:cubicBezTo>
                  <a:pt x="76" y="258"/>
                  <a:pt x="75" y="257"/>
                  <a:pt x="75" y="257"/>
                </a:cubicBezTo>
                <a:cubicBezTo>
                  <a:pt x="74" y="256"/>
                  <a:pt x="72" y="256"/>
                  <a:pt x="72" y="255"/>
                </a:cubicBezTo>
                <a:cubicBezTo>
                  <a:pt x="74" y="255"/>
                  <a:pt x="70" y="254"/>
                  <a:pt x="71" y="254"/>
                </a:cubicBezTo>
                <a:cubicBezTo>
                  <a:pt x="72" y="254"/>
                  <a:pt x="73" y="254"/>
                  <a:pt x="73" y="254"/>
                </a:cubicBezTo>
                <a:cubicBezTo>
                  <a:pt x="73" y="254"/>
                  <a:pt x="71" y="253"/>
                  <a:pt x="70" y="253"/>
                </a:cubicBezTo>
                <a:cubicBezTo>
                  <a:pt x="69" y="252"/>
                  <a:pt x="67" y="252"/>
                  <a:pt x="67" y="251"/>
                </a:cubicBezTo>
                <a:cubicBezTo>
                  <a:pt x="68" y="252"/>
                  <a:pt x="70" y="252"/>
                  <a:pt x="71" y="253"/>
                </a:cubicBezTo>
                <a:cubicBezTo>
                  <a:pt x="72" y="253"/>
                  <a:pt x="72" y="253"/>
                  <a:pt x="72" y="253"/>
                </a:cubicBezTo>
                <a:cubicBezTo>
                  <a:pt x="70" y="252"/>
                  <a:pt x="69" y="251"/>
                  <a:pt x="67" y="251"/>
                </a:cubicBezTo>
                <a:cubicBezTo>
                  <a:pt x="66" y="250"/>
                  <a:pt x="65" y="249"/>
                  <a:pt x="63" y="249"/>
                </a:cubicBezTo>
                <a:cubicBezTo>
                  <a:pt x="63" y="248"/>
                  <a:pt x="64" y="248"/>
                  <a:pt x="64" y="248"/>
                </a:cubicBezTo>
                <a:cubicBezTo>
                  <a:pt x="66" y="249"/>
                  <a:pt x="68" y="250"/>
                  <a:pt x="70" y="251"/>
                </a:cubicBezTo>
                <a:cubicBezTo>
                  <a:pt x="74" y="253"/>
                  <a:pt x="79" y="255"/>
                  <a:pt x="84" y="258"/>
                </a:cubicBezTo>
                <a:cubicBezTo>
                  <a:pt x="84" y="258"/>
                  <a:pt x="85" y="258"/>
                  <a:pt x="85" y="258"/>
                </a:cubicBezTo>
                <a:cubicBezTo>
                  <a:pt x="86" y="259"/>
                  <a:pt x="88" y="259"/>
                  <a:pt x="89" y="260"/>
                </a:cubicBezTo>
                <a:cubicBezTo>
                  <a:pt x="90" y="260"/>
                  <a:pt x="91" y="261"/>
                  <a:pt x="93" y="261"/>
                </a:cubicBezTo>
                <a:cubicBezTo>
                  <a:pt x="95" y="262"/>
                  <a:pt x="96" y="263"/>
                  <a:pt x="99" y="264"/>
                </a:cubicBezTo>
                <a:cubicBezTo>
                  <a:pt x="99" y="263"/>
                  <a:pt x="97" y="262"/>
                  <a:pt x="94" y="261"/>
                </a:cubicBezTo>
                <a:cubicBezTo>
                  <a:pt x="90" y="258"/>
                  <a:pt x="86" y="257"/>
                  <a:pt x="82" y="256"/>
                </a:cubicBezTo>
                <a:cubicBezTo>
                  <a:pt x="77" y="254"/>
                  <a:pt x="73" y="252"/>
                  <a:pt x="68" y="250"/>
                </a:cubicBezTo>
                <a:cubicBezTo>
                  <a:pt x="65" y="248"/>
                  <a:pt x="61" y="247"/>
                  <a:pt x="58" y="245"/>
                </a:cubicBezTo>
                <a:cubicBezTo>
                  <a:pt x="56" y="244"/>
                  <a:pt x="54" y="243"/>
                  <a:pt x="52" y="242"/>
                </a:cubicBezTo>
                <a:cubicBezTo>
                  <a:pt x="51" y="241"/>
                  <a:pt x="49" y="240"/>
                  <a:pt x="48" y="240"/>
                </a:cubicBezTo>
                <a:cubicBezTo>
                  <a:pt x="50" y="240"/>
                  <a:pt x="51" y="241"/>
                  <a:pt x="53" y="242"/>
                </a:cubicBezTo>
                <a:cubicBezTo>
                  <a:pt x="53" y="242"/>
                  <a:pt x="54" y="242"/>
                  <a:pt x="55" y="242"/>
                </a:cubicBezTo>
                <a:cubicBezTo>
                  <a:pt x="55" y="242"/>
                  <a:pt x="55" y="242"/>
                  <a:pt x="55" y="242"/>
                </a:cubicBezTo>
                <a:cubicBezTo>
                  <a:pt x="55" y="242"/>
                  <a:pt x="53" y="241"/>
                  <a:pt x="51" y="240"/>
                </a:cubicBezTo>
                <a:cubicBezTo>
                  <a:pt x="51" y="240"/>
                  <a:pt x="50" y="240"/>
                  <a:pt x="50" y="239"/>
                </a:cubicBezTo>
                <a:cubicBezTo>
                  <a:pt x="48" y="239"/>
                  <a:pt x="47" y="238"/>
                  <a:pt x="46" y="237"/>
                </a:cubicBezTo>
                <a:cubicBezTo>
                  <a:pt x="44" y="237"/>
                  <a:pt x="43" y="237"/>
                  <a:pt x="41" y="236"/>
                </a:cubicBezTo>
                <a:cubicBezTo>
                  <a:pt x="41" y="236"/>
                  <a:pt x="41" y="235"/>
                  <a:pt x="41" y="235"/>
                </a:cubicBezTo>
                <a:cubicBezTo>
                  <a:pt x="39" y="234"/>
                  <a:pt x="38" y="233"/>
                  <a:pt x="35" y="233"/>
                </a:cubicBezTo>
                <a:cubicBezTo>
                  <a:pt x="33" y="232"/>
                  <a:pt x="31" y="230"/>
                  <a:pt x="28" y="229"/>
                </a:cubicBezTo>
                <a:cubicBezTo>
                  <a:pt x="28" y="229"/>
                  <a:pt x="28" y="229"/>
                  <a:pt x="28" y="229"/>
                </a:cubicBezTo>
                <a:cubicBezTo>
                  <a:pt x="33" y="229"/>
                  <a:pt x="33" y="229"/>
                  <a:pt x="33" y="229"/>
                </a:cubicBezTo>
                <a:cubicBezTo>
                  <a:pt x="41" y="233"/>
                  <a:pt x="49" y="236"/>
                  <a:pt x="57" y="240"/>
                </a:cubicBezTo>
                <a:cubicBezTo>
                  <a:pt x="58" y="240"/>
                  <a:pt x="59" y="240"/>
                  <a:pt x="60" y="241"/>
                </a:cubicBezTo>
                <a:cubicBezTo>
                  <a:pt x="63" y="242"/>
                  <a:pt x="66" y="244"/>
                  <a:pt x="69" y="245"/>
                </a:cubicBezTo>
                <a:cubicBezTo>
                  <a:pt x="70" y="246"/>
                  <a:pt x="71" y="246"/>
                  <a:pt x="71" y="246"/>
                </a:cubicBezTo>
                <a:cubicBezTo>
                  <a:pt x="72" y="246"/>
                  <a:pt x="73" y="246"/>
                  <a:pt x="74" y="246"/>
                </a:cubicBezTo>
                <a:cubicBezTo>
                  <a:pt x="87" y="252"/>
                  <a:pt x="98" y="259"/>
                  <a:pt x="112" y="265"/>
                </a:cubicBezTo>
                <a:cubicBezTo>
                  <a:pt x="112" y="266"/>
                  <a:pt x="114" y="267"/>
                  <a:pt x="116" y="268"/>
                </a:cubicBezTo>
                <a:cubicBezTo>
                  <a:pt x="117" y="268"/>
                  <a:pt x="117" y="269"/>
                  <a:pt x="121" y="269"/>
                </a:cubicBezTo>
                <a:cubicBezTo>
                  <a:pt x="122" y="269"/>
                  <a:pt x="124" y="270"/>
                  <a:pt x="125" y="271"/>
                </a:cubicBezTo>
                <a:cubicBezTo>
                  <a:pt x="130" y="273"/>
                  <a:pt x="133" y="275"/>
                  <a:pt x="139" y="277"/>
                </a:cubicBezTo>
                <a:cubicBezTo>
                  <a:pt x="137" y="276"/>
                  <a:pt x="133" y="274"/>
                  <a:pt x="133" y="273"/>
                </a:cubicBezTo>
                <a:cubicBezTo>
                  <a:pt x="143" y="277"/>
                  <a:pt x="152" y="281"/>
                  <a:pt x="160" y="286"/>
                </a:cubicBezTo>
                <a:cubicBezTo>
                  <a:pt x="162" y="287"/>
                  <a:pt x="164" y="288"/>
                  <a:pt x="168" y="289"/>
                </a:cubicBezTo>
                <a:cubicBezTo>
                  <a:pt x="168" y="289"/>
                  <a:pt x="169" y="290"/>
                  <a:pt x="169" y="290"/>
                </a:cubicBezTo>
                <a:cubicBezTo>
                  <a:pt x="171" y="291"/>
                  <a:pt x="176" y="293"/>
                  <a:pt x="178" y="295"/>
                </a:cubicBezTo>
                <a:cubicBezTo>
                  <a:pt x="179" y="295"/>
                  <a:pt x="179" y="295"/>
                  <a:pt x="179" y="295"/>
                </a:cubicBezTo>
                <a:cubicBezTo>
                  <a:pt x="179" y="295"/>
                  <a:pt x="179" y="295"/>
                  <a:pt x="179" y="295"/>
                </a:cubicBezTo>
                <a:cubicBezTo>
                  <a:pt x="179" y="295"/>
                  <a:pt x="179" y="295"/>
                  <a:pt x="178" y="295"/>
                </a:cubicBezTo>
                <a:cubicBezTo>
                  <a:pt x="181" y="297"/>
                  <a:pt x="186" y="299"/>
                  <a:pt x="190" y="301"/>
                </a:cubicBezTo>
                <a:cubicBezTo>
                  <a:pt x="195" y="303"/>
                  <a:pt x="200" y="306"/>
                  <a:pt x="202" y="308"/>
                </a:cubicBezTo>
                <a:cubicBezTo>
                  <a:pt x="203" y="309"/>
                  <a:pt x="204" y="309"/>
                  <a:pt x="204" y="309"/>
                </a:cubicBezTo>
                <a:cubicBezTo>
                  <a:pt x="208" y="311"/>
                  <a:pt x="214" y="314"/>
                  <a:pt x="218" y="316"/>
                </a:cubicBezTo>
                <a:cubicBezTo>
                  <a:pt x="219" y="317"/>
                  <a:pt x="221" y="318"/>
                  <a:pt x="224" y="318"/>
                </a:cubicBezTo>
                <a:cubicBezTo>
                  <a:pt x="225" y="318"/>
                  <a:pt x="226" y="319"/>
                  <a:pt x="228" y="320"/>
                </a:cubicBezTo>
                <a:cubicBezTo>
                  <a:pt x="228" y="320"/>
                  <a:pt x="229" y="320"/>
                  <a:pt x="229" y="320"/>
                </a:cubicBezTo>
                <a:cubicBezTo>
                  <a:pt x="229" y="320"/>
                  <a:pt x="229" y="320"/>
                  <a:pt x="229" y="320"/>
                </a:cubicBezTo>
                <a:cubicBezTo>
                  <a:pt x="226" y="317"/>
                  <a:pt x="221" y="315"/>
                  <a:pt x="216" y="313"/>
                </a:cubicBezTo>
                <a:cubicBezTo>
                  <a:pt x="214" y="312"/>
                  <a:pt x="211" y="311"/>
                  <a:pt x="211" y="310"/>
                </a:cubicBezTo>
                <a:cubicBezTo>
                  <a:pt x="204" y="309"/>
                  <a:pt x="209" y="308"/>
                  <a:pt x="204" y="306"/>
                </a:cubicBezTo>
                <a:cubicBezTo>
                  <a:pt x="204" y="306"/>
                  <a:pt x="204" y="306"/>
                  <a:pt x="204" y="306"/>
                </a:cubicBezTo>
                <a:cubicBezTo>
                  <a:pt x="203" y="305"/>
                  <a:pt x="203" y="304"/>
                  <a:pt x="200" y="303"/>
                </a:cubicBezTo>
                <a:cubicBezTo>
                  <a:pt x="197" y="302"/>
                  <a:pt x="193" y="300"/>
                  <a:pt x="191" y="299"/>
                </a:cubicBezTo>
                <a:cubicBezTo>
                  <a:pt x="189" y="297"/>
                  <a:pt x="188" y="298"/>
                  <a:pt x="186" y="298"/>
                </a:cubicBezTo>
                <a:cubicBezTo>
                  <a:pt x="186" y="297"/>
                  <a:pt x="188" y="297"/>
                  <a:pt x="185" y="296"/>
                </a:cubicBezTo>
                <a:cubicBezTo>
                  <a:pt x="185" y="295"/>
                  <a:pt x="181" y="294"/>
                  <a:pt x="181" y="293"/>
                </a:cubicBezTo>
                <a:cubicBezTo>
                  <a:pt x="181" y="293"/>
                  <a:pt x="182" y="293"/>
                  <a:pt x="182" y="293"/>
                </a:cubicBezTo>
                <a:cubicBezTo>
                  <a:pt x="184" y="293"/>
                  <a:pt x="183" y="293"/>
                  <a:pt x="183" y="292"/>
                </a:cubicBezTo>
                <a:cubicBezTo>
                  <a:pt x="187" y="293"/>
                  <a:pt x="190" y="295"/>
                  <a:pt x="190" y="295"/>
                </a:cubicBezTo>
                <a:cubicBezTo>
                  <a:pt x="190" y="297"/>
                  <a:pt x="192" y="297"/>
                  <a:pt x="196" y="298"/>
                </a:cubicBezTo>
                <a:cubicBezTo>
                  <a:pt x="198" y="299"/>
                  <a:pt x="200" y="300"/>
                  <a:pt x="201" y="301"/>
                </a:cubicBezTo>
                <a:cubicBezTo>
                  <a:pt x="202" y="301"/>
                  <a:pt x="204" y="302"/>
                  <a:pt x="206" y="302"/>
                </a:cubicBezTo>
                <a:cubicBezTo>
                  <a:pt x="206" y="303"/>
                  <a:pt x="206" y="303"/>
                  <a:pt x="207" y="303"/>
                </a:cubicBezTo>
                <a:cubicBezTo>
                  <a:pt x="210" y="304"/>
                  <a:pt x="214" y="306"/>
                  <a:pt x="218" y="308"/>
                </a:cubicBezTo>
                <a:cubicBezTo>
                  <a:pt x="218" y="308"/>
                  <a:pt x="218" y="308"/>
                  <a:pt x="218" y="308"/>
                </a:cubicBezTo>
                <a:cubicBezTo>
                  <a:pt x="218" y="308"/>
                  <a:pt x="218" y="308"/>
                  <a:pt x="218" y="308"/>
                </a:cubicBezTo>
                <a:cubicBezTo>
                  <a:pt x="218" y="308"/>
                  <a:pt x="218" y="308"/>
                  <a:pt x="218" y="308"/>
                </a:cubicBezTo>
                <a:cubicBezTo>
                  <a:pt x="220" y="309"/>
                  <a:pt x="223" y="310"/>
                  <a:pt x="225" y="311"/>
                </a:cubicBezTo>
                <a:cubicBezTo>
                  <a:pt x="229" y="312"/>
                  <a:pt x="232" y="314"/>
                  <a:pt x="236" y="316"/>
                </a:cubicBezTo>
                <a:cubicBezTo>
                  <a:pt x="235" y="314"/>
                  <a:pt x="225" y="311"/>
                  <a:pt x="227" y="310"/>
                </a:cubicBezTo>
                <a:cubicBezTo>
                  <a:pt x="228" y="310"/>
                  <a:pt x="228" y="309"/>
                  <a:pt x="228" y="309"/>
                </a:cubicBezTo>
                <a:cubicBezTo>
                  <a:pt x="228" y="309"/>
                  <a:pt x="228" y="308"/>
                  <a:pt x="227" y="308"/>
                </a:cubicBezTo>
                <a:cubicBezTo>
                  <a:pt x="225" y="308"/>
                  <a:pt x="223" y="307"/>
                  <a:pt x="220" y="306"/>
                </a:cubicBezTo>
                <a:cubicBezTo>
                  <a:pt x="220" y="306"/>
                  <a:pt x="219" y="305"/>
                  <a:pt x="218" y="305"/>
                </a:cubicBezTo>
                <a:cubicBezTo>
                  <a:pt x="217" y="305"/>
                  <a:pt x="216" y="304"/>
                  <a:pt x="216" y="304"/>
                </a:cubicBezTo>
                <a:cubicBezTo>
                  <a:pt x="210" y="301"/>
                  <a:pt x="206" y="298"/>
                  <a:pt x="202" y="296"/>
                </a:cubicBezTo>
                <a:cubicBezTo>
                  <a:pt x="204" y="296"/>
                  <a:pt x="206" y="297"/>
                  <a:pt x="208" y="298"/>
                </a:cubicBezTo>
                <a:cubicBezTo>
                  <a:pt x="208" y="297"/>
                  <a:pt x="204" y="296"/>
                  <a:pt x="203" y="295"/>
                </a:cubicBezTo>
                <a:cubicBezTo>
                  <a:pt x="203" y="295"/>
                  <a:pt x="203" y="295"/>
                  <a:pt x="204" y="295"/>
                </a:cubicBezTo>
                <a:cubicBezTo>
                  <a:pt x="204" y="295"/>
                  <a:pt x="204" y="295"/>
                  <a:pt x="204" y="295"/>
                </a:cubicBezTo>
                <a:cubicBezTo>
                  <a:pt x="204" y="295"/>
                  <a:pt x="204" y="294"/>
                  <a:pt x="205" y="295"/>
                </a:cubicBezTo>
                <a:cubicBezTo>
                  <a:pt x="208" y="296"/>
                  <a:pt x="209" y="296"/>
                  <a:pt x="210" y="296"/>
                </a:cubicBezTo>
                <a:cubicBezTo>
                  <a:pt x="211" y="295"/>
                  <a:pt x="209" y="295"/>
                  <a:pt x="208" y="294"/>
                </a:cubicBezTo>
                <a:cubicBezTo>
                  <a:pt x="205" y="293"/>
                  <a:pt x="202" y="292"/>
                  <a:pt x="201" y="291"/>
                </a:cubicBezTo>
                <a:cubicBezTo>
                  <a:pt x="199" y="289"/>
                  <a:pt x="197" y="289"/>
                  <a:pt x="195" y="289"/>
                </a:cubicBezTo>
                <a:cubicBezTo>
                  <a:pt x="193" y="288"/>
                  <a:pt x="191" y="287"/>
                  <a:pt x="187" y="285"/>
                </a:cubicBezTo>
                <a:cubicBezTo>
                  <a:pt x="189" y="287"/>
                  <a:pt x="191" y="288"/>
                  <a:pt x="195" y="289"/>
                </a:cubicBezTo>
                <a:cubicBezTo>
                  <a:pt x="197" y="290"/>
                  <a:pt x="199" y="291"/>
                  <a:pt x="201" y="292"/>
                </a:cubicBezTo>
                <a:cubicBezTo>
                  <a:pt x="203" y="293"/>
                  <a:pt x="203" y="294"/>
                  <a:pt x="201" y="294"/>
                </a:cubicBezTo>
                <a:cubicBezTo>
                  <a:pt x="199" y="293"/>
                  <a:pt x="196" y="291"/>
                  <a:pt x="195" y="293"/>
                </a:cubicBezTo>
                <a:cubicBezTo>
                  <a:pt x="195" y="292"/>
                  <a:pt x="194" y="292"/>
                  <a:pt x="193" y="292"/>
                </a:cubicBezTo>
                <a:cubicBezTo>
                  <a:pt x="193" y="291"/>
                  <a:pt x="191" y="290"/>
                  <a:pt x="189" y="290"/>
                </a:cubicBezTo>
                <a:cubicBezTo>
                  <a:pt x="184" y="287"/>
                  <a:pt x="178" y="284"/>
                  <a:pt x="172" y="281"/>
                </a:cubicBezTo>
                <a:cubicBezTo>
                  <a:pt x="169" y="279"/>
                  <a:pt x="167" y="277"/>
                  <a:pt x="162" y="275"/>
                </a:cubicBezTo>
                <a:cubicBezTo>
                  <a:pt x="160" y="273"/>
                  <a:pt x="154" y="271"/>
                  <a:pt x="152" y="269"/>
                </a:cubicBezTo>
                <a:cubicBezTo>
                  <a:pt x="151" y="269"/>
                  <a:pt x="149" y="268"/>
                  <a:pt x="148" y="267"/>
                </a:cubicBezTo>
                <a:cubicBezTo>
                  <a:pt x="147" y="266"/>
                  <a:pt x="146" y="266"/>
                  <a:pt x="146" y="265"/>
                </a:cubicBezTo>
                <a:cubicBezTo>
                  <a:pt x="145" y="265"/>
                  <a:pt x="145" y="264"/>
                  <a:pt x="144" y="264"/>
                </a:cubicBezTo>
                <a:cubicBezTo>
                  <a:pt x="146" y="265"/>
                  <a:pt x="148" y="266"/>
                  <a:pt x="150" y="267"/>
                </a:cubicBezTo>
                <a:cubicBezTo>
                  <a:pt x="152" y="267"/>
                  <a:pt x="152" y="268"/>
                  <a:pt x="154" y="268"/>
                </a:cubicBezTo>
                <a:cubicBezTo>
                  <a:pt x="155" y="269"/>
                  <a:pt x="157" y="269"/>
                  <a:pt x="158" y="270"/>
                </a:cubicBezTo>
                <a:cubicBezTo>
                  <a:pt x="158" y="269"/>
                  <a:pt x="158" y="269"/>
                  <a:pt x="159" y="269"/>
                </a:cubicBezTo>
                <a:cubicBezTo>
                  <a:pt x="162" y="270"/>
                  <a:pt x="164" y="272"/>
                  <a:pt x="168" y="273"/>
                </a:cubicBezTo>
                <a:cubicBezTo>
                  <a:pt x="170" y="274"/>
                  <a:pt x="172" y="275"/>
                  <a:pt x="173" y="276"/>
                </a:cubicBezTo>
                <a:cubicBezTo>
                  <a:pt x="173" y="276"/>
                  <a:pt x="172" y="276"/>
                  <a:pt x="173" y="277"/>
                </a:cubicBezTo>
                <a:cubicBezTo>
                  <a:pt x="175" y="277"/>
                  <a:pt x="175" y="277"/>
                  <a:pt x="176" y="277"/>
                </a:cubicBezTo>
                <a:cubicBezTo>
                  <a:pt x="177" y="277"/>
                  <a:pt x="178" y="278"/>
                  <a:pt x="180" y="279"/>
                </a:cubicBezTo>
                <a:cubicBezTo>
                  <a:pt x="180" y="279"/>
                  <a:pt x="180" y="279"/>
                  <a:pt x="180" y="279"/>
                </a:cubicBezTo>
                <a:cubicBezTo>
                  <a:pt x="186" y="283"/>
                  <a:pt x="196" y="287"/>
                  <a:pt x="204" y="291"/>
                </a:cubicBezTo>
                <a:cubicBezTo>
                  <a:pt x="208" y="293"/>
                  <a:pt x="212" y="296"/>
                  <a:pt x="216" y="298"/>
                </a:cubicBezTo>
                <a:cubicBezTo>
                  <a:pt x="218" y="299"/>
                  <a:pt x="221" y="301"/>
                  <a:pt x="224" y="302"/>
                </a:cubicBezTo>
                <a:cubicBezTo>
                  <a:pt x="225" y="303"/>
                  <a:pt x="225" y="304"/>
                  <a:pt x="228" y="304"/>
                </a:cubicBezTo>
                <a:cubicBezTo>
                  <a:pt x="233" y="305"/>
                  <a:pt x="230" y="303"/>
                  <a:pt x="230" y="303"/>
                </a:cubicBezTo>
                <a:cubicBezTo>
                  <a:pt x="231" y="303"/>
                  <a:pt x="232" y="304"/>
                  <a:pt x="234" y="304"/>
                </a:cubicBezTo>
                <a:cubicBezTo>
                  <a:pt x="232" y="303"/>
                  <a:pt x="229" y="301"/>
                  <a:pt x="226" y="299"/>
                </a:cubicBezTo>
                <a:cubicBezTo>
                  <a:pt x="227" y="299"/>
                  <a:pt x="228" y="299"/>
                  <a:pt x="226" y="298"/>
                </a:cubicBezTo>
                <a:cubicBezTo>
                  <a:pt x="223" y="297"/>
                  <a:pt x="221" y="296"/>
                  <a:pt x="217" y="294"/>
                </a:cubicBezTo>
                <a:cubicBezTo>
                  <a:pt x="217" y="294"/>
                  <a:pt x="217" y="294"/>
                  <a:pt x="217" y="294"/>
                </a:cubicBezTo>
                <a:cubicBezTo>
                  <a:pt x="217" y="294"/>
                  <a:pt x="217" y="294"/>
                  <a:pt x="217" y="294"/>
                </a:cubicBezTo>
                <a:cubicBezTo>
                  <a:pt x="217" y="294"/>
                  <a:pt x="217" y="294"/>
                  <a:pt x="217" y="294"/>
                </a:cubicBezTo>
                <a:cubicBezTo>
                  <a:pt x="217" y="294"/>
                  <a:pt x="220" y="294"/>
                  <a:pt x="215" y="293"/>
                </a:cubicBezTo>
                <a:cubicBezTo>
                  <a:pt x="214" y="292"/>
                  <a:pt x="212" y="291"/>
                  <a:pt x="214" y="291"/>
                </a:cubicBezTo>
                <a:cubicBezTo>
                  <a:pt x="214" y="291"/>
                  <a:pt x="214" y="291"/>
                  <a:pt x="214" y="291"/>
                </a:cubicBezTo>
                <a:cubicBezTo>
                  <a:pt x="214" y="291"/>
                  <a:pt x="214" y="291"/>
                  <a:pt x="214" y="291"/>
                </a:cubicBezTo>
                <a:cubicBezTo>
                  <a:pt x="214" y="291"/>
                  <a:pt x="214" y="291"/>
                  <a:pt x="214" y="291"/>
                </a:cubicBezTo>
                <a:cubicBezTo>
                  <a:pt x="219" y="293"/>
                  <a:pt x="223" y="296"/>
                  <a:pt x="230" y="298"/>
                </a:cubicBezTo>
                <a:cubicBezTo>
                  <a:pt x="231" y="299"/>
                  <a:pt x="232" y="299"/>
                  <a:pt x="233" y="300"/>
                </a:cubicBezTo>
                <a:cubicBezTo>
                  <a:pt x="236" y="300"/>
                  <a:pt x="232" y="299"/>
                  <a:pt x="232" y="299"/>
                </a:cubicBezTo>
                <a:cubicBezTo>
                  <a:pt x="233" y="299"/>
                  <a:pt x="234" y="298"/>
                  <a:pt x="235" y="298"/>
                </a:cubicBezTo>
                <a:cubicBezTo>
                  <a:pt x="239" y="300"/>
                  <a:pt x="241" y="301"/>
                  <a:pt x="244" y="303"/>
                </a:cubicBezTo>
                <a:cubicBezTo>
                  <a:pt x="246" y="304"/>
                  <a:pt x="248" y="305"/>
                  <a:pt x="250" y="305"/>
                </a:cubicBezTo>
                <a:cubicBezTo>
                  <a:pt x="253" y="306"/>
                  <a:pt x="247" y="304"/>
                  <a:pt x="246" y="303"/>
                </a:cubicBezTo>
                <a:cubicBezTo>
                  <a:pt x="246" y="303"/>
                  <a:pt x="246" y="303"/>
                  <a:pt x="246" y="302"/>
                </a:cubicBezTo>
                <a:cubicBezTo>
                  <a:pt x="246" y="302"/>
                  <a:pt x="246" y="302"/>
                  <a:pt x="246" y="302"/>
                </a:cubicBezTo>
                <a:cubicBezTo>
                  <a:pt x="247" y="302"/>
                  <a:pt x="247" y="302"/>
                  <a:pt x="248" y="302"/>
                </a:cubicBezTo>
                <a:cubicBezTo>
                  <a:pt x="245" y="301"/>
                  <a:pt x="240" y="299"/>
                  <a:pt x="238" y="298"/>
                </a:cubicBezTo>
                <a:cubicBezTo>
                  <a:pt x="237" y="297"/>
                  <a:pt x="237" y="297"/>
                  <a:pt x="236" y="296"/>
                </a:cubicBezTo>
                <a:cubicBezTo>
                  <a:pt x="236" y="296"/>
                  <a:pt x="237" y="296"/>
                  <a:pt x="238" y="296"/>
                </a:cubicBezTo>
                <a:cubicBezTo>
                  <a:pt x="238" y="296"/>
                  <a:pt x="238" y="296"/>
                  <a:pt x="237" y="295"/>
                </a:cubicBezTo>
                <a:cubicBezTo>
                  <a:pt x="231" y="292"/>
                  <a:pt x="231" y="292"/>
                  <a:pt x="237" y="292"/>
                </a:cubicBezTo>
                <a:cubicBezTo>
                  <a:pt x="239" y="292"/>
                  <a:pt x="239" y="293"/>
                  <a:pt x="242" y="293"/>
                </a:cubicBezTo>
                <a:cubicBezTo>
                  <a:pt x="244" y="293"/>
                  <a:pt x="241" y="292"/>
                  <a:pt x="240" y="292"/>
                </a:cubicBezTo>
                <a:cubicBezTo>
                  <a:pt x="239" y="291"/>
                  <a:pt x="239" y="290"/>
                  <a:pt x="241" y="291"/>
                </a:cubicBezTo>
                <a:cubicBezTo>
                  <a:pt x="247" y="293"/>
                  <a:pt x="253" y="294"/>
                  <a:pt x="258" y="297"/>
                </a:cubicBezTo>
                <a:cubicBezTo>
                  <a:pt x="258" y="297"/>
                  <a:pt x="259" y="297"/>
                  <a:pt x="258" y="297"/>
                </a:cubicBezTo>
                <a:cubicBezTo>
                  <a:pt x="258" y="297"/>
                  <a:pt x="256" y="296"/>
                  <a:pt x="255" y="297"/>
                </a:cubicBezTo>
                <a:cubicBezTo>
                  <a:pt x="260" y="300"/>
                  <a:pt x="270" y="302"/>
                  <a:pt x="275" y="305"/>
                </a:cubicBezTo>
                <a:cubicBezTo>
                  <a:pt x="277" y="307"/>
                  <a:pt x="280" y="308"/>
                  <a:pt x="284" y="310"/>
                </a:cubicBezTo>
                <a:cubicBezTo>
                  <a:pt x="285" y="311"/>
                  <a:pt x="286" y="311"/>
                  <a:pt x="288" y="311"/>
                </a:cubicBezTo>
                <a:cubicBezTo>
                  <a:pt x="290" y="311"/>
                  <a:pt x="289" y="310"/>
                  <a:pt x="287" y="310"/>
                </a:cubicBezTo>
                <a:cubicBezTo>
                  <a:pt x="283" y="308"/>
                  <a:pt x="287" y="309"/>
                  <a:pt x="287" y="308"/>
                </a:cubicBezTo>
                <a:cubicBezTo>
                  <a:pt x="288" y="308"/>
                  <a:pt x="289" y="308"/>
                  <a:pt x="289" y="309"/>
                </a:cubicBezTo>
                <a:cubicBezTo>
                  <a:pt x="287" y="308"/>
                  <a:pt x="287" y="306"/>
                  <a:pt x="282" y="306"/>
                </a:cubicBezTo>
                <a:cubicBezTo>
                  <a:pt x="281" y="306"/>
                  <a:pt x="283" y="307"/>
                  <a:pt x="283" y="307"/>
                </a:cubicBezTo>
                <a:cubicBezTo>
                  <a:pt x="280" y="307"/>
                  <a:pt x="280" y="306"/>
                  <a:pt x="278" y="305"/>
                </a:cubicBezTo>
                <a:cubicBezTo>
                  <a:pt x="273" y="303"/>
                  <a:pt x="273" y="302"/>
                  <a:pt x="268" y="300"/>
                </a:cubicBezTo>
                <a:cubicBezTo>
                  <a:pt x="266" y="299"/>
                  <a:pt x="264" y="298"/>
                  <a:pt x="262" y="297"/>
                </a:cubicBezTo>
                <a:cubicBezTo>
                  <a:pt x="262" y="296"/>
                  <a:pt x="263" y="296"/>
                  <a:pt x="262" y="295"/>
                </a:cubicBezTo>
                <a:cubicBezTo>
                  <a:pt x="260" y="294"/>
                  <a:pt x="258" y="293"/>
                  <a:pt x="256" y="292"/>
                </a:cubicBezTo>
                <a:cubicBezTo>
                  <a:pt x="256" y="292"/>
                  <a:pt x="255" y="292"/>
                  <a:pt x="255" y="292"/>
                </a:cubicBezTo>
                <a:cubicBezTo>
                  <a:pt x="257" y="293"/>
                  <a:pt x="259" y="294"/>
                  <a:pt x="261" y="295"/>
                </a:cubicBezTo>
                <a:cubicBezTo>
                  <a:pt x="256" y="294"/>
                  <a:pt x="255" y="293"/>
                  <a:pt x="252" y="292"/>
                </a:cubicBezTo>
                <a:cubicBezTo>
                  <a:pt x="251" y="290"/>
                  <a:pt x="245" y="288"/>
                  <a:pt x="242" y="287"/>
                </a:cubicBezTo>
                <a:cubicBezTo>
                  <a:pt x="242" y="286"/>
                  <a:pt x="241" y="286"/>
                  <a:pt x="240" y="286"/>
                </a:cubicBezTo>
                <a:cubicBezTo>
                  <a:pt x="240" y="286"/>
                  <a:pt x="240" y="286"/>
                  <a:pt x="240" y="286"/>
                </a:cubicBezTo>
                <a:cubicBezTo>
                  <a:pt x="240" y="286"/>
                  <a:pt x="240" y="286"/>
                  <a:pt x="240" y="286"/>
                </a:cubicBezTo>
                <a:cubicBezTo>
                  <a:pt x="240" y="286"/>
                  <a:pt x="240" y="286"/>
                  <a:pt x="240" y="286"/>
                </a:cubicBezTo>
                <a:cubicBezTo>
                  <a:pt x="236" y="285"/>
                  <a:pt x="234" y="283"/>
                  <a:pt x="229" y="281"/>
                </a:cubicBezTo>
                <a:cubicBezTo>
                  <a:pt x="229" y="281"/>
                  <a:pt x="229" y="281"/>
                  <a:pt x="229" y="281"/>
                </a:cubicBezTo>
                <a:cubicBezTo>
                  <a:pt x="229" y="281"/>
                  <a:pt x="229" y="281"/>
                  <a:pt x="229" y="281"/>
                </a:cubicBezTo>
                <a:cubicBezTo>
                  <a:pt x="228" y="280"/>
                  <a:pt x="226" y="279"/>
                  <a:pt x="224" y="279"/>
                </a:cubicBezTo>
                <a:cubicBezTo>
                  <a:pt x="223" y="277"/>
                  <a:pt x="220" y="276"/>
                  <a:pt x="217" y="275"/>
                </a:cubicBezTo>
                <a:cubicBezTo>
                  <a:pt x="215" y="274"/>
                  <a:pt x="214" y="273"/>
                  <a:pt x="212" y="273"/>
                </a:cubicBezTo>
                <a:cubicBezTo>
                  <a:pt x="212" y="272"/>
                  <a:pt x="212" y="272"/>
                  <a:pt x="212" y="272"/>
                </a:cubicBezTo>
                <a:cubicBezTo>
                  <a:pt x="210" y="271"/>
                  <a:pt x="207" y="270"/>
                  <a:pt x="208" y="269"/>
                </a:cubicBezTo>
                <a:cubicBezTo>
                  <a:pt x="214" y="271"/>
                  <a:pt x="218" y="274"/>
                  <a:pt x="225" y="276"/>
                </a:cubicBezTo>
                <a:cubicBezTo>
                  <a:pt x="236" y="282"/>
                  <a:pt x="246" y="287"/>
                  <a:pt x="257" y="292"/>
                </a:cubicBezTo>
                <a:cubicBezTo>
                  <a:pt x="258" y="292"/>
                  <a:pt x="260" y="293"/>
                  <a:pt x="261" y="293"/>
                </a:cubicBezTo>
                <a:cubicBezTo>
                  <a:pt x="262" y="294"/>
                  <a:pt x="262" y="294"/>
                  <a:pt x="263" y="294"/>
                </a:cubicBezTo>
                <a:cubicBezTo>
                  <a:pt x="269" y="297"/>
                  <a:pt x="274" y="300"/>
                  <a:pt x="280" y="302"/>
                </a:cubicBezTo>
                <a:cubicBezTo>
                  <a:pt x="286" y="305"/>
                  <a:pt x="293" y="308"/>
                  <a:pt x="297" y="311"/>
                </a:cubicBezTo>
                <a:cubicBezTo>
                  <a:pt x="298" y="312"/>
                  <a:pt x="301" y="313"/>
                  <a:pt x="303" y="315"/>
                </a:cubicBezTo>
                <a:cubicBezTo>
                  <a:pt x="302" y="314"/>
                  <a:pt x="301" y="314"/>
                  <a:pt x="300" y="314"/>
                </a:cubicBezTo>
                <a:cubicBezTo>
                  <a:pt x="301" y="315"/>
                  <a:pt x="302" y="315"/>
                  <a:pt x="304" y="316"/>
                </a:cubicBezTo>
                <a:cubicBezTo>
                  <a:pt x="305" y="316"/>
                  <a:pt x="304" y="315"/>
                  <a:pt x="304" y="315"/>
                </a:cubicBezTo>
                <a:cubicBezTo>
                  <a:pt x="305" y="315"/>
                  <a:pt x="306" y="316"/>
                  <a:pt x="309" y="316"/>
                </a:cubicBezTo>
                <a:cubicBezTo>
                  <a:pt x="304" y="314"/>
                  <a:pt x="303" y="313"/>
                  <a:pt x="299" y="311"/>
                </a:cubicBezTo>
                <a:cubicBezTo>
                  <a:pt x="297" y="310"/>
                  <a:pt x="296" y="309"/>
                  <a:pt x="294" y="308"/>
                </a:cubicBezTo>
                <a:cubicBezTo>
                  <a:pt x="290" y="306"/>
                  <a:pt x="284" y="303"/>
                  <a:pt x="280" y="300"/>
                </a:cubicBezTo>
                <a:cubicBezTo>
                  <a:pt x="281" y="300"/>
                  <a:pt x="280" y="300"/>
                  <a:pt x="280" y="299"/>
                </a:cubicBezTo>
                <a:cubicBezTo>
                  <a:pt x="279" y="299"/>
                  <a:pt x="279" y="298"/>
                  <a:pt x="280" y="298"/>
                </a:cubicBezTo>
                <a:cubicBezTo>
                  <a:pt x="282" y="298"/>
                  <a:pt x="284" y="299"/>
                  <a:pt x="285" y="300"/>
                </a:cubicBezTo>
                <a:cubicBezTo>
                  <a:pt x="288" y="301"/>
                  <a:pt x="292" y="302"/>
                  <a:pt x="296" y="303"/>
                </a:cubicBezTo>
                <a:cubicBezTo>
                  <a:pt x="300" y="305"/>
                  <a:pt x="302" y="304"/>
                  <a:pt x="304" y="304"/>
                </a:cubicBezTo>
                <a:cubicBezTo>
                  <a:pt x="304" y="304"/>
                  <a:pt x="306" y="304"/>
                  <a:pt x="307" y="304"/>
                </a:cubicBezTo>
                <a:cubicBezTo>
                  <a:pt x="308" y="305"/>
                  <a:pt x="308" y="305"/>
                  <a:pt x="306" y="305"/>
                </a:cubicBezTo>
                <a:cubicBezTo>
                  <a:pt x="303" y="305"/>
                  <a:pt x="304" y="306"/>
                  <a:pt x="302" y="306"/>
                </a:cubicBezTo>
                <a:cubicBezTo>
                  <a:pt x="306" y="307"/>
                  <a:pt x="310" y="308"/>
                  <a:pt x="314" y="310"/>
                </a:cubicBezTo>
                <a:cubicBezTo>
                  <a:pt x="313" y="309"/>
                  <a:pt x="312" y="308"/>
                  <a:pt x="312" y="307"/>
                </a:cubicBezTo>
                <a:cubicBezTo>
                  <a:pt x="314" y="308"/>
                  <a:pt x="319" y="309"/>
                  <a:pt x="318" y="307"/>
                </a:cubicBezTo>
                <a:cubicBezTo>
                  <a:pt x="317" y="305"/>
                  <a:pt x="317" y="305"/>
                  <a:pt x="321" y="305"/>
                </a:cubicBezTo>
                <a:cubicBezTo>
                  <a:pt x="317" y="304"/>
                  <a:pt x="314" y="302"/>
                  <a:pt x="310" y="302"/>
                </a:cubicBezTo>
                <a:cubicBezTo>
                  <a:pt x="310" y="302"/>
                  <a:pt x="309" y="302"/>
                  <a:pt x="309" y="302"/>
                </a:cubicBezTo>
                <a:cubicBezTo>
                  <a:pt x="309" y="301"/>
                  <a:pt x="309" y="301"/>
                  <a:pt x="310" y="301"/>
                </a:cubicBezTo>
                <a:cubicBezTo>
                  <a:pt x="312" y="301"/>
                  <a:pt x="310" y="300"/>
                  <a:pt x="309" y="300"/>
                </a:cubicBezTo>
                <a:cubicBezTo>
                  <a:pt x="308" y="300"/>
                  <a:pt x="308" y="300"/>
                  <a:pt x="308" y="299"/>
                </a:cubicBezTo>
                <a:cubicBezTo>
                  <a:pt x="308" y="299"/>
                  <a:pt x="308" y="299"/>
                  <a:pt x="306" y="298"/>
                </a:cubicBezTo>
                <a:cubicBezTo>
                  <a:pt x="304" y="297"/>
                  <a:pt x="304" y="297"/>
                  <a:pt x="306" y="297"/>
                </a:cubicBezTo>
                <a:cubicBezTo>
                  <a:pt x="307" y="297"/>
                  <a:pt x="304" y="296"/>
                  <a:pt x="305" y="295"/>
                </a:cubicBezTo>
                <a:cubicBezTo>
                  <a:pt x="306" y="296"/>
                  <a:pt x="307" y="297"/>
                  <a:pt x="308" y="297"/>
                </a:cubicBezTo>
                <a:cubicBezTo>
                  <a:pt x="310" y="299"/>
                  <a:pt x="314" y="300"/>
                  <a:pt x="317" y="302"/>
                </a:cubicBezTo>
                <a:cubicBezTo>
                  <a:pt x="318" y="303"/>
                  <a:pt x="320" y="304"/>
                  <a:pt x="322" y="305"/>
                </a:cubicBezTo>
                <a:cubicBezTo>
                  <a:pt x="323" y="305"/>
                  <a:pt x="324" y="306"/>
                  <a:pt x="325" y="306"/>
                </a:cubicBezTo>
                <a:cubicBezTo>
                  <a:pt x="326" y="306"/>
                  <a:pt x="327" y="307"/>
                  <a:pt x="327" y="307"/>
                </a:cubicBezTo>
                <a:cubicBezTo>
                  <a:pt x="327" y="307"/>
                  <a:pt x="328" y="308"/>
                  <a:pt x="329" y="308"/>
                </a:cubicBezTo>
                <a:cubicBezTo>
                  <a:pt x="330" y="308"/>
                  <a:pt x="331" y="309"/>
                  <a:pt x="332" y="309"/>
                </a:cubicBezTo>
                <a:cubicBezTo>
                  <a:pt x="332" y="308"/>
                  <a:pt x="331" y="308"/>
                  <a:pt x="330" y="308"/>
                </a:cubicBezTo>
                <a:cubicBezTo>
                  <a:pt x="329" y="307"/>
                  <a:pt x="328" y="306"/>
                  <a:pt x="326" y="306"/>
                </a:cubicBezTo>
                <a:cubicBezTo>
                  <a:pt x="321" y="303"/>
                  <a:pt x="317" y="300"/>
                  <a:pt x="309" y="297"/>
                </a:cubicBezTo>
                <a:cubicBezTo>
                  <a:pt x="305" y="294"/>
                  <a:pt x="298" y="291"/>
                  <a:pt x="292" y="288"/>
                </a:cubicBezTo>
                <a:cubicBezTo>
                  <a:pt x="289" y="287"/>
                  <a:pt x="287" y="285"/>
                  <a:pt x="284" y="284"/>
                </a:cubicBezTo>
                <a:cubicBezTo>
                  <a:pt x="283" y="283"/>
                  <a:pt x="279" y="281"/>
                  <a:pt x="276" y="280"/>
                </a:cubicBezTo>
                <a:cubicBezTo>
                  <a:pt x="280" y="281"/>
                  <a:pt x="284" y="280"/>
                  <a:pt x="289" y="282"/>
                </a:cubicBezTo>
                <a:cubicBezTo>
                  <a:pt x="294" y="284"/>
                  <a:pt x="299" y="286"/>
                  <a:pt x="303" y="288"/>
                </a:cubicBezTo>
                <a:cubicBezTo>
                  <a:pt x="309" y="291"/>
                  <a:pt x="314" y="295"/>
                  <a:pt x="322" y="298"/>
                </a:cubicBezTo>
                <a:cubicBezTo>
                  <a:pt x="325" y="299"/>
                  <a:pt x="330" y="300"/>
                  <a:pt x="334" y="302"/>
                </a:cubicBezTo>
                <a:cubicBezTo>
                  <a:pt x="335" y="300"/>
                  <a:pt x="331" y="299"/>
                  <a:pt x="328" y="298"/>
                </a:cubicBezTo>
                <a:cubicBezTo>
                  <a:pt x="326" y="297"/>
                  <a:pt x="323" y="297"/>
                  <a:pt x="323" y="296"/>
                </a:cubicBezTo>
                <a:cubicBezTo>
                  <a:pt x="323" y="295"/>
                  <a:pt x="325" y="296"/>
                  <a:pt x="327" y="296"/>
                </a:cubicBezTo>
                <a:cubicBezTo>
                  <a:pt x="328" y="296"/>
                  <a:pt x="330" y="296"/>
                  <a:pt x="331" y="296"/>
                </a:cubicBezTo>
                <a:cubicBezTo>
                  <a:pt x="331" y="297"/>
                  <a:pt x="332" y="297"/>
                  <a:pt x="333" y="298"/>
                </a:cubicBezTo>
                <a:cubicBezTo>
                  <a:pt x="333" y="298"/>
                  <a:pt x="333" y="298"/>
                  <a:pt x="333" y="298"/>
                </a:cubicBezTo>
                <a:cubicBezTo>
                  <a:pt x="333" y="298"/>
                  <a:pt x="333" y="298"/>
                  <a:pt x="333" y="298"/>
                </a:cubicBezTo>
                <a:cubicBezTo>
                  <a:pt x="332" y="298"/>
                  <a:pt x="330" y="297"/>
                  <a:pt x="330" y="297"/>
                </a:cubicBezTo>
                <a:cubicBezTo>
                  <a:pt x="330" y="298"/>
                  <a:pt x="331" y="299"/>
                  <a:pt x="334" y="299"/>
                </a:cubicBezTo>
                <a:cubicBezTo>
                  <a:pt x="334" y="299"/>
                  <a:pt x="335" y="300"/>
                  <a:pt x="335" y="300"/>
                </a:cubicBezTo>
                <a:cubicBezTo>
                  <a:pt x="337" y="301"/>
                  <a:pt x="339" y="302"/>
                  <a:pt x="341" y="303"/>
                </a:cubicBezTo>
                <a:cubicBezTo>
                  <a:pt x="341" y="303"/>
                  <a:pt x="342" y="303"/>
                  <a:pt x="342" y="303"/>
                </a:cubicBezTo>
                <a:cubicBezTo>
                  <a:pt x="340" y="302"/>
                  <a:pt x="338" y="301"/>
                  <a:pt x="336" y="300"/>
                </a:cubicBezTo>
                <a:cubicBezTo>
                  <a:pt x="335" y="299"/>
                  <a:pt x="335" y="299"/>
                  <a:pt x="337" y="298"/>
                </a:cubicBezTo>
                <a:cubicBezTo>
                  <a:pt x="339" y="299"/>
                  <a:pt x="340" y="299"/>
                  <a:pt x="341" y="299"/>
                </a:cubicBezTo>
                <a:cubicBezTo>
                  <a:pt x="342" y="300"/>
                  <a:pt x="344" y="301"/>
                  <a:pt x="347" y="301"/>
                </a:cubicBezTo>
                <a:cubicBezTo>
                  <a:pt x="346" y="300"/>
                  <a:pt x="345" y="299"/>
                  <a:pt x="344" y="299"/>
                </a:cubicBezTo>
                <a:cubicBezTo>
                  <a:pt x="343" y="297"/>
                  <a:pt x="339" y="295"/>
                  <a:pt x="335" y="294"/>
                </a:cubicBezTo>
                <a:cubicBezTo>
                  <a:pt x="334" y="293"/>
                  <a:pt x="333" y="293"/>
                  <a:pt x="331" y="292"/>
                </a:cubicBezTo>
                <a:cubicBezTo>
                  <a:pt x="331" y="292"/>
                  <a:pt x="331" y="292"/>
                  <a:pt x="330" y="291"/>
                </a:cubicBezTo>
                <a:cubicBezTo>
                  <a:pt x="330" y="291"/>
                  <a:pt x="329" y="290"/>
                  <a:pt x="327" y="290"/>
                </a:cubicBezTo>
                <a:cubicBezTo>
                  <a:pt x="326" y="289"/>
                  <a:pt x="325" y="289"/>
                  <a:pt x="325" y="289"/>
                </a:cubicBezTo>
                <a:cubicBezTo>
                  <a:pt x="327" y="288"/>
                  <a:pt x="323" y="287"/>
                  <a:pt x="324" y="287"/>
                </a:cubicBezTo>
                <a:cubicBezTo>
                  <a:pt x="325" y="287"/>
                  <a:pt x="329" y="288"/>
                  <a:pt x="329" y="287"/>
                </a:cubicBezTo>
                <a:cubicBezTo>
                  <a:pt x="330" y="287"/>
                  <a:pt x="328" y="286"/>
                  <a:pt x="326" y="285"/>
                </a:cubicBezTo>
                <a:cubicBezTo>
                  <a:pt x="324" y="284"/>
                  <a:pt x="323" y="284"/>
                  <a:pt x="322" y="283"/>
                </a:cubicBezTo>
                <a:cubicBezTo>
                  <a:pt x="320" y="281"/>
                  <a:pt x="318" y="280"/>
                  <a:pt x="311" y="278"/>
                </a:cubicBezTo>
                <a:cubicBezTo>
                  <a:pt x="310" y="277"/>
                  <a:pt x="304" y="275"/>
                  <a:pt x="301" y="273"/>
                </a:cubicBezTo>
                <a:cubicBezTo>
                  <a:pt x="296" y="271"/>
                  <a:pt x="290" y="268"/>
                  <a:pt x="284" y="265"/>
                </a:cubicBezTo>
                <a:cubicBezTo>
                  <a:pt x="283" y="264"/>
                  <a:pt x="281" y="263"/>
                  <a:pt x="276" y="262"/>
                </a:cubicBezTo>
                <a:cubicBezTo>
                  <a:pt x="278" y="263"/>
                  <a:pt x="281" y="264"/>
                  <a:pt x="283" y="265"/>
                </a:cubicBezTo>
                <a:cubicBezTo>
                  <a:pt x="285" y="266"/>
                  <a:pt x="286" y="267"/>
                  <a:pt x="288" y="268"/>
                </a:cubicBezTo>
                <a:cubicBezTo>
                  <a:pt x="282" y="266"/>
                  <a:pt x="281" y="264"/>
                  <a:pt x="277" y="263"/>
                </a:cubicBezTo>
                <a:cubicBezTo>
                  <a:pt x="275" y="262"/>
                  <a:pt x="273" y="262"/>
                  <a:pt x="272" y="261"/>
                </a:cubicBezTo>
                <a:cubicBezTo>
                  <a:pt x="272" y="261"/>
                  <a:pt x="272" y="261"/>
                  <a:pt x="272" y="261"/>
                </a:cubicBezTo>
                <a:cubicBezTo>
                  <a:pt x="272" y="261"/>
                  <a:pt x="272" y="260"/>
                  <a:pt x="270" y="259"/>
                </a:cubicBezTo>
                <a:cubicBezTo>
                  <a:pt x="268" y="259"/>
                  <a:pt x="268" y="259"/>
                  <a:pt x="268" y="260"/>
                </a:cubicBezTo>
                <a:cubicBezTo>
                  <a:pt x="265" y="258"/>
                  <a:pt x="262" y="257"/>
                  <a:pt x="260" y="256"/>
                </a:cubicBezTo>
                <a:cubicBezTo>
                  <a:pt x="260" y="256"/>
                  <a:pt x="261" y="256"/>
                  <a:pt x="262" y="256"/>
                </a:cubicBezTo>
                <a:cubicBezTo>
                  <a:pt x="263" y="256"/>
                  <a:pt x="264" y="257"/>
                  <a:pt x="265" y="257"/>
                </a:cubicBezTo>
                <a:cubicBezTo>
                  <a:pt x="269" y="258"/>
                  <a:pt x="272" y="259"/>
                  <a:pt x="273" y="260"/>
                </a:cubicBezTo>
                <a:cubicBezTo>
                  <a:pt x="274" y="260"/>
                  <a:pt x="275" y="261"/>
                  <a:pt x="276" y="261"/>
                </a:cubicBezTo>
                <a:cubicBezTo>
                  <a:pt x="277" y="261"/>
                  <a:pt x="276" y="260"/>
                  <a:pt x="275" y="260"/>
                </a:cubicBezTo>
                <a:cubicBezTo>
                  <a:pt x="276" y="260"/>
                  <a:pt x="277" y="260"/>
                  <a:pt x="277" y="260"/>
                </a:cubicBezTo>
                <a:cubicBezTo>
                  <a:pt x="278" y="260"/>
                  <a:pt x="279" y="261"/>
                  <a:pt x="280" y="261"/>
                </a:cubicBezTo>
                <a:cubicBezTo>
                  <a:pt x="285" y="263"/>
                  <a:pt x="289" y="266"/>
                  <a:pt x="294" y="268"/>
                </a:cubicBezTo>
                <a:cubicBezTo>
                  <a:pt x="294" y="268"/>
                  <a:pt x="294" y="268"/>
                  <a:pt x="294" y="267"/>
                </a:cubicBezTo>
                <a:cubicBezTo>
                  <a:pt x="294" y="267"/>
                  <a:pt x="293" y="267"/>
                  <a:pt x="293" y="267"/>
                </a:cubicBezTo>
                <a:cubicBezTo>
                  <a:pt x="293" y="267"/>
                  <a:pt x="293" y="267"/>
                  <a:pt x="293" y="267"/>
                </a:cubicBezTo>
                <a:cubicBezTo>
                  <a:pt x="293" y="267"/>
                  <a:pt x="293" y="267"/>
                  <a:pt x="293" y="267"/>
                </a:cubicBezTo>
                <a:cubicBezTo>
                  <a:pt x="296" y="267"/>
                  <a:pt x="299" y="268"/>
                  <a:pt x="300" y="270"/>
                </a:cubicBezTo>
                <a:cubicBezTo>
                  <a:pt x="301" y="270"/>
                  <a:pt x="303" y="271"/>
                  <a:pt x="306" y="272"/>
                </a:cubicBezTo>
                <a:cubicBezTo>
                  <a:pt x="307" y="272"/>
                  <a:pt x="308" y="272"/>
                  <a:pt x="308" y="272"/>
                </a:cubicBezTo>
                <a:cubicBezTo>
                  <a:pt x="310" y="271"/>
                  <a:pt x="307" y="270"/>
                  <a:pt x="305" y="270"/>
                </a:cubicBezTo>
                <a:cubicBezTo>
                  <a:pt x="298" y="266"/>
                  <a:pt x="289" y="262"/>
                  <a:pt x="282" y="259"/>
                </a:cubicBezTo>
                <a:cubicBezTo>
                  <a:pt x="282" y="259"/>
                  <a:pt x="282" y="259"/>
                  <a:pt x="282" y="259"/>
                </a:cubicBezTo>
                <a:cubicBezTo>
                  <a:pt x="279" y="257"/>
                  <a:pt x="272" y="255"/>
                  <a:pt x="271" y="253"/>
                </a:cubicBezTo>
                <a:cubicBezTo>
                  <a:pt x="281" y="257"/>
                  <a:pt x="290" y="262"/>
                  <a:pt x="299" y="266"/>
                </a:cubicBezTo>
                <a:cubicBezTo>
                  <a:pt x="308" y="270"/>
                  <a:pt x="318" y="275"/>
                  <a:pt x="330" y="280"/>
                </a:cubicBezTo>
                <a:cubicBezTo>
                  <a:pt x="332" y="281"/>
                  <a:pt x="334" y="281"/>
                  <a:pt x="336" y="282"/>
                </a:cubicBezTo>
                <a:cubicBezTo>
                  <a:pt x="340" y="285"/>
                  <a:pt x="347" y="288"/>
                  <a:pt x="352" y="291"/>
                </a:cubicBezTo>
                <a:cubicBezTo>
                  <a:pt x="353" y="291"/>
                  <a:pt x="349" y="290"/>
                  <a:pt x="349" y="289"/>
                </a:cubicBezTo>
                <a:cubicBezTo>
                  <a:pt x="355" y="290"/>
                  <a:pt x="358" y="292"/>
                  <a:pt x="361" y="294"/>
                </a:cubicBezTo>
                <a:cubicBezTo>
                  <a:pt x="363" y="295"/>
                  <a:pt x="365" y="297"/>
                  <a:pt x="371" y="298"/>
                </a:cubicBezTo>
                <a:cubicBezTo>
                  <a:pt x="376" y="299"/>
                  <a:pt x="377" y="300"/>
                  <a:pt x="380" y="302"/>
                </a:cubicBezTo>
                <a:cubicBezTo>
                  <a:pt x="380" y="302"/>
                  <a:pt x="380" y="302"/>
                  <a:pt x="380" y="302"/>
                </a:cubicBezTo>
                <a:cubicBezTo>
                  <a:pt x="385" y="304"/>
                  <a:pt x="389" y="306"/>
                  <a:pt x="393" y="308"/>
                </a:cubicBezTo>
                <a:cubicBezTo>
                  <a:pt x="390" y="307"/>
                  <a:pt x="389" y="306"/>
                  <a:pt x="387" y="306"/>
                </a:cubicBezTo>
                <a:cubicBezTo>
                  <a:pt x="386" y="305"/>
                  <a:pt x="385" y="304"/>
                  <a:pt x="381" y="303"/>
                </a:cubicBezTo>
                <a:cubicBezTo>
                  <a:pt x="382" y="304"/>
                  <a:pt x="383" y="305"/>
                  <a:pt x="386" y="306"/>
                </a:cubicBezTo>
                <a:cubicBezTo>
                  <a:pt x="389" y="307"/>
                  <a:pt x="391" y="308"/>
                  <a:pt x="394" y="310"/>
                </a:cubicBezTo>
                <a:cubicBezTo>
                  <a:pt x="396" y="311"/>
                  <a:pt x="398" y="311"/>
                  <a:pt x="399" y="312"/>
                </a:cubicBezTo>
                <a:cubicBezTo>
                  <a:pt x="399" y="312"/>
                  <a:pt x="400" y="312"/>
                  <a:pt x="400" y="312"/>
                </a:cubicBezTo>
                <a:cubicBezTo>
                  <a:pt x="398" y="311"/>
                  <a:pt x="397" y="311"/>
                  <a:pt x="396" y="310"/>
                </a:cubicBezTo>
                <a:cubicBezTo>
                  <a:pt x="396" y="310"/>
                  <a:pt x="397" y="310"/>
                  <a:pt x="397" y="310"/>
                </a:cubicBezTo>
                <a:cubicBezTo>
                  <a:pt x="402" y="313"/>
                  <a:pt x="410" y="316"/>
                  <a:pt x="413" y="319"/>
                </a:cubicBezTo>
                <a:cubicBezTo>
                  <a:pt x="416" y="320"/>
                  <a:pt x="418" y="321"/>
                  <a:pt x="421" y="322"/>
                </a:cubicBezTo>
                <a:cubicBezTo>
                  <a:pt x="421" y="323"/>
                  <a:pt x="422" y="324"/>
                  <a:pt x="426" y="325"/>
                </a:cubicBezTo>
                <a:cubicBezTo>
                  <a:pt x="429" y="328"/>
                  <a:pt x="436" y="329"/>
                  <a:pt x="442" y="331"/>
                </a:cubicBezTo>
                <a:cubicBezTo>
                  <a:pt x="442" y="331"/>
                  <a:pt x="442" y="331"/>
                  <a:pt x="443" y="331"/>
                </a:cubicBezTo>
                <a:cubicBezTo>
                  <a:pt x="444" y="332"/>
                  <a:pt x="446" y="333"/>
                  <a:pt x="448" y="334"/>
                </a:cubicBezTo>
                <a:cubicBezTo>
                  <a:pt x="450" y="335"/>
                  <a:pt x="448" y="335"/>
                  <a:pt x="446" y="334"/>
                </a:cubicBezTo>
                <a:cubicBezTo>
                  <a:pt x="445" y="334"/>
                  <a:pt x="444" y="333"/>
                  <a:pt x="441" y="333"/>
                </a:cubicBezTo>
                <a:cubicBezTo>
                  <a:pt x="442" y="333"/>
                  <a:pt x="444" y="334"/>
                  <a:pt x="445" y="334"/>
                </a:cubicBezTo>
                <a:cubicBezTo>
                  <a:pt x="446" y="335"/>
                  <a:pt x="447" y="335"/>
                  <a:pt x="448" y="336"/>
                </a:cubicBezTo>
                <a:cubicBezTo>
                  <a:pt x="452" y="338"/>
                  <a:pt x="459" y="341"/>
                  <a:pt x="465" y="344"/>
                </a:cubicBezTo>
                <a:cubicBezTo>
                  <a:pt x="467" y="345"/>
                  <a:pt x="468" y="347"/>
                  <a:pt x="473" y="348"/>
                </a:cubicBezTo>
                <a:cubicBezTo>
                  <a:pt x="472" y="347"/>
                  <a:pt x="469" y="345"/>
                  <a:pt x="466" y="344"/>
                </a:cubicBezTo>
                <a:cubicBezTo>
                  <a:pt x="463" y="342"/>
                  <a:pt x="459" y="340"/>
                  <a:pt x="455" y="339"/>
                </a:cubicBezTo>
                <a:cubicBezTo>
                  <a:pt x="457" y="338"/>
                  <a:pt x="452" y="335"/>
                  <a:pt x="450" y="334"/>
                </a:cubicBezTo>
                <a:cubicBezTo>
                  <a:pt x="449" y="333"/>
                  <a:pt x="446" y="331"/>
                  <a:pt x="444" y="330"/>
                </a:cubicBezTo>
                <a:cubicBezTo>
                  <a:pt x="444" y="329"/>
                  <a:pt x="441" y="329"/>
                  <a:pt x="439" y="328"/>
                </a:cubicBezTo>
                <a:cubicBezTo>
                  <a:pt x="435" y="326"/>
                  <a:pt x="429" y="324"/>
                  <a:pt x="432" y="323"/>
                </a:cubicBezTo>
                <a:cubicBezTo>
                  <a:pt x="433" y="323"/>
                  <a:pt x="431" y="321"/>
                  <a:pt x="427" y="321"/>
                </a:cubicBezTo>
                <a:cubicBezTo>
                  <a:pt x="425" y="320"/>
                  <a:pt x="423" y="319"/>
                  <a:pt x="421" y="318"/>
                </a:cubicBezTo>
                <a:cubicBezTo>
                  <a:pt x="420" y="317"/>
                  <a:pt x="418" y="317"/>
                  <a:pt x="417" y="316"/>
                </a:cubicBezTo>
                <a:cubicBezTo>
                  <a:pt x="417" y="315"/>
                  <a:pt x="416" y="315"/>
                  <a:pt x="414" y="314"/>
                </a:cubicBezTo>
                <a:cubicBezTo>
                  <a:pt x="413" y="314"/>
                  <a:pt x="414" y="315"/>
                  <a:pt x="415" y="316"/>
                </a:cubicBezTo>
                <a:cubicBezTo>
                  <a:pt x="416" y="317"/>
                  <a:pt x="417" y="317"/>
                  <a:pt x="419" y="318"/>
                </a:cubicBezTo>
                <a:cubicBezTo>
                  <a:pt x="421" y="319"/>
                  <a:pt x="421" y="320"/>
                  <a:pt x="419" y="320"/>
                </a:cubicBezTo>
                <a:cubicBezTo>
                  <a:pt x="417" y="320"/>
                  <a:pt x="417" y="319"/>
                  <a:pt x="416" y="319"/>
                </a:cubicBezTo>
                <a:cubicBezTo>
                  <a:pt x="408" y="314"/>
                  <a:pt x="399" y="310"/>
                  <a:pt x="391" y="306"/>
                </a:cubicBezTo>
                <a:cubicBezTo>
                  <a:pt x="393" y="306"/>
                  <a:pt x="396" y="307"/>
                  <a:pt x="397" y="308"/>
                </a:cubicBezTo>
                <a:cubicBezTo>
                  <a:pt x="402" y="311"/>
                  <a:pt x="407" y="311"/>
                  <a:pt x="413" y="311"/>
                </a:cubicBezTo>
                <a:cubicBezTo>
                  <a:pt x="413" y="312"/>
                  <a:pt x="412" y="312"/>
                  <a:pt x="413" y="312"/>
                </a:cubicBezTo>
                <a:cubicBezTo>
                  <a:pt x="413" y="313"/>
                  <a:pt x="414" y="313"/>
                  <a:pt x="415" y="313"/>
                </a:cubicBezTo>
                <a:cubicBezTo>
                  <a:pt x="415" y="312"/>
                  <a:pt x="416" y="312"/>
                  <a:pt x="414" y="311"/>
                </a:cubicBezTo>
                <a:cubicBezTo>
                  <a:pt x="413" y="311"/>
                  <a:pt x="420" y="312"/>
                  <a:pt x="416" y="310"/>
                </a:cubicBezTo>
                <a:cubicBezTo>
                  <a:pt x="414" y="309"/>
                  <a:pt x="410" y="309"/>
                  <a:pt x="410" y="309"/>
                </a:cubicBezTo>
                <a:cubicBezTo>
                  <a:pt x="406" y="311"/>
                  <a:pt x="403" y="308"/>
                  <a:pt x="399" y="307"/>
                </a:cubicBezTo>
                <a:cubicBezTo>
                  <a:pt x="398" y="306"/>
                  <a:pt x="396" y="305"/>
                  <a:pt x="395" y="305"/>
                </a:cubicBezTo>
                <a:cubicBezTo>
                  <a:pt x="391" y="302"/>
                  <a:pt x="388" y="303"/>
                  <a:pt x="385" y="303"/>
                </a:cubicBezTo>
                <a:cubicBezTo>
                  <a:pt x="385" y="303"/>
                  <a:pt x="385" y="303"/>
                  <a:pt x="385" y="303"/>
                </a:cubicBezTo>
                <a:cubicBezTo>
                  <a:pt x="384" y="302"/>
                  <a:pt x="384" y="302"/>
                  <a:pt x="384" y="302"/>
                </a:cubicBezTo>
                <a:cubicBezTo>
                  <a:pt x="382" y="301"/>
                  <a:pt x="385" y="301"/>
                  <a:pt x="384" y="299"/>
                </a:cubicBezTo>
                <a:cubicBezTo>
                  <a:pt x="380" y="296"/>
                  <a:pt x="373" y="294"/>
                  <a:pt x="369" y="291"/>
                </a:cubicBezTo>
                <a:cubicBezTo>
                  <a:pt x="367" y="291"/>
                  <a:pt x="366" y="290"/>
                  <a:pt x="365" y="289"/>
                </a:cubicBezTo>
                <a:cubicBezTo>
                  <a:pt x="359" y="288"/>
                  <a:pt x="358" y="286"/>
                  <a:pt x="354" y="284"/>
                </a:cubicBezTo>
                <a:cubicBezTo>
                  <a:pt x="348" y="282"/>
                  <a:pt x="346" y="279"/>
                  <a:pt x="341" y="277"/>
                </a:cubicBezTo>
                <a:cubicBezTo>
                  <a:pt x="338" y="276"/>
                  <a:pt x="335" y="274"/>
                  <a:pt x="333" y="273"/>
                </a:cubicBezTo>
                <a:cubicBezTo>
                  <a:pt x="327" y="270"/>
                  <a:pt x="320" y="267"/>
                  <a:pt x="314" y="264"/>
                </a:cubicBezTo>
                <a:cubicBezTo>
                  <a:pt x="313" y="263"/>
                  <a:pt x="311" y="263"/>
                  <a:pt x="310" y="262"/>
                </a:cubicBezTo>
                <a:cubicBezTo>
                  <a:pt x="311" y="262"/>
                  <a:pt x="312" y="262"/>
                  <a:pt x="313" y="262"/>
                </a:cubicBezTo>
                <a:cubicBezTo>
                  <a:pt x="318" y="265"/>
                  <a:pt x="323" y="267"/>
                  <a:pt x="329" y="269"/>
                </a:cubicBezTo>
                <a:cubicBezTo>
                  <a:pt x="328" y="269"/>
                  <a:pt x="328" y="269"/>
                  <a:pt x="328" y="268"/>
                </a:cubicBezTo>
                <a:cubicBezTo>
                  <a:pt x="328" y="269"/>
                  <a:pt x="329" y="269"/>
                  <a:pt x="329" y="269"/>
                </a:cubicBezTo>
                <a:cubicBezTo>
                  <a:pt x="335" y="272"/>
                  <a:pt x="342" y="275"/>
                  <a:pt x="348" y="279"/>
                </a:cubicBezTo>
                <a:cubicBezTo>
                  <a:pt x="354" y="281"/>
                  <a:pt x="361" y="284"/>
                  <a:pt x="367" y="287"/>
                </a:cubicBezTo>
                <a:cubicBezTo>
                  <a:pt x="377" y="291"/>
                  <a:pt x="387" y="296"/>
                  <a:pt x="396" y="300"/>
                </a:cubicBezTo>
                <a:cubicBezTo>
                  <a:pt x="398" y="301"/>
                  <a:pt x="401" y="303"/>
                  <a:pt x="404" y="304"/>
                </a:cubicBezTo>
                <a:cubicBezTo>
                  <a:pt x="409" y="307"/>
                  <a:pt x="418" y="310"/>
                  <a:pt x="424" y="314"/>
                </a:cubicBezTo>
                <a:cubicBezTo>
                  <a:pt x="425" y="315"/>
                  <a:pt x="429" y="316"/>
                  <a:pt x="432" y="318"/>
                </a:cubicBezTo>
                <a:cubicBezTo>
                  <a:pt x="433" y="317"/>
                  <a:pt x="428" y="315"/>
                  <a:pt x="426" y="314"/>
                </a:cubicBezTo>
                <a:cubicBezTo>
                  <a:pt x="426" y="314"/>
                  <a:pt x="426" y="314"/>
                  <a:pt x="426" y="314"/>
                </a:cubicBezTo>
                <a:cubicBezTo>
                  <a:pt x="428" y="313"/>
                  <a:pt x="429" y="313"/>
                  <a:pt x="436" y="315"/>
                </a:cubicBezTo>
                <a:cubicBezTo>
                  <a:pt x="434" y="314"/>
                  <a:pt x="434" y="312"/>
                  <a:pt x="430" y="311"/>
                </a:cubicBezTo>
                <a:cubicBezTo>
                  <a:pt x="428" y="311"/>
                  <a:pt x="431" y="313"/>
                  <a:pt x="426" y="311"/>
                </a:cubicBezTo>
                <a:cubicBezTo>
                  <a:pt x="422" y="310"/>
                  <a:pt x="423" y="309"/>
                  <a:pt x="420" y="308"/>
                </a:cubicBezTo>
                <a:cubicBezTo>
                  <a:pt x="420" y="307"/>
                  <a:pt x="425" y="307"/>
                  <a:pt x="425" y="307"/>
                </a:cubicBezTo>
                <a:cubicBezTo>
                  <a:pt x="434" y="309"/>
                  <a:pt x="425" y="307"/>
                  <a:pt x="426" y="306"/>
                </a:cubicBezTo>
                <a:cubicBezTo>
                  <a:pt x="425" y="306"/>
                  <a:pt x="426" y="306"/>
                  <a:pt x="427" y="306"/>
                </a:cubicBezTo>
                <a:cubicBezTo>
                  <a:pt x="427" y="306"/>
                  <a:pt x="428" y="306"/>
                  <a:pt x="429" y="306"/>
                </a:cubicBezTo>
                <a:cubicBezTo>
                  <a:pt x="430" y="306"/>
                  <a:pt x="432" y="307"/>
                  <a:pt x="434" y="308"/>
                </a:cubicBezTo>
                <a:cubicBezTo>
                  <a:pt x="436" y="309"/>
                  <a:pt x="438" y="310"/>
                  <a:pt x="440" y="311"/>
                </a:cubicBezTo>
                <a:cubicBezTo>
                  <a:pt x="444" y="314"/>
                  <a:pt x="452" y="317"/>
                  <a:pt x="460" y="320"/>
                </a:cubicBezTo>
                <a:cubicBezTo>
                  <a:pt x="453" y="317"/>
                  <a:pt x="449" y="314"/>
                  <a:pt x="441" y="311"/>
                </a:cubicBezTo>
                <a:cubicBezTo>
                  <a:pt x="439" y="310"/>
                  <a:pt x="437" y="309"/>
                  <a:pt x="434" y="308"/>
                </a:cubicBezTo>
                <a:cubicBezTo>
                  <a:pt x="433" y="307"/>
                  <a:pt x="431" y="306"/>
                  <a:pt x="429" y="305"/>
                </a:cubicBezTo>
                <a:cubicBezTo>
                  <a:pt x="431" y="305"/>
                  <a:pt x="429" y="304"/>
                  <a:pt x="430" y="303"/>
                </a:cubicBezTo>
                <a:cubicBezTo>
                  <a:pt x="434" y="303"/>
                  <a:pt x="436" y="305"/>
                  <a:pt x="438" y="306"/>
                </a:cubicBezTo>
                <a:cubicBezTo>
                  <a:pt x="449" y="312"/>
                  <a:pt x="460" y="317"/>
                  <a:pt x="471" y="323"/>
                </a:cubicBezTo>
                <a:cubicBezTo>
                  <a:pt x="472" y="324"/>
                  <a:pt x="473" y="325"/>
                  <a:pt x="475" y="325"/>
                </a:cubicBezTo>
                <a:cubicBezTo>
                  <a:pt x="476" y="326"/>
                  <a:pt x="479" y="328"/>
                  <a:pt x="482" y="329"/>
                </a:cubicBezTo>
                <a:cubicBezTo>
                  <a:pt x="482" y="329"/>
                  <a:pt x="482" y="329"/>
                  <a:pt x="482" y="329"/>
                </a:cubicBezTo>
                <a:cubicBezTo>
                  <a:pt x="482" y="329"/>
                  <a:pt x="483" y="329"/>
                  <a:pt x="483" y="330"/>
                </a:cubicBezTo>
                <a:cubicBezTo>
                  <a:pt x="485" y="331"/>
                  <a:pt x="487" y="332"/>
                  <a:pt x="490" y="334"/>
                </a:cubicBezTo>
                <a:cubicBezTo>
                  <a:pt x="491" y="335"/>
                  <a:pt x="491" y="336"/>
                  <a:pt x="498" y="339"/>
                </a:cubicBezTo>
                <a:cubicBezTo>
                  <a:pt x="505" y="341"/>
                  <a:pt x="509" y="344"/>
                  <a:pt x="507" y="346"/>
                </a:cubicBezTo>
                <a:cubicBezTo>
                  <a:pt x="507" y="346"/>
                  <a:pt x="505" y="346"/>
                  <a:pt x="506" y="347"/>
                </a:cubicBezTo>
                <a:cubicBezTo>
                  <a:pt x="509" y="348"/>
                  <a:pt x="512" y="348"/>
                  <a:pt x="515" y="349"/>
                </a:cubicBezTo>
                <a:cubicBezTo>
                  <a:pt x="517" y="349"/>
                  <a:pt x="518" y="350"/>
                  <a:pt x="519" y="351"/>
                </a:cubicBezTo>
                <a:cubicBezTo>
                  <a:pt x="519" y="351"/>
                  <a:pt x="520" y="351"/>
                  <a:pt x="520" y="351"/>
                </a:cubicBezTo>
                <a:cubicBezTo>
                  <a:pt x="523" y="353"/>
                  <a:pt x="525" y="354"/>
                  <a:pt x="528" y="356"/>
                </a:cubicBezTo>
                <a:cubicBezTo>
                  <a:pt x="529" y="357"/>
                  <a:pt x="530" y="357"/>
                  <a:pt x="533" y="358"/>
                </a:cubicBezTo>
                <a:cubicBezTo>
                  <a:pt x="533" y="357"/>
                  <a:pt x="531" y="357"/>
                  <a:pt x="529" y="356"/>
                </a:cubicBezTo>
                <a:cubicBezTo>
                  <a:pt x="529" y="356"/>
                  <a:pt x="529" y="355"/>
                  <a:pt x="529" y="355"/>
                </a:cubicBezTo>
                <a:cubicBezTo>
                  <a:pt x="529" y="355"/>
                  <a:pt x="530" y="355"/>
                  <a:pt x="530" y="355"/>
                </a:cubicBezTo>
                <a:cubicBezTo>
                  <a:pt x="531" y="355"/>
                  <a:pt x="531" y="355"/>
                  <a:pt x="531" y="356"/>
                </a:cubicBezTo>
                <a:cubicBezTo>
                  <a:pt x="533" y="357"/>
                  <a:pt x="533" y="357"/>
                  <a:pt x="537" y="359"/>
                </a:cubicBezTo>
                <a:cubicBezTo>
                  <a:pt x="537" y="358"/>
                  <a:pt x="535" y="357"/>
                  <a:pt x="532" y="356"/>
                </a:cubicBezTo>
                <a:cubicBezTo>
                  <a:pt x="531" y="355"/>
                  <a:pt x="530" y="354"/>
                  <a:pt x="528" y="354"/>
                </a:cubicBezTo>
                <a:cubicBezTo>
                  <a:pt x="529" y="353"/>
                  <a:pt x="526" y="352"/>
                  <a:pt x="525" y="351"/>
                </a:cubicBezTo>
                <a:cubicBezTo>
                  <a:pt x="525" y="351"/>
                  <a:pt x="525" y="351"/>
                  <a:pt x="524" y="350"/>
                </a:cubicBezTo>
                <a:cubicBezTo>
                  <a:pt x="521" y="349"/>
                  <a:pt x="520" y="348"/>
                  <a:pt x="517" y="347"/>
                </a:cubicBezTo>
                <a:cubicBezTo>
                  <a:pt x="517" y="346"/>
                  <a:pt x="514" y="345"/>
                  <a:pt x="512" y="344"/>
                </a:cubicBezTo>
                <a:cubicBezTo>
                  <a:pt x="511" y="343"/>
                  <a:pt x="509" y="342"/>
                  <a:pt x="509" y="341"/>
                </a:cubicBezTo>
                <a:cubicBezTo>
                  <a:pt x="509" y="341"/>
                  <a:pt x="509" y="341"/>
                  <a:pt x="509" y="341"/>
                </a:cubicBezTo>
                <a:cubicBezTo>
                  <a:pt x="510" y="341"/>
                  <a:pt x="511" y="341"/>
                  <a:pt x="510" y="341"/>
                </a:cubicBezTo>
                <a:cubicBezTo>
                  <a:pt x="509" y="340"/>
                  <a:pt x="507" y="340"/>
                  <a:pt x="506" y="340"/>
                </a:cubicBezTo>
                <a:cubicBezTo>
                  <a:pt x="500" y="337"/>
                  <a:pt x="501" y="336"/>
                  <a:pt x="496" y="334"/>
                </a:cubicBezTo>
                <a:cubicBezTo>
                  <a:pt x="495" y="333"/>
                  <a:pt x="491" y="331"/>
                  <a:pt x="491" y="330"/>
                </a:cubicBezTo>
                <a:cubicBezTo>
                  <a:pt x="500" y="334"/>
                  <a:pt x="508" y="338"/>
                  <a:pt x="514" y="341"/>
                </a:cubicBezTo>
                <a:cubicBezTo>
                  <a:pt x="514" y="342"/>
                  <a:pt x="514" y="342"/>
                  <a:pt x="516" y="343"/>
                </a:cubicBezTo>
                <a:cubicBezTo>
                  <a:pt x="518" y="344"/>
                  <a:pt x="520" y="345"/>
                  <a:pt x="523" y="346"/>
                </a:cubicBezTo>
                <a:cubicBezTo>
                  <a:pt x="522" y="345"/>
                  <a:pt x="521" y="344"/>
                  <a:pt x="519" y="343"/>
                </a:cubicBezTo>
                <a:cubicBezTo>
                  <a:pt x="518" y="342"/>
                  <a:pt x="517" y="342"/>
                  <a:pt x="516" y="342"/>
                </a:cubicBezTo>
                <a:cubicBezTo>
                  <a:pt x="516" y="341"/>
                  <a:pt x="513" y="340"/>
                  <a:pt x="513" y="339"/>
                </a:cubicBezTo>
                <a:cubicBezTo>
                  <a:pt x="514" y="339"/>
                  <a:pt x="515" y="340"/>
                  <a:pt x="517" y="340"/>
                </a:cubicBezTo>
                <a:cubicBezTo>
                  <a:pt x="519" y="341"/>
                  <a:pt x="517" y="340"/>
                  <a:pt x="517" y="339"/>
                </a:cubicBezTo>
                <a:cubicBezTo>
                  <a:pt x="514" y="338"/>
                  <a:pt x="511" y="337"/>
                  <a:pt x="507" y="336"/>
                </a:cubicBezTo>
                <a:cubicBezTo>
                  <a:pt x="505" y="334"/>
                  <a:pt x="501" y="332"/>
                  <a:pt x="496" y="330"/>
                </a:cubicBezTo>
                <a:cubicBezTo>
                  <a:pt x="492" y="328"/>
                  <a:pt x="499" y="328"/>
                  <a:pt x="499" y="327"/>
                </a:cubicBezTo>
                <a:cubicBezTo>
                  <a:pt x="500" y="327"/>
                  <a:pt x="501" y="327"/>
                  <a:pt x="503" y="328"/>
                </a:cubicBezTo>
                <a:cubicBezTo>
                  <a:pt x="507" y="330"/>
                  <a:pt x="511" y="332"/>
                  <a:pt x="513" y="333"/>
                </a:cubicBezTo>
                <a:cubicBezTo>
                  <a:pt x="511" y="334"/>
                  <a:pt x="509" y="333"/>
                  <a:pt x="507" y="332"/>
                </a:cubicBezTo>
                <a:cubicBezTo>
                  <a:pt x="509" y="333"/>
                  <a:pt x="510" y="335"/>
                  <a:pt x="514" y="335"/>
                </a:cubicBezTo>
                <a:cubicBezTo>
                  <a:pt x="517" y="336"/>
                  <a:pt x="514" y="334"/>
                  <a:pt x="515" y="334"/>
                </a:cubicBezTo>
                <a:cubicBezTo>
                  <a:pt x="520" y="335"/>
                  <a:pt x="520" y="335"/>
                  <a:pt x="518" y="333"/>
                </a:cubicBezTo>
                <a:cubicBezTo>
                  <a:pt x="514" y="331"/>
                  <a:pt x="510" y="329"/>
                  <a:pt x="506" y="327"/>
                </a:cubicBezTo>
                <a:cubicBezTo>
                  <a:pt x="505" y="326"/>
                  <a:pt x="501" y="325"/>
                  <a:pt x="502" y="325"/>
                </a:cubicBezTo>
                <a:cubicBezTo>
                  <a:pt x="506" y="325"/>
                  <a:pt x="502" y="324"/>
                  <a:pt x="503" y="323"/>
                </a:cubicBezTo>
                <a:cubicBezTo>
                  <a:pt x="506" y="324"/>
                  <a:pt x="507" y="325"/>
                  <a:pt x="509" y="325"/>
                </a:cubicBezTo>
                <a:cubicBezTo>
                  <a:pt x="515" y="326"/>
                  <a:pt x="516" y="328"/>
                  <a:pt x="523" y="330"/>
                </a:cubicBezTo>
                <a:cubicBezTo>
                  <a:pt x="522" y="329"/>
                  <a:pt x="517" y="328"/>
                  <a:pt x="517" y="327"/>
                </a:cubicBezTo>
                <a:cubicBezTo>
                  <a:pt x="517" y="325"/>
                  <a:pt x="507" y="323"/>
                  <a:pt x="510" y="321"/>
                </a:cubicBezTo>
                <a:cubicBezTo>
                  <a:pt x="511" y="322"/>
                  <a:pt x="512" y="322"/>
                  <a:pt x="513" y="323"/>
                </a:cubicBezTo>
                <a:cubicBezTo>
                  <a:pt x="513" y="324"/>
                  <a:pt x="521" y="326"/>
                  <a:pt x="524" y="328"/>
                </a:cubicBezTo>
                <a:cubicBezTo>
                  <a:pt x="523" y="327"/>
                  <a:pt x="521" y="325"/>
                  <a:pt x="517" y="324"/>
                </a:cubicBezTo>
                <a:cubicBezTo>
                  <a:pt x="513" y="322"/>
                  <a:pt x="509" y="319"/>
                  <a:pt x="504" y="317"/>
                </a:cubicBezTo>
                <a:cubicBezTo>
                  <a:pt x="509" y="319"/>
                  <a:pt x="513" y="320"/>
                  <a:pt x="518" y="322"/>
                </a:cubicBezTo>
                <a:cubicBezTo>
                  <a:pt x="518" y="323"/>
                  <a:pt x="519" y="323"/>
                  <a:pt x="521" y="325"/>
                </a:cubicBezTo>
                <a:cubicBezTo>
                  <a:pt x="523" y="324"/>
                  <a:pt x="523" y="324"/>
                  <a:pt x="521" y="322"/>
                </a:cubicBezTo>
                <a:cubicBezTo>
                  <a:pt x="521" y="322"/>
                  <a:pt x="520" y="322"/>
                  <a:pt x="520" y="321"/>
                </a:cubicBezTo>
                <a:cubicBezTo>
                  <a:pt x="514" y="316"/>
                  <a:pt x="507" y="311"/>
                  <a:pt x="498" y="305"/>
                </a:cubicBezTo>
                <a:cubicBezTo>
                  <a:pt x="499" y="306"/>
                  <a:pt x="500" y="306"/>
                  <a:pt x="500" y="306"/>
                </a:cubicBezTo>
                <a:cubicBezTo>
                  <a:pt x="508" y="311"/>
                  <a:pt x="517" y="315"/>
                  <a:pt x="525" y="320"/>
                </a:cubicBezTo>
                <a:cubicBezTo>
                  <a:pt x="530" y="323"/>
                  <a:pt x="536" y="326"/>
                  <a:pt x="542" y="329"/>
                </a:cubicBezTo>
                <a:cubicBezTo>
                  <a:pt x="542" y="278"/>
                  <a:pt x="542" y="278"/>
                  <a:pt x="542" y="278"/>
                </a:cubicBezTo>
                <a:cubicBezTo>
                  <a:pt x="542" y="277"/>
                  <a:pt x="541" y="277"/>
                  <a:pt x="541" y="277"/>
                </a:cubicBezTo>
                <a:cubicBezTo>
                  <a:pt x="540" y="276"/>
                  <a:pt x="539" y="275"/>
                  <a:pt x="538" y="275"/>
                </a:cubicBezTo>
                <a:cubicBezTo>
                  <a:pt x="538" y="274"/>
                  <a:pt x="537" y="274"/>
                  <a:pt x="536" y="274"/>
                </a:cubicBezTo>
                <a:cubicBezTo>
                  <a:pt x="538" y="273"/>
                  <a:pt x="540" y="273"/>
                  <a:pt x="542" y="274"/>
                </a:cubicBezTo>
                <a:cubicBezTo>
                  <a:pt x="542" y="256"/>
                  <a:pt x="542" y="256"/>
                  <a:pt x="542" y="256"/>
                </a:cubicBezTo>
                <a:cubicBezTo>
                  <a:pt x="542" y="256"/>
                  <a:pt x="542" y="256"/>
                  <a:pt x="542" y="255"/>
                </a:cubicBezTo>
                <a:cubicBezTo>
                  <a:pt x="541" y="255"/>
                  <a:pt x="541" y="254"/>
                  <a:pt x="541" y="254"/>
                </a:cubicBezTo>
                <a:cubicBezTo>
                  <a:pt x="541" y="254"/>
                  <a:pt x="541" y="254"/>
                  <a:pt x="542" y="254"/>
                </a:cubicBezTo>
                <a:cubicBezTo>
                  <a:pt x="542" y="254"/>
                  <a:pt x="542" y="254"/>
                  <a:pt x="542" y="254"/>
                </a:cubicBezTo>
                <a:cubicBezTo>
                  <a:pt x="542" y="237"/>
                  <a:pt x="542" y="237"/>
                  <a:pt x="542" y="237"/>
                </a:cubicBezTo>
                <a:cubicBezTo>
                  <a:pt x="542" y="237"/>
                  <a:pt x="542" y="237"/>
                  <a:pt x="542" y="236"/>
                </a:cubicBezTo>
                <a:cubicBezTo>
                  <a:pt x="542" y="236"/>
                  <a:pt x="542" y="236"/>
                  <a:pt x="542" y="236"/>
                </a:cubicBezTo>
                <a:cubicBezTo>
                  <a:pt x="542" y="207"/>
                  <a:pt x="542" y="207"/>
                  <a:pt x="542" y="207"/>
                </a:cubicBezTo>
                <a:cubicBezTo>
                  <a:pt x="542" y="207"/>
                  <a:pt x="542" y="207"/>
                  <a:pt x="542" y="207"/>
                </a:cubicBezTo>
                <a:cubicBezTo>
                  <a:pt x="542" y="206"/>
                  <a:pt x="542" y="206"/>
                  <a:pt x="542" y="206"/>
                </a:cubicBezTo>
                <a:cubicBezTo>
                  <a:pt x="542" y="206"/>
                  <a:pt x="542" y="206"/>
                  <a:pt x="542" y="206"/>
                </a:cubicBezTo>
                <a:cubicBezTo>
                  <a:pt x="542" y="193"/>
                  <a:pt x="542" y="193"/>
                  <a:pt x="542" y="193"/>
                </a:cubicBezTo>
                <a:cubicBezTo>
                  <a:pt x="542" y="193"/>
                  <a:pt x="542" y="193"/>
                  <a:pt x="542" y="193"/>
                </a:cubicBezTo>
                <a:cubicBezTo>
                  <a:pt x="542" y="192"/>
                  <a:pt x="542" y="192"/>
                  <a:pt x="542" y="192"/>
                </a:cubicBezTo>
                <a:cubicBezTo>
                  <a:pt x="542" y="192"/>
                  <a:pt x="542" y="192"/>
                  <a:pt x="542" y="192"/>
                </a:cubicBezTo>
                <a:cubicBezTo>
                  <a:pt x="542" y="148"/>
                  <a:pt x="542" y="148"/>
                  <a:pt x="542" y="148"/>
                </a:cubicBezTo>
                <a:cubicBezTo>
                  <a:pt x="540" y="147"/>
                  <a:pt x="538" y="146"/>
                  <a:pt x="537" y="145"/>
                </a:cubicBezTo>
                <a:cubicBezTo>
                  <a:pt x="539" y="146"/>
                  <a:pt x="541" y="146"/>
                  <a:pt x="542" y="147"/>
                </a:cubicBezTo>
                <a:cubicBezTo>
                  <a:pt x="542" y="144"/>
                  <a:pt x="542" y="144"/>
                  <a:pt x="542" y="144"/>
                </a:cubicBezTo>
                <a:cubicBezTo>
                  <a:pt x="542" y="144"/>
                  <a:pt x="542" y="144"/>
                  <a:pt x="542" y="144"/>
                </a:cubicBezTo>
                <a:cubicBezTo>
                  <a:pt x="542" y="144"/>
                  <a:pt x="542" y="144"/>
                  <a:pt x="542" y="144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5050970" y="0"/>
            <a:ext cx="7141030" cy="6858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9852138-FCC6-44DD-9FFC-1C789392E7AA}" type="datetime1">
              <a:rPr lang="en-US" smtClean="0"/>
              <a:t>11/15/2018</a:t>
            </a:fld>
            <a:endParaRPr lang="en-US"/>
          </a:p>
        </p:txBody>
      </p:sp>
      <p:sp>
        <p:nvSpPr>
          <p:cNvPr id="13" name="Rectangle 12"/>
          <p:cNvSpPr/>
          <p:nvPr userDrawn="1"/>
        </p:nvSpPr>
        <p:spPr>
          <a:xfrm>
            <a:off x="119063" y="0"/>
            <a:ext cx="571500" cy="55562"/>
          </a:xfrm>
          <a:prstGeom prst="rect">
            <a:avLst/>
          </a:prstGeom>
          <a:solidFill>
            <a:srgbClr val="E258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 userDrawn="1"/>
        </p:nvSpPr>
        <p:spPr>
          <a:xfrm>
            <a:off x="762000" y="0"/>
            <a:ext cx="571500" cy="55562"/>
          </a:xfrm>
          <a:prstGeom prst="rect">
            <a:avLst/>
          </a:prstGeom>
          <a:solidFill>
            <a:srgbClr val="78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 userDrawn="1"/>
        </p:nvSpPr>
        <p:spPr>
          <a:xfrm>
            <a:off x="1404937" y="0"/>
            <a:ext cx="571500" cy="55562"/>
          </a:xfrm>
          <a:prstGeom prst="rect">
            <a:avLst/>
          </a:prstGeom>
          <a:solidFill>
            <a:srgbClr val="3B39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4427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/>
          <p:cNvSpPr>
            <a:spLocks/>
          </p:cNvSpPr>
          <p:nvPr userDrawn="1"/>
        </p:nvSpPr>
        <p:spPr bwMode="auto">
          <a:xfrm>
            <a:off x="0" y="-639708"/>
            <a:ext cx="12192001" cy="8099370"/>
          </a:xfrm>
          <a:custGeom>
            <a:avLst/>
            <a:gdLst>
              <a:gd name="T0" fmla="*/ 471 w 542"/>
              <a:gd name="T1" fmla="*/ 110 h 359"/>
              <a:gd name="T2" fmla="*/ 494 w 542"/>
              <a:gd name="T3" fmla="*/ 124 h 359"/>
              <a:gd name="T4" fmla="*/ 473 w 542"/>
              <a:gd name="T5" fmla="*/ 118 h 359"/>
              <a:gd name="T6" fmla="*/ 352 w 542"/>
              <a:gd name="T7" fmla="*/ 60 h 359"/>
              <a:gd name="T8" fmla="*/ 361 w 542"/>
              <a:gd name="T9" fmla="*/ 68 h 359"/>
              <a:gd name="T10" fmla="*/ 315 w 542"/>
              <a:gd name="T11" fmla="*/ 52 h 359"/>
              <a:gd name="T12" fmla="*/ 341 w 542"/>
              <a:gd name="T13" fmla="*/ 68 h 359"/>
              <a:gd name="T14" fmla="*/ 369 w 542"/>
              <a:gd name="T15" fmla="*/ 86 h 359"/>
              <a:gd name="T16" fmla="*/ 325 w 542"/>
              <a:gd name="T17" fmla="*/ 66 h 359"/>
              <a:gd name="T18" fmla="*/ 304 w 542"/>
              <a:gd name="T19" fmla="*/ 63 h 359"/>
              <a:gd name="T20" fmla="*/ 254 w 542"/>
              <a:gd name="T21" fmla="*/ 49 h 359"/>
              <a:gd name="T22" fmla="*/ 302 w 542"/>
              <a:gd name="T23" fmla="*/ 75 h 359"/>
              <a:gd name="T24" fmla="*/ 245 w 542"/>
              <a:gd name="T25" fmla="*/ 49 h 359"/>
              <a:gd name="T26" fmla="*/ 240 w 542"/>
              <a:gd name="T27" fmla="*/ 54 h 359"/>
              <a:gd name="T28" fmla="*/ 217 w 542"/>
              <a:gd name="T29" fmla="*/ 54 h 359"/>
              <a:gd name="T30" fmla="*/ 215 w 542"/>
              <a:gd name="T31" fmla="*/ 65 h 359"/>
              <a:gd name="T32" fmla="*/ 211 w 542"/>
              <a:gd name="T33" fmla="*/ 69 h 359"/>
              <a:gd name="T34" fmla="*/ 270 w 542"/>
              <a:gd name="T35" fmla="*/ 101 h 359"/>
              <a:gd name="T36" fmla="*/ 242 w 542"/>
              <a:gd name="T37" fmla="*/ 92 h 359"/>
              <a:gd name="T38" fmla="*/ 149 w 542"/>
              <a:gd name="T39" fmla="*/ 52 h 359"/>
              <a:gd name="T40" fmla="*/ 101 w 542"/>
              <a:gd name="T41" fmla="*/ 27 h 359"/>
              <a:gd name="T42" fmla="*/ 123 w 542"/>
              <a:gd name="T43" fmla="*/ 42 h 359"/>
              <a:gd name="T44" fmla="*/ 159 w 542"/>
              <a:gd name="T45" fmla="*/ 62 h 359"/>
              <a:gd name="T46" fmla="*/ 118 w 542"/>
              <a:gd name="T47" fmla="*/ 46 h 359"/>
              <a:gd name="T48" fmla="*/ 108 w 542"/>
              <a:gd name="T49" fmla="*/ 52 h 359"/>
              <a:gd name="T50" fmla="*/ 14 w 542"/>
              <a:gd name="T51" fmla="*/ 2 h 359"/>
              <a:gd name="T52" fmla="*/ 36 w 542"/>
              <a:gd name="T53" fmla="*/ 19 h 359"/>
              <a:gd name="T54" fmla="*/ 35 w 542"/>
              <a:gd name="T55" fmla="*/ 27 h 359"/>
              <a:gd name="T56" fmla="*/ 21 w 542"/>
              <a:gd name="T57" fmla="*/ 35 h 359"/>
              <a:gd name="T58" fmla="*/ 0 w 542"/>
              <a:gd name="T59" fmla="*/ 108 h 359"/>
              <a:gd name="T60" fmla="*/ 3 w 542"/>
              <a:gd name="T61" fmla="*/ 221 h 359"/>
              <a:gd name="T62" fmla="*/ 75 w 542"/>
              <a:gd name="T63" fmla="*/ 257 h 359"/>
              <a:gd name="T64" fmla="*/ 99 w 542"/>
              <a:gd name="T65" fmla="*/ 264 h 359"/>
              <a:gd name="T66" fmla="*/ 28 w 542"/>
              <a:gd name="T67" fmla="*/ 229 h 359"/>
              <a:gd name="T68" fmla="*/ 169 w 542"/>
              <a:gd name="T69" fmla="*/ 290 h 359"/>
              <a:gd name="T70" fmla="*/ 204 w 542"/>
              <a:gd name="T71" fmla="*/ 306 h 359"/>
              <a:gd name="T72" fmla="*/ 218 w 542"/>
              <a:gd name="T73" fmla="*/ 308 h 359"/>
              <a:gd name="T74" fmla="*/ 208 w 542"/>
              <a:gd name="T75" fmla="*/ 294 h 359"/>
              <a:gd name="T76" fmla="*/ 150 w 542"/>
              <a:gd name="T77" fmla="*/ 267 h 359"/>
              <a:gd name="T78" fmla="*/ 226 w 542"/>
              <a:gd name="T79" fmla="*/ 299 h 359"/>
              <a:gd name="T80" fmla="*/ 250 w 542"/>
              <a:gd name="T81" fmla="*/ 305 h 359"/>
              <a:gd name="T82" fmla="*/ 275 w 542"/>
              <a:gd name="T83" fmla="*/ 305 h 359"/>
              <a:gd name="T84" fmla="*/ 242 w 542"/>
              <a:gd name="T85" fmla="*/ 287 h 359"/>
              <a:gd name="T86" fmla="*/ 263 w 542"/>
              <a:gd name="T87" fmla="*/ 294 h 359"/>
              <a:gd name="T88" fmla="*/ 307 w 542"/>
              <a:gd name="T89" fmla="*/ 304 h 359"/>
              <a:gd name="T90" fmla="*/ 317 w 542"/>
              <a:gd name="T91" fmla="*/ 302 h 359"/>
              <a:gd name="T92" fmla="*/ 328 w 542"/>
              <a:gd name="T93" fmla="*/ 298 h 359"/>
              <a:gd name="T94" fmla="*/ 344 w 542"/>
              <a:gd name="T95" fmla="*/ 299 h 359"/>
              <a:gd name="T96" fmla="*/ 277 w 542"/>
              <a:gd name="T97" fmla="*/ 263 h 359"/>
              <a:gd name="T98" fmla="*/ 293 w 542"/>
              <a:gd name="T99" fmla="*/ 267 h 359"/>
              <a:gd name="T100" fmla="*/ 380 w 542"/>
              <a:gd name="T101" fmla="*/ 302 h 359"/>
              <a:gd name="T102" fmla="*/ 448 w 542"/>
              <a:gd name="T103" fmla="*/ 334 h 359"/>
              <a:gd name="T104" fmla="*/ 414 w 542"/>
              <a:gd name="T105" fmla="*/ 314 h 359"/>
              <a:gd name="T106" fmla="*/ 385 w 542"/>
              <a:gd name="T107" fmla="*/ 303 h 359"/>
              <a:gd name="T108" fmla="*/ 396 w 542"/>
              <a:gd name="T109" fmla="*/ 300 h 359"/>
              <a:gd name="T110" fmla="*/ 460 w 542"/>
              <a:gd name="T111" fmla="*/ 320 h 359"/>
              <a:gd name="T112" fmla="*/ 519 w 542"/>
              <a:gd name="T113" fmla="*/ 351 h 359"/>
              <a:gd name="T114" fmla="*/ 509 w 542"/>
              <a:gd name="T115" fmla="*/ 341 h 359"/>
              <a:gd name="T116" fmla="*/ 503 w 542"/>
              <a:gd name="T117" fmla="*/ 328 h 359"/>
              <a:gd name="T118" fmla="*/ 504 w 542"/>
              <a:gd name="T119" fmla="*/ 317 h 359"/>
              <a:gd name="T120" fmla="*/ 541 w 542"/>
              <a:gd name="T121" fmla="*/ 254 h 359"/>
              <a:gd name="T122" fmla="*/ 542 w 542"/>
              <a:gd name="T123" fmla="*/ 147 h 3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42" h="359">
                <a:moveTo>
                  <a:pt x="542" y="144"/>
                </a:moveTo>
                <a:cubicBezTo>
                  <a:pt x="542" y="139"/>
                  <a:pt x="542" y="139"/>
                  <a:pt x="542" y="139"/>
                </a:cubicBezTo>
                <a:cubicBezTo>
                  <a:pt x="537" y="139"/>
                  <a:pt x="537" y="139"/>
                  <a:pt x="537" y="139"/>
                </a:cubicBezTo>
                <a:cubicBezTo>
                  <a:pt x="529" y="135"/>
                  <a:pt x="522" y="131"/>
                  <a:pt x="514" y="127"/>
                </a:cubicBezTo>
                <a:cubicBezTo>
                  <a:pt x="500" y="120"/>
                  <a:pt x="485" y="114"/>
                  <a:pt x="472" y="106"/>
                </a:cubicBezTo>
                <a:cubicBezTo>
                  <a:pt x="472" y="106"/>
                  <a:pt x="472" y="106"/>
                  <a:pt x="472" y="106"/>
                </a:cubicBezTo>
                <a:cubicBezTo>
                  <a:pt x="470" y="105"/>
                  <a:pt x="469" y="104"/>
                  <a:pt x="466" y="104"/>
                </a:cubicBezTo>
                <a:cubicBezTo>
                  <a:pt x="464" y="103"/>
                  <a:pt x="463" y="102"/>
                  <a:pt x="461" y="101"/>
                </a:cubicBezTo>
                <a:cubicBezTo>
                  <a:pt x="462" y="102"/>
                  <a:pt x="465" y="104"/>
                  <a:pt x="465" y="104"/>
                </a:cubicBezTo>
                <a:cubicBezTo>
                  <a:pt x="466" y="105"/>
                  <a:pt x="467" y="105"/>
                  <a:pt x="467" y="105"/>
                </a:cubicBezTo>
                <a:cubicBezTo>
                  <a:pt x="468" y="106"/>
                  <a:pt x="470" y="107"/>
                  <a:pt x="470" y="107"/>
                </a:cubicBezTo>
                <a:cubicBezTo>
                  <a:pt x="468" y="107"/>
                  <a:pt x="472" y="108"/>
                  <a:pt x="471" y="109"/>
                </a:cubicBezTo>
                <a:cubicBezTo>
                  <a:pt x="470" y="109"/>
                  <a:pt x="469" y="108"/>
                  <a:pt x="469" y="108"/>
                </a:cubicBezTo>
                <a:cubicBezTo>
                  <a:pt x="469" y="109"/>
                  <a:pt x="471" y="109"/>
                  <a:pt x="472" y="110"/>
                </a:cubicBezTo>
                <a:cubicBezTo>
                  <a:pt x="473" y="110"/>
                  <a:pt x="475" y="111"/>
                  <a:pt x="475" y="112"/>
                </a:cubicBezTo>
                <a:cubicBezTo>
                  <a:pt x="474" y="111"/>
                  <a:pt x="472" y="110"/>
                  <a:pt x="471" y="110"/>
                </a:cubicBezTo>
                <a:cubicBezTo>
                  <a:pt x="471" y="110"/>
                  <a:pt x="470" y="110"/>
                  <a:pt x="470" y="110"/>
                </a:cubicBezTo>
                <a:cubicBezTo>
                  <a:pt x="472" y="111"/>
                  <a:pt x="473" y="111"/>
                  <a:pt x="475" y="112"/>
                </a:cubicBezTo>
                <a:cubicBezTo>
                  <a:pt x="476" y="113"/>
                  <a:pt x="477" y="113"/>
                  <a:pt x="479" y="114"/>
                </a:cubicBezTo>
                <a:cubicBezTo>
                  <a:pt x="479" y="114"/>
                  <a:pt x="479" y="115"/>
                  <a:pt x="478" y="115"/>
                </a:cubicBezTo>
                <a:cubicBezTo>
                  <a:pt x="476" y="114"/>
                  <a:pt x="474" y="112"/>
                  <a:pt x="472" y="111"/>
                </a:cubicBezTo>
                <a:cubicBezTo>
                  <a:pt x="468" y="109"/>
                  <a:pt x="463" y="107"/>
                  <a:pt x="458" y="105"/>
                </a:cubicBezTo>
                <a:cubicBezTo>
                  <a:pt x="458" y="105"/>
                  <a:pt x="457" y="105"/>
                  <a:pt x="457" y="104"/>
                </a:cubicBezTo>
                <a:cubicBezTo>
                  <a:pt x="456" y="104"/>
                  <a:pt x="454" y="103"/>
                  <a:pt x="453" y="102"/>
                </a:cubicBezTo>
                <a:cubicBezTo>
                  <a:pt x="452" y="102"/>
                  <a:pt x="451" y="101"/>
                  <a:pt x="449" y="101"/>
                </a:cubicBezTo>
                <a:cubicBezTo>
                  <a:pt x="447" y="100"/>
                  <a:pt x="446" y="99"/>
                  <a:pt x="443" y="98"/>
                </a:cubicBezTo>
                <a:cubicBezTo>
                  <a:pt x="443" y="99"/>
                  <a:pt x="445" y="100"/>
                  <a:pt x="448" y="101"/>
                </a:cubicBezTo>
                <a:cubicBezTo>
                  <a:pt x="452" y="104"/>
                  <a:pt x="456" y="106"/>
                  <a:pt x="460" y="106"/>
                </a:cubicBezTo>
                <a:cubicBezTo>
                  <a:pt x="465" y="109"/>
                  <a:pt x="469" y="111"/>
                  <a:pt x="474" y="113"/>
                </a:cubicBezTo>
                <a:cubicBezTo>
                  <a:pt x="477" y="115"/>
                  <a:pt x="481" y="116"/>
                  <a:pt x="484" y="118"/>
                </a:cubicBezTo>
                <a:cubicBezTo>
                  <a:pt x="486" y="119"/>
                  <a:pt x="488" y="120"/>
                  <a:pt x="490" y="121"/>
                </a:cubicBezTo>
                <a:cubicBezTo>
                  <a:pt x="491" y="122"/>
                  <a:pt x="493" y="123"/>
                  <a:pt x="494" y="124"/>
                </a:cubicBezTo>
                <a:cubicBezTo>
                  <a:pt x="492" y="123"/>
                  <a:pt x="491" y="122"/>
                  <a:pt x="489" y="121"/>
                </a:cubicBezTo>
                <a:cubicBezTo>
                  <a:pt x="489" y="121"/>
                  <a:pt x="488" y="121"/>
                  <a:pt x="487" y="121"/>
                </a:cubicBezTo>
                <a:cubicBezTo>
                  <a:pt x="487" y="121"/>
                  <a:pt x="487" y="121"/>
                  <a:pt x="487" y="121"/>
                </a:cubicBezTo>
                <a:cubicBezTo>
                  <a:pt x="487" y="121"/>
                  <a:pt x="489" y="122"/>
                  <a:pt x="491" y="123"/>
                </a:cubicBezTo>
                <a:cubicBezTo>
                  <a:pt x="491" y="123"/>
                  <a:pt x="492" y="124"/>
                  <a:pt x="492" y="124"/>
                </a:cubicBezTo>
                <a:cubicBezTo>
                  <a:pt x="494" y="125"/>
                  <a:pt x="495" y="125"/>
                  <a:pt x="496" y="126"/>
                </a:cubicBezTo>
                <a:cubicBezTo>
                  <a:pt x="498" y="126"/>
                  <a:pt x="499" y="127"/>
                  <a:pt x="501" y="127"/>
                </a:cubicBezTo>
                <a:cubicBezTo>
                  <a:pt x="501" y="127"/>
                  <a:pt x="501" y="128"/>
                  <a:pt x="501" y="128"/>
                </a:cubicBezTo>
                <a:cubicBezTo>
                  <a:pt x="503" y="130"/>
                  <a:pt x="504" y="131"/>
                  <a:pt x="507" y="131"/>
                </a:cubicBezTo>
                <a:cubicBezTo>
                  <a:pt x="510" y="132"/>
                  <a:pt x="511" y="133"/>
                  <a:pt x="514" y="134"/>
                </a:cubicBezTo>
                <a:cubicBezTo>
                  <a:pt x="514" y="135"/>
                  <a:pt x="513" y="135"/>
                  <a:pt x="510" y="135"/>
                </a:cubicBezTo>
                <a:cubicBezTo>
                  <a:pt x="512" y="136"/>
                  <a:pt x="514" y="136"/>
                  <a:pt x="515" y="137"/>
                </a:cubicBezTo>
                <a:cubicBezTo>
                  <a:pt x="515" y="137"/>
                  <a:pt x="515" y="137"/>
                  <a:pt x="515" y="137"/>
                </a:cubicBezTo>
                <a:cubicBezTo>
                  <a:pt x="505" y="133"/>
                  <a:pt x="494" y="128"/>
                  <a:pt x="485" y="123"/>
                </a:cubicBezTo>
                <a:cubicBezTo>
                  <a:pt x="484" y="123"/>
                  <a:pt x="483" y="123"/>
                  <a:pt x="482" y="122"/>
                </a:cubicBezTo>
                <a:cubicBezTo>
                  <a:pt x="479" y="121"/>
                  <a:pt x="476" y="119"/>
                  <a:pt x="473" y="118"/>
                </a:cubicBezTo>
                <a:cubicBezTo>
                  <a:pt x="472" y="117"/>
                  <a:pt x="471" y="117"/>
                  <a:pt x="471" y="117"/>
                </a:cubicBezTo>
                <a:cubicBezTo>
                  <a:pt x="470" y="117"/>
                  <a:pt x="469" y="117"/>
                  <a:pt x="468" y="117"/>
                </a:cubicBezTo>
                <a:cubicBezTo>
                  <a:pt x="455" y="110"/>
                  <a:pt x="444" y="104"/>
                  <a:pt x="430" y="97"/>
                </a:cubicBezTo>
                <a:cubicBezTo>
                  <a:pt x="430" y="96"/>
                  <a:pt x="428" y="95"/>
                  <a:pt x="426" y="94"/>
                </a:cubicBezTo>
                <a:cubicBezTo>
                  <a:pt x="425" y="94"/>
                  <a:pt x="425" y="93"/>
                  <a:pt x="421" y="92"/>
                </a:cubicBezTo>
                <a:cubicBezTo>
                  <a:pt x="421" y="92"/>
                  <a:pt x="418" y="92"/>
                  <a:pt x="417" y="91"/>
                </a:cubicBezTo>
                <a:cubicBezTo>
                  <a:pt x="412" y="89"/>
                  <a:pt x="409" y="87"/>
                  <a:pt x="403" y="84"/>
                </a:cubicBezTo>
                <a:cubicBezTo>
                  <a:pt x="405" y="86"/>
                  <a:pt x="409" y="87"/>
                  <a:pt x="409" y="89"/>
                </a:cubicBezTo>
                <a:cubicBezTo>
                  <a:pt x="399" y="84"/>
                  <a:pt x="390" y="80"/>
                  <a:pt x="382" y="76"/>
                </a:cubicBezTo>
                <a:cubicBezTo>
                  <a:pt x="380" y="74"/>
                  <a:pt x="378" y="73"/>
                  <a:pt x="374" y="72"/>
                </a:cubicBezTo>
                <a:cubicBezTo>
                  <a:pt x="374" y="72"/>
                  <a:pt x="373" y="71"/>
                  <a:pt x="373" y="71"/>
                </a:cubicBezTo>
                <a:cubicBezTo>
                  <a:pt x="371" y="69"/>
                  <a:pt x="366" y="68"/>
                  <a:pt x="364" y="66"/>
                </a:cubicBezTo>
                <a:cubicBezTo>
                  <a:pt x="363" y="66"/>
                  <a:pt x="363" y="66"/>
                  <a:pt x="363" y="66"/>
                </a:cubicBezTo>
                <a:cubicBezTo>
                  <a:pt x="363" y="66"/>
                  <a:pt x="363" y="66"/>
                  <a:pt x="363" y="66"/>
                </a:cubicBezTo>
                <a:cubicBezTo>
                  <a:pt x="363" y="66"/>
                  <a:pt x="363" y="66"/>
                  <a:pt x="364" y="66"/>
                </a:cubicBezTo>
                <a:cubicBezTo>
                  <a:pt x="361" y="64"/>
                  <a:pt x="356" y="62"/>
                  <a:pt x="352" y="60"/>
                </a:cubicBezTo>
                <a:cubicBezTo>
                  <a:pt x="347" y="57"/>
                  <a:pt x="342" y="54"/>
                  <a:pt x="340" y="52"/>
                </a:cubicBezTo>
                <a:cubicBezTo>
                  <a:pt x="339" y="52"/>
                  <a:pt x="338" y="51"/>
                  <a:pt x="338" y="51"/>
                </a:cubicBezTo>
                <a:cubicBezTo>
                  <a:pt x="334" y="49"/>
                  <a:pt x="328" y="46"/>
                  <a:pt x="324" y="44"/>
                </a:cubicBezTo>
                <a:cubicBezTo>
                  <a:pt x="323" y="43"/>
                  <a:pt x="321" y="42"/>
                  <a:pt x="318" y="42"/>
                </a:cubicBezTo>
                <a:cubicBezTo>
                  <a:pt x="317" y="41"/>
                  <a:pt x="316" y="41"/>
                  <a:pt x="314" y="40"/>
                </a:cubicBezTo>
                <a:cubicBezTo>
                  <a:pt x="314" y="40"/>
                  <a:pt x="313" y="40"/>
                  <a:pt x="313" y="40"/>
                </a:cubicBezTo>
                <a:cubicBezTo>
                  <a:pt x="313" y="40"/>
                  <a:pt x="313" y="40"/>
                  <a:pt x="313" y="40"/>
                </a:cubicBezTo>
                <a:cubicBezTo>
                  <a:pt x="316" y="42"/>
                  <a:pt x="321" y="45"/>
                  <a:pt x="326" y="47"/>
                </a:cubicBezTo>
                <a:cubicBezTo>
                  <a:pt x="328" y="48"/>
                  <a:pt x="331" y="49"/>
                  <a:pt x="331" y="50"/>
                </a:cubicBezTo>
                <a:cubicBezTo>
                  <a:pt x="338" y="52"/>
                  <a:pt x="333" y="53"/>
                  <a:pt x="338" y="54"/>
                </a:cubicBezTo>
                <a:cubicBezTo>
                  <a:pt x="338" y="54"/>
                  <a:pt x="338" y="54"/>
                  <a:pt x="338" y="54"/>
                </a:cubicBezTo>
                <a:cubicBezTo>
                  <a:pt x="339" y="55"/>
                  <a:pt x="339" y="56"/>
                  <a:pt x="342" y="57"/>
                </a:cubicBezTo>
                <a:cubicBezTo>
                  <a:pt x="345" y="59"/>
                  <a:pt x="349" y="60"/>
                  <a:pt x="351" y="62"/>
                </a:cubicBezTo>
                <a:cubicBezTo>
                  <a:pt x="353" y="63"/>
                  <a:pt x="354" y="63"/>
                  <a:pt x="356" y="63"/>
                </a:cubicBezTo>
                <a:cubicBezTo>
                  <a:pt x="356" y="64"/>
                  <a:pt x="354" y="64"/>
                  <a:pt x="357" y="65"/>
                </a:cubicBezTo>
                <a:cubicBezTo>
                  <a:pt x="357" y="66"/>
                  <a:pt x="361" y="67"/>
                  <a:pt x="361" y="68"/>
                </a:cubicBezTo>
                <a:cubicBezTo>
                  <a:pt x="361" y="68"/>
                  <a:pt x="360" y="68"/>
                  <a:pt x="360" y="68"/>
                </a:cubicBezTo>
                <a:cubicBezTo>
                  <a:pt x="358" y="67"/>
                  <a:pt x="359" y="68"/>
                  <a:pt x="359" y="69"/>
                </a:cubicBezTo>
                <a:cubicBezTo>
                  <a:pt x="355" y="68"/>
                  <a:pt x="352" y="66"/>
                  <a:pt x="352" y="66"/>
                </a:cubicBezTo>
                <a:cubicBezTo>
                  <a:pt x="352" y="64"/>
                  <a:pt x="350" y="63"/>
                  <a:pt x="346" y="62"/>
                </a:cubicBezTo>
                <a:cubicBezTo>
                  <a:pt x="344" y="62"/>
                  <a:pt x="342" y="61"/>
                  <a:pt x="341" y="60"/>
                </a:cubicBezTo>
                <a:cubicBezTo>
                  <a:pt x="340" y="59"/>
                  <a:pt x="338" y="58"/>
                  <a:pt x="336" y="58"/>
                </a:cubicBezTo>
                <a:cubicBezTo>
                  <a:pt x="336" y="58"/>
                  <a:pt x="336" y="58"/>
                  <a:pt x="335" y="58"/>
                </a:cubicBezTo>
                <a:cubicBezTo>
                  <a:pt x="332" y="56"/>
                  <a:pt x="328" y="54"/>
                  <a:pt x="324" y="53"/>
                </a:cubicBezTo>
                <a:cubicBezTo>
                  <a:pt x="324" y="53"/>
                  <a:pt x="324" y="53"/>
                  <a:pt x="324" y="53"/>
                </a:cubicBezTo>
                <a:cubicBezTo>
                  <a:pt x="324" y="53"/>
                  <a:pt x="324" y="53"/>
                  <a:pt x="324" y="53"/>
                </a:cubicBezTo>
                <a:cubicBezTo>
                  <a:pt x="324" y="53"/>
                  <a:pt x="324" y="53"/>
                  <a:pt x="324" y="53"/>
                </a:cubicBezTo>
                <a:cubicBezTo>
                  <a:pt x="322" y="51"/>
                  <a:pt x="319" y="50"/>
                  <a:pt x="317" y="49"/>
                </a:cubicBezTo>
                <a:cubicBezTo>
                  <a:pt x="313" y="48"/>
                  <a:pt x="310" y="46"/>
                  <a:pt x="306" y="44"/>
                </a:cubicBezTo>
                <a:cubicBezTo>
                  <a:pt x="307" y="46"/>
                  <a:pt x="317" y="49"/>
                  <a:pt x="315" y="51"/>
                </a:cubicBezTo>
                <a:cubicBezTo>
                  <a:pt x="314" y="50"/>
                  <a:pt x="314" y="51"/>
                  <a:pt x="314" y="52"/>
                </a:cubicBezTo>
                <a:cubicBezTo>
                  <a:pt x="314" y="52"/>
                  <a:pt x="314" y="52"/>
                  <a:pt x="315" y="52"/>
                </a:cubicBezTo>
                <a:cubicBezTo>
                  <a:pt x="317" y="53"/>
                  <a:pt x="319" y="53"/>
                  <a:pt x="322" y="54"/>
                </a:cubicBezTo>
                <a:cubicBezTo>
                  <a:pt x="322" y="55"/>
                  <a:pt x="323" y="55"/>
                  <a:pt x="324" y="55"/>
                </a:cubicBezTo>
                <a:cubicBezTo>
                  <a:pt x="325" y="56"/>
                  <a:pt x="326" y="56"/>
                  <a:pt x="326" y="57"/>
                </a:cubicBezTo>
                <a:cubicBezTo>
                  <a:pt x="332" y="59"/>
                  <a:pt x="336" y="62"/>
                  <a:pt x="340" y="65"/>
                </a:cubicBezTo>
                <a:cubicBezTo>
                  <a:pt x="338" y="65"/>
                  <a:pt x="336" y="63"/>
                  <a:pt x="334" y="63"/>
                </a:cubicBezTo>
                <a:cubicBezTo>
                  <a:pt x="334" y="64"/>
                  <a:pt x="338" y="65"/>
                  <a:pt x="339" y="66"/>
                </a:cubicBezTo>
                <a:cubicBezTo>
                  <a:pt x="339" y="66"/>
                  <a:pt x="339" y="66"/>
                  <a:pt x="338" y="66"/>
                </a:cubicBezTo>
                <a:cubicBezTo>
                  <a:pt x="338" y="66"/>
                  <a:pt x="338" y="66"/>
                  <a:pt x="338" y="66"/>
                </a:cubicBezTo>
                <a:cubicBezTo>
                  <a:pt x="338" y="66"/>
                  <a:pt x="338" y="67"/>
                  <a:pt x="337" y="66"/>
                </a:cubicBezTo>
                <a:cubicBezTo>
                  <a:pt x="334" y="65"/>
                  <a:pt x="333" y="65"/>
                  <a:pt x="332" y="65"/>
                </a:cubicBezTo>
                <a:cubicBezTo>
                  <a:pt x="331" y="65"/>
                  <a:pt x="333" y="66"/>
                  <a:pt x="334" y="67"/>
                </a:cubicBezTo>
                <a:cubicBezTo>
                  <a:pt x="337" y="68"/>
                  <a:pt x="340" y="69"/>
                  <a:pt x="341" y="70"/>
                </a:cubicBezTo>
                <a:cubicBezTo>
                  <a:pt x="343" y="72"/>
                  <a:pt x="345" y="72"/>
                  <a:pt x="347" y="72"/>
                </a:cubicBezTo>
                <a:cubicBezTo>
                  <a:pt x="349" y="73"/>
                  <a:pt x="351" y="74"/>
                  <a:pt x="355" y="76"/>
                </a:cubicBezTo>
                <a:cubicBezTo>
                  <a:pt x="353" y="74"/>
                  <a:pt x="351" y="73"/>
                  <a:pt x="347" y="72"/>
                </a:cubicBezTo>
                <a:cubicBezTo>
                  <a:pt x="345" y="71"/>
                  <a:pt x="343" y="70"/>
                  <a:pt x="341" y="68"/>
                </a:cubicBezTo>
                <a:cubicBezTo>
                  <a:pt x="339" y="68"/>
                  <a:pt x="339" y="67"/>
                  <a:pt x="341" y="67"/>
                </a:cubicBezTo>
                <a:cubicBezTo>
                  <a:pt x="343" y="68"/>
                  <a:pt x="346" y="69"/>
                  <a:pt x="347" y="68"/>
                </a:cubicBezTo>
                <a:cubicBezTo>
                  <a:pt x="347" y="69"/>
                  <a:pt x="348" y="69"/>
                  <a:pt x="349" y="69"/>
                </a:cubicBezTo>
                <a:cubicBezTo>
                  <a:pt x="349" y="70"/>
                  <a:pt x="351" y="71"/>
                  <a:pt x="353" y="72"/>
                </a:cubicBezTo>
                <a:cubicBezTo>
                  <a:pt x="359" y="75"/>
                  <a:pt x="364" y="78"/>
                  <a:pt x="370" y="81"/>
                </a:cubicBezTo>
                <a:cubicBezTo>
                  <a:pt x="373" y="83"/>
                  <a:pt x="375" y="84"/>
                  <a:pt x="380" y="86"/>
                </a:cubicBezTo>
                <a:cubicBezTo>
                  <a:pt x="382" y="88"/>
                  <a:pt x="388" y="90"/>
                  <a:pt x="390" y="92"/>
                </a:cubicBezTo>
                <a:cubicBezTo>
                  <a:pt x="391" y="93"/>
                  <a:pt x="393" y="94"/>
                  <a:pt x="394" y="95"/>
                </a:cubicBezTo>
                <a:cubicBezTo>
                  <a:pt x="395" y="96"/>
                  <a:pt x="396" y="96"/>
                  <a:pt x="396" y="97"/>
                </a:cubicBezTo>
                <a:cubicBezTo>
                  <a:pt x="397" y="97"/>
                  <a:pt x="397" y="98"/>
                  <a:pt x="398" y="98"/>
                </a:cubicBezTo>
                <a:cubicBezTo>
                  <a:pt x="396" y="97"/>
                  <a:pt x="394" y="96"/>
                  <a:pt x="392" y="95"/>
                </a:cubicBezTo>
                <a:cubicBezTo>
                  <a:pt x="390" y="95"/>
                  <a:pt x="390" y="94"/>
                  <a:pt x="388" y="94"/>
                </a:cubicBezTo>
                <a:cubicBezTo>
                  <a:pt x="387" y="93"/>
                  <a:pt x="385" y="92"/>
                  <a:pt x="384" y="92"/>
                </a:cubicBezTo>
                <a:cubicBezTo>
                  <a:pt x="384" y="92"/>
                  <a:pt x="384" y="93"/>
                  <a:pt x="383" y="93"/>
                </a:cubicBezTo>
                <a:cubicBezTo>
                  <a:pt x="380" y="91"/>
                  <a:pt x="378" y="90"/>
                  <a:pt x="374" y="88"/>
                </a:cubicBezTo>
                <a:cubicBezTo>
                  <a:pt x="372" y="87"/>
                  <a:pt x="370" y="87"/>
                  <a:pt x="369" y="86"/>
                </a:cubicBezTo>
                <a:cubicBezTo>
                  <a:pt x="369" y="86"/>
                  <a:pt x="370" y="85"/>
                  <a:pt x="369" y="85"/>
                </a:cubicBezTo>
                <a:cubicBezTo>
                  <a:pt x="367" y="84"/>
                  <a:pt x="367" y="85"/>
                  <a:pt x="367" y="85"/>
                </a:cubicBezTo>
                <a:cubicBezTo>
                  <a:pt x="365" y="84"/>
                  <a:pt x="364" y="83"/>
                  <a:pt x="362" y="83"/>
                </a:cubicBezTo>
                <a:cubicBezTo>
                  <a:pt x="362" y="83"/>
                  <a:pt x="362" y="83"/>
                  <a:pt x="362" y="83"/>
                </a:cubicBezTo>
                <a:cubicBezTo>
                  <a:pt x="356" y="78"/>
                  <a:pt x="346" y="74"/>
                  <a:pt x="338" y="70"/>
                </a:cubicBezTo>
                <a:cubicBezTo>
                  <a:pt x="334" y="67"/>
                  <a:pt x="330" y="65"/>
                  <a:pt x="326" y="63"/>
                </a:cubicBezTo>
                <a:cubicBezTo>
                  <a:pt x="324" y="61"/>
                  <a:pt x="321" y="60"/>
                  <a:pt x="318" y="59"/>
                </a:cubicBezTo>
                <a:cubicBezTo>
                  <a:pt x="317" y="58"/>
                  <a:pt x="317" y="57"/>
                  <a:pt x="314" y="57"/>
                </a:cubicBezTo>
                <a:cubicBezTo>
                  <a:pt x="309" y="56"/>
                  <a:pt x="312" y="57"/>
                  <a:pt x="312" y="58"/>
                </a:cubicBezTo>
                <a:cubicBezTo>
                  <a:pt x="311" y="57"/>
                  <a:pt x="310" y="57"/>
                  <a:pt x="308" y="56"/>
                </a:cubicBezTo>
                <a:cubicBezTo>
                  <a:pt x="310" y="58"/>
                  <a:pt x="313" y="60"/>
                  <a:pt x="316" y="61"/>
                </a:cubicBezTo>
                <a:cubicBezTo>
                  <a:pt x="315" y="61"/>
                  <a:pt x="314" y="62"/>
                  <a:pt x="316" y="62"/>
                </a:cubicBezTo>
                <a:cubicBezTo>
                  <a:pt x="319" y="64"/>
                  <a:pt x="321" y="65"/>
                  <a:pt x="325" y="66"/>
                </a:cubicBezTo>
                <a:cubicBezTo>
                  <a:pt x="325" y="66"/>
                  <a:pt x="325" y="66"/>
                  <a:pt x="325" y="67"/>
                </a:cubicBezTo>
                <a:cubicBezTo>
                  <a:pt x="325" y="67"/>
                  <a:pt x="325" y="67"/>
                  <a:pt x="325" y="67"/>
                </a:cubicBezTo>
                <a:cubicBezTo>
                  <a:pt x="325" y="67"/>
                  <a:pt x="325" y="66"/>
                  <a:pt x="325" y="66"/>
                </a:cubicBezTo>
                <a:cubicBezTo>
                  <a:pt x="325" y="67"/>
                  <a:pt x="322" y="67"/>
                  <a:pt x="327" y="68"/>
                </a:cubicBezTo>
                <a:cubicBezTo>
                  <a:pt x="328" y="69"/>
                  <a:pt x="330" y="70"/>
                  <a:pt x="328" y="70"/>
                </a:cubicBezTo>
                <a:cubicBezTo>
                  <a:pt x="328" y="70"/>
                  <a:pt x="328" y="70"/>
                  <a:pt x="328" y="70"/>
                </a:cubicBezTo>
                <a:cubicBezTo>
                  <a:pt x="328" y="70"/>
                  <a:pt x="328" y="70"/>
                  <a:pt x="328" y="70"/>
                </a:cubicBezTo>
                <a:cubicBezTo>
                  <a:pt x="328" y="70"/>
                  <a:pt x="328" y="70"/>
                  <a:pt x="328" y="70"/>
                </a:cubicBezTo>
                <a:cubicBezTo>
                  <a:pt x="323" y="67"/>
                  <a:pt x="319" y="65"/>
                  <a:pt x="312" y="62"/>
                </a:cubicBezTo>
                <a:cubicBezTo>
                  <a:pt x="311" y="62"/>
                  <a:pt x="310" y="61"/>
                  <a:pt x="309" y="60"/>
                </a:cubicBezTo>
                <a:cubicBezTo>
                  <a:pt x="306" y="60"/>
                  <a:pt x="310" y="62"/>
                  <a:pt x="310" y="62"/>
                </a:cubicBezTo>
                <a:cubicBezTo>
                  <a:pt x="309" y="62"/>
                  <a:pt x="308" y="62"/>
                  <a:pt x="307" y="62"/>
                </a:cubicBezTo>
                <a:cubicBezTo>
                  <a:pt x="303" y="61"/>
                  <a:pt x="301" y="59"/>
                  <a:pt x="298" y="58"/>
                </a:cubicBezTo>
                <a:cubicBezTo>
                  <a:pt x="296" y="57"/>
                  <a:pt x="294" y="55"/>
                  <a:pt x="292" y="55"/>
                </a:cubicBezTo>
                <a:cubicBezTo>
                  <a:pt x="289" y="55"/>
                  <a:pt x="295" y="57"/>
                  <a:pt x="296" y="58"/>
                </a:cubicBezTo>
                <a:cubicBezTo>
                  <a:pt x="296" y="58"/>
                  <a:pt x="296" y="58"/>
                  <a:pt x="296" y="58"/>
                </a:cubicBezTo>
                <a:cubicBezTo>
                  <a:pt x="296" y="58"/>
                  <a:pt x="296" y="58"/>
                  <a:pt x="296" y="58"/>
                </a:cubicBezTo>
                <a:cubicBezTo>
                  <a:pt x="295" y="58"/>
                  <a:pt x="295" y="58"/>
                  <a:pt x="294" y="58"/>
                </a:cubicBezTo>
                <a:cubicBezTo>
                  <a:pt x="297" y="60"/>
                  <a:pt x="302" y="61"/>
                  <a:pt x="304" y="63"/>
                </a:cubicBezTo>
                <a:cubicBezTo>
                  <a:pt x="305" y="63"/>
                  <a:pt x="305" y="64"/>
                  <a:pt x="306" y="64"/>
                </a:cubicBezTo>
                <a:cubicBezTo>
                  <a:pt x="306" y="64"/>
                  <a:pt x="305" y="64"/>
                  <a:pt x="304" y="64"/>
                </a:cubicBezTo>
                <a:cubicBezTo>
                  <a:pt x="304" y="65"/>
                  <a:pt x="304" y="65"/>
                  <a:pt x="305" y="66"/>
                </a:cubicBezTo>
                <a:cubicBezTo>
                  <a:pt x="311" y="69"/>
                  <a:pt x="311" y="69"/>
                  <a:pt x="305" y="69"/>
                </a:cubicBezTo>
                <a:cubicBezTo>
                  <a:pt x="305" y="69"/>
                  <a:pt x="305" y="69"/>
                  <a:pt x="305" y="69"/>
                </a:cubicBezTo>
                <a:cubicBezTo>
                  <a:pt x="305" y="69"/>
                  <a:pt x="305" y="69"/>
                  <a:pt x="305" y="69"/>
                </a:cubicBezTo>
                <a:cubicBezTo>
                  <a:pt x="305" y="69"/>
                  <a:pt x="305" y="69"/>
                  <a:pt x="305" y="69"/>
                </a:cubicBezTo>
                <a:cubicBezTo>
                  <a:pt x="303" y="69"/>
                  <a:pt x="303" y="67"/>
                  <a:pt x="300" y="67"/>
                </a:cubicBezTo>
                <a:cubicBezTo>
                  <a:pt x="298" y="68"/>
                  <a:pt x="301" y="69"/>
                  <a:pt x="302" y="69"/>
                </a:cubicBezTo>
                <a:cubicBezTo>
                  <a:pt x="303" y="70"/>
                  <a:pt x="303" y="71"/>
                  <a:pt x="301" y="70"/>
                </a:cubicBezTo>
                <a:cubicBezTo>
                  <a:pt x="295" y="68"/>
                  <a:pt x="289" y="67"/>
                  <a:pt x="284" y="64"/>
                </a:cubicBezTo>
                <a:cubicBezTo>
                  <a:pt x="284" y="64"/>
                  <a:pt x="283" y="63"/>
                  <a:pt x="284" y="63"/>
                </a:cubicBezTo>
                <a:cubicBezTo>
                  <a:pt x="284" y="63"/>
                  <a:pt x="286" y="64"/>
                  <a:pt x="287" y="64"/>
                </a:cubicBezTo>
                <a:cubicBezTo>
                  <a:pt x="282" y="61"/>
                  <a:pt x="272" y="58"/>
                  <a:pt x="267" y="55"/>
                </a:cubicBezTo>
                <a:cubicBezTo>
                  <a:pt x="265" y="54"/>
                  <a:pt x="262" y="52"/>
                  <a:pt x="258" y="50"/>
                </a:cubicBezTo>
                <a:cubicBezTo>
                  <a:pt x="257" y="50"/>
                  <a:pt x="256" y="49"/>
                  <a:pt x="254" y="49"/>
                </a:cubicBezTo>
                <a:cubicBezTo>
                  <a:pt x="252" y="49"/>
                  <a:pt x="253" y="50"/>
                  <a:pt x="255" y="50"/>
                </a:cubicBezTo>
                <a:cubicBezTo>
                  <a:pt x="259" y="52"/>
                  <a:pt x="255" y="52"/>
                  <a:pt x="255" y="52"/>
                </a:cubicBezTo>
                <a:cubicBezTo>
                  <a:pt x="254" y="52"/>
                  <a:pt x="253" y="52"/>
                  <a:pt x="253" y="52"/>
                </a:cubicBezTo>
                <a:cubicBezTo>
                  <a:pt x="255" y="53"/>
                  <a:pt x="255" y="54"/>
                  <a:pt x="260" y="55"/>
                </a:cubicBezTo>
                <a:cubicBezTo>
                  <a:pt x="261" y="54"/>
                  <a:pt x="259" y="53"/>
                  <a:pt x="259" y="53"/>
                </a:cubicBezTo>
                <a:cubicBezTo>
                  <a:pt x="262" y="54"/>
                  <a:pt x="262" y="55"/>
                  <a:pt x="264" y="55"/>
                </a:cubicBezTo>
                <a:cubicBezTo>
                  <a:pt x="269" y="57"/>
                  <a:pt x="269" y="59"/>
                  <a:pt x="274" y="61"/>
                </a:cubicBezTo>
                <a:cubicBezTo>
                  <a:pt x="276" y="62"/>
                  <a:pt x="278" y="63"/>
                  <a:pt x="280" y="64"/>
                </a:cubicBezTo>
                <a:cubicBezTo>
                  <a:pt x="280" y="64"/>
                  <a:pt x="279" y="65"/>
                  <a:pt x="280" y="66"/>
                </a:cubicBezTo>
                <a:cubicBezTo>
                  <a:pt x="282" y="67"/>
                  <a:pt x="284" y="68"/>
                  <a:pt x="286" y="69"/>
                </a:cubicBezTo>
                <a:cubicBezTo>
                  <a:pt x="286" y="69"/>
                  <a:pt x="287" y="69"/>
                  <a:pt x="287" y="69"/>
                </a:cubicBezTo>
                <a:cubicBezTo>
                  <a:pt x="285" y="68"/>
                  <a:pt x="283" y="67"/>
                  <a:pt x="281" y="66"/>
                </a:cubicBezTo>
                <a:cubicBezTo>
                  <a:pt x="286" y="66"/>
                  <a:pt x="287" y="68"/>
                  <a:pt x="290" y="69"/>
                </a:cubicBezTo>
                <a:cubicBezTo>
                  <a:pt x="291" y="71"/>
                  <a:pt x="297" y="73"/>
                  <a:pt x="300" y="74"/>
                </a:cubicBezTo>
                <a:cubicBezTo>
                  <a:pt x="300" y="75"/>
                  <a:pt x="301" y="75"/>
                  <a:pt x="302" y="75"/>
                </a:cubicBezTo>
                <a:cubicBezTo>
                  <a:pt x="302" y="75"/>
                  <a:pt x="302" y="75"/>
                  <a:pt x="302" y="75"/>
                </a:cubicBezTo>
                <a:cubicBezTo>
                  <a:pt x="302" y="75"/>
                  <a:pt x="302" y="75"/>
                  <a:pt x="302" y="75"/>
                </a:cubicBezTo>
                <a:cubicBezTo>
                  <a:pt x="302" y="75"/>
                  <a:pt x="302" y="75"/>
                  <a:pt x="302" y="75"/>
                </a:cubicBezTo>
                <a:cubicBezTo>
                  <a:pt x="306" y="77"/>
                  <a:pt x="308" y="79"/>
                  <a:pt x="313" y="80"/>
                </a:cubicBezTo>
                <a:cubicBezTo>
                  <a:pt x="313" y="80"/>
                  <a:pt x="313" y="80"/>
                  <a:pt x="313" y="80"/>
                </a:cubicBezTo>
                <a:cubicBezTo>
                  <a:pt x="313" y="80"/>
                  <a:pt x="313" y="80"/>
                  <a:pt x="313" y="80"/>
                </a:cubicBezTo>
                <a:cubicBezTo>
                  <a:pt x="314" y="81"/>
                  <a:pt x="316" y="82"/>
                  <a:pt x="318" y="83"/>
                </a:cubicBezTo>
                <a:cubicBezTo>
                  <a:pt x="319" y="84"/>
                  <a:pt x="322" y="85"/>
                  <a:pt x="325" y="86"/>
                </a:cubicBezTo>
                <a:cubicBezTo>
                  <a:pt x="327" y="87"/>
                  <a:pt x="328" y="88"/>
                  <a:pt x="330" y="89"/>
                </a:cubicBezTo>
                <a:cubicBezTo>
                  <a:pt x="330" y="89"/>
                  <a:pt x="330" y="90"/>
                  <a:pt x="330" y="90"/>
                </a:cubicBezTo>
                <a:cubicBezTo>
                  <a:pt x="332" y="91"/>
                  <a:pt x="335" y="92"/>
                  <a:pt x="334" y="93"/>
                </a:cubicBezTo>
                <a:cubicBezTo>
                  <a:pt x="328" y="90"/>
                  <a:pt x="324" y="88"/>
                  <a:pt x="317" y="85"/>
                </a:cubicBezTo>
                <a:cubicBezTo>
                  <a:pt x="306" y="80"/>
                  <a:pt x="296" y="74"/>
                  <a:pt x="285" y="69"/>
                </a:cubicBezTo>
                <a:cubicBezTo>
                  <a:pt x="284" y="68"/>
                  <a:pt x="282" y="68"/>
                  <a:pt x="281" y="67"/>
                </a:cubicBezTo>
                <a:cubicBezTo>
                  <a:pt x="280" y="67"/>
                  <a:pt x="280" y="67"/>
                  <a:pt x="279" y="66"/>
                </a:cubicBezTo>
                <a:cubicBezTo>
                  <a:pt x="273" y="64"/>
                  <a:pt x="268" y="61"/>
                  <a:pt x="262" y="58"/>
                </a:cubicBezTo>
                <a:cubicBezTo>
                  <a:pt x="256" y="55"/>
                  <a:pt x="249" y="52"/>
                  <a:pt x="245" y="49"/>
                </a:cubicBezTo>
                <a:cubicBezTo>
                  <a:pt x="244" y="48"/>
                  <a:pt x="241" y="47"/>
                  <a:pt x="239" y="45"/>
                </a:cubicBezTo>
                <a:cubicBezTo>
                  <a:pt x="240" y="46"/>
                  <a:pt x="241" y="46"/>
                  <a:pt x="242" y="46"/>
                </a:cubicBezTo>
                <a:cubicBezTo>
                  <a:pt x="242" y="45"/>
                  <a:pt x="240" y="45"/>
                  <a:pt x="238" y="44"/>
                </a:cubicBezTo>
                <a:cubicBezTo>
                  <a:pt x="237" y="44"/>
                  <a:pt x="238" y="45"/>
                  <a:pt x="238" y="45"/>
                </a:cubicBezTo>
                <a:cubicBezTo>
                  <a:pt x="237" y="45"/>
                  <a:pt x="236" y="44"/>
                  <a:pt x="233" y="44"/>
                </a:cubicBezTo>
                <a:cubicBezTo>
                  <a:pt x="238" y="46"/>
                  <a:pt x="239" y="47"/>
                  <a:pt x="243" y="49"/>
                </a:cubicBezTo>
                <a:cubicBezTo>
                  <a:pt x="245" y="50"/>
                  <a:pt x="246" y="51"/>
                  <a:pt x="248" y="52"/>
                </a:cubicBezTo>
                <a:cubicBezTo>
                  <a:pt x="252" y="55"/>
                  <a:pt x="258" y="58"/>
                  <a:pt x="262" y="60"/>
                </a:cubicBezTo>
                <a:cubicBezTo>
                  <a:pt x="261" y="60"/>
                  <a:pt x="262" y="61"/>
                  <a:pt x="262" y="61"/>
                </a:cubicBezTo>
                <a:cubicBezTo>
                  <a:pt x="263" y="62"/>
                  <a:pt x="263" y="63"/>
                  <a:pt x="262" y="63"/>
                </a:cubicBezTo>
                <a:cubicBezTo>
                  <a:pt x="260" y="63"/>
                  <a:pt x="258" y="62"/>
                  <a:pt x="257" y="61"/>
                </a:cubicBezTo>
                <a:cubicBezTo>
                  <a:pt x="254" y="60"/>
                  <a:pt x="250" y="59"/>
                  <a:pt x="246" y="57"/>
                </a:cubicBezTo>
                <a:cubicBezTo>
                  <a:pt x="242" y="56"/>
                  <a:pt x="240" y="56"/>
                  <a:pt x="238" y="57"/>
                </a:cubicBezTo>
                <a:cubicBezTo>
                  <a:pt x="238" y="57"/>
                  <a:pt x="236" y="57"/>
                  <a:pt x="235" y="56"/>
                </a:cubicBezTo>
                <a:cubicBezTo>
                  <a:pt x="234" y="55"/>
                  <a:pt x="234" y="55"/>
                  <a:pt x="236" y="55"/>
                </a:cubicBezTo>
                <a:cubicBezTo>
                  <a:pt x="239" y="56"/>
                  <a:pt x="238" y="54"/>
                  <a:pt x="240" y="54"/>
                </a:cubicBezTo>
                <a:cubicBezTo>
                  <a:pt x="236" y="53"/>
                  <a:pt x="232" y="52"/>
                  <a:pt x="228" y="50"/>
                </a:cubicBezTo>
                <a:cubicBezTo>
                  <a:pt x="229" y="52"/>
                  <a:pt x="230" y="52"/>
                  <a:pt x="230" y="53"/>
                </a:cubicBezTo>
                <a:cubicBezTo>
                  <a:pt x="228" y="53"/>
                  <a:pt x="223" y="51"/>
                  <a:pt x="224" y="53"/>
                </a:cubicBezTo>
                <a:cubicBezTo>
                  <a:pt x="225" y="55"/>
                  <a:pt x="225" y="55"/>
                  <a:pt x="221" y="55"/>
                </a:cubicBezTo>
                <a:cubicBezTo>
                  <a:pt x="225" y="57"/>
                  <a:pt x="228" y="58"/>
                  <a:pt x="232" y="59"/>
                </a:cubicBezTo>
                <a:cubicBezTo>
                  <a:pt x="232" y="59"/>
                  <a:pt x="233" y="59"/>
                  <a:pt x="233" y="59"/>
                </a:cubicBezTo>
                <a:cubicBezTo>
                  <a:pt x="233" y="59"/>
                  <a:pt x="233" y="60"/>
                  <a:pt x="232" y="60"/>
                </a:cubicBezTo>
                <a:cubicBezTo>
                  <a:pt x="230" y="60"/>
                  <a:pt x="232" y="60"/>
                  <a:pt x="233" y="61"/>
                </a:cubicBezTo>
                <a:cubicBezTo>
                  <a:pt x="234" y="61"/>
                  <a:pt x="234" y="61"/>
                  <a:pt x="234" y="61"/>
                </a:cubicBezTo>
                <a:cubicBezTo>
                  <a:pt x="234" y="61"/>
                  <a:pt x="234" y="62"/>
                  <a:pt x="236" y="62"/>
                </a:cubicBezTo>
                <a:cubicBezTo>
                  <a:pt x="238" y="63"/>
                  <a:pt x="238" y="64"/>
                  <a:pt x="236" y="64"/>
                </a:cubicBezTo>
                <a:cubicBezTo>
                  <a:pt x="235" y="64"/>
                  <a:pt x="238" y="65"/>
                  <a:pt x="238" y="65"/>
                </a:cubicBezTo>
                <a:cubicBezTo>
                  <a:pt x="236" y="65"/>
                  <a:pt x="235" y="64"/>
                  <a:pt x="234" y="63"/>
                </a:cubicBezTo>
                <a:cubicBezTo>
                  <a:pt x="232" y="62"/>
                  <a:pt x="228" y="60"/>
                  <a:pt x="225" y="58"/>
                </a:cubicBezTo>
                <a:cubicBezTo>
                  <a:pt x="224" y="58"/>
                  <a:pt x="222" y="57"/>
                  <a:pt x="220" y="56"/>
                </a:cubicBezTo>
                <a:cubicBezTo>
                  <a:pt x="219" y="55"/>
                  <a:pt x="218" y="55"/>
                  <a:pt x="217" y="54"/>
                </a:cubicBezTo>
                <a:cubicBezTo>
                  <a:pt x="216" y="54"/>
                  <a:pt x="215" y="53"/>
                  <a:pt x="215" y="53"/>
                </a:cubicBezTo>
                <a:cubicBezTo>
                  <a:pt x="215" y="53"/>
                  <a:pt x="214" y="52"/>
                  <a:pt x="213" y="52"/>
                </a:cubicBezTo>
                <a:cubicBezTo>
                  <a:pt x="212" y="53"/>
                  <a:pt x="211" y="52"/>
                  <a:pt x="210" y="52"/>
                </a:cubicBezTo>
                <a:cubicBezTo>
                  <a:pt x="210" y="52"/>
                  <a:pt x="211" y="52"/>
                  <a:pt x="212" y="53"/>
                </a:cubicBezTo>
                <a:cubicBezTo>
                  <a:pt x="213" y="53"/>
                  <a:pt x="214" y="54"/>
                  <a:pt x="216" y="54"/>
                </a:cubicBezTo>
                <a:cubicBezTo>
                  <a:pt x="221" y="57"/>
                  <a:pt x="225" y="60"/>
                  <a:pt x="233" y="63"/>
                </a:cubicBezTo>
                <a:cubicBezTo>
                  <a:pt x="237" y="67"/>
                  <a:pt x="244" y="70"/>
                  <a:pt x="250" y="73"/>
                </a:cubicBezTo>
                <a:cubicBezTo>
                  <a:pt x="253" y="74"/>
                  <a:pt x="255" y="76"/>
                  <a:pt x="258" y="77"/>
                </a:cubicBezTo>
                <a:cubicBezTo>
                  <a:pt x="259" y="79"/>
                  <a:pt x="263" y="80"/>
                  <a:pt x="266" y="82"/>
                </a:cubicBezTo>
                <a:cubicBezTo>
                  <a:pt x="262" y="81"/>
                  <a:pt x="258" y="81"/>
                  <a:pt x="253" y="79"/>
                </a:cubicBezTo>
                <a:cubicBezTo>
                  <a:pt x="248" y="77"/>
                  <a:pt x="243" y="75"/>
                  <a:pt x="239" y="73"/>
                </a:cubicBezTo>
                <a:cubicBezTo>
                  <a:pt x="233" y="69"/>
                  <a:pt x="228" y="66"/>
                  <a:pt x="220" y="63"/>
                </a:cubicBezTo>
                <a:cubicBezTo>
                  <a:pt x="217" y="61"/>
                  <a:pt x="212" y="60"/>
                  <a:pt x="208" y="59"/>
                </a:cubicBezTo>
                <a:cubicBezTo>
                  <a:pt x="207" y="60"/>
                  <a:pt x="211" y="62"/>
                  <a:pt x="214" y="63"/>
                </a:cubicBezTo>
                <a:cubicBezTo>
                  <a:pt x="216" y="63"/>
                  <a:pt x="219" y="64"/>
                  <a:pt x="219" y="65"/>
                </a:cubicBezTo>
                <a:cubicBezTo>
                  <a:pt x="219" y="65"/>
                  <a:pt x="217" y="65"/>
                  <a:pt x="215" y="65"/>
                </a:cubicBezTo>
                <a:cubicBezTo>
                  <a:pt x="214" y="65"/>
                  <a:pt x="212" y="64"/>
                  <a:pt x="211" y="65"/>
                </a:cubicBezTo>
                <a:cubicBezTo>
                  <a:pt x="211" y="64"/>
                  <a:pt x="210" y="64"/>
                  <a:pt x="209" y="63"/>
                </a:cubicBezTo>
                <a:cubicBezTo>
                  <a:pt x="209" y="63"/>
                  <a:pt x="209" y="63"/>
                  <a:pt x="209" y="62"/>
                </a:cubicBezTo>
                <a:cubicBezTo>
                  <a:pt x="209" y="62"/>
                  <a:pt x="209" y="62"/>
                  <a:pt x="209" y="62"/>
                </a:cubicBezTo>
                <a:cubicBezTo>
                  <a:pt x="210" y="63"/>
                  <a:pt x="212" y="64"/>
                  <a:pt x="212" y="63"/>
                </a:cubicBezTo>
                <a:cubicBezTo>
                  <a:pt x="212" y="63"/>
                  <a:pt x="212" y="62"/>
                  <a:pt x="208" y="61"/>
                </a:cubicBezTo>
                <a:cubicBezTo>
                  <a:pt x="208" y="61"/>
                  <a:pt x="207" y="61"/>
                  <a:pt x="207" y="61"/>
                </a:cubicBezTo>
                <a:cubicBezTo>
                  <a:pt x="205" y="60"/>
                  <a:pt x="203" y="59"/>
                  <a:pt x="201" y="58"/>
                </a:cubicBezTo>
                <a:cubicBezTo>
                  <a:pt x="201" y="58"/>
                  <a:pt x="200" y="58"/>
                  <a:pt x="200" y="58"/>
                </a:cubicBezTo>
                <a:cubicBezTo>
                  <a:pt x="202" y="59"/>
                  <a:pt x="204" y="60"/>
                  <a:pt x="206" y="61"/>
                </a:cubicBezTo>
                <a:cubicBezTo>
                  <a:pt x="207" y="62"/>
                  <a:pt x="207" y="62"/>
                  <a:pt x="205" y="62"/>
                </a:cubicBezTo>
                <a:cubicBezTo>
                  <a:pt x="203" y="62"/>
                  <a:pt x="202" y="62"/>
                  <a:pt x="201" y="62"/>
                </a:cubicBezTo>
                <a:cubicBezTo>
                  <a:pt x="200" y="61"/>
                  <a:pt x="199" y="60"/>
                  <a:pt x="195" y="59"/>
                </a:cubicBezTo>
                <a:cubicBezTo>
                  <a:pt x="196" y="60"/>
                  <a:pt x="197" y="61"/>
                  <a:pt x="198" y="62"/>
                </a:cubicBezTo>
                <a:cubicBezTo>
                  <a:pt x="199" y="64"/>
                  <a:pt x="203" y="65"/>
                  <a:pt x="207" y="67"/>
                </a:cubicBezTo>
                <a:cubicBezTo>
                  <a:pt x="208" y="68"/>
                  <a:pt x="209" y="68"/>
                  <a:pt x="211" y="69"/>
                </a:cubicBezTo>
                <a:cubicBezTo>
                  <a:pt x="211" y="69"/>
                  <a:pt x="211" y="69"/>
                  <a:pt x="212" y="70"/>
                </a:cubicBezTo>
                <a:cubicBezTo>
                  <a:pt x="212" y="70"/>
                  <a:pt x="213" y="71"/>
                  <a:pt x="215" y="71"/>
                </a:cubicBezTo>
                <a:cubicBezTo>
                  <a:pt x="216" y="72"/>
                  <a:pt x="217" y="72"/>
                  <a:pt x="217" y="72"/>
                </a:cubicBezTo>
                <a:cubicBezTo>
                  <a:pt x="215" y="73"/>
                  <a:pt x="219" y="74"/>
                  <a:pt x="218" y="75"/>
                </a:cubicBezTo>
                <a:cubicBezTo>
                  <a:pt x="217" y="74"/>
                  <a:pt x="213" y="73"/>
                  <a:pt x="213" y="74"/>
                </a:cubicBezTo>
                <a:cubicBezTo>
                  <a:pt x="212" y="74"/>
                  <a:pt x="214" y="75"/>
                  <a:pt x="216" y="76"/>
                </a:cubicBezTo>
                <a:cubicBezTo>
                  <a:pt x="218" y="77"/>
                  <a:pt x="219" y="77"/>
                  <a:pt x="220" y="78"/>
                </a:cubicBezTo>
                <a:cubicBezTo>
                  <a:pt x="221" y="80"/>
                  <a:pt x="224" y="82"/>
                  <a:pt x="231" y="83"/>
                </a:cubicBezTo>
                <a:cubicBezTo>
                  <a:pt x="232" y="85"/>
                  <a:pt x="238" y="87"/>
                  <a:pt x="241" y="88"/>
                </a:cubicBezTo>
                <a:cubicBezTo>
                  <a:pt x="246" y="91"/>
                  <a:pt x="252" y="94"/>
                  <a:pt x="258" y="97"/>
                </a:cubicBezTo>
                <a:cubicBezTo>
                  <a:pt x="259" y="98"/>
                  <a:pt x="261" y="99"/>
                  <a:pt x="266" y="101"/>
                </a:cubicBezTo>
                <a:cubicBezTo>
                  <a:pt x="264" y="99"/>
                  <a:pt x="261" y="98"/>
                  <a:pt x="259" y="97"/>
                </a:cubicBezTo>
                <a:cubicBezTo>
                  <a:pt x="257" y="96"/>
                  <a:pt x="256" y="95"/>
                  <a:pt x="254" y="94"/>
                </a:cubicBezTo>
                <a:cubicBezTo>
                  <a:pt x="260" y="96"/>
                  <a:pt x="261" y="98"/>
                  <a:pt x="265" y="99"/>
                </a:cubicBezTo>
                <a:cubicBezTo>
                  <a:pt x="267" y="100"/>
                  <a:pt x="269" y="101"/>
                  <a:pt x="270" y="101"/>
                </a:cubicBezTo>
                <a:cubicBezTo>
                  <a:pt x="270" y="101"/>
                  <a:pt x="270" y="101"/>
                  <a:pt x="270" y="101"/>
                </a:cubicBezTo>
                <a:cubicBezTo>
                  <a:pt x="270" y="102"/>
                  <a:pt x="270" y="102"/>
                  <a:pt x="272" y="103"/>
                </a:cubicBezTo>
                <a:cubicBezTo>
                  <a:pt x="274" y="104"/>
                  <a:pt x="274" y="103"/>
                  <a:pt x="274" y="103"/>
                </a:cubicBezTo>
                <a:cubicBezTo>
                  <a:pt x="277" y="104"/>
                  <a:pt x="280" y="105"/>
                  <a:pt x="282" y="107"/>
                </a:cubicBezTo>
                <a:cubicBezTo>
                  <a:pt x="282" y="107"/>
                  <a:pt x="281" y="107"/>
                  <a:pt x="280" y="106"/>
                </a:cubicBezTo>
                <a:cubicBezTo>
                  <a:pt x="279" y="106"/>
                  <a:pt x="278" y="105"/>
                  <a:pt x="277" y="106"/>
                </a:cubicBezTo>
                <a:cubicBezTo>
                  <a:pt x="273" y="105"/>
                  <a:pt x="270" y="104"/>
                  <a:pt x="269" y="102"/>
                </a:cubicBezTo>
                <a:cubicBezTo>
                  <a:pt x="268" y="102"/>
                  <a:pt x="267" y="101"/>
                  <a:pt x="266" y="101"/>
                </a:cubicBezTo>
                <a:cubicBezTo>
                  <a:pt x="265" y="101"/>
                  <a:pt x="266" y="102"/>
                  <a:pt x="267" y="102"/>
                </a:cubicBezTo>
                <a:cubicBezTo>
                  <a:pt x="266" y="102"/>
                  <a:pt x="265" y="102"/>
                  <a:pt x="265" y="102"/>
                </a:cubicBezTo>
                <a:cubicBezTo>
                  <a:pt x="264" y="102"/>
                  <a:pt x="263" y="101"/>
                  <a:pt x="262" y="101"/>
                </a:cubicBezTo>
                <a:cubicBezTo>
                  <a:pt x="257" y="99"/>
                  <a:pt x="253" y="96"/>
                  <a:pt x="248" y="94"/>
                </a:cubicBezTo>
                <a:cubicBezTo>
                  <a:pt x="248" y="94"/>
                  <a:pt x="248" y="94"/>
                  <a:pt x="248" y="95"/>
                </a:cubicBezTo>
                <a:cubicBezTo>
                  <a:pt x="248" y="95"/>
                  <a:pt x="249" y="95"/>
                  <a:pt x="249" y="95"/>
                </a:cubicBezTo>
                <a:cubicBezTo>
                  <a:pt x="249" y="95"/>
                  <a:pt x="249" y="95"/>
                  <a:pt x="249" y="95"/>
                </a:cubicBezTo>
                <a:cubicBezTo>
                  <a:pt x="249" y="95"/>
                  <a:pt x="249" y="95"/>
                  <a:pt x="249" y="95"/>
                </a:cubicBezTo>
                <a:cubicBezTo>
                  <a:pt x="246" y="95"/>
                  <a:pt x="243" y="94"/>
                  <a:pt x="242" y="92"/>
                </a:cubicBezTo>
                <a:cubicBezTo>
                  <a:pt x="241" y="92"/>
                  <a:pt x="239" y="90"/>
                  <a:pt x="236" y="90"/>
                </a:cubicBezTo>
                <a:cubicBezTo>
                  <a:pt x="235" y="90"/>
                  <a:pt x="234" y="90"/>
                  <a:pt x="234" y="90"/>
                </a:cubicBezTo>
                <a:cubicBezTo>
                  <a:pt x="232" y="91"/>
                  <a:pt x="235" y="92"/>
                  <a:pt x="237" y="92"/>
                </a:cubicBezTo>
                <a:cubicBezTo>
                  <a:pt x="244" y="96"/>
                  <a:pt x="253" y="100"/>
                  <a:pt x="260" y="103"/>
                </a:cubicBezTo>
                <a:cubicBezTo>
                  <a:pt x="260" y="103"/>
                  <a:pt x="260" y="103"/>
                  <a:pt x="260" y="103"/>
                </a:cubicBezTo>
                <a:cubicBezTo>
                  <a:pt x="263" y="105"/>
                  <a:pt x="270" y="107"/>
                  <a:pt x="271" y="109"/>
                </a:cubicBezTo>
                <a:cubicBezTo>
                  <a:pt x="261" y="105"/>
                  <a:pt x="252" y="101"/>
                  <a:pt x="243" y="96"/>
                </a:cubicBezTo>
                <a:cubicBezTo>
                  <a:pt x="234" y="91"/>
                  <a:pt x="224" y="87"/>
                  <a:pt x="212" y="82"/>
                </a:cubicBezTo>
                <a:cubicBezTo>
                  <a:pt x="210" y="81"/>
                  <a:pt x="208" y="80"/>
                  <a:pt x="206" y="79"/>
                </a:cubicBezTo>
                <a:cubicBezTo>
                  <a:pt x="202" y="76"/>
                  <a:pt x="195" y="73"/>
                  <a:pt x="190" y="70"/>
                </a:cubicBezTo>
                <a:cubicBezTo>
                  <a:pt x="189" y="70"/>
                  <a:pt x="193" y="71"/>
                  <a:pt x="193" y="72"/>
                </a:cubicBezTo>
                <a:cubicBezTo>
                  <a:pt x="188" y="71"/>
                  <a:pt x="184" y="69"/>
                  <a:pt x="181" y="67"/>
                </a:cubicBezTo>
                <a:cubicBezTo>
                  <a:pt x="179" y="65"/>
                  <a:pt x="177" y="64"/>
                  <a:pt x="171" y="63"/>
                </a:cubicBezTo>
                <a:cubicBezTo>
                  <a:pt x="166" y="62"/>
                  <a:pt x="165" y="60"/>
                  <a:pt x="162" y="59"/>
                </a:cubicBezTo>
                <a:cubicBezTo>
                  <a:pt x="162" y="59"/>
                  <a:pt x="162" y="59"/>
                  <a:pt x="162" y="59"/>
                </a:cubicBezTo>
                <a:cubicBezTo>
                  <a:pt x="157" y="57"/>
                  <a:pt x="153" y="54"/>
                  <a:pt x="149" y="52"/>
                </a:cubicBezTo>
                <a:cubicBezTo>
                  <a:pt x="152" y="53"/>
                  <a:pt x="153" y="54"/>
                  <a:pt x="155" y="55"/>
                </a:cubicBezTo>
                <a:cubicBezTo>
                  <a:pt x="156" y="55"/>
                  <a:pt x="158" y="56"/>
                  <a:pt x="161" y="57"/>
                </a:cubicBezTo>
                <a:cubicBezTo>
                  <a:pt x="160" y="56"/>
                  <a:pt x="159" y="55"/>
                  <a:pt x="156" y="55"/>
                </a:cubicBezTo>
                <a:cubicBezTo>
                  <a:pt x="153" y="53"/>
                  <a:pt x="151" y="52"/>
                  <a:pt x="148" y="50"/>
                </a:cubicBezTo>
                <a:cubicBezTo>
                  <a:pt x="146" y="49"/>
                  <a:pt x="145" y="49"/>
                  <a:pt x="143" y="48"/>
                </a:cubicBezTo>
                <a:cubicBezTo>
                  <a:pt x="143" y="48"/>
                  <a:pt x="142" y="48"/>
                  <a:pt x="142" y="48"/>
                </a:cubicBezTo>
                <a:cubicBezTo>
                  <a:pt x="144" y="49"/>
                  <a:pt x="145" y="49"/>
                  <a:pt x="146" y="50"/>
                </a:cubicBezTo>
                <a:cubicBezTo>
                  <a:pt x="146" y="50"/>
                  <a:pt x="145" y="50"/>
                  <a:pt x="145" y="50"/>
                </a:cubicBezTo>
                <a:cubicBezTo>
                  <a:pt x="140" y="47"/>
                  <a:pt x="132" y="44"/>
                  <a:pt x="129" y="41"/>
                </a:cubicBezTo>
                <a:cubicBezTo>
                  <a:pt x="126" y="40"/>
                  <a:pt x="124" y="39"/>
                  <a:pt x="121" y="38"/>
                </a:cubicBezTo>
                <a:cubicBezTo>
                  <a:pt x="121" y="37"/>
                  <a:pt x="120" y="36"/>
                  <a:pt x="116" y="34"/>
                </a:cubicBezTo>
                <a:cubicBezTo>
                  <a:pt x="113" y="32"/>
                  <a:pt x="106" y="30"/>
                  <a:pt x="100" y="28"/>
                </a:cubicBezTo>
                <a:cubicBezTo>
                  <a:pt x="100" y="28"/>
                  <a:pt x="100" y="28"/>
                  <a:pt x="99" y="28"/>
                </a:cubicBezTo>
                <a:cubicBezTo>
                  <a:pt x="98" y="27"/>
                  <a:pt x="96" y="26"/>
                  <a:pt x="94" y="25"/>
                </a:cubicBezTo>
                <a:cubicBezTo>
                  <a:pt x="92" y="24"/>
                  <a:pt x="94" y="24"/>
                  <a:pt x="96" y="25"/>
                </a:cubicBezTo>
                <a:cubicBezTo>
                  <a:pt x="97" y="25"/>
                  <a:pt x="98" y="26"/>
                  <a:pt x="101" y="27"/>
                </a:cubicBezTo>
                <a:cubicBezTo>
                  <a:pt x="100" y="26"/>
                  <a:pt x="98" y="25"/>
                  <a:pt x="97" y="25"/>
                </a:cubicBezTo>
                <a:cubicBezTo>
                  <a:pt x="96" y="24"/>
                  <a:pt x="95" y="24"/>
                  <a:pt x="94" y="24"/>
                </a:cubicBezTo>
                <a:cubicBezTo>
                  <a:pt x="90" y="21"/>
                  <a:pt x="83" y="17"/>
                  <a:pt x="77" y="14"/>
                </a:cubicBezTo>
                <a:cubicBezTo>
                  <a:pt x="75" y="13"/>
                  <a:pt x="74" y="12"/>
                  <a:pt x="69" y="11"/>
                </a:cubicBezTo>
                <a:cubicBezTo>
                  <a:pt x="70" y="12"/>
                  <a:pt x="73" y="13"/>
                  <a:pt x="76" y="14"/>
                </a:cubicBezTo>
                <a:cubicBezTo>
                  <a:pt x="79" y="16"/>
                  <a:pt x="83" y="18"/>
                  <a:pt x="87" y="20"/>
                </a:cubicBezTo>
                <a:cubicBezTo>
                  <a:pt x="85" y="21"/>
                  <a:pt x="90" y="24"/>
                  <a:pt x="92" y="25"/>
                </a:cubicBezTo>
                <a:cubicBezTo>
                  <a:pt x="93" y="27"/>
                  <a:pt x="96" y="28"/>
                  <a:pt x="98" y="29"/>
                </a:cubicBezTo>
                <a:cubicBezTo>
                  <a:pt x="98" y="30"/>
                  <a:pt x="101" y="31"/>
                  <a:pt x="103" y="31"/>
                </a:cubicBezTo>
                <a:cubicBezTo>
                  <a:pt x="108" y="33"/>
                  <a:pt x="113" y="35"/>
                  <a:pt x="110" y="36"/>
                </a:cubicBezTo>
                <a:cubicBezTo>
                  <a:pt x="109" y="37"/>
                  <a:pt x="111" y="38"/>
                  <a:pt x="115" y="39"/>
                </a:cubicBezTo>
                <a:cubicBezTo>
                  <a:pt x="117" y="40"/>
                  <a:pt x="119" y="41"/>
                  <a:pt x="121" y="42"/>
                </a:cubicBezTo>
                <a:cubicBezTo>
                  <a:pt x="122" y="42"/>
                  <a:pt x="124" y="43"/>
                  <a:pt x="125" y="44"/>
                </a:cubicBezTo>
                <a:cubicBezTo>
                  <a:pt x="125" y="44"/>
                  <a:pt x="126" y="45"/>
                  <a:pt x="128" y="46"/>
                </a:cubicBezTo>
                <a:cubicBezTo>
                  <a:pt x="129" y="46"/>
                  <a:pt x="128" y="45"/>
                  <a:pt x="127" y="44"/>
                </a:cubicBezTo>
                <a:cubicBezTo>
                  <a:pt x="126" y="43"/>
                  <a:pt x="125" y="42"/>
                  <a:pt x="123" y="42"/>
                </a:cubicBezTo>
                <a:cubicBezTo>
                  <a:pt x="121" y="40"/>
                  <a:pt x="121" y="40"/>
                  <a:pt x="123" y="40"/>
                </a:cubicBezTo>
                <a:cubicBezTo>
                  <a:pt x="125" y="40"/>
                  <a:pt x="125" y="41"/>
                  <a:pt x="126" y="41"/>
                </a:cubicBezTo>
                <a:cubicBezTo>
                  <a:pt x="134" y="46"/>
                  <a:pt x="143" y="50"/>
                  <a:pt x="151" y="55"/>
                </a:cubicBezTo>
                <a:cubicBezTo>
                  <a:pt x="149" y="54"/>
                  <a:pt x="146" y="53"/>
                  <a:pt x="145" y="53"/>
                </a:cubicBezTo>
                <a:cubicBezTo>
                  <a:pt x="140" y="50"/>
                  <a:pt x="135" y="49"/>
                  <a:pt x="129" y="49"/>
                </a:cubicBezTo>
                <a:cubicBezTo>
                  <a:pt x="129" y="49"/>
                  <a:pt x="130" y="48"/>
                  <a:pt x="129" y="48"/>
                </a:cubicBezTo>
                <a:cubicBezTo>
                  <a:pt x="129" y="48"/>
                  <a:pt x="128" y="47"/>
                  <a:pt x="127" y="47"/>
                </a:cubicBezTo>
                <a:cubicBezTo>
                  <a:pt x="127" y="48"/>
                  <a:pt x="126" y="48"/>
                  <a:pt x="128" y="49"/>
                </a:cubicBezTo>
                <a:cubicBezTo>
                  <a:pt x="129" y="50"/>
                  <a:pt x="122" y="48"/>
                  <a:pt x="126" y="50"/>
                </a:cubicBezTo>
                <a:cubicBezTo>
                  <a:pt x="128" y="51"/>
                  <a:pt x="132" y="52"/>
                  <a:pt x="132" y="51"/>
                </a:cubicBezTo>
                <a:cubicBezTo>
                  <a:pt x="136" y="49"/>
                  <a:pt x="139" y="52"/>
                  <a:pt x="143" y="53"/>
                </a:cubicBezTo>
                <a:cubicBezTo>
                  <a:pt x="144" y="54"/>
                  <a:pt x="146" y="55"/>
                  <a:pt x="147" y="56"/>
                </a:cubicBezTo>
                <a:cubicBezTo>
                  <a:pt x="151" y="58"/>
                  <a:pt x="154" y="57"/>
                  <a:pt x="157" y="58"/>
                </a:cubicBezTo>
                <a:cubicBezTo>
                  <a:pt x="157" y="58"/>
                  <a:pt x="157" y="58"/>
                  <a:pt x="157" y="58"/>
                </a:cubicBezTo>
                <a:cubicBezTo>
                  <a:pt x="158" y="58"/>
                  <a:pt x="158" y="58"/>
                  <a:pt x="158" y="58"/>
                </a:cubicBezTo>
                <a:cubicBezTo>
                  <a:pt x="161" y="60"/>
                  <a:pt x="157" y="60"/>
                  <a:pt x="159" y="62"/>
                </a:cubicBezTo>
                <a:cubicBezTo>
                  <a:pt x="162" y="64"/>
                  <a:pt x="169" y="67"/>
                  <a:pt x="173" y="70"/>
                </a:cubicBezTo>
                <a:cubicBezTo>
                  <a:pt x="175" y="70"/>
                  <a:pt x="176" y="71"/>
                  <a:pt x="177" y="72"/>
                </a:cubicBezTo>
                <a:cubicBezTo>
                  <a:pt x="183" y="74"/>
                  <a:pt x="185" y="76"/>
                  <a:pt x="188" y="78"/>
                </a:cubicBezTo>
                <a:cubicBezTo>
                  <a:pt x="194" y="80"/>
                  <a:pt x="196" y="82"/>
                  <a:pt x="202" y="85"/>
                </a:cubicBezTo>
                <a:cubicBezTo>
                  <a:pt x="204" y="86"/>
                  <a:pt x="207" y="87"/>
                  <a:pt x="209" y="89"/>
                </a:cubicBezTo>
                <a:cubicBezTo>
                  <a:pt x="215" y="92"/>
                  <a:pt x="222" y="95"/>
                  <a:pt x="228" y="98"/>
                </a:cubicBezTo>
                <a:cubicBezTo>
                  <a:pt x="229" y="99"/>
                  <a:pt x="231" y="100"/>
                  <a:pt x="232" y="100"/>
                </a:cubicBezTo>
                <a:cubicBezTo>
                  <a:pt x="231" y="100"/>
                  <a:pt x="230" y="100"/>
                  <a:pt x="229" y="100"/>
                </a:cubicBezTo>
                <a:cubicBezTo>
                  <a:pt x="224" y="97"/>
                  <a:pt x="219" y="95"/>
                  <a:pt x="213" y="93"/>
                </a:cubicBezTo>
                <a:cubicBezTo>
                  <a:pt x="214" y="93"/>
                  <a:pt x="214" y="93"/>
                  <a:pt x="214" y="94"/>
                </a:cubicBezTo>
                <a:cubicBezTo>
                  <a:pt x="214" y="93"/>
                  <a:pt x="213" y="93"/>
                  <a:pt x="213" y="93"/>
                </a:cubicBezTo>
                <a:cubicBezTo>
                  <a:pt x="207" y="89"/>
                  <a:pt x="200" y="86"/>
                  <a:pt x="194" y="83"/>
                </a:cubicBezTo>
                <a:cubicBezTo>
                  <a:pt x="188" y="80"/>
                  <a:pt x="181" y="77"/>
                  <a:pt x="175" y="74"/>
                </a:cubicBezTo>
                <a:cubicBezTo>
                  <a:pt x="165" y="70"/>
                  <a:pt x="155" y="65"/>
                  <a:pt x="146" y="60"/>
                </a:cubicBezTo>
                <a:cubicBezTo>
                  <a:pt x="144" y="59"/>
                  <a:pt x="141" y="58"/>
                  <a:pt x="138" y="57"/>
                </a:cubicBezTo>
                <a:cubicBezTo>
                  <a:pt x="133" y="53"/>
                  <a:pt x="124" y="50"/>
                  <a:pt x="118" y="46"/>
                </a:cubicBezTo>
                <a:cubicBezTo>
                  <a:pt x="118" y="45"/>
                  <a:pt x="113" y="44"/>
                  <a:pt x="110" y="42"/>
                </a:cubicBezTo>
                <a:cubicBezTo>
                  <a:pt x="109" y="43"/>
                  <a:pt x="114" y="45"/>
                  <a:pt x="116" y="46"/>
                </a:cubicBezTo>
                <a:cubicBezTo>
                  <a:pt x="116" y="46"/>
                  <a:pt x="116" y="46"/>
                  <a:pt x="116" y="46"/>
                </a:cubicBezTo>
                <a:cubicBezTo>
                  <a:pt x="115" y="47"/>
                  <a:pt x="113" y="47"/>
                  <a:pt x="106" y="45"/>
                </a:cubicBezTo>
                <a:cubicBezTo>
                  <a:pt x="108" y="46"/>
                  <a:pt x="108" y="48"/>
                  <a:pt x="112" y="49"/>
                </a:cubicBezTo>
                <a:cubicBezTo>
                  <a:pt x="114" y="49"/>
                  <a:pt x="111" y="47"/>
                  <a:pt x="116" y="49"/>
                </a:cubicBezTo>
                <a:cubicBezTo>
                  <a:pt x="120" y="50"/>
                  <a:pt x="119" y="51"/>
                  <a:pt x="122" y="52"/>
                </a:cubicBezTo>
                <a:cubicBezTo>
                  <a:pt x="122" y="54"/>
                  <a:pt x="117" y="53"/>
                  <a:pt x="117" y="53"/>
                </a:cubicBezTo>
                <a:cubicBezTo>
                  <a:pt x="108" y="51"/>
                  <a:pt x="117" y="54"/>
                  <a:pt x="116" y="54"/>
                </a:cubicBezTo>
                <a:cubicBezTo>
                  <a:pt x="117" y="54"/>
                  <a:pt x="116" y="54"/>
                  <a:pt x="115" y="55"/>
                </a:cubicBezTo>
                <a:cubicBezTo>
                  <a:pt x="115" y="55"/>
                  <a:pt x="114" y="55"/>
                  <a:pt x="113" y="55"/>
                </a:cubicBezTo>
                <a:cubicBezTo>
                  <a:pt x="112" y="54"/>
                  <a:pt x="110" y="53"/>
                  <a:pt x="108" y="52"/>
                </a:cubicBezTo>
                <a:cubicBezTo>
                  <a:pt x="106" y="51"/>
                  <a:pt x="104" y="50"/>
                  <a:pt x="102" y="49"/>
                </a:cubicBezTo>
                <a:cubicBezTo>
                  <a:pt x="98" y="46"/>
                  <a:pt x="90" y="43"/>
                  <a:pt x="82" y="39"/>
                </a:cubicBezTo>
                <a:cubicBezTo>
                  <a:pt x="89" y="43"/>
                  <a:pt x="93" y="46"/>
                  <a:pt x="101" y="49"/>
                </a:cubicBezTo>
                <a:cubicBezTo>
                  <a:pt x="103" y="50"/>
                  <a:pt x="105" y="51"/>
                  <a:pt x="108" y="52"/>
                </a:cubicBezTo>
                <a:cubicBezTo>
                  <a:pt x="109" y="54"/>
                  <a:pt x="111" y="55"/>
                  <a:pt x="113" y="56"/>
                </a:cubicBezTo>
                <a:cubicBezTo>
                  <a:pt x="111" y="56"/>
                  <a:pt x="113" y="57"/>
                  <a:pt x="112" y="57"/>
                </a:cubicBezTo>
                <a:cubicBezTo>
                  <a:pt x="108" y="57"/>
                  <a:pt x="106" y="56"/>
                  <a:pt x="104" y="55"/>
                </a:cubicBezTo>
                <a:cubicBezTo>
                  <a:pt x="93" y="49"/>
                  <a:pt x="82" y="42"/>
                  <a:pt x="71" y="36"/>
                </a:cubicBezTo>
                <a:cubicBezTo>
                  <a:pt x="70" y="36"/>
                  <a:pt x="69" y="35"/>
                  <a:pt x="67" y="35"/>
                </a:cubicBezTo>
                <a:cubicBezTo>
                  <a:pt x="66" y="33"/>
                  <a:pt x="63" y="32"/>
                  <a:pt x="60" y="31"/>
                </a:cubicBezTo>
                <a:cubicBezTo>
                  <a:pt x="60" y="30"/>
                  <a:pt x="60" y="30"/>
                  <a:pt x="60" y="30"/>
                </a:cubicBezTo>
                <a:cubicBezTo>
                  <a:pt x="60" y="30"/>
                  <a:pt x="59" y="30"/>
                  <a:pt x="59" y="29"/>
                </a:cubicBezTo>
                <a:cubicBezTo>
                  <a:pt x="57" y="28"/>
                  <a:pt x="55" y="27"/>
                  <a:pt x="52" y="25"/>
                </a:cubicBezTo>
                <a:cubicBezTo>
                  <a:pt x="51" y="24"/>
                  <a:pt x="51" y="23"/>
                  <a:pt x="44" y="20"/>
                </a:cubicBezTo>
                <a:cubicBezTo>
                  <a:pt x="37" y="18"/>
                  <a:pt x="34" y="15"/>
                  <a:pt x="35" y="13"/>
                </a:cubicBezTo>
                <a:cubicBezTo>
                  <a:pt x="35" y="12"/>
                  <a:pt x="37" y="12"/>
                  <a:pt x="36" y="11"/>
                </a:cubicBezTo>
                <a:cubicBezTo>
                  <a:pt x="33" y="11"/>
                  <a:pt x="30" y="10"/>
                  <a:pt x="27" y="10"/>
                </a:cubicBezTo>
                <a:cubicBezTo>
                  <a:pt x="25" y="9"/>
                  <a:pt x="24" y="8"/>
                  <a:pt x="23" y="8"/>
                </a:cubicBezTo>
                <a:cubicBezTo>
                  <a:pt x="23" y="7"/>
                  <a:pt x="22" y="7"/>
                  <a:pt x="22" y="7"/>
                </a:cubicBezTo>
                <a:cubicBezTo>
                  <a:pt x="19" y="5"/>
                  <a:pt x="17" y="4"/>
                  <a:pt x="14" y="2"/>
                </a:cubicBezTo>
                <a:cubicBezTo>
                  <a:pt x="13" y="2"/>
                  <a:pt x="12" y="1"/>
                  <a:pt x="9" y="0"/>
                </a:cubicBezTo>
                <a:cubicBezTo>
                  <a:pt x="9" y="1"/>
                  <a:pt x="11" y="2"/>
                  <a:pt x="13" y="2"/>
                </a:cubicBezTo>
                <a:cubicBezTo>
                  <a:pt x="13" y="3"/>
                  <a:pt x="13" y="3"/>
                  <a:pt x="13" y="3"/>
                </a:cubicBezTo>
                <a:cubicBezTo>
                  <a:pt x="13" y="3"/>
                  <a:pt x="12" y="3"/>
                  <a:pt x="12" y="3"/>
                </a:cubicBezTo>
                <a:cubicBezTo>
                  <a:pt x="11" y="3"/>
                  <a:pt x="11" y="3"/>
                  <a:pt x="11" y="3"/>
                </a:cubicBezTo>
                <a:cubicBezTo>
                  <a:pt x="9" y="2"/>
                  <a:pt x="9" y="1"/>
                  <a:pt x="5" y="0"/>
                </a:cubicBezTo>
                <a:cubicBezTo>
                  <a:pt x="5" y="0"/>
                  <a:pt x="7" y="1"/>
                  <a:pt x="10" y="3"/>
                </a:cubicBezTo>
                <a:cubicBezTo>
                  <a:pt x="11" y="3"/>
                  <a:pt x="12" y="4"/>
                  <a:pt x="14" y="5"/>
                </a:cubicBezTo>
                <a:cubicBezTo>
                  <a:pt x="13" y="5"/>
                  <a:pt x="16" y="6"/>
                  <a:pt x="17" y="7"/>
                </a:cubicBezTo>
                <a:cubicBezTo>
                  <a:pt x="17" y="7"/>
                  <a:pt x="17" y="8"/>
                  <a:pt x="18" y="8"/>
                </a:cubicBezTo>
                <a:cubicBezTo>
                  <a:pt x="21" y="9"/>
                  <a:pt x="22" y="11"/>
                  <a:pt x="25" y="12"/>
                </a:cubicBezTo>
                <a:cubicBezTo>
                  <a:pt x="25" y="13"/>
                  <a:pt x="28" y="14"/>
                  <a:pt x="30" y="15"/>
                </a:cubicBezTo>
                <a:cubicBezTo>
                  <a:pt x="31" y="16"/>
                  <a:pt x="33" y="17"/>
                  <a:pt x="33" y="18"/>
                </a:cubicBezTo>
                <a:cubicBezTo>
                  <a:pt x="33" y="18"/>
                  <a:pt x="33" y="18"/>
                  <a:pt x="33" y="18"/>
                </a:cubicBezTo>
                <a:cubicBezTo>
                  <a:pt x="32" y="18"/>
                  <a:pt x="31" y="18"/>
                  <a:pt x="32" y="18"/>
                </a:cubicBezTo>
                <a:cubicBezTo>
                  <a:pt x="33" y="19"/>
                  <a:pt x="35" y="19"/>
                  <a:pt x="36" y="19"/>
                </a:cubicBezTo>
                <a:cubicBezTo>
                  <a:pt x="42" y="22"/>
                  <a:pt x="41" y="23"/>
                  <a:pt x="46" y="26"/>
                </a:cubicBezTo>
                <a:cubicBezTo>
                  <a:pt x="47" y="27"/>
                  <a:pt x="51" y="28"/>
                  <a:pt x="51" y="29"/>
                </a:cubicBezTo>
                <a:cubicBezTo>
                  <a:pt x="42" y="25"/>
                  <a:pt x="34" y="21"/>
                  <a:pt x="28" y="18"/>
                </a:cubicBezTo>
                <a:cubicBezTo>
                  <a:pt x="28" y="17"/>
                  <a:pt x="28" y="17"/>
                  <a:pt x="26" y="16"/>
                </a:cubicBezTo>
                <a:cubicBezTo>
                  <a:pt x="24" y="15"/>
                  <a:pt x="22" y="14"/>
                  <a:pt x="19" y="13"/>
                </a:cubicBezTo>
                <a:cubicBezTo>
                  <a:pt x="20" y="14"/>
                  <a:pt x="21" y="15"/>
                  <a:pt x="23" y="16"/>
                </a:cubicBezTo>
                <a:cubicBezTo>
                  <a:pt x="24" y="16"/>
                  <a:pt x="25" y="17"/>
                  <a:pt x="26" y="17"/>
                </a:cubicBezTo>
                <a:cubicBezTo>
                  <a:pt x="26" y="18"/>
                  <a:pt x="29" y="19"/>
                  <a:pt x="29" y="20"/>
                </a:cubicBezTo>
                <a:cubicBezTo>
                  <a:pt x="28" y="19"/>
                  <a:pt x="27" y="19"/>
                  <a:pt x="25" y="18"/>
                </a:cubicBezTo>
                <a:cubicBezTo>
                  <a:pt x="23" y="18"/>
                  <a:pt x="25" y="19"/>
                  <a:pt x="26" y="20"/>
                </a:cubicBezTo>
                <a:cubicBezTo>
                  <a:pt x="28" y="21"/>
                  <a:pt x="31" y="22"/>
                  <a:pt x="35" y="23"/>
                </a:cubicBezTo>
                <a:cubicBezTo>
                  <a:pt x="37" y="25"/>
                  <a:pt x="41" y="28"/>
                  <a:pt x="46" y="30"/>
                </a:cubicBezTo>
                <a:cubicBezTo>
                  <a:pt x="50" y="32"/>
                  <a:pt x="43" y="31"/>
                  <a:pt x="43" y="33"/>
                </a:cubicBezTo>
                <a:cubicBezTo>
                  <a:pt x="42" y="33"/>
                  <a:pt x="41" y="33"/>
                  <a:pt x="39" y="32"/>
                </a:cubicBezTo>
                <a:cubicBezTo>
                  <a:pt x="35" y="30"/>
                  <a:pt x="31" y="28"/>
                  <a:pt x="29" y="26"/>
                </a:cubicBezTo>
                <a:cubicBezTo>
                  <a:pt x="31" y="25"/>
                  <a:pt x="33" y="27"/>
                  <a:pt x="35" y="27"/>
                </a:cubicBezTo>
                <a:cubicBezTo>
                  <a:pt x="33" y="26"/>
                  <a:pt x="32" y="24"/>
                  <a:pt x="28" y="24"/>
                </a:cubicBezTo>
                <a:cubicBezTo>
                  <a:pt x="25" y="23"/>
                  <a:pt x="28" y="25"/>
                  <a:pt x="27" y="25"/>
                </a:cubicBezTo>
                <a:cubicBezTo>
                  <a:pt x="22" y="24"/>
                  <a:pt x="22" y="25"/>
                  <a:pt x="24" y="26"/>
                </a:cubicBezTo>
                <a:cubicBezTo>
                  <a:pt x="28" y="28"/>
                  <a:pt x="32" y="30"/>
                  <a:pt x="36" y="32"/>
                </a:cubicBezTo>
                <a:cubicBezTo>
                  <a:pt x="37" y="33"/>
                  <a:pt x="41" y="34"/>
                  <a:pt x="40" y="35"/>
                </a:cubicBezTo>
                <a:cubicBezTo>
                  <a:pt x="36" y="34"/>
                  <a:pt x="40" y="36"/>
                  <a:pt x="39" y="36"/>
                </a:cubicBezTo>
                <a:cubicBezTo>
                  <a:pt x="36" y="36"/>
                  <a:pt x="35" y="35"/>
                  <a:pt x="33" y="35"/>
                </a:cubicBezTo>
                <a:cubicBezTo>
                  <a:pt x="27" y="33"/>
                  <a:pt x="26" y="31"/>
                  <a:pt x="19" y="29"/>
                </a:cubicBezTo>
                <a:cubicBezTo>
                  <a:pt x="20" y="30"/>
                  <a:pt x="25" y="31"/>
                  <a:pt x="25" y="32"/>
                </a:cubicBezTo>
                <a:cubicBezTo>
                  <a:pt x="25" y="34"/>
                  <a:pt x="35" y="37"/>
                  <a:pt x="32" y="38"/>
                </a:cubicBezTo>
                <a:cubicBezTo>
                  <a:pt x="31" y="38"/>
                  <a:pt x="30" y="37"/>
                  <a:pt x="29" y="37"/>
                </a:cubicBezTo>
                <a:cubicBezTo>
                  <a:pt x="29" y="35"/>
                  <a:pt x="21" y="33"/>
                  <a:pt x="18" y="31"/>
                </a:cubicBezTo>
                <a:cubicBezTo>
                  <a:pt x="19" y="33"/>
                  <a:pt x="21" y="34"/>
                  <a:pt x="25" y="36"/>
                </a:cubicBezTo>
                <a:cubicBezTo>
                  <a:pt x="29" y="38"/>
                  <a:pt x="34" y="40"/>
                  <a:pt x="38" y="43"/>
                </a:cubicBezTo>
                <a:cubicBezTo>
                  <a:pt x="33" y="41"/>
                  <a:pt x="29" y="40"/>
                  <a:pt x="24" y="38"/>
                </a:cubicBezTo>
                <a:cubicBezTo>
                  <a:pt x="24" y="37"/>
                  <a:pt x="23" y="36"/>
                  <a:pt x="21" y="35"/>
                </a:cubicBezTo>
                <a:cubicBezTo>
                  <a:pt x="19" y="35"/>
                  <a:pt x="19" y="36"/>
                  <a:pt x="21" y="37"/>
                </a:cubicBezTo>
                <a:cubicBezTo>
                  <a:pt x="22" y="38"/>
                  <a:pt x="22" y="38"/>
                  <a:pt x="22" y="38"/>
                </a:cubicBezTo>
                <a:cubicBezTo>
                  <a:pt x="28" y="44"/>
                  <a:pt x="35" y="49"/>
                  <a:pt x="44" y="55"/>
                </a:cubicBezTo>
                <a:cubicBezTo>
                  <a:pt x="43" y="55"/>
                  <a:pt x="43" y="55"/>
                  <a:pt x="42" y="54"/>
                </a:cubicBezTo>
                <a:cubicBezTo>
                  <a:pt x="34" y="50"/>
                  <a:pt x="25" y="45"/>
                  <a:pt x="17" y="40"/>
                </a:cubicBezTo>
                <a:cubicBezTo>
                  <a:pt x="12" y="37"/>
                  <a:pt x="6" y="34"/>
                  <a:pt x="0" y="31"/>
                </a:cubicBezTo>
                <a:cubicBezTo>
                  <a:pt x="0" y="84"/>
                  <a:pt x="0" y="84"/>
                  <a:pt x="0" y="84"/>
                </a:cubicBezTo>
                <a:cubicBezTo>
                  <a:pt x="0" y="84"/>
                  <a:pt x="1" y="85"/>
                  <a:pt x="1" y="85"/>
                </a:cubicBezTo>
                <a:cubicBezTo>
                  <a:pt x="2" y="86"/>
                  <a:pt x="3" y="86"/>
                  <a:pt x="4" y="87"/>
                </a:cubicBezTo>
                <a:cubicBezTo>
                  <a:pt x="4" y="87"/>
                  <a:pt x="5" y="88"/>
                  <a:pt x="6" y="88"/>
                </a:cubicBezTo>
                <a:cubicBezTo>
                  <a:pt x="4" y="88"/>
                  <a:pt x="2" y="88"/>
                  <a:pt x="0" y="88"/>
                </a:cubicBezTo>
                <a:cubicBezTo>
                  <a:pt x="0" y="107"/>
                  <a:pt x="0" y="107"/>
                  <a:pt x="0" y="107"/>
                </a:cubicBezTo>
                <a:cubicBezTo>
                  <a:pt x="0" y="107"/>
                  <a:pt x="0" y="107"/>
                  <a:pt x="1" y="107"/>
                </a:cubicBezTo>
                <a:cubicBezTo>
                  <a:pt x="1" y="108"/>
                  <a:pt x="1" y="108"/>
                  <a:pt x="2" y="109"/>
                </a:cubicBezTo>
                <a:cubicBezTo>
                  <a:pt x="1" y="109"/>
                  <a:pt x="1" y="109"/>
                  <a:pt x="0" y="109"/>
                </a:cubicBezTo>
                <a:cubicBezTo>
                  <a:pt x="0" y="109"/>
                  <a:pt x="0" y="109"/>
                  <a:pt x="0" y="108"/>
                </a:cubicBezTo>
                <a:cubicBezTo>
                  <a:pt x="0" y="126"/>
                  <a:pt x="0" y="126"/>
                  <a:pt x="0" y="126"/>
                </a:cubicBezTo>
                <a:cubicBezTo>
                  <a:pt x="0" y="127"/>
                  <a:pt x="0" y="127"/>
                  <a:pt x="0" y="127"/>
                </a:cubicBezTo>
                <a:cubicBezTo>
                  <a:pt x="0" y="127"/>
                  <a:pt x="0" y="127"/>
                  <a:pt x="0" y="127"/>
                </a:cubicBezTo>
                <a:cubicBezTo>
                  <a:pt x="0" y="158"/>
                  <a:pt x="0" y="158"/>
                  <a:pt x="0" y="158"/>
                </a:cubicBezTo>
                <a:cubicBezTo>
                  <a:pt x="0" y="158"/>
                  <a:pt x="0" y="158"/>
                  <a:pt x="0" y="158"/>
                </a:cubicBezTo>
                <a:cubicBezTo>
                  <a:pt x="0" y="159"/>
                  <a:pt x="0" y="159"/>
                  <a:pt x="0" y="159"/>
                </a:cubicBezTo>
                <a:cubicBezTo>
                  <a:pt x="0" y="159"/>
                  <a:pt x="0" y="159"/>
                  <a:pt x="0" y="159"/>
                </a:cubicBezTo>
                <a:cubicBezTo>
                  <a:pt x="0" y="173"/>
                  <a:pt x="0" y="173"/>
                  <a:pt x="0" y="173"/>
                </a:cubicBezTo>
                <a:cubicBezTo>
                  <a:pt x="0" y="173"/>
                  <a:pt x="0" y="173"/>
                  <a:pt x="0" y="173"/>
                </a:cubicBezTo>
                <a:cubicBezTo>
                  <a:pt x="0" y="173"/>
                  <a:pt x="0" y="173"/>
                  <a:pt x="0" y="173"/>
                </a:cubicBezTo>
                <a:cubicBezTo>
                  <a:pt x="0" y="173"/>
                  <a:pt x="0" y="173"/>
                  <a:pt x="0" y="173"/>
                </a:cubicBezTo>
                <a:cubicBezTo>
                  <a:pt x="0" y="220"/>
                  <a:pt x="0" y="220"/>
                  <a:pt x="0" y="220"/>
                </a:cubicBezTo>
                <a:cubicBezTo>
                  <a:pt x="1" y="220"/>
                  <a:pt x="2" y="220"/>
                  <a:pt x="3" y="221"/>
                </a:cubicBezTo>
                <a:cubicBezTo>
                  <a:pt x="3" y="221"/>
                  <a:pt x="3" y="221"/>
                  <a:pt x="3" y="221"/>
                </a:cubicBezTo>
                <a:cubicBezTo>
                  <a:pt x="3" y="221"/>
                  <a:pt x="3" y="221"/>
                  <a:pt x="3" y="221"/>
                </a:cubicBezTo>
                <a:cubicBezTo>
                  <a:pt x="3" y="221"/>
                  <a:pt x="3" y="221"/>
                  <a:pt x="3" y="221"/>
                </a:cubicBezTo>
                <a:cubicBezTo>
                  <a:pt x="2" y="221"/>
                  <a:pt x="1" y="220"/>
                  <a:pt x="0" y="220"/>
                </a:cubicBezTo>
                <a:cubicBezTo>
                  <a:pt x="0" y="220"/>
                  <a:pt x="0" y="220"/>
                  <a:pt x="0" y="220"/>
                </a:cubicBezTo>
                <a:cubicBezTo>
                  <a:pt x="0" y="220"/>
                  <a:pt x="0" y="220"/>
                  <a:pt x="0" y="220"/>
                </a:cubicBezTo>
                <a:cubicBezTo>
                  <a:pt x="0" y="223"/>
                  <a:pt x="0" y="223"/>
                  <a:pt x="0" y="223"/>
                </a:cubicBezTo>
                <a:cubicBezTo>
                  <a:pt x="0" y="223"/>
                  <a:pt x="0" y="223"/>
                  <a:pt x="0" y="223"/>
                </a:cubicBezTo>
                <a:cubicBezTo>
                  <a:pt x="0" y="223"/>
                  <a:pt x="0" y="223"/>
                  <a:pt x="0" y="223"/>
                </a:cubicBezTo>
                <a:cubicBezTo>
                  <a:pt x="0" y="223"/>
                  <a:pt x="0" y="223"/>
                  <a:pt x="0" y="223"/>
                </a:cubicBezTo>
                <a:cubicBezTo>
                  <a:pt x="0" y="229"/>
                  <a:pt x="0" y="229"/>
                  <a:pt x="0" y="229"/>
                </a:cubicBezTo>
                <a:cubicBezTo>
                  <a:pt x="13" y="229"/>
                  <a:pt x="13" y="229"/>
                  <a:pt x="13" y="229"/>
                </a:cubicBezTo>
                <a:cubicBezTo>
                  <a:pt x="18" y="231"/>
                  <a:pt x="23" y="234"/>
                  <a:pt x="28" y="236"/>
                </a:cubicBezTo>
                <a:cubicBezTo>
                  <a:pt x="42" y="243"/>
                  <a:pt x="57" y="249"/>
                  <a:pt x="70" y="256"/>
                </a:cubicBezTo>
                <a:cubicBezTo>
                  <a:pt x="70" y="256"/>
                  <a:pt x="70" y="256"/>
                  <a:pt x="70" y="256"/>
                </a:cubicBezTo>
                <a:cubicBezTo>
                  <a:pt x="72" y="257"/>
                  <a:pt x="73" y="258"/>
                  <a:pt x="76" y="258"/>
                </a:cubicBezTo>
                <a:cubicBezTo>
                  <a:pt x="78" y="259"/>
                  <a:pt x="79" y="260"/>
                  <a:pt x="81" y="261"/>
                </a:cubicBezTo>
                <a:cubicBezTo>
                  <a:pt x="80" y="260"/>
                  <a:pt x="77" y="259"/>
                  <a:pt x="77" y="258"/>
                </a:cubicBezTo>
                <a:cubicBezTo>
                  <a:pt x="76" y="258"/>
                  <a:pt x="75" y="257"/>
                  <a:pt x="75" y="257"/>
                </a:cubicBezTo>
                <a:cubicBezTo>
                  <a:pt x="74" y="256"/>
                  <a:pt x="72" y="256"/>
                  <a:pt x="72" y="255"/>
                </a:cubicBezTo>
                <a:cubicBezTo>
                  <a:pt x="74" y="255"/>
                  <a:pt x="70" y="254"/>
                  <a:pt x="71" y="254"/>
                </a:cubicBezTo>
                <a:cubicBezTo>
                  <a:pt x="72" y="254"/>
                  <a:pt x="73" y="254"/>
                  <a:pt x="73" y="254"/>
                </a:cubicBezTo>
                <a:cubicBezTo>
                  <a:pt x="73" y="254"/>
                  <a:pt x="71" y="253"/>
                  <a:pt x="70" y="253"/>
                </a:cubicBezTo>
                <a:cubicBezTo>
                  <a:pt x="69" y="252"/>
                  <a:pt x="67" y="252"/>
                  <a:pt x="67" y="251"/>
                </a:cubicBezTo>
                <a:cubicBezTo>
                  <a:pt x="68" y="252"/>
                  <a:pt x="70" y="252"/>
                  <a:pt x="71" y="253"/>
                </a:cubicBezTo>
                <a:cubicBezTo>
                  <a:pt x="72" y="253"/>
                  <a:pt x="72" y="253"/>
                  <a:pt x="72" y="253"/>
                </a:cubicBezTo>
                <a:cubicBezTo>
                  <a:pt x="70" y="252"/>
                  <a:pt x="69" y="251"/>
                  <a:pt x="67" y="251"/>
                </a:cubicBezTo>
                <a:cubicBezTo>
                  <a:pt x="66" y="250"/>
                  <a:pt x="65" y="249"/>
                  <a:pt x="63" y="249"/>
                </a:cubicBezTo>
                <a:cubicBezTo>
                  <a:pt x="63" y="248"/>
                  <a:pt x="64" y="248"/>
                  <a:pt x="64" y="248"/>
                </a:cubicBezTo>
                <a:cubicBezTo>
                  <a:pt x="66" y="249"/>
                  <a:pt x="68" y="250"/>
                  <a:pt x="70" y="251"/>
                </a:cubicBezTo>
                <a:cubicBezTo>
                  <a:pt x="74" y="253"/>
                  <a:pt x="79" y="255"/>
                  <a:pt x="84" y="258"/>
                </a:cubicBezTo>
                <a:cubicBezTo>
                  <a:pt x="84" y="258"/>
                  <a:pt x="85" y="258"/>
                  <a:pt x="85" y="258"/>
                </a:cubicBezTo>
                <a:cubicBezTo>
                  <a:pt x="86" y="259"/>
                  <a:pt x="88" y="259"/>
                  <a:pt x="89" y="260"/>
                </a:cubicBezTo>
                <a:cubicBezTo>
                  <a:pt x="90" y="260"/>
                  <a:pt x="91" y="261"/>
                  <a:pt x="93" y="261"/>
                </a:cubicBezTo>
                <a:cubicBezTo>
                  <a:pt x="95" y="262"/>
                  <a:pt x="96" y="263"/>
                  <a:pt x="99" y="264"/>
                </a:cubicBezTo>
                <a:cubicBezTo>
                  <a:pt x="99" y="263"/>
                  <a:pt x="97" y="262"/>
                  <a:pt x="94" y="261"/>
                </a:cubicBezTo>
                <a:cubicBezTo>
                  <a:pt x="90" y="258"/>
                  <a:pt x="86" y="257"/>
                  <a:pt x="82" y="256"/>
                </a:cubicBezTo>
                <a:cubicBezTo>
                  <a:pt x="77" y="254"/>
                  <a:pt x="73" y="252"/>
                  <a:pt x="68" y="250"/>
                </a:cubicBezTo>
                <a:cubicBezTo>
                  <a:pt x="65" y="248"/>
                  <a:pt x="61" y="247"/>
                  <a:pt x="58" y="245"/>
                </a:cubicBezTo>
                <a:cubicBezTo>
                  <a:pt x="56" y="244"/>
                  <a:pt x="54" y="243"/>
                  <a:pt x="52" y="242"/>
                </a:cubicBezTo>
                <a:cubicBezTo>
                  <a:pt x="51" y="241"/>
                  <a:pt x="49" y="240"/>
                  <a:pt x="48" y="240"/>
                </a:cubicBezTo>
                <a:cubicBezTo>
                  <a:pt x="50" y="240"/>
                  <a:pt x="51" y="241"/>
                  <a:pt x="53" y="242"/>
                </a:cubicBezTo>
                <a:cubicBezTo>
                  <a:pt x="53" y="242"/>
                  <a:pt x="54" y="242"/>
                  <a:pt x="55" y="242"/>
                </a:cubicBezTo>
                <a:cubicBezTo>
                  <a:pt x="55" y="242"/>
                  <a:pt x="55" y="242"/>
                  <a:pt x="55" y="242"/>
                </a:cubicBezTo>
                <a:cubicBezTo>
                  <a:pt x="55" y="242"/>
                  <a:pt x="53" y="241"/>
                  <a:pt x="51" y="240"/>
                </a:cubicBezTo>
                <a:cubicBezTo>
                  <a:pt x="51" y="240"/>
                  <a:pt x="50" y="240"/>
                  <a:pt x="50" y="239"/>
                </a:cubicBezTo>
                <a:cubicBezTo>
                  <a:pt x="48" y="239"/>
                  <a:pt x="47" y="238"/>
                  <a:pt x="46" y="237"/>
                </a:cubicBezTo>
                <a:cubicBezTo>
                  <a:pt x="44" y="237"/>
                  <a:pt x="43" y="237"/>
                  <a:pt x="41" y="236"/>
                </a:cubicBezTo>
                <a:cubicBezTo>
                  <a:pt x="41" y="236"/>
                  <a:pt x="41" y="235"/>
                  <a:pt x="41" y="235"/>
                </a:cubicBezTo>
                <a:cubicBezTo>
                  <a:pt x="39" y="234"/>
                  <a:pt x="38" y="233"/>
                  <a:pt x="35" y="233"/>
                </a:cubicBezTo>
                <a:cubicBezTo>
                  <a:pt x="33" y="232"/>
                  <a:pt x="31" y="230"/>
                  <a:pt x="28" y="229"/>
                </a:cubicBezTo>
                <a:cubicBezTo>
                  <a:pt x="28" y="229"/>
                  <a:pt x="28" y="229"/>
                  <a:pt x="28" y="229"/>
                </a:cubicBezTo>
                <a:cubicBezTo>
                  <a:pt x="33" y="229"/>
                  <a:pt x="33" y="229"/>
                  <a:pt x="33" y="229"/>
                </a:cubicBezTo>
                <a:cubicBezTo>
                  <a:pt x="41" y="233"/>
                  <a:pt x="49" y="236"/>
                  <a:pt x="57" y="240"/>
                </a:cubicBezTo>
                <a:cubicBezTo>
                  <a:pt x="58" y="240"/>
                  <a:pt x="59" y="240"/>
                  <a:pt x="60" y="241"/>
                </a:cubicBezTo>
                <a:cubicBezTo>
                  <a:pt x="63" y="242"/>
                  <a:pt x="66" y="244"/>
                  <a:pt x="69" y="245"/>
                </a:cubicBezTo>
                <a:cubicBezTo>
                  <a:pt x="70" y="246"/>
                  <a:pt x="71" y="246"/>
                  <a:pt x="71" y="246"/>
                </a:cubicBezTo>
                <a:cubicBezTo>
                  <a:pt x="72" y="246"/>
                  <a:pt x="73" y="246"/>
                  <a:pt x="74" y="246"/>
                </a:cubicBezTo>
                <a:cubicBezTo>
                  <a:pt x="87" y="252"/>
                  <a:pt x="98" y="259"/>
                  <a:pt x="112" y="265"/>
                </a:cubicBezTo>
                <a:cubicBezTo>
                  <a:pt x="112" y="266"/>
                  <a:pt x="114" y="267"/>
                  <a:pt x="116" y="268"/>
                </a:cubicBezTo>
                <a:cubicBezTo>
                  <a:pt x="117" y="268"/>
                  <a:pt x="117" y="269"/>
                  <a:pt x="121" y="269"/>
                </a:cubicBezTo>
                <a:cubicBezTo>
                  <a:pt x="122" y="269"/>
                  <a:pt x="124" y="270"/>
                  <a:pt x="125" y="271"/>
                </a:cubicBezTo>
                <a:cubicBezTo>
                  <a:pt x="130" y="273"/>
                  <a:pt x="133" y="275"/>
                  <a:pt x="139" y="277"/>
                </a:cubicBezTo>
                <a:cubicBezTo>
                  <a:pt x="137" y="276"/>
                  <a:pt x="133" y="274"/>
                  <a:pt x="133" y="273"/>
                </a:cubicBezTo>
                <a:cubicBezTo>
                  <a:pt x="143" y="277"/>
                  <a:pt x="152" y="281"/>
                  <a:pt x="160" y="286"/>
                </a:cubicBezTo>
                <a:cubicBezTo>
                  <a:pt x="162" y="287"/>
                  <a:pt x="164" y="288"/>
                  <a:pt x="168" y="289"/>
                </a:cubicBezTo>
                <a:cubicBezTo>
                  <a:pt x="168" y="289"/>
                  <a:pt x="169" y="290"/>
                  <a:pt x="169" y="290"/>
                </a:cubicBezTo>
                <a:cubicBezTo>
                  <a:pt x="171" y="291"/>
                  <a:pt x="176" y="293"/>
                  <a:pt x="178" y="295"/>
                </a:cubicBezTo>
                <a:cubicBezTo>
                  <a:pt x="179" y="295"/>
                  <a:pt x="179" y="295"/>
                  <a:pt x="179" y="295"/>
                </a:cubicBezTo>
                <a:cubicBezTo>
                  <a:pt x="179" y="295"/>
                  <a:pt x="179" y="295"/>
                  <a:pt x="179" y="295"/>
                </a:cubicBezTo>
                <a:cubicBezTo>
                  <a:pt x="179" y="295"/>
                  <a:pt x="179" y="295"/>
                  <a:pt x="178" y="295"/>
                </a:cubicBezTo>
                <a:cubicBezTo>
                  <a:pt x="181" y="297"/>
                  <a:pt x="186" y="299"/>
                  <a:pt x="190" y="301"/>
                </a:cubicBezTo>
                <a:cubicBezTo>
                  <a:pt x="195" y="303"/>
                  <a:pt x="200" y="306"/>
                  <a:pt x="202" y="308"/>
                </a:cubicBezTo>
                <a:cubicBezTo>
                  <a:pt x="203" y="309"/>
                  <a:pt x="204" y="309"/>
                  <a:pt x="204" y="309"/>
                </a:cubicBezTo>
                <a:cubicBezTo>
                  <a:pt x="208" y="311"/>
                  <a:pt x="214" y="314"/>
                  <a:pt x="218" y="316"/>
                </a:cubicBezTo>
                <a:cubicBezTo>
                  <a:pt x="219" y="317"/>
                  <a:pt x="221" y="318"/>
                  <a:pt x="224" y="318"/>
                </a:cubicBezTo>
                <a:cubicBezTo>
                  <a:pt x="225" y="318"/>
                  <a:pt x="226" y="319"/>
                  <a:pt x="228" y="320"/>
                </a:cubicBezTo>
                <a:cubicBezTo>
                  <a:pt x="228" y="320"/>
                  <a:pt x="229" y="320"/>
                  <a:pt x="229" y="320"/>
                </a:cubicBezTo>
                <a:cubicBezTo>
                  <a:pt x="229" y="320"/>
                  <a:pt x="229" y="320"/>
                  <a:pt x="229" y="320"/>
                </a:cubicBezTo>
                <a:cubicBezTo>
                  <a:pt x="226" y="317"/>
                  <a:pt x="221" y="315"/>
                  <a:pt x="216" y="313"/>
                </a:cubicBezTo>
                <a:cubicBezTo>
                  <a:pt x="214" y="312"/>
                  <a:pt x="211" y="311"/>
                  <a:pt x="211" y="310"/>
                </a:cubicBezTo>
                <a:cubicBezTo>
                  <a:pt x="204" y="309"/>
                  <a:pt x="209" y="308"/>
                  <a:pt x="204" y="306"/>
                </a:cubicBezTo>
                <a:cubicBezTo>
                  <a:pt x="204" y="306"/>
                  <a:pt x="204" y="306"/>
                  <a:pt x="204" y="306"/>
                </a:cubicBezTo>
                <a:cubicBezTo>
                  <a:pt x="203" y="305"/>
                  <a:pt x="203" y="304"/>
                  <a:pt x="200" y="303"/>
                </a:cubicBezTo>
                <a:cubicBezTo>
                  <a:pt x="197" y="302"/>
                  <a:pt x="193" y="300"/>
                  <a:pt x="191" y="299"/>
                </a:cubicBezTo>
                <a:cubicBezTo>
                  <a:pt x="189" y="297"/>
                  <a:pt x="188" y="298"/>
                  <a:pt x="186" y="298"/>
                </a:cubicBezTo>
                <a:cubicBezTo>
                  <a:pt x="186" y="297"/>
                  <a:pt x="188" y="297"/>
                  <a:pt x="185" y="296"/>
                </a:cubicBezTo>
                <a:cubicBezTo>
                  <a:pt x="185" y="295"/>
                  <a:pt x="181" y="294"/>
                  <a:pt x="181" y="293"/>
                </a:cubicBezTo>
                <a:cubicBezTo>
                  <a:pt x="181" y="293"/>
                  <a:pt x="182" y="293"/>
                  <a:pt x="182" y="293"/>
                </a:cubicBezTo>
                <a:cubicBezTo>
                  <a:pt x="184" y="293"/>
                  <a:pt x="183" y="293"/>
                  <a:pt x="183" y="292"/>
                </a:cubicBezTo>
                <a:cubicBezTo>
                  <a:pt x="187" y="293"/>
                  <a:pt x="190" y="295"/>
                  <a:pt x="190" y="295"/>
                </a:cubicBezTo>
                <a:cubicBezTo>
                  <a:pt x="190" y="297"/>
                  <a:pt x="192" y="297"/>
                  <a:pt x="196" y="298"/>
                </a:cubicBezTo>
                <a:cubicBezTo>
                  <a:pt x="198" y="299"/>
                  <a:pt x="200" y="300"/>
                  <a:pt x="201" y="301"/>
                </a:cubicBezTo>
                <a:cubicBezTo>
                  <a:pt x="202" y="301"/>
                  <a:pt x="204" y="302"/>
                  <a:pt x="206" y="302"/>
                </a:cubicBezTo>
                <a:cubicBezTo>
                  <a:pt x="206" y="303"/>
                  <a:pt x="206" y="303"/>
                  <a:pt x="207" y="303"/>
                </a:cubicBezTo>
                <a:cubicBezTo>
                  <a:pt x="210" y="304"/>
                  <a:pt x="214" y="306"/>
                  <a:pt x="218" y="308"/>
                </a:cubicBezTo>
                <a:cubicBezTo>
                  <a:pt x="218" y="308"/>
                  <a:pt x="218" y="308"/>
                  <a:pt x="218" y="308"/>
                </a:cubicBezTo>
                <a:cubicBezTo>
                  <a:pt x="218" y="308"/>
                  <a:pt x="218" y="308"/>
                  <a:pt x="218" y="308"/>
                </a:cubicBezTo>
                <a:cubicBezTo>
                  <a:pt x="218" y="308"/>
                  <a:pt x="218" y="308"/>
                  <a:pt x="218" y="308"/>
                </a:cubicBezTo>
                <a:cubicBezTo>
                  <a:pt x="220" y="309"/>
                  <a:pt x="223" y="310"/>
                  <a:pt x="225" y="311"/>
                </a:cubicBezTo>
                <a:cubicBezTo>
                  <a:pt x="229" y="312"/>
                  <a:pt x="232" y="314"/>
                  <a:pt x="236" y="316"/>
                </a:cubicBezTo>
                <a:cubicBezTo>
                  <a:pt x="235" y="314"/>
                  <a:pt x="225" y="311"/>
                  <a:pt x="227" y="310"/>
                </a:cubicBezTo>
                <a:cubicBezTo>
                  <a:pt x="228" y="310"/>
                  <a:pt x="228" y="309"/>
                  <a:pt x="228" y="309"/>
                </a:cubicBezTo>
                <a:cubicBezTo>
                  <a:pt x="228" y="309"/>
                  <a:pt x="228" y="308"/>
                  <a:pt x="227" y="308"/>
                </a:cubicBezTo>
                <a:cubicBezTo>
                  <a:pt x="225" y="308"/>
                  <a:pt x="223" y="307"/>
                  <a:pt x="220" y="306"/>
                </a:cubicBezTo>
                <a:cubicBezTo>
                  <a:pt x="220" y="306"/>
                  <a:pt x="219" y="305"/>
                  <a:pt x="218" y="305"/>
                </a:cubicBezTo>
                <a:cubicBezTo>
                  <a:pt x="217" y="305"/>
                  <a:pt x="216" y="304"/>
                  <a:pt x="216" y="304"/>
                </a:cubicBezTo>
                <a:cubicBezTo>
                  <a:pt x="210" y="301"/>
                  <a:pt x="206" y="298"/>
                  <a:pt x="202" y="296"/>
                </a:cubicBezTo>
                <a:cubicBezTo>
                  <a:pt x="204" y="296"/>
                  <a:pt x="206" y="297"/>
                  <a:pt x="208" y="298"/>
                </a:cubicBezTo>
                <a:cubicBezTo>
                  <a:pt x="208" y="297"/>
                  <a:pt x="204" y="296"/>
                  <a:pt x="203" y="295"/>
                </a:cubicBezTo>
                <a:cubicBezTo>
                  <a:pt x="203" y="295"/>
                  <a:pt x="203" y="295"/>
                  <a:pt x="204" y="295"/>
                </a:cubicBezTo>
                <a:cubicBezTo>
                  <a:pt x="204" y="295"/>
                  <a:pt x="204" y="295"/>
                  <a:pt x="204" y="295"/>
                </a:cubicBezTo>
                <a:cubicBezTo>
                  <a:pt x="204" y="295"/>
                  <a:pt x="204" y="294"/>
                  <a:pt x="205" y="295"/>
                </a:cubicBezTo>
                <a:cubicBezTo>
                  <a:pt x="208" y="296"/>
                  <a:pt x="209" y="296"/>
                  <a:pt x="210" y="296"/>
                </a:cubicBezTo>
                <a:cubicBezTo>
                  <a:pt x="211" y="295"/>
                  <a:pt x="209" y="295"/>
                  <a:pt x="208" y="294"/>
                </a:cubicBezTo>
                <a:cubicBezTo>
                  <a:pt x="205" y="293"/>
                  <a:pt x="202" y="292"/>
                  <a:pt x="201" y="291"/>
                </a:cubicBezTo>
                <a:cubicBezTo>
                  <a:pt x="199" y="289"/>
                  <a:pt x="197" y="289"/>
                  <a:pt x="195" y="289"/>
                </a:cubicBezTo>
                <a:cubicBezTo>
                  <a:pt x="193" y="288"/>
                  <a:pt x="191" y="287"/>
                  <a:pt x="187" y="285"/>
                </a:cubicBezTo>
                <a:cubicBezTo>
                  <a:pt x="189" y="287"/>
                  <a:pt x="191" y="288"/>
                  <a:pt x="195" y="289"/>
                </a:cubicBezTo>
                <a:cubicBezTo>
                  <a:pt x="197" y="290"/>
                  <a:pt x="199" y="291"/>
                  <a:pt x="201" y="292"/>
                </a:cubicBezTo>
                <a:cubicBezTo>
                  <a:pt x="203" y="293"/>
                  <a:pt x="203" y="294"/>
                  <a:pt x="201" y="294"/>
                </a:cubicBezTo>
                <a:cubicBezTo>
                  <a:pt x="199" y="293"/>
                  <a:pt x="196" y="291"/>
                  <a:pt x="195" y="293"/>
                </a:cubicBezTo>
                <a:cubicBezTo>
                  <a:pt x="195" y="292"/>
                  <a:pt x="194" y="292"/>
                  <a:pt x="193" y="292"/>
                </a:cubicBezTo>
                <a:cubicBezTo>
                  <a:pt x="193" y="291"/>
                  <a:pt x="191" y="290"/>
                  <a:pt x="189" y="290"/>
                </a:cubicBezTo>
                <a:cubicBezTo>
                  <a:pt x="184" y="287"/>
                  <a:pt x="178" y="284"/>
                  <a:pt x="172" y="281"/>
                </a:cubicBezTo>
                <a:cubicBezTo>
                  <a:pt x="169" y="279"/>
                  <a:pt x="167" y="277"/>
                  <a:pt x="162" y="275"/>
                </a:cubicBezTo>
                <a:cubicBezTo>
                  <a:pt x="160" y="273"/>
                  <a:pt x="154" y="271"/>
                  <a:pt x="152" y="269"/>
                </a:cubicBezTo>
                <a:cubicBezTo>
                  <a:pt x="151" y="269"/>
                  <a:pt x="149" y="268"/>
                  <a:pt x="148" y="267"/>
                </a:cubicBezTo>
                <a:cubicBezTo>
                  <a:pt x="147" y="266"/>
                  <a:pt x="146" y="266"/>
                  <a:pt x="146" y="265"/>
                </a:cubicBezTo>
                <a:cubicBezTo>
                  <a:pt x="145" y="265"/>
                  <a:pt x="145" y="264"/>
                  <a:pt x="144" y="264"/>
                </a:cubicBezTo>
                <a:cubicBezTo>
                  <a:pt x="146" y="265"/>
                  <a:pt x="148" y="266"/>
                  <a:pt x="150" y="267"/>
                </a:cubicBezTo>
                <a:cubicBezTo>
                  <a:pt x="152" y="267"/>
                  <a:pt x="152" y="268"/>
                  <a:pt x="154" y="268"/>
                </a:cubicBezTo>
                <a:cubicBezTo>
                  <a:pt x="155" y="269"/>
                  <a:pt x="157" y="269"/>
                  <a:pt x="158" y="270"/>
                </a:cubicBezTo>
                <a:cubicBezTo>
                  <a:pt x="158" y="269"/>
                  <a:pt x="158" y="269"/>
                  <a:pt x="159" y="269"/>
                </a:cubicBezTo>
                <a:cubicBezTo>
                  <a:pt x="162" y="270"/>
                  <a:pt x="164" y="272"/>
                  <a:pt x="168" y="273"/>
                </a:cubicBezTo>
                <a:cubicBezTo>
                  <a:pt x="170" y="274"/>
                  <a:pt x="172" y="275"/>
                  <a:pt x="173" y="276"/>
                </a:cubicBezTo>
                <a:cubicBezTo>
                  <a:pt x="173" y="276"/>
                  <a:pt x="172" y="276"/>
                  <a:pt x="173" y="277"/>
                </a:cubicBezTo>
                <a:cubicBezTo>
                  <a:pt x="175" y="277"/>
                  <a:pt x="175" y="277"/>
                  <a:pt x="176" y="277"/>
                </a:cubicBezTo>
                <a:cubicBezTo>
                  <a:pt x="177" y="277"/>
                  <a:pt x="178" y="278"/>
                  <a:pt x="180" y="279"/>
                </a:cubicBezTo>
                <a:cubicBezTo>
                  <a:pt x="180" y="279"/>
                  <a:pt x="180" y="279"/>
                  <a:pt x="180" y="279"/>
                </a:cubicBezTo>
                <a:cubicBezTo>
                  <a:pt x="186" y="283"/>
                  <a:pt x="196" y="287"/>
                  <a:pt x="204" y="291"/>
                </a:cubicBezTo>
                <a:cubicBezTo>
                  <a:pt x="208" y="293"/>
                  <a:pt x="212" y="296"/>
                  <a:pt x="216" y="298"/>
                </a:cubicBezTo>
                <a:cubicBezTo>
                  <a:pt x="218" y="299"/>
                  <a:pt x="221" y="301"/>
                  <a:pt x="224" y="302"/>
                </a:cubicBezTo>
                <a:cubicBezTo>
                  <a:pt x="225" y="303"/>
                  <a:pt x="225" y="304"/>
                  <a:pt x="228" y="304"/>
                </a:cubicBezTo>
                <a:cubicBezTo>
                  <a:pt x="233" y="305"/>
                  <a:pt x="230" y="303"/>
                  <a:pt x="230" y="303"/>
                </a:cubicBezTo>
                <a:cubicBezTo>
                  <a:pt x="231" y="303"/>
                  <a:pt x="232" y="304"/>
                  <a:pt x="234" y="304"/>
                </a:cubicBezTo>
                <a:cubicBezTo>
                  <a:pt x="232" y="303"/>
                  <a:pt x="229" y="301"/>
                  <a:pt x="226" y="299"/>
                </a:cubicBezTo>
                <a:cubicBezTo>
                  <a:pt x="227" y="299"/>
                  <a:pt x="228" y="299"/>
                  <a:pt x="226" y="298"/>
                </a:cubicBezTo>
                <a:cubicBezTo>
                  <a:pt x="223" y="297"/>
                  <a:pt x="221" y="296"/>
                  <a:pt x="217" y="294"/>
                </a:cubicBezTo>
                <a:cubicBezTo>
                  <a:pt x="217" y="294"/>
                  <a:pt x="217" y="294"/>
                  <a:pt x="217" y="294"/>
                </a:cubicBezTo>
                <a:cubicBezTo>
                  <a:pt x="217" y="294"/>
                  <a:pt x="217" y="294"/>
                  <a:pt x="217" y="294"/>
                </a:cubicBezTo>
                <a:cubicBezTo>
                  <a:pt x="217" y="294"/>
                  <a:pt x="217" y="294"/>
                  <a:pt x="217" y="294"/>
                </a:cubicBezTo>
                <a:cubicBezTo>
                  <a:pt x="217" y="294"/>
                  <a:pt x="220" y="294"/>
                  <a:pt x="215" y="293"/>
                </a:cubicBezTo>
                <a:cubicBezTo>
                  <a:pt x="214" y="292"/>
                  <a:pt x="212" y="291"/>
                  <a:pt x="214" y="291"/>
                </a:cubicBezTo>
                <a:cubicBezTo>
                  <a:pt x="214" y="291"/>
                  <a:pt x="214" y="291"/>
                  <a:pt x="214" y="291"/>
                </a:cubicBezTo>
                <a:cubicBezTo>
                  <a:pt x="214" y="291"/>
                  <a:pt x="214" y="291"/>
                  <a:pt x="214" y="291"/>
                </a:cubicBezTo>
                <a:cubicBezTo>
                  <a:pt x="214" y="291"/>
                  <a:pt x="214" y="291"/>
                  <a:pt x="214" y="291"/>
                </a:cubicBezTo>
                <a:cubicBezTo>
                  <a:pt x="219" y="293"/>
                  <a:pt x="223" y="296"/>
                  <a:pt x="230" y="298"/>
                </a:cubicBezTo>
                <a:cubicBezTo>
                  <a:pt x="231" y="299"/>
                  <a:pt x="232" y="299"/>
                  <a:pt x="233" y="300"/>
                </a:cubicBezTo>
                <a:cubicBezTo>
                  <a:pt x="236" y="300"/>
                  <a:pt x="232" y="299"/>
                  <a:pt x="232" y="299"/>
                </a:cubicBezTo>
                <a:cubicBezTo>
                  <a:pt x="233" y="299"/>
                  <a:pt x="234" y="298"/>
                  <a:pt x="235" y="298"/>
                </a:cubicBezTo>
                <a:cubicBezTo>
                  <a:pt x="239" y="300"/>
                  <a:pt x="241" y="301"/>
                  <a:pt x="244" y="303"/>
                </a:cubicBezTo>
                <a:cubicBezTo>
                  <a:pt x="246" y="304"/>
                  <a:pt x="248" y="305"/>
                  <a:pt x="250" y="305"/>
                </a:cubicBezTo>
                <a:cubicBezTo>
                  <a:pt x="253" y="306"/>
                  <a:pt x="247" y="304"/>
                  <a:pt x="246" y="303"/>
                </a:cubicBezTo>
                <a:cubicBezTo>
                  <a:pt x="246" y="303"/>
                  <a:pt x="246" y="303"/>
                  <a:pt x="246" y="302"/>
                </a:cubicBezTo>
                <a:cubicBezTo>
                  <a:pt x="246" y="302"/>
                  <a:pt x="246" y="302"/>
                  <a:pt x="246" y="302"/>
                </a:cubicBezTo>
                <a:cubicBezTo>
                  <a:pt x="247" y="302"/>
                  <a:pt x="247" y="302"/>
                  <a:pt x="248" y="302"/>
                </a:cubicBezTo>
                <a:cubicBezTo>
                  <a:pt x="245" y="301"/>
                  <a:pt x="240" y="299"/>
                  <a:pt x="238" y="298"/>
                </a:cubicBezTo>
                <a:cubicBezTo>
                  <a:pt x="237" y="297"/>
                  <a:pt x="237" y="297"/>
                  <a:pt x="236" y="296"/>
                </a:cubicBezTo>
                <a:cubicBezTo>
                  <a:pt x="236" y="296"/>
                  <a:pt x="237" y="296"/>
                  <a:pt x="238" y="296"/>
                </a:cubicBezTo>
                <a:cubicBezTo>
                  <a:pt x="238" y="296"/>
                  <a:pt x="238" y="296"/>
                  <a:pt x="237" y="295"/>
                </a:cubicBezTo>
                <a:cubicBezTo>
                  <a:pt x="231" y="292"/>
                  <a:pt x="231" y="292"/>
                  <a:pt x="237" y="292"/>
                </a:cubicBezTo>
                <a:cubicBezTo>
                  <a:pt x="239" y="292"/>
                  <a:pt x="239" y="293"/>
                  <a:pt x="242" y="293"/>
                </a:cubicBezTo>
                <a:cubicBezTo>
                  <a:pt x="244" y="293"/>
                  <a:pt x="241" y="292"/>
                  <a:pt x="240" y="292"/>
                </a:cubicBezTo>
                <a:cubicBezTo>
                  <a:pt x="239" y="291"/>
                  <a:pt x="239" y="290"/>
                  <a:pt x="241" y="291"/>
                </a:cubicBezTo>
                <a:cubicBezTo>
                  <a:pt x="247" y="293"/>
                  <a:pt x="253" y="294"/>
                  <a:pt x="258" y="297"/>
                </a:cubicBezTo>
                <a:cubicBezTo>
                  <a:pt x="258" y="297"/>
                  <a:pt x="259" y="297"/>
                  <a:pt x="258" y="297"/>
                </a:cubicBezTo>
                <a:cubicBezTo>
                  <a:pt x="258" y="297"/>
                  <a:pt x="256" y="296"/>
                  <a:pt x="255" y="297"/>
                </a:cubicBezTo>
                <a:cubicBezTo>
                  <a:pt x="260" y="300"/>
                  <a:pt x="270" y="302"/>
                  <a:pt x="275" y="305"/>
                </a:cubicBezTo>
                <a:cubicBezTo>
                  <a:pt x="277" y="307"/>
                  <a:pt x="280" y="308"/>
                  <a:pt x="284" y="310"/>
                </a:cubicBezTo>
                <a:cubicBezTo>
                  <a:pt x="285" y="311"/>
                  <a:pt x="286" y="311"/>
                  <a:pt x="288" y="311"/>
                </a:cubicBezTo>
                <a:cubicBezTo>
                  <a:pt x="290" y="311"/>
                  <a:pt x="289" y="310"/>
                  <a:pt x="287" y="310"/>
                </a:cubicBezTo>
                <a:cubicBezTo>
                  <a:pt x="283" y="308"/>
                  <a:pt x="287" y="309"/>
                  <a:pt x="287" y="308"/>
                </a:cubicBezTo>
                <a:cubicBezTo>
                  <a:pt x="288" y="308"/>
                  <a:pt x="289" y="308"/>
                  <a:pt x="289" y="309"/>
                </a:cubicBezTo>
                <a:cubicBezTo>
                  <a:pt x="287" y="308"/>
                  <a:pt x="287" y="306"/>
                  <a:pt x="282" y="306"/>
                </a:cubicBezTo>
                <a:cubicBezTo>
                  <a:pt x="281" y="306"/>
                  <a:pt x="283" y="307"/>
                  <a:pt x="283" y="307"/>
                </a:cubicBezTo>
                <a:cubicBezTo>
                  <a:pt x="280" y="307"/>
                  <a:pt x="280" y="306"/>
                  <a:pt x="278" y="305"/>
                </a:cubicBezTo>
                <a:cubicBezTo>
                  <a:pt x="273" y="303"/>
                  <a:pt x="273" y="302"/>
                  <a:pt x="268" y="300"/>
                </a:cubicBezTo>
                <a:cubicBezTo>
                  <a:pt x="266" y="299"/>
                  <a:pt x="264" y="298"/>
                  <a:pt x="262" y="297"/>
                </a:cubicBezTo>
                <a:cubicBezTo>
                  <a:pt x="262" y="296"/>
                  <a:pt x="263" y="296"/>
                  <a:pt x="262" y="295"/>
                </a:cubicBezTo>
                <a:cubicBezTo>
                  <a:pt x="260" y="294"/>
                  <a:pt x="258" y="293"/>
                  <a:pt x="256" y="292"/>
                </a:cubicBezTo>
                <a:cubicBezTo>
                  <a:pt x="256" y="292"/>
                  <a:pt x="255" y="292"/>
                  <a:pt x="255" y="292"/>
                </a:cubicBezTo>
                <a:cubicBezTo>
                  <a:pt x="257" y="293"/>
                  <a:pt x="259" y="294"/>
                  <a:pt x="261" y="295"/>
                </a:cubicBezTo>
                <a:cubicBezTo>
                  <a:pt x="256" y="294"/>
                  <a:pt x="255" y="293"/>
                  <a:pt x="252" y="292"/>
                </a:cubicBezTo>
                <a:cubicBezTo>
                  <a:pt x="251" y="290"/>
                  <a:pt x="245" y="288"/>
                  <a:pt x="242" y="287"/>
                </a:cubicBezTo>
                <a:cubicBezTo>
                  <a:pt x="242" y="286"/>
                  <a:pt x="241" y="286"/>
                  <a:pt x="240" y="286"/>
                </a:cubicBezTo>
                <a:cubicBezTo>
                  <a:pt x="240" y="286"/>
                  <a:pt x="240" y="286"/>
                  <a:pt x="240" y="286"/>
                </a:cubicBezTo>
                <a:cubicBezTo>
                  <a:pt x="240" y="286"/>
                  <a:pt x="240" y="286"/>
                  <a:pt x="240" y="286"/>
                </a:cubicBezTo>
                <a:cubicBezTo>
                  <a:pt x="240" y="286"/>
                  <a:pt x="240" y="286"/>
                  <a:pt x="240" y="286"/>
                </a:cubicBezTo>
                <a:cubicBezTo>
                  <a:pt x="236" y="285"/>
                  <a:pt x="234" y="283"/>
                  <a:pt x="229" y="281"/>
                </a:cubicBezTo>
                <a:cubicBezTo>
                  <a:pt x="229" y="281"/>
                  <a:pt x="229" y="281"/>
                  <a:pt x="229" y="281"/>
                </a:cubicBezTo>
                <a:cubicBezTo>
                  <a:pt x="229" y="281"/>
                  <a:pt x="229" y="281"/>
                  <a:pt x="229" y="281"/>
                </a:cubicBezTo>
                <a:cubicBezTo>
                  <a:pt x="228" y="280"/>
                  <a:pt x="226" y="279"/>
                  <a:pt x="224" y="279"/>
                </a:cubicBezTo>
                <a:cubicBezTo>
                  <a:pt x="223" y="277"/>
                  <a:pt x="220" y="276"/>
                  <a:pt x="217" y="275"/>
                </a:cubicBezTo>
                <a:cubicBezTo>
                  <a:pt x="215" y="274"/>
                  <a:pt x="214" y="273"/>
                  <a:pt x="212" y="273"/>
                </a:cubicBezTo>
                <a:cubicBezTo>
                  <a:pt x="212" y="272"/>
                  <a:pt x="212" y="272"/>
                  <a:pt x="212" y="272"/>
                </a:cubicBezTo>
                <a:cubicBezTo>
                  <a:pt x="210" y="271"/>
                  <a:pt x="207" y="270"/>
                  <a:pt x="208" y="269"/>
                </a:cubicBezTo>
                <a:cubicBezTo>
                  <a:pt x="214" y="271"/>
                  <a:pt x="218" y="274"/>
                  <a:pt x="225" y="276"/>
                </a:cubicBezTo>
                <a:cubicBezTo>
                  <a:pt x="236" y="282"/>
                  <a:pt x="246" y="287"/>
                  <a:pt x="257" y="292"/>
                </a:cubicBezTo>
                <a:cubicBezTo>
                  <a:pt x="258" y="292"/>
                  <a:pt x="260" y="293"/>
                  <a:pt x="261" y="293"/>
                </a:cubicBezTo>
                <a:cubicBezTo>
                  <a:pt x="262" y="294"/>
                  <a:pt x="262" y="294"/>
                  <a:pt x="263" y="294"/>
                </a:cubicBezTo>
                <a:cubicBezTo>
                  <a:pt x="269" y="297"/>
                  <a:pt x="274" y="300"/>
                  <a:pt x="280" y="302"/>
                </a:cubicBezTo>
                <a:cubicBezTo>
                  <a:pt x="286" y="305"/>
                  <a:pt x="293" y="308"/>
                  <a:pt x="297" y="311"/>
                </a:cubicBezTo>
                <a:cubicBezTo>
                  <a:pt x="298" y="312"/>
                  <a:pt x="301" y="313"/>
                  <a:pt x="303" y="315"/>
                </a:cubicBezTo>
                <a:cubicBezTo>
                  <a:pt x="302" y="314"/>
                  <a:pt x="301" y="314"/>
                  <a:pt x="300" y="314"/>
                </a:cubicBezTo>
                <a:cubicBezTo>
                  <a:pt x="301" y="315"/>
                  <a:pt x="302" y="315"/>
                  <a:pt x="304" y="316"/>
                </a:cubicBezTo>
                <a:cubicBezTo>
                  <a:pt x="305" y="316"/>
                  <a:pt x="304" y="315"/>
                  <a:pt x="304" y="315"/>
                </a:cubicBezTo>
                <a:cubicBezTo>
                  <a:pt x="305" y="315"/>
                  <a:pt x="306" y="316"/>
                  <a:pt x="309" y="316"/>
                </a:cubicBezTo>
                <a:cubicBezTo>
                  <a:pt x="304" y="314"/>
                  <a:pt x="303" y="313"/>
                  <a:pt x="299" y="311"/>
                </a:cubicBezTo>
                <a:cubicBezTo>
                  <a:pt x="297" y="310"/>
                  <a:pt x="296" y="309"/>
                  <a:pt x="294" y="308"/>
                </a:cubicBezTo>
                <a:cubicBezTo>
                  <a:pt x="290" y="306"/>
                  <a:pt x="284" y="303"/>
                  <a:pt x="280" y="300"/>
                </a:cubicBezTo>
                <a:cubicBezTo>
                  <a:pt x="281" y="300"/>
                  <a:pt x="280" y="300"/>
                  <a:pt x="280" y="299"/>
                </a:cubicBezTo>
                <a:cubicBezTo>
                  <a:pt x="279" y="299"/>
                  <a:pt x="279" y="298"/>
                  <a:pt x="280" y="298"/>
                </a:cubicBezTo>
                <a:cubicBezTo>
                  <a:pt x="282" y="298"/>
                  <a:pt x="284" y="299"/>
                  <a:pt x="285" y="300"/>
                </a:cubicBezTo>
                <a:cubicBezTo>
                  <a:pt x="288" y="301"/>
                  <a:pt x="292" y="302"/>
                  <a:pt x="296" y="303"/>
                </a:cubicBezTo>
                <a:cubicBezTo>
                  <a:pt x="300" y="305"/>
                  <a:pt x="302" y="304"/>
                  <a:pt x="304" y="304"/>
                </a:cubicBezTo>
                <a:cubicBezTo>
                  <a:pt x="304" y="304"/>
                  <a:pt x="306" y="304"/>
                  <a:pt x="307" y="304"/>
                </a:cubicBezTo>
                <a:cubicBezTo>
                  <a:pt x="308" y="305"/>
                  <a:pt x="308" y="305"/>
                  <a:pt x="306" y="305"/>
                </a:cubicBezTo>
                <a:cubicBezTo>
                  <a:pt x="303" y="305"/>
                  <a:pt x="304" y="306"/>
                  <a:pt x="302" y="306"/>
                </a:cubicBezTo>
                <a:cubicBezTo>
                  <a:pt x="306" y="307"/>
                  <a:pt x="310" y="308"/>
                  <a:pt x="314" y="310"/>
                </a:cubicBezTo>
                <a:cubicBezTo>
                  <a:pt x="313" y="309"/>
                  <a:pt x="312" y="308"/>
                  <a:pt x="312" y="307"/>
                </a:cubicBezTo>
                <a:cubicBezTo>
                  <a:pt x="314" y="308"/>
                  <a:pt x="319" y="309"/>
                  <a:pt x="318" y="307"/>
                </a:cubicBezTo>
                <a:cubicBezTo>
                  <a:pt x="317" y="305"/>
                  <a:pt x="317" y="305"/>
                  <a:pt x="321" y="305"/>
                </a:cubicBezTo>
                <a:cubicBezTo>
                  <a:pt x="317" y="304"/>
                  <a:pt x="314" y="302"/>
                  <a:pt x="310" y="302"/>
                </a:cubicBezTo>
                <a:cubicBezTo>
                  <a:pt x="310" y="302"/>
                  <a:pt x="309" y="302"/>
                  <a:pt x="309" y="302"/>
                </a:cubicBezTo>
                <a:cubicBezTo>
                  <a:pt x="309" y="301"/>
                  <a:pt x="309" y="301"/>
                  <a:pt x="310" y="301"/>
                </a:cubicBezTo>
                <a:cubicBezTo>
                  <a:pt x="312" y="301"/>
                  <a:pt x="310" y="300"/>
                  <a:pt x="309" y="300"/>
                </a:cubicBezTo>
                <a:cubicBezTo>
                  <a:pt x="308" y="300"/>
                  <a:pt x="308" y="300"/>
                  <a:pt x="308" y="299"/>
                </a:cubicBezTo>
                <a:cubicBezTo>
                  <a:pt x="308" y="299"/>
                  <a:pt x="308" y="299"/>
                  <a:pt x="306" y="298"/>
                </a:cubicBezTo>
                <a:cubicBezTo>
                  <a:pt x="304" y="297"/>
                  <a:pt x="304" y="297"/>
                  <a:pt x="306" y="297"/>
                </a:cubicBezTo>
                <a:cubicBezTo>
                  <a:pt x="307" y="297"/>
                  <a:pt x="304" y="296"/>
                  <a:pt x="305" y="295"/>
                </a:cubicBezTo>
                <a:cubicBezTo>
                  <a:pt x="306" y="296"/>
                  <a:pt x="307" y="297"/>
                  <a:pt x="308" y="297"/>
                </a:cubicBezTo>
                <a:cubicBezTo>
                  <a:pt x="310" y="299"/>
                  <a:pt x="314" y="300"/>
                  <a:pt x="317" y="302"/>
                </a:cubicBezTo>
                <a:cubicBezTo>
                  <a:pt x="318" y="303"/>
                  <a:pt x="320" y="304"/>
                  <a:pt x="322" y="305"/>
                </a:cubicBezTo>
                <a:cubicBezTo>
                  <a:pt x="323" y="305"/>
                  <a:pt x="324" y="306"/>
                  <a:pt x="325" y="306"/>
                </a:cubicBezTo>
                <a:cubicBezTo>
                  <a:pt x="326" y="306"/>
                  <a:pt x="327" y="307"/>
                  <a:pt x="327" y="307"/>
                </a:cubicBezTo>
                <a:cubicBezTo>
                  <a:pt x="327" y="307"/>
                  <a:pt x="328" y="308"/>
                  <a:pt x="329" y="308"/>
                </a:cubicBezTo>
                <a:cubicBezTo>
                  <a:pt x="330" y="308"/>
                  <a:pt x="331" y="309"/>
                  <a:pt x="332" y="309"/>
                </a:cubicBezTo>
                <a:cubicBezTo>
                  <a:pt x="332" y="308"/>
                  <a:pt x="331" y="308"/>
                  <a:pt x="330" y="308"/>
                </a:cubicBezTo>
                <a:cubicBezTo>
                  <a:pt x="329" y="307"/>
                  <a:pt x="328" y="306"/>
                  <a:pt x="326" y="306"/>
                </a:cubicBezTo>
                <a:cubicBezTo>
                  <a:pt x="321" y="303"/>
                  <a:pt x="317" y="300"/>
                  <a:pt x="309" y="297"/>
                </a:cubicBezTo>
                <a:cubicBezTo>
                  <a:pt x="305" y="294"/>
                  <a:pt x="298" y="291"/>
                  <a:pt x="292" y="288"/>
                </a:cubicBezTo>
                <a:cubicBezTo>
                  <a:pt x="289" y="287"/>
                  <a:pt x="287" y="285"/>
                  <a:pt x="284" y="284"/>
                </a:cubicBezTo>
                <a:cubicBezTo>
                  <a:pt x="283" y="283"/>
                  <a:pt x="279" y="281"/>
                  <a:pt x="276" y="280"/>
                </a:cubicBezTo>
                <a:cubicBezTo>
                  <a:pt x="280" y="281"/>
                  <a:pt x="284" y="280"/>
                  <a:pt x="289" y="282"/>
                </a:cubicBezTo>
                <a:cubicBezTo>
                  <a:pt x="294" y="284"/>
                  <a:pt x="299" y="286"/>
                  <a:pt x="303" y="288"/>
                </a:cubicBezTo>
                <a:cubicBezTo>
                  <a:pt x="309" y="291"/>
                  <a:pt x="314" y="295"/>
                  <a:pt x="322" y="298"/>
                </a:cubicBezTo>
                <a:cubicBezTo>
                  <a:pt x="325" y="299"/>
                  <a:pt x="330" y="300"/>
                  <a:pt x="334" y="302"/>
                </a:cubicBezTo>
                <a:cubicBezTo>
                  <a:pt x="335" y="300"/>
                  <a:pt x="331" y="299"/>
                  <a:pt x="328" y="298"/>
                </a:cubicBezTo>
                <a:cubicBezTo>
                  <a:pt x="326" y="297"/>
                  <a:pt x="323" y="297"/>
                  <a:pt x="323" y="296"/>
                </a:cubicBezTo>
                <a:cubicBezTo>
                  <a:pt x="323" y="295"/>
                  <a:pt x="325" y="296"/>
                  <a:pt x="327" y="296"/>
                </a:cubicBezTo>
                <a:cubicBezTo>
                  <a:pt x="328" y="296"/>
                  <a:pt x="330" y="296"/>
                  <a:pt x="331" y="296"/>
                </a:cubicBezTo>
                <a:cubicBezTo>
                  <a:pt x="331" y="297"/>
                  <a:pt x="332" y="297"/>
                  <a:pt x="333" y="298"/>
                </a:cubicBezTo>
                <a:cubicBezTo>
                  <a:pt x="333" y="298"/>
                  <a:pt x="333" y="298"/>
                  <a:pt x="333" y="298"/>
                </a:cubicBezTo>
                <a:cubicBezTo>
                  <a:pt x="333" y="298"/>
                  <a:pt x="333" y="298"/>
                  <a:pt x="333" y="298"/>
                </a:cubicBezTo>
                <a:cubicBezTo>
                  <a:pt x="332" y="298"/>
                  <a:pt x="330" y="297"/>
                  <a:pt x="330" y="297"/>
                </a:cubicBezTo>
                <a:cubicBezTo>
                  <a:pt x="330" y="298"/>
                  <a:pt x="331" y="299"/>
                  <a:pt x="334" y="299"/>
                </a:cubicBezTo>
                <a:cubicBezTo>
                  <a:pt x="334" y="299"/>
                  <a:pt x="335" y="300"/>
                  <a:pt x="335" y="300"/>
                </a:cubicBezTo>
                <a:cubicBezTo>
                  <a:pt x="337" y="301"/>
                  <a:pt x="339" y="302"/>
                  <a:pt x="341" y="303"/>
                </a:cubicBezTo>
                <a:cubicBezTo>
                  <a:pt x="341" y="303"/>
                  <a:pt x="342" y="303"/>
                  <a:pt x="342" y="303"/>
                </a:cubicBezTo>
                <a:cubicBezTo>
                  <a:pt x="340" y="302"/>
                  <a:pt x="338" y="301"/>
                  <a:pt x="336" y="300"/>
                </a:cubicBezTo>
                <a:cubicBezTo>
                  <a:pt x="335" y="299"/>
                  <a:pt x="335" y="299"/>
                  <a:pt x="337" y="298"/>
                </a:cubicBezTo>
                <a:cubicBezTo>
                  <a:pt x="339" y="299"/>
                  <a:pt x="340" y="299"/>
                  <a:pt x="341" y="299"/>
                </a:cubicBezTo>
                <a:cubicBezTo>
                  <a:pt x="342" y="300"/>
                  <a:pt x="344" y="301"/>
                  <a:pt x="347" y="301"/>
                </a:cubicBezTo>
                <a:cubicBezTo>
                  <a:pt x="346" y="300"/>
                  <a:pt x="345" y="299"/>
                  <a:pt x="344" y="299"/>
                </a:cubicBezTo>
                <a:cubicBezTo>
                  <a:pt x="343" y="297"/>
                  <a:pt x="339" y="295"/>
                  <a:pt x="335" y="294"/>
                </a:cubicBezTo>
                <a:cubicBezTo>
                  <a:pt x="334" y="293"/>
                  <a:pt x="333" y="293"/>
                  <a:pt x="331" y="292"/>
                </a:cubicBezTo>
                <a:cubicBezTo>
                  <a:pt x="331" y="292"/>
                  <a:pt x="331" y="292"/>
                  <a:pt x="330" y="291"/>
                </a:cubicBezTo>
                <a:cubicBezTo>
                  <a:pt x="330" y="291"/>
                  <a:pt x="329" y="290"/>
                  <a:pt x="327" y="290"/>
                </a:cubicBezTo>
                <a:cubicBezTo>
                  <a:pt x="326" y="289"/>
                  <a:pt x="325" y="289"/>
                  <a:pt x="325" y="289"/>
                </a:cubicBezTo>
                <a:cubicBezTo>
                  <a:pt x="327" y="288"/>
                  <a:pt x="323" y="287"/>
                  <a:pt x="324" y="287"/>
                </a:cubicBezTo>
                <a:cubicBezTo>
                  <a:pt x="325" y="287"/>
                  <a:pt x="329" y="288"/>
                  <a:pt x="329" y="287"/>
                </a:cubicBezTo>
                <a:cubicBezTo>
                  <a:pt x="330" y="287"/>
                  <a:pt x="328" y="286"/>
                  <a:pt x="326" y="285"/>
                </a:cubicBezTo>
                <a:cubicBezTo>
                  <a:pt x="324" y="284"/>
                  <a:pt x="323" y="284"/>
                  <a:pt x="322" y="283"/>
                </a:cubicBezTo>
                <a:cubicBezTo>
                  <a:pt x="320" y="281"/>
                  <a:pt x="318" y="280"/>
                  <a:pt x="311" y="278"/>
                </a:cubicBezTo>
                <a:cubicBezTo>
                  <a:pt x="310" y="277"/>
                  <a:pt x="304" y="275"/>
                  <a:pt x="301" y="273"/>
                </a:cubicBezTo>
                <a:cubicBezTo>
                  <a:pt x="296" y="271"/>
                  <a:pt x="290" y="268"/>
                  <a:pt x="284" y="265"/>
                </a:cubicBezTo>
                <a:cubicBezTo>
                  <a:pt x="283" y="264"/>
                  <a:pt x="281" y="263"/>
                  <a:pt x="276" y="262"/>
                </a:cubicBezTo>
                <a:cubicBezTo>
                  <a:pt x="278" y="263"/>
                  <a:pt x="281" y="264"/>
                  <a:pt x="283" y="265"/>
                </a:cubicBezTo>
                <a:cubicBezTo>
                  <a:pt x="285" y="266"/>
                  <a:pt x="286" y="267"/>
                  <a:pt x="288" y="268"/>
                </a:cubicBezTo>
                <a:cubicBezTo>
                  <a:pt x="282" y="266"/>
                  <a:pt x="281" y="264"/>
                  <a:pt x="277" y="263"/>
                </a:cubicBezTo>
                <a:cubicBezTo>
                  <a:pt x="275" y="262"/>
                  <a:pt x="273" y="262"/>
                  <a:pt x="272" y="261"/>
                </a:cubicBezTo>
                <a:cubicBezTo>
                  <a:pt x="272" y="261"/>
                  <a:pt x="272" y="261"/>
                  <a:pt x="272" y="261"/>
                </a:cubicBezTo>
                <a:cubicBezTo>
                  <a:pt x="272" y="261"/>
                  <a:pt x="272" y="260"/>
                  <a:pt x="270" y="259"/>
                </a:cubicBezTo>
                <a:cubicBezTo>
                  <a:pt x="268" y="259"/>
                  <a:pt x="268" y="259"/>
                  <a:pt x="268" y="260"/>
                </a:cubicBezTo>
                <a:cubicBezTo>
                  <a:pt x="265" y="258"/>
                  <a:pt x="262" y="257"/>
                  <a:pt x="260" y="256"/>
                </a:cubicBezTo>
                <a:cubicBezTo>
                  <a:pt x="260" y="256"/>
                  <a:pt x="261" y="256"/>
                  <a:pt x="262" y="256"/>
                </a:cubicBezTo>
                <a:cubicBezTo>
                  <a:pt x="263" y="256"/>
                  <a:pt x="264" y="257"/>
                  <a:pt x="265" y="257"/>
                </a:cubicBezTo>
                <a:cubicBezTo>
                  <a:pt x="269" y="258"/>
                  <a:pt x="272" y="259"/>
                  <a:pt x="273" y="260"/>
                </a:cubicBezTo>
                <a:cubicBezTo>
                  <a:pt x="274" y="260"/>
                  <a:pt x="275" y="261"/>
                  <a:pt x="276" y="261"/>
                </a:cubicBezTo>
                <a:cubicBezTo>
                  <a:pt x="277" y="261"/>
                  <a:pt x="276" y="260"/>
                  <a:pt x="275" y="260"/>
                </a:cubicBezTo>
                <a:cubicBezTo>
                  <a:pt x="276" y="260"/>
                  <a:pt x="277" y="260"/>
                  <a:pt x="277" y="260"/>
                </a:cubicBezTo>
                <a:cubicBezTo>
                  <a:pt x="278" y="260"/>
                  <a:pt x="279" y="261"/>
                  <a:pt x="280" y="261"/>
                </a:cubicBezTo>
                <a:cubicBezTo>
                  <a:pt x="285" y="263"/>
                  <a:pt x="289" y="266"/>
                  <a:pt x="294" y="268"/>
                </a:cubicBezTo>
                <a:cubicBezTo>
                  <a:pt x="294" y="268"/>
                  <a:pt x="294" y="268"/>
                  <a:pt x="294" y="267"/>
                </a:cubicBezTo>
                <a:cubicBezTo>
                  <a:pt x="294" y="267"/>
                  <a:pt x="293" y="267"/>
                  <a:pt x="293" y="267"/>
                </a:cubicBezTo>
                <a:cubicBezTo>
                  <a:pt x="293" y="267"/>
                  <a:pt x="293" y="267"/>
                  <a:pt x="293" y="267"/>
                </a:cubicBezTo>
                <a:cubicBezTo>
                  <a:pt x="293" y="267"/>
                  <a:pt x="293" y="267"/>
                  <a:pt x="293" y="267"/>
                </a:cubicBezTo>
                <a:cubicBezTo>
                  <a:pt x="296" y="267"/>
                  <a:pt x="299" y="268"/>
                  <a:pt x="300" y="270"/>
                </a:cubicBezTo>
                <a:cubicBezTo>
                  <a:pt x="301" y="270"/>
                  <a:pt x="303" y="271"/>
                  <a:pt x="306" y="272"/>
                </a:cubicBezTo>
                <a:cubicBezTo>
                  <a:pt x="307" y="272"/>
                  <a:pt x="308" y="272"/>
                  <a:pt x="308" y="272"/>
                </a:cubicBezTo>
                <a:cubicBezTo>
                  <a:pt x="310" y="271"/>
                  <a:pt x="307" y="270"/>
                  <a:pt x="305" y="270"/>
                </a:cubicBezTo>
                <a:cubicBezTo>
                  <a:pt x="298" y="266"/>
                  <a:pt x="289" y="262"/>
                  <a:pt x="282" y="259"/>
                </a:cubicBezTo>
                <a:cubicBezTo>
                  <a:pt x="282" y="259"/>
                  <a:pt x="282" y="259"/>
                  <a:pt x="282" y="259"/>
                </a:cubicBezTo>
                <a:cubicBezTo>
                  <a:pt x="279" y="257"/>
                  <a:pt x="272" y="255"/>
                  <a:pt x="271" y="253"/>
                </a:cubicBezTo>
                <a:cubicBezTo>
                  <a:pt x="281" y="257"/>
                  <a:pt x="290" y="262"/>
                  <a:pt x="299" y="266"/>
                </a:cubicBezTo>
                <a:cubicBezTo>
                  <a:pt x="308" y="270"/>
                  <a:pt x="318" y="275"/>
                  <a:pt x="330" y="280"/>
                </a:cubicBezTo>
                <a:cubicBezTo>
                  <a:pt x="332" y="281"/>
                  <a:pt x="334" y="281"/>
                  <a:pt x="336" y="282"/>
                </a:cubicBezTo>
                <a:cubicBezTo>
                  <a:pt x="340" y="285"/>
                  <a:pt x="347" y="288"/>
                  <a:pt x="352" y="291"/>
                </a:cubicBezTo>
                <a:cubicBezTo>
                  <a:pt x="353" y="291"/>
                  <a:pt x="349" y="290"/>
                  <a:pt x="349" y="289"/>
                </a:cubicBezTo>
                <a:cubicBezTo>
                  <a:pt x="355" y="290"/>
                  <a:pt x="358" y="292"/>
                  <a:pt x="361" y="294"/>
                </a:cubicBezTo>
                <a:cubicBezTo>
                  <a:pt x="363" y="295"/>
                  <a:pt x="365" y="297"/>
                  <a:pt x="371" y="298"/>
                </a:cubicBezTo>
                <a:cubicBezTo>
                  <a:pt x="376" y="299"/>
                  <a:pt x="377" y="300"/>
                  <a:pt x="380" y="302"/>
                </a:cubicBezTo>
                <a:cubicBezTo>
                  <a:pt x="380" y="302"/>
                  <a:pt x="380" y="302"/>
                  <a:pt x="380" y="302"/>
                </a:cubicBezTo>
                <a:cubicBezTo>
                  <a:pt x="385" y="304"/>
                  <a:pt x="389" y="306"/>
                  <a:pt x="393" y="308"/>
                </a:cubicBezTo>
                <a:cubicBezTo>
                  <a:pt x="390" y="307"/>
                  <a:pt x="389" y="306"/>
                  <a:pt x="387" y="306"/>
                </a:cubicBezTo>
                <a:cubicBezTo>
                  <a:pt x="386" y="305"/>
                  <a:pt x="385" y="304"/>
                  <a:pt x="381" y="303"/>
                </a:cubicBezTo>
                <a:cubicBezTo>
                  <a:pt x="382" y="304"/>
                  <a:pt x="383" y="305"/>
                  <a:pt x="386" y="306"/>
                </a:cubicBezTo>
                <a:cubicBezTo>
                  <a:pt x="389" y="307"/>
                  <a:pt x="391" y="308"/>
                  <a:pt x="394" y="310"/>
                </a:cubicBezTo>
                <a:cubicBezTo>
                  <a:pt x="396" y="311"/>
                  <a:pt x="398" y="311"/>
                  <a:pt x="399" y="312"/>
                </a:cubicBezTo>
                <a:cubicBezTo>
                  <a:pt x="399" y="312"/>
                  <a:pt x="400" y="312"/>
                  <a:pt x="400" y="312"/>
                </a:cubicBezTo>
                <a:cubicBezTo>
                  <a:pt x="398" y="311"/>
                  <a:pt x="397" y="311"/>
                  <a:pt x="396" y="310"/>
                </a:cubicBezTo>
                <a:cubicBezTo>
                  <a:pt x="396" y="310"/>
                  <a:pt x="397" y="310"/>
                  <a:pt x="397" y="310"/>
                </a:cubicBezTo>
                <a:cubicBezTo>
                  <a:pt x="402" y="313"/>
                  <a:pt x="410" y="316"/>
                  <a:pt x="413" y="319"/>
                </a:cubicBezTo>
                <a:cubicBezTo>
                  <a:pt x="416" y="320"/>
                  <a:pt x="418" y="321"/>
                  <a:pt x="421" y="322"/>
                </a:cubicBezTo>
                <a:cubicBezTo>
                  <a:pt x="421" y="323"/>
                  <a:pt x="422" y="324"/>
                  <a:pt x="426" y="325"/>
                </a:cubicBezTo>
                <a:cubicBezTo>
                  <a:pt x="429" y="328"/>
                  <a:pt x="436" y="329"/>
                  <a:pt x="442" y="331"/>
                </a:cubicBezTo>
                <a:cubicBezTo>
                  <a:pt x="442" y="331"/>
                  <a:pt x="442" y="331"/>
                  <a:pt x="443" y="331"/>
                </a:cubicBezTo>
                <a:cubicBezTo>
                  <a:pt x="444" y="332"/>
                  <a:pt x="446" y="333"/>
                  <a:pt x="448" y="334"/>
                </a:cubicBezTo>
                <a:cubicBezTo>
                  <a:pt x="450" y="335"/>
                  <a:pt x="448" y="335"/>
                  <a:pt x="446" y="334"/>
                </a:cubicBezTo>
                <a:cubicBezTo>
                  <a:pt x="445" y="334"/>
                  <a:pt x="444" y="333"/>
                  <a:pt x="441" y="333"/>
                </a:cubicBezTo>
                <a:cubicBezTo>
                  <a:pt x="442" y="333"/>
                  <a:pt x="444" y="334"/>
                  <a:pt x="445" y="334"/>
                </a:cubicBezTo>
                <a:cubicBezTo>
                  <a:pt x="446" y="335"/>
                  <a:pt x="447" y="335"/>
                  <a:pt x="448" y="336"/>
                </a:cubicBezTo>
                <a:cubicBezTo>
                  <a:pt x="452" y="338"/>
                  <a:pt x="459" y="341"/>
                  <a:pt x="465" y="344"/>
                </a:cubicBezTo>
                <a:cubicBezTo>
                  <a:pt x="467" y="345"/>
                  <a:pt x="468" y="347"/>
                  <a:pt x="473" y="348"/>
                </a:cubicBezTo>
                <a:cubicBezTo>
                  <a:pt x="472" y="347"/>
                  <a:pt x="469" y="345"/>
                  <a:pt x="466" y="344"/>
                </a:cubicBezTo>
                <a:cubicBezTo>
                  <a:pt x="463" y="342"/>
                  <a:pt x="459" y="340"/>
                  <a:pt x="455" y="339"/>
                </a:cubicBezTo>
                <a:cubicBezTo>
                  <a:pt x="457" y="338"/>
                  <a:pt x="452" y="335"/>
                  <a:pt x="450" y="334"/>
                </a:cubicBezTo>
                <a:cubicBezTo>
                  <a:pt x="449" y="333"/>
                  <a:pt x="446" y="331"/>
                  <a:pt x="444" y="330"/>
                </a:cubicBezTo>
                <a:cubicBezTo>
                  <a:pt x="444" y="329"/>
                  <a:pt x="441" y="329"/>
                  <a:pt x="439" y="328"/>
                </a:cubicBezTo>
                <a:cubicBezTo>
                  <a:pt x="435" y="326"/>
                  <a:pt x="429" y="324"/>
                  <a:pt x="432" y="323"/>
                </a:cubicBezTo>
                <a:cubicBezTo>
                  <a:pt x="433" y="323"/>
                  <a:pt x="431" y="321"/>
                  <a:pt x="427" y="321"/>
                </a:cubicBezTo>
                <a:cubicBezTo>
                  <a:pt x="425" y="320"/>
                  <a:pt x="423" y="319"/>
                  <a:pt x="421" y="318"/>
                </a:cubicBezTo>
                <a:cubicBezTo>
                  <a:pt x="420" y="317"/>
                  <a:pt x="418" y="317"/>
                  <a:pt x="417" y="316"/>
                </a:cubicBezTo>
                <a:cubicBezTo>
                  <a:pt x="417" y="315"/>
                  <a:pt x="416" y="315"/>
                  <a:pt x="414" y="314"/>
                </a:cubicBezTo>
                <a:cubicBezTo>
                  <a:pt x="413" y="314"/>
                  <a:pt x="414" y="315"/>
                  <a:pt x="415" y="316"/>
                </a:cubicBezTo>
                <a:cubicBezTo>
                  <a:pt x="416" y="317"/>
                  <a:pt x="417" y="317"/>
                  <a:pt x="419" y="318"/>
                </a:cubicBezTo>
                <a:cubicBezTo>
                  <a:pt x="421" y="319"/>
                  <a:pt x="421" y="320"/>
                  <a:pt x="419" y="320"/>
                </a:cubicBezTo>
                <a:cubicBezTo>
                  <a:pt x="417" y="320"/>
                  <a:pt x="417" y="319"/>
                  <a:pt x="416" y="319"/>
                </a:cubicBezTo>
                <a:cubicBezTo>
                  <a:pt x="408" y="314"/>
                  <a:pt x="399" y="310"/>
                  <a:pt x="391" y="306"/>
                </a:cubicBezTo>
                <a:cubicBezTo>
                  <a:pt x="393" y="306"/>
                  <a:pt x="396" y="307"/>
                  <a:pt x="397" y="308"/>
                </a:cubicBezTo>
                <a:cubicBezTo>
                  <a:pt x="402" y="311"/>
                  <a:pt x="407" y="311"/>
                  <a:pt x="413" y="311"/>
                </a:cubicBezTo>
                <a:cubicBezTo>
                  <a:pt x="413" y="312"/>
                  <a:pt x="412" y="312"/>
                  <a:pt x="413" y="312"/>
                </a:cubicBezTo>
                <a:cubicBezTo>
                  <a:pt x="413" y="313"/>
                  <a:pt x="414" y="313"/>
                  <a:pt x="415" y="313"/>
                </a:cubicBezTo>
                <a:cubicBezTo>
                  <a:pt x="415" y="312"/>
                  <a:pt x="416" y="312"/>
                  <a:pt x="414" y="311"/>
                </a:cubicBezTo>
                <a:cubicBezTo>
                  <a:pt x="413" y="311"/>
                  <a:pt x="420" y="312"/>
                  <a:pt x="416" y="310"/>
                </a:cubicBezTo>
                <a:cubicBezTo>
                  <a:pt x="414" y="309"/>
                  <a:pt x="410" y="309"/>
                  <a:pt x="410" y="309"/>
                </a:cubicBezTo>
                <a:cubicBezTo>
                  <a:pt x="406" y="311"/>
                  <a:pt x="403" y="308"/>
                  <a:pt x="399" y="307"/>
                </a:cubicBezTo>
                <a:cubicBezTo>
                  <a:pt x="398" y="306"/>
                  <a:pt x="396" y="305"/>
                  <a:pt x="395" y="305"/>
                </a:cubicBezTo>
                <a:cubicBezTo>
                  <a:pt x="391" y="302"/>
                  <a:pt x="388" y="303"/>
                  <a:pt x="385" y="303"/>
                </a:cubicBezTo>
                <a:cubicBezTo>
                  <a:pt x="385" y="303"/>
                  <a:pt x="385" y="303"/>
                  <a:pt x="385" y="303"/>
                </a:cubicBezTo>
                <a:cubicBezTo>
                  <a:pt x="384" y="302"/>
                  <a:pt x="384" y="302"/>
                  <a:pt x="384" y="302"/>
                </a:cubicBezTo>
                <a:cubicBezTo>
                  <a:pt x="382" y="301"/>
                  <a:pt x="385" y="301"/>
                  <a:pt x="384" y="299"/>
                </a:cubicBezTo>
                <a:cubicBezTo>
                  <a:pt x="380" y="296"/>
                  <a:pt x="373" y="294"/>
                  <a:pt x="369" y="291"/>
                </a:cubicBezTo>
                <a:cubicBezTo>
                  <a:pt x="367" y="291"/>
                  <a:pt x="366" y="290"/>
                  <a:pt x="365" y="289"/>
                </a:cubicBezTo>
                <a:cubicBezTo>
                  <a:pt x="359" y="288"/>
                  <a:pt x="358" y="286"/>
                  <a:pt x="354" y="284"/>
                </a:cubicBezTo>
                <a:cubicBezTo>
                  <a:pt x="348" y="282"/>
                  <a:pt x="346" y="279"/>
                  <a:pt x="341" y="277"/>
                </a:cubicBezTo>
                <a:cubicBezTo>
                  <a:pt x="338" y="276"/>
                  <a:pt x="335" y="274"/>
                  <a:pt x="333" y="273"/>
                </a:cubicBezTo>
                <a:cubicBezTo>
                  <a:pt x="327" y="270"/>
                  <a:pt x="320" y="267"/>
                  <a:pt x="314" y="264"/>
                </a:cubicBezTo>
                <a:cubicBezTo>
                  <a:pt x="313" y="263"/>
                  <a:pt x="311" y="263"/>
                  <a:pt x="310" y="262"/>
                </a:cubicBezTo>
                <a:cubicBezTo>
                  <a:pt x="311" y="262"/>
                  <a:pt x="312" y="262"/>
                  <a:pt x="313" y="262"/>
                </a:cubicBezTo>
                <a:cubicBezTo>
                  <a:pt x="318" y="265"/>
                  <a:pt x="323" y="267"/>
                  <a:pt x="329" y="269"/>
                </a:cubicBezTo>
                <a:cubicBezTo>
                  <a:pt x="328" y="269"/>
                  <a:pt x="328" y="269"/>
                  <a:pt x="328" y="268"/>
                </a:cubicBezTo>
                <a:cubicBezTo>
                  <a:pt x="328" y="269"/>
                  <a:pt x="329" y="269"/>
                  <a:pt x="329" y="269"/>
                </a:cubicBezTo>
                <a:cubicBezTo>
                  <a:pt x="335" y="272"/>
                  <a:pt x="342" y="275"/>
                  <a:pt x="348" y="279"/>
                </a:cubicBezTo>
                <a:cubicBezTo>
                  <a:pt x="354" y="281"/>
                  <a:pt x="361" y="284"/>
                  <a:pt x="367" y="287"/>
                </a:cubicBezTo>
                <a:cubicBezTo>
                  <a:pt x="377" y="291"/>
                  <a:pt x="387" y="296"/>
                  <a:pt x="396" y="300"/>
                </a:cubicBezTo>
                <a:cubicBezTo>
                  <a:pt x="398" y="301"/>
                  <a:pt x="401" y="303"/>
                  <a:pt x="404" y="304"/>
                </a:cubicBezTo>
                <a:cubicBezTo>
                  <a:pt x="409" y="307"/>
                  <a:pt x="418" y="310"/>
                  <a:pt x="424" y="314"/>
                </a:cubicBezTo>
                <a:cubicBezTo>
                  <a:pt x="425" y="315"/>
                  <a:pt x="429" y="316"/>
                  <a:pt x="432" y="318"/>
                </a:cubicBezTo>
                <a:cubicBezTo>
                  <a:pt x="433" y="317"/>
                  <a:pt x="428" y="315"/>
                  <a:pt x="426" y="314"/>
                </a:cubicBezTo>
                <a:cubicBezTo>
                  <a:pt x="426" y="314"/>
                  <a:pt x="426" y="314"/>
                  <a:pt x="426" y="314"/>
                </a:cubicBezTo>
                <a:cubicBezTo>
                  <a:pt x="428" y="313"/>
                  <a:pt x="429" y="313"/>
                  <a:pt x="436" y="315"/>
                </a:cubicBezTo>
                <a:cubicBezTo>
                  <a:pt x="434" y="314"/>
                  <a:pt x="434" y="312"/>
                  <a:pt x="430" y="311"/>
                </a:cubicBezTo>
                <a:cubicBezTo>
                  <a:pt x="428" y="311"/>
                  <a:pt x="431" y="313"/>
                  <a:pt x="426" y="311"/>
                </a:cubicBezTo>
                <a:cubicBezTo>
                  <a:pt x="422" y="310"/>
                  <a:pt x="423" y="309"/>
                  <a:pt x="420" y="308"/>
                </a:cubicBezTo>
                <a:cubicBezTo>
                  <a:pt x="420" y="307"/>
                  <a:pt x="425" y="307"/>
                  <a:pt x="425" y="307"/>
                </a:cubicBezTo>
                <a:cubicBezTo>
                  <a:pt x="434" y="309"/>
                  <a:pt x="425" y="307"/>
                  <a:pt x="426" y="306"/>
                </a:cubicBezTo>
                <a:cubicBezTo>
                  <a:pt x="425" y="306"/>
                  <a:pt x="426" y="306"/>
                  <a:pt x="427" y="306"/>
                </a:cubicBezTo>
                <a:cubicBezTo>
                  <a:pt x="427" y="306"/>
                  <a:pt x="428" y="306"/>
                  <a:pt x="429" y="306"/>
                </a:cubicBezTo>
                <a:cubicBezTo>
                  <a:pt x="430" y="306"/>
                  <a:pt x="432" y="307"/>
                  <a:pt x="434" y="308"/>
                </a:cubicBezTo>
                <a:cubicBezTo>
                  <a:pt x="436" y="309"/>
                  <a:pt x="438" y="310"/>
                  <a:pt x="440" y="311"/>
                </a:cubicBezTo>
                <a:cubicBezTo>
                  <a:pt x="444" y="314"/>
                  <a:pt x="452" y="317"/>
                  <a:pt x="460" y="320"/>
                </a:cubicBezTo>
                <a:cubicBezTo>
                  <a:pt x="453" y="317"/>
                  <a:pt x="449" y="314"/>
                  <a:pt x="441" y="311"/>
                </a:cubicBezTo>
                <a:cubicBezTo>
                  <a:pt x="439" y="310"/>
                  <a:pt x="437" y="309"/>
                  <a:pt x="434" y="308"/>
                </a:cubicBezTo>
                <a:cubicBezTo>
                  <a:pt x="433" y="307"/>
                  <a:pt x="431" y="306"/>
                  <a:pt x="429" y="305"/>
                </a:cubicBezTo>
                <a:cubicBezTo>
                  <a:pt x="431" y="305"/>
                  <a:pt x="429" y="304"/>
                  <a:pt x="430" y="303"/>
                </a:cubicBezTo>
                <a:cubicBezTo>
                  <a:pt x="434" y="303"/>
                  <a:pt x="436" y="305"/>
                  <a:pt x="438" y="306"/>
                </a:cubicBezTo>
                <a:cubicBezTo>
                  <a:pt x="449" y="312"/>
                  <a:pt x="460" y="317"/>
                  <a:pt x="471" y="323"/>
                </a:cubicBezTo>
                <a:cubicBezTo>
                  <a:pt x="472" y="324"/>
                  <a:pt x="473" y="325"/>
                  <a:pt x="475" y="325"/>
                </a:cubicBezTo>
                <a:cubicBezTo>
                  <a:pt x="476" y="326"/>
                  <a:pt x="479" y="328"/>
                  <a:pt x="482" y="329"/>
                </a:cubicBezTo>
                <a:cubicBezTo>
                  <a:pt x="482" y="329"/>
                  <a:pt x="482" y="329"/>
                  <a:pt x="482" y="329"/>
                </a:cubicBezTo>
                <a:cubicBezTo>
                  <a:pt x="482" y="329"/>
                  <a:pt x="483" y="329"/>
                  <a:pt x="483" y="330"/>
                </a:cubicBezTo>
                <a:cubicBezTo>
                  <a:pt x="485" y="331"/>
                  <a:pt x="487" y="332"/>
                  <a:pt x="490" y="334"/>
                </a:cubicBezTo>
                <a:cubicBezTo>
                  <a:pt x="491" y="335"/>
                  <a:pt x="491" y="336"/>
                  <a:pt x="498" y="339"/>
                </a:cubicBezTo>
                <a:cubicBezTo>
                  <a:pt x="505" y="341"/>
                  <a:pt x="509" y="344"/>
                  <a:pt x="507" y="346"/>
                </a:cubicBezTo>
                <a:cubicBezTo>
                  <a:pt x="507" y="346"/>
                  <a:pt x="505" y="346"/>
                  <a:pt x="506" y="347"/>
                </a:cubicBezTo>
                <a:cubicBezTo>
                  <a:pt x="509" y="348"/>
                  <a:pt x="512" y="348"/>
                  <a:pt x="515" y="349"/>
                </a:cubicBezTo>
                <a:cubicBezTo>
                  <a:pt x="517" y="349"/>
                  <a:pt x="518" y="350"/>
                  <a:pt x="519" y="351"/>
                </a:cubicBezTo>
                <a:cubicBezTo>
                  <a:pt x="519" y="351"/>
                  <a:pt x="520" y="351"/>
                  <a:pt x="520" y="351"/>
                </a:cubicBezTo>
                <a:cubicBezTo>
                  <a:pt x="523" y="353"/>
                  <a:pt x="525" y="354"/>
                  <a:pt x="528" y="356"/>
                </a:cubicBezTo>
                <a:cubicBezTo>
                  <a:pt x="529" y="357"/>
                  <a:pt x="530" y="357"/>
                  <a:pt x="533" y="358"/>
                </a:cubicBezTo>
                <a:cubicBezTo>
                  <a:pt x="533" y="357"/>
                  <a:pt x="531" y="357"/>
                  <a:pt x="529" y="356"/>
                </a:cubicBezTo>
                <a:cubicBezTo>
                  <a:pt x="529" y="356"/>
                  <a:pt x="529" y="355"/>
                  <a:pt x="529" y="355"/>
                </a:cubicBezTo>
                <a:cubicBezTo>
                  <a:pt x="529" y="355"/>
                  <a:pt x="530" y="355"/>
                  <a:pt x="530" y="355"/>
                </a:cubicBezTo>
                <a:cubicBezTo>
                  <a:pt x="531" y="355"/>
                  <a:pt x="531" y="355"/>
                  <a:pt x="531" y="356"/>
                </a:cubicBezTo>
                <a:cubicBezTo>
                  <a:pt x="533" y="357"/>
                  <a:pt x="533" y="357"/>
                  <a:pt x="537" y="359"/>
                </a:cubicBezTo>
                <a:cubicBezTo>
                  <a:pt x="537" y="358"/>
                  <a:pt x="535" y="357"/>
                  <a:pt x="532" y="356"/>
                </a:cubicBezTo>
                <a:cubicBezTo>
                  <a:pt x="531" y="355"/>
                  <a:pt x="530" y="354"/>
                  <a:pt x="528" y="354"/>
                </a:cubicBezTo>
                <a:cubicBezTo>
                  <a:pt x="529" y="353"/>
                  <a:pt x="526" y="352"/>
                  <a:pt x="525" y="351"/>
                </a:cubicBezTo>
                <a:cubicBezTo>
                  <a:pt x="525" y="351"/>
                  <a:pt x="525" y="351"/>
                  <a:pt x="524" y="350"/>
                </a:cubicBezTo>
                <a:cubicBezTo>
                  <a:pt x="521" y="349"/>
                  <a:pt x="520" y="348"/>
                  <a:pt x="517" y="347"/>
                </a:cubicBezTo>
                <a:cubicBezTo>
                  <a:pt x="517" y="346"/>
                  <a:pt x="514" y="345"/>
                  <a:pt x="512" y="344"/>
                </a:cubicBezTo>
                <a:cubicBezTo>
                  <a:pt x="511" y="343"/>
                  <a:pt x="509" y="342"/>
                  <a:pt x="509" y="341"/>
                </a:cubicBezTo>
                <a:cubicBezTo>
                  <a:pt x="509" y="341"/>
                  <a:pt x="509" y="341"/>
                  <a:pt x="509" y="341"/>
                </a:cubicBezTo>
                <a:cubicBezTo>
                  <a:pt x="510" y="341"/>
                  <a:pt x="511" y="341"/>
                  <a:pt x="510" y="341"/>
                </a:cubicBezTo>
                <a:cubicBezTo>
                  <a:pt x="509" y="340"/>
                  <a:pt x="507" y="340"/>
                  <a:pt x="506" y="340"/>
                </a:cubicBezTo>
                <a:cubicBezTo>
                  <a:pt x="500" y="337"/>
                  <a:pt x="501" y="336"/>
                  <a:pt x="496" y="334"/>
                </a:cubicBezTo>
                <a:cubicBezTo>
                  <a:pt x="495" y="333"/>
                  <a:pt x="491" y="331"/>
                  <a:pt x="491" y="330"/>
                </a:cubicBezTo>
                <a:cubicBezTo>
                  <a:pt x="500" y="334"/>
                  <a:pt x="508" y="338"/>
                  <a:pt x="514" y="341"/>
                </a:cubicBezTo>
                <a:cubicBezTo>
                  <a:pt x="514" y="342"/>
                  <a:pt x="514" y="342"/>
                  <a:pt x="516" y="343"/>
                </a:cubicBezTo>
                <a:cubicBezTo>
                  <a:pt x="518" y="344"/>
                  <a:pt x="520" y="345"/>
                  <a:pt x="523" y="346"/>
                </a:cubicBezTo>
                <a:cubicBezTo>
                  <a:pt x="522" y="345"/>
                  <a:pt x="521" y="344"/>
                  <a:pt x="519" y="343"/>
                </a:cubicBezTo>
                <a:cubicBezTo>
                  <a:pt x="518" y="342"/>
                  <a:pt x="517" y="342"/>
                  <a:pt x="516" y="342"/>
                </a:cubicBezTo>
                <a:cubicBezTo>
                  <a:pt x="516" y="341"/>
                  <a:pt x="513" y="340"/>
                  <a:pt x="513" y="339"/>
                </a:cubicBezTo>
                <a:cubicBezTo>
                  <a:pt x="514" y="339"/>
                  <a:pt x="515" y="340"/>
                  <a:pt x="517" y="340"/>
                </a:cubicBezTo>
                <a:cubicBezTo>
                  <a:pt x="519" y="341"/>
                  <a:pt x="517" y="340"/>
                  <a:pt x="517" y="339"/>
                </a:cubicBezTo>
                <a:cubicBezTo>
                  <a:pt x="514" y="338"/>
                  <a:pt x="511" y="337"/>
                  <a:pt x="507" y="336"/>
                </a:cubicBezTo>
                <a:cubicBezTo>
                  <a:pt x="505" y="334"/>
                  <a:pt x="501" y="332"/>
                  <a:pt x="496" y="330"/>
                </a:cubicBezTo>
                <a:cubicBezTo>
                  <a:pt x="492" y="328"/>
                  <a:pt x="499" y="328"/>
                  <a:pt x="499" y="327"/>
                </a:cubicBezTo>
                <a:cubicBezTo>
                  <a:pt x="500" y="327"/>
                  <a:pt x="501" y="327"/>
                  <a:pt x="503" y="328"/>
                </a:cubicBezTo>
                <a:cubicBezTo>
                  <a:pt x="507" y="330"/>
                  <a:pt x="511" y="332"/>
                  <a:pt x="513" y="333"/>
                </a:cubicBezTo>
                <a:cubicBezTo>
                  <a:pt x="511" y="334"/>
                  <a:pt x="509" y="333"/>
                  <a:pt x="507" y="332"/>
                </a:cubicBezTo>
                <a:cubicBezTo>
                  <a:pt x="509" y="333"/>
                  <a:pt x="510" y="335"/>
                  <a:pt x="514" y="335"/>
                </a:cubicBezTo>
                <a:cubicBezTo>
                  <a:pt x="517" y="336"/>
                  <a:pt x="514" y="334"/>
                  <a:pt x="515" y="334"/>
                </a:cubicBezTo>
                <a:cubicBezTo>
                  <a:pt x="520" y="335"/>
                  <a:pt x="520" y="335"/>
                  <a:pt x="518" y="333"/>
                </a:cubicBezTo>
                <a:cubicBezTo>
                  <a:pt x="514" y="331"/>
                  <a:pt x="510" y="329"/>
                  <a:pt x="506" y="327"/>
                </a:cubicBezTo>
                <a:cubicBezTo>
                  <a:pt x="505" y="326"/>
                  <a:pt x="501" y="325"/>
                  <a:pt x="502" y="325"/>
                </a:cubicBezTo>
                <a:cubicBezTo>
                  <a:pt x="506" y="325"/>
                  <a:pt x="502" y="324"/>
                  <a:pt x="503" y="323"/>
                </a:cubicBezTo>
                <a:cubicBezTo>
                  <a:pt x="506" y="324"/>
                  <a:pt x="507" y="325"/>
                  <a:pt x="509" y="325"/>
                </a:cubicBezTo>
                <a:cubicBezTo>
                  <a:pt x="515" y="326"/>
                  <a:pt x="516" y="328"/>
                  <a:pt x="523" y="330"/>
                </a:cubicBezTo>
                <a:cubicBezTo>
                  <a:pt x="522" y="329"/>
                  <a:pt x="517" y="328"/>
                  <a:pt x="517" y="327"/>
                </a:cubicBezTo>
                <a:cubicBezTo>
                  <a:pt x="517" y="325"/>
                  <a:pt x="507" y="323"/>
                  <a:pt x="510" y="321"/>
                </a:cubicBezTo>
                <a:cubicBezTo>
                  <a:pt x="511" y="322"/>
                  <a:pt x="512" y="322"/>
                  <a:pt x="513" y="323"/>
                </a:cubicBezTo>
                <a:cubicBezTo>
                  <a:pt x="513" y="324"/>
                  <a:pt x="521" y="326"/>
                  <a:pt x="524" y="328"/>
                </a:cubicBezTo>
                <a:cubicBezTo>
                  <a:pt x="523" y="327"/>
                  <a:pt x="521" y="325"/>
                  <a:pt x="517" y="324"/>
                </a:cubicBezTo>
                <a:cubicBezTo>
                  <a:pt x="513" y="322"/>
                  <a:pt x="509" y="319"/>
                  <a:pt x="504" y="317"/>
                </a:cubicBezTo>
                <a:cubicBezTo>
                  <a:pt x="509" y="319"/>
                  <a:pt x="513" y="320"/>
                  <a:pt x="518" y="322"/>
                </a:cubicBezTo>
                <a:cubicBezTo>
                  <a:pt x="518" y="323"/>
                  <a:pt x="519" y="323"/>
                  <a:pt x="521" y="325"/>
                </a:cubicBezTo>
                <a:cubicBezTo>
                  <a:pt x="523" y="324"/>
                  <a:pt x="523" y="324"/>
                  <a:pt x="521" y="322"/>
                </a:cubicBezTo>
                <a:cubicBezTo>
                  <a:pt x="521" y="322"/>
                  <a:pt x="520" y="322"/>
                  <a:pt x="520" y="321"/>
                </a:cubicBezTo>
                <a:cubicBezTo>
                  <a:pt x="514" y="316"/>
                  <a:pt x="507" y="311"/>
                  <a:pt x="498" y="305"/>
                </a:cubicBezTo>
                <a:cubicBezTo>
                  <a:pt x="499" y="306"/>
                  <a:pt x="500" y="306"/>
                  <a:pt x="500" y="306"/>
                </a:cubicBezTo>
                <a:cubicBezTo>
                  <a:pt x="508" y="311"/>
                  <a:pt x="517" y="315"/>
                  <a:pt x="525" y="320"/>
                </a:cubicBezTo>
                <a:cubicBezTo>
                  <a:pt x="530" y="323"/>
                  <a:pt x="536" y="326"/>
                  <a:pt x="542" y="329"/>
                </a:cubicBezTo>
                <a:cubicBezTo>
                  <a:pt x="542" y="278"/>
                  <a:pt x="542" y="278"/>
                  <a:pt x="542" y="278"/>
                </a:cubicBezTo>
                <a:cubicBezTo>
                  <a:pt x="542" y="277"/>
                  <a:pt x="541" y="277"/>
                  <a:pt x="541" y="277"/>
                </a:cubicBezTo>
                <a:cubicBezTo>
                  <a:pt x="540" y="276"/>
                  <a:pt x="539" y="275"/>
                  <a:pt x="538" y="275"/>
                </a:cubicBezTo>
                <a:cubicBezTo>
                  <a:pt x="538" y="274"/>
                  <a:pt x="537" y="274"/>
                  <a:pt x="536" y="274"/>
                </a:cubicBezTo>
                <a:cubicBezTo>
                  <a:pt x="538" y="273"/>
                  <a:pt x="540" y="273"/>
                  <a:pt x="542" y="274"/>
                </a:cubicBezTo>
                <a:cubicBezTo>
                  <a:pt x="542" y="256"/>
                  <a:pt x="542" y="256"/>
                  <a:pt x="542" y="256"/>
                </a:cubicBezTo>
                <a:cubicBezTo>
                  <a:pt x="542" y="256"/>
                  <a:pt x="542" y="256"/>
                  <a:pt x="542" y="255"/>
                </a:cubicBezTo>
                <a:cubicBezTo>
                  <a:pt x="541" y="255"/>
                  <a:pt x="541" y="254"/>
                  <a:pt x="541" y="254"/>
                </a:cubicBezTo>
                <a:cubicBezTo>
                  <a:pt x="541" y="254"/>
                  <a:pt x="541" y="254"/>
                  <a:pt x="542" y="254"/>
                </a:cubicBezTo>
                <a:cubicBezTo>
                  <a:pt x="542" y="254"/>
                  <a:pt x="542" y="254"/>
                  <a:pt x="542" y="254"/>
                </a:cubicBezTo>
                <a:cubicBezTo>
                  <a:pt x="542" y="237"/>
                  <a:pt x="542" y="237"/>
                  <a:pt x="542" y="237"/>
                </a:cubicBezTo>
                <a:cubicBezTo>
                  <a:pt x="542" y="237"/>
                  <a:pt x="542" y="237"/>
                  <a:pt x="542" y="236"/>
                </a:cubicBezTo>
                <a:cubicBezTo>
                  <a:pt x="542" y="236"/>
                  <a:pt x="542" y="236"/>
                  <a:pt x="542" y="236"/>
                </a:cubicBezTo>
                <a:cubicBezTo>
                  <a:pt x="542" y="207"/>
                  <a:pt x="542" y="207"/>
                  <a:pt x="542" y="207"/>
                </a:cubicBezTo>
                <a:cubicBezTo>
                  <a:pt x="542" y="207"/>
                  <a:pt x="542" y="207"/>
                  <a:pt x="542" y="207"/>
                </a:cubicBezTo>
                <a:cubicBezTo>
                  <a:pt x="542" y="206"/>
                  <a:pt x="542" y="206"/>
                  <a:pt x="542" y="206"/>
                </a:cubicBezTo>
                <a:cubicBezTo>
                  <a:pt x="542" y="206"/>
                  <a:pt x="542" y="206"/>
                  <a:pt x="542" y="206"/>
                </a:cubicBezTo>
                <a:cubicBezTo>
                  <a:pt x="542" y="193"/>
                  <a:pt x="542" y="193"/>
                  <a:pt x="542" y="193"/>
                </a:cubicBezTo>
                <a:cubicBezTo>
                  <a:pt x="542" y="193"/>
                  <a:pt x="542" y="193"/>
                  <a:pt x="542" y="193"/>
                </a:cubicBezTo>
                <a:cubicBezTo>
                  <a:pt x="542" y="192"/>
                  <a:pt x="542" y="192"/>
                  <a:pt x="542" y="192"/>
                </a:cubicBezTo>
                <a:cubicBezTo>
                  <a:pt x="542" y="192"/>
                  <a:pt x="542" y="192"/>
                  <a:pt x="542" y="192"/>
                </a:cubicBezTo>
                <a:cubicBezTo>
                  <a:pt x="542" y="148"/>
                  <a:pt x="542" y="148"/>
                  <a:pt x="542" y="148"/>
                </a:cubicBezTo>
                <a:cubicBezTo>
                  <a:pt x="540" y="147"/>
                  <a:pt x="538" y="146"/>
                  <a:pt x="537" y="145"/>
                </a:cubicBezTo>
                <a:cubicBezTo>
                  <a:pt x="539" y="146"/>
                  <a:pt x="541" y="146"/>
                  <a:pt x="542" y="147"/>
                </a:cubicBezTo>
                <a:cubicBezTo>
                  <a:pt x="542" y="144"/>
                  <a:pt x="542" y="144"/>
                  <a:pt x="542" y="144"/>
                </a:cubicBezTo>
                <a:cubicBezTo>
                  <a:pt x="542" y="144"/>
                  <a:pt x="542" y="144"/>
                  <a:pt x="542" y="144"/>
                </a:cubicBezTo>
                <a:cubicBezTo>
                  <a:pt x="542" y="144"/>
                  <a:pt x="542" y="144"/>
                  <a:pt x="542" y="144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1192485" y="1561579"/>
            <a:ext cx="6604000" cy="535531"/>
          </a:xfrm>
        </p:spPr>
        <p:txBody>
          <a:bodyPr wrap="square" anchor="t">
            <a:spAutoFit/>
          </a:bodyPr>
          <a:lstStyle>
            <a:lvl1pPr marL="0" indent="0" algn="l">
              <a:buNone/>
              <a:defRPr sz="3200" normalizeH="0" baseline="0">
                <a:solidFill>
                  <a:schemeClr val="tx1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  <a:latin typeface="+mj-lt"/>
              </a:defRPr>
            </a:lvl2pPr>
            <a:lvl3pPr>
              <a:defRPr>
                <a:solidFill>
                  <a:schemeClr val="tx1"/>
                </a:solidFill>
                <a:latin typeface="+mj-lt"/>
              </a:defRPr>
            </a:lvl3pPr>
            <a:lvl4pPr>
              <a:defRPr>
                <a:solidFill>
                  <a:schemeClr val="tx1"/>
                </a:solidFill>
                <a:latin typeface="+mj-lt"/>
              </a:defRPr>
            </a:lvl4pPr>
            <a:lvl5pPr>
              <a:defRPr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9852138-FCC6-44DD-9FFC-1C789392E7AA}" type="datetime1">
              <a:rPr lang="en-US" smtClean="0"/>
              <a:t>11/15/2018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3206E70-9524-410D-AE9B-78D656EAA14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Rectangle 7"/>
          <p:cNvSpPr/>
          <p:nvPr userDrawn="1"/>
        </p:nvSpPr>
        <p:spPr>
          <a:xfrm>
            <a:off x="10237880" y="0"/>
            <a:ext cx="571500" cy="55562"/>
          </a:xfrm>
          <a:prstGeom prst="rect">
            <a:avLst/>
          </a:prstGeom>
          <a:solidFill>
            <a:srgbClr val="E258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 userDrawn="1"/>
        </p:nvSpPr>
        <p:spPr>
          <a:xfrm>
            <a:off x="10880817" y="0"/>
            <a:ext cx="571500" cy="55562"/>
          </a:xfrm>
          <a:prstGeom prst="rect">
            <a:avLst/>
          </a:prstGeom>
          <a:solidFill>
            <a:srgbClr val="78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 userDrawn="1"/>
        </p:nvSpPr>
        <p:spPr>
          <a:xfrm>
            <a:off x="11523754" y="0"/>
            <a:ext cx="571500" cy="55562"/>
          </a:xfrm>
          <a:prstGeom prst="rect">
            <a:avLst/>
          </a:prstGeom>
          <a:solidFill>
            <a:srgbClr val="3B39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811486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0" y="-639706"/>
            <a:ext cx="12192000" cy="8099368"/>
          </a:xfrm>
          <a:custGeom>
            <a:avLst/>
            <a:gdLst>
              <a:gd name="connsiteX0" fmla="*/ 6471976 w 12192000"/>
              <a:gd name="connsiteY0" fmla="*/ 6950228 h 8099368"/>
              <a:gd name="connsiteX1" fmla="*/ 6486842 w 12192000"/>
              <a:gd name="connsiteY1" fmla="*/ 6951583 h 8099368"/>
              <a:gd name="connsiteX2" fmla="*/ 6500901 w 12192000"/>
              <a:gd name="connsiteY2" fmla="*/ 6971324 h 8099368"/>
              <a:gd name="connsiteX3" fmla="*/ 6473135 w 12192000"/>
              <a:gd name="connsiteY3" fmla="*/ 6951231 h 8099368"/>
              <a:gd name="connsiteX4" fmla="*/ 9762599 w 12192000"/>
              <a:gd name="connsiteY4" fmla="*/ 6948763 h 8099368"/>
              <a:gd name="connsiteX5" fmla="*/ 9920060 w 12192000"/>
              <a:gd name="connsiteY5" fmla="*/ 7016446 h 8099368"/>
              <a:gd name="connsiteX6" fmla="*/ 10347455 w 12192000"/>
              <a:gd name="connsiteY6" fmla="*/ 7219494 h 8099368"/>
              <a:gd name="connsiteX7" fmla="*/ 9897565 w 12192000"/>
              <a:gd name="connsiteY7" fmla="*/ 7016446 h 8099368"/>
              <a:gd name="connsiteX8" fmla="*/ 9762599 w 12192000"/>
              <a:gd name="connsiteY8" fmla="*/ 6948763 h 8099368"/>
              <a:gd name="connsiteX9" fmla="*/ 7892826 w 12192000"/>
              <a:gd name="connsiteY9" fmla="*/ 6551161 h 8099368"/>
              <a:gd name="connsiteX10" fmla="*/ 7916998 w 12192000"/>
              <a:gd name="connsiteY10" fmla="*/ 6561350 h 8099368"/>
              <a:gd name="connsiteX11" fmla="*/ 7918053 w 12192000"/>
              <a:gd name="connsiteY11" fmla="*/ 6565228 h 8099368"/>
              <a:gd name="connsiteX12" fmla="*/ 7862076 w 12192000"/>
              <a:gd name="connsiteY12" fmla="*/ 6534013 h 8099368"/>
              <a:gd name="connsiteX13" fmla="*/ 7892826 w 12192000"/>
              <a:gd name="connsiteY13" fmla="*/ 6551161 h 8099368"/>
              <a:gd name="connsiteX14" fmla="*/ 7892746 w 12192000"/>
              <a:gd name="connsiteY14" fmla="*/ 6551127 h 8099368"/>
              <a:gd name="connsiteX15" fmla="*/ 7864277 w 12192000"/>
              <a:gd name="connsiteY15" fmla="*/ 6536674 h 8099368"/>
              <a:gd name="connsiteX16" fmla="*/ 4206466 w 12192000"/>
              <a:gd name="connsiteY16" fmla="*/ 6429862 h 8099368"/>
              <a:gd name="connsiteX17" fmla="*/ 4386421 w 12192000"/>
              <a:gd name="connsiteY17" fmla="*/ 6520106 h 8099368"/>
              <a:gd name="connsiteX18" fmla="*/ 4206466 w 12192000"/>
              <a:gd name="connsiteY18" fmla="*/ 6429862 h 8099368"/>
              <a:gd name="connsiteX19" fmla="*/ 7379061 w 12192000"/>
              <a:gd name="connsiteY19" fmla="*/ 6060797 h 8099368"/>
              <a:gd name="connsiteX20" fmla="*/ 7386609 w 12192000"/>
              <a:gd name="connsiteY20" fmla="*/ 6063622 h 8099368"/>
              <a:gd name="connsiteX21" fmla="*/ 7389432 w 12192000"/>
              <a:gd name="connsiteY21" fmla="*/ 6066068 h 8099368"/>
              <a:gd name="connsiteX22" fmla="*/ 7400680 w 12192000"/>
              <a:gd name="connsiteY22" fmla="*/ 6068888 h 8099368"/>
              <a:gd name="connsiteX23" fmla="*/ 7380997 w 12192000"/>
              <a:gd name="connsiteY23" fmla="*/ 6066068 h 8099368"/>
              <a:gd name="connsiteX24" fmla="*/ 1507129 w 12192000"/>
              <a:gd name="connsiteY24" fmla="*/ 5662791 h 8099368"/>
              <a:gd name="connsiteX25" fmla="*/ 1619602 w 12192000"/>
              <a:gd name="connsiteY25" fmla="*/ 5707913 h 8099368"/>
              <a:gd name="connsiteX26" fmla="*/ 1597107 w 12192000"/>
              <a:gd name="connsiteY26" fmla="*/ 5707913 h 8099368"/>
              <a:gd name="connsiteX27" fmla="*/ 1507129 w 12192000"/>
              <a:gd name="connsiteY27" fmla="*/ 5662791 h 8099368"/>
              <a:gd name="connsiteX28" fmla="*/ 1529627 w 12192000"/>
              <a:gd name="connsiteY28" fmla="*/ 5640232 h 8099368"/>
              <a:gd name="connsiteX29" fmla="*/ 1687085 w 12192000"/>
              <a:gd name="connsiteY29" fmla="*/ 5707913 h 8099368"/>
              <a:gd name="connsiteX30" fmla="*/ 1844546 w 12192000"/>
              <a:gd name="connsiteY30" fmla="*/ 5775596 h 8099368"/>
              <a:gd name="connsiteX31" fmla="*/ 2114480 w 12192000"/>
              <a:gd name="connsiteY31" fmla="*/ 5888400 h 8099368"/>
              <a:gd name="connsiteX32" fmla="*/ 2226952 w 12192000"/>
              <a:gd name="connsiteY32" fmla="*/ 5956083 h 8099368"/>
              <a:gd name="connsiteX33" fmla="*/ 2091986 w 12192000"/>
              <a:gd name="connsiteY33" fmla="*/ 5888400 h 8099368"/>
              <a:gd name="connsiteX34" fmla="*/ 2002008 w 12192000"/>
              <a:gd name="connsiteY34" fmla="*/ 5865839 h 8099368"/>
              <a:gd name="connsiteX35" fmla="*/ 1912030 w 12192000"/>
              <a:gd name="connsiteY35" fmla="*/ 5820717 h 8099368"/>
              <a:gd name="connsiteX36" fmla="*/ 1889536 w 12192000"/>
              <a:gd name="connsiteY36" fmla="*/ 5820717 h 8099368"/>
              <a:gd name="connsiteX37" fmla="*/ 1574613 w 12192000"/>
              <a:gd name="connsiteY37" fmla="*/ 5662791 h 8099368"/>
              <a:gd name="connsiteX38" fmla="*/ 1529620 w 12192000"/>
              <a:gd name="connsiteY38" fmla="*/ 5640228 h 8099368"/>
              <a:gd name="connsiteX39" fmla="*/ 1529627 w 12192000"/>
              <a:gd name="connsiteY39" fmla="*/ 5640232 h 8099368"/>
              <a:gd name="connsiteX40" fmla="*/ 1529624 w 12192000"/>
              <a:gd name="connsiteY40" fmla="*/ 5640230 h 8099368"/>
              <a:gd name="connsiteX41" fmla="*/ 10572399 w 12192000"/>
              <a:gd name="connsiteY41" fmla="*/ 2481701 h 8099368"/>
              <a:gd name="connsiteX42" fmla="*/ 10594894 w 12192000"/>
              <a:gd name="connsiteY42" fmla="*/ 2481701 h 8099368"/>
              <a:gd name="connsiteX43" fmla="*/ 10684872 w 12192000"/>
              <a:gd name="connsiteY43" fmla="*/ 2526823 h 8099368"/>
              <a:gd name="connsiteX44" fmla="*/ 10572399 w 12192000"/>
              <a:gd name="connsiteY44" fmla="*/ 2481701 h 8099368"/>
              <a:gd name="connsiteX45" fmla="*/ 4791322 w 12192000"/>
              <a:gd name="connsiteY45" fmla="*/ 2098166 h 8099368"/>
              <a:gd name="connsiteX46" fmla="*/ 4811005 w 12192000"/>
              <a:gd name="connsiteY46" fmla="*/ 2100986 h 8099368"/>
              <a:gd name="connsiteX47" fmla="*/ 4812941 w 12192000"/>
              <a:gd name="connsiteY47" fmla="*/ 2106256 h 8099368"/>
              <a:gd name="connsiteX48" fmla="*/ 4805393 w 12192000"/>
              <a:gd name="connsiteY48" fmla="*/ 2103432 h 8099368"/>
              <a:gd name="connsiteX49" fmla="*/ 4802569 w 12192000"/>
              <a:gd name="connsiteY49" fmla="*/ 2100986 h 8099368"/>
              <a:gd name="connsiteX50" fmla="*/ 4791322 w 12192000"/>
              <a:gd name="connsiteY50" fmla="*/ 2098166 h 8099368"/>
              <a:gd name="connsiteX51" fmla="*/ 7805580 w 12192000"/>
              <a:gd name="connsiteY51" fmla="*/ 1624386 h 8099368"/>
              <a:gd name="connsiteX52" fmla="*/ 7985536 w 12192000"/>
              <a:gd name="connsiteY52" fmla="*/ 1714630 h 8099368"/>
              <a:gd name="connsiteX53" fmla="*/ 7805580 w 12192000"/>
              <a:gd name="connsiteY53" fmla="*/ 1624386 h 8099368"/>
              <a:gd name="connsiteX54" fmla="*/ 4299175 w 12192000"/>
              <a:gd name="connsiteY54" fmla="*/ 1593331 h 8099368"/>
              <a:gd name="connsiteX55" fmla="*/ 4299255 w 12192000"/>
              <a:gd name="connsiteY55" fmla="*/ 1593365 h 8099368"/>
              <a:gd name="connsiteX56" fmla="*/ 4327725 w 12192000"/>
              <a:gd name="connsiteY56" fmla="*/ 1607818 h 8099368"/>
              <a:gd name="connsiteX57" fmla="*/ 4329926 w 12192000"/>
              <a:gd name="connsiteY57" fmla="*/ 1610479 h 8099368"/>
              <a:gd name="connsiteX58" fmla="*/ 4273949 w 12192000"/>
              <a:gd name="connsiteY58" fmla="*/ 1579265 h 8099368"/>
              <a:gd name="connsiteX59" fmla="*/ 4299175 w 12192000"/>
              <a:gd name="connsiteY59" fmla="*/ 1593331 h 8099368"/>
              <a:gd name="connsiteX60" fmla="*/ 4275003 w 12192000"/>
              <a:gd name="connsiteY60" fmla="*/ 1583142 h 8099368"/>
              <a:gd name="connsiteX61" fmla="*/ 4273949 w 12192000"/>
              <a:gd name="connsiteY61" fmla="*/ 1579265 h 8099368"/>
              <a:gd name="connsiteX62" fmla="*/ 1844546 w 12192000"/>
              <a:gd name="connsiteY62" fmla="*/ 879876 h 8099368"/>
              <a:gd name="connsiteX63" fmla="*/ 2294436 w 12192000"/>
              <a:gd name="connsiteY63" fmla="*/ 1105485 h 8099368"/>
              <a:gd name="connsiteX64" fmla="*/ 2429403 w 12192000"/>
              <a:gd name="connsiteY64" fmla="*/ 1173168 h 8099368"/>
              <a:gd name="connsiteX65" fmla="*/ 2271942 w 12192000"/>
              <a:gd name="connsiteY65" fmla="*/ 1105485 h 8099368"/>
              <a:gd name="connsiteX66" fmla="*/ 1844546 w 12192000"/>
              <a:gd name="connsiteY66" fmla="*/ 879876 h 8099368"/>
              <a:gd name="connsiteX67" fmla="*/ 112472 w 12192000"/>
              <a:gd name="connsiteY67" fmla="*/ 0 h 8099368"/>
              <a:gd name="connsiteX68" fmla="*/ 247439 w 12192000"/>
              <a:gd name="connsiteY68" fmla="*/ 67683 h 8099368"/>
              <a:gd name="connsiteX69" fmla="*/ 269934 w 12192000"/>
              <a:gd name="connsiteY69" fmla="*/ 67683 h 8099368"/>
              <a:gd name="connsiteX70" fmla="*/ 292428 w 12192000"/>
              <a:gd name="connsiteY70" fmla="*/ 67683 h 8099368"/>
              <a:gd name="connsiteX71" fmla="*/ 292428 w 12192000"/>
              <a:gd name="connsiteY71" fmla="*/ 45122 h 8099368"/>
              <a:gd name="connsiteX72" fmla="*/ 202450 w 12192000"/>
              <a:gd name="connsiteY72" fmla="*/ 0 h 8099368"/>
              <a:gd name="connsiteX73" fmla="*/ 314923 w 12192000"/>
              <a:gd name="connsiteY73" fmla="*/ 45122 h 8099368"/>
              <a:gd name="connsiteX74" fmla="*/ 494878 w 12192000"/>
              <a:gd name="connsiteY74" fmla="*/ 157927 h 8099368"/>
              <a:gd name="connsiteX75" fmla="*/ 517373 w 12192000"/>
              <a:gd name="connsiteY75" fmla="*/ 180488 h 8099368"/>
              <a:gd name="connsiteX76" fmla="*/ 607351 w 12192000"/>
              <a:gd name="connsiteY76" fmla="*/ 225609 h 8099368"/>
              <a:gd name="connsiteX77" fmla="*/ 809801 w 12192000"/>
              <a:gd name="connsiteY77" fmla="*/ 248170 h 8099368"/>
              <a:gd name="connsiteX78" fmla="*/ 787307 w 12192000"/>
              <a:gd name="connsiteY78" fmla="*/ 293292 h 8099368"/>
              <a:gd name="connsiteX79" fmla="*/ 989757 w 12192000"/>
              <a:gd name="connsiteY79" fmla="*/ 451218 h 8099368"/>
              <a:gd name="connsiteX80" fmla="*/ 1169713 w 12192000"/>
              <a:gd name="connsiteY80" fmla="*/ 564023 h 8099368"/>
              <a:gd name="connsiteX81" fmla="*/ 1327174 w 12192000"/>
              <a:gd name="connsiteY81" fmla="*/ 654267 h 8099368"/>
              <a:gd name="connsiteX82" fmla="*/ 1349668 w 12192000"/>
              <a:gd name="connsiteY82" fmla="*/ 676828 h 8099368"/>
              <a:gd name="connsiteX83" fmla="*/ 1349668 w 12192000"/>
              <a:gd name="connsiteY83" fmla="*/ 699389 h 8099368"/>
              <a:gd name="connsiteX84" fmla="*/ 1507129 w 12192000"/>
              <a:gd name="connsiteY84" fmla="*/ 789632 h 8099368"/>
              <a:gd name="connsiteX85" fmla="*/ 1597107 w 12192000"/>
              <a:gd name="connsiteY85" fmla="*/ 812193 h 8099368"/>
              <a:gd name="connsiteX86" fmla="*/ 2339425 w 12192000"/>
              <a:gd name="connsiteY86" fmla="*/ 1240851 h 8099368"/>
              <a:gd name="connsiteX87" fmla="*/ 2519381 w 12192000"/>
              <a:gd name="connsiteY87" fmla="*/ 1285973 h 8099368"/>
              <a:gd name="connsiteX88" fmla="*/ 2541875 w 12192000"/>
              <a:gd name="connsiteY88" fmla="*/ 1263412 h 8099368"/>
              <a:gd name="connsiteX89" fmla="*/ 2429403 w 12192000"/>
              <a:gd name="connsiteY89" fmla="*/ 1173168 h 8099368"/>
              <a:gd name="connsiteX90" fmla="*/ 2541875 w 12192000"/>
              <a:gd name="connsiteY90" fmla="*/ 1240851 h 8099368"/>
              <a:gd name="connsiteX91" fmla="*/ 2586864 w 12192000"/>
              <a:gd name="connsiteY91" fmla="*/ 1240851 h 8099368"/>
              <a:gd name="connsiteX92" fmla="*/ 2609359 w 12192000"/>
              <a:gd name="connsiteY92" fmla="*/ 1218290 h 8099368"/>
              <a:gd name="connsiteX93" fmla="*/ 2631853 w 12192000"/>
              <a:gd name="connsiteY93" fmla="*/ 1195729 h 8099368"/>
              <a:gd name="connsiteX94" fmla="*/ 2744325 w 12192000"/>
              <a:gd name="connsiteY94" fmla="*/ 1173168 h 8099368"/>
              <a:gd name="connsiteX95" fmla="*/ 2609359 w 12192000"/>
              <a:gd name="connsiteY95" fmla="*/ 1105485 h 8099368"/>
              <a:gd name="connsiteX96" fmla="*/ 2519381 w 12192000"/>
              <a:gd name="connsiteY96" fmla="*/ 1105485 h 8099368"/>
              <a:gd name="connsiteX97" fmla="*/ 2384414 w 12192000"/>
              <a:gd name="connsiteY97" fmla="*/ 1015242 h 8099368"/>
              <a:gd name="connsiteX98" fmla="*/ 2609359 w 12192000"/>
              <a:gd name="connsiteY98" fmla="*/ 1037802 h 8099368"/>
              <a:gd name="connsiteX99" fmla="*/ 2474392 w 12192000"/>
              <a:gd name="connsiteY99" fmla="*/ 947559 h 8099368"/>
              <a:gd name="connsiteX100" fmla="*/ 2654347 w 12192000"/>
              <a:gd name="connsiteY100" fmla="*/ 1037802 h 8099368"/>
              <a:gd name="connsiteX101" fmla="*/ 3104237 w 12192000"/>
              <a:gd name="connsiteY101" fmla="*/ 1285973 h 8099368"/>
              <a:gd name="connsiteX102" fmla="*/ 3284193 w 12192000"/>
              <a:gd name="connsiteY102" fmla="*/ 1353655 h 8099368"/>
              <a:gd name="connsiteX103" fmla="*/ 3936532 w 12192000"/>
              <a:gd name="connsiteY103" fmla="*/ 1669508 h 8099368"/>
              <a:gd name="connsiteX104" fmla="*/ 4363927 w 12192000"/>
              <a:gd name="connsiteY104" fmla="*/ 1872556 h 8099368"/>
              <a:gd name="connsiteX105" fmla="*/ 4791322 w 12192000"/>
              <a:gd name="connsiteY105" fmla="*/ 2098166 h 8099368"/>
              <a:gd name="connsiteX106" fmla="*/ 4805393 w 12192000"/>
              <a:gd name="connsiteY106" fmla="*/ 2103432 h 8099368"/>
              <a:gd name="connsiteX107" fmla="*/ 4810302 w 12192000"/>
              <a:gd name="connsiteY107" fmla="*/ 2107684 h 8099368"/>
              <a:gd name="connsiteX108" fmla="*/ 4813816 w 12192000"/>
              <a:gd name="connsiteY108" fmla="*/ 2120727 h 8099368"/>
              <a:gd name="connsiteX109" fmla="*/ 4813465 w 12192000"/>
              <a:gd name="connsiteY109" fmla="*/ 2107684 h 8099368"/>
              <a:gd name="connsiteX110" fmla="*/ 4812941 w 12192000"/>
              <a:gd name="connsiteY110" fmla="*/ 2106256 h 8099368"/>
              <a:gd name="connsiteX111" fmla="*/ 4979713 w 12192000"/>
              <a:gd name="connsiteY111" fmla="*/ 2168669 h 8099368"/>
              <a:gd name="connsiteX112" fmla="*/ 5151233 w 12192000"/>
              <a:gd name="connsiteY112" fmla="*/ 2256092 h 8099368"/>
              <a:gd name="connsiteX113" fmla="*/ 5218717 w 12192000"/>
              <a:gd name="connsiteY113" fmla="*/ 2256092 h 8099368"/>
              <a:gd name="connsiteX114" fmla="*/ 5128739 w 12192000"/>
              <a:gd name="connsiteY114" fmla="*/ 2210970 h 8099368"/>
              <a:gd name="connsiteX115" fmla="*/ 4701344 w 12192000"/>
              <a:gd name="connsiteY115" fmla="*/ 2007922 h 8099368"/>
              <a:gd name="connsiteX116" fmla="*/ 4543883 w 12192000"/>
              <a:gd name="connsiteY116" fmla="*/ 1917678 h 8099368"/>
              <a:gd name="connsiteX117" fmla="*/ 4228960 w 12192000"/>
              <a:gd name="connsiteY117" fmla="*/ 1759752 h 8099368"/>
              <a:gd name="connsiteX118" fmla="*/ 3981521 w 12192000"/>
              <a:gd name="connsiteY118" fmla="*/ 1624386 h 8099368"/>
              <a:gd name="connsiteX119" fmla="*/ 3891543 w 12192000"/>
              <a:gd name="connsiteY119" fmla="*/ 1579265 h 8099368"/>
              <a:gd name="connsiteX120" fmla="*/ 3576621 w 12192000"/>
              <a:gd name="connsiteY120" fmla="*/ 1398777 h 8099368"/>
              <a:gd name="connsiteX121" fmla="*/ 3554126 w 12192000"/>
              <a:gd name="connsiteY121" fmla="*/ 1308534 h 8099368"/>
              <a:gd name="connsiteX122" fmla="*/ 3531632 w 12192000"/>
              <a:gd name="connsiteY122" fmla="*/ 1308534 h 8099368"/>
              <a:gd name="connsiteX123" fmla="*/ 3306687 w 12192000"/>
              <a:gd name="connsiteY123" fmla="*/ 1263412 h 8099368"/>
              <a:gd name="connsiteX124" fmla="*/ 3216709 w 12192000"/>
              <a:gd name="connsiteY124" fmla="*/ 1195729 h 8099368"/>
              <a:gd name="connsiteX125" fmla="*/ 2969270 w 12192000"/>
              <a:gd name="connsiteY125" fmla="*/ 1150607 h 8099368"/>
              <a:gd name="connsiteX126" fmla="*/ 2834303 w 12192000"/>
              <a:gd name="connsiteY126" fmla="*/ 1128046 h 8099368"/>
              <a:gd name="connsiteX127" fmla="*/ 2879292 w 12192000"/>
              <a:gd name="connsiteY127" fmla="*/ 1105485 h 8099368"/>
              <a:gd name="connsiteX128" fmla="*/ 2856798 w 12192000"/>
              <a:gd name="connsiteY128" fmla="*/ 1060363 h 8099368"/>
              <a:gd name="connsiteX129" fmla="*/ 2901787 w 12192000"/>
              <a:gd name="connsiteY129" fmla="*/ 1082924 h 8099368"/>
              <a:gd name="connsiteX130" fmla="*/ 2901787 w 12192000"/>
              <a:gd name="connsiteY130" fmla="*/ 1105485 h 8099368"/>
              <a:gd name="connsiteX131" fmla="*/ 3261698 w 12192000"/>
              <a:gd name="connsiteY131" fmla="*/ 1195729 h 8099368"/>
              <a:gd name="connsiteX132" fmla="*/ 3396665 w 12192000"/>
              <a:gd name="connsiteY132" fmla="*/ 1240851 h 8099368"/>
              <a:gd name="connsiteX133" fmla="*/ 2834303 w 12192000"/>
              <a:gd name="connsiteY133" fmla="*/ 924998 h 8099368"/>
              <a:gd name="connsiteX134" fmla="*/ 2766820 w 12192000"/>
              <a:gd name="connsiteY134" fmla="*/ 902437 h 8099368"/>
              <a:gd name="connsiteX135" fmla="*/ 2766820 w 12192000"/>
              <a:gd name="connsiteY135" fmla="*/ 947559 h 8099368"/>
              <a:gd name="connsiteX136" fmla="*/ 2856798 w 12192000"/>
              <a:gd name="connsiteY136" fmla="*/ 992681 h 8099368"/>
              <a:gd name="connsiteX137" fmla="*/ 2879292 w 12192000"/>
              <a:gd name="connsiteY137" fmla="*/ 1037802 h 8099368"/>
              <a:gd name="connsiteX138" fmla="*/ 2811809 w 12192000"/>
              <a:gd name="connsiteY138" fmla="*/ 992681 h 8099368"/>
              <a:gd name="connsiteX139" fmla="*/ 2721831 w 12192000"/>
              <a:gd name="connsiteY139" fmla="*/ 947559 h 8099368"/>
              <a:gd name="connsiteX140" fmla="*/ 2586864 w 12192000"/>
              <a:gd name="connsiteY140" fmla="*/ 879876 h 8099368"/>
              <a:gd name="connsiteX141" fmla="*/ 2474392 w 12192000"/>
              <a:gd name="connsiteY141" fmla="*/ 812193 h 8099368"/>
              <a:gd name="connsiteX142" fmla="*/ 2316930 w 12192000"/>
              <a:gd name="connsiteY142" fmla="*/ 699389 h 8099368"/>
              <a:gd name="connsiteX143" fmla="*/ 2204458 w 12192000"/>
              <a:gd name="connsiteY143" fmla="*/ 654267 h 8099368"/>
              <a:gd name="connsiteX144" fmla="*/ 2069491 w 12192000"/>
              <a:gd name="connsiteY144" fmla="*/ 564023 h 8099368"/>
              <a:gd name="connsiteX145" fmla="*/ 1957019 w 12192000"/>
              <a:gd name="connsiteY145" fmla="*/ 451218 h 8099368"/>
              <a:gd name="connsiteX146" fmla="*/ 1709580 w 12192000"/>
              <a:gd name="connsiteY146" fmla="*/ 315853 h 8099368"/>
              <a:gd name="connsiteX147" fmla="*/ 1552119 w 12192000"/>
              <a:gd name="connsiteY147" fmla="*/ 248170 h 8099368"/>
              <a:gd name="connsiteX148" fmla="*/ 1732074 w 12192000"/>
              <a:gd name="connsiteY148" fmla="*/ 315853 h 8099368"/>
              <a:gd name="connsiteX149" fmla="*/ 2114480 w 12192000"/>
              <a:gd name="connsiteY149" fmla="*/ 541462 h 8099368"/>
              <a:gd name="connsiteX150" fmla="*/ 2181964 w 12192000"/>
              <a:gd name="connsiteY150" fmla="*/ 564023 h 8099368"/>
              <a:gd name="connsiteX151" fmla="*/ 2271942 w 12192000"/>
              <a:gd name="connsiteY151" fmla="*/ 609145 h 8099368"/>
              <a:gd name="connsiteX152" fmla="*/ 2159469 w 12192000"/>
              <a:gd name="connsiteY152" fmla="*/ 564023 h 8099368"/>
              <a:gd name="connsiteX153" fmla="*/ 2114480 w 12192000"/>
              <a:gd name="connsiteY153" fmla="*/ 564023 h 8099368"/>
              <a:gd name="connsiteX154" fmla="*/ 2226952 w 12192000"/>
              <a:gd name="connsiteY154" fmla="*/ 631706 h 8099368"/>
              <a:gd name="connsiteX155" fmla="*/ 2249447 w 12192000"/>
              <a:gd name="connsiteY155" fmla="*/ 631706 h 8099368"/>
              <a:gd name="connsiteX156" fmla="*/ 2609359 w 12192000"/>
              <a:gd name="connsiteY156" fmla="*/ 767071 h 8099368"/>
              <a:gd name="connsiteX157" fmla="*/ 2721831 w 12192000"/>
              <a:gd name="connsiteY157" fmla="*/ 857315 h 8099368"/>
              <a:gd name="connsiteX158" fmla="*/ 2901787 w 12192000"/>
              <a:gd name="connsiteY158" fmla="*/ 924998 h 8099368"/>
              <a:gd name="connsiteX159" fmla="*/ 3261698 w 12192000"/>
              <a:gd name="connsiteY159" fmla="*/ 1128046 h 8099368"/>
              <a:gd name="connsiteX160" fmla="*/ 3284193 w 12192000"/>
              <a:gd name="connsiteY160" fmla="*/ 1128046 h 8099368"/>
              <a:gd name="connsiteX161" fmla="*/ 3194215 w 12192000"/>
              <a:gd name="connsiteY161" fmla="*/ 1082924 h 8099368"/>
              <a:gd name="connsiteX162" fmla="*/ 3216709 w 12192000"/>
              <a:gd name="connsiteY162" fmla="*/ 1082924 h 8099368"/>
              <a:gd name="connsiteX163" fmla="*/ 3329181 w 12192000"/>
              <a:gd name="connsiteY163" fmla="*/ 1128046 h 8099368"/>
              <a:gd name="connsiteX164" fmla="*/ 3509137 w 12192000"/>
              <a:gd name="connsiteY164" fmla="*/ 1240851 h 8099368"/>
              <a:gd name="connsiteX165" fmla="*/ 3621609 w 12192000"/>
              <a:gd name="connsiteY165" fmla="*/ 1285973 h 8099368"/>
              <a:gd name="connsiteX166" fmla="*/ 3486643 w 12192000"/>
              <a:gd name="connsiteY166" fmla="*/ 1240851 h 8099368"/>
              <a:gd name="connsiteX167" fmla="*/ 3351676 w 12192000"/>
              <a:gd name="connsiteY167" fmla="*/ 1173168 h 8099368"/>
              <a:gd name="connsiteX168" fmla="*/ 3644104 w 12192000"/>
              <a:gd name="connsiteY168" fmla="*/ 1331095 h 8099368"/>
              <a:gd name="connsiteX169" fmla="*/ 3846554 w 12192000"/>
              <a:gd name="connsiteY169" fmla="*/ 1421338 h 8099368"/>
              <a:gd name="connsiteX170" fmla="*/ 4071499 w 12192000"/>
              <a:gd name="connsiteY170" fmla="*/ 1511582 h 8099368"/>
              <a:gd name="connsiteX171" fmla="*/ 4341432 w 12192000"/>
              <a:gd name="connsiteY171" fmla="*/ 1624386 h 8099368"/>
              <a:gd name="connsiteX172" fmla="*/ 4329926 w 12192000"/>
              <a:gd name="connsiteY172" fmla="*/ 1610479 h 8099368"/>
              <a:gd name="connsiteX173" fmla="*/ 4364981 w 12192000"/>
              <a:gd name="connsiteY173" fmla="*/ 1630027 h 8099368"/>
              <a:gd name="connsiteX174" fmla="*/ 4633860 w 12192000"/>
              <a:gd name="connsiteY174" fmla="*/ 1782313 h 8099368"/>
              <a:gd name="connsiteX175" fmla="*/ 4768827 w 12192000"/>
              <a:gd name="connsiteY175" fmla="*/ 1849996 h 8099368"/>
              <a:gd name="connsiteX176" fmla="*/ 5466156 w 12192000"/>
              <a:gd name="connsiteY176" fmla="*/ 2165849 h 8099368"/>
              <a:gd name="connsiteX177" fmla="*/ 6096001 w 12192000"/>
              <a:gd name="connsiteY177" fmla="*/ 2459141 h 8099368"/>
              <a:gd name="connsiteX178" fmla="*/ 5848562 w 12192000"/>
              <a:gd name="connsiteY178" fmla="*/ 2323775 h 8099368"/>
              <a:gd name="connsiteX179" fmla="*/ 5331189 w 12192000"/>
              <a:gd name="connsiteY179" fmla="*/ 2075605 h 8099368"/>
              <a:gd name="connsiteX180" fmla="*/ 5263705 w 12192000"/>
              <a:gd name="connsiteY180" fmla="*/ 2030483 h 8099368"/>
              <a:gd name="connsiteX181" fmla="*/ 5308694 w 12192000"/>
              <a:gd name="connsiteY181" fmla="*/ 2030483 h 8099368"/>
              <a:gd name="connsiteX182" fmla="*/ 5443662 w 12192000"/>
              <a:gd name="connsiteY182" fmla="*/ 2075605 h 8099368"/>
              <a:gd name="connsiteX183" fmla="*/ 5551213 w 12192000"/>
              <a:gd name="connsiteY183" fmla="*/ 2139057 h 8099368"/>
              <a:gd name="connsiteX184" fmla="*/ 5578628 w 12192000"/>
              <a:gd name="connsiteY184" fmla="*/ 2141381 h 8099368"/>
              <a:gd name="connsiteX185" fmla="*/ 5578628 w 12192000"/>
              <a:gd name="connsiteY185" fmla="*/ 2143288 h 8099368"/>
              <a:gd name="connsiteX186" fmla="*/ 5601122 w 12192000"/>
              <a:gd name="connsiteY186" fmla="*/ 2143288 h 8099368"/>
              <a:gd name="connsiteX187" fmla="*/ 5578628 w 12192000"/>
              <a:gd name="connsiteY187" fmla="*/ 2141381 h 8099368"/>
              <a:gd name="connsiteX188" fmla="*/ 5578628 w 12192000"/>
              <a:gd name="connsiteY188" fmla="*/ 2130245 h 8099368"/>
              <a:gd name="connsiteX189" fmla="*/ 5578628 w 12192000"/>
              <a:gd name="connsiteY189" fmla="*/ 2120727 h 8099368"/>
              <a:gd name="connsiteX190" fmla="*/ 5893551 w 12192000"/>
              <a:gd name="connsiteY190" fmla="*/ 2278653 h 8099368"/>
              <a:gd name="connsiteX191" fmla="*/ 5961034 w 12192000"/>
              <a:gd name="connsiteY191" fmla="*/ 2301214 h 8099368"/>
              <a:gd name="connsiteX192" fmla="*/ 6006023 w 12192000"/>
              <a:gd name="connsiteY192" fmla="*/ 2301214 h 8099368"/>
              <a:gd name="connsiteX193" fmla="*/ 5983528 w 12192000"/>
              <a:gd name="connsiteY193" fmla="*/ 2278653 h 8099368"/>
              <a:gd name="connsiteX194" fmla="*/ 6051012 w 12192000"/>
              <a:gd name="connsiteY194" fmla="*/ 2301214 h 8099368"/>
              <a:gd name="connsiteX195" fmla="*/ 6230968 w 12192000"/>
              <a:gd name="connsiteY195" fmla="*/ 2391458 h 8099368"/>
              <a:gd name="connsiteX196" fmla="*/ 6298451 w 12192000"/>
              <a:gd name="connsiteY196" fmla="*/ 2391458 h 8099368"/>
              <a:gd name="connsiteX197" fmla="*/ 6343440 w 12192000"/>
              <a:gd name="connsiteY197" fmla="*/ 2414019 h 8099368"/>
              <a:gd name="connsiteX198" fmla="*/ 6163484 w 12192000"/>
              <a:gd name="connsiteY198" fmla="*/ 2323775 h 8099368"/>
              <a:gd name="connsiteX199" fmla="*/ 6118495 w 12192000"/>
              <a:gd name="connsiteY199" fmla="*/ 2323775 h 8099368"/>
              <a:gd name="connsiteX200" fmla="*/ 6073506 w 12192000"/>
              <a:gd name="connsiteY200" fmla="*/ 2278653 h 8099368"/>
              <a:gd name="connsiteX201" fmla="*/ 5961034 w 12192000"/>
              <a:gd name="connsiteY201" fmla="*/ 2233531 h 8099368"/>
              <a:gd name="connsiteX202" fmla="*/ 5713595 w 12192000"/>
              <a:gd name="connsiteY202" fmla="*/ 2120727 h 8099368"/>
              <a:gd name="connsiteX203" fmla="*/ 5826067 w 12192000"/>
              <a:gd name="connsiteY203" fmla="*/ 2188409 h 8099368"/>
              <a:gd name="connsiteX204" fmla="*/ 5983528 w 12192000"/>
              <a:gd name="connsiteY204" fmla="*/ 2278653 h 8099368"/>
              <a:gd name="connsiteX205" fmla="*/ 5803573 w 12192000"/>
              <a:gd name="connsiteY205" fmla="*/ 2188409 h 8099368"/>
              <a:gd name="connsiteX206" fmla="*/ 5421167 w 12192000"/>
              <a:gd name="connsiteY206" fmla="*/ 1985361 h 8099368"/>
              <a:gd name="connsiteX207" fmla="*/ 5196222 w 12192000"/>
              <a:gd name="connsiteY207" fmla="*/ 1872556 h 8099368"/>
              <a:gd name="connsiteX208" fmla="*/ 4948783 w 12192000"/>
              <a:gd name="connsiteY208" fmla="*/ 1759752 h 8099368"/>
              <a:gd name="connsiteX209" fmla="*/ 4858805 w 12192000"/>
              <a:gd name="connsiteY209" fmla="*/ 1714630 h 8099368"/>
              <a:gd name="connsiteX210" fmla="*/ 4791322 w 12192000"/>
              <a:gd name="connsiteY210" fmla="*/ 1669508 h 8099368"/>
              <a:gd name="connsiteX211" fmla="*/ 4903794 w 12192000"/>
              <a:gd name="connsiteY211" fmla="*/ 1692069 h 8099368"/>
              <a:gd name="connsiteX212" fmla="*/ 4881300 w 12192000"/>
              <a:gd name="connsiteY212" fmla="*/ 1624386 h 8099368"/>
              <a:gd name="connsiteX213" fmla="*/ 4836311 w 12192000"/>
              <a:gd name="connsiteY213" fmla="*/ 1601825 h 8099368"/>
              <a:gd name="connsiteX214" fmla="*/ 4768827 w 12192000"/>
              <a:gd name="connsiteY214" fmla="*/ 1579265 h 8099368"/>
              <a:gd name="connsiteX215" fmla="*/ 4746333 w 12192000"/>
              <a:gd name="connsiteY215" fmla="*/ 1556704 h 8099368"/>
              <a:gd name="connsiteX216" fmla="*/ 4656355 w 12192000"/>
              <a:gd name="connsiteY216" fmla="*/ 1511582 h 8099368"/>
              <a:gd name="connsiteX217" fmla="*/ 4453905 w 12192000"/>
              <a:gd name="connsiteY217" fmla="*/ 1398777 h 8099368"/>
              <a:gd name="connsiteX218" fmla="*/ 4386421 w 12192000"/>
              <a:gd name="connsiteY218" fmla="*/ 1331095 h 8099368"/>
              <a:gd name="connsiteX219" fmla="*/ 4521389 w 12192000"/>
              <a:gd name="connsiteY219" fmla="*/ 1398777 h 8099368"/>
              <a:gd name="connsiteX220" fmla="*/ 4611366 w 12192000"/>
              <a:gd name="connsiteY220" fmla="*/ 1398777 h 8099368"/>
              <a:gd name="connsiteX221" fmla="*/ 4633860 w 12192000"/>
              <a:gd name="connsiteY221" fmla="*/ 1376216 h 8099368"/>
              <a:gd name="connsiteX222" fmla="*/ 4498894 w 12192000"/>
              <a:gd name="connsiteY222" fmla="*/ 1308534 h 8099368"/>
              <a:gd name="connsiteX223" fmla="*/ 4521389 w 12192000"/>
              <a:gd name="connsiteY223" fmla="*/ 1308534 h 8099368"/>
              <a:gd name="connsiteX224" fmla="*/ 4656355 w 12192000"/>
              <a:gd name="connsiteY224" fmla="*/ 1376216 h 8099368"/>
              <a:gd name="connsiteX225" fmla="*/ 4678849 w 12192000"/>
              <a:gd name="connsiteY225" fmla="*/ 1376216 h 8099368"/>
              <a:gd name="connsiteX226" fmla="*/ 4768827 w 12192000"/>
              <a:gd name="connsiteY226" fmla="*/ 1421338 h 8099368"/>
              <a:gd name="connsiteX227" fmla="*/ 4701344 w 12192000"/>
              <a:gd name="connsiteY227" fmla="*/ 1398777 h 8099368"/>
              <a:gd name="connsiteX228" fmla="*/ 4701344 w 12192000"/>
              <a:gd name="connsiteY228" fmla="*/ 1421338 h 8099368"/>
              <a:gd name="connsiteX229" fmla="*/ 4746333 w 12192000"/>
              <a:gd name="connsiteY229" fmla="*/ 1466460 h 8099368"/>
              <a:gd name="connsiteX230" fmla="*/ 4836311 w 12192000"/>
              <a:gd name="connsiteY230" fmla="*/ 1466460 h 8099368"/>
              <a:gd name="connsiteX231" fmla="*/ 4926288 w 12192000"/>
              <a:gd name="connsiteY231" fmla="*/ 1466460 h 8099368"/>
              <a:gd name="connsiteX232" fmla="*/ 4813816 w 12192000"/>
              <a:gd name="connsiteY232" fmla="*/ 1421338 h 8099368"/>
              <a:gd name="connsiteX233" fmla="*/ 4678849 w 12192000"/>
              <a:gd name="connsiteY233" fmla="*/ 1331095 h 8099368"/>
              <a:gd name="connsiteX234" fmla="*/ 4948783 w 12192000"/>
              <a:gd name="connsiteY234" fmla="*/ 1421338 h 8099368"/>
              <a:gd name="connsiteX235" fmla="*/ 5376178 w 12192000"/>
              <a:gd name="connsiteY235" fmla="*/ 1646947 h 8099368"/>
              <a:gd name="connsiteX236" fmla="*/ 5691100 w 12192000"/>
              <a:gd name="connsiteY236" fmla="*/ 1782313 h 8099368"/>
              <a:gd name="connsiteX237" fmla="*/ 5983528 w 12192000"/>
              <a:gd name="connsiteY237" fmla="*/ 1849996 h 8099368"/>
              <a:gd name="connsiteX238" fmla="*/ 5803573 w 12192000"/>
              <a:gd name="connsiteY238" fmla="*/ 1737191 h 8099368"/>
              <a:gd name="connsiteX239" fmla="*/ 5623617 w 12192000"/>
              <a:gd name="connsiteY239" fmla="*/ 1646947 h 8099368"/>
              <a:gd name="connsiteX240" fmla="*/ 5241211 w 12192000"/>
              <a:gd name="connsiteY240" fmla="*/ 1421338 h 8099368"/>
              <a:gd name="connsiteX241" fmla="*/ 4858805 w 12192000"/>
              <a:gd name="connsiteY241" fmla="*/ 1218290 h 8099368"/>
              <a:gd name="connsiteX242" fmla="*/ 4768827 w 12192000"/>
              <a:gd name="connsiteY242" fmla="*/ 1195729 h 8099368"/>
              <a:gd name="connsiteX243" fmla="*/ 4723838 w 12192000"/>
              <a:gd name="connsiteY243" fmla="*/ 1173168 h 8099368"/>
              <a:gd name="connsiteX244" fmla="*/ 4791322 w 12192000"/>
              <a:gd name="connsiteY244" fmla="*/ 1173168 h 8099368"/>
              <a:gd name="connsiteX245" fmla="*/ 4836311 w 12192000"/>
              <a:gd name="connsiteY245" fmla="*/ 1195729 h 8099368"/>
              <a:gd name="connsiteX246" fmla="*/ 4881300 w 12192000"/>
              <a:gd name="connsiteY246" fmla="*/ 1218290 h 8099368"/>
              <a:gd name="connsiteX247" fmla="*/ 4948783 w 12192000"/>
              <a:gd name="connsiteY247" fmla="*/ 1263412 h 8099368"/>
              <a:gd name="connsiteX248" fmla="*/ 5061256 w 12192000"/>
              <a:gd name="connsiteY248" fmla="*/ 1308534 h 8099368"/>
              <a:gd name="connsiteX249" fmla="*/ 5263705 w 12192000"/>
              <a:gd name="connsiteY249" fmla="*/ 1421338 h 8099368"/>
              <a:gd name="connsiteX250" fmla="*/ 5353683 w 12192000"/>
              <a:gd name="connsiteY250" fmla="*/ 1466460 h 8099368"/>
              <a:gd name="connsiteX251" fmla="*/ 5308694 w 12192000"/>
              <a:gd name="connsiteY251" fmla="*/ 1443899 h 8099368"/>
              <a:gd name="connsiteX252" fmla="*/ 5308694 w 12192000"/>
              <a:gd name="connsiteY252" fmla="*/ 1398777 h 8099368"/>
              <a:gd name="connsiteX253" fmla="*/ 5263705 w 12192000"/>
              <a:gd name="connsiteY253" fmla="*/ 1376216 h 8099368"/>
              <a:gd name="connsiteX254" fmla="*/ 5241211 w 12192000"/>
              <a:gd name="connsiteY254" fmla="*/ 1376216 h 8099368"/>
              <a:gd name="connsiteX255" fmla="*/ 5218717 w 12192000"/>
              <a:gd name="connsiteY255" fmla="*/ 1353655 h 8099368"/>
              <a:gd name="connsiteX256" fmla="*/ 5241211 w 12192000"/>
              <a:gd name="connsiteY256" fmla="*/ 1331095 h 8099368"/>
              <a:gd name="connsiteX257" fmla="*/ 5218717 w 12192000"/>
              <a:gd name="connsiteY257" fmla="*/ 1331095 h 8099368"/>
              <a:gd name="connsiteX258" fmla="*/ 4971278 w 12192000"/>
              <a:gd name="connsiteY258" fmla="*/ 1240851 h 8099368"/>
              <a:gd name="connsiteX259" fmla="*/ 5038761 w 12192000"/>
              <a:gd name="connsiteY259" fmla="*/ 1195729 h 8099368"/>
              <a:gd name="connsiteX260" fmla="*/ 5173728 w 12192000"/>
              <a:gd name="connsiteY260" fmla="*/ 1195729 h 8099368"/>
              <a:gd name="connsiteX261" fmla="*/ 5128739 w 12192000"/>
              <a:gd name="connsiteY261" fmla="*/ 1128046 h 8099368"/>
              <a:gd name="connsiteX262" fmla="*/ 5398672 w 12192000"/>
              <a:gd name="connsiteY262" fmla="*/ 1218290 h 8099368"/>
              <a:gd name="connsiteX263" fmla="*/ 5308694 w 12192000"/>
              <a:gd name="connsiteY263" fmla="*/ 1240851 h 8099368"/>
              <a:gd name="connsiteX264" fmla="*/ 5286200 w 12192000"/>
              <a:gd name="connsiteY264" fmla="*/ 1263412 h 8099368"/>
              <a:gd name="connsiteX265" fmla="*/ 5353683 w 12192000"/>
              <a:gd name="connsiteY265" fmla="*/ 1285973 h 8099368"/>
              <a:gd name="connsiteX266" fmla="*/ 5533639 w 12192000"/>
              <a:gd name="connsiteY266" fmla="*/ 1285973 h 8099368"/>
              <a:gd name="connsiteX267" fmla="*/ 5781078 w 12192000"/>
              <a:gd name="connsiteY267" fmla="*/ 1376216 h 8099368"/>
              <a:gd name="connsiteX268" fmla="*/ 5893551 w 12192000"/>
              <a:gd name="connsiteY268" fmla="*/ 1421338 h 8099368"/>
              <a:gd name="connsiteX269" fmla="*/ 5893551 w 12192000"/>
              <a:gd name="connsiteY269" fmla="*/ 1376216 h 8099368"/>
              <a:gd name="connsiteX270" fmla="*/ 5893551 w 12192000"/>
              <a:gd name="connsiteY270" fmla="*/ 1353655 h 8099368"/>
              <a:gd name="connsiteX271" fmla="*/ 5578628 w 12192000"/>
              <a:gd name="connsiteY271" fmla="*/ 1173168 h 8099368"/>
              <a:gd name="connsiteX272" fmla="*/ 5466156 w 12192000"/>
              <a:gd name="connsiteY272" fmla="*/ 1105485 h 8099368"/>
              <a:gd name="connsiteX273" fmla="*/ 5241211 w 12192000"/>
              <a:gd name="connsiteY273" fmla="*/ 992681 h 8099368"/>
              <a:gd name="connsiteX274" fmla="*/ 5353683 w 12192000"/>
              <a:gd name="connsiteY274" fmla="*/ 1015242 h 8099368"/>
              <a:gd name="connsiteX275" fmla="*/ 5353683 w 12192000"/>
              <a:gd name="connsiteY275" fmla="*/ 992681 h 8099368"/>
              <a:gd name="connsiteX276" fmla="*/ 5443662 w 12192000"/>
              <a:gd name="connsiteY276" fmla="*/ 1037802 h 8099368"/>
              <a:gd name="connsiteX277" fmla="*/ 5376178 w 12192000"/>
              <a:gd name="connsiteY277" fmla="*/ 1015242 h 8099368"/>
              <a:gd name="connsiteX278" fmla="*/ 5511145 w 12192000"/>
              <a:gd name="connsiteY278" fmla="*/ 1105485 h 8099368"/>
              <a:gd name="connsiteX279" fmla="*/ 5893551 w 12192000"/>
              <a:gd name="connsiteY279" fmla="*/ 1308534 h 8099368"/>
              <a:gd name="connsiteX280" fmla="*/ 6275956 w 12192000"/>
              <a:gd name="connsiteY280" fmla="*/ 1489021 h 8099368"/>
              <a:gd name="connsiteX281" fmla="*/ 6320945 w 12192000"/>
              <a:gd name="connsiteY281" fmla="*/ 1511582 h 8099368"/>
              <a:gd name="connsiteX282" fmla="*/ 6410923 w 12192000"/>
              <a:gd name="connsiteY282" fmla="*/ 1556704 h 8099368"/>
              <a:gd name="connsiteX283" fmla="*/ 7130746 w 12192000"/>
              <a:gd name="connsiteY283" fmla="*/ 1917678 h 8099368"/>
              <a:gd name="connsiteX284" fmla="*/ 7513152 w 12192000"/>
              <a:gd name="connsiteY284" fmla="*/ 2098166 h 8099368"/>
              <a:gd name="connsiteX285" fmla="*/ 7423174 w 12192000"/>
              <a:gd name="connsiteY285" fmla="*/ 2030483 h 8099368"/>
              <a:gd name="connsiteX286" fmla="*/ 7423174 w 12192000"/>
              <a:gd name="connsiteY286" fmla="*/ 2007922 h 8099368"/>
              <a:gd name="connsiteX287" fmla="*/ 7310702 w 12192000"/>
              <a:gd name="connsiteY287" fmla="*/ 1940239 h 8099368"/>
              <a:gd name="connsiteX288" fmla="*/ 7153241 w 12192000"/>
              <a:gd name="connsiteY288" fmla="*/ 1872556 h 8099368"/>
              <a:gd name="connsiteX289" fmla="*/ 7040768 w 12192000"/>
              <a:gd name="connsiteY289" fmla="*/ 1804874 h 8099368"/>
              <a:gd name="connsiteX290" fmla="*/ 6793329 w 12192000"/>
              <a:gd name="connsiteY290" fmla="*/ 1692069 h 8099368"/>
              <a:gd name="connsiteX291" fmla="*/ 6748340 w 12192000"/>
              <a:gd name="connsiteY291" fmla="*/ 1669508 h 8099368"/>
              <a:gd name="connsiteX292" fmla="*/ 6523396 w 12192000"/>
              <a:gd name="connsiteY292" fmla="*/ 1556704 h 8099368"/>
              <a:gd name="connsiteX293" fmla="*/ 6320945 w 12192000"/>
              <a:gd name="connsiteY293" fmla="*/ 1489021 h 8099368"/>
              <a:gd name="connsiteX294" fmla="*/ 6455912 w 12192000"/>
              <a:gd name="connsiteY294" fmla="*/ 1556704 h 8099368"/>
              <a:gd name="connsiteX295" fmla="*/ 6433418 w 12192000"/>
              <a:gd name="connsiteY295" fmla="*/ 1556704 h 8099368"/>
              <a:gd name="connsiteX296" fmla="*/ 6298451 w 12192000"/>
              <a:gd name="connsiteY296" fmla="*/ 1489021 h 8099368"/>
              <a:gd name="connsiteX297" fmla="*/ 6298451 w 12192000"/>
              <a:gd name="connsiteY297" fmla="*/ 1443899 h 8099368"/>
              <a:gd name="connsiteX298" fmla="*/ 6163484 w 12192000"/>
              <a:gd name="connsiteY298" fmla="*/ 1376216 h 8099368"/>
              <a:gd name="connsiteX299" fmla="*/ 5938539 w 12192000"/>
              <a:gd name="connsiteY299" fmla="*/ 1240851 h 8099368"/>
              <a:gd name="connsiteX300" fmla="*/ 5826067 w 12192000"/>
              <a:gd name="connsiteY300" fmla="*/ 1195729 h 8099368"/>
              <a:gd name="connsiteX301" fmla="*/ 5848562 w 12192000"/>
              <a:gd name="connsiteY301" fmla="*/ 1240851 h 8099368"/>
              <a:gd name="connsiteX302" fmla="*/ 5691100 w 12192000"/>
              <a:gd name="connsiteY302" fmla="*/ 1173168 h 8099368"/>
              <a:gd name="connsiteX303" fmla="*/ 5736089 w 12192000"/>
              <a:gd name="connsiteY303" fmla="*/ 1173168 h 8099368"/>
              <a:gd name="connsiteX304" fmla="*/ 5736089 w 12192000"/>
              <a:gd name="connsiteY304" fmla="*/ 1128046 h 8099368"/>
              <a:gd name="connsiteX305" fmla="*/ 5713595 w 12192000"/>
              <a:gd name="connsiteY305" fmla="*/ 1105485 h 8099368"/>
              <a:gd name="connsiteX306" fmla="*/ 5803573 w 12192000"/>
              <a:gd name="connsiteY306" fmla="*/ 1128046 h 8099368"/>
              <a:gd name="connsiteX307" fmla="*/ 6006023 w 12192000"/>
              <a:gd name="connsiteY307" fmla="*/ 1240851 h 8099368"/>
              <a:gd name="connsiteX308" fmla="*/ 6455912 w 12192000"/>
              <a:gd name="connsiteY308" fmla="*/ 1443899 h 8099368"/>
              <a:gd name="connsiteX309" fmla="*/ 6388429 w 12192000"/>
              <a:gd name="connsiteY309" fmla="*/ 1421338 h 8099368"/>
              <a:gd name="connsiteX310" fmla="*/ 6388429 w 12192000"/>
              <a:gd name="connsiteY310" fmla="*/ 1443899 h 8099368"/>
              <a:gd name="connsiteX311" fmla="*/ 6770835 w 12192000"/>
              <a:gd name="connsiteY311" fmla="*/ 1579265 h 8099368"/>
              <a:gd name="connsiteX312" fmla="*/ 6793329 w 12192000"/>
              <a:gd name="connsiteY312" fmla="*/ 1556704 h 8099368"/>
              <a:gd name="connsiteX313" fmla="*/ 6748340 w 12192000"/>
              <a:gd name="connsiteY313" fmla="*/ 1511582 h 8099368"/>
              <a:gd name="connsiteX314" fmla="*/ 6860813 w 12192000"/>
              <a:gd name="connsiteY314" fmla="*/ 1556704 h 8099368"/>
              <a:gd name="connsiteX315" fmla="*/ 6860813 w 12192000"/>
              <a:gd name="connsiteY315" fmla="*/ 1489021 h 8099368"/>
              <a:gd name="connsiteX316" fmla="*/ 6838318 w 12192000"/>
              <a:gd name="connsiteY316" fmla="*/ 1443899 h 8099368"/>
              <a:gd name="connsiteX317" fmla="*/ 6883307 w 12192000"/>
              <a:gd name="connsiteY317" fmla="*/ 1443899 h 8099368"/>
              <a:gd name="connsiteX318" fmla="*/ 6838318 w 12192000"/>
              <a:gd name="connsiteY318" fmla="*/ 1421338 h 8099368"/>
              <a:gd name="connsiteX319" fmla="*/ 6613373 w 12192000"/>
              <a:gd name="connsiteY319" fmla="*/ 1308534 h 8099368"/>
              <a:gd name="connsiteX320" fmla="*/ 6658362 w 12192000"/>
              <a:gd name="connsiteY320" fmla="*/ 1308534 h 8099368"/>
              <a:gd name="connsiteX321" fmla="*/ 6568385 w 12192000"/>
              <a:gd name="connsiteY321" fmla="*/ 1240851 h 8099368"/>
              <a:gd name="connsiteX322" fmla="*/ 6703351 w 12192000"/>
              <a:gd name="connsiteY322" fmla="*/ 1308534 h 8099368"/>
              <a:gd name="connsiteX323" fmla="*/ 6905802 w 12192000"/>
              <a:gd name="connsiteY323" fmla="*/ 1398777 h 8099368"/>
              <a:gd name="connsiteX324" fmla="*/ 6973285 w 12192000"/>
              <a:gd name="connsiteY324" fmla="*/ 1398777 h 8099368"/>
              <a:gd name="connsiteX325" fmla="*/ 6950790 w 12192000"/>
              <a:gd name="connsiteY325" fmla="*/ 1353655 h 8099368"/>
              <a:gd name="connsiteX326" fmla="*/ 7018274 w 12192000"/>
              <a:gd name="connsiteY326" fmla="*/ 1398777 h 8099368"/>
              <a:gd name="connsiteX327" fmla="*/ 7378185 w 12192000"/>
              <a:gd name="connsiteY327" fmla="*/ 1579265 h 8099368"/>
              <a:gd name="connsiteX328" fmla="*/ 7355691 w 12192000"/>
              <a:gd name="connsiteY328" fmla="*/ 1534143 h 8099368"/>
              <a:gd name="connsiteX329" fmla="*/ 7310702 w 12192000"/>
              <a:gd name="connsiteY329" fmla="*/ 1489021 h 8099368"/>
              <a:gd name="connsiteX330" fmla="*/ 7108252 w 12192000"/>
              <a:gd name="connsiteY330" fmla="*/ 1398777 h 8099368"/>
              <a:gd name="connsiteX331" fmla="*/ 7108252 w 12192000"/>
              <a:gd name="connsiteY331" fmla="*/ 1376216 h 8099368"/>
              <a:gd name="connsiteX332" fmla="*/ 6928296 w 12192000"/>
              <a:gd name="connsiteY332" fmla="*/ 1263412 h 8099368"/>
              <a:gd name="connsiteX333" fmla="*/ 7018274 w 12192000"/>
              <a:gd name="connsiteY333" fmla="*/ 1308534 h 8099368"/>
              <a:gd name="connsiteX334" fmla="*/ 7063263 w 12192000"/>
              <a:gd name="connsiteY334" fmla="*/ 1285973 h 8099368"/>
              <a:gd name="connsiteX335" fmla="*/ 7153241 w 12192000"/>
              <a:gd name="connsiteY335" fmla="*/ 1331095 h 8099368"/>
              <a:gd name="connsiteX336" fmla="*/ 7333196 w 12192000"/>
              <a:gd name="connsiteY336" fmla="*/ 1421338 h 8099368"/>
              <a:gd name="connsiteX337" fmla="*/ 7603130 w 12192000"/>
              <a:gd name="connsiteY337" fmla="*/ 1579265 h 8099368"/>
              <a:gd name="connsiteX338" fmla="*/ 8142997 w 12192000"/>
              <a:gd name="connsiteY338" fmla="*/ 1872556 h 8099368"/>
              <a:gd name="connsiteX339" fmla="*/ 8255470 w 12192000"/>
              <a:gd name="connsiteY339" fmla="*/ 1917678 h 8099368"/>
              <a:gd name="connsiteX340" fmla="*/ 8300458 w 12192000"/>
              <a:gd name="connsiteY340" fmla="*/ 1917678 h 8099368"/>
              <a:gd name="connsiteX341" fmla="*/ 8300458 w 12192000"/>
              <a:gd name="connsiteY341" fmla="*/ 1940239 h 8099368"/>
              <a:gd name="connsiteX342" fmla="*/ 8412931 w 12192000"/>
              <a:gd name="connsiteY342" fmla="*/ 1985361 h 8099368"/>
              <a:gd name="connsiteX343" fmla="*/ 8615381 w 12192000"/>
              <a:gd name="connsiteY343" fmla="*/ 2098166 h 8099368"/>
              <a:gd name="connsiteX344" fmla="*/ 8637875 w 12192000"/>
              <a:gd name="connsiteY344" fmla="*/ 2075605 h 8099368"/>
              <a:gd name="connsiteX345" fmla="*/ 8727853 w 12192000"/>
              <a:gd name="connsiteY345" fmla="*/ 2120727 h 8099368"/>
              <a:gd name="connsiteX346" fmla="*/ 8817831 w 12192000"/>
              <a:gd name="connsiteY346" fmla="*/ 2143288 h 8099368"/>
              <a:gd name="connsiteX347" fmla="*/ 8907809 w 12192000"/>
              <a:gd name="connsiteY347" fmla="*/ 2188409 h 8099368"/>
              <a:gd name="connsiteX348" fmla="*/ 8907809 w 12192000"/>
              <a:gd name="connsiteY348" fmla="*/ 2188409 h 8099368"/>
              <a:gd name="connsiteX349" fmla="*/ 8907809 w 12192000"/>
              <a:gd name="connsiteY349" fmla="*/ 2188410 h 8099368"/>
              <a:gd name="connsiteX350" fmla="*/ 8930303 w 12192000"/>
              <a:gd name="connsiteY350" fmla="*/ 2199689 h 8099368"/>
              <a:gd name="connsiteX351" fmla="*/ 8930303 w 12192000"/>
              <a:gd name="connsiteY351" fmla="*/ 2199690 h 8099368"/>
              <a:gd name="connsiteX352" fmla="*/ 8952798 w 12192000"/>
              <a:gd name="connsiteY352" fmla="*/ 2210970 h 8099368"/>
              <a:gd name="connsiteX353" fmla="*/ 8930303 w 12192000"/>
              <a:gd name="connsiteY353" fmla="*/ 2199689 h 8099368"/>
              <a:gd name="connsiteX354" fmla="*/ 8921165 w 12192000"/>
              <a:gd name="connsiteY354" fmla="*/ 2191935 h 8099368"/>
              <a:gd name="connsiteX355" fmla="*/ 8907809 w 12192000"/>
              <a:gd name="connsiteY355" fmla="*/ 2188410 h 8099368"/>
              <a:gd name="connsiteX356" fmla="*/ 8907809 w 12192000"/>
              <a:gd name="connsiteY356" fmla="*/ 2188409 h 8099368"/>
              <a:gd name="connsiteX357" fmla="*/ 8903943 w 12192000"/>
              <a:gd name="connsiteY357" fmla="*/ 2175014 h 8099368"/>
              <a:gd name="connsiteX358" fmla="*/ 8862820 w 12192000"/>
              <a:gd name="connsiteY358" fmla="*/ 2143288 h 8099368"/>
              <a:gd name="connsiteX359" fmla="*/ 8772842 w 12192000"/>
              <a:gd name="connsiteY359" fmla="*/ 2075605 h 8099368"/>
              <a:gd name="connsiteX360" fmla="*/ 8547897 w 12192000"/>
              <a:gd name="connsiteY360" fmla="*/ 1940239 h 8099368"/>
              <a:gd name="connsiteX361" fmla="*/ 8322953 w 12192000"/>
              <a:gd name="connsiteY361" fmla="*/ 1827435 h 8099368"/>
              <a:gd name="connsiteX362" fmla="*/ 7940547 w 12192000"/>
              <a:gd name="connsiteY362" fmla="*/ 1624386 h 8099368"/>
              <a:gd name="connsiteX363" fmla="*/ 7850569 w 12192000"/>
              <a:gd name="connsiteY363" fmla="*/ 1556704 h 8099368"/>
              <a:gd name="connsiteX364" fmla="*/ 7805580 w 12192000"/>
              <a:gd name="connsiteY364" fmla="*/ 1534143 h 8099368"/>
              <a:gd name="connsiteX365" fmla="*/ 7670613 w 12192000"/>
              <a:gd name="connsiteY365" fmla="*/ 1511582 h 8099368"/>
              <a:gd name="connsiteX366" fmla="*/ 7670613 w 12192000"/>
              <a:gd name="connsiteY366" fmla="*/ 1534143 h 8099368"/>
              <a:gd name="connsiteX367" fmla="*/ 7805580 w 12192000"/>
              <a:gd name="connsiteY367" fmla="*/ 1624386 h 8099368"/>
              <a:gd name="connsiteX368" fmla="*/ 7670613 w 12192000"/>
              <a:gd name="connsiteY368" fmla="*/ 1579265 h 8099368"/>
              <a:gd name="connsiteX369" fmla="*/ 7513152 w 12192000"/>
              <a:gd name="connsiteY369" fmla="*/ 1511582 h 8099368"/>
              <a:gd name="connsiteX370" fmla="*/ 7468163 w 12192000"/>
              <a:gd name="connsiteY370" fmla="*/ 1466460 h 8099368"/>
              <a:gd name="connsiteX371" fmla="*/ 7580636 w 12192000"/>
              <a:gd name="connsiteY371" fmla="*/ 1489021 h 8099368"/>
              <a:gd name="connsiteX372" fmla="*/ 7603130 w 12192000"/>
              <a:gd name="connsiteY372" fmla="*/ 1489021 h 8099368"/>
              <a:gd name="connsiteX373" fmla="*/ 7625624 w 12192000"/>
              <a:gd name="connsiteY373" fmla="*/ 1489021 h 8099368"/>
              <a:gd name="connsiteX374" fmla="*/ 7513152 w 12192000"/>
              <a:gd name="connsiteY374" fmla="*/ 1421338 h 8099368"/>
              <a:gd name="connsiteX375" fmla="*/ 7648119 w 12192000"/>
              <a:gd name="connsiteY375" fmla="*/ 1466460 h 8099368"/>
              <a:gd name="connsiteX376" fmla="*/ 7333196 w 12192000"/>
              <a:gd name="connsiteY376" fmla="*/ 1285973 h 8099368"/>
              <a:gd name="connsiteX377" fmla="*/ 7288207 w 12192000"/>
              <a:gd name="connsiteY377" fmla="*/ 1240851 h 8099368"/>
              <a:gd name="connsiteX378" fmla="*/ 7243219 w 12192000"/>
              <a:gd name="connsiteY378" fmla="*/ 1218290 h 8099368"/>
              <a:gd name="connsiteX379" fmla="*/ 7085757 w 12192000"/>
              <a:gd name="connsiteY379" fmla="*/ 1173168 h 8099368"/>
              <a:gd name="connsiteX380" fmla="*/ 7063263 w 12192000"/>
              <a:gd name="connsiteY380" fmla="*/ 1173168 h 8099368"/>
              <a:gd name="connsiteX381" fmla="*/ 7085757 w 12192000"/>
              <a:gd name="connsiteY381" fmla="*/ 1150607 h 8099368"/>
              <a:gd name="connsiteX382" fmla="*/ 6883307 w 12192000"/>
              <a:gd name="connsiteY382" fmla="*/ 992681 h 8099368"/>
              <a:gd name="connsiteX383" fmla="*/ 7130746 w 12192000"/>
              <a:gd name="connsiteY383" fmla="*/ 1105485 h 8099368"/>
              <a:gd name="connsiteX384" fmla="*/ 7288207 w 12192000"/>
              <a:gd name="connsiteY384" fmla="*/ 1195729 h 8099368"/>
              <a:gd name="connsiteX385" fmla="*/ 7535647 w 12192000"/>
              <a:gd name="connsiteY385" fmla="*/ 1308534 h 8099368"/>
              <a:gd name="connsiteX386" fmla="*/ 7558141 w 12192000"/>
              <a:gd name="connsiteY386" fmla="*/ 1308534 h 8099368"/>
              <a:gd name="connsiteX387" fmla="*/ 7670613 w 12192000"/>
              <a:gd name="connsiteY387" fmla="*/ 1353655 h 8099368"/>
              <a:gd name="connsiteX388" fmla="*/ 7783086 w 12192000"/>
              <a:gd name="connsiteY388" fmla="*/ 1398777 h 8099368"/>
              <a:gd name="connsiteX389" fmla="*/ 7918053 w 12192000"/>
              <a:gd name="connsiteY389" fmla="*/ 1489021 h 8099368"/>
              <a:gd name="connsiteX390" fmla="*/ 8075514 w 12192000"/>
              <a:gd name="connsiteY390" fmla="*/ 1556704 h 8099368"/>
              <a:gd name="connsiteX391" fmla="*/ 8098008 w 12192000"/>
              <a:gd name="connsiteY391" fmla="*/ 1534143 h 8099368"/>
              <a:gd name="connsiteX392" fmla="*/ 8120503 w 12192000"/>
              <a:gd name="connsiteY392" fmla="*/ 1534143 h 8099368"/>
              <a:gd name="connsiteX393" fmla="*/ 8030525 w 12192000"/>
              <a:gd name="connsiteY393" fmla="*/ 1466460 h 8099368"/>
              <a:gd name="connsiteX394" fmla="*/ 8008030 w 12192000"/>
              <a:gd name="connsiteY394" fmla="*/ 1421338 h 8099368"/>
              <a:gd name="connsiteX395" fmla="*/ 7895558 w 12192000"/>
              <a:gd name="connsiteY395" fmla="*/ 1398777 h 8099368"/>
              <a:gd name="connsiteX396" fmla="*/ 7693108 w 12192000"/>
              <a:gd name="connsiteY396" fmla="*/ 1285973 h 8099368"/>
              <a:gd name="connsiteX397" fmla="*/ 7603130 w 12192000"/>
              <a:gd name="connsiteY397" fmla="*/ 1218290 h 8099368"/>
              <a:gd name="connsiteX398" fmla="*/ 7445669 w 12192000"/>
              <a:gd name="connsiteY398" fmla="*/ 1128046 h 8099368"/>
              <a:gd name="connsiteX399" fmla="*/ 7333196 w 12192000"/>
              <a:gd name="connsiteY399" fmla="*/ 1060363 h 8099368"/>
              <a:gd name="connsiteX400" fmla="*/ 7040768 w 12192000"/>
              <a:gd name="connsiteY400" fmla="*/ 902437 h 8099368"/>
              <a:gd name="connsiteX401" fmla="*/ 7063263 w 12192000"/>
              <a:gd name="connsiteY401" fmla="*/ 902437 h 8099368"/>
              <a:gd name="connsiteX402" fmla="*/ 7153241 w 12192000"/>
              <a:gd name="connsiteY402" fmla="*/ 947559 h 8099368"/>
              <a:gd name="connsiteX403" fmla="*/ 7288207 w 12192000"/>
              <a:gd name="connsiteY403" fmla="*/ 992681 h 8099368"/>
              <a:gd name="connsiteX404" fmla="*/ 7603130 w 12192000"/>
              <a:gd name="connsiteY404" fmla="*/ 1150607 h 8099368"/>
              <a:gd name="connsiteX405" fmla="*/ 7648119 w 12192000"/>
              <a:gd name="connsiteY405" fmla="*/ 1173168 h 8099368"/>
              <a:gd name="connsiteX406" fmla="*/ 7918053 w 12192000"/>
              <a:gd name="connsiteY406" fmla="*/ 1353655 h 8099368"/>
              <a:gd name="connsiteX407" fmla="*/ 8187986 w 12192000"/>
              <a:gd name="connsiteY407" fmla="*/ 1489021 h 8099368"/>
              <a:gd name="connsiteX408" fmla="*/ 8390436 w 12192000"/>
              <a:gd name="connsiteY408" fmla="*/ 1601825 h 8099368"/>
              <a:gd name="connsiteX409" fmla="*/ 8412931 w 12192000"/>
              <a:gd name="connsiteY409" fmla="*/ 1624386 h 8099368"/>
              <a:gd name="connsiteX410" fmla="*/ 8592886 w 12192000"/>
              <a:gd name="connsiteY410" fmla="*/ 1714630 h 8099368"/>
              <a:gd name="connsiteX411" fmla="*/ 9200237 w 12192000"/>
              <a:gd name="connsiteY411" fmla="*/ 2007922 h 8099368"/>
              <a:gd name="connsiteX412" fmla="*/ 9065270 w 12192000"/>
              <a:gd name="connsiteY412" fmla="*/ 1895117 h 8099368"/>
              <a:gd name="connsiteX413" fmla="*/ 9380193 w 12192000"/>
              <a:gd name="connsiteY413" fmla="*/ 2053044 h 8099368"/>
              <a:gd name="connsiteX414" fmla="*/ 9470171 w 12192000"/>
              <a:gd name="connsiteY414" fmla="*/ 2075605 h 8099368"/>
              <a:gd name="connsiteX415" fmla="*/ 9582643 w 12192000"/>
              <a:gd name="connsiteY415" fmla="*/ 2120727 h 8099368"/>
              <a:gd name="connsiteX416" fmla="*/ 9672621 w 12192000"/>
              <a:gd name="connsiteY416" fmla="*/ 2188409 h 8099368"/>
              <a:gd name="connsiteX417" fmla="*/ 10527410 w 12192000"/>
              <a:gd name="connsiteY417" fmla="*/ 2639628 h 8099368"/>
              <a:gd name="connsiteX418" fmla="*/ 10594894 w 12192000"/>
              <a:gd name="connsiteY418" fmla="*/ 2639628 h 8099368"/>
              <a:gd name="connsiteX419" fmla="*/ 10639883 w 12192000"/>
              <a:gd name="connsiteY419" fmla="*/ 2662189 h 8099368"/>
              <a:gd name="connsiteX420" fmla="*/ 10842333 w 12192000"/>
              <a:gd name="connsiteY420" fmla="*/ 2752432 h 8099368"/>
              <a:gd name="connsiteX421" fmla="*/ 10909816 w 12192000"/>
              <a:gd name="connsiteY421" fmla="*/ 2774993 h 8099368"/>
              <a:gd name="connsiteX422" fmla="*/ 11412779 w 12192000"/>
              <a:gd name="connsiteY422" fmla="*/ 3019286 h 8099368"/>
              <a:gd name="connsiteX423" fmla="*/ 11476197 w 12192000"/>
              <a:gd name="connsiteY423" fmla="*/ 3045691 h 8099368"/>
              <a:gd name="connsiteX424" fmla="*/ 11472178 w 12192000"/>
              <a:gd name="connsiteY424" fmla="*/ 3045724 h 8099368"/>
              <a:gd name="connsiteX425" fmla="*/ 11505568 w 12192000"/>
              <a:gd name="connsiteY425" fmla="*/ 3059120 h 8099368"/>
              <a:gd name="connsiteX426" fmla="*/ 11515296 w 12192000"/>
              <a:gd name="connsiteY426" fmla="*/ 3061970 h 8099368"/>
              <a:gd name="connsiteX427" fmla="*/ 11584650 w 12192000"/>
              <a:gd name="connsiteY427" fmla="*/ 3090846 h 8099368"/>
              <a:gd name="connsiteX428" fmla="*/ 11536850 w 12192000"/>
              <a:gd name="connsiteY428" fmla="*/ 3068285 h 8099368"/>
              <a:gd name="connsiteX429" fmla="*/ 11515296 w 12192000"/>
              <a:gd name="connsiteY429" fmla="*/ 3061970 h 8099368"/>
              <a:gd name="connsiteX430" fmla="*/ 11476197 w 12192000"/>
              <a:gd name="connsiteY430" fmla="*/ 3045691 h 8099368"/>
              <a:gd name="connsiteX431" fmla="*/ 11514707 w 12192000"/>
              <a:gd name="connsiteY431" fmla="*/ 3045372 h 8099368"/>
              <a:gd name="connsiteX432" fmla="*/ 11562156 w 12192000"/>
              <a:gd name="connsiteY432" fmla="*/ 3023163 h 8099368"/>
              <a:gd name="connsiteX433" fmla="*/ 11404695 w 12192000"/>
              <a:gd name="connsiteY433" fmla="*/ 2955481 h 8099368"/>
              <a:gd name="connsiteX434" fmla="*/ 11269728 w 12192000"/>
              <a:gd name="connsiteY434" fmla="*/ 2887798 h 8099368"/>
              <a:gd name="connsiteX435" fmla="*/ 11269728 w 12192000"/>
              <a:gd name="connsiteY435" fmla="*/ 2865237 h 8099368"/>
              <a:gd name="connsiteX436" fmla="*/ 11157256 w 12192000"/>
              <a:gd name="connsiteY436" fmla="*/ 2842676 h 8099368"/>
              <a:gd name="connsiteX437" fmla="*/ 11067278 w 12192000"/>
              <a:gd name="connsiteY437" fmla="*/ 2797554 h 8099368"/>
              <a:gd name="connsiteX438" fmla="*/ 11044783 w 12192000"/>
              <a:gd name="connsiteY438" fmla="*/ 2774993 h 8099368"/>
              <a:gd name="connsiteX439" fmla="*/ 10954805 w 12192000"/>
              <a:gd name="connsiteY439" fmla="*/ 2729872 h 8099368"/>
              <a:gd name="connsiteX440" fmla="*/ 10999794 w 12192000"/>
              <a:gd name="connsiteY440" fmla="*/ 2729872 h 8099368"/>
              <a:gd name="connsiteX441" fmla="*/ 11112267 w 12192000"/>
              <a:gd name="connsiteY441" fmla="*/ 2797554 h 8099368"/>
              <a:gd name="connsiteX442" fmla="*/ 11022289 w 12192000"/>
              <a:gd name="connsiteY442" fmla="*/ 2729872 h 8099368"/>
              <a:gd name="connsiteX443" fmla="*/ 10887322 w 12192000"/>
              <a:gd name="connsiteY443" fmla="*/ 2662189 h 8099368"/>
              <a:gd name="connsiteX444" fmla="*/ 10662377 w 12192000"/>
              <a:gd name="connsiteY444" fmla="*/ 2549384 h 8099368"/>
              <a:gd name="connsiteX445" fmla="*/ 10347455 w 12192000"/>
              <a:gd name="connsiteY445" fmla="*/ 2391458 h 8099368"/>
              <a:gd name="connsiteX446" fmla="*/ 10077521 w 12192000"/>
              <a:gd name="connsiteY446" fmla="*/ 2278653 h 8099368"/>
              <a:gd name="connsiteX447" fmla="*/ 9965049 w 12192000"/>
              <a:gd name="connsiteY447" fmla="*/ 2210970 h 8099368"/>
              <a:gd name="connsiteX448" fmla="*/ 10100016 w 12192000"/>
              <a:gd name="connsiteY448" fmla="*/ 2278653 h 8099368"/>
              <a:gd name="connsiteX449" fmla="*/ 10189993 w 12192000"/>
              <a:gd name="connsiteY449" fmla="*/ 2301214 h 8099368"/>
              <a:gd name="connsiteX450" fmla="*/ 10279971 w 12192000"/>
              <a:gd name="connsiteY450" fmla="*/ 2346336 h 8099368"/>
              <a:gd name="connsiteX451" fmla="*/ 10302466 w 12192000"/>
              <a:gd name="connsiteY451" fmla="*/ 2368897 h 8099368"/>
              <a:gd name="connsiteX452" fmla="*/ 10617388 w 12192000"/>
              <a:gd name="connsiteY452" fmla="*/ 2504262 h 8099368"/>
              <a:gd name="connsiteX453" fmla="*/ 10752355 w 12192000"/>
              <a:gd name="connsiteY453" fmla="*/ 2594506 h 8099368"/>
              <a:gd name="connsiteX454" fmla="*/ 10774850 w 12192000"/>
              <a:gd name="connsiteY454" fmla="*/ 2571945 h 8099368"/>
              <a:gd name="connsiteX455" fmla="*/ 10684872 w 12192000"/>
              <a:gd name="connsiteY455" fmla="*/ 2526823 h 8099368"/>
              <a:gd name="connsiteX456" fmla="*/ 10617388 w 12192000"/>
              <a:gd name="connsiteY456" fmla="*/ 2481701 h 8099368"/>
              <a:gd name="connsiteX457" fmla="*/ 10549905 w 12192000"/>
              <a:gd name="connsiteY457" fmla="*/ 2436580 h 8099368"/>
              <a:gd name="connsiteX458" fmla="*/ 10594894 w 12192000"/>
              <a:gd name="connsiteY458" fmla="*/ 2459141 h 8099368"/>
              <a:gd name="connsiteX459" fmla="*/ 10572399 w 12192000"/>
              <a:gd name="connsiteY459" fmla="*/ 2414019 h 8099368"/>
              <a:gd name="connsiteX460" fmla="*/ 10504916 w 12192000"/>
              <a:gd name="connsiteY460" fmla="*/ 2368897 h 8099368"/>
              <a:gd name="connsiteX461" fmla="*/ 10459927 w 12192000"/>
              <a:gd name="connsiteY461" fmla="*/ 2346336 h 8099368"/>
              <a:gd name="connsiteX462" fmla="*/ 10369949 w 12192000"/>
              <a:gd name="connsiteY462" fmla="*/ 2278653 h 8099368"/>
              <a:gd name="connsiteX463" fmla="*/ 10482422 w 12192000"/>
              <a:gd name="connsiteY463" fmla="*/ 2346336 h 8099368"/>
              <a:gd name="connsiteX464" fmla="*/ 10617388 w 12192000"/>
              <a:gd name="connsiteY464" fmla="*/ 2391458 h 8099368"/>
              <a:gd name="connsiteX465" fmla="*/ 11562156 w 12192000"/>
              <a:gd name="connsiteY465" fmla="*/ 2865237 h 8099368"/>
              <a:gd name="connsiteX466" fmla="*/ 12079529 w 12192000"/>
              <a:gd name="connsiteY466" fmla="*/ 3135968 h 8099368"/>
              <a:gd name="connsiteX467" fmla="*/ 12126978 w 12192000"/>
              <a:gd name="connsiteY467" fmla="*/ 3135968 h 8099368"/>
              <a:gd name="connsiteX468" fmla="*/ 12192000 w 12192000"/>
              <a:gd name="connsiteY468" fmla="*/ 3135968 h 8099368"/>
              <a:gd name="connsiteX469" fmla="*/ 12192000 w 12192000"/>
              <a:gd name="connsiteY469" fmla="*/ 3316455 h 8099368"/>
              <a:gd name="connsiteX470" fmla="*/ 12171264 w 12192000"/>
              <a:gd name="connsiteY470" fmla="*/ 3303060 h 8099368"/>
              <a:gd name="connsiteX471" fmla="*/ 12079529 w 12192000"/>
              <a:gd name="connsiteY471" fmla="*/ 3271333 h 8099368"/>
              <a:gd name="connsiteX472" fmla="*/ 12127329 w 12192000"/>
              <a:gd name="connsiteY472" fmla="*/ 3305175 h 8099368"/>
              <a:gd name="connsiteX473" fmla="*/ 12192000 w 12192000"/>
              <a:gd name="connsiteY473" fmla="*/ 3339016 h 8099368"/>
              <a:gd name="connsiteX474" fmla="*/ 12192000 w 12192000"/>
              <a:gd name="connsiteY474" fmla="*/ 5730474 h 8099368"/>
              <a:gd name="connsiteX475" fmla="*/ 12172319 w 12192000"/>
              <a:gd name="connsiteY475" fmla="*/ 5730474 h 8099368"/>
              <a:gd name="connsiteX476" fmla="*/ 12169507 w 12192000"/>
              <a:gd name="connsiteY476" fmla="*/ 5730474 h 8099368"/>
              <a:gd name="connsiteX477" fmla="*/ 12178997 w 12192000"/>
              <a:gd name="connsiteY477" fmla="*/ 5749510 h 8099368"/>
              <a:gd name="connsiteX478" fmla="*/ 12192000 w 12192000"/>
              <a:gd name="connsiteY478" fmla="*/ 5753034 h 8099368"/>
              <a:gd name="connsiteX479" fmla="*/ 12192000 w 12192000"/>
              <a:gd name="connsiteY479" fmla="*/ 6181692 h 8099368"/>
              <a:gd name="connsiteX480" fmla="*/ 12158259 w 12192000"/>
              <a:gd name="connsiteY480" fmla="*/ 6169002 h 8099368"/>
              <a:gd name="connsiteX481" fmla="*/ 12057034 w 12192000"/>
              <a:gd name="connsiteY481" fmla="*/ 6181692 h 8099368"/>
              <a:gd name="connsiteX482" fmla="*/ 12102023 w 12192000"/>
              <a:gd name="connsiteY482" fmla="*/ 6204253 h 8099368"/>
              <a:gd name="connsiteX483" fmla="*/ 12169507 w 12192000"/>
              <a:gd name="connsiteY483" fmla="*/ 6249375 h 8099368"/>
              <a:gd name="connsiteX484" fmla="*/ 12188486 w 12192000"/>
              <a:gd name="connsiteY484" fmla="*/ 6258893 h 8099368"/>
              <a:gd name="connsiteX485" fmla="*/ 12192000 w 12192000"/>
              <a:gd name="connsiteY485" fmla="*/ 6271932 h 8099368"/>
              <a:gd name="connsiteX486" fmla="*/ 12192000 w 12192000"/>
              <a:gd name="connsiteY486" fmla="*/ 7422542 h 8099368"/>
              <a:gd name="connsiteX487" fmla="*/ 11992362 w 12192000"/>
              <a:gd name="connsiteY487" fmla="*/ 7321018 h 8099368"/>
              <a:gd name="connsiteX488" fmla="*/ 11809595 w 12192000"/>
              <a:gd name="connsiteY488" fmla="*/ 7219494 h 8099368"/>
              <a:gd name="connsiteX489" fmla="*/ 11247233 w 12192000"/>
              <a:gd name="connsiteY489" fmla="*/ 6903642 h 8099368"/>
              <a:gd name="connsiteX490" fmla="*/ 11233174 w 12192000"/>
              <a:gd name="connsiteY490" fmla="*/ 6900822 h 8099368"/>
              <a:gd name="connsiteX491" fmla="*/ 11227258 w 12192000"/>
              <a:gd name="connsiteY491" fmla="*/ 6898072 h 8099368"/>
              <a:gd name="connsiteX492" fmla="*/ 11202244 w 12192000"/>
              <a:gd name="connsiteY492" fmla="*/ 6881081 h 8099368"/>
              <a:gd name="connsiteX493" fmla="*/ 11218764 w 12192000"/>
              <a:gd name="connsiteY493" fmla="*/ 6894124 h 8099368"/>
              <a:gd name="connsiteX494" fmla="*/ 11227258 w 12192000"/>
              <a:gd name="connsiteY494" fmla="*/ 6898072 h 8099368"/>
              <a:gd name="connsiteX495" fmla="*/ 11345998 w 12192000"/>
              <a:gd name="connsiteY495" fmla="*/ 6978727 h 8099368"/>
              <a:gd name="connsiteX496" fmla="*/ 11697123 w 12192000"/>
              <a:gd name="connsiteY496" fmla="*/ 7242055 h 8099368"/>
              <a:gd name="connsiteX497" fmla="*/ 11719617 w 12192000"/>
              <a:gd name="connsiteY497" fmla="*/ 7264616 h 8099368"/>
              <a:gd name="connsiteX498" fmla="*/ 11719617 w 12192000"/>
              <a:gd name="connsiteY498" fmla="*/ 7332299 h 8099368"/>
              <a:gd name="connsiteX499" fmla="*/ 11652134 w 12192000"/>
              <a:gd name="connsiteY499" fmla="*/ 7264616 h 8099368"/>
              <a:gd name="connsiteX500" fmla="*/ 11337211 w 12192000"/>
              <a:gd name="connsiteY500" fmla="*/ 7151812 h 8099368"/>
              <a:gd name="connsiteX501" fmla="*/ 11629639 w 12192000"/>
              <a:gd name="connsiteY501" fmla="*/ 7309738 h 8099368"/>
              <a:gd name="connsiteX502" fmla="*/ 11787101 w 12192000"/>
              <a:gd name="connsiteY502" fmla="*/ 7399982 h 8099368"/>
              <a:gd name="connsiteX503" fmla="*/ 11539661 w 12192000"/>
              <a:gd name="connsiteY503" fmla="*/ 7287177 h 8099368"/>
              <a:gd name="connsiteX504" fmla="*/ 11472178 w 12192000"/>
              <a:gd name="connsiteY504" fmla="*/ 7242055 h 8099368"/>
              <a:gd name="connsiteX505" fmla="*/ 11629639 w 12192000"/>
              <a:gd name="connsiteY505" fmla="*/ 7377421 h 8099368"/>
              <a:gd name="connsiteX506" fmla="*/ 11764606 w 12192000"/>
              <a:gd name="connsiteY506" fmla="*/ 7445104 h 8099368"/>
              <a:gd name="connsiteX507" fmla="*/ 11449684 w 12192000"/>
              <a:gd name="connsiteY507" fmla="*/ 7332299 h 8099368"/>
              <a:gd name="connsiteX508" fmla="*/ 11314717 w 12192000"/>
              <a:gd name="connsiteY508" fmla="*/ 7287177 h 8099368"/>
              <a:gd name="connsiteX509" fmla="*/ 11292222 w 12192000"/>
              <a:gd name="connsiteY509" fmla="*/ 7332299 h 8099368"/>
              <a:gd name="connsiteX510" fmla="*/ 11382200 w 12192000"/>
              <a:gd name="connsiteY510" fmla="*/ 7377421 h 8099368"/>
              <a:gd name="connsiteX511" fmla="*/ 11652134 w 12192000"/>
              <a:gd name="connsiteY511" fmla="*/ 7512786 h 8099368"/>
              <a:gd name="connsiteX512" fmla="*/ 11584650 w 12192000"/>
              <a:gd name="connsiteY512" fmla="*/ 7535347 h 8099368"/>
              <a:gd name="connsiteX513" fmla="*/ 11562156 w 12192000"/>
              <a:gd name="connsiteY513" fmla="*/ 7557908 h 8099368"/>
              <a:gd name="connsiteX514" fmla="*/ 11404695 w 12192000"/>
              <a:gd name="connsiteY514" fmla="*/ 7490225 h 8099368"/>
              <a:gd name="connsiteX515" fmla="*/ 11539661 w 12192000"/>
              <a:gd name="connsiteY515" fmla="*/ 7512786 h 8099368"/>
              <a:gd name="connsiteX516" fmla="*/ 11314717 w 12192000"/>
              <a:gd name="connsiteY516" fmla="*/ 7399982 h 8099368"/>
              <a:gd name="connsiteX517" fmla="*/ 11224739 w 12192000"/>
              <a:gd name="connsiteY517" fmla="*/ 7377421 h 8099368"/>
              <a:gd name="connsiteX518" fmla="*/ 11157256 w 12192000"/>
              <a:gd name="connsiteY518" fmla="*/ 7445104 h 8099368"/>
              <a:gd name="connsiteX519" fmla="*/ 11404695 w 12192000"/>
              <a:gd name="connsiteY519" fmla="*/ 7580469 h 8099368"/>
              <a:gd name="connsiteX520" fmla="*/ 11629639 w 12192000"/>
              <a:gd name="connsiteY520" fmla="*/ 7648152 h 8099368"/>
              <a:gd name="connsiteX521" fmla="*/ 11629639 w 12192000"/>
              <a:gd name="connsiteY521" fmla="*/ 7670713 h 8099368"/>
              <a:gd name="connsiteX522" fmla="*/ 11539661 w 12192000"/>
              <a:gd name="connsiteY522" fmla="*/ 7648152 h 8099368"/>
              <a:gd name="connsiteX523" fmla="*/ 11607145 w 12192000"/>
              <a:gd name="connsiteY523" fmla="*/ 7715835 h 8099368"/>
              <a:gd name="connsiteX524" fmla="*/ 11674628 w 12192000"/>
              <a:gd name="connsiteY524" fmla="*/ 7738396 h 8099368"/>
              <a:gd name="connsiteX525" fmla="*/ 11764606 w 12192000"/>
              <a:gd name="connsiteY525" fmla="*/ 7806078 h 8099368"/>
              <a:gd name="connsiteX526" fmla="*/ 11607145 w 12192000"/>
              <a:gd name="connsiteY526" fmla="*/ 7738396 h 8099368"/>
              <a:gd name="connsiteX527" fmla="*/ 11562156 w 12192000"/>
              <a:gd name="connsiteY527" fmla="*/ 7693274 h 8099368"/>
              <a:gd name="connsiteX528" fmla="*/ 11044783 w 12192000"/>
              <a:gd name="connsiteY528" fmla="*/ 7445104 h 8099368"/>
              <a:gd name="connsiteX529" fmla="*/ 11157256 w 12192000"/>
              <a:gd name="connsiteY529" fmla="*/ 7535347 h 8099368"/>
              <a:gd name="connsiteX530" fmla="*/ 11382200 w 12192000"/>
              <a:gd name="connsiteY530" fmla="*/ 7670713 h 8099368"/>
              <a:gd name="connsiteX531" fmla="*/ 11472178 w 12192000"/>
              <a:gd name="connsiteY531" fmla="*/ 7693274 h 8099368"/>
              <a:gd name="connsiteX532" fmla="*/ 11449684 w 12192000"/>
              <a:gd name="connsiteY532" fmla="*/ 7693274 h 8099368"/>
              <a:gd name="connsiteX533" fmla="*/ 11517167 w 12192000"/>
              <a:gd name="connsiteY533" fmla="*/ 7760956 h 8099368"/>
              <a:gd name="connsiteX534" fmla="*/ 11629639 w 12192000"/>
              <a:gd name="connsiteY534" fmla="*/ 7828639 h 8099368"/>
              <a:gd name="connsiteX535" fmla="*/ 11787101 w 12192000"/>
              <a:gd name="connsiteY535" fmla="*/ 7896322 h 8099368"/>
              <a:gd name="connsiteX536" fmla="*/ 11809595 w 12192000"/>
              <a:gd name="connsiteY536" fmla="*/ 7918883 h 8099368"/>
              <a:gd name="connsiteX537" fmla="*/ 11877078 w 12192000"/>
              <a:gd name="connsiteY537" fmla="*/ 7986566 h 8099368"/>
              <a:gd name="connsiteX538" fmla="*/ 11967056 w 12192000"/>
              <a:gd name="connsiteY538" fmla="*/ 8031687 h 8099368"/>
              <a:gd name="connsiteX539" fmla="*/ 12071445 w 12192000"/>
              <a:gd name="connsiteY539" fmla="*/ 8082449 h 8099368"/>
              <a:gd name="connsiteX540" fmla="*/ 12079528 w 12192000"/>
              <a:gd name="connsiteY540" fmla="*/ 8099368 h 8099368"/>
              <a:gd name="connsiteX541" fmla="*/ 12079525 w 12192000"/>
              <a:gd name="connsiteY541" fmla="*/ 8099368 h 8099368"/>
              <a:gd name="connsiteX542" fmla="*/ 12026807 w 12192000"/>
              <a:gd name="connsiteY542" fmla="*/ 8072932 h 8099368"/>
              <a:gd name="connsiteX543" fmla="*/ 11944562 w 12192000"/>
              <a:gd name="connsiteY543" fmla="*/ 8031687 h 8099368"/>
              <a:gd name="connsiteX544" fmla="*/ 11922067 w 12192000"/>
              <a:gd name="connsiteY544" fmla="*/ 8009127 h 8099368"/>
              <a:gd name="connsiteX545" fmla="*/ 11899573 w 12192000"/>
              <a:gd name="connsiteY545" fmla="*/ 8009127 h 8099368"/>
              <a:gd name="connsiteX546" fmla="*/ 11899573 w 12192000"/>
              <a:gd name="connsiteY546" fmla="*/ 8031687 h 8099368"/>
              <a:gd name="connsiteX547" fmla="*/ 11989551 w 12192000"/>
              <a:gd name="connsiteY547" fmla="*/ 8076809 h 8099368"/>
              <a:gd name="connsiteX548" fmla="*/ 11877078 w 12192000"/>
              <a:gd name="connsiteY548" fmla="*/ 8031687 h 8099368"/>
              <a:gd name="connsiteX549" fmla="*/ 11697123 w 12192000"/>
              <a:gd name="connsiteY549" fmla="*/ 7918883 h 8099368"/>
              <a:gd name="connsiteX550" fmla="*/ 11674628 w 12192000"/>
              <a:gd name="connsiteY550" fmla="*/ 7918883 h 8099368"/>
              <a:gd name="connsiteX551" fmla="*/ 11584650 w 12192000"/>
              <a:gd name="connsiteY551" fmla="*/ 7873761 h 8099368"/>
              <a:gd name="connsiteX552" fmla="*/ 11382200 w 12192000"/>
              <a:gd name="connsiteY552" fmla="*/ 7828639 h 8099368"/>
              <a:gd name="connsiteX553" fmla="*/ 11404695 w 12192000"/>
              <a:gd name="connsiteY553" fmla="*/ 7806078 h 8099368"/>
              <a:gd name="connsiteX554" fmla="*/ 11202244 w 12192000"/>
              <a:gd name="connsiteY554" fmla="*/ 7648152 h 8099368"/>
              <a:gd name="connsiteX555" fmla="*/ 11022289 w 12192000"/>
              <a:gd name="connsiteY555" fmla="*/ 7535347 h 8099368"/>
              <a:gd name="connsiteX556" fmla="*/ 10864827 w 12192000"/>
              <a:gd name="connsiteY556" fmla="*/ 7445104 h 8099368"/>
              <a:gd name="connsiteX557" fmla="*/ 10842333 w 12192000"/>
              <a:gd name="connsiteY557" fmla="*/ 7422543 h 8099368"/>
              <a:gd name="connsiteX558" fmla="*/ 10684872 w 12192000"/>
              <a:gd name="connsiteY558" fmla="*/ 7332299 h 8099368"/>
              <a:gd name="connsiteX559" fmla="*/ 10594894 w 12192000"/>
              <a:gd name="connsiteY559" fmla="*/ 7287177 h 8099368"/>
              <a:gd name="connsiteX560" fmla="*/ 9852576 w 12192000"/>
              <a:gd name="connsiteY560" fmla="*/ 6903642 h 8099368"/>
              <a:gd name="connsiteX561" fmla="*/ 9672621 w 12192000"/>
              <a:gd name="connsiteY561" fmla="*/ 6835959 h 8099368"/>
              <a:gd name="connsiteX562" fmla="*/ 9650126 w 12192000"/>
              <a:gd name="connsiteY562" fmla="*/ 6881081 h 8099368"/>
              <a:gd name="connsiteX563" fmla="*/ 9762599 w 12192000"/>
              <a:gd name="connsiteY563" fmla="*/ 6948763 h 8099368"/>
              <a:gd name="connsiteX564" fmla="*/ 9650126 w 12192000"/>
              <a:gd name="connsiteY564" fmla="*/ 6903642 h 8099368"/>
              <a:gd name="connsiteX565" fmla="*/ 9605137 w 12192000"/>
              <a:gd name="connsiteY565" fmla="*/ 6903642 h 8099368"/>
              <a:gd name="connsiteX566" fmla="*/ 9582643 w 12192000"/>
              <a:gd name="connsiteY566" fmla="*/ 6903642 h 8099368"/>
              <a:gd name="connsiteX567" fmla="*/ 9560148 w 12192000"/>
              <a:gd name="connsiteY567" fmla="*/ 6926202 h 8099368"/>
              <a:gd name="connsiteX568" fmla="*/ 9447676 w 12192000"/>
              <a:gd name="connsiteY568" fmla="*/ 6948763 h 8099368"/>
              <a:gd name="connsiteX569" fmla="*/ 9582643 w 12192000"/>
              <a:gd name="connsiteY569" fmla="*/ 7016446 h 8099368"/>
              <a:gd name="connsiteX570" fmla="*/ 9672621 w 12192000"/>
              <a:gd name="connsiteY570" fmla="*/ 7016446 h 8099368"/>
              <a:gd name="connsiteX571" fmla="*/ 9807588 w 12192000"/>
              <a:gd name="connsiteY571" fmla="*/ 7106690 h 8099368"/>
              <a:gd name="connsiteX572" fmla="*/ 9582643 w 12192000"/>
              <a:gd name="connsiteY572" fmla="*/ 7084129 h 8099368"/>
              <a:gd name="connsiteX573" fmla="*/ 9717610 w 12192000"/>
              <a:gd name="connsiteY573" fmla="*/ 7174373 h 8099368"/>
              <a:gd name="connsiteX574" fmla="*/ 9537654 w 12192000"/>
              <a:gd name="connsiteY574" fmla="*/ 7084129 h 8099368"/>
              <a:gd name="connsiteX575" fmla="*/ 9087765 w 12192000"/>
              <a:gd name="connsiteY575" fmla="*/ 6858520 h 8099368"/>
              <a:gd name="connsiteX576" fmla="*/ 8907809 w 12192000"/>
              <a:gd name="connsiteY576" fmla="*/ 6768276 h 8099368"/>
              <a:gd name="connsiteX577" fmla="*/ 8255470 w 12192000"/>
              <a:gd name="connsiteY577" fmla="*/ 6474984 h 8099368"/>
              <a:gd name="connsiteX578" fmla="*/ 7828075 w 12192000"/>
              <a:gd name="connsiteY578" fmla="*/ 6294497 h 8099368"/>
              <a:gd name="connsiteX579" fmla="*/ 7400680 w 12192000"/>
              <a:gd name="connsiteY579" fmla="*/ 6068888 h 8099368"/>
              <a:gd name="connsiteX580" fmla="*/ 7386609 w 12192000"/>
              <a:gd name="connsiteY580" fmla="*/ 6063622 h 8099368"/>
              <a:gd name="connsiteX581" fmla="*/ 7381700 w 12192000"/>
              <a:gd name="connsiteY581" fmla="*/ 6059370 h 8099368"/>
              <a:gd name="connsiteX582" fmla="*/ 7378185 w 12192000"/>
              <a:gd name="connsiteY582" fmla="*/ 6046327 h 8099368"/>
              <a:gd name="connsiteX583" fmla="*/ 7378537 w 12192000"/>
              <a:gd name="connsiteY583" fmla="*/ 6059370 h 8099368"/>
              <a:gd name="connsiteX584" fmla="*/ 7379061 w 12192000"/>
              <a:gd name="connsiteY584" fmla="*/ 6060797 h 8099368"/>
              <a:gd name="connsiteX585" fmla="*/ 7212289 w 12192000"/>
              <a:gd name="connsiteY585" fmla="*/ 5998385 h 8099368"/>
              <a:gd name="connsiteX586" fmla="*/ 7040768 w 12192000"/>
              <a:gd name="connsiteY586" fmla="*/ 5910961 h 8099368"/>
              <a:gd name="connsiteX587" fmla="*/ 6973285 w 12192000"/>
              <a:gd name="connsiteY587" fmla="*/ 5910961 h 8099368"/>
              <a:gd name="connsiteX588" fmla="*/ 7063263 w 12192000"/>
              <a:gd name="connsiteY588" fmla="*/ 5956083 h 8099368"/>
              <a:gd name="connsiteX589" fmla="*/ 7490658 w 12192000"/>
              <a:gd name="connsiteY589" fmla="*/ 6159131 h 8099368"/>
              <a:gd name="connsiteX590" fmla="*/ 7670613 w 12192000"/>
              <a:gd name="connsiteY590" fmla="*/ 6249375 h 8099368"/>
              <a:gd name="connsiteX591" fmla="*/ 7963041 w 12192000"/>
              <a:gd name="connsiteY591" fmla="*/ 6407301 h 8099368"/>
              <a:gd name="connsiteX592" fmla="*/ 8210481 w 12192000"/>
              <a:gd name="connsiteY592" fmla="*/ 6520106 h 8099368"/>
              <a:gd name="connsiteX593" fmla="*/ 8300458 w 12192000"/>
              <a:gd name="connsiteY593" fmla="*/ 6565228 h 8099368"/>
              <a:gd name="connsiteX594" fmla="*/ 8637875 w 12192000"/>
              <a:gd name="connsiteY594" fmla="*/ 6745715 h 8099368"/>
              <a:gd name="connsiteX595" fmla="*/ 8637875 w 12192000"/>
              <a:gd name="connsiteY595" fmla="*/ 6813398 h 8099368"/>
              <a:gd name="connsiteX596" fmla="*/ 8660370 w 12192000"/>
              <a:gd name="connsiteY596" fmla="*/ 6835959 h 8099368"/>
              <a:gd name="connsiteX597" fmla="*/ 8885314 w 12192000"/>
              <a:gd name="connsiteY597" fmla="*/ 6881081 h 8099368"/>
              <a:gd name="connsiteX598" fmla="*/ 8975292 w 12192000"/>
              <a:gd name="connsiteY598" fmla="*/ 6926202 h 8099368"/>
              <a:gd name="connsiteX599" fmla="*/ 9222731 w 12192000"/>
              <a:gd name="connsiteY599" fmla="*/ 6971324 h 8099368"/>
              <a:gd name="connsiteX600" fmla="*/ 9357698 w 12192000"/>
              <a:gd name="connsiteY600" fmla="*/ 6993885 h 8099368"/>
              <a:gd name="connsiteX601" fmla="*/ 9322902 w 12192000"/>
              <a:gd name="connsiteY601" fmla="*/ 7019266 h 8099368"/>
              <a:gd name="connsiteX602" fmla="*/ 9315159 w 12192000"/>
              <a:gd name="connsiteY602" fmla="*/ 7017905 h 8099368"/>
              <a:gd name="connsiteX603" fmla="*/ 9312709 w 12192000"/>
              <a:gd name="connsiteY603" fmla="*/ 7016446 h 8099368"/>
              <a:gd name="connsiteX604" fmla="*/ 9311874 w 12192000"/>
              <a:gd name="connsiteY604" fmla="*/ 7017327 h 8099368"/>
              <a:gd name="connsiteX605" fmla="*/ 9315159 w 12192000"/>
              <a:gd name="connsiteY605" fmla="*/ 7017905 h 8099368"/>
              <a:gd name="connsiteX606" fmla="*/ 9335203 w 12192000"/>
              <a:gd name="connsiteY606" fmla="*/ 7029842 h 8099368"/>
              <a:gd name="connsiteX607" fmla="*/ 9335204 w 12192000"/>
              <a:gd name="connsiteY607" fmla="*/ 7061568 h 8099368"/>
              <a:gd name="connsiteX608" fmla="*/ 9290215 w 12192000"/>
              <a:gd name="connsiteY608" fmla="*/ 7039007 h 8099368"/>
              <a:gd name="connsiteX609" fmla="*/ 9290215 w 12192000"/>
              <a:gd name="connsiteY609" fmla="*/ 7016446 h 8099368"/>
              <a:gd name="connsiteX610" fmla="*/ 8930303 w 12192000"/>
              <a:gd name="connsiteY610" fmla="*/ 6948763 h 8099368"/>
              <a:gd name="connsiteX611" fmla="*/ 8795337 w 12192000"/>
              <a:gd name="connsiteY611" fmla="*/ 6903642 h 8099368"/>
              <a:gd name="connsiteX612" fmla="*/ 9357698 w 12192000"/>
              <a:gd name="connsiteY612" fmla="*/ 7196933 h 8099368"/>
              <a:gd name="connsiteX613" fmla="*/ 9425182 w 12192000"/>
              <a:gd name="connsiteY613" fmla="*/ 7219494 h 8099368"/>
              <a:gd name="connsiteX614" fmla="*/ 9425182 w 12192000"/>
              <a:gd name="connsiteY614" fmla="*/ 7174373 h 8099368"/>
              <a:gd name="connsiteX615" fmla="*/ 9335204 w 12192000"/>
              <a:gd name="connsiteY615" fmla="*/ 7129251 h 8099368"/>
              <a:gd name="connsiteX616" fmla="*/ 9312709 w 12192000"/>
              <a:gd name="connsiteY616" fmla="*/ 7084129 h 8099368"/>
              <a:gd name="connsiteX617" fmla="*/ 9380193 w 12192000"/>
              <a:gd name="connsiteY617" fmla="*/ 7129251 h 8099368"/>
              <a:gd name="connsiteX618" fmla="*/ 9470171 w 12192000"/>
              <a:gd name="connsiteY618" fmla="*/ 7174373 h 8099368"/>
              <a:gd name="connsiteX619" fmla="*/ 9605137 w 12192000"/>
              <a:gd name="connsiteY619" fmla="*/ 7242055 h 8099368"/>
              <a:gd name="connsiteX620" fmla="*/ 9717610 w 12192000"/>
              <a:gd name="connsiteY620" fmla="*/ 7287177 h 8099368"/>
              <a:gd name="connsiteX621" fmla="*/ 9875071 w 12192000"/>
              <a:gd name="connsiteY621" fmla="*/ 7399982 h 8099368"/>
              <a:gd name="connsiteX622" fmla="*/ 9987543 w 12192000"/>
              <a:gd name="connsiteY622" fmla="*/ 7445104 h 8099368"/>
              <a:gd name="connsiteX623" fmla="*/ 10122510 w 12192000"/>
              <a:gd name="connsiteY623" fmla="*/ 7535347 h 8099368"/>
              <a:gd name="connsiteX624" fmla="*/ 10234982 w 12192000"/>
              <a:gd name="connsiteY624" fmla="*/ 7648152 h 8099368"/>
              <a:gd name="connsiteX625" fmla="*/ 10482422 w 12192000"/>
              <a:gd name="connsiteY625" fmla="*/ 7760956 h 8099368"/>
              <a:gd name="connsiteX626" fmla="*/ 10639883 w 12192000"/>
              <a:gd name="connsiteY626" fmla="*/ 7851200 h 8099368"/>
              <a:gd name="connsiteX627" fmla="*/ 10459927 w 12192000"/>
              <a:gd name="connsiteY627" fmla="*/ 7760956 h 8099368"/>
              <a:gd name="connsiteX628" fmla="*/ 10077521 w 12192000"/>
              <a:gd name="connsiteY628" fmla="*/ 7580469 h 8099368"/>
              <a:gd name="connsiteX629" fmla="*/ 10010038 w 12192000"/>
              <a:gd name="connsiteY629" fmla="*/ 7535347 h 8099368"/>
              <a:gd name="connsiteX630" fmla="*/ 9920060 w 12192000"/>
              <a:gd name="connsiteY630" fmla="*/ 7512786 h 8099368"/>
              <a:gd name="connsiteX631" fmla="*/ 10032532 w 12192000"/>
              <a:gd name="connsiteY631" fmla="*/ 7535347 h 8099368"/>
              <a:gd name="connsiteX632" fmla="*/ 10077521 w 12192000"/>
              <a:gd name="connsiteY632" fmla="*/ 7535347 h 8099368"/>
              <a:gd name="connsiteX633" fmla="*/ 9965049 w 12192000"/>
              <a:gd name="connsiteY633" fmla="*/ 7467665 h 8099368"/>
              <a:gd name="connsiteX634" fmla="*/ 9942554 w 12192000"/>
              <a:gd name="connsiteY634" fmla="*/ 7467665 h 8099368"/>
              <a:gd name="connsiteX635" fmla="*/ 9582643 w 12192000"/>
              <a:gd name="connsiteY635" fmla="*/ 7332299 h 8099368"/>
              <a:gd name="connsiteX636" fmla="*/ 9470171 w 12192000"/>
              <a:gd name="connsiteY636" fmla="*/ 7264616 h 8099368"/>
              <a:gd name="connsiteX637" fmla="*/ 9290215 w 12192000"/>
              <a:gd name="connsiteY637" fmla="*/ 7196933 h 8099368"/>
              <a:gd name="connsiteX638" fmla="*/ 8930303 w 12192000"/>
              <a:gd name="connsiteY638" fmla="*/ 6993885 h 8099368"/>
              <a:gd name="connsiteX639" fmla="*/ 8907809 w 12192000"/>
              <a:gd name="connsiteY639" fmla="*/ 6993885 h 8099368"/>
              <a:gd name="connsiteX640" fmla="*/ 8997787 w 12192000"/>
              <a:gd name="connsiteY640" fmla="*/ 7039007 h 8099368"/>
              <a:gd name="connsiteX641" fmla="*/ 8975292 w 12192000"/>
              <a:gd name="connsiteY641" fmla="*/ 7039007 h 8099368"/>
              <a:gd name="connsiteX642" fmla="*/ 8862820 w 12192000"/>
              <a:gd name="connsiteY642" fmla="*/ 6993885 h 8099368"/>
              <a:gd name="connsiteX643" fmla="*/ 8682864 w 12192000"/>
              <a:gd name="connsiteY643" fmla="*/ 6903642 h 8099368"/>
              <a:gd name="connsiteX644" fmla="*/ 8570392 w 12192000"/>
              <a:gd name="connsiteY644" fmla="*/ 6835959 h 8099368"/>
              <a:gd name="connsiteX645" fmla="*/ 8705359 w 12192000"/>
              <a:gd name="connsiteY645" fmla="*/ 6903642 h 8099368"/>
              <a:gd name="connsiteX646" fmla="*/ 8840325 w 12192000"/>
              <a:gd name="connsiteY646" fmla="*/ 6948763 h 8099368"/>
              <a:gd name="connsiteX647" fmla="*/ 8547897 w 12192000"/>
              <a:gd name="connsiteY647" fmla="*/ 6813398 h 8099368"/>
              <a:gd name="connsiteX648" fmla="*/ 8345447 w 12192000"/>
              <a:gd name="connsiteY648" fmla="*/ 6723154 h 8099368"/>
              <a:gd name="connsiteX649" fmla="*/ 8120503 w 12192000"/>
              <a:gd name="connsiteY649" fmla="*/ 6632911 h 8099368"/>
              <a:gd name="connsiteX650" fmla="*/ 7850569 w 12192000"/>
              <a:gd name="connsiteY650" fmla="*/ 6520106 h 8099368"/>
              <a:gd name="connsiteX651" fmla="*/ 7862076 w 12192000"/>
              <a:gd name="connsiteY651" fmla="*/ 6534013 h 8099368"/>
              <a:gd name="connsiteX652" fmla="*/ 7827020 w 12192000"/>
              <a:gd name="connsiteY652" fmla="*/ 6514466 h 8099368"/>
              <a:gd name="connsiteX653" fmla="*/ 7558141 w 12192000"/>
              <a:gd name="connsiteY653" fmla="*/ 6362179 h 8099368"/>
              <a:gd name="connsiteX654" fmla="*/ 7423174 w 12192000"/>
              <a:gd name="connsiteY654" fmla="*/ 6317058 h 8099368"/>
              <a:gd name="connsiteX655" fmla="*/ 6725846 w 12192000"/>
              <a:gd name="connsiteY655" fmla="*/ 6001205 h 8099368"/>
              <a:gd name="connsiteX656" fmla="*/ 6096001 w 12192000"/>
              <a:gd name="connsiteY656" fmla="*/ 5707913 h 8099368"/>
              <a:gd name="connsiteX657" fmla="*/ 6343440 w 12192000"/>
              <a:gd name="connsiteY657" fmla="*/ 5843278 h 8099368"/>
              <a:gd name="connsiteX658" fmla="*/ 6860813 w 12192000"/>
              <a:gd name="connsiteY658" fmla="*/ 6091448 h 8099368"/>
              <a:gd name="connsiteX659" fmla="*/ 6928296 w 12192000"/>
              <a:gd name="connsiteY659" fmla="*/ 6136570 h 8099368"/>
              <a:gd name="connsiteX660" fmla="*/ 6883307 w 12192000"/>
              <a:gd name="connsiteY660" fmla="*/ 6136570 h 8099368"/>
              <a:gd name="connsiteX661" fmla="*/ 6748340 w 12192000"/>
              <a:gd name="connsiteY661" fmla="*/ 6091448 h 8099368"/>
              <a:gd name="connsiteX662" fmla="*/ 6640789 w 12192000"/>
              <a:gd name="connsiteY662" fmla="*/ 6027996 h 8099368"/>
              <a:gd name="connsiteX663" fmla="*/ 6613373 w 12192000"/>
              <a:gd name="connsiteY663" fmla="*/ 6025672 h 8099368"/>
              <a:gd name="connsiteX664" fmla="*/ 6613373 w 12192000"/>
              <a:gd name="connsiteY664" fmla="*/ 6023766 h 8099368"/>
              <a:gd name="connsiteX665" fmla="*/ 6590879 w 12192000"/>
              <a:gd name="connsiteY665" fmla="*/ 6023766 h 8099368"/>
              <a:gd name="connsiteX666" fmla="*/ 6613373 w 12192000"/>
              <a:gd name="connsiteY666" fmla="*/ 6025672 h 8099368"/>
              <a:gd name="connsiteX667" fmla="*/ 6613373 w 12192000"/>
              <a:gd name="connsiteY667" fmla="*/ 6036809 h 8099368"/>
              <a:gd name="connsiteX668" fmla="*/ 6613373 w 12192000"/>
              <a:gd name="connsiteY668" fmla="*/ 6046327 h 8099368"/>
              <a:gd name="connsiteX669" fmla="*/ 6298451 w 12192000"/>
              <a:gd name="connsiteY669" fmla="*/ 5888400 h 8099368"/>
              <a:gd name="connsiteX670" fmla="*/ 6230968 w 12192000"/>
              <a:gd name="connsiteY670" fmla="*/ 5865839 h 8099368"/>
              <a:gd name="connsiteX671" fmla="*/ 6185979 w 12192000"/>
              <a:gd name="connsiteY671" fmla="*/ 5865839 h 8099368"/>
              <a:gd name="connsiteX672" fmla="*/ 6208473 w 12192000"/>
              <a:gd name="connsiteY672" fmla="*/ 5888400 h 8099368"/>
              <a:gd name="connsiteX673" fmla="*/ 6140990 w 12192000"/>
              <a:gd name="connsiteY673" fmla="*/ 5865839 h 8099368"/>
              <a:gd name="connsiteX674" fmla="*/ 5961034 w 12192000"/>
              <a:gd name="connsiteY674" fmla="*/ 5798156 h 8099368"/>
              <a:gd name="connsiteX675" fmla="*/ 5893551 w 12192000"/>
              <a:gd name="connsiteY675" fmla="*/ 5775596 h 8099368"/>
              <a:gd name="connsiteX676" fmla="*/ 5848562 w 12192000"/>
              <a:gd name="connsiteY676" fmla="*/ 5775596 h 8099368"/>
              <a:gd name="connsiteX677" fmla="*/ 6028517 w 12192000"/>
              <a:gd name="connsiteY677" fmla="*/ 5865839 h 8099368"/>
              <a:gd name="connsiteX678" fmla="*/ 6073506 w 12192000"/>
              <a:gd name="connsiteY678" fmla="*/ 5843278 h 8099368"/>
              <a:gd name="connsiteX679" fmla="*/ 6118495 w 12192000"/>
              <a:gd name="connsiteY679" fmla="*/ 5888400 h 8099368"/>
              <a:gd name="connsiteX680" fmla="*/ 6230968 w 12192000"/>
              <a:gd name="connsiteY680" fmla="*/ 5933522 h 8099368"/>
              <a:gd name="connsiteX681" fmla="*/ 6478407 w 12192000"/>
              <a:gd name="connsiteY681" fmla="*/ 6046327 h 8099368"/>
              <a:gd name="connsiteX682" fmla="*/ 6365934 w 12192000"/>
              <a:gd name="connsiteY682" fmla="*/ 5978644 h 8099368"/>
              <a:gd name="connsiteX683" fmla="*/ 6208473 w 12192000"/>
              <a:gd name="connsiteY683" fmla="*/ 5910961 h 8099368"/>
              <a:gd name="connsiteX684" fmla="*/ 6388429 w 12192000"/>
              <a:gd name="connsiteY684" fmla="*/ 5978644 h 8099368"/>
              <a:gd name="connsiteX685" fmla="*/ 6770835 w 12192000"/>
              <a:gd name="connsiteY685" fmla="*/ 6159131 h 8099368"/>
              <a:gd name="connsiteX686" fmla="*/ 6995779 w 12192000"/>
              <a:gd name="connsiteY686" fmla="*/ 6271936 h 8099368"/>
              <a:gd name="connsiteX687" fmla="*/ 7243219 w 12192000"/>
              <a:gd name="connsiteY687" fmla="*/ 6384740 h 8099368"/>
              <a:gd name="connsiteX688" fmla="*/ 7333196 w 12192000"/>
              <a:gd name="connsiteY688" fmla="*/ 6429862 h 8099368"/>
              <a:gd name="connsiteX689" fmla="*/ 7400680 w 12192000"/>
              <a:gd name="connsiteY689" fmla="*/ 6474984 h 8099368"/>
              <a:gd name="connsiteX690" fmla="*/ 7288207 w 12192000"/>
              <a:gd name="connsiteY690" fmla="*/ 6474984 h 8099368"/>
              <a:gd name="connsiteX691" fmla="*/ 7310702 w 12192000"/>
              <a:gd name="connsiteY691" fmla="*/ 6520106 h 8099368"/>
              <a:gd name="connsiteX692" fmla="*/ 7355691 w 12192000"/>
              <a:gd name="connsiteY692" fmla="*/ 6542667 h 8099368"/>
              <a:gd name="connsiteX693" fmla="*/ 7423174 w 12192000"/>
              <a:gd name="connsiteY693" fmla="*/ 6565228 h 8099368"/>
              <a:gd name="connsiteX694" fmla="*/ 7445669 w 12192000"/>
              <a:gd name="connsiteY694" fmla="*/ 6587789 h 8099368"/>
              <a:gd name="connsiteX695" fmla="*/ 7535647 w 12192000"/>
              <a:gd name="connsiteY695" fmla="*/ 6632911 h 8099368"/>
              <a:gd name="connsiteX696" fmla="*/ 7738097 w 12192000"/>
              <a:gd name="connsiteY696" fmla="*/ 6745715 h 8099368"/>
              <a:gd name="connsiteX697" fmla="*/ 7805580 w 12192000"/>
              <a:gd name="connsiteY697" fmla="*/ 6790837 h 8099368"/>
              <a:gd name="connsiteX698" fmla="*/ 7670613 w 12192000"/>
              <a:gd name="connsiteY698" fmla="*/ 6745715 h 8099368"/>
              <a:gd name="connsiteX699" fmla="*/ 7580636 w 12192000"/>
              <a:gd name="connsiteY699" fmla="*/ 6723154 h 8099368"/>
              <a:gd name="connsiteX700" fmla="*/ 7558141 w 12192000"/>
              <a:gd name="connsiteY700" fmla="*/ 6768276 h 8099368"/>
              <a:gd name="connsiteX701" fmla="*/ 7693108 w 12192000"/>
              <a:gd name="connsiteY701" fmla="*/ 6835959 h 8099368"/>
              <a:gd name="connsiteX702" fmla="*/ 7670613 w 12192000"/>
              <a:gd name="connsiteY702" fmla="*/ 6835959 h 8099368"/>
              <a:gd name="connsiteX703" fmla="*/ 7535647 w 12192000"/>
              <a:gd name="connsiteY703" fmla="*/ 6768276 h 8099368"/>
              <a:gd name="connsiteX704" fmla="*/ 7513152 w 12192000"/>
              <a:gd name="connsiteY704" fmla="*/ 6745715 h 8099368"/>
              <a:gd name="connsiteX705" fmla="*/ 7423174 w 12192000"/>
              <a:gd name="connsiteY705" fmla="*/ 6700593 h 8099368"/>
              <a:gd name="connsiteX706" fmla="*/ 7490658 w 12192000"/>
              <a:gd name="connsiteY706" fmla="*/ 6723154 h 8099368"/>
              <a:gd name="connsiteX707" fmla="*/ 7445669 w 12192000"/>
              <a:gd name="connsiteY707" fmla="*/ 6678032 h 8099368"/>
              <a:gd name="connsiteX708" fmla="*/ 7355691 w 12192000"/>
              <a:gd name="connsiteY708" fmla="*/ 6678032 h 8099368"/>
              <a:gd name="connsiteX709" fmla="*/ 7265713 w 12192000"/>
              <a:gd name="connsiteY709" fmla="*/ 6678032 h 8099368"/>
              <a:gd name="connsiteX710" fmla="*/ 7378185 w 12192000"/>
              <a:gd name="connsiteY710" fmla="*/ 6723154 h 8099368"/>
              <a:gd name="connsiteX711" fmla="*/ 7513152 w 12192000"/>
              <a:gd name="connsiteY711" fmla="*/ 6813398 h 8099368"/>
              <a:gd name="connsiteX712" fmla="*/ 7243219 w 12192000"/>
              <a:gd name="connsiteY712" fmla="*/ 6723154 h 8099368"/>
              <a:gd name="connsiteX713" fmla="*/ 6815824 w 12192000"/>
              <a:gd name="connsiteY713" fmla="*/ 6497545 h 8099368"/>
              <a:gd name="connsiteX714" fmla="*/ 6500901 w 12192000"/>
              <a:gd name="connsiteY714" fmla="*/ 6362179 h 8099368"/>
              <a:gd name="connsiteX715" fmla="*/ 6208473 w 12192000"/>
              <a:gd name="connsiteY715" fmla="*/ 6317058 h 8099368"/>
              <a:gd name="connsiteX716" fmla="*/ 6388429 w 12192000"/>
              <a:gd name="connsiteY716" fmla="*/ 6407301 h 8099368"/>
              <a:gd name="connsiteX717" fmla="*/ 6568385 w 12192000"/>
              <a:gd name="connsiteY717" fmla="*/ 6497545 h 8099368"/>
              <a:gd name="connsiteX718" fmla="*/ 6950790 w 12192000"/>
              <a:gd name="connsiteY718" fmla="*/ 6700593 h 8099368"/>
              <a:gd name="connsiteX719" fmla="*/ 7333196 w 12192000"/>
              <a:gd name="connsiteY719" fmla="*/ 6903642 h 8099368"/>
              <a:gd name="connsiteX720" fmla="*/ 7423174 w 12192000"/>
              <a:gd name="connsiteY720" fmla="*/ 6948763 h 8099368"/>
              <a:gd name="connsiteX721" fmla="*/ 7468163 w 12192000"/>
              <a:gd name="connsiteY721" fmla="*/ 6971324 h 8099368"/>
              <a:gd name="connsiteX722" fmla="*/ 7400680 w 12192000"/>
              <a:gd name="connsiteY722" fmla="*/ 6948763 h 8099368"/>
              <a:gd name="connsiteX723" fmla="*/ 7355691 w 12192000"/>
              <a:gd name="connsiteY723" fmla="*/ 6926202 h 8099368"/>
              <a:gd name="connsiteX724" fmla="*/ 7310702 w 12192000"/>
              <a:gd name="connsiteY724" fmla="*/ 6903642 h 8099368"/>
              <a:gd name="connsiteX725" fmla="*/ 7243219 w 12192000"/>
              <a:gd name="connsiteY725" fmla="*/ 6881081 h 8099368"/>
              <a:gd name="connsiteX726" fmla="*/ 7130746 w 12192000"/>
              <a:gd name="connsiteY726" fmla="*/ 6813398 h 8099368"/>
              <a:gd name="connsiteX727" fmla="*/ 6928296 w 12192000"/>
              <a:gd name="connsiteY727" fmla="*/ 6700593 h 8099368"/>
              <a:gd name="connsiteX728" fmla="*/ 6860813 w 12192000"/>
              <a:gd name="connsiteY728" fmla="*/ 6655471 h 8099368"/>
              <a:gd name="connsiteX729" fmla="*/ 6883307 w 12192000"/>
              <a:gd name="connsiteY729" fmla="*/ 6700593 h 8099368"/>
              <a:gd name="connsiteX730" fmla="*/ 6883307 w 12192000"/>
              <a:gd name="connsiteY730" fmla="*/ 6723154 h 8099368"/>
              <a:gd name="connsiteX731" fmla="*/ 6928296 w 12192000"/>
              <a:gd name="connsiteY731" fmla="*/ 6745715 h 8099368"/>
              <a:gd name="connsiteX732" fmla="*/ 6950790 w 12192000"/>
              <a:gd name="connsiteY732" fmla="*/ 6768276 h 8099368"/>
              <a:gd name="connsiteX733" fmla="*/ 6973285 w 12192000"/>
              <a:gd name="connsiteY733" fmla="*/ 6790837 h 8099368"/>
              <a:gd name="connsiteX734" fmla="*/ 6950790 w 12192000"/>
              <a:gd name="connsiteY734" fmla="*/ 6813398 h 8099368"/>
              <a:gd name="connsiteX735" fmla="*/ 6973285 w 12192000"/>
              <a:gd name="connsiteY735" fmla="*/ 6813398 h 8099368"/>
              <a:gd name="connsiteX736" fmla="*/ 7220724 w 12192000"/>
              <a:gd name="connsiteY736" fmla="*/ 6881081 h 8099368"/>
              <a:gd name="connsiteX737" fmla="*/ 7153241 w 12192000"/>
              <a:gd name="connsiteY737" fmla="*/ 6926202 h 8099368"/>
              <a:gd name="connsiteX738" fmla="*/ 7018274 w 12192000"/>
              <a:gd name="connsiteY738" fmla="*/ 6926202 h 8099368"/>
              <a:gd name="connsiteX739" fmla="*/ 7063263 w 12192000"/>
              <a:gd name="connsiteY739" fmla="*/ 6993885 h 8099368"/>
              <a:gd name="connsiteX740" fmla="*/ 6793329 w 12192000"/>
              <a:gd name="connsiteY740" fmla="*/ 6903642 h 8099368"/>
              <a:gd name="connsiteX741" fmla="*/ 6883307 w 12192000"/>
              <a:gd name="connsiteY741" fmla="*/ 6881081 h 8099368"/>
              <a:gd name="connsiteX742" fmla="*/ 6905802 w 12192000"/>
              <a:gd name="connsiteY742" fmla="*/ 6858520 h 8099368"/>
              <a:gd name="connsiteX743" fmla="*/ 6838318 w 12192000"/>
              <a:gd name="connsiteY743" fmla="*/ 6858520 h 8099368"/>
              <a:gd name="connsiteX744" fmla="*/ 6658362 w 12192000"/>
              <a:gd name="connsiteY744" fmla="*/ 6835959 h 8099368"/>
              <a:gd name="connsiteX745" fmla="*/ 6410923 w 12192000"/>
              <a:gd name="connsiteY745" fmla="*/ 6768276 h 8099368"/>
              <a:gd name="connsiteX746" fmla="*/ 6298451 w 12192000"/>
              <a:gd name="connsiteY746" fmla="*/ 6723154 h 8099368"/>
              <a:gd name="connsiteX747" fmla="*/ 6298451 w 12192000"/>
              <a:gd name="connsiteY747" fmla="*/ 6745715 h 8099368"/>
              <a:gd name="connsiteX748" fmla="*/ 6298451 w 12192000"/>
              <a:gd name="connsiteY748" fmla="*/ 6768276 h 8099368"/>
              <a:gd name="connsiteX749" fmla="*/ 6613373 w 12192000"/>
              <a:gd name="connsiteY749" fmla="*/ 6948763 h 8099368"/>
              <a:gd name="connsiteX750" fmla="*/ 6725846 w 12192000"/>
              <a:gd name="connsiteY750" fmla="*/ 7016446 h 8099368"/>
              <a:gd name="connsiteX751" fmla="*/ 6950790 w 12192000"/>
              <a:gd name="connsiteY751" fmla="*/ 7129251 h 8099368"/>
              <a:gd name="connsiteX752" fmla="*/ 6838318 w 12192000"/>
              <a:gd name="connsiteY752" fmla="*/ 7106690 h 8099368"/>
              <a:gd name="connsiteX753" fmla="*/ 6838318 w 12192000"/>
              <a:gd name="connsiteY753" fmla="*/ 7129251 h 8099368"/>
              <a:gd name="connsiteX754" fmla="*/ 6748340 w 12192000"/>
              <a:gd name="connsiteY754" fmla="*/ 7084129 h 8099368"/>
              <a:gd name="connsiteX755" fmla="*/ 6815824 w 12192000"/>
              <a:gd name="connsiteY755" fmla="*/ 7106690 h 8099368"/>
              <a:gd name="connsiteX756" fmla="*/ 6680857 w 12192000"/>
              <a:gd name="connsiteY756" fmla="*/ 7016446 h 8099368"/>
              <a:gd name="connsiteX757" fmla="*/ 6298451 w 12192000"/>
              <a:gd name="connsiteY757" fmla="*/ 6813398 h 8099368"/>
              <a:gd name="connsiteX758" fmla="*/ 5916046 w 12192000"/>
              <a:gd name="connsiteY758" fmla="*/ 6632911 h 8099368"/>
              <a:gd name="connsiteX759" fmla="*/ 5871056 w 12192000"/>
              <a:gd name="connsiteY759" fmla="*/ 6610350 h 8099368"/>
              <a:gd name="connsiteX760" fmla="*/ 5781078 w 12192000"/>
              <a:gd name="connsiteY760" fmla="*/ 6587789 h 8099368"/>
              <a:gd name="connsiteX761" fmla="*/ 5061256 w 12192000"/>
              <a:gd name="connsiteY761" fmla="*/ 6226814 h 8099368"/>
              <a:gd name="connsiteX762" fmla="*/ 4678849 w 12192000"/>
              <a:gd name="connsiteY762" fmla="*/ 6068888 h 8099368"/>
              <a:gd name="connsiteX763" fmla="*/ 4768827 w 12192000"/>
              <a:gd name="connsiteY763" fmla="*/ 6136570 h 8099368"/>
              <a:gd name="connsiteX764" fmla="*/ 4768827 w 12192000"/>
              <a:gd name="connsiteY764" fmla="*/ 6159131 h 8099368"/>
              <a:gd name="connsiteX765" fmla="*/ 4881300 w 12192000"/>
              <a:gd name="connsiteY765" fmla="*/ 6204253 h 8099368"/>
              <a:gd name="connsiteX766" fmla="*/ 5038761 w 12192000"/>
              <a:gd name="connsiteY766" fmla="*/ 6294497 h 8099368"/>
              <a:gd name="connsiteX767" fmla="*/ 5151233 w 12192000"/>
              <a:gd name="connsiteY767" fmla="*/ 6339619 h 8099368"/>
              <a:gd name="connsiteX768" fmla="*/ 5398672 w 12192000"/>
              <a:gd name="connsiteY768" fmla="*/ 6452423 h 8099368"/>
              <a:gd name="connsiteX769" fmla="*/ 5443662 w 12192000"/>
              <a:gd name="connsiteY769" fmla="*/ 6474984 h 8099368"/>
              <a:gd name="connsiteX770" fmla="*/ 5668606 w 12192000"/>
              <a:gd name="connsiteY770" fmla="*/ 6587789 h 8099368"/>
              <a:gd name="connsiteX771" fmla="*/ 5871056 w 12192000"/>
              <a:gd name="connsiteY771" fmla="*/ 6655471 h 8099368"/>
              <a:gd name="connsiteX772" fmla="*/ 5736089 w 12192000"/>
              <a:gd name="connsiteY772" fmla="*/ 6587789 h 8099368"/>
              <a:gd name="connsiteX773" fmla="*/ 5758584 w 12192000"/>
              <a:gd name="connsiteY773" fmla="*/ 6587789 h 8099368"/>
              <a:gd name="connsiteX774" fmla="*/ 5893551 w 12192000"/>
              <a:gd name="connsiteY774" fmla="*/ 6655471 h 8099368"/>
              <a:gd name="connsiteX775" fmla="*/ 5893551 w 12192000"/>
              <a:gd name="connsiteY775" fmla="*/ 6700593 h 8099368"/>
              <a:gd name="connsiteX776" fmla="*/ 6028517 w 12192000"/>
              <a:gd name="connsiteY776" fmla="*/ 6768276 h 8099368"/>
              <a:gd name="connsiteX777" fmla="*/ 6253462 w 12192000"/>
              <a:gd name="connsiteY777" fmla="*/ 6881081 h 8099368"/>
              <a:gd name="connsiteX778" fmla="*/ 6365934 w 12192000"/>
              <a:gd name="connsiteY778" fmla="*/ 6926202 h 8099368"/>
              <a:gd name="connsiteX779" fmla="*/ 6343440 w 12192000"/>
              <a:gd name="connsiteY779" fmla="*/ 6903642 h 8099368"/>
              <a:gd name="connsiteX780" fmla="*/ 6447477 w 12192000"/>
              <a:gd name="connsiteY780" fmla="*/ 6929023 h 8099368"/>
              <a:gd name="connsiteX781" fmla="*/ 6471976 w 12192000"/>
              <a:gd name="connsiteY781" fmla="*/ 6950228 h 8099368"/>
              <a:gd name="connsiteX782" fmla="*/ 6455912 w 12192000"/>
              <a:gd name="connsiteY782" fmla="*/ 6948763 h 8099368"/>
              <a:gd name="connsiteX783" fmla="*/ 6455912 w 12192000"/>
              <a:gd name="connsiteY783" fmla="*/ 6993885 h 8099368"/>
              <a:gd name="connsiteX784" fmla="*/ 6478407 w 12192000"/>
              <a:gd name="connsiteY784" fmla="*/ 7016446 h 8099368"/>
              <a:gd name="connsiteX785" fmla="*/ 6388429 w 12192000"/>
              <a:gd name="connsiteY785" fmla="*/ 6993885 h 8099368"/>
              <a:gd name="connsiteX786" fmla="*/ 6185979 w 12192000"/>
              <a:gd name="connsiteY786" fmla="*/ 6881081 h 8099368"/>
              <a:gd name="connsiteX787" fmla="*/ 5736089 w 12192000"/>
              <a:gd name="connsiteY787" fmla="*/ 6700593 h 8099368"/>
              <a:gd name="connsiteX788" fmla="*/ 5803573 w 12192000"/>
              <a:gd name="connsiteY788" fmla="*/ 6700593 h 8099368"/>
              <a:gd name="connsiteX789" fmla="*/ 5421167 w 12192000"/>
              <a:gd name="connsiteY789" fmla="*/ 6565228 h 8099368"/>
              <a:gd name="connsiteX790" fmla="*/ 5398672 w 12192000"/>
              <a:gd name="connsiteY790" fmla="*/ 6587789 h 8099368"/>
              <a:gd name="connsiteX791" fmla="*/ 5443662 w 12192000"/>
              <a:gd name="connsiteY791" fmla="*/ 6610350 h 8099368"/>
              <a:gd name="connsiteX792" fmla="*/ 5331189 w 12192000"/>
              <a:gd name="connsiteY792" fmla="*/ 6587789 h 8099368"/>
              <a:gd name="connsiteX793" fmla="*/ 5331189 w 12192000"/>
              <a:gd name="connsiteY793" fmla="*/ 6655471 h 8099368"/>
              <a:gd name="connsiteX794" fmla="*/ 5353683 w 12192000"/>
              <a:gd name="connsiteY794" fmla="*/ 6678032 h 8099368"/>
              <a:gd name="connsiteX795" fmla="*/ 5308694 w 12192000"/>
              <a:gd name="connsiteY795" fmla="*/ 6678032 h 8099368"/>
              <a:gd name="connsiteX796" fmla="*/ 5353683 w 12192000"/>
              <a:gd name="connsiteY796" fmla="*/ 6723154 h 8099368"/>
              <a:gd name="connsiteX797" fmla="*/ 5578628 w 12192000"/>
              <a:gd name="connsiteY797" fmla="*/ 6813398 h 8099368"/>
              <a:gd name="connsiteX798" fmla="*/ 5533639 w 12192000"/>
              <a:gd name="connsiteY798" fmla="*/ 6813398 h 8099368"/>
              <a:gd name="connsiteX799" fmla="*/ 5533639 w 12192000"/>
              <a:gd name="connsiteY799" fmla="*/ 6835959 h 8099368"/>
              <a:gd name="connsiteX800" fmla="*/ 5623617 w 12192000"/>
              <a:gd name="connsiteY800" fmla="*/ 6881081 h 8099368"/>
              <a:gd name="connsiteX801" fmla="*/ 5488650 w 12192000"/>
              <a:gd name="connsiteY801" fmla="*/ 6835959 h 8099368"/>
              <a:gd name="connsiteX802" fmla="*/ 5286200 w 12192000"/>
              <a:gd name="connsiteY802" fmla="*/ 6723154 h 8099368"/>
              <a:gd name="connsiteX803" fmla="*/ 5218717 w 12192000"/>
              <a:gd name="connsiteY803" fmla="*/ 6745715 h 8099368"/>
              <a:gd name="connsiteX804" fmla="*/ 5241211 w 12192000"/>
              <a:gd name="connsiteY804" fmla="*/ 6768276 h 8099368"/>
              <a:gd name="connsiteX805" fmla="*/ 5173728 w 12192000"/>
              <a:gd name="connsiteY805" fmla="*/ 6723154 h 8099368"/>
              <a:gd name="connsiteX806" fmla="*/ 4813816 w 12192000"/>
              <a:gd name="connsiteY806" fmla="*/ 6565228 h 8099368"/>
              <a:gd name="connsiteX807" fmla="*/ 4836311 w 12192000"/>
              <a:gd name="connsiteY807" fmla="*/ 6610350 h 8099368"/>
              <a:gd name="connsiteX808" fmla="*/ 4881300 w 12192000"/>
              <a:gd name="connsiteY808" fmla="*/ 6632911 h 8099368"/>
              <a:gd name="connsiteX809" fmla="*/ 5083750 w 12192000"/>
              <a:gd name="connsiteY809" fmla="*/ 6723154 h 8099368"/>
              <a:gd name="connsiteX810" fmla="*/ 5083750 w 12192000"/>
              <a:gd name="connsiteY810" fmla="*/ 6745715 h 8099368"/>
              <a:gd name="connsiteX811" fmla="*/ 5263705 w 12192000"/>
              <a:gd name="connsiteY811" fmla="*/ 6858520 h 8099368"/>
              <a:gd name="connsiteX812" fmla="*/ 5173728 w 12192000"/>
              <a:gd name="connsiteY812" fmla="*/ 6835959 h 8099368"/>
              <a:gd name="connsiteX813" fmla="*/ 5128739 w 12192000"/>
              <a:gd name="connsiteY813" fmla="*/ 6858520 h 8099368"/>
              <a:gd name="connsiteX814" fmla="*/ 5038761 w 12192000"/>
              <a:gd name="connsiteY814" fmla="*/ 6813398 h 8099368"/>
              <a:gd name="connsiteX815" fmla="*/ 4858805 w 12192000"/>
              <a:gd name="connsiteY815" fmla="*/ 6723154 h 8099368"/>
              <a:gd name="connsiteX816" fmla="*/ 4588872 w 12192000"/>
              <a:gd name="connsiteY816" fmla="*/ 6565228 h 8099368"/>
              <a:gd name="connsiteX817" fmla="*/ 4049004 w 12192000"/>
              <a:gd name="connsiteY817" fmla="*/ 6294497 h 8099368"/>
              <a:gd name="connsiteX818" fmla="*/ 3959027 w 12192000"/>
              <a:gd name="connsiteY818" fmla="*/ 6249375 h 8099368"/>
              <a:gd name="connsiteX819" fmla="*/ 3891543 w 12192000"/>
              <a:gd name="connsiteY819" fmla="*/ 6249375 h 8099368"/>
              <a:gd name="connsiteX820" fmla="*/ 3891543 w 12192000"/>
              <a:gd name="connsiteY820" fmla="*/ 6226814 h 8099368"/>
              <a:gd name="connsiteX821" fmla="*/ 3779071 w 12192000"/>
              <a:gd name="connsiteY821" fmla="*/ 6159131 h 8099368"/>
              <a:gd name="connsiteX822" fmla="*/ 3576621 w 12192000"/>
              <a:gd name="connsiteY822" fmla="*/ 6068888 h 8099368"/>
              <a:gd name="connsiteX823" fmla="*/ 3554126 w 12192000"/>
              <a:gd name="connsiteY823" fmla="*/ 6091448 h 8099368"/>
              <a:gd name="connsiteX824" fmla="*/ 3464148 w 12192000"/>
              <a:gd name="connsiteY824" fmla="*/ 6046327 h 8099368"/>
              <a:gd name="connsiteX825" fmla="*/ 3374170 w 12192000"/>
              <a:gd name="connsiteY825" fmla="*/ 6023766 h 8099368"/>
              <a:gd name="connsiteX826" fmla="*/ 3284193 w 12192000"/>
              <a:gd name="connsiteY826" fmla="*/ 5978644 h 8099368"/>
              <a:gd name="connsiteX827" fmla="*/ 3284193 w 12192000"/>
              <a:gd name="connsiteY827" fmla="*/ 5978644 h 8099368"/>
              <a:gd name="connsiteX828" fmla="*/ 3284192 w 12192000"/>
              <a:gd name="connsiteY828" fmla="*/ 5978644 h 8099368"/>
              <a:gd name="connsiteX829" fmla="*/ 3261699 w 12192000"/>
              <a:gd name="connsiteY829" fmla="*/ 5967364 h 8099368"/>
              <a:gd name="connsiteX830" fmla="*/ 3261698 w 12192000"/>
              <a:gd name="connsiteY830" fmla="*/ 5967363 h 8099368"/>
              <a:gd name="connsiteX831" fmla="*/ 3239203 w 12192000"/>
              <a:gd name="connsiteY831" fmla="*/ 5956083 h 8099368"/>
              <a:gd name="connsiteX832" fmla="*/ 3261699 w 12192000"/>
              <a:gd name="connsiteY832" fmla="*/ 5967364 h 8099368"/>
              <a:gd name="connsiteX833" fmla="*/ 3270837 w 12192000"/>
              <a:gd name="connsiteY833" fmla="*/ 5975119 h 8099368"/>
              <a:gd name="connsiteX834" fmla="*/ 3284192 w 12192000"/>
              <a:gd name="connsiteY834" fmla="*/ 5978644 h 8099368"/>
              <a:gd name="connsiteX835" fmla="*/ 3284193 w 12192000"/>
              <a:gd name="connsiteY835" fmla="*/ 5978644 h 8099368"/>
              <a:gd name="connsiteX836" fmla="*/ 3288059 w 12192000"/>
              <a:gd name="connsiteY836" fmla="*/ 5992039 h 8099368"/>
              <a:gd name="connsiteX837" fmla="*/ 3329181 w 12192000"/>
              <a:gd name="connsiteY837" fmla="*/ 6023766 h 8099368"/>
              <a:gd name="connsiteX838" fmla="*/ 3419159 w 12192000"/>
              <a:gd name="connsiteY838" fmla="*/ 6068888 h 8099368"/>
              <a:gd name="connsiteX839" fmla="*/ 3644104 w 12192000"/>
              <a:gd name="connsiteY839" fmla="*/ 6204253 h 8099368"/>
              <a:gd name="connsiteX840" fmla="*/ 3869049 w 12192000"/>
              <a:gd name="connsiteY840" fmla="*/ 6339619 h 8099368"/>
              <a:gd name="connsiteX841" fmla="*/ 4251454 w 12192000"/>
              <a:gd name="connsiteY841" fmla="*/ 6542667 h 8099368"/>
              <a:gd name="connsiteX842" fmla="*/ 4341432 w 12192000"/>
              <a:gd name="connsiteY842" fmla="*/ 6587789 h 8099368"/>
              <a:gd name="connsiteX843" fmla="*/ 4386421 w 12192000"/>
              <a:gd name="connsiteY843" fmla="*/ 6610350 h 8099368"/>
              <a:gd name="connsiteX844" fmla="*/ 4521389 w 12192000"/>
              <a:gd name="connsiteY844" fmla="*/ 6632911 h 8099368"/>
              <a:gd name="connsiteX845" fmla="*/ 4521389 w 12192000"/>
              <a:gd name="connsiteY845" fmla="*/ 6587789 h 8099368"/>
              <a:gd name="connsiteX846" fmla="*/ 4386421 w 12192000"/>
              <a:gd name="connsiteY846" fmla="*/ 6520106 h 8099368"/>
              <a:gd name="connsiteX847" fmla="*/ 4521389 w 12192000"/>
              <a:gd name="connsiteY847" fmla="*/ 6565228 h 8099368"/>
              <a:gd name="connsiteX848" fmla="*/ 4678849 w 12192000"/>
              <a:gd name="connsiteY848" fmla="*/ 6632911 h 8099368"/>
              <a:gd name="connsiteX849" fmla="*/ 4723838 w 12192000"/>
              <a:gd name="connsiteY849" fmla="*/ 6678032 h 8099368"/>
              <a:gd name="connsiteX850" fmla="*/ 4611366 w 12192000"/>
              <a:gd name="connsiteY850" fmla="*/ 6655471 h 8099368"/>
              <a:gd name="connsiteX851" fmla="*/ 4588872 w 12192000"/>
              <a:gd name="connsiteY851" fmla="*/ 6655471 h 8099368"/>
              <a:gd name="connsiteX852" fmla="*/ 4566377 w 12192000"/>
              <a:gd name="connsiteY852" fmla="*/ 6655471 h 8099368"/>
              <a:gd name="connsiteX853" fmla="*/ 4678849 w 12192000"/>
              <a:gd name="connsiteY853" fmla="*/ 6723154 h 8099368"/>
              <a:gd name="connsiteX854" fmla="*/ 4543883 w 12192000"/>
              <a:gd name="connsiteY854" fmla="*/ 6678032 h 8099368"/>
              <a:gd name="connsiteX855" fmla="*/ 4858805 w 12192000"/>
              <a:gd name="connsiteY855" fmla="*/ 6858520 h 8099368"/>
              <a:gd name="connsiteX856" fmla="*/ 4903794 w 12192000"/>
              <a:gd name="connsiteY856" fmla="*/ 6881081 h 8099368"/>
              <a:gd name="connsiteX857" fmla="*/ 4948783 w 12192000"/>
              <a:gd name="connsiteY857" fmla="*/ 6903642 h 8099368"/>
              <a:gd name="connsiteX858" fmla="*/ 5106244 w 12192000"/>
              <a:gd name="connsiteY858" fmla="*/ 6948763 h 8099368"/>
              <a:gd name="connsiteX859" fmla="*/ 5128739 w 12192000"/>
              <a:gd name="connsiteY859" fmla="*/ 6971324 h 8099368"/>
              <a:gd name="connsiteX860" fmla="*/ 5106244 w 12192000"/>
              <a:gd name="connsiteY860" fmla="*/ 6993885 h 8099368"/>
              <a:gd name="connsiteX861" fmla="*/ 5308694 w 12192000"/>
              <a:gd name="connsiteY861" fmla="*/ 7129251 h 8099368"/>
              <a:gd name="connsiteX862" fmla="*/ 5061256 w 12192000"/>
              <a:gd name="connsiteY862" fmla="*/ 7016446 h 8099368"/>
              <a:gd name="connsiteX863" fmla="*/ 4903794 w 12192000"/>
              <a:gd name="connsiteY863" fmla="*/ 6948763 h 8099368"/>
              <a:gd name="connsiteX864" fmla="*/ 4656355 w 12192000"/>
              <a:gd name="connsiteY864" fmla="*/ 6835959 h 8099368"/>
              <a:gd name="connsiteX865" fmla="*/ 4633860 w 12192000"/>
              <a:gd name="connsiteY865" fmla="*/ 6813398 h 8099368"/>
              <a:gd name="connsiteX866" fmla="*/ 4521389 w 12192000"/>
              <a:gd name="connsiteY866" fmla="*/ 6790837 h 8099368"/>
              <a:gd name="connsiteX867" fmla="*/ 4408916 w 12192000"/>
              <a:gd name="connsiteY867" fmla="*/ 6723154 h 8099368"/>
              <a:gd name="connsiteX868" fmla="*/ 4273949 w 12192000"/>
              <a:gd name="connsiteY868" fmla="*/ 6655471 h 8099368"/>
              <a:gd name="connsiteX869" fmla="*/ 4116488 w 12192000"/>
              <a:gd name="connsiteY869" fmla="*/ 6587789 h 8099368"/>
              <a:gd name="connsiteX870" fmla="*/ 4093993 w 12192000"/>
              <a:gd name="connsiteY870" fmla="*/ 6610350 h 8099368"/>
              <a:gd name="connsiteX871" fmla="*/ 4071499 w 12192000"/>
              <a:gd name="connsiteY871" fmla="*/ 6610350 h 8099368"/>
              <a:gd name="connsiteX872" fmla="*/ 4161476 w 12192000"/>
              <a:gd name="connsiteY872" fmla="*/ 6678032 h 8099368"/>
              <a:gd name="connsiteX873" fmla="*/ 4183971 w 12192000"/>
              <a:gd name="connsiteY873" fmla="*/ 6723154 h 8099368"/>
              <a:gd name="connsiteX874" fmla="*/ 4296443 w 12192000"/>
              <a:gd name="connsiteY874" fmla="*/ 6745715 h 8099368"/>
              <a:gd name="connsiteX875" fmla="*/ 4498894 w 12192000"/>
              <a:gd name="connsiteY875" fmla="*/ 6835959 h 8099368"/>
              <a:gd name="connsiteX876" fmla="*/ 4588872 w 12192000"/>
              <a:gd name="connsiteY876" fmla="*/ 6903642 h 8099368"/>
              <a:gd name="connsiteX877" fmla="*/ 4746333 w 12192000"/>
              <a:gd name="connsiteY877" fmla="*/ 6993885 h 8099368"/>
              <a:gd name="connsiteX878" fmla="*/ 4858805 w 12192000"/>
              <a:gd name="connsiteY878" fmla="*/ 7061568 h 8099368"/>
              <a:gd name="connsiteX879" fmla="*/ 5151233 w 12192000"/>
              <a:gd name="connsiteY879" fmla="*/ 7219494 h 8099368"/>
              <a:gd name="connsiteX880" fmla="*/ 5128739 w 12192000"/>
              <a:gd name="connsiteY880" fmla="*/ 7219494 h 8099368"/>
              <a:gd name="connsiteX881" fmla="*/ 5038761 w 12192000"/>
              <a:gd name="connsiteY881" fmla="*/ 7174373 h 8099368"/>
              <a:gd name="connsiteX882" fmla="*/ 4903794 w 12192000"/>
              <a:gd name="connsiteY882" fmla="*/ 7129251 h 8099368"/>
              <a:gd name="connsiteX883" fmla="*/ 4588872 w 12192000"/>
              <a:gd name="connsiteY883" fmla="*/ 6971324 h 8099368"/>
              <a:gd name="connsiteX884" fmla="*/ 4543883 w 12192000"/>
              <a:gd name="connsiteY884" fmla="*/ 6948763 h 8099368"/>
              <a:gd name="connsiteX885" fmla="*/ 4273949 w 12192000"/>
              <a:gd name="connsiteY885" fmla="*/ 6790837 h 8099368"/>
              <a:gd name="connsiteX886" fmla="*/ 4004015 w 12192000"/>
              <a:gd name="connsiteY886" fmla="*/ 6655471 h 8099368"/>
              <a:gd name="connsiteX887" fmla="*/ 3801565 w 12192000"/>
              <a:gd name="connsiteY887" fmla="*/ 6542667 h 8099368"/>
              <a:gd name="connsiteX888" fmla="*/ 3779071 w 12192000"/>
              <a:gd name="connsiteY888" fmla="*/ 6520106 h 8099368"/>
              <a:gd name="connsiteX889" fmla="*/ 3599115 w 12192000"/>
              <a:gd name="connsiteY889" fmla="*/ 6452423 h 8099368"/>
              <a:gd name="connsiteX890" fmla="*/ 2991764 w 12192000"/>
              <a:gd name="connsiteY890" fmla="*/ 6159131 h 8099368"/>
              <a:gd name="connsiteX891" fmla="*/ 3126731 w 12192000"/>
              <a:gd name="connsiteY891" fmla="*/ 6249375 h 8099368"/>
              <a:gd name="connsiteX892" fmla="*/ 2811809 w 12192000"/>
              <a:gd name="connsiteY892" fmla="*/ 6114009 h 8099368"/>
              <a:gd name="connsiteX893" fmla="*/ 2721831 w 12192000"/>
              <a:gd name="connsiteY893" fmla="*/ 6068888 h 8099368"/>
              <a:gd name="connsiteX894" fmla="*/ 2609359 w 12192000"/>
              <a:gd name="connsiteY894" fmla="*/ 6046327 h 8099368"/>
              <a:gd name="connsiteX895" fmla="*/ 2519381 w 12192000"/>
              <a:gd name="connsiteY895" fmla="*/ 5978644 h 8099368"/>
              <a:gd name="connsiteX896" fmla="*/ 1664591 w 12192000"/>
              <a:gd name="connsiteY896" fmla="*/ 5549986 h 8099368"/>
              <a:gd name="connsiteX897" fmla="*/ 1597107 w 12192000"/>
              <a:gd name="connsiteY897" fmla="*/ 5549986 h 8099368"/>
              <a:gd name="connsiteX898" fmla="*/ 1552119 w 12192000"/>
              <a:gd name="connsiteY898" fmla="*/ 5527425 h 8099368"/>
              <a:gd name="connsiteX899" fmla="*/ 1349668 w 12192000"/>
              <a:gd name="connsiteY899" fmla="*/ 5437182 h 8099368"/>
              <a:gd name="connsiteX900" fmla="*/ 1282185 w 12192000"/>
              <a:gd name="connsiteY900" fmla="*/ 5414621 h 8099368"/>
              <a:gd name="connsiteX901" fmla="*/ 742318 w 12192000"/>
              <a:gd name="connsiteY901" fmla="*/ 5166451 h 8099368"/>
              <a:gd name="connsiteX902" fmla="*/ 629845 w 12192000"/>
              <a:gd name="connsiteY902" fmla="*/ 5166451 h 8099368"/>
              <a:gd name="connsiteX903" fmla="*/ 787307 w 12192000"/>
              <a:gd name="connsiteY903" fmla="*/ 5256694 h 8099368"/>
              <a:gd name="connsiteX904" fmla="*/ 922273 w 12192000"/>
              <a:gd name="connsiteY904" fmla="*/ 5301816 h 8099368"/>
              <a:gd name="connsiteX905" fmla="*/ 922273 w 12192000"/>
              <a:gd name="connsiteY905" fmla="*/ 5324377 h 8099368"/>
              <a:gd name="connsiteX906" fmla="*/ 1034746 w 12192000"/>
              <a:gd name="connsiteY906" fmla="*/ 5346938 h 8099368"/>
              <a:gd name="connsiteX907" fmla="*/ 1124724 w 12192000"/>
              <a:gd name="connsiteY907" fmla="*/ 5392060 h 8099368"/>
              <a:gd name="connsiteX908" fmla="*/ 1147218 w 12192000"/>
              <a:gd name="connsiteY908" fmla="*/ 5414621 h 8099368"/>
              <a:gd name="connsiteX909" fmla="*/ 1237196 w 12192000"/>
              <a:gd name="connsiteY909" fmla="*/ 5459743 h 8099368"/>
              <a:gd name="connsiteX910" fmla="*/ 1192207 w 12192000"/>
              <a:gd name="connsiteY910" fmla="*/ 5459743 h 8099368"/>
              <a:gd name="connsiteX911" fmla="*/ 1079735 w 12192000"/>
              <a:gd name="connsiteY911" fmla="*/ 5414621 h 8099368"/>
              <a:gd name="connsiteX912" fmla="*/ 1169713 w 12192000"/>
              <a:gd name="connsiteY912" fmla="*/ 5459743 h 8099368"/>
              <a:gd name="connsiteX913" fmla="*/ 1304679 w 12192000"/>
              <a:gd name="connsiteY913" fmla="*/ 5527425 h 8099368"/>
              <a:gd name="connsiteX914" fmla="*/ 1475497 w 12192000"/>
              <a:gd name="connsiteY914" fmla="*/ 5609914 h 8099368"/>
              <a:gd name="connsiteX915" fmla="*/ 1529620 w 12192000"/>
              <a:gd name="connsiteY915" fmla="*/ 5640228 h 8099368"/>
              <a:gd name="connsiteX916" fmla="*/ 1439646 w 12192000"/>
              <a:gd name="connsiteY916" fmla="*/ 5595108 h 8099368"/>
              <a:gd name="connsiteX917" fmla="*/ 1417152 w 12192000"/>
              <a:gd name="connsiteY917" fmla="*/ 5617669 h 8099368"/>
              <a:gd name="connsiteX918" fmla="*/ 1507129 w 12192000"/>
              <a:gd name="connsiteY918" fmla="*/ 5662791 h 8099368"/>
              <a:gd name="connsiteX919" fmla="*/ 1574613 w 12192000"/>
              <a:gd name="connsiteY919" fmla="*/ 5707913 h 8099368"/>
              <a:gd name="connsiteX920" fmla="*/ 1642096 w 12192000"/>
              <a:gd name="connsiteY920" fmla="*/ 5730474 h 8099368"/>
              <a:gd name="connsiteX921" fmla="*/ 1597107 w 12192000"/>
              <a:gd name="connsiteY921" fmla="*/ 5730474 h 8099368"/>
              <a:gd name="connsiteX922" fmla="*/ 1619602 w 12192000"/>
              <a:gd name="connsiteY922" fmla="*/ 5753035 h 8099368"/>
              <a:gd name="connsiteX923" fmla="*/ 1687085 w 12192000"/>
              <a:gd name="connsiteY923" fmla="*/ 5798156 h 8099368"/>
              <a:gd name="connsiteX924" fmla="*/ 1732074 w 12192000"/>
              <a:gd name="connsiteY924" fmla="*/ 5820717 h 8099368"/>
              <a:gd name="connsiteX925" fmla="*/ 1822052 w 12192000"/>
              <a:gd name="connsiteY925" fmla="*/ 5888400 h 8099368"/>
              <a:gd name="connsiteX926" fmla="*/ 1709580 w 12192000"/>
              <a:gd name="connsiteY926" fmla="*/ 5820717 h 8099368"/>
              <a:gd name="connsiteX927" fmla="*/ 1574613 w 12192000"/>
              <a:gd name="connsiteY927" fmla="*/ 5775596 h 8099368"/>
              <a:gd name="connsiteX928" fmla="*/ 629845 w 12192000"/>
              <a:gd name="connsiteY928" fmla="*/ 5324377 h 8099368"/>
              <a:gd name="connsiteX929" fmla="*/ 292428 w 12192000"/>
              <a:gd name="connsiteY929" fmla="*/ 5166451 h 8099368"/>
              <a:gd name="connsiteX930" fmla="*/ 0 w 12192000"/>
              <a:gd name="connsiteY930" fmla="*/ 5166451 h 8099368"/>
              <a:gd name="connsiteX931" fmla="*/ 0 w 12192000"/>
              <a:gd name="connsiteY931" fmla="*/ 5164336 h 8099368"/>
              <a:gd name="connsiteX932" fmla="*/ 0 w 12192000"/>
              <a:gd name="connsiteY932" fmla="*/ 5149530 h 8099368"/>
              <a:gd name="connsiteX933" fmla="*/ 0 w 12192000"/>
              <a:gd name="connsiteY933" fmla="*/ 5133403 h 8099368"/>
              <a:gd name="connsiteX934" fmla="*/ 0 w 12192000"/>
              <a:gd name="connsiteY934" fmla="*/ 5109343 h 8099368"/>
              <a:gd name="connsiteX935" fmla="*/ 0 w 12192000"/>
              <a:gd name="connsiteY935" fmla="*/ 5075766 h 8099368"/>
              <a:gd name="connsiteX936" fmla="*/ 0 w 12192000"/>
              <a:gd name="connsiteY936" fmla="*/ 5031085 h 8099368"/>
              <a:gd name="connsiteX937" fmla="*/ 0 w 12192000"/>
              <a:gd name="connsiteY937" fmla="*/ 5030028 h 8099368"/>
              <a:gd name="connsiteX938" fmla="*/ 0 w 12192000"/>
              <a:gd name="connsiteY938" fmla="*/ 5022625 h 8099368"/>
              <a:gd name="connsiteX939" fmla="*/ 0 w 12192000"/>
              <a:gd name="connsiteY939" fmla="*/ 5002532 h 8099368"/>
              <a:gd name="connsiteX940" fmla="*/ 0 w 12192000"/>
              <a:gd name="connsiteY940" fmla="*/ 4963402 h 8099368"/>
              <a:gd name="connsiteX941" fmla="*/ 67484 w 12192000"/>
              <a:gd name="connsiteY941" fmla="*/ 4985963 h 8099368"/>
              <a:gd name="connsiteX942" fmla="*/ 0 w 12192000"/>
              <a:gd name="connsiteY942" fmla="*/ 4963402 h 8099368"/>
              <a:gd name="connsiteX943" fmla="*/ 0 w 12192000"/>
              <a:gd name="connsiteY943" fmla="*/ 4961331 h 8099368"/>
              <a:gd name="connsiteX944" fmla="*/ 0 w 12192000"/>
              <a:gd name="connsiteY944" fmla="*/ 4946834 h 8099368"/>
              <a:gd name="connsiteX945" fmla="*/ 0 w 12192000"/>
              <a:gd name="connsiteY945" fmla="*/ 4931043 h 8099368"/>
              <a:gd name="connsiteX946" fmla="*/ 0 w 12192000"/>
              <a:gd name="connsiteY946" fmla="*/ 4907485 h 8099368"/>
              <a:gd name="connsiteX947" fmla="*/ 0 w 12192000"/>
              <a:gd name="connsiteY947" fmla="*/ 4874607 h 8099368"/>
              <a:gd name="connsiteX948" fmla="*/ 0 w 12192000"/>
              <a:gd name="connsiteY948" fmla="*/ 4830857 h 8099368"/>
              <a:gd name="connsiteX949" fmla="*/ 0 w 12192000"/>
              <a:gd name="connsiteY949" fmla="*/ 4774680 h 8099368"/>
              <a:gd name="connsiteX950" fmla="*/ 0 w 12192000"/>
              <a:gd name="connsiteY950" fmla="*/ 4704524 h 8099368"/>
              <a:gd name="connsiteX951" fmla="*/ 0 w 12192000"/>
              <a:gd name="connsiteY951" fmla="*/ 4618836 h 8099368"/>
              <a:gd name="connsiteX952" fmla="*/ 0 w 12192000"/>
              <a:gd name="connsiteY952" fmla="*/ 4516062 h 8099368"/>
              <a:gd name="connsiteX953" fmla="*/ 0 w 12192000"/>
              <a:gd name="connsiteY953" fmla="*/ 4394648 h 8099368"/>
              <a:gd name="connsiteX954" fmla="*/ 0 w 12192000"/>
              <a:gd name="connsiteY954" fmla="*/ 4253042 h 8099368"/>
              <a:gd name="connsiteX955" fmla="*/ 0 w 12192000"/>
              <a:gd name="connsiteY955" fmla="*/ 4089690 h 8099368"/>
              <a:gd name="connsiteX956" fmla="*/ 0 w 12192000"/>
              <a:gd name="connsiteY956" fmla="*/ 3903039 h 8099368"/>
              <a:gd name="connsiteX957" fmla="*/ 0 w 12192000"/>
              <a:gd name="connsiteY957" fmla="*/ 3898104 h 8099368"/>
              <a:gd name="connsiteX958" fmla="*/ 0 w 12192000"/>
              <a:gd name="connsiteY958" fmla="*/ 3886383 h 8099368"/>
              <a:gd name="connsiteX959" fmla="*/ 0 w 12192000"/>
              <a:gd name="connsiteY959" fmla="*/ 3863558 h 8099368"/>
              <a:gd name="connsiteX960" fmla="*/ 0 w 12192000"/>
              <a:gd name="connsiteY960" fmla="*/ 3825927 h 8099368"/>
              <a:gd name="connsiteX961" fmla="*/ 0 w 12192000"/>
              <a:gd name="connsiteY961" fmla="*/ 3769789 h 8099368"/>
              <a:gd name="connsiteX962" fmla="*/ 0 w 12192000"/>
              <a:gd name="connsiteY962" fmla="*/ 3691443 h 8099368"/>
              <a:gd name="connsiteX963" fmla="*/ 0 w 12192000"/>
              <a:gd name="connsiteY963" fmla="*/ 3587187 h 8099368"/>
              <a:gd name="connsiteX964" fmla="*/ 0 w 12192000"/>
              <a:gd name="connsiteY964" fmla="*/ 3584366 h 8099368"/>
              <a:gd name="connsiteX965" fmla="*/ 0 w 12192000"/>
              <a:gd name="connsiteY965" fmla="*/ 3577669 h 8099368"/>
              <a:gd name="connsiteX966" fmla="*/ 0 w 12192000"/>
              <a:gd name="connsiteY966" fmla="*/ 3564625 h 8099368"/>
              <a:gd name="connsiteX967" fmla="*/ 0 w 12192000"/>
              <a:gd name="connsiteY967" fmla="*/ 3563259 h 8099368"/>
              <a:gd name="connsiteX968" fmla="*/ 0 w 12192000"/>
              <a:gd name="connsiteY968" fmla="*/ 3553697 h 8099368"/>
              <a:gd name="connsiteX969" fmla="*/ 0 w 12192000"/>
              <a:gd name="connsiteY969" fmla="*/ 3527744 h 8099368"/>
              <a:gd name="connsiteX970" fmla="*/ 0 w 12192000"/>
              <a:gd name="connsiteY970" fmla="*/ 3506058 h 8099368"/>
              <a:gd name="connsiteX971" fmla="*/ 0 w 12192000"/>
              <a:gd name="connsiteY971" fmla="*/ 3477202 h 8099368"/>
              <a:gd name="connsiteX972" fmla="*/ 0 w 12192000"/>
              <a:gd name="connsiteY972" fmla="*/ 3440149 h 8099368"/>
              <a:gd name="connsiteX973" fmla="*/ 0 w 12192000"/>
              <a:gd name="connsiteY973" fmla="*/ 3393876 h 8099368"/>
              <a:gd name="connsiteX974" fmla="*/ 0 w 12192000"/>
              <a:gd name="connsiteY974" fmla="*/ 3337358 h 8099368"/>
              <a:gd name="connsiteX975" fmla="*/ 0 w 12192000"/>
              <a:gd name="connsiteY975" fmla="*/ 3269571 h 8099368"/>
              <a:gd name="connsiteX976" fmla="*/ 0 w 12192000"/>
              <a:gd name="connsiteY976" fmla="*/ 3189490 h 8099368"/>
              <a:gd name="connsiteX977" fmla="*/ 0 w 12192000"/>
              <a:gd name="connsiteY977" fmla="*/ 3096090 h 8099368"/>
              <a:gd name="connsiteX978" fmla="*/ 0 w 12192000"/>
              <a:gd name="connsiteY978" fmla="*/ 2988347 h 8099368"/>
              <a:gd name="connsiteX979" fmla="*/ 0 w 12192000"/>
              <a:gd name="connsiteY979" fmla="*/ 2865237 h 8099368"/>
              <a:gd name="connsiteX980" fmla="*/ 0 w 12192000"/>
              <a:gd name="connsiteY980" fmla="*/ 2862417 h 8099368"/>
              <a:gd name="connsiteX981" fmla="*/ 0 w 12192000"/>
              <a:gd name="connsiteY981" fmla="*/ 2855719 h 8099368"/>
              <a:gd name="connsiteX982" fmla="*/ 0 w 12192000"/>
              <a:gd name="connsiteY982" fmla="*/ 2842676 h 8099368"/>
              <a:gd name="connsiteX983" fmla="*/ 0 w 12192000"/>
              <a:gd name="connsiteY983" fmla="*/ 2841883 h 8099368"/>
              <a:gd name="connsiteX984" fmla="*/ 0 w 12192000"/>
              <a:gd name="connsiteY984" fmla="*/ 2836331 h 8099368"/>
              <a:gd name="connsiteX985" fmla="*/ 0 w 12192000"/>
              <a:gd name="connsiteY985" fmla="*/ 2821261 h 8099368"/>
              <a:gd name="connsiteX986" fmla="*/ 0 w 12192000"/>
              <a:gd name="connsiteY986" fmla="*/ 2791914 h 8099368"/>
              <a:gd name="connsiteX987" fmla="*/ 0 w 12192000"/>
              <a:gd name="connsiteY987" fmla="*/ 2743531 h 8099368"/>
              <a:gd name="connsiteX988" fmla="*/ 0 w 12192000"/>
              <a:gd name="connsiteY988" fmla="*/ 2671354 h 8099368"/>
              <a:gd name="connsiteX989" fmla="*/ 0 w 12192000"/>
              <a:gd name="connsiteY989" fmla="*/ 2624855 h 8099368"/>
              <a:gd name="connsiteX990" fmla="*/ 0 w 12192000"/>
              <a:gd name="connsiteY990" fmla="*/ 2570623 h 8099368"/>
              <a:gd name="connsiteX991" fmla="*/ 0 w 12192000"/>
              <a:gd name="connsiteY991" fmla="*/ 2508063 h 8099368"/>
              <a:gd name="connsiteX992" fmla="*/ 0 w 12192000"/>
              <a:gd name="connsiteY992" fmla="*/ 2459141 h 8099368"/>
              <a:gd name="connsiteX993" fmla="*/ 44989 w 12192000"/>
              <a:gd name="connsiteY993" fmla="*/ 2459141 h 8099368"/>
              <a:gd name="connsiteX994" fmla="*/ 22495 w 12192000"/>
              <a:gd name="connsiteY994" fmla="*/ 2414019 h 8099368"/>
              <a:gd name="connsiteX995" fmla="*/ 0 w 12192000"/>
              <a:gd name="connsiteY995" fmla="*/ 2414019 h 8099368"/>
              <a:gd name="connsiteX996" fmla="*/ 0 w 12192000"/>
              <a:gd name="connsiteY996" fmla="*/ 2413181 h 8099368"/>
              <a:gd name="connsiteX997" fmla="*/ 0 w 12192000"/>
              <a:gd name="connsiteY997" fmla="*/ 2407321 h 8099368"/>
              <a:gd name="connsiteX998" fmla="*/ 0 w 12192000"/>
              <a:gd name="connsiteY998" fmla="*/ 2391414 h 8099368"/>
              <a:gd name="connsiteX999" fmla="*/ 0 w 12192000"/>
              <a:gd name="connsiteY999" fmla="*/ 2360436 h 8099368"/>
              <a:gd name="connsiteX1000" fmla="*/ 0 w 12192000"/>
              <a:gd name="connsiteY1000" fmla="*/ 2309366 h 8099368"/>
              <a:gd name="connsiteX1001" fmla="*/ 0 w 12192000"/>
              <a:gd name="connsiteY1001" fmla="*/ 2274726 h 8099368"/>
              <a:gd name="connsiteX1002" fmla="*/ 0 w 12192000"/>
              <a:gd name="connsiteY1002" fmla="*/ 2233179 h 8099368"/>
              <a:gd name="connsiteX1003" fmla="*/ 0 w 12192000"/>
              <a:gd name="connsiteY1003" fmla="*/ 2184097 h 8099368"/>
              <a:gd name="connsiteX1004" fmla="*/ 0 w 12192000"/>
              <a:gd name="connsiteY1004" fmla="*/ 2126852 h 8099368"/>
              <a:gd name="connsiteX1005" fmla="*/ 0 w 12192000"/>
              <a:gd name="connsiteY1005" fmla="*/ 2060816 h 8099368"/>
              <a:gd name="connsiteX1006" fmla="*/ 0 w 12192000"/>
              <a:gd name="connsiteY1006" fmla="*/ 1985361 h 8099368"/>
              <a:gd name="connsiteX1007" fmla="*/ 134967 w 12192000"/>
              <a:gd name="connsiteY1007" fmla="*/ 1985361 h 8099368"/>
              <a:gd name="connsiteX1008" fmla="*/ 89978 w 12192000"/>
              <a:gd name="connsiteY1008" fmla="*/ 1962800 h 8099368"/>
              <a:gd name="connsiteX1009" fmla="*/ 22495 w 12192000"/>
              <a:gd name="connsiteY1009" fmla="*/ 1917678 h 8099368"/>
              <a:gd name="connsiteX1010" fmla="*/ 0 w 12192000"/>
              <a:gd name="connsiteY1010" fmla="*/ 1895117 h 8099368"/>
              <a:gd name="connsiteX1011" fmla="*/ 0 w 12192000"/>
              <a:gd name="connsiteY1011" fmla="*/ 1892782 h 8099368"/>
              <a:gd name="connsiteX1012" fmla="*/ 0 w 12192000"/>
              <a:gd name="connsiteY1012" fmla="*/ 1876434 h 8099368"/>
              <a:gd name="connsiteX1013" fmla="*/ 0 w 12192000"/>
              <a:gd name="connsiteY1013" fmla="*/ 1858627 h 8099368"/>
              <a:gd name="connsiteX1014" fmla="*/ 0 w 12192000"/>
              <a:gd name="connsiteY1014" fmla="*/ 1832061 h 8099368"/>
              <a:gd name="connsiteX1015" fmla="*/ 0 w 12192000"/>
              <a:gd name="connsiteY1015" fmla="*/ 1794987 h 8099368"/>
              <a:gd name="connsiteX1016" fmla="*/ 0 w 12192000"/>
              <a:gd name="connsiteY1016" fmla="*/ 1745651 h 8099368"/>
              <a:gd name="connsiteX1017" fmla="*/ 0 w 12192000"/>
              <a:gd name="connsiteY1017" fmla="*/ 1682303 h 8099368"/>
              <a:gd name="connsiteX1018" fmla="*/ 0 w 12192000"/>
              <a:gd name="connsiteY1018" fmla="*/ 1603192 h 8099368"/>
              <a:gd name="connsiteX1019" fmla="*/ 0 w 12192000"/>
              <a:gd name="connsiteY1019" fmla="*/ 1506564 h 8099368"/>
              <a:gd name="connsiteX1020" fmla="*/ 0 w 12192000"/>
              <a:gd name="connsiteY1020" fmla="*/ 1390669 h 8099368"/>
              <a:gd name="connsiteX1021" fmla="*/ 0 w 12192000"/>
              <a:gd name="connsiteY1021" fmla="*/ 1253756 h 8099368"/>
              <a:gd name="connsiteX1022" fmla="*/ 0 w 12192000"/>
              <a:gd name="connsiteY1022" fmla="*/ 1094073 h 8099368"/>
              <a:gd name="connsiteX1023" fmla="*/ 0 w 12192000"/>
              <a:gd name="connsiteY1023" fmla="*/ 909867 h 8099368"/>
              <a:gd name="connsiteX1024" fmla="*/ 0 w 12192000"/>
              <a:gd name="connsiteY1024" fmla="*/ 699389 h 8099368"/>
              <a:gd name="connsiteX1025" fmla="*/ 382406 w 12192000"/>
              <a:gd name="connsiteY1025" fmla="*/ 902437 h 8099368"/>
              <a:gd name="connsiteX1026" fmla="*/ 944768 w 12192000"/>
              <a:gd name="connsiteY1026" fmla="*/ 1218290 h 8099368"/>
              <a:gd name="connsiteX1027" fmla="*/ 989757 w 12192000"/>
              <a:gd name="connsiteY1027" fmla="*/ 1240851 h 8099368"/>
              <a:gd name="connsiteX1028" fmla="*/ 494878 w 12192000"/>
              <a:gd name="connsiteY1028" fmla="*/ 857315 h 8099368"/>
              <a:gd name="connsiteX1029" fmla="*/ 472384 w 12192000"/>
              <a:gd name="connsiteY1029" fmla="*/ 834754 h 8099368"/>
              <a:gd name="connsiteX1030" fmla="*/ 472384 w 12192000"/>
              <a:gd name="connsiteY1030" fmla="*/ 789632 h 8099368"/>
              <a:gd name="connsiteX1031" fmla="*/ 539867 w 12192000"/>
              <a:gd name="connsiteY1031" fmla="*/ 857315 h 8099368"/>
              <a:gd name="connsiteX1032" fmla="*/ 854790 w 12192000"/>
              <a:gd name="connsiteY1032" fmla="*/ 970120 h 8099368"/>
              <a:gd name="connsiteX1033" fmla="*/ 562362 w 12192000"/>
              <a:gd name="connsiteY1033" fmla="*/ 812193 h 8099368"/>
              <a:gd name="connsiteX1034" fmla="*/ 404901 w 12192000"/>
              <a:gd name="connsiteY1034" fmla="*/ 699389 h 8099368"/>
              <a:gd name="connsiteX1035" fmla="*/ 652340 w 12192000"/>
              <a:gd name="connsiteY1035" fmla="*/ 834754 h 8099368"/>
              <a:gd name="connsiteX1036" fmla="*/ 719823 w 12192000"/>
              <a:gd name="connsiteY1036" fmla="*/ 857315 h 8099368"/>
              <a:gd name="connsiteX1037" fmla="*/ 562362 w 12192000"/>
              <a:gd name="connsiteY1037" fmla="*/ 721950 h 8099368"/>
              <a:gd name="connsiteX1038" fmla="*/ 427395 w 12192000"/>
              <a:gd name="connsiteY1038" fmla="*/ 654267 h 8099368"/>
              <a:gd name="connsiteX1039" fmla="*/ 742318 w 12192000"/>
              <a:gd name="connsiteY1039" fmla="*/ 789632 h 8099368"/>
              <a:gd name="connsiteX1040" fmla="*/ 877284 w 12192000"/>
              <a:gd name="connsiteY1040" fmla="*/ 812193 h 8099368"/>
              <a:gd name="connsiteX1041" fmla="*/ 899779 w 12192000"/>
              <a:gd name="connsiteY1041" fmla="*/ 789632 h 8099368"/>
              <a:gd name="connsiteX1042" fmla="*/ 809801 w 12192000"/>
              <a:gd name="connsiteY1042" fmla="*/ 721950 h 8099368"/>
              <a:gd name="connsiteX1043" fmla="*/ 539867 w 12192000"/>
              <a:gd name="connsiteY1043" fmla="*/ 586584 h 8099368"/>
              <a:gd name="connsiteX1044" fmla="*/ 607351 w 12192000"/>
              <a:gd name="connsiteY1044" fmla="*/ 564023 h 8099368"/>
              <a:gd name="connsiteX1045" fmla="*/ 629845 w 12192000"/>
              <a:gd name="connsiteY1045" fmla="*/ 541462 h 8099368"/>
              <a:gd name="connsiteX1046" fmla="*/ 787307 w 12192000"/>
              <a:gd name="connsiteY1046" fmla="*/ 609145 h 8099368"/>
              <a:gd name="connsiteX1047" fmla="*/ 652340 w 12192000"/>
              <a:gd name="connsiteY1047" fmla="*/ 586584 h 8099368"/>
              <a:gd name="connsiteX1048" fmla="*/ 877284 w 12192000"/>
              <a:gd name="connsiteY1048" fmla="*/ 721950 h 8099368"/>
              <a:gd name="connsiteX1049" fmla="*/ 967262 w 12192000"/>
              <a:gd name="connsiteY1049" fmla="*/ 744510 h 8099368"/>
              <a:gd name="connsiteX1050" fmla="*/ 1034746 w 12192000"/>
              <a:gd name="connsiteY1050" fmla="*/ 676828 h 8099368"/>
              <a:gd name="connsiteX1051" fmla="*/ 787307 w 12192000"/>
              <a:gd name="connsiteY1051" fmla="*/ 518901 h 8099368"/>
              <a:gd name="connsiteX1052" fmla="*/ 584856 w 12192000"/>
              <a:gd name="connsiteY1052" fmla="*/ 451218 h 8099368"/>
              <a:gd name="connsiteX1053" fmla="*/ 562362 w 12192000"/>
              <a:gd name="connsiteY1053" fmla="*/ 406097 h 8099368"/>
              <a:gd name="connsiteX1054" fmla="*/ 652340 w 12192000"/>
              <a:gd name="connsiteY1054" fmla="*/ 451218 h 8099368"/>
              <a:gd name="connsiteX1055" fmla="*/ 584856 w 12192000"/>
              <a:gd name="connsiteY1055" fmla="*/ 383536 h 8099368"/>
              <a:gd name="connsiteX1056" fmla="*/ 517373 w 12192000"/>
              <a:gd name="connsiteY1056" fmla="*/ 360975 h 8099368"/>
              <a:gd name="connsiteX1057" fmla="*/ 427395 w 12192000"/>
              <a:gd name="connsiteY1057" fmla="*/ 293292 h 8099368"/>
              <a:gd name="connsiteX1058" fmla="*/ 584856 w 12192000"/>
              <a:gd name="connsiteY1058" fmla="*/ 360975 h 8099368"/>
              <a:gd name="connsiteX1059" fmla="*/ 629845 w 12192000"/>
              <a:gd name="connsiteY1059" fmla="*/ 406097 h 8099368"/>
              <a:gd name="connsiteX1060" fmla="*/ 1147218 w 12192000"/>
              <a:gd name="connsiteY1060" fmla="*/ 654267 h 8099368"/>
              <a:gd name="connsiteX1061" fmla="*/ 1034746 w 12192000"/>
              <a:gd name="connsiteY1061" fmla="*/ 586584 h 8099368"/>
              <a:gd name="connsiteX1062" fmla="*/ 809801 w 12192000"/>
              <a:gd name="connsiteY1062" fmla="*/ 428658 h 8099368"/>
              <a:gd name="connsiteX1063" fmla="*/ 719823 w 12192000"/>
              <a:gd name="connsiteY1063" fmla="*/ 406097 h 8099368"/>
              <a:gd name="connsiteX1064" fmla="*/ 742318 w 12192000"/>
              <a:gd name="connsiteY1064" fmla="*/ 406097 h 8099368"/>
              <a:gd name="connsiteX1065" fmla="*/ 674834 w 12192000"/>
              <a:gd name="connsiteY1065" fmla="*/ 338414 h 8099368"/>
              <a:gd name="connsiteX1066" fmla="*/ 562362 w 12192000"/>
              <a:gd name="connsiteY1066" fmla="*/ 270731 h 8099368"/>
              <a:gd name="connsiteX1067" fmla="*/ 404901 w 12192000"/>
              <a:gd name="connsiteY1067" fmla="*/ 180488 h 8099368"/>
              <a:gd name="connsiteX1068" fmla="*/ 382406 w 12192000"/>
              <a:gd name="connsiteY1068" fmla="*/ 157927 h 8099368"/>
              <a:gd name="connsiteX1069" fmla="*/ 314923 w 12192000"/>
              <a:gd name="connsiteY1069" fmla="*/ 112805 h 8099368"/>
              <a:gd name="connsiteX1070" fmla="*/ 224945 w 12192000"/>
              <a:gd name="connsiteY1070" fmla="*/ 67683 h 8099368"/>
              <a:gd name="connsiteX1071" fmla="*/ 112472 w 12192000"/>
              <a:gd name="connsiteY1071" fmla="*/ 0 h 8099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</a:cxnLst>
            <a:rect l="l" t="t" r="r" b="b"/>
            <a:pathLst>
              <a:path w="12192000" h="8099368">
                <a:moveTo>
                  <a:pt x="6471976" y="6950228"/>
                </a:moveTo>
                <a:lnTo>
                  <a:pt x="6486842" y="6951583"/>
                </a:lnTo>
                <a:cubicBezTo>
                  <a:pt x="6495278" y="6954404"/>
                  <a:pt x="6500901" y="6960044"/>
                  <a:pt x="6500901" y="6971324"/>
                </a:cubicBezTo>
                <a:cubicBezTo>
                  <a:pt x="6489654" y="6965684"/>
                  <a:pt x="6481219" y="6958634"/>
                  <a:pt x="6473135" y="6951231"/>
                </a:cubicBezTo>
                <a:close/>
                <a:moveTo>
                  <a:pt x="9762599" y="6948763"/>
                </a:moveTo>
                <a:cubicBezTo>
                  <a:pt x="9830082" y="6971324"/>
                  <a:pt x="9875071" y="6993885"/>
                  <a:pt x="9920060" y="7016446"/>
                </a:cubicBezTo>
                <a:cubicBezTo>
                  <a:pt x="10100016" y="7084129"/>
                  <a:pt x="10189993" y="7151812"/>
                  <a:pt x="10347455" y="7219494"/>
                </a:cubicBezTo>
                <a:cubicBezTo>
                  <a:pt x="10167499" y="7151812"/>
                  <a:pt x="9987543" y="7084129"/>
                  <a:pt x="9897565" y="7016446"/>
                </a:cubicBezTo>
                <a:cubicBezTo>
                  <a:pt x="9852576" y="6993885"/>
                  <a:pt x="9807588" y="6971324"/>
                  <a:pt x="9762599" y="6948763"/>
                </a:cubicBezTo>
                <a:close/>
                <a:moveTo>
                  <a:pt x="7892826" y="6551161"/>
                </a:moveTo>
                <a:lnTo>
                  <a:pt x="7916998" y="6561350"/>
                </a:lnTo>
                <a:cubicBezTo>
                  <a:pt x="7922271" y="6563818"/>
                  <a:pt x="7923676" y="6565228"/>
                  <a:pt x="7918053" y="6565228"/>
                </a:cubicBezTo>
                <a:close/>
                <a:moveTo>
                  <a:pt x="7862076" y="6534013"/>
                </a:moveTo>
                <a:lnTo>
                  <a:pt x="7892826" y="6551161"/>
                </a:lnTo>
                <a:lnTo>
                  <a:pt x="7892746" y="6551127"/>
                </a:lnTo>
                <a:cubicBezTo>
                  <a:pt x="7882905" y="6546897"/>
                  <a:pt x="7872361" y="6541962"/>
                  <a:pt x="7864277" y="6536674"/>
                </a:cubicBezTo>
                <a:close/>
                <a:moveTo>
                  <a:pt x="4206466" y="6429862"/>
                </a:moveTo>
                <a:cubicBezTo>
                  <a:pt x="4296443" y="6474984"/>
                  <a:pt x="4341432" y="6497545"/>
                  <a:pt x="4386421" y="6520106"/>
                </a:cubicBezTo>
                <a:cubicBezTo>
                  <a:pt x="4296443" y="6497545"/>
                  <a:pt x="4251454" y="6474984"/>
                  <a:pt x="4206466" y="6429862"/>
                </a:cubicBezTo>
                <a:close/>
                <a:moveTo>
                  <a:pt x="7379061" y="6060797"/>
                </a:moveTo>
                <a:lnTo>
                  <a:pt x="7386609" y="6063622"/>
                </a:lnTo>
                <a:lnTo>
                  <a:pt x="7389432" y="6066068"/>
                </a:lnTo>
                <a:cubicBezTo>
                  <a:pt x="7395056" y="6068888"/>
                  <a:pt x="7400680" y="6068888"/>
                  <a:pt x="7400680" y="6068888"/>
                </a:cubicBezTo>
                <a:cubicBezTo>
                  <a:pt x="7389433" y="6068888"/>
                  <a:pt x="7383809" y="6068888"/>
                  <a:pt x="7380997" y="6066068"/>
                </a:cubicBezTo>
                <a:close/>
                <a:moveTo>
                  <a:pt x="1507129" y="5662791"/>
                </a:moveTo>
                <a:cubicBezTo>
                  <a:pt x="1552119" y="5662791"/>
                  <a:pt x="1574613" y="5685352"/>
                  <a:pt x="1619602" y="5707913"/>
                </a:cubicBezTo>
                <a:cubicBezTo>
                  <a:pt x="1619602" y="5707913"/>
                  <a:pt x="1619602" y="5707913"/>
                  <a:pt x="1597107" y="5707913"/>
                </a:cubicBezTo>
                <a:cubicBezTo>
                  <a:pt x="1574613" y="5685352"/>
                  <a:pt x="1529624" y="5685352"/>
                  <a:pt x="1507129" y="5662791"/>
                </a:cubicBezTo>
                <a:close/>
                <a:moveTo>
                  <a:pt x="1529627" y="5640232"/>
                </a:moveTo>
                <a:lnTo>
                  <a:pt x="1687085" y="5707913"/>
                </a:lnTo>
                <a:cubicBezTo>
                  <a:pt x="1737698" y="5730474"/>
                  <a:pt x="1788310" y="5753035"/>
                  <a:pt x="1844546" y="5775596"/>
                </a:cubicBezTo>
                <a:cubicBezTo>
                  <a:pt x="1934524" y="5798156"/>
                  <a:pt x="2024502" y="5820717"/>
                  <a:pt x="2114480" y="5888400"/>
                </a:cubicBezTo>
                <a:cubicBezTo>
                  <a:pt x="2181964" y="5910961"/>
                  <a:pt x="2226952" y="5933522"/>
                  <a:pt x="2226952" y="5956083"/>
                </a:cubicBezTo>
                <a:cubicBezTo>
                  <a:pt x="2159469" y="5933522"/>
                  <a:pt x="2136975" y="5910961"/>
                  <a:pt x="2091986" y="5888400"/>
                </a:cubicBezTo>
                <a:cubicBezTo>
                  <a:pt x="2046997" y="5888400"/>
                  <a:pt x="2024502" y="5865839"/>
                  <a:pt x="2002008" y="5865839"/>
                </a:cubicBezTo>
                <a:cubicBezTo>
                  <a:pt x="1979513" y="5843278"/>
                  <a:pt x="1934524" y="5843278"/>
                  <a:pt x="1912030" y="5820717"/>
                </a:cubicBezTo>
                <a:cubicBezTo>
                  <a:pt x="1912030" y="5820717"/>
                  <a:pt x="1889536" y="5820717"/>
                  <a:pt x="1889536" y="5820717"/>
                </a:cubicBezTo>
                <a:cubicBezTo>
                  <a:pt x="1777063" y="5753035"/>
                  <a:pt x="1664591" y="5707913"/>
                  <a:pt x="1574613" y="5662791"/>
                </a:cubicBezTo>
                <a:close/>
                <a:moveTo>
                  <a:pt x="1529620" y="5640228"/>
                </a:moveTo>
                <a:lnTo>
                  <a:pt x="1529627" y="5640232"/>
                </a:lnTo>
                <a:lnTo>
                  <a:pt x="1529624" y="5640230"/>
                </a:lnTo>
                <a:close/>
                <a:moveTo>
                  <a:pt x="10572399" y="2481701"/>
                </a:moveTo>
                <a:cubicBezTo>
                  <a:pt x="10572399" y="2481701"/>
                  <a:pt x="10594894" y="2481701"/>
                  <a:pt x="10594894" y="2481701"/>
                </a:cubicBezTo>
                <a:cubicBezTo>
                  <a:pt x="10617388" y="2481701"/>
                  <a:pt x="10662377" y="2504262"/>
                  <a:pt x="10684872" y="2526823"/>
                </a:cubicBezTo>
                <a:cubicBezTo>
                  <a:pt x="10639883" y="2504262"/>
                  <a:pt x="10617388" y="2504262"/>
                  <a:pt x="10572399" y="2481701"/>
                </a:cubicBezTo>
                <a:close/>
                <a:moveTo>
                  <a:pt x="4791322" y="2098166"/>
                </a:moveTo>
                <a:cubicBezTo>
                  <a:pt x="4802569" y="2098166"/>
                  <a:pt x="4808193" y="2098166"/>
                  <a:pt x="4811005" y="2100986"/>
                </a:cubicBezTo>
                <a:lnTo>
                  <a:pt x="4812941" y="2106256"/>
                </a:lnTo>
                <a:lnTo>
                  <a:pt x="4805393" y="2103432"/>
                </a:lnTo>
                <a:lnTo>
                  <a:pt x="4802569" y="2100986"/>
                </a:lnTo>
                <a:cubicBezTo>
                  <a:pt x="4796946" y="2098166"/>
                  <a:pt x="4791322" y="2098166"/>
                  <a:pt x="4791322" y="2098166"/>
                </a:cubicBezTo>
                <a:close/>
                <a:moveTo>
                  <a:pt x="7805580" y="1624386"/>
                </a:moveTo>
                <a:cubicBezTo>
                  <a:pt x="7895558" y="1646947"/>
                  <a:pt x="7940547" y="1669508"/>
                  <a:pt x="7985536" y="1714630"/>
                </a:cubicBezTo>
                <a:cubicBezTo>
                  <a:pt x="7895558" y="1669508"/>
                  <a:pt x="7850569" y="1646947"/>
                  <a:pt x="7805580" y="1624386"/>
                </a:cubicBezTo>
                <a:close/>
                <a:moveTo>
                  <a:pt x="4299175" y="1593331"/>
                </a:moveTo>
                <a:lnTo>
                  <a:pt x="4299255" y="1593365"/>
                </a:lnTo>
                <a:cubicBezTo>
                  <a:pt x="4309097" y="1597595"/>
                  <a:pt x="4319641" y="1602530"/>
                  <a:pt x="4327725" y="1607818"/>
                </a:cubicBezTo>
                <a:lnTo>
                  <a:pt x="4329926" y="1610479"/>
                </a:lnTo>
                <a:close/>
                <a:moveTo>
                  <a:pt x="4273949" y="1579265"/>
                </a:moveTo>
                <a:lnTo>
                  <a:pt x="4299175" y="1593331"/>
                </a:lnTo>
                <a:lnTo>
                  <a:pt x="4275003" y="1583142"/>
                </a:lnTo>
                <a:cubicBezTo>
                  <a:pt x="4269731" y="1580675"/>
                  <a:pt x="4268325" y="1579265"/>
                  <a:pt x="4273949" y="1579265"/>
                </a:cubicBezTo>
                <a:close/>
                <a:moveTo>
                  <a:pt x="1844546" y="879876"/>
                </a:moveTo>
                <a:cubicBezTo>
                  <a:pt x="2024502" y="970120"/>
                  <a:pt x="2204458" y="1037802"/>
                  <a:pt x="2294436" y="1105485"/>
                </a:cubicBezTo>
                <a:cubicBezTo>
                  <a:pt x="2339425" y="1128046"/>
                  <a:pt x="2384414" y="1150607"/>
                  <a:pt x="2429403" y="1173168"/>
                </a:cubicBezTo>
                <a:cubicBezTo>
                  <a:pt x="2361919" y="1150607"/>
                  <a:pt x="2316930" y="1128046"/>
                  <a:pt x="2271942" y="1105485"/>
                </a:cubicBezTo>
                <a:cubicBezTo>
                  <a:pt x="2091986" y="1037802"/>
                  <a:pt x="2002008" y="970120"/>
                  <a:pt x="1844546" y="879876"/>
                </a:cubicBezTo>
                <a:close/>
                <a:moveTo>
                  <a:pt x="112472" y="0"/>
                </a:moveTo>
                <a:cubicBezTo>
                  <a:pt x="202450" y="22561"/>
                  <a:pt x="202450" y="45122"/>
                  <a:pt x="247439" y="67683"/>
                </a:cubicBezTo>
                <a:cubicBezTo>
                  <a:pt x="247439" y="67683"/>
                  <a:pt x="247439" y="67683"/>
                  <a:pt x="269934" y="67683"/>
                </a:cubicBezTo>
                <a:cubicBezTo>
                  <a:pt x="269934" y="67683"/>
                  <a:pt x="292428" y="67683"/>
                  <a:pt x="292428" y="67683"/>
                </a:cubicBezTo>
                <a:cubicBezTo>
                  <a:pt x="292428" y="67683"/>
                  <a:pt x="292428" y="67683"/>
                  <a:pt x="292428" y="45122"/>
                </a:cubicBezTo>
                <a:cubicBezTo>
                  <a:pt x="247439" y="45122"/>
                  <a:pt x="202450" y="22561"/>
                  <a:pt x="202450" y="0"/>
                </a:cubicBezTo>
                <a:cubicBezTo>
                  <a:pt x="269934" y="22561"/>
                  <a:pt x="292428" y="45122"/>
                  <a:pt x="314923" y="45122"/>
                </a:cubicBezTo>
                <a:cubicBezTo>
                  <a:pt x="382406" y="90244"/>
                  <a:pt x="427395" y="112805"/>
                  <a:pt x="494878" y="157927"/>
                </a:cubicBezTo>
                <a:cubicBezTo>
                  <a:pt x="494878" y="157927"/>
                  <a:pt x="517373" y="157927"/>
                  <a:pt x="517373" y="180488"/>
                </a:cubicBezTo>
                <a:cubicBezTo>
                  <a:pt x="539867" y="180488"/>
                  <a:pt x="562362" y="203048"/>
                  <a:pt x="607351" y="225609"/>
                </a:cubicBezTo>
                <a:cubicBezTo>
                  <a:pt x="674834" y="225609"/>
                  <a:pt x="742318" y="248170"/>
                  <a:pt x="809801" y="248170"/>
                </a:cubicBezTo>
                <a:cubicBezTo>
                  <a:pt x="832295" y="270731"/>
                  <a:pt x="787307" y="270731"/>
                  <a:pt x="787307" y="293292"/>
                </a:cubicBezTo>
                <a:cubicBezTo>
                  <a:pt x="764812" y="338414"/>
                  <a:pt x="832295" y="406097"/>
                  <a:pt x="989757" y="451218"/>
                </a:cubicBezTo>
                <a:cubicBezTo>
                  <a:pt x="1147218" y="518901"/>
                  <a:pt x="1147218" y="541462"/>
                  <a:pt x="1169713" y="564023"/>
                </a:cubicBezTo>
                <a:cubicBezTo>
                  <a:pt x="1237196" y="609145"/>
                  <a:pt x="1282185" y="631706"/>
                  <a:pt x="1327174" y="654267"/>
                </a:cubicBezTo>
                <a:cubicBezTo>
                  <a:pt x="1327174" y="676828"/>
                  <a:pt x="1349668" y="676828"/>
                  <a:pt x="1349668" y="676828"/>
                </a:cubicBezTo>
                <a:cubicBezTo>
                  <a:pt x="1349668" y="676828"/>
                  <a:pt x="1349668" y="676828"/>
                  <a:pt x="1349668" y="699389"/>
                </a:cubicBezTo>
                <a:cubicBezTo>
                  <a:pt x="1417152" y="721950"/>
                  <a:pt x="1484635" y="744510"/>
                  <a:pt x="1507129" y="789632"/>
                </a:cubicBezTo>
                <a:cubicBezTo>
                  <a:pt x="1552119" y="789632"/>
                  <a:pt x="1574613" y="812193"/>
                  <a:pt x="1597107" y="812193"/>
                </a:cubicBezTo>
                <a:cubicBezTo>
                  <a:pt x="1844546" y="947559"/>
                  <a:pt x="2091986" y="1105485"/>
                  <a:pt x="2339425" y="1240851"/>
                </a:cubicBezTo>
                <a:cubicBezTo>
                  <a:pt x="2384414" y="1263412"/>
                  <a:pt x="2429403" y="1285973"/>
                  <a:pt x="2519381" y="1285973"/>
                </a:cubicBezTo>
                <a:cubicBezTo>
                  <a:pt x="2541875" y="1285973"/>
                  <a:pt x="2496886" y="1263412"/>
                  <a:pt x="2541875" y="1263412"/>
                </a:cubicBezTo>
                <a:cubicBezTo>
                  <a:pt x="2496886" y="1240851"/>
                  <a:pt x="2451897" y="1218290"/>
                  <a:pt x="2429403" y="1173168"/>
                </a:cubicBezTo>
                <a:cubicBezTo>
                  <a:pt x="2474392" y="1195729"/>
                  <a:pt x="2519381" y="1218290"/>
                  <a:pt x="2541875" y="1240851"/>
                </a:cubicBezTo>
                <a:cubicBezTo>
                  <a:pt x="2564370" y="1240851"/>
                  <a:pt x="2586864" y="1240851"/>
                  <a:pt x="2586864" y="1240851"/>
                </a:cubicBezTo>
                <a:cubicBezTo>
                  <a:pt x="2609359" y="1218290"/>
                  <a:pt x="2631853" y="1218290"/>
                  <a:pt x="2609359" y="1218290"/>
                </a:cubicBezTo>
                <a:cubicBezTo>
                  <a:pt x="2631853" y="1218290"/>
                  <a:pt x="2429403" y="1150607"/>
                  <a:pt x="2631853" y="1195729"/>
                </a:cubicBezTo>
                <a:cubicBezTo>
                  <a:pt x="2631853" y="1195729"/>
                  <a:pt x="2744325" y="1218290"/>
                  <a:pt x="2744325" y="1173168"/>
                </a:cubicBezTo>
                <a:cubicBezTo>
                  <a:pt x="2676842" y="1150607"/>
                  <a:pt x="2699336" y="1128046"/>
                  <a:pt x="2609359" y="1105485"/>
                </a:cubicBezTo>
                <a:cubicBezTo>
                  <a:pt x="2496886" y="1060363"/>
                  <a:pt x="2564370" y="1105485"/>
                  <a:pt x="2519381" y="1105485"/>
                </a:cubicBezTo>
                <a:cubicBezTo>
                  <a:pt x="2429403" y="1082924"/>
                  <a:pt x="2429403" y="1037802"/>
                  <a:pt x="2384414" y="1015242"/>
                </a:cubicBezTo>
                <a:cubicBezTo>
                  <a:pt x="2541875" y="1060363"/>
                  <a:pt x="2586864" y="1060363"/>
                  <a:pt x="2609359" y="1037802"/>
                </a:cubicBezTo>
                <a:cubicBezTo>
                  <a:pt x="2564370" y="1015242"/>
                  <a:pt x="2451897" y="970120"/>
                  <a:pt x="2474392" y="947559"/>
                </a:cubicBezTo>
                <a:cubicBezTo>
                  <a:pt x="2541875" y="992681"/>
                  <a:pt x="2654347" y="1015242"/>
                  <a:pt x="2654347" y="1037802"/>
                </a:cubicBezTo>
                <a:cubicBezTo>
                  <a:pt x="2789314" y="1128046"/>
                  <a:pt x="2991764" y="1195729"/>
                  <a:pt x="3104237" y="1285973"/>
                </a:cubicBezTo>
                <a:cubicBezTo>
                  <a:pt x="3171720" y="1308534"/>
                  <a:pt x="3239203" y="1331095"/>
                  <a:pt x="3284193" y="1353655"/>
                </a:cubicBezTo>
                <a:cubicBezTo>
                  <a:pt x="3486643" y="1466460"/>
                  <a:pt x="3711587" y="1579265"/>
                  <a:pt x="3936532" y="1669508"/>
                </a:cubicBezTo>
                <a:cubicBezTo>
                  <a:pt x="4071499" y="1737191"/>
                  <a:pt x="4228960" y="1804874"/>
                  <a:pt x="4363927" y="1872556"/>
                </a:cubicBezTo>
                <a:cubicBezTo>
                  <a:pt x="4498894" y="1940239"/>
                  <a:pt x="4656355" y="2007922"/>
                  <a:pt x="4791322" y="2098166"/>
                </a:cubicBezTo>
                <a:lnTo>
                  <a:pt x="4805393" y="2103432"/>
                </a:lnTo>
                <a:lnTo>
                  <a:pt x="4810302" y="2107684"/>
                </a:lnTo>
                <a:cubicBezTo>
                  <a:pt x="4812410" y="2110856"/>
                  <a:pt x="4813816" y="2115087"/>
                  <a:pt x="4813816" y="2120727"/>
                </a:cubicBezTo>
                <a:cubicBezTo>
                  <a:pt x="4813816" y="2115087"/>
                  <a:pt x="4813816" y="2110856"/>
                  <a:pt x="4813465" y="2107684"/>
                </a:cubicBezTo>
                <a:lnTo>
                  <a:pt x="4812941" y="2106256"/>
                </a:lnTo>
                <a:lnTo>
                  <a:pt x="4979713" y="2168669"/>
                </a:lnTo>
                <a:cubicBezTo>
                  <a:pt x="5038761" y="2194050"/>
                  <a:pt x="5094997" y="2222251"/>
                  <a:pt x="5151233" y="2256092"/>
                </a:cubicBezTo>
                <a:cubicBezTo>
                  <a:pt x="5173728" y="2256092"/>
                  <a:pt x="5196222" y="2256092"/>
                  <a:pt x="5218717" y="2256092"/>
                </a:cubicBezTo>
                <a:cubicBezTo>
                  <a:pt x="5196222" y="2256092"/>
                  <a:pt x="5151233" y="2233531"/>
                  <a:pt x="5128739" y="2210970"/>
                </a:cubicBezTo>
                <a:cubicBezTo>
                  <a:pt x="4993772" y="2143288"/>
                  <a:pt x="4836311" y="2075605"/>
                  <a:pt x="4701344" y="2007922"/>
                </a:cubicBezTo>
                <a:cubicBezTo>
                  <a:pt x="4656355" y="1962800"/>
                  <a:pt x="4588872" y="1940239"/>
                  <a:pt x="4543883" y="1917678"/>
                </a:cubicBezTo>
                <a:cubicBezTo>
                  <a:pt x="4408916" y="1849996"/>
                  <a:pt x="4363927" y="1804874"/>
                  <a:pt x="4228960" y="1759752"/>
                </a:cubicBezTo>
                <a:cubicBezTo>
                  <a:pt x="4161476" y="1714630"/>
                  <a:pt x="4116488" y="1669508"/>
                  <a:pt x="3981521" y="1624386"/>
                </a:cubicBezTo>
                <a:cubicBezTo>
                  <a:pt x="3959027" y="1601825"/>
                  <a:pt x="3936532" y="1579265"/>
                  <a:pt x="3891543" y="1579265"/>
                </a:cubicBezTo>
                <a:cubicBezTo>
                  <a:pt x="3801565" y="1511582"/>
                  <a:pt x="3644104" y="1443899"/>
                  <a:pt x="3576621" y="1398777"/>
                </a:cubicBezTo>
                <a:cubicBezTo>
                  <a:pt x="3531632" y="1353655"/>
                  <a:pt x="3621609" y="1353655"/>
                  <a:pt x="3554126" y="1308534"/>
                </a:cubicBezTo>
                <a:cubicBezTo>
                  <a:pt x="3554126" y="1308534"/>
                  <a:pt x="3554126" y="1308534"/>
                  <a:pt x="3531632" y="1308534"/>
                </a:cubicBezTo>
                <a:cubicBezTo>
                  <a:pt x="3464148" y="1285973"/>
                  <a:pt x="3396665" y="1308534"/>
                  <a:pt x="3306687" y="1263412"/>
                </a:cubicBezTo>
                <a:cubicBezTo>
                  <a:pt x="3284193" y="1240851"/>
                  <a:pt x="3239203" y="1218290"/>
                  <a:pt x="3216709" y="1195729"/>
                </a:cubicBezTo>
                <a:cubicBezTo>
                  <a:pt x="3126731" y="1173168"/>
                  <a:pt x="3059248" y="1105485"/>
                  <a:pt x="2969270" y="1150607"/>
                </a:cubicBezTo>
                <a:cubicBezTo>
                  <a:pt x="2969270" y="1173168"/>
                  <a:pt x="2879292" y="1150607"/>
                  <a:pt x="2834303" y="1128046"/>
                </a:cubicBezTo>
                <a:cubicBezTo>
                  <a:pt x="2744325" y="1082924"/>
                  <a:pt x="2901787" y="1128046"/>
                  <a:pt x="2879292" y="1105485"/>
                </a:cubicBezTo>
                <a:cubicBezTo>
                  <a:pt x="2834303" y="1082924"/>
                  <a:pt x="2856798" y="1082924"/>
                  <a:pt x="2856798" y="1060363"/>
                </a:cubicBezTo>
                <a:cubicBezTo>
                  <a:pt x="2879292" y="1060363"/>
                  <a:pt x="2901787" y="1082924"/>
                  <a:pt x="2901787" y="1082924"/>
                </a:cubicBezTo>
                <a:cubicBezTo>
                  <a:pt x="2924281" y="1082924"/>
                  <a:pt x="2901787" y="1105485"/>
                  <a:pt x="2901787" y="1105485"/>
                </a:cubicBezTo>
                <a:cubicBezTo>
                  <a:pt x="3036753" y="1105485"/>
                  <a:pt x="3149225" y="1128046"/>
                  <a:pt x="3261698" y="1195729"/>
                </a:cubicBezTo>
                <a:cubicBezTo>
                  <a:pt x="3284193" y="1195729"/>
                  <a:pt x="3351676" y="1218290"/>
                  <a:pt x="3396665" y="1240851"/>
                </a:cubicBezTo>
                <a:cubicBezTo>
                  <a:pt x="3216709" y="1128046"/>
                  <a:pt x="3014259" y="1037802"/>
                  <a:pt x="2834303" y="924998"/>
                </a:cubicBezTo>
                <a:cubicBezTo>
                  <a:pt x="2811809" y="924998"/>
                  <a:pt x="2811809" y="902437"/>
                  <a:pt x="2766820" y="902437"/>
                </a:cubicBezTo>
                <a:cubicBezTo>
                  <a:pt x="2721831" y="902437"/>
                  <a:pt x="2721831" y="902437"/>
                  <a:pt x="2766820" y="947559"/>
                </a:cubicBezTo>
                <a:cubicBezTo>
                  <a:pt x="2811809" y="947559"/>
                  <a:pt x="2834303" y="970120"/>
                  <a:pt x="2856798" y="992681"/>
                </a:cubicBezTo>
                <a:cubicBezTo>
                  <a:pt x="2879292" y="1015242"/>
                  <a:pt x="2901787" y="1037802"/>
                  <a:pt x="2879292" y="1037802"/>
                </a:cubicBezTo>
                <a:cubicBezTo>
                  <a:pt x="2834303" y="1015242"/>
                  <a:pt x="2811809" y="992681"/>
                  <a:pt x="2811809" y="992681"/>
                </a:cubicBezTo>
                <a:cubicBezTo>
                  <a:pt x="2789314" y="970120"/>
                  <a:pt x="2744325" y="947559"/>
                  <a:pt x="2721831" y="947559"/>
                </a:cubicBezTo>
                <a:cubicBezTo>
                  <a:pt x="2676842" y="924998"/>
                  <a:pt x="2631853" y="902437"/>
                  <a:pt x="2586864" y="879876"/>
                </a:cubicBezTo>
                <a:cubicBezTo>
                  <a:pt x="2496886" y="857315"/>
                  <a:pt x="2451897" y="834754"/>
                  <a:pt x="2474392" y="812193"/>
                </a:cubicBezTo>
                <a:cubicBezTo>
                  <a:pt x="2541875" y="789632"/>
                  <a:pt x="2429403" y="744510"/>
                  <a:pt x="2316930" y="699389"/>
                </a:cubicBezTo>
                <a:cubicBezTo>
                  <a:pt x="2271942" y="699389"/>
                  <a:pt x="2204458" y="676828"/>
                  <a:pt x="2204458" y="654267"/>
                </a:cubicBezTo>
                <a:cubicBezTo>
                  <a:pt x="2159469" y="631706"/>
                  <a:pt x="2091986" y="609145"/>
                  <a:pt x="2069491" y="564023"/>
                </a:cubicBezTo>
                <a:cubicBezTo>
                  <a:pt x="2024502" y="541462"/>
                  <a:pt x="1912030" y="473779"/>
                  <a:pt x="1957019" y="451218"/>
                </a:cubicBezTo>
                <a:cubicBezTo>
                  <a:pt x="1867041" y="406097"/>
                  <a:pt x="1777063" y="360975"/>
                  <a:pt x="1709580" y="315853"/>
                </a:cubicBezTo>
                <a:cubicBezTo>
                  <a:pt x="1642096" y="293292"/>
                  <a:pt x="1574613" y="270731"/>
                  <a:pt x="1552119" y="248170"/>
                </a:cubicBezTo>
                <a:cubicBezTo>
                  <a:pt x="1664591" y="270731"/>
                  <a:pt x="1687085" y="293292"/>
                  <a:pt x="1732074" y="315853"/>
                </a:cubicBezTo>
                <a:cubicBezTo>
                  <a:pt x="1867041" y="383536"/>
                  <a:pt x="2024502" y="473779"/>
                  <a:pt x="2114480" y="541462"/>
                </a:cubicBezTo>
                <a:cubicBezTo>
                  <a:pt x="2136975" y="541462"/>
                  <a:pt x="2159469" y="541462"/>
                  <a:pt x="2181964" y="564023"/>
                </a:cubicBezTo>
                <a:cubicBezTo>
                  <a:pt x="2204458" y="564023"/>
                  <a:pt x="2249447" y="586584"/>
                  <a:pt x="2271942" y="609145"/>
                </a:cubicBezTo>
                <a:cubicBezTo>
                  <a:pt x="2204458" y="586584"/>
                  <a:pt x="2181964" y="564023"/>
                  <a:pt x="2159469" y="564023"/>
                </a:cubicBezTo>
                <a:cubicBezTo>
                  <a:pt x="2114480" y="541462"/>
                  <a:pt x="2069491" y="541462"/>
                  <a:pt x="2114480" y="564023"/>
                </a:cubicBezTo>
                <a:cubicBezTo>
                  <a:pt x="2159469" y="586584"/>
                  <a:pt x="2204458" y="609145"/>
                  <a:pt x="2226952" y="631706"/>
                </a:cubicBezTo>
                <a:cubicBezTo>
                  <a:pt x="2249447" y="631706"/>
                  <a:pt x="2249447" y="631706"/>
                  <a:pt x="2249447" y="631706"/>
                </a:cubicBezTo>
                <a:cubicBezTo>
                  <a:pt x="2384414" y="676828"/>
                  <a:pt x="2541875" y="721950"/>
                  <a:pt x="2609359" y="767071"/>
                </a:cubicBezTo>
                <a:cubicBezTo>
                  <a:pt x="2699336" y="812193"/>
                  <a:pt x="2721831" y="834754"/>
                  <a:pt x="2721831" y="857315"/>
                </a:cubicBezTo>
                <a:cubicBezTo>
                  <a:pt x="2789314" y="879876"/>
                  <a:pt x="2834303" y="902437"/>
                  <a:pt x="2901787" y="924998"/>
                </a:cubicBezTo>
                <a:cubicBezTo>
                  <a:pt x="2969270" y="992681"/>
                  <a:pt x="3149225" y="1060363"/>
                  <a:pt x="3261698" y="1128046"/>
                </a:cubicBezTo>
                <a:cubicBezTo>
                  <a:pt x="3261698" y="1128046"/>
                  <a:pt x="3284193" y="1128046"/>
                  <a:pt x="3284193" y="1128046"/>
                </a:cubicBezTo>
                <a:cubicBezTo>
                  <a:pt x="3261698" y="1105485"/>
                  <a:pt x="3239203" y="1105485"/>
                  <a:pt x="3194215" y="1082924"/>
                </a:cubicBezTo>
                <a:cubicBezTo>
                  <a:pt x="3194215" y="1082924"/>
                  <a:pt x="3216709" y="1082924"/>
                  <a:pt x="3216709" y="1082924"/>
                </a:cubicBezTo>
                <a:cubicBezTo>
                  <a:pt x="3261698" y="1105485"/>
                  <a:pt x="3284193" y="1105485"/>
                  <a:pt x="3329181" y="1128046"/>
                </a:cubicBezTo>
                <a:cubicBezTo>
                  <a:pt x="3396665" y="1173168"/>
                  <a:pt x="3441654" y="1195729"/>
                  <a:pt x="3509137" y="1240851"/>
                </a:cubicBezTo>
                <a:cubicBezTo>
                  <a:pt x="3576621" y="1240851"/>
                  <a:pt x="3599115" y="1263412"/>
                  <a:pt x="3621609" y="1285973"/>
                </a:cubicBezTo>
                <a:cubicBezTo>
                  <a:pt x="3554126" y="1263412"/>
                  <a:pt x="3509137" y="1240851"/>
                  <a:pt x="3486643" y="1240851"/>
                </a:cubicBezTo>
                <a:cubicBezTo>
                  <a:pt x="3441654" y="1218290"/>
                  <a:pt x="3419159" y="1195729"/>
                  <a:pt x="3351676" y="1173168"/>
                </a:cubicBezTo>
                <a:cubicBezTo>
                  <a:pt x="3441654" y="1218290"/>
                  <a:pt x="3531632" y="1285973"/>
                  <a:pt x="3644104" y="1331095"/>
                </a:cubicBezTo>
                <a:cubicBezTo>
                  <a:pt x="3711587" y="1353655"/>
                  <a:pt x="3734082" y="1398777"/>
                  <a:pt x="3846554" y="1421338"/>
                </a:cubicBezTo>
                <a:cubicBezTo>
                  <a:pt x="3981521" y="1443899"/>
                  <a:pt x="4026510" y="1466460"/>
                  <a:pt x="4071499" y="1511582"/>
                </a:cubicBezTo>
                <a:cubicBezTo>
                  <a:pt x="4138982" y="1556704"/>
                  <a:pt x="4228960" y="1601825"/>
                  <a:pt x="4341432" y="1624386"/>
                </a:cubicBezTo>
                <a:lnTo>
                  <a:pt x="4329926" y="1610479"/>
                </a:lnTo>
                <a:lnTo>
                  <a:pt x="4364981" y="1630027"/>
                </a:lnTo>
                <a:cubicBezTo>
                  <a:pt x="4460934" y="1680789"/>
                  <a:pt x="4566377" y="1731551"/>
                  <a:pt x="4633860" y="1782313"/>
                </a:cubicBezTo>
                <a:cubicBezTo>
                  <a:pt x="4678849" y="1804874"/>
                  <a:pt x="4723838" y="1827435"/>
                  <a:pt x="4768827" y="1849996"/>
                </a:cubicBezTo>
                <a:cubicBezTo>
                  <a:pt x="5038761" y="1962800"/>
                  <a:pt x="5263705" y="2053044"/>
                  <a:pt x="5466156" y="2165849"/>
                </a:cubicBezTo>
                <a:cubicBezTo>
                  <a:pt x="5668606" y="2278653"/>
                  <a:pt x="5871056" y="2368897"/>
                  <a:pt x="6096001" y="2459141"/>
                </a:cubicBezTo>
                <a:cubicBezTo>
                  <a:pt x="6073506" y="2414019"/>
                  <a:pt x="5916046" y="2368897"/>
                  <a:pt x="5848562" y="2323775"/>
                </a:cubicBezTo>
                <a:cubicBezTo>
                  <a:pt x="5691100" y="2256092"/>
                  <a:pt x="5488650" y="2165849"/>
                  <a:pt x="5331189" y="2075605"/>
                </a:cubicBezTo>
                <a:cubicBezTo>
                  <a:pt x="5286200" y="2075605"/>
                  <a:pt x="5218717" y="2053044"/>
                  <a:pt x="5263705" y="2030483"/>
                </a:cubicBezTo>
                <a:cubicBezTo>
                  <a:pt x="5263705" y="2030483"/>
                  <a:pt x="5286200" y="2030483"/>
                  <a:pt x="5308694" y="2030483"/>
                </a:cubicBezTo>
                <a:cubicBezTo>
                  <a:pt x="5376178" y="2030483"/>
                  <a:pt x="5421167" y="2075605"/>
                  <a:pt x="5443662" y="2075605"/>
                </a:cubicBezTo>
                <a:cubicBezTo>
                  <a:pt x="5460532" y="2109446"/>
                  <a:pt x="5502710" y="2130597"/>
                  <a:pt x="5551213" y="2139057"/>
                </a:cubicBezTo>
                <a:lnTo>
                  <a:pt x="5578628" y="2141381"/>
                </a:lnTo>
                <a:lnTo>
                  <a:pt x="5578628" y="2143288"/>
                </a:lnTo>
                <a:cubicBezTo>
                  <a:pt x="5578628" y="2143288"/>
                  <a:pt x="5601122" y="2143288"/>
                  <a:pt x="5601122" y="2143288"/>
                </a:cubicBezTo>
                <a:lnTo>
                  <a:pt x="5578628" y="2141381"/>
                </a:lnTo>
                <a:lnTo>
                  <a:pt x="5578628" y="2130245"/>
                </a:lnTo>
                <a:cubicBezTo>
                  <a:pt x="5578628" y="2120727"/>
                  <a:pt x="5578628" y="2120727"/>
                  <a:pt x="5578628" y="2120727"/>
                </a:cubicBezTo>
                <a:cubicBezTo>
                  <a:pt x="5691100" y="2165849"/>
                  <a:pt x="5781078" y="2233531"/>
                  <a:pt x="5893551" y="2278653"/>
                </a:cubicBezTo>
                <a:cubicBezTo>
                  <a:pt x="5916046" y="2278653"/>
                  <a:pt x="5938539" y="2301214"/>
                  <a:pt x="5961034" y="2301214"/>
                </a:cubicBezTo>
                <a:cubicBezTo>
                  <a:pt x="5961034" y="2301214"/>
                  <a:pt x="5983528" y="2301214"/>
                  <a:pt x="6006023" y="2301214"/>
                </a:cubicBezTo>
                <a:cubicBezTo>
                  <a:pt x="5983528" y="2301214"/>
                  <a:pt x="5961034" y="2278653"/>
                  <a:pt x="5983528" y="2278653"/>
                </a:cubicBezTo>
                <a:cubicBezTo>
                  <a:pt x="6006023" y="2278653"/>
                  <a:pt x="6028517" y="2301214"/>
                  <a:pt x="6051012" y="2301214"/>
                </a:cubicBezTo>
                <a:cubicBezTo>
                  <a:pt x="6073506" y="2346336"/>
                  <a:pt x="6140990" y="2368897"/>
                  <a:pt x="6230968" y="2391458"/>
                </a:cubicBezTo>
                <a:cubicBezTo>
                  <a:pt x="6253462" y="2368897"/>
                  <a:pt x="6275956" y="2391458"/>
                  <a:pt x="6298451" y="2391458"/>
                </a:cubicBezTo>
                <a:cubicBezTo>
                  <a:pt x="6320945" y="2414019"/>
                  <a:pt x="6343440" y="2414019"/>
                  <a:pt x="6343440" y="2414019"/>
                </a:cubicBezTo>
                <a:cubicBezTo>
                  <a:pt x="6298451" y="2368897"/>
                  <a:pt x="6230968" y="2346336"/>
                  <a:pt x="6163484" y="2323775"/>
                </a:cubicBezTo>
                <a:cubicBezTo>
                  <a:pt x="6163484" y="2323775"/>
                  <a:pt x="6163484" y="2346336"/>
                  <a:pt x="6118495" y="2323775"/>
                </a:cubicBezTo>
                <a:cubicBezTo>
                  <a:pt x="6073506" y="2301214"/>
                  <a:pt x="6073506" y="2301214"/>
                  <a:pt x="6073506" y="2278653"/>
                </a:cubicBezTo>
                <a:cubicBezTo>
                  <a:pt x="6051012" y="2278653"/>
                  <a:pt x="6006023" y="2256092"/>
                  <a:pt x="5961034" y="2233531"/>
                </a:cubicBezTo>
                <a:cubicBezTo>
                  <a:pt x="5871056" y="2210970"/>
                  <a:pt x="5848562" y="2165849"/>
                  <a:pt x="5713595" y="2120727"/>
                </a:cubicBezTo>
                <a:cubicBezTo>
                  <a:pt x="5758584" y="2143288"/>
                  <a:pt x="5781078" y="2165849"/>
                  <a:pt x="5826067" y="2188409"/>
                </a:cubicBezTo>
                <a:cubicBezTo>
                  <a:pt x="5871056" y="2210970"/>
                  <a:pt x="5938539" y="2233531"/>
                  <a:pt x="5983528" y="2278653"/>
                </a:cubicBezTo>
                <a:cubicBezTo>
                  <a:pt x="5871056" y="2233531"/>
                  <a:pt x="5826067" y="2210970"/>
                  <a:pt x="5803573" y="2188409"/>
                </a:cubicBezTo>
                <a:cubicBezTo>
                  <a:pt x="5668606" y="2120727"/>
                  <a:pt x="5533639" y="2053044"/>
                  <a:pt x="5421167" y="1985361"/>
                </a:cubicBezTo>
                <a:cubicBezTo>
                  <a:pt x="5353683" y="1962800"/>
                  <a:pt x="5218717" y="1917678"/>
                  <a:pt x="5196222" y="1872556"/>
                </a:cubicBezTo>
                <a:cubicBezTo>
                  <a:pt x="5038761" y="1849996"/>
                  <a:pt x="4971278" y="1804874"/>
                  <a:pt x="4948783" y="1759752"/>
                </a:cubicBezTo>
                <a:cubicBezTo>
                  <a:pt x="4926288" y="1737191"/>
                  <a:pt x="4903794" y="1737191"/>
                  <a:pt x="4858805" y="1714630"/>
                </a:cubicBezTo>
                <a:cubicBezTo>
                  <a:pt x="4813816" y="1692069"/>
                  <a:pt x="4768827" y="1669508"/>
                  <a:pt x="4791322" y="1669508"/>
                </a:cubicBezTo>
                <a:cubicBezTo>
                  <a:pt x="4791322" y="1646947"/>
                  <a:pt x="4881300" y="1669508"/>
                  <a:pt x="4903794" y="1692069"/>
                </a:cubicBezTo>
                <a:cubicBezTo>
                  <a:pt x="4926288" y="1669508"/>
                  <a:pt x="4836311" y="1646947"/>
                  <a:pt x="4881300" y="1624386"/>
                </a:cubicBezTo>
                <a:cubicBezTo>
                  <a:pt x="4881300" y="1624386"/>
                  <a:pt x="4858805" y="1624386"/>
                  <a:pt x="4836311" y="1601825"/>
                </a:cubicBezTo>
                <a:cubicBezTo>
                  <a:pt x="4791322" y="1601825"/>
                  <a:pt x="4768827" y="1579265"/>
                  <a:pt x="4768827" y="1579265"/>
                </a:cubicBezTo>
                <a:cubicBezTo>
                  <a:pt x="4746333" y="1556704"/>
                  <a:pt x="4746333" y="1556704"/>
                  <a:pt x="4746333" y="1556704"/>
                </a:cubicBezTo>
                <a:cubicBezTo>
                  <a:pt x="4701344" y="1534143"/>
                  <a:pt x="4678849" y="1534143"/>
                  <a:pt x="4656355" y="1511582"/>
                </a:cubicBezTo>
                <a:cubicBezTo>
                  <a:pt x="4566377" y="1466460"/>
                  <a:pt x="4476399" y="1443899"/>
                  <a:pt x="4453905" y="1398777"/>
                </a:cubicBezTo>
                <a:cubicBezTo>
                  <a:pt x="4431410" y="1376216"/>
                  <a:pt x="4408916" y="1353655"/>
                  <a:pt x="4386421" y="1331095"/>
                </a:cubicBezTo>
                <a:cubicBezTo>
                  <a:pt x="4476399" y="1353655"/>
                  <a:pt x="4498894" y="1376216"/>
                  <a:pt x="4521389" y="1398777"/>
                </a:cubicBezTo>
                <a:cubicBezTo>
                  <a:pt x="4543883" y="1398777"/>
                  <a:pt x="4566377" y="1398777"/>
                  <a:pt x="4611366" y="1398777"/>
                </a:cubicBezTo>
                <a:cubicBezTo>
                  <a:pt x="4656355" y="1398777"/>
                  <a:pt x="4656355" y="1398777"/>
                  <a:pt x="4633860" y="1376216"/>
                </a:cubicBezTo>
                <a:cubicBezTo>
                  <a:pt x="4588872" y="1353655"/>
                  <a:pt x="4543883" y="1331095"/>
                  <a:pt x="4498894" y="1308534"/>
                </a:cubicBezTo>
                <a:cubicBezTo>
                  <a:pt x="4498894" y="1308534"/>
                  <a:pt x="4521389" y="1308534"/>
                  <a:pt x="4521389" y="1308534"/>
                </a:cubicBezTo>
                <a:cubicBezTo>
                  <a:pt x="4566377" y="1331095"/>
                  <a:pt x="4611366" y="1353655"/>
                  <a:pt x="4656355" y="1376216"/>
                </a:cubicBezTo>
                <a:cubicBezTo>
                  <a:pt x="4656355" y="1376216"/>
                  <a:pt x="4678849" y="1376216"/>
                  <a:pt x="4678849" y="1376216"/>
                </a:cubicBezTo>
                <a:cubicBezTo>
                  <a:pt x="4768827" y="1398777"/>
                  <a:pt x="4768827" y="1421338"/>
                  <a:pt x="4768827" y="1421338"/>
                </a:cubicBezTo>
                <a:cubicBezTo>
                  <a:pt x="4768827" y="1443899"/>
                  <a:pt x="4723838" y="1421338"/>
                  <a:pt x="4701344" y="1398777"/>
                </a:cubicBezTo>
                <a:cubicBezTo>
                  <a:pt x="4701344" y="1421338"/>
                  <a:pt x="4701344" y="1421338"/>
                  <a:pt x="4701344" y="1421338"/>
                </a:cubicBezTo>
                <a:cubicBezTo>
                  <a:pt x="4723838" y="1443899"/>
                  <a:pt x="4746333" y="1443899"/>
                  <a:pt x="4746333" y="1466460"/>
                </a:cubicBezTo>
                <a:cubicBezTo>
                  <a:pt x="4768827" y="1443899"/>
                  <a:pt x="4813816" y="1466460"/>
                  <a:pt x="4836311" y="1466460"/>
                </a:cubicBezTo>
                <a:cubicBezTo>
                  <a:pt x="4881300" y="1466460"/>
                  <a:pt x="4926288" y="1466460"/>
                  <a:pt x="4926288" y="1466460"/>
                </a:cubicBezTo>
                <a:cubicBezTo>
                  <a:pt x="4926288" y="1443899"/>
                  <a:pt x="4858805" y="1421338"/>
                  <a:pt x="4813816" y="1421338"/>
                </a:cubicBezTo>
                <a:cubicBezTo>
                  <a:pt x="4746333" y="1398777"/>
                  <a:pt x="4656355" y="1353655"/>
                  <a:pt x="4678849" y="1331095"/>
                </a:cubicBezTo>
                <a:cubicBezTo>
                  <a:pt x="4768827" y="1353655"/>
                  <a:pt x="4881300" y="1376216"/>
                  <a:pt x="4948783" y="1421338"/>
                </a:cubicBezTo>
                <a:cubicBezTo>
                  <a:pt x="5128739" y="1489021"/>
                  <a:pt x="5241211" y="1556704"/>
                  <a:pt x="5376178" y="1646947"/>
                </a:cubicBezTo>
                <a:cubicBezTo>
                  <a:pt x="5466156" y="1692069"/>
                  <a:pt x="5578628" y="1737191"/>
                  <a:pt x="5691100" y="1782313"/>
                </a:cubicBezTo>
                <a:cubicBezTo>
                  <a:pt x="5803573" y="1827435"/>
                  <a:pt x="5893551" y="1827435"/>
                  <a:pt x="5983528" y="1849996"/>
                </a:cubicBezTo>
                <a:cubicBezTo>
                  <a:pt x="5916046" y="1804874"/>
                  <a:pt x="5826067" y="1782313"/>
                  <a:pt x="5803573" y="1737191"/>
                </a:cubicBezTo>
                <a:cubicBezTo>
                  <a:pt x="5736089" y="1714630"/>
                  <a:pt x="5691100" y="1669508"/>
                  <a:pt x="5623617" y="1646947"/>
                </a:cubicBezTo>
                <a:cubicBezTo>
                  <a:pt x="5488650" y="1579265"/>
                  <a:pt x="5331189" y="1511582"/>
                  <a:pt x="5241211" y="1421338"/>
                </a:cubicBezTo>
                <a:cubicBezTo>
                  <a:pt x="5061256" y="1353655"/>
                  <a:pt x="4971278" y="1285973"/>
                  <a:pt x="4858805" y="1218290"/>
                </a:cubicBezTo>
                <a:cubicBezTo>
                  <a:pt x="4813816" y="1218290"/>
                  <a:pt x="4791322" y="1195729"/>
                  <a:pt x="4768827" y="1195729"/>
                </a:cubicBezTo>
                <a:cubicBezTo>
                  <a:pt x="4746333" y="1173168"/>
                  <a:pt x="4723838" y="1173168"/>
                  <a:pt x="4723838" y="1173168"/>
                </a:cubicBezTo>
                <a:cubicBezTo>
                  <a:pt x="4746333" y="1173168"/>
                  <a:pt x="4768827" y="1195729"/>
                  <a:pt x="4791322" y="1173168"/>
                </a:cubicBezTo>
                <a:cubicBezTo>
                  <a:pt x="4813816" y="1173168"/>
                  <a:pt x="4836311" y="1195729"/>
                  <a:pt x="4836311" y="1195729"/>
                </a:cubicBezTo>
                <a:cubicBezTo>
                  <a:pt x="4836311" y="1195729"/>
                  <a:pt x="4858805" y="1218290"/>
                  <a:pt x="4881300" y="1218290"/>
                </a:cubicBezTo>
                <a:cubicBezTo>
                  <a:pt x="4903794" y="1240851"/>
                  <a:pt x="4926288" y="1240851"/>
                  <a:pt x="4948783" y="1263412"/>
                </a:cubicBezTo>
                <a:cubicBezTo>
                  <a:pt x="4993772" y="1285973"/>
                  <a:pt x="5038761" y="1308534"/>
                  <a:pt x="5061256" y="1308534"/>
                </a:cubicBezTo>
                <a:cubicBezTo>
                  <a:pt x="5128739" y="1353655"/>
                  <a:pt x="5218717" y="1398777"/>
                  <a:pt x="5263705" y="1421338"/>
                </a:cubicBezTo>
                <a:cubicBezTo>
                  <a:pt x="5286200" y="1443899"/>
                  <a:pt x="5308694" y="1466460"/>
                  <a:pt x="5353683" y="1466460"/>
                </a:cubicBezTo>
                <a:cubicBezTo>
                  <a:pt x="5353683" y="1466460"/>
                  <a:pt x="5286200" y="1443899"/>
                  <a:pt x="5308694" y="1443899"/>
                </a:cubicBezTo>
                <a:cubicBezTo>
                  <a:pt x="5353683" y="1443899"/>
                  <a:pt x="5353683" y="1421338"/>
                  <a:pt x="5308694" y="1398777"/>
                </a:cubicBezTo>
                <a:cubicBezTo>
                  <a:pt x="5263705" y="1398777"/>
                  <a:pt x="5263705" y="1376216"/>
                  <a:pt x="5263705" y="1376216"/>
                </a:cubicBezTo>
                <a:cubicBezTo>
                  <a:pt x="5263705" y="1376216"/>
                  <a:pt x="5263705" y="1376216"/>
                  <a:pt x="5241211" y="1376216"/>
                </a:cubicBezTo>
                <a:cubicBezTo>
                  <a:pt x="5218717" y="1353655"/>
                  <a:pt x="5173728" y="1353655"/>
                  <a:pt x="5218717" y="1353655"/>
                </a:cubicBezTo>
                <a:cubicBezTo>
                  <a:pt x="5241211" y="1353655"/>
                  <a:pt x="5241211" y="1331095"/>
                  <a:pt x="5241211" y="1331095"/>
                </a:cubicBezTo>
                <a:cubicBezTo>
                  <a:pt x="5241211" y="1331095"/>
                  <a:pt x="5218717" y="1331095"/>
                  <a:pt x="5218717" y="1331095"/>
                </a:cubicBezTo>
                <a:cubicBezTo>
                  <a:pt x="5128739" y="1308534"/>
                  <a:pt x="5061256" y="1285973"/>
                  <a:pt x="4971278" y="1240851"/>
                </a:cubicBezTo>
                <a:cubicBezTo>
                  <a:pt x="5061256" y="1240851"/>
                  <a:pt x="5061256" y="1240851"/>
                  <a:pt x="5038761" y="1195729"/>
                </a:cubicBezTo>
                <a:cubicBezTo>
                  <a:pt x="5016266" y="1150607"/>
                  <a:pt x="5128739" y="1195729"/>
                  <a:pt x="5173728" y="1195729"/>
                </a:cubicBezTo>
                <a:cubicBezTo>
                  <a:pt x="5173728" y="1173168"/>
                  <a:pt x="5151233" y="1173168"/>
                  <a:pt x="5128739" y="1128046"/>
                </a:cubicBezTo>
                <a:cubicBezTo>
                  <a:pt x="5218717" y="1173168"/>
                  <a:pt x="5308694" y="1195729"/>
                  <a:pt x="5398672" y="1218290"/>
                </a:cubicBezTo>
                <a:cubicBezTo>
                  <a:pt x="5353683" y="1218290"/>
                  <a:pt x="5376178" y="1263412"/>
                  <a:pt x="5308694" y="1240851"/>
                </a:cubicBezTo>
                <a:cubicBezTo>
                  <a:pt x="5263705" y="1240851"/>
                  <a:pt x="5263705" y="1240851"/>
                  <a:pt x="5286200" y="1263412"/>
                </a:cubicBezTo>
                <a:cubicBezTo>
                  <a:pt x="5308694" y="1285973"/>
                  <a:pt x="5353683" y="1285973"/>
                  <a:pt x="5353683" y="1285973"/>
                </a:cubicBezTo>
                <a:cubicBezTo>
                  <a:pt x="5398672" y="1263412"/>
                  <a:pt x="5443662" y="1263412"/>
                  <a:pt x="5533639" y="1285973"/>
                </a:cubicBezTo>
                <a:cubicBezTo>
                  <a:pt x="5623617" y="1331095"/>
                  <a:pt x="5713595" y="1353655"/>
                  <a:pt x="5781078" y="1376216"/>
                </a:cubicBezTo>
                <a:cubicBezTo>
                  <a:pt x="5803573" y="1398777"/>
                  <a:pt x="5848562" y="1421338"/>
                  <a:pt x="5893551" y="1421338"/>
                </a:cubicBezTo>
                <a:cubicBezTo>
                  <a:pt x="5916046" y="1421338"/>
                  <a:pt x="5916046" y="1398777"/>
                  <a:pt x="5893551" y="1376216"/>
                </a:cubicBezTo>
                <a:cubicBezTo>
                  <a:pt x="5893551" y="1376216"/>
                  <a:pt x="5871056" y="1353655"/>
                  <a:pt x="5893551" y="1353655"/>
                </a:cubicBezTo>
                <a:cubicBezTo>
                  <a:pt x="5803573" y="1308534"/>
                  <a:pt x="5668606" y="1240851"/>
                  <a:pt x="5578628" y="1173168"/>
                </a:cubicBezTo>
                <a:cubicBezTo>
                  <a:pt x="5533639" y="1150607"/>
                  <a:pt x="5511145" y="1128046"/>
                  <a:pt x="5466156" y="1105485"/>
                </a:cubicBezTo>
                <a:cubicBezTo>
                  <a:pt x="5376178" y="1060363"/>
                  <a:pt x="5353683" y="1037802"/>
                  <a:pt x="5241211" y="992681"/>
                </a:cubicBezTo>
                <a:cubicBezTo>
                  <a:pt x="5308694" y="992681"/>
                  <a:pt x="5331189" y="1015242"/>
                  <a:pt x="5353683" y="1015242"/>
                </a:cubicBezTo>
                <a:cubicBezTo>
                  <a:pt x="5353683" y="1015242"/>
                  <a:pt x="5331189" y="992681"/>
                  <a:pt x="5353683" y="992681"/>
                </a:cubicBezTo>
                <a:cubicBezTo>
                  <a:pt x="5398672" y="1015242"/>
                  <a:pt x="5443662" y="1015242"/>
                  <a:pt x="5443662" y="1037802"/>
                </a:cubicBezTo>
                <a:cubicBezTo>
                  <a:pt x="5421167" y="1037802"/>
                  <a:pt x="5398672" y="1037802"/>
                  <a:pt x="5376178" y="1015242"/>
                </a:cubicBezTo>
                <a:cubicBezTo>
                  <a:pt x="5421167" y="1060363"/>
                  <a:pt x="5488650" y="1082924"/>
                  <a:pt x="5511145" y="1105485"/>
                </a:cubicBezTo>
                <a:cubicBezTo>
                  <a:pt x="5601122" y="1173168"/>
                  <a:pt x="5758584" y="1240851"/>
                  <a:pt x="5893551" y="1308534"/>
                </a:cubicBezTo>
                <a:cubicBezTo>
                  <a:pt x="6028517" y="1376216"/>
                  <a:pt x="6140990" y="1443899"/>
                  <a:pt x="6275956" y="1489021"/>
                </a:cubicBezTo>
                <a:cubicBezTo>
                  <a:pt x="6298451" y="1511582"/>
                  <a:pt x="6298451" y="1511582"/>
                  <a:pt x="6320945" y="1511582"/>
                </a:cubicBezTo>
                <a:cubicBezTo>
                  <a:pt x="6343440" y="1534143"/>
                  <a:pt x="6388429" y="1534143"/>
                  <a:pt x="6410923" y="1556704"/>
                </a:cubicBezTo>
                <a:cubicBezTo>
                  <a:pt x="6658362" y="1669508"/>
                  <a:pt x="6883307" y="1804874"/>
                  <a:pt x="7130746" y="1917678"/>
                </a:cubicBezTo>
                <a:cubicBezTo>
                  <a:pt x="7288207" y="1985361"/>
                  <a:pt x="7378185" y="2030483"/>
                  <a:pt x="7513152" y="2098166"/>
                </a:cubicBezTo>
                <a:cubicBezTo>
                  <a:pt x="7535647" y="2075605"/>
                  <a:pt x="7468163" y="2053044"/>
                  <a:pt x="7423174" y="2030483"/>
                </a:cubicBezTo>
                <a:cubicBezTo>
                  <a:pt x="7423174" y="2030483"/>
                  <a:pt x="7423174" y="2007922"/>
                  <a:pt x="7423174" y="2007922"/>
                </a:cubicBezTo>
                <a:cubicBezTo>
                  <a:pt x="7378185" y="1985361"/>
                  <a:pt x="7355691" y="1962800"/>
                  <a:pt x="7310702" y="1940239"/>
                </a:cubicBezTo>
                <a:cubicBezTo>
                  <a:pt x="7243219" y="1917678"/>
                  <a:pt x="7175735" y="1895117"/>
                  <a:pt x="7153241" y="1872556"/>
                </a:cubicBezTo>
                <a:cubicBezTo>
                  <a:pt x="7108252" y="1849996"/>
                  <a:pt x="7063263" y="1827435"/>
                  <a:pt x="7040768" y="1804874"/>
                </a:cubicBezTo>
                <a:cubicBezTo>
                  <a:pt x="6928296" y="1782313"/>
                  <a:pt x="6883307" y="1737191"/>
                  <a:pt x="6793329" y="1692069"/>
                </a:cubicBezTo>
                <a:cubicBezTo>
                  <a:pt x="6770835" y="1692069"/>
                  <a:pt x="6748340" y="1692069"/>
                  <a:pt x="6748340" y="1669508"/>
                </a:cubicBezTo>
                <a:cubicBezTo>
                  <a:pt x="6680857" y="1646947"/>
                  <a:pt x="6545890" y="1601825"/>
                  <a:pt x="6523396" y="1556704"/>
                </a:cubicBezTo>
                <a:cubicBezTo>
                  <a:pt x="6455912" y="1534143"/>
                  <a:pt x="6433418" y="1489021"/>
                  <a:pt x="6320945" y="1489021"/>
                </a:cubicBezTo>
                <a:cubicBezTo>
                  <a:pt x="6365934" y="1511582"/>
                  <a:pt x="6410923" y="1534143"/>
                  <a:pt x="6455912" y="1556704"/>
                </a:cubicBezTo>
                <a:cubicBezTo>
                  <a:pt x="6455912" y="1556704"/>
                  <a:pt x="6433418" y="1556704"/>
                  <a:pt x="6433418" y="1556704"/>
                </a:cubicBezTo>
                <a:cubicBezTo>
                  <a:pt x="6388429" y="1534143"/>
                  <a:pt x="6343440" y="1511582"/>
                  <a:pt x="6298451" y="1489021"/>
                </a:cubicBezTo>
                <a:cubicBezTo>
                  <a:pt x="6275956" y="1466460"/>
                  <a:pt x="6298451" y="1443899"/>
                  <a:pt x="6298451" y="1443899"/>
                </a:cubicBezTo>
                <a:cubicBezTo>
                  <a:pt x="6253462" y="1421338"/>
                  <a:pt x="6208473" y="1398777"/>
                  <a:pt x="6163484" y="1376216"/>
                </a:cubicBezTo>
                <a:cubicBezTo>
                  <a:pt x="6051012" y="1331095"/>
                  <a:pt x="6051012" y="1285973"/>
                  <a:pt x="5938539" y="1240851"/>
                </a:cubicBezTo>
                <a:cubicBezTo>
                  <a:pt x="5893551" y="1240851"/>
                  <a:pt x="5893551" y="1218290"/>
                  <a:pt x="5826067" y="1195729"/>
                </a:cubicBezTo>
                <a:cubicBezTo>
                  <a:pt x="5826067" y="1195729"/>
                  <a:pt x="5871056" y="1218290"/>
                  <a:pt x="5848562" y="1240851"/>
                </a:cubicBezTo>
                <a:cubicBezTo>
                  <a:pt x="5736089" y="1218290"/>
                  <a:pt x="5736089" y="1195729"/>
                  <a:pt x="5691100" y="1173168"/>
                </a:cubicBezTo>
                <a:cubicBezTo>
                  <a:pt x="5691100" y="1173168"/>
                  <a:pt x="5713595" y="1173168"/>
                  <a:pt x="5736089" y="1173168"/>
                </a:cubicBezTo>
                <a:cubicBezTo>
                  <a:pt x="5736089" y="1173168"/>
                  <a:pt x="5826067" y="1173168"/>
                  <a:pt x="5736089" y="1128046"/>
                </a:cubicBezTo>
                <a:cubicBezTo>
                  <a:pt x="5691100" y="1128046"/>
                  <a:pt x="5668606" y="1105485"/>
                  <a:pt x="5713595" y="1105485"/>
                </a:cubicBezTo>
                <a:cubicBezTo>
                  <a:pt x="5758584" y="1105485"/>
                  <a:pt x="5781078" y="1128046"/>
                  <a:pt x="5803573" y="1128046"/>
                </a:cubicBezTo>
                <a:cubicBezTo>
                  <a:pt x="5893551" y="1173168"/>
                  <a:pt x="5961034" y="1218290"/>
                  <a:pt x="6006023" y="1240851"/>
                </a:cubicBezTo>
                <a:cubicBezTo>
                  <a:pt x="6118495" y="1308534"/>
                  <a:pt x="6343440" y="1376216"/>
                  <a:pt x="6455912" y="1443899"/>
                </a:cubicBezTo>
                <a:cubicBezTo>
                  <a:pt x="6433418" y="1443899"/>
                  <a:pt x="6388429" y="1421338"/>
                  <a:pt x="6388429" y="1421338"/>
                </a:cubicBezTo>
                <a:cubicBezTo>
                  <a:pt x="6365934" y="1421338"/>
                  <a:pt x="6388429" y="1443899"/>
                  <a:pt x="6388429" y="1443899"/>
                </a:cubicBezTo>
                <a:cubicBezTo>
                  <a:pt x="6500901" y="1511582"/>
                  <a:pt x="6635868" y="1534143"/>
                  <a:pt x="6770835" y="1579265"/>
                </a:cubicBezTo>
                <a:cubicBezTo>
                  <a:pt x="6815824" y="1601825"/>
                  <a:pt x="6815824" y="1579265"/>
                  <a:pt x="6793329" y="1556704"/>
                </a:cubicBezTo>
                <a:cubicBezTo>
                  <a:pt x="6770835" y="1556704"/>
                  <a:pt x="6703351" y="1534143"/>
                  <a:pt x="6748340" y="1511582"/>
                </a:cubicBezTo>
                <a:cubicBezTo>
                  <a:pt x="6815824" y="1511582"/>
                  <a:pt x="6815824" y="1556704"/>
                  <a:pt x="6860813" y="1556704"/>
                </a:cubicBezTo>
                <a:cubicBezTo>
                  <a:pt x="6995779" y="1556704"/>
                  <a:pt x="6995779" y="1556704"/>
                  <a:pt x="6860813" y="1489021"/>
                </a:cubicBezTo>
                <a:cubicBezTo>
                  <a:pt x="6838318" y="1466460"/>
                  <a:pt x="6838318" y="1466460"/>
                  <a:pt x="6838318" y="1443899"/>
                </a:cubicBezTo>
                <a:cubicBezTo>
                  <a:pt x="6860813" y="1443899"/>
                  <a:pt x="6883307" y="1443899"/>
                  <a:pt x="6883307" y="1443899"/>
                </a:cubicBezTo>
                <a:cubicBezTo>
                  <a:pt x="6860813" y="1443899"/>
                  <a:pt x="6860813" y="1421338"/>
                  <a:pt x="6838318" y="1421338"/>
                </a:cubicBezTo>
                <a:cubicBezTo>
                  <a:pt x="6793329" y="1376216"/>
                  <a:pt x="6680857" y="1353655"/>
                  <a:pt x="6613373" y="1308534"/>
                </a:cubicBezTo>
                <a:cubicBezTo>
                  <a:pt x="6635868" y="1308534"/>
                  <a:pt x="6635868" y="1308534"/>
                  <a:pt x="6658362" y="1308534"/>
                </a:cubicBezTo>
                <a:cubicBezTo>
                  <a:pt x="6635868" y="1285973"/>
                  <a:pt x="6500901" y="1240851"/>
                  <a:pt x="6568385" y="1240851"/>
                </a:cubicBezTo>
                <a:cubicBezTo>
                  <a:pt x="6613373" y="1240851"/>
                  <a:pt x="6658362" y="1285973"/>
                  <a:pt x="6703351" y="1308534"/>
                </a:cubicBezTo>
                <a:cubicBezTo>
                  <a:pt x="6770835" y="1331095"/>
                  <a:pt x="6815824" y="1376216"/>
                  <a:pt x="6905802" y="1398777"/>
                </a:cubicBezTo>
                <a:cubicBezTo>
                  <a:pt x="6928296" y="1398777"/>
                  <a:pt x="6950790" y="1398777"/>
                  <a:pt x="6973285" y="1398777"/>
                </a:cubicBezTo>
                <a:cubicBezTo>
                  <a:pt x="6973285" y="1398777"/>
                  <a:pt x="6883307" y="1353655"/>
                  <a:pt x="6950790" y="1353655"/>
                </a:cubicBezTo>
                <a:cubicBezTo>
                  <a:pt x="6973285" y="1376216"/>
                  <a:pt x="6995779" y="1398777"/>
                  <a:pt x="7018274" y="1398777"/>
                </a:cubicBezTo>
                <a:cubicBezTo>
                  <a:pt x="7175735" y="1466460"/>
                  <a:pt x="7265713" y="1511582"/>
                  <a:pt x="7378185" y="1579265"/>
                </a:cubicBezTo>
                <a:cubicBezTo>
                  <a:pt x="7423174" y="1579265"/>
                  <a:pt x="7378185" y="1556704"/>
                  <a:pt x="7355691" y="1534143"/>
                </a:cubicBezTo>
                <a:cubicBezTo>
                  <a:pt x="7243219" y="1511582"/>
                  <a:pt x="7310702" y="1511582"/>
                  <a:pt x="7310702" y="1489021"/>
                </a:cubicBezTo>
                <a:cubicBezTo>
                  <a:pt x="7220724" y="1466460"/>
                  <a:pt x="7175735" y="1443899"/>
                  <a:pt x="7108252" y="1398777"/>
                </a:cubicBezTo>
                <a:cubicBezTo>
                  <a:pt x="7063263" y="1398777"/>
                  <a:pt x="7085757" y="1376216"/>
                  <a:pt x="7108252" y="1376216"/>
                </a:cubicBezTo>
                <a:cubicBezTo>
                  <a:pt x="7040768" y="1353655"/>
                  <a:pt x="6973285" y="1308534"/>
                  <a:pt x="6928296" y="1263412"/>
                </a:cubicBezTo>
                <a:cubicBezTo>
                  <a:pt x="6973285" y="1285973"/>
                  <a:pt x="6995779" y="1285973"/>
                  <a:pt x="7018274" y="1308534"/>
                </a:cubicBezTo>
                <a:cubicBezTo>
                  <a:pt x="7018274" y="1285973"/>
                  <a:pt x="6950790" y="1263412"/>
                  <a:pt x="7063263" y="1285973"/>
                </a:cubicBezTo>
                <a:cubicBezTo>
                  <a:pt x="7130746" y="1285973"/>
                  <a:pt x="7130746" y="1308534"/>
                  <a:pt x="7153241" y="1331095"/>
                </a:cubicBezTo>
                <a:cubicBezTo>
                  <a:pt x="7220724" y="1353655"/>
                  <a:pt x="7288207" y="1376216"/>
                  <a:pt x="7333196" y="1421338"/>
                </a:cubicBezTo>
                <a:cubicBezTo>
                  <a:pt x="7423174" y="1466460"/>
                  <a:pt x="7513152" y="1511582"/>
                  <a:pt x="7603130" y="1579265"/>
                </a:cubicBezTo>
                <a:cubicBezTo>
                  <a:pt x="7783086" y="1669508"/>
                  <a:pt x="8008030" y="1759752"/>
                  <a:pt x="8142997" y="1872556"/>
                </a:cubicBezTo>
                <a:cubicBezTo>
                  <a:pt x="8187986" y="1872556"/>
                  <a:pt x="8210481" y="1895117"/>
                  <a:pt x="8255470" y="1917678"/>
                </a:cubicBezTo>
                <a:cubicBezTo>
                  <a:pt x="8255470" y="1917678"/>
                  <a:pt x="8255470" y="1895117"/>
                  <a:pt x="8300458" y="1917678"/>
                </a:cubicBezTo>
                <a:cubicBezTo>
                  <a:pt x="8322953" y="1917678"/>
                  <a:pt x="8300458" y="1940239"/>
                  <a:pt x="8300458" y="1940239"/>
                </a:cubicBezTo>
                <a:cubicBezTo>
                  <a:pt x="8322953" y="1962800"/>
                  <a:pt x="8367942" y="1962800"/>
                  <a:pt x="8412931" y="1985361"/>
                </a:cubicBezTo>
                <a:cubicBezTo>
                  <a:pt x="8502908" y="2030483"/>
                  <a:pt x="8547897" y="2053044"/>
                  <a:pt x="8615381" y="2098166"/>
                </a:cubicBezTo>
                <a:cubicBezTo>
                  <a:pt x="8637875" y="2098166"/>
                  <a:pt x="8637875" y="2075605"/>
                  <a:pt x="8637875" y="2075605"/>
                </a:cubicBezTo>
                <a:cubicBezTo>
                  <a:pt x="8660370" y="2075605"/>
                  <a:pt x="8705359" y="2098166"/>
                  <a:pt x="8727853" y="2120727"/>
                </a:cubicBezTo>
                <a:cubicBezTo>
                  <a:pt x="8772842" y="2120727"/>
                  <a:pt x="8772842" y="2143288"/>
                  <a:pt x="8817831" y="2143288"/>
                </a:cubicBezTo>
                <a:lnTo>
                  <a:pt x="8907809" y="2188409"/>
                </a:lnTo>
                <a:lnTo>
                  <a:pt x="8907809" y="2188409"/>
                </a:lnTo>
                <a:lnTo>
                  <a:pt x="8907809" y="2188410"/>
                </a:lnTo>
                <a:lnTo>
                  <a:pt x="8930303" y="2199689"/>
                </a:lnTo>
                <a:lnTo>
                  <a:pt x="8930303" y="2199690"/>
                </a:lnTo>
                <a:cubicBezTo>
                  <a:pt x="8935927" y="2205330"/>
                  <a:pt x="8941551" y="2210970"/>
                  <a:pt x="8952798" y="2210970"/>
                </a:cubicBezTo>
                <a:lnTo>
                  <a:pt x="8930303" y="2199689"/>
                </a:lnTo>
                <a:lnTo>
                  <a:pt x="8921165" y="2191935"/>
                </a:lnTo>
                <a:lnTo>
                  <a:pt x="8907809" y="2188410"/>
                </a:lnTo>
                <a:lnTo>
                  <a:pt x="8907809" y="2188409"/>
                </a:lnTo>
                <a:lnTo>
                  <a:pt x="8903943" y="2175014"/>
                </a:lnTo>
                <a:cubicBezTo>
                  <a:pt x="8896562" y="2164438"/>
                  <a:pt x="8879690" y="2160208"/>
                  <a:pt x="8862820" y="2143288"/>
                </a:cubicBezTo>
                <a:cubicBezTo>
                  <a:pt x="8840325" y="2120727"/>
                  <a:pt x="8795337" y="2098166"/>
                  <a:pt x="8772842" y="2075605"/>
                </a:cubicBezTo>
                <a:cubicBezTo>
                  <a:pt x="8727853" y="2030483"/>
                  <a:pt x="8592886" y="1985361"/>
                  <a:pt x="8547897" y="1940239"/>
                </a:cubicBezTo>
                <a:cubicBezTo>
                  <a:pt x="8435425" y="1895117"/>
                  <a:pt x="8390436" y="1872556"/>
                  <a:pt x="8322953" y="1827435"/>
                </a:cubicBezTo>
                <a:cubicBezTo>
                  <a:pt x="8187986" y="1759752"/>
                  <a:pt x="8075514" y="1692069"/>
                  <a:pt x="7940547" y="1624386"/>
                </a:cubicBezTo>
                <a:cubicBezTo>
                  <a:pt x="7895558" y="1601825"/>
                  <a:pt x="7850569" y="1579265"/>
                  <a:pt x="7850569" y="1556704"/>
                </a:cubicBezTo>
                <a:cubicBezTo>
                  <a:pt x="7828075" y="1556704"/>
                  <a:pt x="7805580" y="1556704"/>
                  <a:pt x="7805580" y="1534143"/>
                </a:cubicBezTo>
                <a:cubicBezTo>
                  <a:pt x="7783086" y="1556704"/>
                  <a:pt x="7715602" y="1534143"/>
                  <a:pt x="7670613" y="1511582"/>
                </a:cubicBezTo>
                <a:cubicBezTo>
                  <a:pt x="7625624" y="1511582"/>
                  <a:pt x="7625624" y="1534143"/>
                  <a:pt x="7670613" y="1534143"/>
                </a:cubicBezTo>
                <a:cubicBezTo>
                  <a:pt x="7715602" y="1579265"/>
                  <a:pt x="7760591" y="1601825"/>
                  <a:pt x="7805580" y="1624386"/>
                </a:cubicBezTo>
                <a:cubicBezTo>
                  <a:pt x="7760591" y="1624386"/>
                  <a:pt x="7715602" y="1624386"/>
                  <a:pt x="7670613" y="1579265"/>
                </a:cubicBezTo>
                <a:cubicBezTo>
                  <a:pt x="7648119" y="1556704"/>
                  <a:pt x="7580636" y="1534143"/>
                  <a:pt x="7513152" y="1511582"/>
                </a:cubicBezTo>
                <a:cubicBezTo>
                  <a:pt x="7490658" y="1489021"/>
                  <a:pt x="7445669" y="1466460"/>
                  <a:pt x="7468163" y="1466460"/>
                </a:cubicBezTo>
                <a:cubicBezTo>
                  <a:pt x="7490658" y="1466460"/>
                  <a:pt x="7513152" y="1466460"/>
                  <a:pt x="7580636" y="1489021"/>
                </a:cubicBezTo>
                <a:cubicBezTo>
                  <a:pt x="7603130" y="1511582"/>
                  <a:pt x="7603130" y="1489021"/>
                  <a:pt x="7603130" y="1489021"/>
                </a:cubicBezTo>
                <a:cubicBezTo>
                  <a:pt x="7625624" y="1489021"/>
                  <a:pt x="7625624" y="1489021"/>
                  <a:pt x="7625624" y="1489021"/>
                </a:cubicBezTo>
                <a:cubicBezTo>
                  <a:pt x="7603130" y="1466460"/>
                  <a:pt x="7513152" y="1443899"/>
                  <a:pt x="7513152" y="1421338"/>
                </a:cubicBezTo>
                <a:cubicBezTo>
                  <a:pt x="7558141" y="1421338"/>
                  <a:pt x="7603130" y="1466460"/>
                  <a:pt x="7648119" y="1466460"/>
                </a:cubicBezTo>
                <a:cubicBezTo>
                  <a:pt x="7558141" y="1398777"/>
                  <a:pt x="7468163" y="1331095"/>
                  <a:pt x="7333196" y="1285973"/>
                </a:cubicBezTo>
                <a:cubicBezTo>
                  <a:pt x="7333196" y="1263412"/>
                  <a:pt x="7310702" y="1263412"/>
                  <a:pt x="7288207" y="1240851"/>
                </a:cubicBezTo>
                <a:cubicBezTo>
                  <a:pt x="7265713" y="1240851"/>
                  <a:pt x="7243219" y="1240851"/>
                  <a:pt x="7243219" y="1218290"/>
                </a:cubicBezTo>
                <a:cubicBezTo>
                  <a:pt x="7175735" y="1195729"/>
                  <a:pt x="7130746" y="1195729"/>
                  <a:pt x="7085757" y="1173168"/>
                </a:cubicBezTo>
                <a:cubicBezTo>
                  <a:pt x="7063263" y="1173168"/>
                  <a:pt x="7063263" y="1173168"/>
                  <a:pt x="7063263" y="1173168"/>
                </a:cubicBezTo>
                <a:cubicBezTo>
                  <a:pt x="7063263" y="1150607"/>
                  <a:pt x="7063263" y="1128046"/>
                  <a:pt x="7085757" y="1150607"/>
                </a:cubicBezTo>
                <a:cubicBezTo>
                  <a:pt x="7130746" y="1105485"/>
                  <a:pt x="6905802" y="1037802"/>
                  <a:pt x="6883307" y="992681"/>
                </a:cubicBezTo>
                <a:cubicBezTo>
                  <a:pt x="6973285" y="1037802"/>
                  <a:pt x="7040768" y="1082924"/>
                  <a:pt x="7130746" y="1105485"/>
                </a:cubicBezTo>
                <a:cubicBezTo>
                  <a:pt x="7175735" y="1128046"/>
                  <a:pt x="7243219" y="1150607"/>
                  <a:pt x="7288207" y="1195729"/>
                </a:cubicBezTo>
                <a:cubicBezTo>
                  <a:pt x="7378185" y="1218290"/>
                  <a:pt x="7468163" y="1263412"/>
                  <a:pt x="7535647" y="1308534"/>
                </a:cubicBezTo>
                <a:cubicBezTo>
                  <a:pt x="7558141" y="1308534"/>
                  <a:pt x="7558141" y="1308534"/>
                  <a:pt x="7558141" y="1308534"/>
                </a:cubicBezTo>
                <a:cubicBezTo>
                  <a:pt x="7603130" y="1308534"/>
                  <a:pt x="7648119" y="1331095"/>
                  <a:pt x="7670613" y="1353655"/>
                </a:cubicBezTo>
                <a:cubicBezTo>
                  <a:pt x="7693108" y="1376216"/>
                  <a:pt x="7738097" y="1398777"/>
                  <a:pt x="7783086" y="1398777"/>
                </a:cubicBezTo>
                <a:cubicBezTo>
                  <a:pt x="7873064" y="1421338"/>
                  <a:pt x="7918053" y="1443899"/>
                  <a:pt x="7918053" y="1489021"/>
                </a:cubicBezTo>
                <a:cubicBezTo>
                  <a:pt x="7918053" y="1489021"/>
                  <a:pt x="7985536" y="1534143"/>
                  <a:pt x="8075514" y="1556704"/>
                </a:cubicBezTo>
                <a:cubicBezTo>
                  <a:pt x="8075514" y="1534143"/>
                  <a:pt x="8053019" y="1511582"/>
                  <a:pt x="8098008" y="1534143"/>
                </a:cubicBezTo>
                <a:cubicBezTo>
                  <a:pt x="8098008" y="1534143"/>
                  <a:pt x="8120503" y="1534143"/>
                  <a:pt x="8120503" y="1534143"/>
                </a:cubicBezTo>
                <a:cubicBezTo>
                  <a:pt x="8120503" y="1511582"/>
                  <a:pt x="8030525" y="1489021"/>
                  <a:pt x="8030525" y="1466460"/>
                </a:cubicBezTo>
                <a:cubicBezTo>
                  <a:pt x="7963041" y="1443899"/>
                  <a:pt x="8008030" y="1443899"/>
                  <a:pt x="8008030" y="1421338"/>
                </a:cubicBezTo>
                <a:cubicBezTo>
                  <a:pt x="7963041" y="1421338"/>
                  <a:pt x="7940547" y="1421338"/>
                  <a:pt x="7895558" y="1398777"/>
                </a:cubicBezTo>
                <a:cubicBezTo>
                  <a:pt x="7850569" y="1353655"/>
                  <a:pt x="7760591" y="1331095"/>
                  <a:pt x="7693108" y="1285973"/>
                </a:cubicBezTo>
                <a:cubicBezTo>
                  <a:pt x="7625624" y="1263412"/>
                  <a:pt x="7625624" y="1240851"/>
                  <a:pt x="7603130" y="1218290"/>
                </a:cubicBezTo>
                <a:cubicBezTo>
                  <a:pt x="7490658" y="1195729"/>
                  <a:pt x="7603130" y="1173168"/>
                  <a:pt x="7445669" y="1128046"/>
                </a:cubicBezTo>
                <a:cubicBezTo>
                  <a:pt x="7445669" y="1105485"/>
                  <a:pt x="7378185" y="1082924"/>
                  <a:pt x="7333196" y="1060363"/>
                </a:cubicBezTo>
                <a:cubicBezTo>
                  <a:pt x="7220724" y="1015242"/>
                  <a:pt x="7108252" y="947559"/>
                  <a:pt x="7040768" y="902437"/>
                </a:cubicBezTo>
                <a:cubicBezTo>
                  <a:pt x="7040768" y="902437"/>
                  <a:pt x="7063263" y="902437"/>
                  <a:pt x="7063263" y="902437"/>
                </a:cubicBezTo>
                <a:cubicBezTo>
                  <a:pt x="7108252" y="924998"/>
                  <a:pt x="7130746" y="924998"/>
                  <a:pt x="7153241" y="947559"/>
                </a:cubicBezTo>
                <a:cubicBezTo>
                  <a:pt x="7220724" y="947559"/>
                  <a:pt x="7265713" y="970120"/>
                  <a:pt x="7288207" y="992681"/>
                </a:cubicBezTo>
                <a:cubicBezTo>
                  <a:pt x="7378185" y="1037802"/>
                  <a:pt x="7513152" y="1105485"/>
                  <a:pt x="7603130" y="1150607"/>
                </a:cubicBezTo>
                <a:cubicBezTo>
                  <a:pt x="7603130" y="1150607"/>
                  <a:pt x="7625624" y="1173168"/>
                  <a:pt x="7648119" y="1173168"/>
                </a:cubicBezTo>
                <a:cubicBezTo>
                  <a:pt x="7693108" y="1218290"/>
                  <a:pt x="7805580" y="1285973"/>
                  <a:pt x="7918053" y="1353655"/>
                </a:cubicBezTo>
                <a:cubicBezTo>
                  <a:pt x="8008030" y="1398777"/>
                  <a:pt x="8120503" y="1443899"/>
                  <a:pt x="8187986" y="1489021"/>
                </a:cubicBezTo>
                <a:cubicBezTo>
                  <a:pt x="8232975" y="1534143"/>
                  <a:pt x="8345447" y="1556704"/>
                  <a:pt x="8390436" y="1601825"/>
                </a:cubicBezTo>
                <a:cubicBezTo>
                  <a:pt x="8390436" y="1601825"/>
                  <a:pt x="8412931" y="1624386"/>
                  <a:pt x="8412931" y="1624386"/>
                </a:cubicBezTo>
                <a:cubicBezTo>
                  <a:pt x="8502908" y="1646947"/>
                  <a:pt x="8547897" y="1669508"/>
                  <a:pt x="8592886" y="1714630"/>
                </a:cubicBezTo>
                <a:cubicBezTo>
                  <a:pt x="8772842" y="1804874"/>
                  <a:pt x="8975292" y="1895117"/>
                  <a:pt x="9200237" y="2007922"/>
                </a:cubicBezTo>
                <a:cubicBezTo>
                  <a:pt x="9200237" y="1962800"/>
                  <a:pt x="9110259" y="1940239"/>
                  <a:pt x="9065270" y="1895117"/>
                </a:cubicBezTo>
                <a:cubicBezTo>
                  <a:pt x="9200237" y="1962800"/>
                  <a:pt x="9267720" y="2007922"/>
                  <a:pt x="9380193" y="2053044"/>
                </a:cubicBezTo>
                <a:cubicBezTo>
                  <a:pt x="9402687" y="2075605"/>
                  <a:pt x="9470171" y="2075605"/>
                  <a:pt x="9470171" y="2075605"/>
                </a:cubicBezTo>
                <a:cubicBezTo>
                  <a:pt x="9560148" y="2098166"/>
                  <a:pt x="9560148" y="2120727"/>
                  <a:pt x="9582643" y="2120727"/>
                </a:cubicBezTo>
                <a:cubicBezTo>
                  <a:pt x="9627632" y="2143288"/>
                  <a:pt x="9672621" y="2165849"/>
                  <a:pt x="9672621" y="2188409"/>
                </a:cubicBezTo>
                <a:cubicBezTo>
                  <a:pt x="9987543" y="2346336"/>
                  <a:pt x="10234982" y="2481701"/>
                  <a:pt x="10527410" y="2639628"/>
                </a:cubicBezTo>
                <a:cubicBezTo>
                  <a:pt x="10549905" y="2639628"/>
                  <a:pt x="10572399" y="2639628"/>
                  <a:pt x="10594894" y="2639628"/>
                </a:cubicBezTo>
                <a:cubicBezTo>
                  <a:pt x="10594894" y="2639628"/>
                  <a:pt x="10617388" y="2639628"/>
                  <a:pt x="10639883" y="2662189"/>
                </a:cubicBezTo>
                <a:cubicBezTo>
                  <a:pt x="10707366" y="2684750"/>
                  <a:pt x="10774850" y="2729872"/>
                  <a:pt x="10842333" y="2752432"/>
                </a:cubicBezTo>
                <a:cubicBezTo>
                  <a:pt x="10864827" y="2774993"/>
                  <a:pt x="10887322" y="2774993"/>
                  <a:pt x="10909816" y="2774993"/>
                </a:cubicBezTo>
                <a:cubicBezTo>
                  <a:pt x="11061654" y="2859597"/>
                  <a:pt x="11238798" y="2944200"/>
                  <a:pt x="11412779" y="3019286"/>
                </a:cubicBezTo>
                <a:lnTo>
                  <a:pt x="11476197" y="3045691"/>
                </a:lnTo>
                <a:lnTo>
                  <a:pt x="11472178" y="3045724"/>
                </a:lnTo>
                <a:cubicBezTo>
                  <a:pt x="11483425" y="3051364"/>
                  <a:pt x="11494673" y="3055595"/>
                  <a:pt x="11505568" y="3059120"/>
                </a:cubicBezTo>
                <a:lnTo>
                  <a:pt x="11515296" y="3061970"/>
                </a:lnTo>
                <a:lnTo>
                  <a:pt x="11584650" y="3090846"/>
                </a:lnTo>
                <a:cubicBezTo>
                  <a:pt x="11573403" y="3079566"/>
                  <a:pt x="11556532" y="3073926"/>
                  <a:pt x="11536850" y="3068285"/>
                </a:cubicBezTo>
                <a:lnTo>
                  <a:pt x="11515296" y="3061970"/>
                </a:lnTo>
                <a:lnTo>
                  <a:pt x="11476197" y="3045691"/>
                </a:lnTo>
                <a:lnTo>
                  <a:pt x="11514707" y="3045372"/>
                </a:lnTo>
                <a:cubicBezTo>
                  <a:pt x="11549503" y="3044314"/>
                  <a:pt x="11562156" y="3040084"/>
                  <a:pt x="11562156" y="3023163"/>
                </a:cubicBezTo>
                <a:cubicBezTo>
                  <a:pt x="11494673" y="3000603"/>
                  <a:pt x="11472178" y="2978041"/>
                  <a:pt x="11404695" y="2955481"/>
                </a:cubicBezTo>
                <a:cubicBezTo>
                  <a:pt x="11337211" y="2955481"/>
                  <a:pt x="11314717" y="2932920"/>
                  <a:pt x="11269728" y="2887798"/>
                </a:cubicBezTo>
                <a:cubicBezTo>
                  <a:pt x="11269728" y="2887798"/>
                  <a:pt x="11269728" y="2865237"/>
                  <a:pt x="11269728" y="2865237"/>
                </a:cubicBezTo>
                <a:cubicBezTo>
                  <a:pt x="11224739" y="2865237"/>
                  <a:pt x="11202244" y="2842676"/>
                  <a:pt x="11157256" y="2842676"/>
                </a:cubicBezTo>
                <a:cubicBezTo>
                  <a:pt x="11134761" y="2820115"/>
                  <a:pt x="11112267" y="2820115"/>
                  <a:pt x="11067278" y="2797554"/>
                </a:cubicBezTo>
                <a:cubicBezTo>
                  <a:pt x="11067278" y="2797554"/>
                  <a:pt x="11044783" y="2774993"/>
                  <a:pt x="11044783" y="2774993"/>
                </a:cubicBezTo>
                <a:cubicBezTo>
                  <a:pt x="10999794" y="2752432"/>
                  <a:pt x="10954805" y="2729872"/>
                  <a:pt x="10954805" y="2729872"/>
                </a:cubicBezTo>
                <a:cubicBezTo>
                  <a:pt x="10977300" y="2729872"/>
                  <a:pt x="10999794" y="2729872"/>
                  <a:pt x="10999794" y="2729872"/>
                </a:cubicBezTo>
                <a:cubicBezTo>
                  <a:pt x="11044783" y="2752432"/>
                  <a:pt x="11067278" y="2774993"/>
                  <a:pt x="11112267" y="2797554"/>
                </a:cubicBezTo>
                <a:cubicBezTo>
                  <a:pt x="11089772" y="2774993"/>
                  <a:pt x="11044783" y="2752432"/>
                  <a:pt x="11022289" y="2729872"/>
                </a:cubicBezTo>
                <a:cubicBezTo>
                  <a:pt x="10977300" y="2707311"/>
                  <a:pt x="10932311" y="2684750"/>
                  <a:pt x="10887322" y="2662189"/>
                </a:cubicBezTo>
                <a:cubicBezTo>
                  <a:pt x="10819839" y="2617067"/>
                  <a:pt x="10729861" y="2594506"/>
                  <a:pt x="10662377" y="2549384"/>
                </a:cubicBezTo>
                <a:cubicBezTo>
                  <a:pt x="10549905" y="2504262"/>
                  <a:pt x="10459927" y="2459141"/>
                  <a:pt x="10347455" y="2391458"/>
                </a:cubicBezTo>
                <a:cubicBezTo>
                  <a:pt x="10257477" y="2391458"/>
                  <a:pt x="10167499" y="2346336"/>
                  <a:pt x="10077521" y="2278653"/>
                </a:cubicBezTo>
                <a:cubicBezTo>
                  <a:pt x="10010038" y="2256092"/>
                  <a:pt x="9965049" y="2233531"/>
                  <a:pt x="9965049" y="2210970"/>
                </a:cubicBezTo>
                <a:cubicBezTo>
                  <a:pt x="10032532" y="2233531"/>
                  <a:pt x="10055027" y="2256092"/>
                  <a:pt x="10100016" y="2278653"/>
                </a:cubicBezTo>
                <a:cubicBezTo>
                  <a:pt x="10145005" y="2278653"/>
                  <a:pt x="10167499" y="2301214"/>
                  <a:pt x="10189993" y="2301214"/>
                </a:cubicBezTo>
                <a:cubicBezTo>
                  <a:pt x="10212488" y="2323775"/>
                  <a:pt x="10257477" y="2346336"/>
                  <a:pt x="10279971" y="2346336"/>
                </a:cubicBezTo>
                <a:cubicBezTo>
                  <a:pt x="10279971" y="2368897"/>
                  <a:pt x="10302466" y="2368897"/>
                  <a:pt x="10302466" y="2368897"/>
                </a:cubicBezTo>
                <a:cubicBezTo>
                  <a:pt x="10414938" y="2414019"/>
                  <a:pt x="10527410" y="2459141"/>
                  <a:pt x="10617388" y="2504262"/>
                </a:cubicBezTo>
                <a:cubicBezTo>
                  <a:pt x="10662377" y="2526823"/>
                  <a:pt x="10707366" y="2571945"/>
                  <a:pt x="10752355" y="2594506"/>
                </a:cubicBezTo>
                <a:cubicBezTo>
                  <a:pt x="10774850" y="2594506"/>
                  <a:pt x="10774850" y="2571945"/>
                  <a:pt x="10774850" y="2571945"/>
                </a:cubicBezTo>
                <a:cubicBezTo>
                  <a:pt x="10729861" y="2549384"/>
                  <a:pt x="10707366" y="2549384"/>
                  <a:pt x="10684872" y="2526823"/>
                </a:cubicBezTo>
                <a:cubicBezTo>
                  <a:pt x="10684872" y="2504262"/>
                  <a:pt x="10639883" y="2481701"/>
                  <a:pt x="10617388" y="2481701"/>
                </a:cubicBezTo>
                <a:cubicBezTo>
                  <a:pt x="10594894" y="2459141"/>
                  <a:pt x="10549905" y="2459141"/>
                  <a:pt x="10549905" y="2436580"/>
                </a:cubicBezTo>
                <a:cubicBezTo>
                  <a:pt x="10549905" y="2436580"/>
                  <a:pt x="10572399" y="2459141"/>
                  <a:pt x="10594894" y="2459141"/>
                </a:cubicBezTo>
                <a:cubicBezTo>
                  <a:pt x="10617388" y="2436580"/>
                  <a:pt x="10527410" y="2414019"/>
                  <a:pt x="10572399" y="2414019"/>
                </a:cubicBezTo>
                <a:cubicBezTo>
                  <a:pt x="10572399" y="2414019"/>
                  <a:pt x="10527410" y="2391458"/>
                  <a:pt x="10504916" y="2368897"/>
                </a:cubicBezTo>
                <a:cubicBezTo>
                  <a:pt x="10504916" y="2368897"/>
                  <a:pt x="10482422" y="2368897"/>
                  <a:pt x="10459927" y="2346336"/>
                </a:cubicBezTo>
                <a:cubicBezTo>
                  <a:pt x="10459927" y="2346336"/>
                  <a:pt x="10392444" y="2301214"/>
                  <a:pt x="10369949" y="2278653"/>
                </a:cubicBezTo>
                <a:cubicBezTo>
                  <a:pt x="10414938" y="2301214"/>
                  <a:pt x="10437433" y="2323775"/>
                  <a:pt x="10482422" y="2346336"/>
                </a:cubicBezTo>
                <a:cubicBezTo>
                  <a:pt x="10549905" y="2346336"/>
                  <a:pt x="10572399" y="2368897"/>
                  <a:pt x="10617388" y="2391458"/>
                </a:cubicBezTo>
                <a:cubicBezTo>
                  <a:pt x="10909816" y="2571945"/>
                  <a:pt x="11247233" y="2707311"/>
                  <a:pt x="11562156" y="2865237"/>
                </a:cubicBezTo>
                <a:cubicBezTo>
                  <a:pt x="11742112" y="2955481"/>
                  <a:pt x="11899573" y="3045724"/>
                  <a:pt x="12079529" y="3135968"/>
                </a:cubicBezTo>
                <a:cubicBezTo>
                  <a:pt x="12079529" y="3135968"/>
                  <a:pt x="12079529" y="3135968"/>
                  <a:pt x="12126978" y="3135968"/>
                </a:cubicBezTo>
                <a:lnTo>
                  <a:pt x="12192000" y="3135968"/>
                </a:lnTo>
                <a:lnTo>
                  <a:pt x="12192000" y="3316455"/>
                </a:lnTo>
                <a:lnTo>
                  <a:pt x="12171264" y="3303060"/>
                </a:lnTo>
                <a:cubicBezTo>
                  <a:pt x="12147012" y="3292484"/>
                  <a:pt x="12113271" y="3288254"/>
                  <a:pt x="12079529" y="3271333"/>
                </a:cubicBezTo>
                <a:cubicBezTo>
                  <a:pt x="12090776" y="3282614"/>
                  <a:pt x="12107647" y="3293895"/>
                  <a:pt x="12127329" y="3305175"/>
                </a:cubicBezTo>
                <a:lnTo>
                  <a:pt x="12192000" y="3339016"/>
                </a:lnTo>
                <a:lnTo>
                  <a:pt x="12192000" y="5730474"/>
                </a:lnTo>
                <a:lnTo>
                  <a:pt x="12172319" y="5730474"/>
                </a:lnTo>
                <a:cubicBezTo>
                  <a:pt x="12169507" y="5730474"/>
                  <a:pt x="12169507" y="5730474"/>
                  <a:pt x="12169507" y="5730474"/>
                </a:cubicBezTo>
                <a:cubicBezTo>
                  <a:pt x="12169507" y="5730474"/>
                  <a:pt x="12169507" y="5743164"/>
                  <a:pt x="12178997" y="5749510"/>
                </a:cubicBezTo>
                <a:lnTo>
                  <a:pt x="12192000" y="5753034"/>
                </a:lnTo>
                <a:lnTo>
                  <a:pt x="12192000" y="6181692"/>
                </a:lnTo>
                <a:lnTo>
                  <a:pt x="12158259" y="6169002"/>
                </a:lnTo>
                <a:cubicBezTo>
                  <a:pt x="12124517" y="6160541"/>
                  <a:pt x="12090776" y="6164771"/>
                  <a:pt x="12057034" y="6181692"/>
                </a:cubicBezTo>
                <a:cubicBezTo>
                  <a:pt x="12079529" y="6181692"/>
                  <a:pt x="12102023" y="6181692"/>
                  <a:pt x="12102023" y="6204253"/>
                </a:cubicBezTo>
                <a:cubicBezTo>
                  <a:pt x="12124518" y="6204253"/>
                  <a:pt x="12147012" y="6226814"/>
                  <a:pt x="12169507" y="6249375"/>
                </a:cubicBezTo>
                <a:cubicBezTo>
                  <a:pt x="12169507" y="6249375"/>
                  <a:pt x="12182160" y="6249375"/>
                  <a:pt x="12188486" y="6258893"/>
                </a:cubicBezTo>
                <a:lnTo>
                  <a:pt x="12192000" y="6271932"/>
                </a:lnTo>
                <a:lnTo>
                  <a:pt x="12192000" y="7422542"/>
                </a:lnTo>
                <a:lnTo>
                  <a:pt x="11992362" y="7321018"/>
                </a:lnTo>
                <a:cubicBezTo>
                  <a:pt x="11927691" y="7287177"/>
                  <a:pt x="11865831" y="7253336"/>
                  <a:pt x="11809595" y="7219494"/>
                </a:cubicBezTo>
                <a:cubicBezTo>
                  <a:pt x="11629639" y="7106690"/>
                  <a:pt x="11427189" y="7016446"/>
                  <a:pt x="11247233" y="6903642"/>
                </a:cubicBezTo>
                <a:cubicBezTo>
                  <a:pt x="11247233" y="6903642"/>
                  <a:pt x="11241609" y="6903642"/>
                  <a:pt x="11233174" y="6900822"/>
                </a:cubicBezTo>
                <a:lnTo>
                  <a:pt x="11227258" y="6898072"/>
                </a:lnTo>
                <a:lnTo>
                  <a:pt x="11202244" y="6881081"/>
                </a:lnTo>
                <a:cubicBezTo>
                  <a:pt x="11207868" y="6886721"/>
                  <a:pt x="11213491" y="6890951"/>
                  <a:pt x="11218764" y="6894124"/>
                </a:cubicBezTo>
                <a:lnTo>
                  <a:pt x="11227258" y="6898072"/>
                </a:lnTo>
                <a:lnTo>
                  <a:pt x="11345998" y="6978727"/>
                </a:lnTo>
                <a:cubicBezTo>
                  <a:pt x="11482020" y="7072848"/>
                  <a:pt x="11595898" y="7157452"/>
                  <a:pt x="11697123" y="7242055"/>
                </a:cubicBezTo>
                <a:cubicBezTo>
                  <a:pt x="11697123" y="7264616"/>
                  <a:pt x="11719617" y="7264616"/>
                  <a:pt x="11719617" y="7264616"/>
                </a:cubicBezTo>
                <a:cubicBezTo>
                  <a:pt x="11764606" y="7309738"/>
                  <a:pt x="11764606" y="7309738"/>
                  <a:pt x="11719617" y="7332299"/>
                </a:cubicBezTo>
                <a:cubicBezTo>
                  <a:pt x="11674628" y="7287177"/>
                  <a:pt x="11652134" y="7287177"/>
                  <a:pt x="11652134" y="7264616"/>
                </a:cubicBezTo>
                <a:cubicBezTo>
                  <a:pt x="11539661" y="7219494"/>
                  <a:pt x="11449684" y="7196933"/>
                  <a:pt x="11337211" y="7151812"/>
                </a:cubicBezTo>
                <a:cubicBezTo>
                  <a:pt x="11449684" y="7196933"/>
                  <a:pt x="11539661" y="7264616"/>
                  <a:pt x="11629639" y="7309738"/>
                </a:cubicBezTo>
                <a:cubicBezTo>
                  <a:pt x="11719617" y="7332299"/>
                  <a:pt x="11764606" y="7377421"/>
                  <a:pt x="11787101" y="7399982"/>
                </a:cubicBezTo>
                <a:cubicBezTo>
                  <a:pt x="11719617" y="7354860"/>
                  <a:pt x="11539661" y="7309738"/>
                  <a:pt x="11539661" y="7287177"/>
                </a:cubicBezTo>
                <a:cubicBezTo>
                  <a:pt x="11517167" y="7264616"/>
                  <a:pt x="11494673" y="7264616"/>
                  <a:pt x="11472178" y="7242055"/>
                </a:cubicBezTo>
                <a:cubicBezTo>
                  <a:pt x="11404695" y="7287177"/>
                  <a:pt x="11629639" y="7332299"/>
                  <a:pt x="11629639" y="7377421"/>
                </a:cubicBezTo>
                <a:cubicBezTo>
                  <a:pt x="11629639" y="7399982"/>
                  <a:pt x="11742112" y="7422543"/>
                  <a:pt x="11764606" y="7445104"/>
                </a:cubicBezTo>
                <a:cubicBezTo>
                  <a:pt x="11607145" y="7399982"/>
                  <a:pt x="11584650" y="7354860"/>
                  <a:pt x="11449684" y="7332299"/>
                </a:cubicBezTo>
                <a:cubicBezTo>
                  <a:pt x="11404695" y="7332299"/>
                  <a:pt x="11382200" y="7309738"/>
                  <a:pt x="11314717" y="7287177"/>
                </a:cubicBezTo>
                <a:cubicBezTo>
                  <a:pt x="11292222" y="7309738"/>
                  <a:pt x="11382200" y="7332299"/>
                  <a:pt x="11292222" y="7332299"/>
                </a:cubicBezTo>
                <a:cubicBezTo>
                  <a:pt x="11269728" y="7332299"/>
                  <a:pt x="11359706" y="7354860"/>
                  <a:pt x="11382200" y="7377421"/>
                </a:cubicBezTo>
                <a:cubicBezTo>
                  <a:pt x="11472178" y="7422543"/>
                  <a:pt x="11562156" y="7467665"/>
                  <a:pt x="11652134" y="7512786"/>
                </a:cubicBezTo>
                <a:cubicBezTo>
                  <a:pt x="11697123" y="7557908"/>
                  <a:pt x="11697123" y="7557908"/>
                  <a:pt x="11584650" y="7535347"/>
                </a:cubicBezTo>
                <a:cubicBezTo>
                  <a:pt x="11562156" y="7535347"/>
                  <a:pt x="11629639" y="7580469"/>
                  <a:pt x="11562156" y="7557908"/>
                </a:cubicBezTo>
                <a:cubicBezTo>
                  <a:pt x="11472178" y="7557908"/>
                  <a:pt x="11449684" y="7512786"/>
                  <a:pt x="11404695" y="7490225"/>
                </a:cubicBezTo>
                <a:cubicBezTo>
                  <a:pt x="11449684" y="7512786"/>
                  <a:pt x="11494673" y="7535347"/>
                  <a:pt x="11539661" y="7512786"/>
                </a:cubicBezTo>
                <a:cubicBezTo>
                  <a:pt x="11494673" y="7490225"/>
                  <a:pt x="11404695" y="7445104"/>
                  <a:pt x="11314717" y="7399982"/>
                </a:cubicBezTo>
                <a:cubicBezTo>
                  <a:pt x="11269728" y="7377421"/>
                  <a:pt x="11247233" y="7377421"/>
                  <a:pt x="11224739" y="7377421"/>
                </a:cubicBezTo>
                <a:cubicBezTo>
                  <a:pt x="11224739" y="7399982"/>
                  <a:pt x="11067278" y="7399982"/>
                  <a:pt x="11157256" y="7445104"/>
                </a:cubicBezTo>
                <a:cubicBezTo>
                  <a:pt x="11269728" y="7490225"/>
                  <a:pt x="11359706" y="7535347"/>
                  <a:pt x="11404695" y="7580469"/>
                </a:cubicBezTo>
                <a:cubicBezTo>
                  <a:pt x="11494673" y="7603030"/>
                  <a:pt x="11562156" y="7625591"/>
                  <a:pt x="11629639" y="7648152"/>
                </a:cubicBezTo>
                <a:cubicBezTo>
                  <a:pt x="11629639" y="7670713"/>
                  <a:pt x="11674628" y="7693274"/>
                  <a:pt x="11629639" y="7670713"/>
                </a:cubicBezTo>
                <a:cubicBezTo>
                  <a:pt x="11584650" y="7670713"/>
                  <a:pt x="11562156" y="7648152"/>
                  <a:pt x="11539661" y="7648152"/>
                </a:cubicBezTo>
                <a:cubicBezTo>
                  <a:pt x="11539661" y="7670713"/>
                  <a:pt x="11607145" y="7693274"/>
                  <a:pt x="11607145" y="7715835"/>
                </a:cubicBezTo>
                <a:cubicBezTo>
                  <a:pt x="11629639" y="7715835"/>
                  <a:pt x="11652134" y="7715835"/>
                  <a:pt x="11674628" y="7738396"/>
                </a:cubicBezTo>
                <a:cubicBezTo>
                  <a:pt x="11719617" y="7760956"/>
                  <a:pt x="11742112" y="7783517"/>
                  <a:pt x="11764606" y="7806078"/>
                </a:cubicBezTo>
                <a:cubicBezTo>
                  <a:pt x="11697123" y="7783517"/>
                  <a:pt x="11652134" y="7760956"/>
                  <a:pt x="11607145" y="7738396"/>
                </a:cubicBezTo>
                <a:cubicBezTo>
                  <a:pt x="11562156" y="7715835"/>
                  <a:pt x="11562156" y="7715835"/>
                  <a:pt x="11562156" y="7693274"/>
                </a:cubicBezTo>
                <a:cubicBezTo>
                  <a:pt x="11427189" y="7625591"/>
                  <a:pt x="11247233" y="7535347"/>
                  <a:pt x="11044783" y="7445104"/>
                </a:cubicBezTo>
                <a:cubicBezTo>
                  <a:pt x="11044783" y="7467665"/>
                  <a:pt x="11134761" y="7512786"/>
                  <a:pt x="11157256" y="7535347"/>
                </a:cubicBezTo>
                <a:cubicBezTo>
                  <a:pt x="11269728" y="7580469"/>
                  <a:pt x="11247233" y="7603030"/>
                  <a:pt x="11382200" y="7670713"/>
                </a:cubicBezTo>
                <a:cubicBezTo>
                  <a:pt x="11404695" y="7670713"/>
                  <a:pt x="11449684" y="7670713"/>
                  <a:pt x="11472178" y="7693274"/>
                </a:cubicBezTo>
                <a:lnTo>
                  <a:pt x="11449684" y="7693274"/>
                </a:lnTo>
                <a:cubicBezTo>
                  <a:pt x="11449684" y="7715835"/>
                  <a:pt x="11494673" y="7738396"/>
                  <a:pt x="11517167" y="7760956"/>
                </a:cubicBezTo>
                <a:cubicBezTo>
                  <a:pt x="11562156" y="7783517"/>
                  <a:pt x="11629639" y="7806078"/>
                  <a:pt x="11629639" y="7828639"/>
                </a:cubicBezTo>
                <a:cubicBezTo>
                  <a:pt x="11697123" y="7851200"/>
                  <a:pt x="11719617" y="7873761"/>
                  <a:pt x="11787101" y="7896322"/>
                </a:cubicBezTo>
                <a:cubicBezTo>
                  <a:pt x="11809595" y="7918883"/>
                  <a:pt x="11809595" y="7918883"/>
                  <a:pt x="11809595" y="7918883"/>
                </a:cubicBezTo>
                <a:cubicBezTo>
                  <a:pt x="11832090" y="7941444"/>
                  <a:pt x="11899573" y="7964005"/>
                  <a:pt x="11877078" y="7986566"/>
                </a:cubicBezTo>
                <a:cubicBezTo>
                  <a:pt x="11922067" y="7986566"/>
                  <a:pt x="11944562" y="8009127"/>
                  <a:pt x="11967056" y="8031687"/>
                </a:cubicBezTo>
                <a:cubicBezTo>
                  <a:pt x="12017669" y="8048608"/>
                  <a:pt x="12055629" y="8065529"/>
                  <a:pt x="12071445" y="8082449"/>
                </a:cubicBezTo>
                <a:lnTo>
                  <a:pt x="12079528" y="8099368"/>
                </a:lnTo>
                <a:lnTo>
                  <a:pt x="12079525" y="8099368"/>
                </a:lnTo>
                <a:lnTo>
                  <a:pt x="12026807" y="8072932"/>
                </a:lnTo>
                <a:cubicBezTo>
                  <a:pt x="11986739" y="8052838"/>
                  <a:pt x="11978304" y="8048608"/>
                  <a:pt x="11944562" y="8031687"/>
                </a:cubicBezTo>
                <a:cubicBezTo>
                  <a:pt x="11944562" y="8009127"/>
                  <a:pt x="11944562" y="8009127"/>
                  <a:pt x="11922067" y="8009127"/>
                </a:cubicBezTo>
                <a:cubicBezTo>
                  <a:pt x="11922067" y="8009127"/>
                  <a:pt x="11899573" y="8009127"/>
                  <a:pt x="11899573" y="8009127"/>
                </a:cubicBezTo>
                <a:cubicBezTo>
                  <a:pt x="11899573" y="8009127"/>
                  <a:pt x="11899573" y="8031687"/>
                  <a:pt x="11899573" y="8031687"/>
                </a:cubicBezTo>
                <a:cubicBezTo>
                  <a:pt x="11944562" y="8054248"/>
                  <a:pt x="11989551" y="8054248"/>
                  <a:pt x="11989551" y="8076809"/>
                </a:cubicBezTo>
                <a:cubicBezTo>
                  <a:pt x="11922067" y="8054248"/>
                  <a:pt x="11899573" y="8054248"/>
                  <a:pt x="11877078" y="8031687"/>
                </a:cubicBezTo>
                <a:cubicBezTo>
                  <a:pt x="11809595" y="7986566"/>
                  <a:pt x="11764606" y="7964005"/>
                  <a:pt x="11697123" y="7918883"/>
                </a:cubicBezTo>
                <a:cubicBezTo>
                  <a:pt x="11697123" y="7918883"/>
                  <a:pt x="11674628" y="7918883"/>
                  <a:pt x="11674628" y="7918883"/>
                </a:cubicBezTo>
                <a:cubicBezTo>
                  <a:pt x="11652134" y="7896322"/>
                  <a:pt x="11629639" y="7873761"/>
                  <a:pt x="11584650" y="7873761"/>
                </a:cubicBezTo>
                <a:cubicBezTo>
                  <a:pt x="11517167" y="7851200"/>
                  <a:pt x="11449684" y="7851200"/>
                  <a:pt x="11382200" y="7828639"/>
                </a:cubicBezTo>
                <a:cubicBezTo>
                  <a:pt x="11359706" y="7806078"/>
                  <a:pt x="11404695" y="7806078"/>
                  <a:pt x="11404695" y="7806078"/>
                </a:cubicBezTo>
                <a:cubicBezTo>
                  <a:pt x="11449684" y="7760956"/>
                  <a:pt x="11359706" y="7693274"/>
                  <a:pt x="11202244" y="7648152"/>
                </a:cubicBezTo>
                <a:cubicBezTo>
                  <a:pt x="11044783" y="7580469"/>
                  <a:pt x="11044783" y="7557908"/>
                  <a:pt x="11022289" y="7535347"/>
                </a:cubicBezTo>
                <a:cubicBezTo>
                  <a:pt x="10954805" y="7490225"/>
                  <a:pt x="10909816" y="7467665"/>
                  <a:pt x="10864827" y="7445104"/>
                </a:cubicBezTo>
                <a:cubicBezTo>
                  <a:pt x="10864827" y="7422543"/>
                  <a:pt x="10842333" y="7422543"/>
                  <a:pt x="10842333" y="7422543"/>
                </a:cubicBezTo>
                <a:cubicBezTo>
                  <a:pt x="10774850" y="7399982"/>
                  <a:pt x="10707366" y="7354860"/>
                  <a:pt x="10684872" y="7332299"/>
                </a:cubicBezTo>
                <a:cubicBezTo>
                  <a:pt x="10639883" y="7332299"/>
                  <a:pt x="10617388" y="7309738"/>
                  <a:pt x="10594894" y="7287177"/>
                </a:cubicBezTo>
                <a:cubicBezTo>
                  <a:pt x="10347455" y="7151812"/>
                  <a:pt x="10100016" y="7039007"/>
                  <a:pt x="9852576" y="6903642"/>
                </a:cubicBezTo>
                <a:cubicBezTo>
                  <a:pt x="9807588" y="6881081"/>
                  <a:pt x="9762599" y="6835959"/>
                  <a:pt x="9672621" y="6835959"/>
                </a:cubicBezTo>
                <a:cubicBezTo>
                  <a:pt x="9650126" y="6858520"/>
                  <a:pt x="9695115" y="6881081"/>
                  <a:pt x="9650126" y="6881081"/>
                </a:cubicBezTo>
                <a:cubicBezTo>
                  <a:pt x="9695115" y="6903642"/>
                  <a:pt x="9740104" y="6926202"/>
                  <a:pt x="9762599" y="6948763"/>
                </a:cubicBezTo>
                <a:cubicBezTo>
                  <a:pt x="9717610" y="6926202"/>
                  <a:pt x="9672621" y="6903642"/>
                  <a:pt x="9650126" y="6903642"/>
                </a:cubicBezTo>
                <a:cubicBezTo>
                  <a:pt x="9627632" y="6903642"/>
                  <a:pt x="9605137" y="6903642"/>
                  <a:pt x="9605137" y="6903642"/>
                </a:cubicBezTo>
                <a:lnTo>
                  <a:pt x="9582643" y="6903642"/>
                </a:lnTo>
                <a:cubicBezTo>
                  <a:pt x="9560148" y="6926202"/>
                  <a:pt x="9762599" y="6971324"/>
                  <a:pt x="9560148" y="6926202"/>
                </a:cubicBezTo>
                <a:cubicBezTo>
                  <a:pt x="9560148" y="6926202"/>
                  <a:pt x="9447676" y="6926202"/>
                  <a:pt x="9447676" y="6948763"/>
                </a:cubicBezTo>
                <a:cubicBezTo>
                  <a:pt x="9515159" y="6971324"/>
                  <a:pt x="9492665" y="6993885"/>
                  <a:pt x="9582643" y="7016446"/>
                </a:cubicBezTo>
                <a:cubicBezTo>
                  <a:pt x="9695115" y="7061568"/>
                  <a:pt x="9627632" y="7016446"/>
                  <a:pt x="9672621" y="7016446"/>
                </a:cubicBezTo>
                <a:cubicBezTo>
                  <a:pt x="9762599" y="7039007"/>
                  <a:pt x="9762599" y="7084129"/>
                  <a:pt x="9807588" y="7106690"/>
                </a:cubicBezTo>
                <a:cubicBezTo>
                  <a:pt x="9650126" y="7061568"/>
                  <a:pt x="9627632" y="7061568"/>
                  <a:pt x="9582643" y="7084129"/>
                </a:cubicBezTo>
                <a:cubicBezTo>
                  <a:pt x="9627632" y="7106690"/>
                  <a:pt x="9740104" y="7151812"/>
                  <a:pt x="9717610" y="7174373"/>
                </a:cubicBezTo>
                <a:cubicBezTo>
                  <a:pt x="9650126" y="7129251"/>
                  <a:pt x="9560148" y="7106690"/>
                  <a:pt x="9537654" y="7084129"/>
                </a:cubicBezTo>
                <a:cubicBezTo>
                  <a:pt x="9402687" y="6993885"/>
                  <a:pt x="9200237" y="6926202"/>
                  <a:pt x="9087765" y="6858520"/>
                </a:cubicBezTo>
                <a:cubicBezTo>
                  <a:pt x="9020281" y="6835959"/>
                  <a:pt x="8952798" y="6790837"/>
                  <a:pt x="8907809" y="6768276"/>
                </a:cubicBezTo>
                <a:cubicBezTo>
                  <a:pt x="8705359" y="6678032"/>
                  <a:pt x="8480414" y="6565228"/>
                  <a:pt x="8255470" y="6474984"/>
                </a:cubicBezTo>
                <a:cubicBezTo>
                  <a:pt x="8120503" y="6407301"/>
                  <a:pt x="7963041" y="6339619"/>
                  <a:pt x="7828075" y="6294497"/>
                </a:cubicBezTo>
                <a:cubicBezTo>
                  <a:pt x="7693108" y="6204253"/>
                  <a:pt x="7535647" y="6136570"/>
                  <a:pt x="7400680" y="6068888"/>
                </a:cubicBezTo>
                <a:lnTo>
                  <a:pt x="7386609" y="6063622"/>
                </a:lnTo>
                <a:lnTo>
                  <a:pt x="7381700" y="6059370"/>
                </a:lnTo>
                <a:cubicBezTo>
                  <a:pt x="7379591" y="6056197"/>
                  <a:pt x="7378185" y="6051967"/>
                  <a:pt x="7378185" y="6046327"/>
                </a:cubicBezTo>
                <a:cubicBezTo>
                  <a:pt x="7378185" y="6051967"/>
                  <a:pt x="7378185" y="6056197"/>
                  <a:pt x="7378537" y="6059370"/>
                </a:cubicBezTo>
                <a:lnTo>
                  <a:pt x="7379061" y="6060797"/>
                </a:lnTo>
                <a:lnTo>
                  <a:pt x="7212289" y="5998385"/>
                </a:lnTo>
                <a:cubicBezTo>
                  <a:pt x="7153241" y="5973004"/>
                  <a:pt x="7097005" y="5944802"/>
                  <a:pt x="7040768" y="5910961"/>
                </a:cubicBezTo>
                <a:cubicBezTo>
                  <a:pt x="7018274" y="5910961"/>
                  <a:pt x="6995779" y="5910961"/>
                  <a:pt x="6973285" y="5910961"/>
                </a:cubicBezTo>
                <a:cubicBezTo>
                  <a:pt x="6995779" y="5933522"/>
                  <a:pt x="7040768" y="5933522"/>
                  <a:pt x="7063263" y="5956083"/>
                </a:cubicBezTo>
                <a:cubicBezTo>
                  <a:pt x="7198230" y="6023766"/>
                  <a:pt x="7355691" y="6091448"/>
                  <a:pt x="7490658" y="6159131"/>
                </a:cubicBezTo>
                <a:cubicBezTo>
                  <a:pt x="7535647" y="6181692"/>
                  <a:pt x="7603130" y="6226814"/>
                  <a:pt x="7670613" y="6249375"/>
                </a:cubicBezTo>
                <a:cubicBezTo>
                  <a:pt x="7783086" y="6294497"/>
                  <a:pt x="7828075" y="6362179"/>
                  <a:pt x="7963041" y="6407301"/>
                </a:cubicBezTo>
                <a:cubicBezTo>
                  <a:pt x="8053019" y="6452423"/>
                  <a:pt x="8075514" y="6497545"/>
                  <a:pt x="8210481" y="6520106"/>
                </a:cubicBezTo>
                <a:cubicBezTo>
                  <a:pt x="8232975" y="6542667"/>
                  <a:pt x="8255470" y="6565228"/>
                  <a:pt x="8300458" y="6565228"/>
                </a:cubicBezTo>
                <a:cubicBezTo>
                  <a:pt x="8390436" y="6632911"/>
                  <a:pt x="8547897" y="6678032"/>
                  <a:pt x="8637875" y="6745715"/>
                </a:cubicBezTo>
                <a:cubicBezTo>
                  <a:pt x="8660370" y="6790837"/>
                  <a:pt x="8592886" y="6790837"/>
                  <a:pt x="8637875" y="6813398"/>
                </a:cubicBezTo>
                <a:cubicBezTo>
                  <a:pt x="8637875" y="6813398"/>
                  <a:pt x="8637875" y="6813398"/>
                  <a:pt x="8660370" y="6835959"/>
                </a:cubicBezTo>
                <a:cubicBezTo>
                  <a:pt x="8727853" y="6835959"/>
                  <a:pt x="8795337" y="6813398"/>
                  <a:pt x="8885314" y="6881081"/>
                </a:cubicBezTo>
                <a:cubicBezTo>
                  <a:pt x="8907809" y="6881081"/>
                  <a:pt x="8952798" y="6903642"/>
                  <a:pt x="8975292" y="6926202"/>
                </a:cubicBezTo>
                <a:cubicBezTo>
                  <a:pt x="9065270" y="6948763"/>
                  <a:pt x="9132754" y="7016446"/>
                  <a:pt x="9222731" y="6971324"/>
                </a:cubicBezTo>
                <a:cubicBezTo>
                  <a:pt x="9222731" y="6971324"/>
                  <a:pt x="9312709" y="6971324"/>
                  <a:pt x="9357698" y="6993885"/>
                </a:cubicBezTo>
                <a:cubicBezTo>
                  <a:pt x="9425181" y="7027727"/>
                  <a:pt x="9353480" y="7023497"/>
                  <a:pt x="9322902" y="7019266"/>
                </a:cubicBezTo>
                <a:lnTo>
                  <a:pt x="9315159" y="7017905"/>
                </a:lnTo>
                <a:lnTo>
                  <a:pt x="9312709" y="7016446"/>
                </a:lnTo>
                <a:cubicBezTo>
                  <a:pt x="9309897" y="7016446"/>
                  <a:pt x="9309897" y="7016799"/>
                  <a:pt x="9311874" y="7017327"/>
                </a:cubicBezTo>
                <a:lnTo>
                  <a:pt x="9315159" y="7017905"/>
                </a:lnTo>
                <a:lnTo>
                  <a:pt x="9335203" y="7029842"/>
                </a:lnTo>
                <a:cubicBezTo>
                  <a:pt x="9347857" y="7040417"/>
                  <a:pt x="9335204" y="7044647"/>
                  <a:pt x="9335204" y="7061568"/>
                </a:cubicBezTo>
                <a:cubicBezTo>
                  <a:pt x="9312709" y="7061568"/>
                  <a:pt x="9290215" y="7061568"/>
                  <a:pt x="9290215" y="7039007"/>
                </a:cubicBezTo>
                <a:cubicBezTo>
                  <a:pt x="9267720" y="7039007"/>
                  <a:pt x="9290215" y="7039007"/>
                  <a:pt x="9290215" y="7016446"/>
                </a:cubicBezTo>
                <a:cubicBezTo>
                  <a:pt x="9155248" y="7016446"/>
                  <a:pt x="9042776" y="7016446"/>
                  <a:pt x="8930303" y="6948763"/>
                </a:cubicBezTo>
                <a:cubicBezTo>
                  <a:pt x="8907809" y="6926202"/>
                  <a:pt x="8840325" y="6903642"/>
                  <a:pt x="8795337" y="6903642"/>
                </a:cubicBezTo>
                <a:cubicBezTo>
                  <a:pt x="8975292" y="6993885"/>
                  <a:pt x="9177742" y="7084129"/>
                  <a:pt x="9357698" y="7196933"/>
                </a:cubicBezTo>
                <a:cubicBezTo>
                  <a:pt x="9380193" y="7196933"/>
                  <a:pt x="9380193" y="7219494"/>
                  <a:pt x="9425182" y="7219494"/>
                </a:cubicBezTo>
                <a:cubicBezTo>
                  <a:pt x="9470171" y="7219494"/>
                  <a:pt x="9470171" y="7196933"/>
                  <a:pt x="9425182" y="7174373"/>
                </a:cubicBezTo>
                <a:cubicBezTo>
                  <a:pt x="9380193" y="7151812"/>
                  <a:pt x="9357698" y="7151812"/>
                  <a:pt x="9335204" y="7129251"/>
                </a:cubicBezTo>
                <a:cubicBezTo>
                  <a:pt x="9312709" y="7106690"/>
                  <a:pt x="9290215" y="7084129"/>
                  <a:pt x="9312709" y="7084129"/>
                </a:cubicBezTo>
                <a:cubicBezTo>
                  <a:pt x="9357698" y="7106690"/>
                  <a:pt x="9380193" y="7106690"/>
                  <a:pt x="9380193" y="7129251"/>
                </a:cubicBezTo>
                <a:cubicBezTo>
                  <a:pt x="9402687" y="7151812"/>
                  <a:pt x="9447676" y="7151812"/>
                  <a:pt x="9470171" y="7174373"/>
                </a:cubicBezTo>
                <a:cubicBezTo>
                  <a:pt x="9515159" y="7196933"/>
                  <a:pt x="9560148" y="7219494"/>
                  <a:pt x="9605137" y="7242055"/>
                </a:cubicBezTo>
                <a:cubicBezTo>
                  <a:pt x="9695115" y="7242055"/>
                  <a:pt x="9740104" y="7287177"/>
                  <a:pt x="9717610" y="7287177"/>
                </a:cubicBezTo>
                <a:cubicBezTo>
                  <a:pt x="9650126" y="7309738"/>
                  <a:pt x="9785093" y="7354860"/>
                  <a:pt x="9875071" y="7399982"/>
                </a:cubicBezTo>
                <a:cubicBezTo>
                  <a:pt x="9920060" y="7422543"/>
                  <a:pt x="9987543" y="7422543"/>
                  <a:pt x="9987543" y="7445104"/>
                </a:cubicBezTo>
                <a:cubicBezTo>
                  <a:pt x="10032532" y="7467665"/>
                  <a:pt x="10100016" y="7512786"/>
                  <a:pt x="10122510" y="7535347"/>
                </a:cubicBezTo>
                <a:cubicBezTo>
                  <a:pt x="10167499" y="7557908"/>
                  <a:pt x="10279971" y="7625591"/>
                  <a:pt x="10234982" y="7648152"/>
                </a:cubicBezTo>
                <a:cubicBezTo>
                  <a:pt x="10324960" y="7670713"/>
                  <a:pt x="10414938" y="7715835"/>
                  <a:pt x="10482422" y="7760956"/>
                </a:cubicBezTo>
                <a:cubicBezTo>
                  <a:pt x="10549905" y="7783517"/>
                  <a:pt x="10617388" y="7828639"/>
                  <a:pt x="10639883" y="7851200"/>
                </a:cubicBezTo>
                <a:cubicBezTo>
                  <a:pt x="10527410" y="7828639"/>
                  <a:pt x="10504916" y="7783517"/>
                  <a:pt x="10459927" y="7760956"/>
                </a:cubicBezTo>
                <a:cubicBezTo>
                  <a:pt x="10324960" y="7693274"/>
                  <a:pt x="10167499" y="7625591"/>
                  <a:pt x="10077521" y="7580469"/>
                </a:cubicBezTo>
                <a:cubicBezTo>
                  <a:pt x="10055027" y="7557908"/>
                  <a:pt x="10032532" y="7557908"/>
                  <a:pt x="10010038" y="7535347"/>
                </a:cubicBezTo>
                <a:cubicBezTo>
                  <a:pt x="9987543" y="7535347"/>
                  <a:pt x="9942554" y="7512786"/>
                  <a:pt x="9920060" y="7512786"/>
                </a:cubicBezTo>
                <a:cubicBezTo>
                  <a:pt x="9987543" y="7512786"/>
                  <a:pt x="10010038" y="7535347"/>
                  <a:pt x="10032532" y="7535347"/>
                </a:cubicBezTo>
                <a:cubicBezTo>
                  <a:pt x="10077521" y="7557908"/>
                  <a:pt x="10122510" y="7557908"/>
                  <a:pt x="10077521" y="7535347"/>
                </a:cubicBezTo>
                <a:cubicBezTo>
                  <a:pt x="10032532" y="7512786"/>
                  <a:pt x="9987543" y="7490225"/>
                  <a:pt x="9965049" y="7467665"/>
                </a:cubicBezTo>
                <a:cubicBezTo>
                  <a:pt x="9942554" y="7467665"/>
                  <a:pt x="9942554" y="7467665"/>
                  <a:pt x="9942554" y="7467665"/>
                </a:cubicBezTo>
                <a:cubicBezTo>
                  <a:pt x="9807588" y="7422543"/>
                  <a:pt x="9650126" y="7399982"/>
                  <a:pt x="9582643" y="7332299"/>
                </a:cubicBezTo>
                <a:cubicBezTo>
                  <a:pt x="9492665" y="7309738"/>
                  <a:pt x="9470171" y="7287177"/>
                  <a:pt x="9470171" y="7264616"/>
                </a:cubicBezTo>
                <a:cubicBezTo>
                  <a:pt x="9402687" y="7242055"/>
                  <a:pt x="9357698" y="7219494"/>
                  <a:pt x="9290215" y="7196933"/>
                </a:cubicBezTo>
                <a:cubicBezTo>
                  <a:pt x="9222731" y="7129251"/>
                  <a:pt x="9042776" y="7061568"/>
                  <a:pt x="8930303" y="6993885"/>
                </a:cubicBezTo>
                <a:cubicBezTo>
                  <a:pt x="8930303" y="6993885"/>
                  <a:pt x="8907809" y="6993885"/>
                  <a:pt x="8907809" y="6993885"/>
                </a:cubicBezTo>
                <a:cubicBezTo>
                  <a:pt x="8930303" y="7016446"/>
                  <a:pt x="8952798" y="7016446"/>
                  <a:pt x="8997787" y="7039007"/>
                </a:cubicBezTo>
                <a:cubicBezTo>
                  <a:pt x="8997787" y="7039007"/>
                  <a:pt x="8975292" y="7039007"/>
                  <a:pt x="8975292" y="7039007"/>
                </a:cubicBezTo>
                <a:cubicBezTo>
                  <a:pt x="8952798" y="7016446"/>
                  <a:pt x="8907809" y="7016446"/>
                  <a:pt x="8862820" y="6993885"/>
                </a:cubicBezTo>
                <a:cubicBezTo>
                  <a:pt x="8795337" y="6948763"/>
                  <a:pt x="8750348" y="6926202"/>
                  <a:pt x="8682864" y="6903642"/>
                </a:cubicBezTo>
                <a:cubicBezTo>
                  <a:pt x="8615381" y="6881081"/>
                  <a:pt x="8592886" y="6858520"/>
                  <a:pt x="8570392" y="6835959"/>
                </a:cubicBezTo>
                <a:cubicBezTo>
                  <a:pt x="8660370" y="6858520"/>
                  <a:pt x="8682864" y="6881081"/>
                  <a:pt x="8705359" y="6903642"/>
                </a:cubicBezTo>
                <a:cubicBezTo>
                  <a:pt x="8750348" y="6903642"/>
                  <a:pt x="8772842" y="6926202"/>
                  <a:pt x="8840325" y="6948763"/>
                </a:cubicBezTo>
                <a:cubicBezTo>
                  <a:pt x="8750348" y="6903642"/>
                  <a:pt x="8660370" y="6858520"/>
                  <a:pt x="8547897" y="6813398"/>
                </a:cubicBezTo>
                <a:cubicBezTo>
                  <a:pt x="8480414" y="6768276"/>
                  <a:pt x="8457920" y="6745715"/>
                  <a:pt x="8345447" y="6723154"/>
                </a:cubicBezTo>
                <a:cubicBezTo>
                  <a:pt x="8210481" y="6700593"/>
                  <a:pt x="8165492" y="6655471"/>
                  <a:pt x="8120503" y="6632911"/>
                </a:cubicBezTo>
                <a:cubicBezTo>
                  <a:pt x="8053019" y="6587789"/>
                  <a:pt x="7985536" y="6542667"/>
                  <a:pt x="7850569" y="6520106"/>
                </a:cubicBezTo>
                <a:lnTo>
                  <a:pt x="7862076" y="6534013"/>
                </a:lnTo>
                <a:lnTo>
                  <a:pt x="7827020" y="6514466"/>
                </a:lnTo>
                <a:cubicBezTo>
                  <a:pt x="7731067" y="6463703"/>
                  <a:pt x="7625624" y="6412941"/>
                  <a:pt x="7558141" y="6362179"/>
                </a:cubicBezTo>
                <a:cubicBezTo>
                  <a:pt x="7513152" y="6339619"/>
                  <a:pt x="7468163" y="6339619"/>
                  <a:pt x="7423174" y="6317058"/>
                </a:cubicBezTo>
                <a:cubicBezTo>
                  <a:pt x="7153241" y="6204253"/>
                  <a:pt x="6928296" y="6091448"/>
                  <a:pt x="6725846" y="6001205"/>
                </a:cubicBezTo>
                <a:cubicBezTo>
                  <a:pt x="6523396" y="5910961"/>
                  <a:pt x="6320945" y="5798156"/>
                  <a:pt x="6096001" y="5707913"/>
                </a:cubicBezTo>
                <a:cubicBezTo>
                  <a:pt x="6118495" y="5753035"/>
                  <a:pt x="6275956" y="5798156"/>
                  <a:pt x="6343440" y="5843278"/>
                </a:cubicBezTo>
                <a:cubicBezTo>
                  <a:pt x="6500901" y="5910961"/>
                  <a:pt x="6703351" y="6001205"/>
                  <a:pt x="6860813" y="6091448"/>
                </a:cubicBezTo>
                <a:cubicBezTo>
                  <a:pt x="6905802" y="6091448"/>
                  <a:pt x="6973285" y="6114009"/>
                  <a:pt x="6928296" y="6136570"/>
                </a:cubicBezTo>
                <a:cubicBezTo>
                  <a:pt x="6928296" y="6136570"/>
                  <a:pt x="6905802" y="6136570"/>
                  <a:pt x="6883307" y="6136570"/>
                </a:cubicBezTo>
                <a:cubicBezTo>
                  <a:pt x="6815824" y="6114009"/>
                  <a:pt x="6770835" y="6091448"/>
                  <a:pt x="6748340" y="6091448"/>
                </a:cubicBezTo>
                <a:cubicBezTo>
                  <a:pt x="6731469" y="6057607"/>
                  <a:pt x="6689292" y="6036456"/>
                  <a:pt x="6640789" y="6027996"/>
                </a:cubicBezTo>
                <a:lnTo>
                  <a:pt x="6613373" y="6025672"/>
                </a:lnTo>
                <a:lnTo>
                  <a:pt x="6613373" y="6023766"/>
                </a:lnTo>
                <a:cubicBezTo>
                  <a:pt x="6613373" y="6023766"/>
                  <a:pt x="6590879" y="6023766"/>
                  <a:pt x="6590879" y="6023766"/>
                </a:cubicBezTo>
                <a:lnTo>
                  <a:pt x="6613373" y="6025672"/>
                </a:lnTo>
                <a:lnTo>
                  <a:pt x="6613373" y="6036809"/>
                </a:lnTo>
                <a:cubicBezTo>
                  <a:pt x="6613373" y="6046327"/>
                  <a:pt x="6613373" y="6046327"/>
                  <a:pt x="6613373" y="6046327"/>
                </a:cubicBezTo>
                <a:cubicBezTo>
                  <a:pt x="6500901" y="6001205"/>
                  <a:pt x="6410923" y="5933522"/>
                  <a:pt x="6298451" y="5888400"/>
                </a:cubicBezTo>
                <a:cubicBezTo>
                  <a:pt x="6275956" y="5888400"/>
                  <a:pt x="6253462" y="5865839"/>
                  <a:pt x="6230968" y="5865839"/>
                </a:cubicBezTo>
                <a:cubicBezTo>
                  <a:pt x="6230968" y="5865839"/>
                  <a:pt x="6208473" y="5865839"/>
                  <a:pt x="6185979" y="5865839"/>
                </a:cubicBezTo>
                <a:cubicBezTo>
                  <a:pt x="6208473" y="5865839"/>
                  <a:pt x="6230968" y="5888400"/>
                  <a:pt x="6208473" y="5888400"/>
                </a:cubicBezTo>
                <a:cubicBezTo>
                  <a:pt x="6185979" y="5888400"/>
                  <a:pt x="6163484" y="5865839"/>
                  <a:pt x="6140990" y="5865839"/>
                </a:cubicBezTo>
                <a:cubicBezTo>
                  <a:pt x="6118495" y="5843278"/>
                  <a:pt x="6051012" y="5820717"/>
                  <a:pt x="5961034" y="5798156"/>
                </a:cubicBezTo>
                <a:cubicBezTo>
                  <a:pt x="5938539" y="5798156"/>
                  <a:pt x="5916046" y="5775596"/>
                  <a:pt x="5893551" y="5775596"/>
                </a:cubicBezTo>
                <a:cubicBezTo>
                  <a:pt x="5871056" y="5775596"/>
                  <a:pt x="5848562" y="5775596"/>
                  <a:pt x="5848562" y="5775596"/>
                </a:cubicBezTo>
                <a:cubicBezTo>
                  <a:pt x="5893551" y="5798156"/>
                  <a:pt x="5961034" y="5820717"/>
                  <a:pt x="6028517" y="5865839"/>
                </a:cubicBezTo>
                <a:cubicBezTo>
                  <a:pt x="6028517" y="5843278"/>
                  <a:pt x="6028517" y="5843278"/>
                  <a:pt x="6073506" y="5843278"/>
                </a:cubicBezTo>
                <a:cubicBezTo>
                  <a:pt x="6118495" y="5865839"/>
                  <a:pt x="6118495" y="5888400"/>
                  <a:pt x="6118495" y="5888400"/>
                </a:cubicBezTo>
                <a:cubicBezTo>
                  <a:pt x="6140990" y="5910961"/>
                  <a:pt x="6185979" y="5910961"/>
                  <a:pt x="6230968" y="5933522"/>
                </a:cubicBezTo>
                <a:cubicBezTo>
                  <a:pt x="6320945" y="5956083"/>
                  <a:pt x="6343440" y="6001205"/>
                  <a:pt x="6478407" y="6046327"/>
                </a:cubicBezTo>
                <a:cubicBezTo>
                  <a:pt x="6433418" y="6023766"/>
                  <a:pt x="6410923" y="6001205"/>
                  <a:pt x="6365934" y="5978644"/>
                </a:cubicBezTo>
                <a:cubicBezTo>
                  <a:pt x="6320945" y="5956083"/>
                  <a:pt x="6253462" y="5933522"/>
                  <a:pt x="6208473" y="5910961"/>
                </a:cubicBezTo>
                <a:cubicBezTo>
                  <a:pt x="6320945" y="5933522"/>
                  <a:pt x="6365934" y="5956083"/>
                  <a:pt x="6388429" y="5978644"/>
                </a:cubicBezTo>
                <a:cubicBezTo>
                  <a:pt x="6523396" y="6046327"/>
                  <a:pt x="6658362" y="6114009"/>
                  <a:pt x="6770835" y="6159131"/>
                </a:cubicBezTo>
                <a:cubicBezTo>
                  <a:pt x="6838318" y="6204253"/>
                  <a:pt x="6973285" y="6249375"/>
                  <a:pt x="6995779" y="6271936"/>
                </a:cubicBezTo>
                <a:cubicBezTo>
                  <a:pt x="7153241" y="6317058"/>
                  <a:pt x="7198230" y="6339619"/>
                  <a:pt x="7243219" y="6384740"/>
                </a:cubicBezTo>
                <a:cubicBezTo>
                  <a:pt x="7265713" y="6407301"/>
                  <a:pt x="7288207" y="6407301"/>
                  <a:pt x="7333196" y="6429862"/>
                </a:cubicBezTo>
                <a:cubicBezTo>
                  <a:pt x="7378185" y="6452423"/>
                  <a:pt x="7423174" y="6474984"/>
                  <a:pt x="7400680" y="6474984"/>
                </a:cubicBezTo>
                <a:cubicBezTo>
                  <a:pt x="7400680" y="6497545"/>
                  <a:pt x="7310702" y="6474984"/>
                  <a:pt x="7288207" y="6474984"/>
                </a:cubicBezTo>
                <a:cubicBezTo>
                  <a:pt x="7265713" y="6474984"/>
                  <a:pt x="7355691" y="6497545"/>
                  <a:pt x="7310702" y="6520106"/>
                </a:cubicBezTo>
                <a:cubicBezTo>
                  <a:pt x="7310702" y="6520106"/>
                  <a:pt x="7333196" y="6520106"/>
                  <a:pt x="7355691" y="6542667"/>
                </a:cubicBezTo>
                <a:cubicBezTo>
                  <a:pt x="7400680" y="6542667"/>
                  <a:pt x="7423174" y="6565228"/>
                  <a:pt x="7423174" y="6565228"/>
                </a:cubicBezTo>
                <a:cubicBezTo>
                  <a:pt x="7445669" y="6587789"/>
                  <a:pt x="7445669" y="6587789"/>
                  <a:pt x="7445669" y="6587789"/>
                </a:cubicBezTo>
                <a:cubicBezTo>
                  <a:pt x="7490658" y="6610350"/>
                  <a:pt x="7513152" y="6610350"/>
                  <a:pt x="7535647" y="6632911"/>
                </a:cubicBezTo>
                <a:cubicBezTo>
                  <a:pt x="7625624" y="6655471"/>
                  <a:pt x="7715602" y="6700593"/>
                  <a:pt x="7738097" y="6745715"/>
                </a:cubicBezTo>
                <a:cubicBezTo>
                  <a:pt x="7760591" y="6745715"/>
                  <a:pt x="7783086" y="6768276"/>
                  <a:pt x="7805580" y="6790837"/>
                </a:cubicBezTo>
                <a:cubicBezTo>
                  <a:pt x="7738097" y="6790837"/>
                  <a:pt x="7693108" y="6768276"/>
                  <a:pt x="7670613" y="6745715"/>
                </a:cubicBezTo>
                <a:cubicBezTo>
                  <a:pt x="7648119" y="6745715"/>
                  <a:pt x="7625624" y="6745715"/>
                  <a:pt x="7580636" y="6723154"/>
                </a:cubicBezTo>
                <a:cubicBezTo>
                  <a:pt x="7535647" y="6745715"/>
                  <a:pt x="7535647" y="6745715"/>
                  <a:pt x="7558141" y="6768276"/>
                </a:cubicBezTo>
                <a:cubicBezTo>
                  <a:pt x="7603130" y="6790837"/>
                  <a:pt x="7648119" y="6813398"/>
                  <a:pt x="7693108" y="6835959"/>
                </a:cubicBezTo>
                <a:cubicBezTo>
                  <a:pt x="7693108" y="6835959"/>
                  <a:pt x="7670613" y="6835959"/>
                  <a:pt x="7670613" y="6835959"/>
                </a:cubicBezTo>
                <a:cubicBezTo>
                  <a:pt x="7625624" y="6813398"/>
                  <a:pt x="7580636" y="6790837"/>
                  <a:pt x="7535647" y="6768276"/>
                </a:cubicBezTo>
                <a:cubicBezTo>
                  <a:pt x="7535647" y="6768276"/>
                  <a:pt x="7513152" y="6745715"/>
                  <a:pt x="7513152" y="6745715"/>
                </a:cubicBezTo>
                <a:cubicBezTo>
                  <a:pt x="7445669" y="6745715"/>
                  <a:pt x="7423174" y="6723154"/>
                  <a:pt x="7423174" y="6700593"/>
                </a:cubicBezTo>
                <a:cubicBezTo>
                  <a:pt x="7423174" y="6700593"/>
                  <a:pt x="7468163" y="6723154"/>
                  <a:pt x="7490658" y="6723154"/>
                </a:cubicBezTo>
                <a:cubicBezTo>
                  <a:pt x="7468163" y="6700593"/>
                  <a:pt x="7445669" y="6700593"/>
                  <a:pt x="7445669" y="6678032"/>
                </a:cubicBezTo>
                <a:cubicBezTo>
                  <a:pt x="7423174" y="6678032"/>
                  <a:pt x="7378185" y="6678032"/>
                  <a:pt x="7355691" y="6678032"/>
                </a:cubicBezTo>
                <a:cubicBezTo>
                  <a:pt x="7310702" y="6678032"/>
                  <a:pt x="7265713" y="6655471"/>
                  <a:pt x="7265713" y="6678032"/>
                </a:cubicBezTo>
                <a:cubicBezTo>
                  <a:pt x="7265713" y="6700593"/>
                  <a:pt x="7333196" y="6700593"/>
                  <a:pt x="7378185" y="6723154"/>
                </a:cubicBezTo>
                <a:cubicBezTo>
                  <a:pt x="7445669" y="6745715"/>
                  <a:pt x="7535647" y="6768276"/>
                  <a:pt x="7513152" y="6813398"/>
                </a:cubicBezTo>
                <a:cubicBezTo>
                  <a:pt x="7423174" y="6768276"/>
                  <a:pt x="7310702" y="6745715"/>
                  <a:pt x="7243219" y="6723154"/>
                </a:cubicBezTo>
                <a:cubicBezTo>
                  <a:pt x="7063263" y="6655471"/>
                  <a:pt x="6950790" y="6565228"/>
                  <a:pt x="6815824" y="6497545"/>
                </a:cubicBezTo>
                <a:cubicBezTo>
                  <a:pt x="6725846" y="6452423"/>
                  <a:pt x="6613373" y="6407301"/>
                  <a:pt x="6500901" y="6362179"/>
                </a:cubicBezTo>
                <a:cubicBezTo>
                  <a:pt x="6388429" y="6317058"/>
                  <a:pt x="6298451" y="6339619"/>
                  <a:pt x="6208473" y="6317058"/>
                </a:cubicBezTo>
                <a:cubicBezTo>
                  <a:pt x="6275956" y="6339619"/>
                  <a:pt x="6365934" y="6384740"/>
                  <a:pt x="6388429" y="6407301"/>
                </a:cubicBezTo>
                <a:cubicBezTo>
                  <a:pt x="6455912" y="6429862"/>
                  <a:pt x="6500901" y="6474984"/>
                  <a:pt x="6568385" y="6497545"/>
                </a:cubicBezTo>
                <a:cubicBezTo>
                  <a:pt x="6703351" y="6565228"/>
                  <a:pt x="6860813" y="6632911"/>
                  <a:pt x="6950790" y="6700593"/>
                </a:cubicBezTo>
                <a:cubicBezTo>
                  <a:pt x="7130746" y="6768276"/>
                  <a:pt x="7220724" y="6835959"/>
                  <a:pt x="7333196" y="6903642"/>
                </a:cubicBezTo>
                <a:cubicBezTo>
                  <a:pt x="7378185" y="6903642"/>
                  <a:pt x="7400680" y="6926202"/>
                  <a:pt x="7423174" y="6948763"/>
                </a:cubicBezTo>
                <a:cubicBezTo>
                  <a:pt x="7445669" y="6948763"/>
                  <a:pt x="7468163" y="6948763"/>
                  <a:pt x="7468163" y="6971324"/>
                </a:cubicBezTo>
                <a:cubicBezTo>
                  <a:pt x="7445669" y="6971324"/>
                  <a:pt x="7423174" y="6948763"/>
                  <a:pt x="7400680" y="6948763"/>
                </a:cubicBezTo>
                <a:cubicBezTo>
                  <a:pt x="7378185" y="6948763"/>
                  <a:pt x="7355691" y="6926202"/>
                  <a:pt x="7355691" y="6926202"/>
                </a:cubicBezTo>
                <a:cubicBezTo>
                  <a:pt x="7355691" y="6926202"/>
                  <a:pt x="7333196" y="6903642"/>
                  <a:pt x="7310702" y="6903642"/>
                </a:cubicBezTo>
                <a:cubicBezTo>
                  <a:pt x="7288207" y="6903642"/>
                  <a:pt x="7265713" y="6881081"/>
                  <a:pt x="7243219" y="6881081"/>
                </a:cubicBezTo>
                <a:cubicBezTo>
                  <a:pt x="7198230" y="6858520"/>
                  <a:pt x="7153241" y="6835959"/>
                  <a:pt x="7130746" y="6813398"/>
                </a:cubicBezTo>
                <a:cubicBezTo>
                  <a:pt x="7063263" y="6768276"/>
                  <a:pt x="6973285" y="6745715"/>
                  <a:pt x="6928296" y="6700593"/>
                </a:cubicBezTo>
                <a:cubicBezTo>
                  <a:pt x="6905802" y="6700593"/>
                  <a:pt x="6883307" y="6678032"/>
                  <a:pt x="6860813" y="6655471"/>
                </a:cubicBezTo>
                <a:cubicBezTo>
                  <a:pt x="6838318" y="6678032"/>
                  <a:pt x="6905802" y="6700593"/>
                  <a:pt x="6883307" y="6700593"/>
                </a:cubicBezTo>
                <a:cubicBezTo>
                  <a:pt x="6838318" y="6700593"/>
                  <a:pt x="6838318" y="6700593"/>
                  <a:pt x="6883307" y="6723154"/>
                </a:cubicBezTo>
                <a:cubicBezTo>
                  <a:pt x="6928296" y="6745715"/>
                  <a:pt x="6928296" y="6745715"/>
                  <a:pt x="6928296" y="6745715"/>
                </a:cubicBezTo>
                <a:cubicBezTo>
                  <a:pt x="6928296" y="6768276"/>
                  <a:pt x="6928296" y="6768276"/>
                  <a:pt x="6950790" y="6768276"/>
                </a:cubicBezTo>
                <a:cubicBezTo>
                  <a:pt x="6973285" y="6768276"/>
                  <a:pt x="7018274" y="6790837"/>
                  <a:pt x="6973285" y="6790837"/>
                </a:cubicBezTo>
                <a:cubicBezTo>
                  <a:pt x="6950790" y="6790837"/>
                  <a:pt x="6950790" y="6790837"/>
                  <a:pt x="6950790" y="6813398"/>
                </a:cubicBezTo>
                <a:cubicBezTo>
                  <a:pt x="6950790" y="6813398"/>
                  <a:pt x="6973285" y="6813398"/>
                  <a:pt x="6973285" y="6813398"/>
                </a:cubicBezTo>
                <a:cubicBezTo>
                  <a:pt x="7063263" y="6813398"/>
                  <a:pt x="7130746" y="6858520"/>
                  <a:pt x="7220724" y="6881081"/>
                </a:cubicBezTo>
                <a:cubicBezTo>
                  <a:pt x="7130746" y="6881081"/>
                  <a:pt x="7130746" y="6881081"/>
                  <a:pt x="7153241" y="6926202"/>
                </a:cubicBezTo>
                <a:cubicBezTo>
                  <a:pt x="7175735" y="6971324"/>
                  <a:pt x="7063263" y="6948763"/>
                  <a:pt x="7018274" y="6926202"/>
                </a:cubicBezTo>
                <a:cubicBezTo>
                  <a:pt x="7018274" y="6948763"/>
                  <a:pt x="7040768" y="6971324"/>
                  <a:pt x="7063263" y="6993885"/>
                </a:cubicBezTo>
                <a:cubicBezTo>
                  <a:pt x="6973285" y="6948763"/>
                  <a:pt x="6883307" y="6926202"/>
                  <a:pt x="6793329" y="6903642"/>
                </a:cubicBezTo>
                <a:cubicBezTo>
                  <a:pt x="6838318" y="6903642"/>
                  <a:pt x="6815824" y="6881081"/>
                  <a:pt x="6883307" y="6881081"/>
                </a:cubicBezTo>
                <a:cubicBezTo>
                  <a:pt x="6928296" y="6881081"/>
                  <a:pt x="6928296" y="6881081"/>
                  <a:pt x="6905802" y="6858520"/>
                </a:cubicBezTo>
                <a:cubicBezTo>
                  <a:pt x="6883307" y="6858520"/>
                  <a:pt x="6838318" y="6858520"/>
                  <a:pt x="6838318" y="6858520"/>
                </a:cubicBezTo>
                <a:cubicBezTo>
                  <a:pt x="6793329" y="6858520"/>
                  <a:pt x="6748340" y="6881081"/>
                  <a:pt x="6658362" y="6835959"/>
                </a:cubicBezTo>
                <a:cubicBezTo>
                  <a:pt x="6568385" y="6813398"/>
                  <a:pt x="6478407" y="6790837"/>
                  <a:pt x="6410923" y="6768276"/>
                </a:cubicBezTo>
                <a:cubicBezTo>
                  <a:pt x="6388429" y="6745715"/>
                  <a:pt x="6343440" y="6723154"/>
                  <a:pt x="6298451" y="6723154"/>
                </a:cubicBezTo>
                <a:cubicBezTo>
                  <a:pt x="6275956" y="6723154"/>
                  <a:pt x="6275956" y="6745715"/>
                  <a:pt x="6298451" y="6745715"/>
                </a:cubicBezTo>
                <a:cubicBezTo>
                  <a:pt x="6298451" y="6768276"/>
                  <a:pt x="6320945" y="6768276"/>
                  <a:pt x="6298451" y="6768276"/>
                </a:cubicBezTo>
                <a:cubicBezTo>
                  <a:pt x="6388429" y="6835959"/>
                  <a:pt x="6523396" y="6903642"/>
                  <a:pt x="6613373" y="6948763"/>
                </a:cubicBezTo>
                <a:cubicBezTo>
                  <a:pt x="6658362" y="6971324"/>
                  <a:pt x="6680857" y="6993885"/>
                  <a:pt x="6725846" y="7016446"/>
                </a:cubicBezTo>
                <a:cubicBezTo>
                  <a:pt x="6815824" y="7061568"/>
                  <a:pt x="6838318" y="7084129"/>
                  <a:pt x="6950790" y="7129251"/>
                </a:cubicBezTo>
                <a:cubicBezTo>
                  <a:pt x="6883307" y="7129251"/>
                  <a:pt x="6860813" y="7106690"/>
                  <a:pt x="6838318" y="7106690"/>
                </a:cubicBezTo>
                <a:cubicBezTo>
                  <a:pt x="6838318" y="7106690"/>
                  <a:pt x="6860813" y="7129251"/>
                  <a:pt x="6838318" y="7129251"/>
                </a:cubicBezTo>
                <a:cubicBezTo>
                  <a:pt x="6793329" y="7106690"/>
                  <a:pt x="6770835" y="7106690"/>
                  <a:pt x="6748340" y="7084129"/>
                </a:cubicBezTo>
                <a:cubicBezTo>
                  <a:pt x="6770835" y="7084129"/>
                  <a:pt x="6793329" y="7084129"/>
                  <a:pt x="6815824" y="7106690"/>
                </a:cubicBezTo>
                <a:cubicBezTo>
                  <a:pt x="6770835" y="7061568"/>
                  <a:pt x="6703351" y="7039007"/>
                  <a:pt x="6680857" y="7016446"/>
                </a:cubicBezTo>
                <a:cubicBezTo>
                  <a:pt x="6590879" y="6948763"/>
                  <a:pt x="6433418" y="6881081"/>
                  <a:pt x="6298451" y="6813398"/>
                </a:cubicBezTo>
                <a:cubicBezTo>
                  <a:pt x="6163484" y="6768276"/>
                  <a:pt x="6051012" y="6700593"/>
                  <a:pt x="5916046" y="6632911"/>
                </a:cubicBezTo>
                <a:cubicBezTo>
                  <a:pt x="5893551" y="6632911"/>
                  <a:pt x="5893551" y="6632911"/>
                  <a:pt x="5871056" y="6610350"/>
                </a:cubicBezTo>
                <a:cubicBezTo>
                  <a:pt x="5848562" y="6610350"/>
                  <a:pt x="5803573" y="6587789"/>
                  <a:pt x="5781078" y="6587789"/>
                </a:cubicBezTo>
                <a:cubicBezTo>
                  <a:pt x="5533639" y="6474984"/>
                  <a:pt x="5308694" y="6362179"/>
                  <a:pt x="5061256" y="6226814"/>
                </a:cubicBezTo>
                <a:cubicBezTo>
                  <a:pt x="4903794" y="6181692"/>
                  <a:pt x="4813816" y="6114009"/>
                  <a:pt x="4678849" y="6068888"/>
                </a:cubicBezTo>
                <a:cubicBezTo>
                  <a:pt x="4656355" y="6091448"/>
                  <a:pt x="4723838" y="6114009"/>
                  <a:pt x="4768827" y="6136570"/>
                </a:cubicBezTo>
                <a:cubicBezTo>
                  <a:pt x="4768827" y="6136570"/>
                  <a:pt x="4768827" y="6136570"/>
                  <a:pt x="4768827" y="6159131"/>
                </a:cubicBezTo>
                <a:cubicBezTo>
                  <a:pt x="4813816" y="6159131"/>
                  <a:pt x="4836311" y="6181692"/>
                  <a:pt x="4881300" y="6204253"/>
                </a:cubicBezTo>
                <a:cubicBezTo>
                  <a:pt x="4948783" y="6226814"/>
                  <a:pt x="5016266" y="6249375"/>
                  <a:pt x="5038761" y="6294497"/>
                </a:cubicBezTo>
                <a:cubicBezTo>
                  <a:pt x="5083750" y="6294497"/>
                  <a:pt x="5128739" y="6317058"/>
                  <a:pt x="5151233" y="6339619"/>
                </a:cubicBezTo>
                <a:cubicBezTo>
                  <a:pt x="5263705" y="6384740"/>
                  <a:pt x="5308694" y="6429862"/>
                  <a:pt x="5398672" y="6452423"/>
                </a:cubicBezTo>
                <a:cubicBezTo>
                  <a:pt x="5421167" y="6452423"/>
                  <a:pt x="5443662" y="6452423"/>
                  <a:pt x="5443662" y="6474984"/>
                </a:cubicBezTo>
                <a:cubicBezTo>
                  <a:pt x="5511145" y="6497545"/>
                  <a:pt x="5646111" y="6542667"/>
                  <a:pt x="5668606" y="6587789"/>
                </a:cubicBezTo>
                <a:cubicBezTo>
                  <a:pt x="5736089" y="6610350"/>
                  <a:pt x="5758584" y="6632911"/>
                  <a:pt x="5871056" y="6655471"/>
                </a:cubicBezTo>
                <a:cubicBezTo>
                  <a:pt x="5826067" y="6632911"/>
                  <a:pt x="5781078" y="6610350"/>
                  <a:pt x="5736089" y="6587789"/>
                </a:cubicBezTo>
                <a:cubicBezTo>
                  <a:pt x="5736089" y="6587789"/>
                  <a:pt x="5758584" y="6587789"/>
                  <a:pt x="5758584" y="6587789"/>
                </a:cubicBezTo>
                <a:cubicBezTo>
                  <a:pt x="5803573" y="6610350"/>
                  <a:pt x="5848562" y="6632911"/>
                  <a:pt x="5893551" y="6655471"/>
                </a:cubicBezTo>
                <a:cubicBezTo>
                  <a:pt x="5916046" y="6678032"/>
                  <a:pt x="5893551" y="6678032"/>
                  <a:pt x="5893551" y="6700593"/>
                </a:cubicBezTo>
                <a:cubicBezTo>
                  <a:pt x="5938539" y="6723154"/>
                  <a:pt x="5983528" y="6745715"/>
                  <a:pt x="6028517" y="6768276"/>
                </a:cubicBezTo>
                <a:cubicBezTo>
                  <a:pt x="6140990" y="6813398"/>
                  <a:pt x="6140990" y="6835959"/>
                  <a:pt x="6253462" y="6881081"/>
                </a:cubicBezTo>
                <a:cubicBezTo>
                  <a:pt x="6298451" y="6903642"/>
                  <a:pt x="6298451" y="6926202"/>
                  <a:pt x="6365934" y="6926202"/>
                </a:cubicBezTo>
                <a:cubicBezTo>
                  <a:pt x="6365934" y="6926202"/>
                  <a:pt x="6320945" y="6903642"/>
                  <a:pt x="6343440" y="6903642"/>
                </a:cubicBezTo>
                <a:cubicBezTo>
                  <a:pt x="6399676" y="6903642"/>
                  <a:pt x="6427794" y="6914922"/>
                  <a:pt x="6447477" y="6929023"/>
                </a:cubicBezTo>
                <a:lnTo>
                  <a:pt x="6471976" y="6950228"/>
                </a:lnTo>
                <a:lnTo>
                  <a:pt x="6455912" y="6948763"/>
                </a:lnTo>
                <a:cubicBezTo>
                  <a:pt x="6455912" y="6971324"/>
                  <a:pt x="6365934" y="6948763"/>
                  <a:pt x="6455912" y="6993885"/>
                </a:cubicBezTo>
                <a:cubicBezTo>
                  <a:pt x="6500901" y="6993885"/>
                  <a:pt x="6523396" y="7016446"/>
                  <a:pt x="6478407" y="7016446"/>
                </a:cubicBezTo>
                <a:cubicBezTo>
                  <a:pt x="6433418" y="7016446"/>
                  <a:pt x="6410923" y="7016446"/>
                  <a:pt x="6388429" y="6993885"/>
                </a:cubicBezTo>
                <a:cubicBezTo>
                  <a:pt x="6298451" y="6948763"/>
                  <a:pt x="6230968" y="6926202"/>
                  <a:pt x="6185979" y="6881081"/>
                </a:cubicBezTo>
                <a:cubicBezTo>
                  <a:pt x="6073506" y="6813398"/>
                  <a:pt x="5848562" y="6768276"/>
                  <a:pt x="5736089" y="6700593"/>
                </a:cubicBezTo>
                <a:cubicBezTo>
                  <a:pt x="5758584" y="6678032"/>
                  <a:pt x="5803573" y="6700593"/>
                  <a:pt x="5803573" y="6700593"/>
                </a:cubicBezTo>
                <a:cubicBezTo>
                  <a:pt x="5691100" y="6632911"/>
                  <a:pt x="5556134" y="6610350"/>
                  <a:pt x="5421167" y="6565228"/>
                </a:cubicBezTo>
                <a:cubicBezTo>
                  <a:pt x="5376178" y="6542667"/>
                  <a:pt x="5376178" y="6565228"/>
                  <a:pt x="5398672" y="6587789"/>
                </a:cubicBezTo>
                <a:cubicBezTo>
                  <a:pt x="5421167" y="6587789"/>
                  <a:pt x="5488650" y="6610350"/>
                  <a:pt x="5443662" y="6610350"/>
                </a:cubicBezTo>
                <a:cubicBezTo>
                  <a:pt x="5376178" y="6610350"/>
                  <a:pt x="5376178" y="6587789"/>
                  <a:pt x="5331189" y="6587789"/>
                </a:cubicBezTo>
                <a:cubicBezTo>
                  <a:pt x="5196222" y="6587789"/>
                  <a:pt x="5196222" y="6587789"/>
                  <a:pt x="5331189" y="6655471"/>
                </a:cubicBezTo>
                <a:cubicBezTo>
                  <a:pt x="5353683" y="6678032"/>
                  <a:pt x="5353683" y="6678032"/>
                  <a:pt x="5353683" y="6678032"/>
                </a:cubicBezTo>
                <a:cubicBezTo>
                  <a:pt x="5331189" y="6678032"/>
                  <a:pt x="5308694" y="6678032"/>
                  <a:pt x="5308694" y="6678032"/>
                </a:cubicBezTo>
                <a:cubicBezTo>
                  <a:pt x="5331189" y="6700593"/>
                  <a:pt x="5331189" y="6700593"/>
                  <a:pt x="5353683" y="6723154"/>
                </a:cubicBezTo>
                <a:cubicBezTo>
                  <a:pt x="5398672" y="6745715"/>
                  <a:pt x="5511145" y="6790837"/>
                  <a:pt x="5578628" y="6813398"/>
                </a:cubicBezTo>
                <a:cubicBezTo>
                  <a:pt x="5556134" y="6813398"/>
                  <a:pt x="5556134" y="6813398"/>
                  <a:pt x="5533639" y="6813398"/>
                </a:cubicBezTo>
                <a:cubicBezTo>
                  <a:pt x="5533639" y="6835959"/>
                  <a:pt x="5533639" y="6835959"/>
                  <a:pt x="5533639" y="6835959"/>
                </a:cubicBezTo>
                <a:cubicBezTo>
                  <a:pt x="5556134" y="6858520"/>
                  <a:pt x="5691100" y="6903642"/>
                  <a:pt x="5623617" y="6881081"/>
                </a:cubicBezTo>
                <a:cubicBezTo>
                  <a:pt x="5578628" y="6881081"/>
                  <a:pt x="5533639" y="6858520"/>
                  <a:pt x="5488650" y="6835959"/>
                </a:cubicBezTo>
                <a:cubicBezTo>
                  <a:pt x="5421167" y="6790837"/>
                  <a:pt x="5376178" y="6768276"/>
                  <a:pt x="5286200" y="6723154"/>
                </a:cubicBezTo>
                <a:cubicBezTo>
                  <a:pt x="5263705" y="6723154"/>
                  <a:pt x="5241211" y="6745715"/>
                  <a:pt x="5218717" y="6745715"/>
                </a:cubicBezTo>
                <a:cubicBezTo>
                  <a:pt x="5218717" y="6745715"/>
                  <a:pt x="5308694" y="6768276"/>
                  <a:pt x="5241211" y="6768276"/>
                </a:cubicBezTo>
                <a:cubicBezTo>
                  <a:pt x="5218717" y="6745715"/>
                  <a:pt x="5196222" y="6745715"/>
                  <a:pt x="5173728" y="6723154"/>
                </a:cubicBezTo>
                <a:cubicBezTo>
                  <a:pt x="5016266" y="6678032"/>
                  <a:pt x="4926288" y="6610350"/>
                  <a:pt x="4813816" y="6565228"/>
                </a:cubicBezTo>
                <a:cubicBezTo>
                  <a:pt x="4768827" y="6565228"/>
                  <a:pt x="4813816" y="6587789"/>
                  <a:pt x="4836311" y="6610350"/>
                </a:cubicBezTo>
                <a:cubicBezTo>
                  <a:pt x="4948783" y="6632911"/>
                  <a:pt x="4881300" y="6632911"/>
                  <a:pt x="4881300" y="6632911"/>
                </a:cubicBezTo>
                <a:cubicBezTo>
                  <a:pt x="4971278" y="6678032"/>
                  <a:pt x="5016266" y="6700593"/>
                  <a:pt x="5083750" y="6723154"/>
                </a:cubicBezTo>
                <a:cubicBezTo>
                  <a:pt x="5128739" y="6745715"/>
                  <a:pt x="5106244" y="6745715"/>
                  <a:pt x="5083750" y="6745715"/>
                </a:cubicBezTo>
                <a:cubicBezTo>
                  <a:pt x="5151233" y="6790837"/>
                  <a:pt x="5218717" y="6835959"/>
                  <a:pt x="5263705" y="6858520"/>
                </a:cubicBezTo>
                <a:cubicBezTo>
                  <a:pt x="5218717" y="6858520"/>
                  <a:pt x="5196222" y="6835959"/>
                  <a:pt x="5173728" y="6835959"/>
                </a:cubicBezTo>
                <a:cubicBezTo>
                  <a:pt x="5173728" y="6835959"/>
                  <a:pt x="5241211" y="6881081"/>
                  <a:pt x="5128739" y="6858520"/>
                </a:cubicBezTo>
                <a:cubicBezTo>
                  <a:pt x="5061256" y="6858520"/>
                  <a:pt x="5061256" y="6835959"/>
                  <a:pt x="5038761" y="6813398"/>
                </a:cubicBezTo>
                <a:cubicBezTo>
                  <a:pt x="4971278" y="6790837"/>
                  <a:pt x="4903794" y="6745715"/>
                  <a:pt x="4858805" y="6723154"/>
                </a:cubicBezTo>
                <a:cubicBezTo>
                  <a:pt x="4768827" y="6678032"/>
                  <a:pt x="4678849" y="6610350"/>
                  <a:pt x="4588872" y="6565228"/>
                </a:cubicBezTo>
                <a:cubicBezTo>
                  <a:pt x="4408916" y="6474984"/>
                  <a:pt x="4183971" y="6384740"/>
                  <a:pt x="4049004" y="6294497"/>
                </a:cubicBezTo>
                <a:cubicBezTo>
                  <a:pt x="4004015" y="6271936"/>
                  <a:pt x="3981521" y="6249375"/>
                  <a:pt x="3959027" y="6249375"/>
                </a:cubicBezTo>
                <a:cubicBezTo>
                  <a:pt x="3936532" y="6249375"/>
                  <a:pt x="3936532" y="6249375"/>
                  <a:pt x="3891543" y="6249375"/>
                </a:cubicBezTo>
                <a:cubicBezTo>
                  <a:pt x="3869049" y="6226814"/>
                  <a:pt x="3891543" y="6226814"/>
                  <a:pt x="3891543" y="6226814"/>
                </a:cubicBezTo>
                <a:cubicBezTo>
                  <a:pt x="3869049" y="6204253"/>
                  <a:pt x="3824060" y="6181692"/>
                  <a:pt x="3779071" y="6159131"/>
                </a:cubicBezTo>
                <a:cubicBezTo>
                  <a:pt x="3689093" y="6136570"/>
                  <a:pt x="3644104" y="6091448"/>
                  <a:pt x="3576621" y="6068888"/>
                </a:cubicBezTo>
                <a:cubicBezTo>
                  <a:pt x="3554126" y="6068888"/>
                  <a:pt x="3554126" y="6068888"/>
                  <a:pt x="3554126" y="6091448"/>
                </a:cubicBezTo>
                <a:cubicBezTo>
                  <a:pt x="3531632" y="6068888"/>
                  <a:pt x="3486643" y="6068888"/>
                  <a:pt x="3464148" y="6046327"/>
                </a:cubicBezTo>
                <a:cubicBezTo>
                  <a:pt x="3419159" y="6046327"/>
                  <a:pt x="3419159" y="6023766"/>
                  <a:pt x="3374170" y="6023766"/>
                </a:cubicBezTo>
                <a:lnTo>
                  <a:pt x="3284193" y="5978644"/>
                </a:lnTo>
                <a:lnTo>
                  <a:pt x="3284193" y="5978644"/>
                </a:lnTo>
                <a:lnTo>
                  <a:pt x="3284192" y="5978644"/>
                </a:lnTo>
                <a:lnTo>
                  <a:pt x="3261699" y="5967364"/>
                </a:lnTo>
                <a:lnTo>
                  <a:pt x="3261698" y="5967363"/>
                </a:lnTo>
                <a:cubicBezTo>
                  <a:pt x="3256074" y="5961723"/>
                  <a:pt x="3250451" y="5956083"/>
                  <a:pt x="3239203" y="5956083"/>
                </a:cubicBezTo>
                <a:lnTo>
                  <a:pt x="3261699" y="5967364"/>
                </a:lnTo>
                <a:lnTo>
                  <a:pt x="3270837" y="5975119"/>
                </a:lnTo>
                <a:lnTo>
                  <a:pt x="3284192" y="5978644"/>
                </a:lnTo>
                <a:lnTo>
                  <a:pt x="3284193" y="5978644"/>
                </a:lnTo>
                <a:lnTo>
                  <a:pt x="3288059" y="5992039"/>
                </a:lnTo>
                <a:cubicBezTo>
                  <a:pt x="3295440" y="6002615"/>
                  <a:pt x="3312310" y="6006845"/>
                  <a:pt x="3329181" y="6023766"/>
                </a:cubicBezTo>
                <a:cubicBezTo>
                  <a:pt x="3351676" y="6046327"/>
                  <a:pt x="3396665" y="6068888"/>
                  <a:pt x="3419159" y="6068888"/>
                </a:cubicBezTo>
                <a:cubicBezTo>
                  <a:pt x="3464148" y="6114009"/>
                  <a:pt x="3599115" y="6159131"/>
                  <a:pt x="3644104" y="6204253"/>
                </a:cubicBezTo>
                <a:cubicBezTo>
                  <a:pt x="3756576" y="6249375"/>
                  <a:pt x="3801565" y="6294497"/>
                  <a:pt x="3869049" y="6339619"/>
                </a:cubicBezTo>
                <a:cubicBezTo>
                  <a:pt x="4004015" y="6407301"/>
                  <a:pt x="4138982" y="6474984"/>
                  <a:pt x="4251454" y="6542667"/>
                </a:cubicBezTo>
                <a:cubicBezTo>
                  <a:pt x="4296443" y="6542667"/>
                  <a:pt x="4341432" y="6565228"/>
                  <a:pt x="4341432" y="6587789"/>
                </a:cubicBezTo>
                <a:cubicBezTo>
                  <a:pt x="4363927" y="6587789"/>
                  <a:pt x="4386421" y="6587789"/>
                  <a:pt x="4386421" y="6610350"/>
                </a:cubicBezTo>
                <a:cubicBezTo>
                  <a:pt x="4408916" y="6565228"/>
                  <a:pt x="4476399" y="6610350"/>
                  <a:pt x="4521389" y="6632911"/>
                </a:cubicBezTo>
                <a:cubicBezTo>
                  <a:pt x="4566377" y="6632911"/>
                  <a:pt x="4566377" y="6610350"/>
                  <a:pt x="4521389" y="6587789"/>
                </a:cubicBezTo>
                <a:cubicBezTo>
                  <a:pt x="4476399" y="6565228"/>
                  <a:pt x="4431410" y="6542667"/>
                  <a:pt x="4386421" y="6520106"/>
                </a:cubicBezTo>
                <a:cubicBezTo>
                  <a:pt x="4431410" y="6520106"/>
                  <a:pt x="4476399" y="6520106"/>
                  <a:pt x="4521389" y="6565228"/>
                </a:cubicBezTo>
                <a:cubicBezTo>
                  <a:pt x="4543883" y="6587789"/>
                  <a:pt x="4611366" y="6610350"/>
                  <a:pt x="4678849" y="6632911"/>
                </a:cubicBezTo>
                <a:cubicBezTo>
                  <a:pt x="4701344" y="6655471"/>
                  <a:pt x="4746333" y="6655471"/>
                  <a:pt x="4723838" y="6678032"/>
                </a:cubicBezTo>
                <a:cubicBezTo>
                  <a:pt x="4701344" y="6678032"/>
                  <a:pt x="4678849" y="6678032"/>
                  <a:pt x="4611366" y="6655471"/>
                </a:cubicBezTo>
                <a:cubicBezTo>
                  <a:pt x="4588872" y="6632911"/>
                  <a:pt x="4588872" y="6655471"/>
                  <a:pt x="4588872" y="6655471"/>
                </a:cubicBezTo>
                <a:cubicBezTo>
                  <a:pt x="4566377" y="6655471"/>
                  <a:pt x="4566377" y="6655471"/>
                  <a:pt x="4566377" y="6655471"/>
                </a:cubicBezTo>
                <a:cubicBezTo>
                  <a:pt x="4588872" y="6678032"/>
                  <a:pt x="4678849" y="6700593"/>
                  <a:pt x="4678849" y="6723154"/>
                </a:cubicBezTo>
                <a:cubicBezTo>
                  <a:pt x="4633860" y="6700593"/>
                  <a:pt x="4588872" y="6678032"/>
                  <a:pt x="4543883" y="6678032"/>
                </a:cubicBezTo>
                <a:cubicBezTo>
                  <a:pt x="4633860" y="6723154"/>
                  <a:pt x="4723838" y="6790837"/>
                  <a:pt x="4858805" y="6858520"/>
                </a:cubicBezTo>
                <a:cubicBezTo>
                  <a:pt x="4858805" y="6858520"/>
                  <a:pt x="4881300" y="6881081"/>
                  <a:pt x="4903794" y="6881081"/>
                </a:cubicBezTo>
                <a:cubicBezTo>
                  <a:pt x="4926288" y="6881081"/>
                  <a:pt x="4948783" y="6903642"/>
                  <a:pt x="4948783" y="6903642"/>
                </a:cubicBezTo>
                <a:cubicBezTo>
                  <a:pt x="5016266" y="6926202"/>
                  <a:pt x="5061256" y="6948763"/>
                  <a:pt x="5106244" y="6948763"/>
                </a:cubicBezTo>
                <a:cubicBezTo>
                  <a:pt x="5128739" y="6948763"/>
                  <a:pt x="5128739" y="6971324"/>
                  <a:pt x="5128739" y="6971324"/>
                </a:cubicBezTo>
                <a:cubicBezTo>
                  <a:pt x="5128739" y="6971324"/>
                  <a:pt x="5128739" y="6993885"/>
                  <a:pt x="5106244" y="6993885"/>
                </a:cubicBezTo>
                <a:cubicBezTo>
                  <a:pt x="5061256" y="7016446"/>
                  <a:pt x="5286200" y="7084129"/>
                  <a:pt x="5308694" y="7129251"/>
                </a:cubicBezTo>
                <a:cubicBezTo>
                  <a:pt x="5218717" y="7084129"/>
                  <a:pt x="5151233" y="7039007"/>
                  <a:pt x="5061256" y="7016446"/>
                </a:cubicBezTo>
                <a:cubicBezTo>
                  <a:pt x="5016266" y="6993885"/>
                  <a:pt x="4948783" y="6971324"/>
                  <a:pt x="4903794" y="6948763"/>
                </a:cubicBezTo>
                <a:cubicBezTo>
                  <a:pt x="4813816" y="6903642"/>
                  <a:pt x="4723838" y="6858520"/>
                  <a:pt x="4656355" y="6835959"/>
                </a:cubicBezTo>
                <a:cubicBezTo>
                  <a:pt x="4633860" y="6835959"/>
                  <a:pt x="4633860" y="6835959"/>
                  <a:pt x="4633860" y="6813398"/>
                </a:cubicBezTo>
                <a:cubicBezTo>
                  <a:pt x="4588872" y="6813398"/>
                  <a:pt x="4543883" y="6790837"/>
                  <a:pt x="4521389" y="6790837"/>
                </a:cubicBezTo>
                <a:cubicBezTo>
                  <a:pt x="4498894" y="6768276"/>
                  <a:pt x="4453905" y="6745715"/>
                  <a:pt x="4408916" y="6723154"/>
                </a:cubicBezTo>
                <a:cubicBezTo>
                  <a:pt x="4318938" y="6700593"/>
                  <a:pt x="4273949" y="6700593"/>
                  <a:pt x="4273949" y="6655471"/>
                </a:cubicBezTo>
                <a:cubicBezTo>
                  <a:pt x="4273949" y="6655471"/>
                  <a:pt x="4206466" y="6610350"/>
                  <a:pt x="4116488" y="6587789"/>
                </a:cubicBezTo>
                <a:cubicBezTo>
                  <a:pt x="4116488" y="6610350"/>
                  <a:pt x="4138982" y="6610350"/>
                  <a:pt x="4093993" y="6610350"/>
                </a:cubicBezTo>
                <a:cubicBezTo>
                  <a:pt x="4093993" y="6610350"/>
                  <a:pt x="4071499" y="6610350"/>
                  <a:pt x="4071499" y="6610350"/>
                </a:cubicBezTo>
                <a:cubicBezTo>
                  <a:pt x="4071499" y="6632911"/>
                  <a:pt x="4161476" y="6655471"/>
                  <a:pt x="4161476" y="6678032"/>
                </a:cubicBezTo>
                <a:cubicBezTo>
                  <a:pt x="4228960" y="6700593"/>
                  <a:pt x="4183971" y="6700593"/>
                  <a:pt x="4183971" y="6723154"/>
                </a:cubicBezTo>
                <a:cubicBezTo>
                  <a:pt x="4228960" y="6723154"/>
                  <a:pt x="4251454" y="6700593"/>
                  <a:pt x="4296443" y="6745715"/>
                </a:cubicBezTo>
                <a:cubicBezTo>
                  <a:pt x="4341432" y="6768276"/>
                  <a:pt x="4431410" y="6813398"/>
                  <a:pt x="4498894" y="6835959"/>
                </a:cubicBezTo>
                <a:cubicBezTo>
                  <a:pt x="4566377" y="6858520"/>
                  <a:pt x="4566377" y="6881081"/>
                  <a:pt x="4588872" y="6903642"/>
                </a:cubicBezTo>
                <a:cubicBezTo>
                  <a:pt x="4701344" y="6948763"/>
                  <a:pt x="4588872" y="6971324"/>
                  <a:pt x="4746333" y="6993885"/>
                </a:cubicBezTo>
                <a:cubicBezTo>
                  <a:pt x="4746333" y="7016446"/>
                  <a:pt x="4813816" y="7039007"/>
                  <a:pt x="4858805" y="7061568"/>
                </a:cubicBezTo>
                <a:cubicBezTo>
                  <a:pt x="4971278" y="7106690"/>
                  <a:pt x="5083750" y="7151812"/>
                  <a:pt x="5151233" y="7219494"/>
                </a:cubicBezTo>
                <a:cubicBezTo>
                  <a:pt x="5151233" y="7219494"/>
                  <a:pt x="5128739" y="7219494"/>
                  <a:pt x="5128739" y="7219494"/>
                </a:cubicBezTo>
                <a:cubicBezTo>
                  <a:pt x="5083750" y="7196933"/>
                  <a:pt x="5061256" y="7174373"/>
                  <a:pt x="5038761" y="7174373"/>
                </a:cubicBezTo>
                <a:cubicBezTo>
                  <a:pt x="4971278" y="7174373"/>
                  <a:pt x="4926288" y="7151812"/>
                  <a:pt x="4903794" y="7129251"/>
                </a:cubicBezTo>
                <a:cubicBezTo>
                  <a:pt x="4813816" y="7084129"/>
                  <a:pt x="4678849" y="7016446"/>
                  <a:pt x="4588872" y="6971324"/>
                </a:cubicBezTo>
                <a:cubicBezTo>
                  <a:pt x="4588872" y="6971324"/>
                  <a:pt x="4566377" y="6971324"/>
                  <a:pt x="4543883" y="6948763"/>
                </a:cubicBezTo>
                <a:cubicBezTo>
                  <a:pt x="4498894" y="6903642"/>
                  <a:pt x="4386421" y="6835959"/>
                  <a:pt x="4273949" y="6790837"/>
                </a:cubicBezTo>
                <a:cubicBezTo>
                  <a:pt x="4183971" y="6745715"/>
                  <a:pt x="4071499" y="6700593"/>
                  <a:pt x="4004015" y="6655471"/>
                </a:cubicBezTo>
                <a:cubicBezTo>
                  <a:pt x="3959027" y="6610350"/>
                  <a:pt x="3846554" y="6565228"/>
                  <a:pt x="3801565" y="6542667"/>
                </a:cubicBezTo>
                <a:cubicBezTo>
                  <a:pt x="3801565" y="6542667"/>
                  <a:pt x="3779071" y="6520106"/>
                  <a:pt x="3779071" y="6520106"/>
                </a:cubicBezTo>
                <a:cubicBezTo>
                  <a:pt x="3689093" y="6497545"/>
                  <a:pt x="3644104" y="6474984"/>
                  <a:pt x="3599115" y="6452423"/>
                </a:cubicBezTo>
                <a:cubicBezTo>
                  <a:pt x="3419159" y="6339619"/>
                  <a:pt x="3216709" y="6249375"/>
                  <a:pt x="2991764" y="6159131"/>
                </a:cubicBezTo>
                <a:cubicBezTo>
                  <a:pt x="2991764" y="6181692"/>
                  <a:pt x="3081742" y="6226814"/>
                  <a:pt x="3126731" y="6249375"/>
                </a:cubicBezTo>
                <a:cubicBezTo>
                  <a:pt x="2991764" y="6204253"/>
                  <a:pt x="2924281" y="6159131"/>
                  <a:pt x="2811809" y="6114009"/>
                </a:cubicBezTo>
                <a:cubicBezTo>
                  <a:pt x="2789314" y="6091448"/>
                  <a:pt x="2744325" y="6068888"/>
                  <a:pt x="2721831" y="6068888"/>
                </a:cubicBezTo>
                <a:cubicBezTo>
                  <a:pt x="2631853" y="6068888"/>
                  <a:pt x="2631853" y="6046327"/>
                  <a:pt x="2609359" y="6046327"/>
                </a:cubicBezTo>
                <a:cubicBezTo>
                  <a:pt x="2564370" y="6023766"/>
                  <a:pt x="2519381" y="6001205"/>
                  <a:pt x="2519381" y="5978644"/>
                </a:cubicBezTo>
                <a:cubicBezTo>
                  <a:pt x="2204458" y="5843278"/>
                  <a:pt x="1957019" y="5685352"/>
                  <a:pt x="1664591" y="5549986"/>
                </a:cubicBezTo>
                <a:cubicBezTo>
                  <a:pt x="1642096" y="5549986"/>
                  <a:pt x="1619602" y="5549986"/>
                  <a:pt x="1597107" y="5549986"/>
                </a:cubicBezTo>
                <a:cubicBezTo>
                  <a:pt x="1597107" y="5549986"/>
                  <a:pt x="1574613" y="5549986"/>
                  <a:pt x="1552119" y="5527425"/>
                </a:cubicBezTo>
                <a:cubicBezTo>
                  <a:pt x="1484635" y="5504865"/>
                  <a:pt x="1417152" y="5459743"/>
                  <a:pt x="1349668" y="5437182"/>
                </a:cubicBezTo>
                <a:cubicBezTo>
                  <a:pt x="1327174" y="5414621"/>
                  <a:pt x="1304679" y="5414621"/>
                  <a:pt x="1282185" y="5414621"/>
                </a:cubicBezTo>
                <a:cubicBezTo>
                  <a:pt x="1102229" y="5324377"/>
                  <a:pt x="922273" y="5256694"/>
                  <a:pt x="742318" y="5166451"/>
                </a:cubicBezTo>
                <a:cubicBezTo>
                  <a:pt x="742318" y="5166451"/>
                  <a:pt x="742318" y="5166451"/>
                  <a:pt x="629845" y="5166451"/>
                </a:cubicBezTo>
                <a:cubicBezTo>
                  <a:pt x="697329" y="5189012"/>
                  <a:pt x="742318" y="5234134"/>
                  <a:pt x="787307" y="5256694"/>
                </a:cubicBezTo>
                <a:cubicBezTo>
                  <a:pt x="854790" y="5256694"/>
                  <a:pt x="877284" y="5279255"/>
                  <a:pt x="922273" y="5301816"/>
                </a:cubicBezTo>
                <a:cubicBezTo>
                  <a:pt x="922273" y="5301816"/>
                  <a:pt x="922273" y="5324377"/>
                  <a:pt x="922273" y="5324377"/>
                </a:cubicBezTo>
                <a:cubicBezTo>
                  <a:pt x="967262" y="5346938"/>
                  <a:pt x="989757" y="5346938"/>
                  <a:pt x="1034746" y="5346938"/>
                </a:cubicBezTo>
                <a:cubicBezTo>
                  <a:pt x="1057240" y="5369499"/>
                  <a:pt x="1079735" y="5392060"/>
                  <a:pt x="1124724" y="5392060"/>
                </a:cubicBezTo>
                <a:cubicBezTo>
                  <a:pt x="1124724" y="5414621"/>
                  <a:pt x="1147218" y="5414621"/>
                  <a:pt x="1147218" y="5414621"/>
                </a:cubicBezTo>
                <a:cubicBezTo>
                  <a:pt x="1192207" y="5437182"/>
                  <a:pt x="1237196" y="5459743"/>
                  <a:pt x="1237196" y="5459743"/>
                </a:cubicBezTo>
                <a:cubicBezTo>
                  <a:pt x="1214701" y="5459743"/>
                  <a:pt x="1192207" y="5459743"/>
                  <a:pt x="1192207" y="5459743"/>
                </a:cubicBezTo>
                <a:cubicBezTo>
                  <a:pt x="1147218" y="5437182"/>
                  <a:pt x="1124724" y="5414621"/>
                  <a:pt x="1079735" y="5414621"/>
                </a:cubicBezTo>
                <a:cubicBezTo>
                  <a:pt x="1102229" y="5414621"/>
                  <a:pt x="1147218" y="5437182"/>
                  <a:pt x="1169713" y="5459743"/>
                </a:cubicBezTo>
                <a:cubicBezTo>
                  <a:pt x="1214701" y="5482304"/>
                  <a:pt x="1259690" y="5504865"/>
                  <a:pt x="1304679" y="5527425"/>
                </a:cubicBezTo>
                <a:cubicBezTo>
                  <a:pt x="1355292" y="5561267"/>
                  <a:pt x="1418558" y="5582418"/>
                  <a:pt x="1475497" y="5609914"/>
                </a:cubicBezTo>
                <a:lnTo>
                  <a:pt x="1529620" y="5640228"/>
                </a:lnTo>
                <a:lnTo>
                  <a:pt x="1439646" y="5595108"/>
                </a:lnTo>
                <a:cubicBezTo>
                  <a:pt x="1439646" y="5595108"/>
                  <a:pt x="1417152" y="5595108"/>
                  <a:pt x="1417152" y="5617669"/>
                </a:cubicBezTo>
                <a:cubicBezTo>
                  <a:pt x="1462141" y="5617669"/>
                  <a:pt x="1484635" y="5640230"/>
                  <a:pt x="1507129" y="5662791"/>
                </a:cubicBezTo>
                <a:cubicBezTo>
                  <a:pt x="1507129" y="5685352"/>
                  <a:pt x="1552119" y="5685352"/>
                  <a:pt x="1574613" y="5707913"/>
                </a:cubicBezTo>
                <a:cubicBezTo>
                  <a:pt x="1597107" y="5707913"/>
                  <a:pt x="1642096" y="5730474"/>
                  <a:pt x="1642096" y="5730474"/>
                </a:cubicBezTo>
                <a:cubicBezTo>
                  <a:pt x="1642096" y="5730474"/>
                  <a:pt x="1619602" y="5730474"/>
                  <a:pt x="1597107" y="5730474"/>
                </a:cubicBezTo>
                <a:cubicBezTo>
                  <a:pt x="1574613" y="5730474"/>
                  <a:pt x="1664591" y="5753035"/>
                  <a:pt x="1619602" y="5753035"/>
                </a:cubicBezTo>
                <a:cubicBezTo>
                  <a:pt x="1619602" y="5775596"/>
                  <a:pt x="1664591" y="5775596"/>
                  <a:pt x="1687085" y="5798156"/>
                </a:cubicBezTo>
                <a:cubicBezTo>
                  <a:pt x="1687085" y="5798156"/>
                  <a:pt x="1709580" y="5820717"/>
                  <a:pt x="1732074" y="5820717"/>
                </a:cubicBezTo>
                <a:cubicBezTo>
                  <a:pt x="1732074" y="5843278"/>
                  <a:pt x="1799558" y="5865839"/>
                  <a:pt x="1822052" y="5888400"/>
                </a:cubicBezTo>
                <a:cubicBezTo>
                  <a:pt x="1777063" y="5865839"/>
                  <a:pt x="1754569" y="5843278"/>
                  <a:pt x="1709580" y="5820717"/>
                </a:cubicBezTo>
                <a:cubicBezTo>
                  <a:pt x="1642096" y="5820717"/>
                  <a:pt x="1619602" y="5798156"/>
                  <a:pt x="1574613" y="5775596"/>
                </a:cubicBezTo>
                <a:cubicBezTo>
                  <a:pt x="1282185" y="5617669"/>
                  <a:pt x="944768" y="5482304"/>
                  <a:pt x="629845" y="5324377"/>
                </a:cubicBezTo>
                <a:cubicBezTo>
                  <a:pt x="517373" y="5279255"/>
                  <a:pt x="404901" y="5211573"/>
                  <a:pt x="292428" y="5166451"/>
                </a:cubicBezTo>
                <a:cubicBezTo>
                  <a:pt x="292428" y="5166451"/>
                  <a:pt x="292428" y="5166451"/>
                  <a:pt x="0" y="5166451"/>
                </a:cubicBezTo>
                <a:lnTo>
                  <a:pt x="0" y="5164336"/>
                </a:lnTo>
                <a:lnTo>
                  <a:pt x="0" y="5149530"/>
                </a:lnTo>
                <a:lnTo>
                  <a:pt x="0" y="5133403"/>
                </a:lnTo>
                <a:lnTo>
                  <a:pt x="0" y="5109343"/>
                </a:lnTo>
                <a:lnTo>
                  <a:pt x="0" y="5075766"/>
                </a:lnTo>
                <a:lnTo>
                  <a:pt x="0" y="5031085"/>
                </a:lnTo>
                <a:lnTo>
                  <a:pt x="0" y="5030028"/>
                </a:lnTo>
                <a:lnTo>
                  <a:pt x="0" y="5022625"/>
                </a:lnTo>
                <a:lnTo>
                  <a:pt x="0" y="5002532"/>
                </a:lnTo>
                <a:lnTo>
                  <a:pt x="0" y="4963402"/>
                </a:lnTo>
                <a:cubicBezTo>
                  <a:pt x="22495" y="4963402"/>
                  <a:pt x="44989" y="4985963"/>
                  <a:pt x="67484" y="4985963"/>
                </a:cubicBezTo>
                <a:cubicBezTo>
                  <a:pt x="44989" y="4963402"/>
                  <a:pt x="22495" y="4963402"/>
                  <a:pt x="0" y="4963402"/>
                </a:cubicBezTo>
                <a:lnTo>
                  <a:pt x="0" y="4961331"/>
                </a:lnTo>
                <a:lnTo>
                  <a:pt x="0" y="4946834"/>
                </a:lnTo>
                <a:lnTo>
                  <a:pt x="0" y="4931043"/>
                </a:lnTo>
                <a:lnTo>
                  <a:pt x="0" y="4907485"/>
                </a:lnTo>
                <a:lnTo>
                  <a:pt x="0" y="4874607"/>
                </a:lnTo>
                <a:lnTo>
                  <a:pt x="0" y="4830857"/>
                </a:lnTo>
                <a:lnTo>
                  <a:pt x="0" y="4774680"/>
                </a:lnTo>
                <a:lnTo>
                  <a:pt x="0" y="4704524"/>
                </a:lnTo>
                <a:lnTo>
                  <a:pt x="0" y="4618836"/>
                </a:lnTo>
                <a:lnTo>
                  <a:pt x="0" y="4516062"/>
                </a:lnTo>
                <a:lnTo>
                  <a:pt x="0" y="4394648"/>
                </a:lnTo>
                <a:lnTo>
                  <a:pt x="0" y="4253042"/>
                </a:lnTo>
                <a:lnTo>
                  <a:pt x="0" y="4089690"/>
                </a:lnTo>
                <a:lnTo>
                  <a:pt x="0" y="3903039"/>
                </a:lnTo>
                <a:lnTo>
                  <a:pt x="0" y="3898104"/>
                </a:lnTo>
                <a:lnTo>
                  <a:pt x="0" y="3886383"/>
                </a:lnTo>
                <a:lnTo>
                  <a:pt x="0" y="3863558"/>
                </a:lnTo>
                <a:lnTo>
                  <a:pt x="0" y="3825927"/>
                </a:lnTo>
                <a:lnTo>
                  <a:pt x="0" y="3769789"/>
                </a:lnTo>
                <a:lnTo>
                  <a:pt x="0" y="3691443"/>
                </a:lnTo>
                <a:lnTo>
                  <a:pt x="0" y="3587187"/>
                </a:lnTo>
                <a:lnTo>
                  <a:pt x="0" y="3584366"/>
                </a:lnTo>
                <a:lnTo>
                  <a:pt x="0" y="3577669"/>
                </a:lnTo>
                <a:lnTo>
                  <a:pt x="0" y="3564625"/>
                </a:lnTo>
                <a:lnTo>
                  <a:pt x="0" y="3563259"/>
                </a:lnTo>
                <a:lnTo>
                  <a:pt x="0" y="3553697"/>
                </a:lnTo>
                <a:lnTo>
                  <a:pt x="0" y="3527744"/>
                </a:lnTo>
                <a:lnTo>
                  <a:pt x="0" y="3506058"/>
                </a:lnTo>
                <a:lnTo>
                  <a:pt x="0" y="3477202"/>
                </a:lnTo>
                <a:lnTo>
                  <a:pt x="0" y="3440149"/>
                </a:lnTo>
                <a:lnTo>
                  <a:pt x="0" y="3393876"/>
                </a:lnTo>
                <a:lnTo>
                  <a:pt x="0" y="3337358"/>
                </a:lnTo>
                <a:lnTo>
                  <a:pt x="0" y="3269571"/>
                </a:lnTo>
                <a:lnTo>
                  <a:pt x="0" y="3189490"/>
                </a:lnTo>
                <a:lnTo>
                  <a:pt x="0" y="3096090"/>
                </a:lnTo>
                <a:lnTo>
                  <a:pt x="0" y="2988347"/>
                </a:lnTo>
                <a:lnTo>
                  <a:pt x="0" y="2865237"/>
                </a:lnTo>
                <a:lnTo>
                  <a:pt x="0" y="2862417"/>
                </a:lnTo>
                <a:lnTo>
                  <a:pt x="0" y="2855719"/>
                </a:lnTo>
                <a:lnTo>
                  <a:pt x="0" y="2842676"/>
                </a:lnTo>
                <a:lnTo>
                  <a:pt x="0" y="2841883"/>
                </a:lnTo>
                <a:lnTo>
                  <a:pt x="0" y="2836331"/>
                </a:lnTo>
                <a:lnTo>
                  <a:pt x="0" y="2821261"/>
                </a:lnTo>
                <a:lnTo>
                  <a:pt x="0" y="2791914"/>
                </a:lnTo>
                <a:lnTo>
                  <a:pt x="0" y="2743531"/>
                </a:lnTo>
                <a:lnTo>
                  <a:pt x="0" y="2671354"/>
                </a:lnTo>
                <a:lnTo>
                  <a:pt x="0" y="2624855"/>
                </a:lnTo>
                <a:lnTo>
                  <a:pt x="0" y="2570623"/>
                </a:lnTo>
                <a:lnTo>
                  <a:pt x="0" y="2508063"/>
                </a:lnTo>
                <a:lnTo>
                  <a:pt x="0" y="2459141"/>
                </a:lnTo>
                <a:cubicBezTo>
                  <a:pt x="22495" y="2459141"/>
                  <a:pt x="22495" y="2459141"/>
                  <a:pt x="44989" y="2459141"/>
                </a:cubicBezTo>
                <a:cubicBezTo>
                  <a:pt x="22495" y="2436580"/>
                  <a:pt x="22495" y="2436580"/>
                  <a:pt x="22495" y="2414019"/>
                </a:cubicBezTo>
                <a:cubicBezTo>
                  <a:pt x="0" y="2414019"/>
                  <a:pt x="0" y="2414019"/>
                  <a:pt x="0" y="2414019"/>
                </a:cubicBezTo>
                <a:lnTo>
                  <a:pt x="0" y="2413181"/>
                </a:lnTo>
                <a:lnTo>
                  <a:pt x="0" y="2407321"/>
                </a:lnTo>
                <a:lnTo>
                  <a:pt x="0" y="2391414"/>
                </a:lnTo>
                <a:lnTo>
                  <a:pt x="0" y="2360436"/>
                </a:lnTo>
                <a:lnTo>
                  <a:pt x="0" y="2309366"/>
                </a:lnTo>
                <a:lnTo>
                  <a:pt x="0" y="2274726"/>
                </a:lnTo>
                <a:lnTo>
                  <a:pt x="0" y="2233179"/>
                </a:lnTo>
                <a:lnTo>
                  <a:pt x="0" y="2184097"/>
                </a:lnTo>
                <a:lnTo>
                  <a:pt x="0" y="2126852"/>
                </a:lnTo>
                <a:lnTo>
                  <a:pt x="0" y="2060816"/>
                </a:lnTo>
                <a:lnTo>
                  <a:pt x="0" y="1985361"/>
                </a:lnTo>
                <a:cubicBezTo>
                  <a:pt x="44989" y="1985361"/>
                  <a:pt x="89978" y="1985361"/>
                  <a:pt x="134967" y="1985361"/>
                </a:cubicBezTo>
                <a:cubicBezTo>
                  <a:pt x="112472" y="1985361"/>
                  <a:pt x="89978" y="1962800"/>
                  <a:pt x="89978" y="1962800"/>
                </a:cubicBezTo>
                <a:cubicBezTo>
                  <a:pt x="67484" y="1940239"/>
                  <a:pt x="44989" y="1940239"/>
                  <a:pt x="22495" y="1917678"/>
                </a:cubicBezTo>
                <a:cubicBezTo>
                  <a:pt x="22495" y="1917678"/>
                  <a:pt x="0" y="1895117"/>
                  <a:pt x="0" y="1895117"/>
                </a:cubicBezTo>
                <a:lnTo>
                  <a:pt x="0" y="1892782"/>
                </a:lnTo>
                <a:lnTo>
                  <a:pt x="0" y="1876434"/>
                </a:lnTo>
                <a:lnTo>
                  <a:pt x="0" y="1858627"/>
                </a:lnTo>
                <a:lnTo>
                  <a:pt x="0" y="1832061"/>
                </a:lnTo>
                <a:lnTo>
                  <a:pt x="0" y="1794987"/>
                </a:lnTo>
                <a:lnTo>
                  <a:pt x="0" y="1745651"/>
                </a:lnTo>
                <a:lnTo>
                  <a:pt x="0" y="1682303"/>
                </a:lnTo>
                <a:lnTo>
                  <a:pt x="0" y="1603192"/>
                </a:lnTo>
                <a:lnTo>
                  <a:pt x="0" y="1506564"/>
                </a:lnTo>
                <a:lnTo>
                  <a:pt x="0" y="1390669"/>
                </a:lnTo>
                <a:lnTo>
                  <a:pt x="0" y="1253756"/>
                </a:lnTo>
                <a:lnTo>
                  <a:pt x="0" y="1094073"/>
                </a:lnTo>
                <a:lnTo>
                  <a:pt x="0" y="909867"/>
                </a:lnTo>
                <a:lnTo>
                  <a:pt x="0" y="699389"/>
                </a:lnTo>
                <a:cubicBezTo>
                  <a:pt x="134967" y="767071"/>
                  <a:pt x="269934" y="834754"/>
                  <a:pt x="382406" y="902437"/>
                </a:cubicBezTo>
                <a:cubicBezTo>
                  <a:pt x="562362" y="1015242"/>
                  <a:pt x="764812" y="1128046"/>
                  <a:pt x="944768" y="1218290"/>
                </a:cubicBezTo>
                <a:cubicBezTo>
                  <a:pt x="967262" y="1240851"/>
                  <a:pt x="967262" y="1240851"/>
                  <a:pt x="989757" y="1240851"/>
                </a:cubicBezTo>
                <a:cubicBezTo>
                  <a:pt x="787307" y="1105485"/>
                  <a:pt x="629845" y="992681"/>
                  <a:pt x="494878" y="857315"/>
                </a:cubicBezTo>
                <a:cubicBezTo>
                  <a:pt x="494878" y="857315"/>
                  <a:pt x="494878" y="857315"/>
                  <a:pt x="472384" y="834754"/>
                </a:cubicBezTo>
                <a:cubicBezTo>
                  <a:pt x="427395" y="812193"/>
                  <a:pt x="427395" y="789632"/>
                  <a:pt x="472384" y="789632"/>
                </a:cubicBezTo>
                <a:cubicBezTo>
                  <a:pt x="517373" y="812193"/>
                  <a:pt x="539867" y="834754"/>
                  <a:pt x="539867" y="857315"/>
                </a:cubicBezTo>
                <a:cubicBezTo>
                  <a:pt x="652340" y="902437"/>
                  <a:pt x="742318" y="924998"/>
                  <a:pt x="854790" y="970120"/>
                </a:cubicBezTo>
                <a:cubicBezTo>
                  <a:pt x="764812" y="902437"/>
                  <a:pt x="652340" y="857315"/>
                  <a:pt x="562362" y="812193"/>
                </a:cubicBezTo>
                <a:cubicBezTo>
                  <a:pt x="472384" y="767071"/>
                  <a:pt x="427395" y="744510"/>
                  <a:pt x="404901" y="699389"/>
                </a:cubicBezTo>
                <a:cubicBezTo>
                  <a:pt x="472384" y="744510"/>
                  <a:pt x="652340" y="789632"/>
                  <a:pt x="652340" y="834754"/>
                </a:cubicBezTo>
                <a:cubicBezTo>
                  <a:pt x="674834" y="834754"/>
                  <a:pt x="697329" y="857315"/>
                  <a:pt x="719823" y="857315"/>
                </a:cubicBezTo>
                <a:cubicBezTo>
                  <a:pt x="787307" y="834754"/>
                  <a:pt x="562362" y="767071"/>
                  <a:pt x="562362" y="721950"/>
                </a:cubicBezTo>
                <a:cubicBezTo>
                  <a:pt x="562362" y="699389"/>
                  <a:pt x="449890" y="676828"/>
                  <a:pt x="427395" y="654267"/>
                </a:cubicBezTo>
                <a:cubicBezTo>
                  <a:pt x="584856" y="699389"/>
                  <a:pt x="607351" y="744510"/>
                  <a:pt x="742318" y="789632"/>
                </a:cubicBezTo>
                <a:cubicBezTo>
                  <a:pt x="787307" y="789632"/>
                  <a:pt x="809801" y="812193"/>
                  <a:pt x="877284" y="812193"/>
                </a:cubicBezTo>
                <a:cubicBezTo>
                  <a:pt x="899779" y="812193"/>
                  <a:pt x="809801" y="767071"/>
                  <a:pt x="899779" y="789632"/>
                </a:cubicBezTo>
                <a:cubicBezTo>
                  <a:pt x="922273" y="767071"/>
                  <a:pt x="832295" y="744510"/>
                  <a:pt x="809801" y="721950"/>
                </a:cubicBezTo>
                <a:cubicBezTo>
                  <a:pt x="719823" y="676828"/>
                  <a:pt x="629845" y="631706"/>
                  <a:pt x="539867" y="586584"/>
                </a:cubicBezTo>
                <a:cubicBezTo>
                  <a:pt x="494878" y="564023"/>
                  <a:pt x="494878" y="541462"/>
                  <a:pt x="607351" y="564023"/>
                </a:cubicBezTo>
                <a:cubicBezTo>
                  <a:pt x="629845" y="564023"/>
                  <a:pt x="562362" y="518901"/>
                  <a:pt x="629845" y="541462"/>
                </a:cubicBezTo>
                <a:cubicBezTo>
                  <a:pt x="719823" y="541462"/>
                  <a:pt x="742318" y="586584"/>
                  <a:pt x="787307" y="609145"/>
                </a:cubicBezTo>
                <a:cubicBezTo>
                  <a:pt x="742318" y="609145"/>
                  <a:pt x="697329" y="564023"/>
                  <a:pt x="652340" y="586584"/>
                </a:cubicBezTo>
                <a:cubicBezTo>
                  <a:pt x="697329" y="631706"/>
                  <a:pt x="787307" y="676828"/>
                  <a:pt x="877284" y="721950"/>
                </a:cubicBezTo>
                <a:cubicBezTo>
                  <a:pt x="922273" y="744510"/>
                  <a:pt x="944768" y="744510"/>
                  <a:pt x="967262" y="744510"/>
                </a:cubicBezTo>
                <a:cubicBezTo>
                  <a:pt x="967262" y="699389"/>
                  <a:pt x="1124724" y="721950"/>
                  <a:pt x="1034746" y="676828"/>
                </a:cubicBezTo>
                <a:cubicBezTo>
                  <a:pt x="922273" y="631706"/>
                  <a:pt x="832295" y="564023"/>
                  <a:pt x="787307" y="518901"/>
                </a:cubicBezTo>
                <a:cubicBezTo>
                  <a:pt x="697329" y="496340"/>
                  <a:pt x="629845" y="473779"/>
                  <a:pt x="584856" y="451218"/>
                </a:cubicBezTo>
                <a:cubicBezTo>
                  <a:pt x="562362" y="428658"/>
                  <a:pt x="517373" y="406097"/>
                  <a:pt x="562362" y="406097"/>
                </a:cubicBezTo>
                <a:cubicBezTo>
                  <a:pt x="607351" y="428658"/>
                  <a:pt x="629845" y="428658"/>
                  <a:pt x="652340" y="451218"/>
                </a:cubicBezTo>
                <a:cubicBezTo>
                  <a:pt x="652340" y="428658"/>
                  <a:pt x="584856" y="406097"/>
                  <a:pt x="584856" y="383536"/>
                </a:cubicBezTo>
                <a:cubicBezTo>
                  <a:pt x="562362" y="383536"/>
                  <a:pt x="539867" y="360975"/>
                  <a:pt x="517373" y="360975"/>
                </a:cubicBezTo>
                <a:cubicBezTo>
                  <a:pt x="472384" y="338414"/>
                  <a:pt x="449890" y="315853"/>
                  <a:pt x="427395" y="293292"/>
                </a:cubicBezTo>
                <a:cubicBezTo>
                  <a:pt x="494878" y="315853"/>
                  <a:pt x="539867" y="338414"/>
                  <a:pt x="584856" y="360975"/>
                </a:cubicBezTo>
                <a:cubicBezTo>
                  <a:pt x="629845" y="383536"/>
                  <a:pt x="629845" y="383536"/>
                  <a:pt x="629845" y="406097"/>
                </a:cubicBezTo>
                <a:cubicBezTo>
                  <a:pt x="764812" y="473779"/>
                  <a:pt x="944768" y="564023"/>
                  <a:pt x="1147218" y="654267"/>
                </a:cubicBezTo>
                <a:cubicBezTo>
                  <a:pt x="1147218" y="631706"/>
                  <a:pt x="1057240" y="609145"/>
                  <a:pt x="1034746" y="586584"/>
                </a:cubicBezTo>
                <a:cubicBezTo>
                  <a:pt x="922273" y="518901"/>
                  <a:pt x="944768" y="496340"/>
                  <a:pt x="809801" y="428658"/>
                </a:cubicBezTo>
                <a:cubicBezTo>
                  <a:pt x="787307" y="428658"/>
                  <a:pt x="742318" y="428658"/>
                  <a:pt x="719823" y="406097"/>
                </a:cubicBezTo>
                <a:lnTo>
                  <a:pt x="742318" y="406097"/>
                </a:lnTo>
                <a:cubicBezTo>
                  <a:pt x="742318" y="383536"/>
                  <a:pt x="697329" y="360975"/>
                  <a:pt x="674834" y="338414"/>
                </a:cubicBezTo>
                <a:cubicBezTo>
                  <a:pt x="629845" y="315853"/>
                  <a:pt x="562362" y="293292"/>
                  <a:pt x="562362" y="270731"/>
                </a:cubicBezTo>
                <a:cubicBezTo>
                  <a:pt x="494878" y="248170"/>
                  <a:pt x="472384" y="203048"/>
                  <a:pt x="404901" y="180488"/>
                </a:cubicBezTo>
                <a:cubicBezTo>
                  <a:pt x="382406" y="180488"/>
                  <a:pt x="382406" y="157927"/>
                  <a:pt x="382406" y="157927"/>
                </a:cubicBezTo>
                <a:cubicBezTo>
                  <a:pt x="359912" y="135366"/>
                  <a:pt x="292428" y="112805"/>
                  <a:pt x="314923" y="112805"/>
                </a:cubicBezTo>
                <a:cubicBezTo>
                  <a:pt x="269934" y="90244"/>
                  <a:pt x="247439" y="67683"/>
                  <a:pt x="224945" y="67683"/>
                </a:cubicBezTo>
                <a:cubicBezTo>
                  <a:pt x="157462" y="22561"/>
                  <a:pt x="112472" y="0"/>
                  <a:pt x="112472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43102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443203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0F5EE7F-3DBB-469C-8B64-5324DB38E2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802500-2DCA-4720-8360-6E74C26DD0EA}" type="datetimeFigureOut">
              <a:rPr lang="en-US" smtClean="0"/>
              <a:t>11/15/2018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0489D70-E202-4768-9202-B93B4CC2DA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B20AB1-86F0-4A4D-AB07-3A153ECF46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672E3D-61E0-450A-AD62-EE98E48601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47860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AB1366-174D-45EC-BD88-F980D865B4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50D19A8-AEB8-482D-8F13-BD953F276B7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1814B90-F6E9-4D26-BF69-ADB349AE3A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802500-2DCA-4720-8360-6E74C26DD0EA}" type="datetimeFigureOut">
              <a:rPr lang="en-US" smtClean="0"/>
              <a:t>11/15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4A9DAD-013C-4027-AC7F-A2AAAA2B58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96D2A19-F4FC-464C-A55F-C1F1EC14C8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672E3D-61E0-450A-AD62-EE98E48601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26137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84B51A6-CF08-477F-B9A7-C4302E1DC0A3}" type="datetime1">
              <a:rPr lang="en-US" smtClean="0"/>
              <a:t>11/15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3206E70-9524-410D-AE9B-78D656EAA1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4433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61" r:id="rId2"/>
    <p:sldLayoutId id="2147483657" r:id="rId3"/>
    <p:sldLayoutId id="2147483659" r:id="rId4"/>
    <p:sldLayoutId id="2147483658" r:id="rId5"/>
    <p:sldLayoutId id="2147483656" r:id="rId6"/>
    <p:sldLayoutId id="2147483660" r:id="rId7"/>
    <p:sldLayoutId id="2147483662" r:id="rId8"/>
    <p:sldLayoutId id="2147483663" r:id="rId9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8.jpeg"/><Relationship Id="rId4" Type="http://schemas.openxmlformats.org/officeDocument/2006/relationships/image" Target="../media/image27.jpe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7" Type="http://schemas.openxmlformats.org/officeDocument/2006/relationships/image" Target="../media/image7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6.png"/><Relationship Id="rId5" Type="http://schemas.openxmlformats.org/officeDocument/2006/relationships/image" Target="../media/image5.jpg"/><Relationship Id="rId4" Type="http://schemas.openxmlformats.org/officeDocument/2006/relationships/image" Target="../media/image4.jpe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slideLayout" Target="../slideLayouts/slideLayout3.xml"/><Relationship Id="rId4" Type="http://schemas.openxmlformats.org/officeDocument/2006/relationships/tags" Target="../tags/tag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3.jpeg"/><Relationship Id="rId5" Type="http://schemas.openxmlformats.org/officeDocument/2006/relationships/image" Target="../media/image32.jpg"/><Relationship Id="rId4" Type="http://schemas.openxmlformats.org/officeDocument/2006/relationships/image" Target="../media/image31.jp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notesSlide" Target="../notesSlides/notesSlide16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slideLayout" Target="../slideLayouts/slideLayout3.xml"/><Relationship Id="rId5" Type="http://schemas.openxmlformats.org/officeDocument/2006/relationships/tags" Target="../tags/tag9.xml"/><Relationship Id="rId4" Type="http://schemas.openxmlformats.org/officeDocument/2006/relationships/tags" Target="../tags/tag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0.pn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jpeg"/><Relationship Id="rId3" Type="http://schemas.openxmlformats.org/officeDocument/2006/relationships/image" Target="../media/image35.jpeg"/><Relationship Id="rId7" Type="http://schemas.openxmlformats.org/officeDocument/2006/relationships/image" Target="../media/image39.jpeg"/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8.jpeg"/><Relationship Id="rId5" Type="http://schemas.openxmlformats.org/officeDocument/2006/relationships/image" Target="../media/image37.jpeg"/><Relationship Id="rId4" Type="http://schemas.openxmlformats.org/officeDocument/2006/relationships/image" Target="../media/image36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13" Type="http://schemas.microsoft.com/office/2007/relationships/hdphoto" Target="../media/hdphoto2.wdp"/><Relationship Id="rId3" Type="http://schemas.openxmlformats.org/officeDocument/2006/relationships/image" Target="../media/image11.png"/><Relationship Id="rId7" Type="http://schemas.openxmlformats.org/officeDocument/2006/relationships/image" Target="../media/image15.jpeg"/><Relationship Id="rId12" Type="http://schemas.openxmlformats.org/officeDocument/2006/relationships/image" Target="../media/image20.png"/><Relationship Id="rId17" Type="http://schemas.openxmlformats.org/officeDocument/2006/relationships/image" Target="../media/image24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23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4.emf"/><Relationship Id="rId11" Type="http://schemas.openxmlformats.org/officeDocument/2006/relationships/image" Target="../media/image19.emf"/><Relationship Id="rId5" Type="http://schemas.openxmlformats.org/officeDocument/2006/relationships/image" Target="../media/image13.emf"/><Relationship Id="rId15" Type="http://schemas.openxmlformats.org/officeDocument/2006/relationships/image" Target="../media/image22.png"/><Relationship Id="rId10" Type="http://schemas.openxmlformats.org/officeDocument/2006/relationships/image" Target="../media/image18.png"/><Relationship Id="rId4" Type="http://schemas.openxmlformats.org/officeDocument/2006/relationships/image" Target="../media/image12.png"/><Relationship Id="rId9" Type="http://schemas.openxmlformats.org/officeDocument/2006/relationships/image" Target="../media/image17.png"/><Relationship Id="rId14" Type="http://schemas.openxmlformats.org/officeDocument/2006/relationships/image" Target="../media/image21.tiff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50000"/>
            <a:lumOff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9"/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76" b="176"/>
          <a:stretch>
            <a:fillRect/>
          </a:stretch>
        </p:blipFill>
        <p:spPr/>
      </p:pic>
      <p:sp>
        <p:nvSpPr>
          <p:cNvPr id="11" name="Freeform 10"/>
          <p:cNvSpPr>
            <a:spLocks/>
          </p:cNvSpPr>
          <p:nvPr/>
        </p:nvSpPr>
        <p:spPr bwMode="auto">
          <a:xfrm>
            <a:off x="0" y="-639708"/>
            <a:ext cx="12192001" cy="8099370"/>
          </a:xfrm>
          <a:custGeom>
            <a:avLst/>
            <a:gdLst>
              <a:gd name="T0" fmla="*/ 471 w 542"/>
              <a:gd name="T1" fmla="*/ 110 h 359"/>
              <a:gd name="T2" fmla="*/ 494 w 542"/>
              <a:gd name="T3" fmla="*/ 124 h 359"/>
              <a:gd name="T4" fmla="*/ 473 w 542"/>
              <a:gd name="T5" fmla="*/ 118 h 359"/>
              <a:gd name="T6" fmla="*/ 352 w 542"/>
              <a:gd name="T7" fmla="*/ 60 h 359"/>
              <a:gd name="T8" fmla="*/ 361 w 542"/>
              <a:gd name="T9" fmla="*/ 68 h 359"/>
              <a:gd name="T10" fmla="*/ 315 w 542"/>
              <a:gd name="T11" fmla="*/ 52 h 359"/>
              <a:gd name="T12" fmla="*/ 341 w 542"/>
              <a:gd name="T13" fmla="*/ 68 h 359"/>
              <a:gd name="T14" fmla="*/ 369 w 542"/>
              <a:gd name="T15" fmla="*/ 86 h 359"/>
              <a:gd name="T16" fmla="*/ 325 w 542"/>
              <a:gd name="T17" fmla="*/ 66 h 359"/>
              <a:gd name="T18" fmla="*/ 304 w 542"/>
              <a:gd name="T19" fmla="*/ 63 h 359"/>
              <a:gd name="T20" fmla="*/ 254 w 542"/>
              <a:gd name="T21" fmla="*/ 49 h 359"/>
              <a:gd name="T22" fmla="*/ 302 w 542"/>
              <a:gd name="T23" fmla="*/ 75 h 359"/>
              <a:gd name="T24" fmla="*/ 245 w 542"/>
              <a:gd name="T25" fmla="*/ 49 h 359"/>
              <a:gd name="T26" fmla="*/ 240 w 542"/>
              <a:gd name="T27" fmla="*/ 54 h 359"/>
              <a:gd name="T28" fmla="*/ 217 w 542"/>
              <a:gd name="T29" fmla="*/ 54 h 359"/>
              <a:gd name="T30" fmla="*/ 215 w 542"/>
              <a:gd name="T31" fmla="*/ 65 h 359"/>
              <a:gd name="T32" fmla="*/ 211 w 542"/>
              <a:gd name="T33" fmla="*/ 69 h 359"/>
              <a:gd name="T34" fmla="*/ 270 w 542"/>
              <a:gd name="T35" fmla="*/ 101 h 359"/>
              <a:gd name="T36" fmla="*/ 242 w 542"/>
              <a:gd name="T37" fmla="*/ 92 h 359"/>
              <a:gd name="T38" fmla="*/ 149 w 542"/>
              <a:gd name="T39" fmla="*/ 52 h 359"/>
              <a:gd name="T40" fmla="*/ 101 w 542"/>
              <a:gd name="T41" fmla="*/ 27 h 359"/>
              <a:gd name="T42" fmla="*/ 123 w 542"/>
              <a:gd name="T43" fmla="*/ 42 h 359"/>
              <a:gd name="T44" fmla="*/ 159 w 542"/>
              <a:gd name="T45" fmla="*/ 62 h 359"/>
              <a:gd name="T46" fmla="*/ 118 w 542"/>
              <a:gd name="T47" fmla="*/ 46 h 359"/>
              <a:gd name="T48" fmla="*/ 108 w 542"/>
              <a:gd name="T49" fmla="*/ 52 h 359"/>
              <a:gd name="T50" fmla="*/ 14 w 542"/>
              <a:gd name="T51" fmla="*/ 2 h 359"/>
              <a:gd name="T52" fmla="*/ 36 w 542"/>
              <a:gd name="T53" fmla="*/ 19 h 359"/>
              <a:gd name="T54" fmla="*/ 35 w 542"/>
              <a:gd name="T55" fmla="*/ 27 h 359"/>
              <a:gd name="T56" fmla="*/ 21 w 542"/>
              <a:gd name="T57" fmla="*/ 35 h 359"/>
              <a:gd name="T58" fmla="*/ 0 w 542"/>
              <a:gd name="T59" fmla="*/ 108 h 359"/>
              <a:gd name="T60" fmla="*/ 3 w 542"/>
              <a:gd name="T61" fmla="*/ 221 h 359"/>
              <a:gd name="T62" fmla="*/ 75 w 542"/>
              <a:gd name="T63" fmla="*/ 257 h 359"/>
              <a:gd name="T64" fmla="*/ 99 w 542"/>
              <a:gd name="T65" fmla="*/ 264 h 359"/>
              <a:gd name="T66" fmla="*/ 28 w 542"/>
              <a:gd name="T67" fmla="*/ 229 h 359"/>
              <a:gd name="T68" fmla="*/ 169 w 542"/>
              <a:gd name="T69" fmla="*/ 290 h 359"/>
              <a:gd name="T70" fmla="*/ 204 w 542"/>
              <a:gd name="T71" fmla="*/ 306 h 359"/>
              <a:gd name="T72" fmla="*/ 218 w 542"/>
              <a:gd name="T73" fmla="*/ 308 h 359"/>
              <a:gd name="T74" fmla="*/ 208 w 542"/>
              <a:gd name="T75" fmla="*/ 294 h 359"/>
              <a:gd name="T76" fmla="*/ 150 w 542"/>
              <a:gd name="T77" fmla="*/ 267 h 359"/>
              <a:gd name="T78" fmla="*/ 226 w 542"/>
              <a:gd name="T79" fmla="*/ 299 h 359"/>
              <a:gd name="T80" fmla="*/ 250 w 542"/>
              <a:gd name="T81" fmla="*/ 305 h 359"/>
              <a:gd name="T82" fmla="*/ 275 w 542"/>
              <a:gd name="T83" fmla="*/ 305 h 359"/>
              <a:gd name="T84" fmla="*/ 242 w 542"/>
              <a:gd name="T85" fmla="*/ 287 h 359"/>
              <a:gd name="T86" fmla="*/ 263 w 542"/>
              <a:gd name="T87" fmla="*/ 294 h 359"/>
              <a:gd name="T88" fmla="*/ 307 w 542"/>
              <a:gd name="T89" fmla="*/ 304 h 359"/>
              <a:gd name="T90" fmla="*/ 317 w 542"/>
              <a:gd name="T91" fmla="*/ 302 h 359"/>
              <a:gd name="T92" fmla="*/ 328 w 542"/>
              <a:gd name="T93" fmla="*/ 298 h 359"/>
              <a:gd name="T94" fmla="*/ 344 w 542"/>
              <a:gd name="T95" fmla="*/ 299 h 359"/>
              <a:gd name="T96" fmla="*/ 277 w 542"/>
              <a:gd name="T97" fmla="*/ 263 h 359"/>
              <a:gd name="T98" fmla="*/ 293 w 542"/>
              <a:gd name="T99" fmla="*/ 267 h 359"/>
              <a:gd name="T100" fmla="*/ 380 w 542"/>
              <a:gd name="T101" fmla="*/ 302 h 359"/>
              <a:gd name="T102" fmla="*/ 448 w 542"/>
              <a:gd name="T103" fmla="*/ 334 h 359"/>
              <a:gd name="T104" fmla="*/ 414 w 542"/>
              <a:gd name="T105" fmla="*/ 314 h 359"/>
              <a:gd name="T106" fmla="*/ 385 w 542"/>
              <a:gd name="T107" fmla="*/ 303 h 359"/>
              <a:gd name="T108" fmla="*/ 396 w 542"/>
              <a:gd name="T109" fmla="*/ 300 h 359"/>
              <a:gd name="T110" fmla="*/ 460 w 542"/>
              <a:gd name="T111" fmla="*/ 320 h 359"/>
              <a:gd name="T112" fmla="*/ 519 w 542"/>
              <a:gd name="T113" fmla="*/ 351 h 359"/>
              <a:gd name="T114" fmla="*/ 509 w 542"/>
              <a:gd name="T115" fmla="*/ 341 h 359"/>
              <a:gd name="T116" fmla="*/ 503 w 542"/>
              <a:gd name="T117" fmla="*/ 328 h 359"/>
              <a:gd name="T118" fmla="*/ 504 w 542"/>
              <a:gd name="T119" fmla="*/ 317 h 359"/>
              <a:gd name="T120" fmla="*/ 541 w 542"/>
              <a:gd name="T121" fmla="*/ 254 h 359"/>
              <a:gd name="T122" fmla="*/ 542 w 542"/>
              <a:gd name="T123" fmla="*/ 147 h 3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42" h="359">
                <a:moveTo>
                  <a:pt x="542" y="144"/>
                </a:moveTo>
                <a:cubicBezTo>
                  <a:pt x="542" y="139"/>
                  <a:pt x="542" y="139"/>
                  <a:pt x="542" y="139"/>
                </a:cubicBezTo>
                <a:cubicBezTo>
                  <a:pt x="537" y="139"/>
                  <a:pt x="537" y="139"/>
                  <a:pt x="537" y="139"/>
                </a:cubicBezTo>
                <a:cubicBezTo>
                  <a:pt x="529" y="135"/>
                  <a:pt x="522" y="131"/>
                  <a:pt x="514" y="127"/>
                </a:cubicBezTo>
                <a:cubicBezTo>
                  <a:pt x="500" y="120"/>
                  <a:pt x="485" y="114"/>
                  <a:pt x="472" y="106"/>
                </a:cubicBezTo>
                <a:cubicBezTo>
                  <a:pt x="472" y="106"/>
                  <a:pt x="472" y="106"/>
                  <a:pt x="472" y="106"/>
                </a:cubicBezTo>
                <a:cubicBezTo>
                  <a:pt x="470" y="105"/>
                  <a:pt x="469" y="104"/>
                  <a:pt x="466" y="104"/>
                </a:cubicBezTo>
                <a:cubicBezTo>
                  <a:pt x="464" y="103"/>
                  <a:pt x="463" y="102"/>
                  <a:pt x="461" y="101"/>
                </a:cubicBezTo>
                <a:cubicBezTo>
                  <a:pt x="462" y="102"/>
                  <a:pt x="465" y="104"/>
                  <a:pt x="465" y="104"/>
                </a:cubicBezTo>
                <a:cubicBezTo>
                  <a:pt x="466" y="105"/>
                  <a:pt x="467" y="105"/>
                  <a:pt x="467" y="105"/>
                </a:cubicBezTo>
                <a:cubicBezTo>
                  <a:pt x="468" y="106"/>
                  <a:pt x="470" y="107"/>
                  <a:pt x="470" y="107"/>
                </a:cubicBezTo>
                <a:cubicBezTo>
                  <a:pt x="468" y="107"/>
                  <a:pt x="472" y="108"/>
                  <a:pt x="471" y="109"/>
                </a:cubicBezTo>
                <a:cubicBezTo>
                  <a:pt x="470" y="109"/>
                  <a:pt x="469" y="108"/>
                  <a:pt x="469" y="108"/>
                </a:cubicBezTo>
                <a:cubicBezTo>
                  <a:pt x="469" y="109"/>
                  <a:pt x="471" y="109"/>
                  <a:pt x="472" y="110"/>
                </a:cubicBezTo>
                <a:cubicBezTo>
                  <a:pt x="473" y="110"/>
                  <a:pt x="475" y="111"/>
                  <a:pt x="475" y="112"/>
                </a:cubicBezTo>
                <a:cubicBezTo>
                  <a:pt x="474" y="111"/>
                  <a:pt x="472" y="110"/>
                  <a:pt x="471" y="110"/>
                </a:cubicBezTo>
                <a:cubicBezTo>
                  <a:pt x="471" y="110"/>
                  <a:pt x="470" y="110"/>
                  <a:pt x="470" y="110"/>
                </a:cubicBezTo>
                <a:cubicBezTo>
                  <a:pt x="472" y="111"/>
                  <a:pt x="473" y="111"/>
                  <a:pt x="475" y="112"/>
                </a:cubicBezTo>
                <a:cubicBezTo>
                  <a:pt x="476" y="113"/>
                  <a:pt x="477" y="113"/>
                  <a:pt x="479" y="114"/>
                </a:cubicBezTo>
                <a:cubicBezTo>
                  <a:pt x="479" y="114"/>
                  <a:pt x="479" y="115"/>
                  <a:pt x="478" y="115"/>
                </a:cubicBezTo>
                <a:cubicBezTo>
                  <a:pt x="476" y="114"/>
                  <a:pt x="474" y="112"/>
                  <a:pt x="472" y="111"/>
                </a:cubicBezTo>
                <a:cubicBezTo>
                  <a:pt x="468" y="109"/>
                  <a:pt x="463" y="107"/>
                  <a:pt x="458" y="105"/>
                </a:cubicBezTo>
                <a:cubicBezTo>
                  <a:pt x="458" y="105"/>
                  <a:pt x="457" y="105"/>
                  <a:pt x="457" y="104"/>
                </a:cubicBezTo>
                <a:cubicBezTo>
                  <a:pt x="456" y="104"/>
                  <a:pt x="454" y="103"/>
                  <a:pt x="453" y="102"/>
                </a:cubicBezTo>
                <a:cubicBezTo>
                  <a:pt x="452" y="102"/>
                  <a:pt x="451" y="101"/>
                  <a:pt x="449" y="101"/>
                </a:cubicBezTo>
                <a:cubicBezTo>
                  <a:pt x="447" y="100"/>
                  <a:pt x="446" y="99"/>
                  <a:pt x="443" y="98"/>
                </a:cubicBezTo>
                <a:cubicBezTo>
                  <a:pt x="443" y="99"/>
                  <a:pt x="445" y="100"/>
                  <a:pt x="448" y="101"/>
                </a:cubicBezTo>
                <a:cubicBezTo>
                  <a:pt x="452" y="104"/>
                  <a:pt x="456" y="106"/>
                  <a:pt x="460" y="106"/>
                </a:cubicBezTo>
                <a:cubicBezTo>
                  <a:pt x="465" y="109"/>
                  <a:pt x="469" y="111"/>
                  <a:pt x="474" y="113"/>
                </a:cubicBezTo>
                <a:cubicBezTo>
                  <a:pt x="477" y="115"/>
                  <a:pt x="481" y="116"/>
                  <a:pt x="484" y="118"/>
                </a:cubicBezTo>
                <a:cubicBezTo>
                  <a:pt x="486" y="119"/>
                  <a:pt x="488" y="120"/>
                  <a:pt x="490" y="121"/>
                </a:cubicBezTo>
                <a:cubicBezTo>
                  <a:pt x="491" y="122"/>
                  <a:pt x="493" y="123"/>
                  <a:pt x="494" y="124"/>
                </a:cubicBezTo>
                <a:cubicBezTo>
                  <a:pt x="492" y="123"/>
                  <a:pt x="491" y="122"/>
                  <a:pt x="489" y="121"/>
                </a:cubicBezTo>
                <a:cubicBezTo>
                  <a:pt x="489" y="121"/>
                  <a:pt x="488" y="121"/>
                  <a:pt x="487" y="121"/>
                </a:cubicBezTo>
                <a:cubicBezTo>
                  <a:pt x="487" y="121"/>
                  <a:pt x="487" y="121"/>
                  <a:pt x="487" y="121"/>
                </a:cubicBezTo>
                <a:cubicBezTo>
                  <a:pt x="487" y="121"/>
                  <a:pt x="489" y="122"/>
                  <a:pt x="491" y="123"/>
                </a:cubicBezTo>
                <a:cubicBezTo>
                  <a:pt x="491" y="123"/>
                  <a:pt x="492" y="124"/>
                  <a:pt x="492" y="124"/>
                </a:cubicBezTo>
                <a:cubicBezTo>
                  <a:pt x="494" y="125"/>
                  <a:pt x="495" y="125"/>
                  <a:pt x="496" y="126"/>
                </a:cubicBezTo>
                <a:cubicBezTo>
                  <a:pt x="498" y="126"/>
                  <a:pt x="499" y="127"/>
                  <a:pt x="501" y="127"/>
                </a:cubicBezTo>
                <a:cubicBezTo>
                  <a:pt x="501" y="127"/>
                  <a:pt x="501" y="128"/>
                  <a:pt x="501" y="128"/>
                </a:cubicBezTo>
                <a:cubicBezTo>
                  <a:pt x="503" y="130"/>
                  <a:pt x="504" y="131"/>
                  <a:pt x="507" y="131"/>
                </a:cubicBezTo>
                <a:cubicBezTo>
                  <a:pt x="510" y="132"/>
                  <a:pt x="511" y="133"/>
                  <a:pt x="514" y="134"/>
                </a:cubicBezTo>
                <a:cubicBezTo>
                  <a:pt x="514" y="135"/>
                  <a:pt x="513" y="135"/>
                  <a:pt x="510" y="135"/>
                </a:cubicBezTo>
                <a:cubicBezTo>
                  <a:pt x="512" y="136"/>
                  <a:pt x="514" y="136"/>
                  <a:pt x="515" y="137"/>
                </a:cubicBezTo>
                <a:cubicBezTo>
                  <a:pt x="515" y="137"/>
                  <a:pt x="515" y="137"/>
                  <a:pt x="515" y="137"/>
                </a:cubicBezTo>
                <a:cubicBezTo>
                  <a:pt x="505" y="133"/>
                  <a:pt x="494" y="128"/>
                  <a:pt x="485" y="123"/>
                </a:cubicBezTo>
                <a:cubicBezTo>
                  <a:pt x="484" y="123"/>
                  <a:pt x="483" y="123"/>
                  <a:pt x="482" y="122"/>
                </a:cubicBezTo>
                <a:cubicBezTo>
                  <a:pt x="479" y="121"/>
                  <a:pt x="476" y="119"/>
                  <a:pt x="473" y="118"/>
                </a:cubicBezTo>
                <a:cubicBezTo>
                  <a:pt x="472" y="117"/>
                  <a:pt x="471" y="117"/>
                  <a:pt x="471" y="117"/>
                </a:cubicBezTo>
                <a:cubicBezTo>
                  <a:pt x="470" y="117"/>
                  <a:pt x="469" y="117"/>
                  <a:pt x="468" y="117"/>
                </a:cubicBezTo>
                <a:cubicBezTo>
                  <a:pt x="455" y="110"/>
                  <a:pt x="444" y="104"/>
                  <a:pt x="430" y="97"/>
                </a:cubicBezTo>
                <a:cubicBezTo>
                  <a:pt x="430" y="96"/>
                  <a:pt x="428" y="95"/>
                  <a:pt x="426" y="94"/>
                </a:cubicBezTo>
                <a:cubicBezTo>
                  <a:pt x="425" y="94"/>
                  <a:pt x="425" y="93"/>
                  <a:pt x="421" y="92"/>
                </a:cubicBezTo>
                <a:cubicBezTo>
                  <a:pt x="421" y="92"/>
                  <a:pt x="418" y="92"/>
                  <a:pt x="417" y="91"/>
                </a:cubicBezTo>
                <a:cubicBezTo>
                  <a:pt x="412" y="89"/>
                  <a:pt x="409" y="87"/>
                  <a:pt x="403" y="84"/>
                </a:cubicBezTo>
                <a:cubicBezTo>
                  <a:pt x="405" y="86"/>
                  <a:pt x="409" y="87"/>
                  <a:pt x="409" y="89"/>
                </a:cubicBezTo>
                <a:cubicBezTo>
                  <a:pt x="399" y="84"/>
                  <a:pt x="390" y="80"/>
                  <a:pt x="382" y="76"/>
                </a:cubicBezTo>
                <a:cubicBezTo>
                  <a:pt x="380" y="74"/>
                  <a:pt x="378" y="73"/>
                  <a:pt x="374" y="72"/>
                </a:cubicBezTo>
                <a:cubicBezTo>
                  <a:pt x="374" y="72"/>
                  <a:pt x="373" y="71"/>
                  <a:pt x="373" y="71"/>
                </a:cubicBezTo>
                <a:cubicBezTo>
                  <a:pt x="371" y="69"/>
                  <a:pt x="366" y="68"/>
                  <a:pt x="364" y="66"/>
                </a:cubicBezTo>
                <a:cubicBezTo>
                  <a:pt x="363" y="66"/>
                  <a:pt x="363" y="66"/>
                  <a:pt x="363" y="66"/>
                </a:cubicBezTo>
                <a:cubicBezTo>
                  <a:pt x="363" y="66"/>
                  <a:pt x="363" y="66"/>
                  <a:pt x="363" y="66"/>
                </a:cubicBezTo>
                <a:cubicBezTo>
                  <a:pt x="363" y="66"/>
                  <a:pt x="363" y="66"/>
                  <a:pt x="364" y="66"/>
                </a:cubicBezTo>
                <a:cubicBezTo>
                  <a:pt x="361" y="64"/>
                  <a:pt x="356" y="62"/>
                  <a:pt x="352" y="60"/>
                </a:cubicBezTo>
                <a:cubicBezTo>
                  <a:pt x="347" y="57"/>
                  <a:pt x="342" y="54"/>
                  <a:pt x="340" y="52"/>
                </a:cubicBezTo>
                <a:cubicBezTo>
                  <a:pt x="339" y="52"/>
                  <a:pt x="338" y="51"/>
                  <a:pt x="338" y="51"/>
                </a:cubicBezTo>
                <a:cubicBezTo>
                  <a:pt x="334" y="49"/>
                  <a:pt x="328" y="46"/>
                  <a:pt x="324" y="44"/>
                </a:cubicBezTo>
                <a:cubicBezTo>
                  <a:pt x="323" y="43"/>
                  <a:pt x="321" y="42"/>
                  <a:pt x="318" y="42"/>
                </a:cubicBezTo>
                <a:cubicBezTo>
                  <a:pt x="317" y="41"/>
                  <a:pt x="316" y="41"/>
                  <a:pt x="314" y="40"/>
                </a:cubicBezTo>
                <a:cubicBezTo>
                  <a:pt x="314" y="40"/>
                  <a:pt x="313" y="40"/>
                  <a:pt x="313" y="40"/>
                </a:cubicBezTo>
                <a:cubicBezTo>
                  <a:pt x="313" y="40"/>
                  <a:pt x="313" y="40"/>
                  <a:pt x="313" y="40"/>
                </a:cubicBezTo>
                <a:cubicBezTo>
                  <a:pt x="316" y="42"/>
                  <a:pt x="321" y="45"/>
                  <a:pt x="326" y="47"/>
                </a:cubicBezTo>
                <a:cubicBezTo>
                  <a:pt x="328" y="48"/>
                  <a:pt x="331" y="49"/>
                  <a:pt x="331" y="50"/>
                </a:cubicBezTo>
                <a:cubicBezTo>
                  <a:pt x="338" y="52"/>
                  <a:pt x="333" y="53"/>
                  <a:pt x="338" y="54"/>
                </a:cubicBezTo>
                <a:cubicBezTo>
                  <a:pt x="338" y="54"/>
                  <a:pt x="338" y="54"/>
                  <a:pt x="338" y="54"/>
                </a:cubicBezTo>
                <a:cubicBezTo>
                  <a:pt x="339" y="55"/>
                  <a:pt x="339" y="56"/>
                  <a:pt x="342" y="57"/>
                </a:cubicBezTo>
                <a:cubicBezTo>
                  <a:pt x="345" y="59"/>
                  <a:pt x="349" y="60"/>
                  <a:pt x="351" y="62"/>
                </a:cubicBezTo>
                <a:cubicBezTo>
                  <a:pt x="353" y="63"/>
                  <a:pt x="354" y="63"/>
                  <a:pt x="356" y="63"/>
                </a:cubicBezTo>
                <a:cubicBezTo>
                  <a:pt x="356" y="64"/>
                  <a:pt x="354" y="64"/>
                  <a:pt x="357" y="65"/>
                </a:cubicBezTo>
                <a:cubicBezTo>
                  <a:pt x="357" y="66"/>
                  <a:pt x="361" y="67"/>
                  <a:pt x="361" y="68"/>
                </a:cubicBezTo>
                <a:cubicBezTo>
                  <a:pt x="361" y="68"/>
                  <a:pt x="360" y="68"/>
                  <a:pt x="360" y="68"/>
                </a:cubicBezTo>
                <a:cubicBezTo>
                  <a:pt x="358" y="67"/>
                  <a:pt x="359" y="68"/>
                  <a:pt x="359" y="69"/>
                </a:cubicBezTo>
                <a:cubicBezTo>
                  <a:pt x="355" y="68"/>
                  <a:pt x="352" y="66"/>
                  <a:pt x="352" y="66"/>
                </a:cubicBezTo>
                <a:cubicBezTo>
                  <a:pt x="352" y="64"/>
                  <a:pt x="350" y="63"/>
                  <a:pt x="346" y="62"/>
                </a:cubicBezTo>
                <a:cubicBezTo>
                  <a:pt x="344" y="62"/>
                  <a:pt x="342" y="61"/>
                  <a:pt x="341" y="60"/>
                </a:cubicBezTo>
                <a:cubicBezTo>
                  <a:pt x="340" y="59"/>
                  <a:pt x="338" y="58"/>
                  <a:pt x="336" y="58"/>
                </a:cubicBezTo>
                <a:cubicBezTo>
                  <a:pt x="336" y="58"/>
                  <a:pt x="336" y="58"/>
                  <a:pt x="335" y="58"/>
                </a:cubicBezTo>
                <a:cubicBezTo>
                  <a:pt x="332" y="56"/>
                  <a:pt x="328" y="54"/>
                  <a:pt x="324" y="53"/>
                </a:cubicBezTo>
                <a:cubicBezTo>
                  <a:pt x="324" y="53"/>
                  <a:pt x="324" y="53"/>
                  <a:pt x="324" y="53"/>
                </a:cubicBezTo>
                <a:cubicBezTo>
                  <a:pt x="324" y="53"/>
                  <a:pt x="324" y="53"/>
                  <a:pt x="324" y="53"/>
                </a:cubicBezTo>
                <a:cubicBezTo>
                  <a:pt x="324" y="53"/>
                  <a:pt x="324" y="53"/>
                  <a:pt x="324" y="53"/>
                </a:cubicBezTo>
                <a:cubicBezTo>
                  <a:pt x="322" y="51"/>
                  <a:pt x="319" y="50"/>
                  <a:pt x="317" y="49"/>
                </a:cubicBezTo>
                <a:cubicBezTo>
                  <a:pt x="313" y="48"/>
                  <a:pt x="310" y="46"/>
                  <a:pt x="306" y="44"/>
                </a:cubicBezTo>
                <a:cubicBezTo>
                  <a:pt x="307" y="46"/>
                  <a:pt x="317" y="49"/>
                  <a:pt x="315" y="51"/>
                </a:cubicBezTo>
                <a:cubicBezTo>
                  <a:pt x="314" y="50"/>
                  <a:pt x="314" y="51"/>
                  <a:pt x="314" y="52"/>
                </a:cubicBezTo>
                <a:cubicBezTo>
                  <a:pt x="314" y="52"/>
                  <a:pt x="314" y="52"/>
                  <a:pt x="315" y="52"/>
                </a:cubicBezTo>
                <a:cubicBezTo>
                  <a:pt x="317" y="53"/>
                  <a:pt x="319" y="53"/>
                  <a:pt x="322" y="54"/>
                </a:cubicBezTo>
                <a:cubicBezTo>
                  <a:pt x="322" y="55"/>
                  <a:pt x="323" y="55"/>
                  <a:pt x="324" y="55"/>
                </a:cubicBezTo>
                <a:cubicBezTo>
                  <a:pt x="325" y="56"/>
                  <a:pt x="326" y="56"/>
                  <a:pt x="326" y="57"/>
                </a:cubicBezTo>
                <a:cubicBezTo>
                  <a:pt x="332" y="59"/>
                  <a:pt x="336" y="62"/>
                  <a:pt x="340" y="65"/>
                </a:cubicBezTo>
                <a:cubicBezTo>
                  <a:pt x="338" y="65"/>
                  <a:pt x="336" y="63"/>
                  <a:pt x="334" y="63"/>
                </a:cubicBezTo>
                <a:cubicBezTo>
                  <a:pt x="334" y="64"/>
                  <a:pt x="338" y="65"/>
                  <a:pt x="339" y="66"/>
                </a:cubicBezTo>
                <a:cubicBezTo>
                  <a:pt x="339" y="66"/>
                  <a:pt x="339" y="66"/>
                  <a:pt x="338" y="66"/>
                </a:cubicBezTo>
                <a:cubicBezTo>
                  <a:pt x="338" y="66"/>
                  <a:pt x="338" y="66"/>
                  <a:pt x="338" y="66"/>
                </a:cubicBezTo>
                <a:cubicBezTo>
                  <a:pt x="338" y="66"/>
                  <a:pt x="338" y="67"/>
                  <a:pt x="337" y="66"/>
                </a:cubicBezTo>
                <a:cubicBezTo>
                  <a:pt x="334" y="65"/>
                  <a:pt x="333" y="65"/>
                  <a:pt x="332" y="65"/>
                </a:cubicBezTo>
                <a:cubicBezTo>
                  <a:pt x="331" y="65"/>
                  <a:pt x="333" y="66"/>
                  <a:pt x="334" y="67"/>
                </a:cubicBezTo>
                <a:cubicBezTo>
                  <a:pt x="337" y="68"/>
                  <a:pt x="340" y="69"/>
                  <a:pt x="341" y="70"/>
                </a:cubicBezTo>
                <a:cubicBezTo>
                  <a:pt x="343" y="72"/>
                  <a:pt x="345" y="72"/>
                  <a:pt x="347" y="72"/>
                </a:cubicBezTo>
                <a:cubicBezTo>
                  <a:pt x="349" y="73"/>
                  <a:pt x="351" y="74"/>
                  <a:pt x="355" y="76"/>
                </a:cubicBezTo>
                <a:cubicBezTo>
                  <a:pt x="353" y="74"/>
                  <a:pt x="351" y="73"/>
                  <a:pt x="347" y="72"/>
                </a:cubicBezTo>
                <a:cubicBezTo>
                  <a:pt x="345" y="71"/>
                  <a:pt x="343" y="70"/>
                  <a:pt x="341" y="68"/>
                </a:cubicBezTo>
                <a:cubicBezTo>
                  <a:pt x="339" y="68"/>
                  <a:pt x="339" y="67"/>
                  <a:pt x="341" y="67"/>
                </a:cubicBezTo>
                <a:cubicBezTo>
                  <a:pt x="343" y="68"/>
                  <a:pt x="346" y="69"/>
                  <a:pt x="347" y="68"/>
                </a:cubicBezTo>
                <a:cubicBezTo>
                  <a:pt x="347" y="69"/>
                  <a:pt x="348" y="69"/>
                  <a:pt x="349" y="69"/>
                </a:cubicBezTo>
                <a:cubicBezTo>
                  <a:pt x="349" y="70"/>
                  <a:pt x="351" y="71"/>
                  <a:pt x="353" y="72"/>
                </a:cubicBezTo>
                <a:cubicBezTo>
                  <a:pt x="359" y="75"/>
                  <a:pt x="364" y="78"/>
                  <a:pt x="370" y="81"/>
                </a:cubicBezTo>
                <a:cubicBezTo>
                  <a:pt x="373" y="83"/>
                  <a:pt x="375" y="84"/>
                  <a:pt x="380" y="86"/>
                </a:cubicBezTo>
                <a:cubicBezTo>
                  <a:pt x="382" y="88"/>
                  <a:pt x="388" y="90"/>
                  <a:pt x="390" y="92"/>
                </a:cubicBezTo>
                <a:cubicBezTo>
                  <a:pt x="391" y="93"/>
                  <a:pt x="393" y="94"/>
                  <a:pt x="394" y="95"/>
                </a:cubicBezTo>
                <a:cubicBezTo>
                  <a:pt x="395" y="96"/>
                  <a:pt x="396" y="96"/>
                  <a:pt x="396" y="97"/>
                </a:cubicBezTo>
                <a:cubicBezTo>
                  <a:pt x="397" y="97"/>
                  <a:pt x="397" y="98"/>
                  <a:pt x="398" y="98"/>
                </a:cubicBezTo>
                <a:cubicBezTo>
                  <a:pt x="396" y="97"/>
                  <a:pt x="394" y="96"/>
                  <a:pt x="392" y="95"/>
                </a:cubicBezTo>
                <a:cubicBezTo>
                  <a:pt x="390" y="95"/>
                  <a:pt x="390" y="94"/>
                  <a:pt x="388" y="94"/>
                </a:cubicBezTo>
                <a:cubicBezTo>
                  <a:pt x="387" y="93"/>
                  <a:pt x="385" y="92"/>
                  <a:pt x="384" y="92"/>
                </a:cubicBezTo>
                <a:cubicBezTo>
                  <a:pt x="384" y="92"/>
                  <a:pt x="384" y="93"/>
                  <a:pt x="383" y="93"/>
                </a:cubicBezTo>
                <a:cubicBezTo>
                  <a:pt x="380" y="91"/>
                  <a:pt x="378" y="90"/>
                  <a:pt x="374" y="88"/>
                </a:cubicBezTo>
                <a:cubicBezTo>
                  <a:pt x="372" y="87"/>
                  <a:pt x="370" y="87"/>
                  <a:pt x="369" y="86"/>
                </a:cubicBezTo>
                <a:cubicBezTo>
                  <a:pt x="369" y="86"/>
                  <a:pt x="370" y="85"/>
                  <a:pt x="369" y="85"/>
                </a:cubicBezTo>
                <a:cubicBezTo>
                  <a:pt x="367" y="84"/>
                  <a:pt x="367" y="85"/>
                  <a:pt x="367" y="85"/>
                </a:cubicBezTo>
                <a:cubicBezTo>
                  <a:pt x="365" y="84"/>
                  <a:pt x="364" y="83"/>
                  <a:pt x="362" y="83"/>
                </a:cubicBezTo>
                <a:cubicBezTo>
                  <a:pt x="362" y="83"/>
                  <a:pt x="362" y="83"/>
                  <a:pt x="362" y="83"/>
                </a:cubicBezTo>
                <a:cubicBezTo>
                  <a:pt x="356" y="78"/>
                  <a:pt x="346" y="74"/>
                  <a:pt x="338" y="70"/>
                </a:cubicBezTo>
                <a:cubicBezTo>
                  <a:pt x="334" y="67"/>
                  <a:pt x="330" y="65"/>
                  <a:pt x="326" y="63"/>
                </a:cubicBezTo>
                <a:cubicBezTo>
                  <a:pt x="324" y="61"/>
                  <a:pt x="321" y="60"/>
                  <a:pt x="318" y="59"/>
                </a:cubicBezTo>
                <a:cubicBezTo>
                  <a:pt x="317" y="58"/>
                  <a:pt x="317" y="57"/>
                  <a:pt x="314" y="57"/>
                </a:cubicBezTo>
                <a:cubicBezTo>
                  <a:pt x="309" y="56"/>
                  <a:pt x="312" y="57"/>
                  <a:pt x="312" y="58"/>
                </a:cubicBezTo>
                <a:cubicBezTo>
                  <a:pt x="311" y="57"/>
                  <a:pt x="310" y="57"/>
                  <a:pt x="308" y="56"/>
                </a:cubicBezTo>
                <a:cubicBezTo>
                  <a:pt x="310" y="58"/>
                  <a:pt x="313" y="60"/>
                  <a:pt x="316" y="61"/>
                </a:cubicBezTo>
                <a:cubicBezTo>
                  <a:pt x="315" y="61"/>
                  <a:pt x="314" y="62"/>
                  <a:pt x="316" y="62"/>
                </a:cubicBezTo>
                <a:cubicBezTo>
                  <a:pt x="319" y="64"/>
                  <a:pt x="321" y="65"/>
                  <a:pt x="325" y="66"/>
                </a:cubicBezTo>
                <a:cubicBezTo>
                  <a:pt x="325" y="66"/>
                  <a:pt x="325" y="66"/>
                  <a:pt x="325" y="67"/>
                </a:cubicBezTo>
                <a:cubicBezTo>
                  <a:pt x="325" y="67"/>
                  <a:pt x="325" y="67"/>
                  <a:pt x="325" y="67"/>
                </a:cubicBezTo>
                <a:cubicBezTo>
                  <a:pt x="325" y="67"/>
                  <a:pt x="325" y="66"/>
                  <a:pt x="325" y="66"/>
                </a:cubicBezTo>
                <a:cubicBezTo>
                  <a:pt x="325" y="67"/>
                  <a:pt x="322" y="67"/>
                  <a:pt x="327" y="68"/>
                </a:cubicBezTo>
                <a:cubicBezTo>
                  <a:pt x="328" y="69"/>
                  <a:pt x="330" y="70"/>
                  <a:pt x="328" y="70"/>
                </a:cubicBezTo>
                <a:cubicBezTo>
                  <a:pt x="328" y="70"/>
                  <a:pt x="328" y="70"/>
                  <a:pt x="328" y="70"/>
                </a:cubicBezTo>
                <a:cubicBezTo>
                  <a:pt x="328" y="70"/>
                  <a:pt x="328" y="70"/>
                  <a:pt x="328" y="70"/>
                </a:cubicBezTo>
                <a:cubicBezTo>
                  <a:pt x="328" y="70"/>
                  <a:pt x="328" y="70"/>
                  <a:pt x="328" y="70"/>
                </a:cubicBezTo>
                <a:cubicBezTo>
                  <a:pt x="323" y="67"/>
                  <a:pt x="319" y="65"/>
                  <a:pt x="312" y="62"/>
                </a:cubicBezTo>
                <a:cubicBezTo>
                  <a:pt x="311" y="62"/>
                  <a:pt x="310" y="61"/>
                  <a:pt x="309" y="60"/>
                </a:cubicBezTo>
                <a:cubicBezTo>
                  <a:pt x="306" y="60"/>
                  <a:pt x="310" y="62"/>
                  <a:pt x="310" y="62"/>
                </a:cubicBezTo>
                <a:cubicBezTo>
                  <a:pt x="309" y="62"/>
                  <a:pt x="308" y="62"/>
                  <a:pt x="307" y="62"/>
                </a:cubicBezTo>
                <a:cubicBezTo>
                  <a:pt x="303" y="61"/>
                  <a:pt x="301" y="59"/>
                  <a:pt x="298" y="58"/>
                </a:cubicBezTo>
                <a:cubicBezTo>
                  <a:pt x="296" y="57"/>
                  <a:pt x="294" y="55"/>
                  <a:pt x="292" y="55"/>
                </a:cubicBezTo>
                <a:cubicBezTo>
                  <a:pt x="289" y="55"/>
                  <a:pt x="295" y="57"/>
                  <a:pt x="296" y="58"/>
                </a:cubicBezTo>
                <a:cubicBezTo>
                  <a:pt x="296" y="58"/>
                  <a:pt x="296" y="58"/>
                  <a:pt x="296" y="58"/>
                </a:cubicBezTo>
                <a:cubicBezTo>
                  <a:pt x="296" y="58"/>
                  <a:pt x="296" y="58"/>
                  <a:pt x="296" y="58"/>
                </a:cubicBezTo>
                <a:cubicBezTo>
                  <a:pt x="295" y="58"/>
                  <a:pt x="295" y="58"/>
                  <a:pt x="294" y="58"/>
                </a:cubicBezTo>
                <a:cubicBezTo>
                  <a:pt x="297" y="60"/>
                  <a:pt x="302" y="61"/>
                  <a:pt x="304" y="63"/>
                </a:cubicBezTo>
                <a:cubicBezTo>
                  <a:pt x="305" y="63"/>
                  <a:pt x="305" y="64"/>
                  <a:pt x="306" y="64"/>
                </a:cubicBezTo>
                <a:cubicBezTo>
                  <a:pt x="306" y="64"/>
                  <a:pt x="305" y="64"/>
                  <a:pt x="304" y="64"/>
                </a:cubicBezTo>
                <a:cubicBezTo>
                  <a:pt x="304" y="65"/>
                  <a:pt x="304" y="65"/>
                  <a:pt x="305" y="66"/>
                </a:cubicBezTo>
                <a:cubicBezTo>
                  <a:pt x="311" y="69"/>
                  <a:pt x="311" y="69"/>
                  <a:pt x="305" y="69"/>
                </a:cubicBezTo>
                <a:cubicBezTo>
                  <a:pt x="305" y="69"/>
                  <a:pt x="305" y="69"/>
                  <a:pt x="305" y="69"/>
                </a:cubicBezTo>
                <a:cubicBezTo>
                  <a:pt x="305" y="69"/>
                  <a:pt x="305" y="69"/>
                  <a:pt x="305" y="69"/>
                </a:cubicBezTo>
                <a:cubicBezTo>
                  <a:pt x="305" y="69"/>
                  <a:pt x="305" y="69"/>
                  <a:pt x="305" y="69"/>
                </a:cubicBezTo>
                <a:cubicBezTo>
                  <a:pt x="303" y="69"/>
                  <a:pt x="303" y="67"/>
                  <a:pt x="300" y="67"/>
                </a:cubicBezTo>
                <a:cubicBezTo>
                  <a:pt x="298" y="68"/>
                  <a:pt x="301" y="69"/>
                  <a:pt x="302" y="69"/>
                </a:cubicBezTo>
                <a:cubicBezTo>
                  <a:pt x="303" y="70"/>
                  <a:pt x="303" y="71"/>
                  <a:pt x="301" y="70"/>
                </a:cubicBezTo>
                <a:cubicBezTo>
                  <a:pt x="295" y="68"/>
                  <a:pt x="289" y="67"/>
                  <a:pt x="284" y="64"/>
                </a:cubicBezTo>
                <a:cubicBezTo>
                  <a:pt x="284" y="64"/>
                  <a:pt x="283" y="63"/>
                  <a:pt x="284" y="63"/>
                </a:cubicBezTo>
                <a:cubicBezTo>
                  <a:pt x="284" y="63"/>
                  <a:pt x="286" y="64"/>
                  <a:pt x="287" y="64"/>
                </a:cubicBezTo>
                <a:cubicBezTo>
                  <a:pt x="282" y="61"/>
                  <a:pt x="272" y="58"/>
                  <a:pt x="267" y="55"/>
                </a:cubicBezTo>
                <a:cubicBezTo>
                  <a:pt x="265" y="54"/>
                  <a:pt x="262" y="52"/>
                  <a:pt x="258" y="50"/>
                </a:cubicBezTo>
                <a:cubicBezTo>
                  <a:pt x="257" y="50"/>
                  <a:pt x="256" y="49"/>
                  <a:pt x="254" y="49"/>
                </a:cubicBezTo>
                <a:cubicBezTo>
                  <a:pt x="252" y="49"/>
                  <a:pt x="253" y="50"/>
                  <a:pt x="255" y="50"/>
                </a:cubicBezTo>
                <a:cubicBezTo>
                  <a:pt x="259" y="52"/>
                  <a:pt x="255" y="52"/>
                  <a:pt x="255" y="52"/>
                </a:cubicBezTo>
                <a:cubicBezTo>
                  <a:pt x="254" y="52"/>
                  <a:pt x="253" y="52"/>
                  <a:pt x="253" y="52"/>
                </a:cubicBezTo>
                <a:cubicBezTo>
                  <a:pt x="255" y="53"/>
                  <a:pt x="255" y="54"/>
                  <a:pt x="260" y="55"/>
                </a:cubicBezTo>
                <a:cubicBezTo>
                  <a:pt x="261" y="54"/>
                  <a:pt x="259" y="53"/>
                  <a:pt x="259" y="53"/>
                </a:cubicBezTo>
                <a:cubicBezTo>
                  <a:pt x="262" y="54"/>
                  <a:pt x="262" y="55"/>
                  <a:pt x="264" y="55"/>
                </a:cubicBezTo>
                <a:cubicBezTo>
                  <a:pt x="269" y="57"/>
                  <a:pt x="269" y="59"/>
                  <a:pt x="274" y="61"/>
                </a:cubicBezTo>
                <a:cubicBezTo>
                  <a:pt x="276" y="62"/>
                  <a:pt x="278" y="63"/>
                  <a:pt x="280" y="64"/>
                </a:cubicBezTo>
                <a:cubicBezTo>
                  <a:pt x="280" y="64"/>
                  <a:pt x="279" y="65"/>
                  <a:pt x="280" y="66"/>
                </a:cubicBezTo>
                <a:cubicBezTo>
                  <a:pt x="282" y="67"/>
                  <a:pt x="284" y="68"/>
                  <a:pt x="286" y="69"/>
                </a:cubicBezTo>
                <a:cubicBezTo>
                  <a:pt x="286" y="69"/>
                  <a:pt x="287" y="69"/>
                  <a:pt x="287" y="69"/>
                </a:cubicBezTo>
                <a:cubicBezTo>
                  <a:pt x="285" y="68"/>
                  <a:pt x="283" y="67"/>
                  <a:pt x="281" y="66"/>
                </a:cubicBezTo>
                <a:cubicBezTo>
                  <a:pt x="286" y="66"/>
                  <a:pt x="287" y="68"/>
                  <a:pt x="290" y="69"/>
                </a:cubicBezTo>
                <a:cubicBezTo>
                  <a:pt x="291" y="71"/>
                  <a:pt x="297" y="73"/>
                  <a:pt x="300" y="74"/>
                </a:cubicBezTo>
                <a:cubicBezTo>
                  <a:pt x="300" y="75"/>
                  <a:pt x="301" y="75"/>
                  <a:pt x="302" y="75"/>
                </a:cubicBezTo>
                <a:cubicBezTo>
                  <a:pt x="302" y="75"/>
                  <a:pt x="302" y="75"/>
                  <a:pt x="302" y="75"/>
                </a:cubicBezTo>
                <a:cubicBezTo>
                  <a:pt x="302" y="75"/>
                  <a:pt x="302" y="75"/>
                  <a:pt x="302" y="75"/>
                </a:cubicBezTo>
                <a:cubicBezTo>
                  <a:pt x="302" y="75"/>
                  <a:pt x="302" y="75"/>
                  <a:pt x="302" y="75"/>
                </a:cubicBezTo>
                <a:cubicBezTo>
                  <a:pt x="306" y="77"/>
                  <a:pt x="308" y="79"/>
                  <a:pt x="313" y="80"/>
                </a:cubicBezTo>
                <a:cubicBezTo>
                  <a:pt x="313" y="80"/>
                  <a:pt x="313" y="80"/>
                  <a:pt x="313" y="80"/>
                </a:cubicBezTo>
                <a:cubicBezTo>
                  <a:pt x="313" y="80"/>
                  <a:pt x="313" y="80"/>
                  <a:pt x="313" y="80"/>
                </a:cubicBezTo>
                <a:cubicBezTo>
                  <a:pt x="314" y="81"/>
                  <a:pt x="316" y="82"/>
                  <a:pt x="318" y="83"/>
                </a:cubicBezTo>
                <a:cubicBezTo>
                  <a:pt x="319" y="84"/>
                  <a:pt x="322" y="85"/>
                  <a:pt x="325" y="86"/>
                </a:cubicBezTo>
                <a:cubicBezTo>
                  <a:pt x="327" y="87"/>
                  <a:pt x="328" y="88"/>
                  <a:pt x="330" y="89"/>
                </a:cubicBezTo>
                <a:cubicBezTo>
                  <a:pt x="330" y="89"/>
                  <a:pt x="330" y="90"/>
                  <a:pt x="330" y="90"/>
                </a:cubicBezTo>
                <a:cubicBezTo>
                  <a:pt x="332" y="91"/>
                  <a:pt x="335" y="92"/>
                  <a:pt x="334" y="93"/>
                </a:cubicBezTo>
                <a:cubicBezTo>
                  <a:pt x="328" y="90"/>
                  <a:pt x="324" y="88"/>
                  <a:pt x="317" y="85"/>
                </a:cubicBezTo>
                <a:cubicBezTo>
                  <a:pt x="306" y="80"/>
                  <a:pt x="296" y="74"/>
                  <a:pt x="285" y="69"/>
                </a:cubicBezTo>
                <a:cubicBezTo>
                  <a:pt x="284" y="68"/>
                  <a:pt x="282" y="68"/>
                  <a:pt x="281" y="67"/>
                </a:cubicBezTo>
                <a:cubicBezTo>
                  <a:pt x="280" y="67"/>
                  <a:pt x="280" y="67"/>
                  <a:pt x="279" y="66"/>
                </a:cubicBezTo>
                <a:cubicBezTo>
                  <a:pt x="273" y="64"/>
                  <a:pt x="268" y="61"/>
                  <a:pt x="262" y="58"/>
                </a:cubicBezTo>
                <a:cubicBezTo>
                  <a:pt x="256" y="55"/>
                  <a:pt x="249" y="52"/>
                  <a:pt x="245" y="49"/>
                </a:cubicBezTo>
                <a:cubicBezTo>
                  <a:pt x="244" y="48"/>
                  <a:pt x="241" y="47"/>
                  <a:pt x="239" y="45"/>
                </a:cubicBezTo>
                <a:cubicBezTo>
                  <a:pt x="240" y="46"/>
                  <a:pt x="241" y="46"/>
                  <a:pt x="242" y="46"/>
                </a:cubicBezTo>
                <a:cubicBezTo>
                  <a:pt x="242" y="45"/>
                  <a:pt x="240" y="45"/>
                  <a:pt x="238" y="44"/>
                </a:cubicBezTo>
                <a:cubicBezTo>
                  <a:pt x="237" y="44"/>
                  <a:pt x="238" y="45"/>
                  <a:pt x="238" y="45"/>
                </a:cubicBezTo>
                <a:cubicBezTo>
                  <a:pt x="237" y="45"/>
                  <a:pt x="236" y="44"/>
                  <a:pt x="233" y="44"/>
                </a:cubicBezTo>
                <a:cubicBezTo>
                  <a:pt x="238" y="46"/>
                  <a:pt x="239" y="47"/>
                  <a:pt x="243" y="49"/>
                </a:cubicBezTo>
                <a:cubicBezTo>
                  <a:pt x="245" y="50"/>
                  <a:pt x="246" y="51"/>
                  <a:pt x="248" y="52"/>
                </a:cubicBezTo>
                <a:cubicBezTo>
                  <a:pt x="252" y="55"/>
                  <a:pt x="258" y="58"/>
                  <a:pt x="262" y="60"/>
                </a:cubicBezTo>
                <a:cubicBezTo>
                  <a:pt x="261" y="60"/>
                  <a:pt x="262" y="61"/>
                  <a:pt x="262" y="61"/>
                </a:cubicBezTo>
                <a:cubicBezTo>
                  <a:pt x="263" y="62"/>
                  <a:pt x="263" y="63"/>
                  <a:pt x="262" y="63"/>
                </a:cubicBezTo>
                <a:cubicBezTo>
                  <a:pt x="260" y="63"/>
                  <a:pt x="258" y="62"/>
                  <a:pt x="257" y="61"/>
                </a:cubicBezTo>
                <a:cubicBezTo>
                  <a:pt x="254" y="60"/>
                  <a:pt x="250" y="59"/>
                  <a:pt x="246" y="57"/>
                </a:cubicBezTo>
                <a:cubicBezTo>
                  <a:pt x="242" y="56"/>
                  <a:pt x="240" y="56"/>
                  <a:pt x="238" y="57"/>
                </a:cubicBezTo>
                <a:cubicBezTo>
                  <a:pt x="238" y="57"/>
                  <a:pt x="236" y="57"/>
                  <a:pt x="235" y="56"/>
                </a:cubicBezTo>
                <a:cubicBezTo>
                  <a:pt x="234" y="55"/>
                  <a:pt x="234" y="55"/>
                  <a:pt x="236" y="55"/>
                </a:cubicBezTo>
                <a:cubicBezTo>
                  <a:pt x="239" y="56"/>
                  <a:pt x="238" y="54"/>
                  <a:pt x="240" y="54"/>
                </a:cubicBezTo>
                <a:cubicBezTo>
                  <a:pt x="236" y="53"/>
                  <a:pt x="232" y="52"/>
                  <a:pt x="228" y="50"/>
                </a:cubicBezTo>
                <a:cubicBezTo>
                  <a:pt x="229" y="52"/>
                  <a:pt x="230" y="52"/>
                  <a:pt x="230" y="53"/>
                </a:cubicBezTo>
                <a:cubicBezTo>
                  <a:pt x="228" y="53"/>
                  <a:pt x="223" y="51"/>
                  <a:pt x="224" y="53"/>
                </a:cubicBezTo>
                <a:cubicBezTo>
                  <a:pt x="225" y="55"/>
                  <a:pt x="225" y="55"/>
                  <a:pt x="221" y="55"/>
                </a:cubicBezTo>
                <a:cubicBezTo>
                  <a:pt x="225" y="57"/>
                  <a:pt x="228" y="58"/>
                  <a:pt x="232" y="59"/>
                </a:cubicBezTo>
                <a:cubicBezTo>
                  <a:pt x="232" y="59"/>
                  <a:pt x="233" y="59"/>
                  <a:pt x="233" y="59"/>
                </a:cubicBezTo>
                <a:cubicBezTo>
                  <a:pt x="233" y="59"/>
                  <a:pt x="233" y="60"/>
                  <a:pt x="232" y="60"/>
                </a:cubicBezTo>
                <a:cubicBezTo>
                  <a:pt x="230" y="60"/>
                  <a:pt x="232" y="60"/>
                  <a:pt x="233" y="61"/>
                </a:cubicBezTo>
                <a:cubicBezTo>
                  <a:pt x="234" y="61"/>
                  <a:pt x="234" y="61"/>
                  <a:pt x="234" y="61"/>
                </a:cubicBezTo>
                <a:cubicBezTo>
                  <a:pt x="234" y="61"/>
                  <a:pt x="234" y="62"/>
                  <a:pt x="236" y="62"/>
                </a:cubicBezTo>
                <a:cubicBezTo>
                  <a:pt x="238" y="63"/>
                  <a:pt x="238" y="64"/>
                  <a:pt x="236" y="64"/>
                </a:cubicBezTo>
                <a:cubicBezTo>
                  <a:pt x="235" y="64"/>
                  <a:pt x="238" y="65"/>
                  <a:pt x="238" y="65"/>
                </a:cubicBezTo>
                <a:cubicBezTo>
                  <a:pt x="236" y="65"/>
                  <a:pt x="235" y="64"/>
                  <a:pt x="234" y="63"/>
                </a:cubicBezTo>
                <a:cubicBezTo>
                  <a:pt x="232" y="62"/>
                  <a:pt x="228" y="60"/>
                  <a:pt x="225" y="58"/>
                </a:cubicBezTo>
                <a:cubicBezTo>
                  <a:pt x="224" y="58"/>
                  <a:pt x="222" y="57"/>
                  <a:pt x="220" y="56"/>
                </a:cubicBezTo>
                <a:cubicBezTo>
                  <a:pt x="219" y="55"/>
                  <a:pt x="218" y="55"/>
                  <a:pt x="217" y="54"/>
                </a:cubicBezTo>
                <a:cubicBezTo>
                  <a:pt x="216" y="54"/>
                  <a:pt x="215" y="53"/>
                  <a:pt x="215" y="53"/>
                </a:cubicBezTo>
                <a:cubicBezTo>
                  <a:pt x="215" y="53"/>
                  <a:pt x="214" y="52"/>
                  <a:pt x="213" y="52"/>
                </a:cubicBezTo>
                <a:cubicBezTo>
                  <a:pt x="212" y="53"/>
                  <a:pt x="211" y="52"/>
                  <a:pt x="210" y="52"/>
                </a:cubicBezTo>
                <a:cubicBezTo>
                  <a:pt x="210" y="52"/>
                  <a:pt x="211" y="52"/>
                  <a:pt x="212" y="53"/>
                </a:cubicBezTo>
                <a:cubicBezTo>
                  <a:pt x="213" y="53"/>
                  <a:pt x="214" y="54"/>
                  <a:pt x="216" y="54"/>
                </a:cubicBezTo>
                <a:cubicBezTo>
                  <a:pt x="221" y="57"/>
                  <a:pt x="225" y="60"/>
                  <a:pt x="233" y="63"/>
                </a:cubicBezTo>
                <a:cubicBezTo>
                  <a:pt x="237" y="67"/>
                  <a:pt x="244" y="70"/>
                  <a:pt x="250" y="73"/>
                </a:cubicBezTo>
                <a:cubicBezTo>
                  <a:pt x="253" y="74"/>
                  <a:pt x="255" y="76"/>
                  <a:pt x="258" y="77"/>
                </a:cubicBezTo>
                <a:cubicBezTo>
                  <a:pt x="259" y="79"/>
                  <a:pt x="263" y="80"/>
                  <a:pt x="266" y="82"/>
                </a:cubicBezTo>
                <a:cubicBezTo>
                  <a:pt x="262" y="81"/>
                  <a:pt x="258" y="81"/>
                  <a:pt x="253" y="79"/>
                </a:cubicBezTo>
                <a:cubicBezTo>
                  <a:pt x="248" y="77"/>
                  <a:pt x="243" y="75"/>
                  <a:pt x="239" y="73"/>
                </a:cubicBezTo>
                <a:cubicBezTo>
                  <a:pt x="233" y="69"/>
                  <a:pt x="228" y="66"/>
                  <a:pt x="220" y="63"/>
                </a:cubicBezTo>
                <a:cubicBezTo>
                  <a:pt x="217" y="61"/>
                  <a:pt x="212" y="60"/>
                  <a:pt x="208" y="59"/>
                </a:cubicBezTo>
                <a:cubicBezTo>
                  <a:pt x="207" y="60"/>
                  <a:pt x="211" y="62"/>
                  <a:pt x="214" y="63"/>
                </a:cubicBezTo>
                <a:cubicBezTo>
                  <a:pt x="216" y="63"/>
                  <a:pt x="219" y="64"/>
                  <a:pt x="219" y="65"/>
                </a:cubicBezTo>
                <a:cubicBezTo>
                  <a:pt x="219" y="65"/>
                  <a:pt x="217" y="65"/>
                  <a:pt x="215" y="65"/>
                </a:cubicBezTo>
                <a:cubicBezTo>
                  <a:pt x="214" y="65"/>
                  <a:pt x="212" y="64"/>
                  <a:pt x="211" y="65"/>
                </a:cubicBezTo>
                <a:cubicBezTo>
                  <a:pt x="211" y="64"/>
                  <a:pt x="210" y="64"/>
                  <a:pt x="209" y="63"/>
                </a:cubicBezTo>
                <a:cubicBezTo>
                  <a:pt x="209" y="63"/>
                  <a:pt x="209" y="63"/>
                  <a:pt x="209" y="62"/>
                </a:cubicBezTo>
                <a:cubicBezTo>
                  <a:pt x="209" y="62"/>
                  <a:pt x="209" y="62"/>
                  <a:pt x="209" y="62"/>
                </a:cubicBezTo>
                <a:cubicBezTo>
                  <a:pt x="210" y="63"/>
                  <a:pt x="212" y="64"/>
                  <a:pt x="212" y="63"/>
                </a:cubicBezTo>
                <a:cubicBezTo>
                  <a:pt x="212" y="63"/>
                  <a:pt x="212" y="62"/>
                  <a:pt x="208" y="61"/>
                </a:cubicBezTo>
                <a:cubicBezTo>
                  <a:pt x="208" y="61"/>
                  <a:pt x="207" y="61"/>
                  <a:pt x="207" y="61"/>
                </a:cubicBezTo>
                <a:cubicBezTo>
                  <a:pt x="205" y="60"/>
                  <a:pt x="203" y="59"/>
                  <a:pt x="201" y="58"/>
                </a:cubicBezTo>
                <a:cubicBezTo>
                  <a:pt x="201" y="58"/>
                  <a:pt x="200" y="58"/>
                  <a:pt x="200" y="58"/>
                </a:cubicBezTo>
                <a:cubicBezTo>
                  <a:pt x="202" y="59"/>
                  <a:pt x="204" y="60"/>
                  <a:pt x="206" y="61"/>
                </a:cubicBezTo>
                <a:cubicBezTo>
                  <a:pt x="207" y="62"/>
                  <a:pt x="207" y="62"/>
                  <a:pt x="205" y="62"/>
                </a:cubicBezTo>
                <a:cubicBezTo>
                  <a:pt x="203" y="62"/>
                  <a:pt x="202" y="62"/>
                  <a:pt x="201" y="62"/>
                </a:cubicBezTo>
                <a:cubicBezTo>
                  <a:pt x="200" y="61"/>
                  <a:pt x="199" y="60"/>
                  <a:pt x="195" y="59"/>
                </a:cubicBezTo>
                <a:cubicBezTo>
                  <a:pt x="196" y="60"/>
                  <a:pt x="197" y="61"/>
                  <a:pt x="198" y="62"/>
                </a:cubicBezTo>
                <a:cubicBezTo>
                  <a:pt x="199" y="64"/>
                  <a:pt x="203" y="65"/>
                  <a:pt x="207" y="67"/>
                </a:cubicBezTo>
                <a:cubicBezTo>
                  <a:pt x="208" y="68"/>
                  <a:pt x="209" y="68"/>
                  <a:pt x="211" y="69"/>
                </a:cubicBezTo>
                <a:cubicBezTo>
                  <a:pt x="211" y="69"/>
                  <a:pt x="211" y="69"/>
                  <a:pt x="212" y="70"/>
                </a:cubicBezTo>
                <a:cubicBezTo>
                  <a:pt x="212" y="70"/>
                  <a:pt x="213" y="71"/>
                  <a:pt x="215" y="71"/>
                </a:cubicBezTo>
                <a:cubicBezTo>
                  <a:pt x="216" y="72"/>
                  <a:pt x="217" y="72"/>
                  <a:pt x="217" y="72"/>
                </a:cubicBezTo>
                <a:cubicBezTo>
                  <a:pt x="215" y="73"/>
                  <a:pt x="219" y="74"/>
                  <a:pt x="218" y="75"/>
                </a:cubicBezTo>
                <a:cubicBezTo>
                  <a:pt x="217" y="74"/>
                  <a:pt x="213" y="73"/>
                  <a:pt x="213" y="74"/>
                </a:cubicBezTo>
                <a:cubicBezTo>
                  <a:pt x="212" y="74"/>
                  <a:pt x="214" y="75"/>
                  <a:pt x="216" y="76"/>
                </a:cubicBezTo>
                <a:cubicBezTo>
                  <a:pt x="218" y="77"/>
                  <a:pt x="219" y="77"/>
                  <a:pt x="220" y="78"/>
                </a:cubicBezTo>
                <a:cubicBezTo>
                  <a:pt x="221" y="80"/>
                  <a:pt x="224" y="82"/>
                  <a:pt x="231" y="83"/>
                </a:cubicBezTo>
                <a:cubicBezTo>
                  <a:pt x="232" y="85"/>
                  <a:pt x="238" y="87"/>
                  <a:pt x="241" y="88"/>
                </a:cubicBezTo>
                <a:cubicBezTo>
                  <a:pt x="246" y="91"/>
                  <a:pt x="252" y="94"/>
                  <a:pt x="258" y="97"/>
                </a:cubicBezTo>
                <a:cubicBezTo>
                  <a:pt x="259" y="98"/>
                  <a:pt x="261" y="99"/>
                  <a:pt x="266" y="101"/>
                </a:cubicBezTo>
                <a:cubicBezTo>
                  <a:pt x="264" y="99"/>
                  <a:pt x="261" y="98"/>
                  <a:pt x="259" y="97"/>
                </a:cubicBezTo>
                <a:cubicBezTo>
                  <a:pt x="257" y="96"/>
                  <a:pt x="256" y="95"/>
                  <a:pt x="254" y="94"/>
                </a:cubicBezTo>
                <a:cubicBezTo>
                  <a:pt x="260" y="96"/>
                  <a:pt x="261" y="98"/>
                  <a:pt x="265" y="99"/>
                </a:cubicBezTo>
                <a:cubicBezTo>
                  <a:pt x="267" y="100"/>
                  <a:pt x="269" y="101"/>
                  <a:pt x="270" y="101"/>
                </a:cubicBezTo>
                <a:cubicBezTo>
                  <a:pt x="270" y="101"/>
                  <a:pt x="270" y="101"/>
                  <a:pt x="270" y="101"/>
                </a:cubicBezTo>
                <a:cubicBezTo>
                  <a:pt x="270" y="102"/>
                  <a:pt x="270" y="102"/>
                  <a:pt x="272" y="103"/>
                </a:cubicBezTo>
                <a:cubicBezTo>
                  <a:pt x="274" y="104"/>
                  <a:pt x="274" y="103"/>
                  <a:pt x="274" y="103"/>
                </a:cubicBezTo>
                <a:cubicBezTo>
                  <a:pt x="277" y="104"/>
                  <a:pt x="280" y="105"/>
                  <a:pt x="282" y="107"/>
                </a:cubicBezTo>
                <a:cubicBezTo>
                  <a:pt x="282" y="107"/>
                  <a:pt x="281" y="107"/>
                  <a:pt x="280" y="106"/>
                </a:cubicBezTo>
                <a:cubicBezTo>
                  <a:pt x="279" y="106"/>
                  <a:pt x="278" y="105"/>
                  <a:pt x="277" y="106"/>
                </a:cubicBezTo>
                <a:cubicBezTo>
                  <a:pt x="273" y="105"/>
                  <a:pt x="270" y="104"/>
                  <a:pt x="269" y="102"/>
                </a:cubicBezTo>
                <a:cubicBezTo>
                  <a:pt x="268" y="102"/>
                  <a:pt x="267" y="101"/>
                  <a:pt x="266" y="101"/>
                </a:cubicBezTo>
                <a:cubicBezTo>
                  <a:pt x="265" y="101"/>
                  <a:pt x="266" y="102"/>
                  <a:pt x="267" y="102"/>
                </a:cubicBezTo>
                <a:cubicBezTo>
                  <a:pt x="266" y="102"/>
                  <a:pt x="265" y="102"/>
                  <a:pt x="265" y="102"/>
                </a:cubicBezTo>
                <a:cubicBezTo>
                  <a:pt x="264" y="102"/>
                  <a:pt x="263" y="101"/>
                  <a:pt x="262" y="101"/>
                </a:cubicBezTo>
                <a:cubicBezTo>
                  <a:pt x="257" y="99"/>
                  <a:pt x="253" y="96"/>
                  <a:pt x="248" y="94"/>
                </a:cubicBezTo>
                <a:cubicBezTo>
                  <a:pt x="248" y="94"/>
                  <a:pt x="248" y="94"/>
                  <a:pt x="248" y="95"/>
                </a:cubicBezTo>
                <a:cubicBezTo>
                  <a:pt x="248" y="95"/>
                  <a:pt x="249" y="95"/>
                  <a:pt x="249" y="95"/>
                </a:cubicBezTo>
                <a:cubicBezTo>
                  <a:pt x="249" y="95"/>
                  <a:pt x="249" y="95"/>
                  <a:pt x="249" y="95"/>
                </a:cubicBezTo>
                <a:cubicBezTo>
                  <a:pt x="249" y="95"/>
                  <a:pt x="249" y="95"/>
                  <a:pt x="249" y="95"/>
                </a:cubicBezTo>
                <a:cubicBezTo>
                  <a:pt x="246" y="95"/>
                  <a:pt x="243" y="94"/>
                  <a:pt x="242" y="92"/>
                </a:cubicBezTo>
                <a:cubicBezTo>
                  <a:pt x="241" y="92"/>
                  <a:pt x="239" y="90"/>
                  <a:pt x="236" y="90"/>
                </a:cubicBezTo>
                <a:cubicBezTo>
                  <a:pt x="235" y="90"/>
                  <a:pt x="234" y="90"/>
                  <a:pt x="234" y="90"/>
                </a:cubicBezTo>
                <a:cubicBezTo>
                  <a:pt x="232" y="91"/>
                  <a:pt x="235" y="92"/>
                  <a:pt x="237" y="92"/>
                </a:cubicBezTo>
                <a:cubicBezTo>
                  <a:pt x="244" y="96"/>
                  <a:pt x="253" y="100"/>
                  <a:pt x="260" y="103"/>
                </a:cubicBezTo>
                <a:cubicBezTo>
                  <a:pt x="260" y="103"/>
                  <a:pt x="260" y="103"/>
                  <a:pt x="260" y="103"/>
                </a:cubicBezTo>
                <a:cubicBezTo>
                  <a:pt x="263" y="105"/>
                  <a:pt x="270" y="107"/>
                  <a:pt x="271" y="109"/>
                </a:cubicBezTo>
                <a:cubicBezTo>
                  <a:pt x="261" y="105"/>
                  <a:pt x="252" y="101"/>
                  <a:pt x="243" y="96"/>
                </a:cubicBezTo>
                <a:cubicBezTo>
                  <a:pt x="234" y="91"/>
                  <a:pt x="224" y="87"/>
                  <a:pt x="212" y="82"/>
                </a:cubicBezTo>
                <a:cubicBezTo>
                  <a:pt x="210" y="81"/>
                  <a:pt x="208" y="80"/>
                  <a:pt x="206" y="79"/>
                </a:cubicBezTo>
                <a:cubicBezTo>
                  <a:pt x="202" y="76"/>
                  <a:pt x="195" y="73"/>
                  <a:pt x="190" y="70"/>
                </a:cubicBezTo>
                <a:cubicBezTo>
                  <a:pt x="189" y="70"/>
                  <a:pt x="193" y="71"/>
                  <a:pt x="193" y="72"/>
                </a:cubicBezTo>
                <a:cubicBezTo>
                  <a:pt x="188" y="71"/>
                  <a:pt x="184" y="69"/>
                  <a:pt x="181" y="67"/>
                </a:cubicBezTo>
                <a:cubicBezTo>
                  <a:pt x="179" y="65"/>
                  <a:pt x="177" y="64"/>
                  <a:pt x="171" y="63"/>
                </a:cubicBezTo>
                <a:cubicBezTo>
                  <a:pt x="166" y="62"/>
                  <a:pt x="165" y="60"/>
                  <a:pt x="162" y="59"/>
                </a:cubicBezTo>
                <a:cubicBezTo>
                  <a:pt x="162" y="59"/>
                  <a:pt x="162" y="59"/>
                  <a:pt x="162" y="59"/>
                </a:cubicBezTo>
                <a:cubicBezTo>
                  <a:pt x="157" y="57"/>
                  <a:pt x="153" y="54"/>
                  <a:pt x="149" y="52"/>
                </a:cubicBezTo>
                <a:cubicBezTo>
                  <a:pt x="152" y="53"/>
                  <a:pt x="153" y="54"/>
                  <a:pt x="155" y="55"/>
                </a:cubicBezTo>
                <a:cubicBezTo>
                  <a:pt x="156" y="55"/>
                  <a:pt x="158" y="56"/>
                  <a:pt x="161" y="57"/>
                </a:cubicBezTo>
                <a:cubicBezTo>
                  <a:pt x="160" y="56"/>
                  <a:pt x="159" y="55"/>
                  <a:pt x="156" y="55"/>
                </a:cubicBezTo>
                <a:cubicBezTo>
                  <a:pt x="153" y="53"/>
                  <a:pt x="151" y="52"/>
                  <a:pt x="148" y="50"/>
                </a:cubicBezTo>
                <a:cubicBezTo>
                  <a:pt x="146" y="49"/>
                  <a:pt x="145" y="49"/>
                  <a:pt x="143" y="48"/>
                </a:cubicBezTo>
                <a:cubicBezTo>
                  <a:pt x="143" y="48"/>
                  <a:pt x="142" y="48"/>
                  <a:pt x="142" y="48"/>
                </a:cubicBezTo>
                <a:cubicBezTo>
                  <a:pt x="144" y="49"/>
                  <a:pt x="145" y="49"/>
                  <a:pt x="146" y="50"/>
                </a:cubicBezTo>
                <a:cubicBezTo>
                  <a:pt x="146" y="50"/>
                  <a:pt x="145" y="50"/>
                  <a:pt x="145" y="50"/>
                </a:cubicBezTo>
                <a:cubicBezTo>
                  <a:pt x="140" y="47"/>
                  <a:pt x="132" y="44"/>
                  <a:pt x="129" y="41"/>
                </a:cubicBezTo>
                <a:cubicBezTo>
                  <a:pt x="126" y="40"/>
                  <a:pt x="124" y="39"/>
                  <a:pt x="121" y="38"/>
                </a:cubicBezTo>
                <a:cubicBezTo>
                  <a:pt x="121" y="37"/>
                  <a:pt x="120" y="36"/>
                  <a:pt x="116" y="34"/>
                </a:cubicBezTo>
                <a:cubicBezTo>
                  <a:pt x="113" y="32"/>
                  <a:pt x="106" y="30"/>
                  <a:pt x="100" y="28"/>
                </a:cubicBezTo>
                <a:cubicBezTo>
                  <a:pt x="100" y="28"/>
                  <a:pt x="100" y="28"/>
                  <a:pt x="99" y="28"/>
                </a:cubicBezTo>
                <a:cubicBezTo>
                  <a:pt x="98" y="27"/>
                  <a:pt x="96" y="26"/>
                  <a:pt x="94" y="25"/>
                </a:cubicBezTo>
                <a:cubicBezTo>
                  <a:pt x="92" y="24"/>
                  <a:pt x="94" y="24"/>
                  <a:pt x="96" y="25"/>
                </a:cubicBezTo>
                <a:cubicBezTo>
                  <a:pt x="97" y="25"/>
                  <a:pt x="98" y="26"/>
                  <a:pt x="101" y="27"/>
                </a:cubicBezTo>
                <a:cubicBezTo>
                  <a:pt x="100" y="26"/>
                  <a:pt x="98" y="25"/>
                  <a:pt x="97" y="25"/>
                </a:cubicBezTo>
                <a:cubicBezTo>
                  <a:pt x="96" y="24"/>
                  <a:pt x="95" y="24"/>
                  <a:pt x="94" y="24"/>
                </a:cubicBezTo>
                <a:cubicBezTo>
                  <a:pt x="90" y="21"/>
                  <a:pt x="83" y="17"/>
                  <a:pt x="77" y="14"/>
                </a:cubicBezTo>
                <a:cubicBezTo>
                  <a:pt x="75" y="13"/>
                  <a:pt x="74" y="12"/>
                  <a:pt x="69" y="11"/>
                </a:cubicBezTo>
                <a:cubicBezTo>
                  <a:pt x="70" y="12"/>
                  <a:pt x="73" y="13"/>
                  <a:pt x="76" y="14"/>
                </a:cubicBezTo>
                <a:cubicBezTo>
                  <a:pt x="79" y="16"/>
                  <a:pt x="83" y="18"/>
                  <a:pt x="87" y="20"/>
                </a:cubicBezTo>
                <a:cubicBezTo>
                  <a:pt x="85" y="21"/>
                  <a:pt x="90" y="24"/>
                  <a:pt x="92" y="25"/>
                </a:cubicBezTo>
                <a:cubicBezTo>
                  <a:pt x="93" y="27"/>
                  <a:pt x="96" y="28"/>
                  <a:pt x="98" y="29"/>
                </a:cubicBezTo>
                <a:cubicBezTo>
                  <a:pt x="98" y="30"/>
                  <a:pt x="101" y="31"/>
                  <a:pt x="103" y="31"/>
                </a:cubicBezTo>
                <a:cubicBezTo>
                  <a:pt x="108" y="33"/>
                  <a:pt x="113" y="35"/>
                  <a:pt x="110" y="36"/>
                </a:cubicBezTo>
                <a:cubicBezTo>
                  <a:pt x="109" y="37"/>
                  <a:pt x="111" y="38"/>
                  <a:pt x="115" y="39"/>
                </a:cubicBezTo>
                <a:cubicBezTo>
                  <a:pt x="117" y="40"/>
                  <a:pt x="119" y="41"/>
                  <a:pt x="121" y="42"/>
                </a:cubicBezTo>
                <a:cubicBezTo>
                  <a:pt x="122" y="42"/>
                  <a:pt x="124" y="43"/>
                  <a:pt x="125" y="44"/>
                </a:cubicBezTo>
                <a:cubicBezTo>
                  <a:pt x="125" y="44"/>
                  <a:pt x="126" y="45"/>
                  <a:pt x="128" y="46"/>
                </a:cubicBezTo>
                <a:cubicBezTo>
                  <a:pt x="129" y="46"/>
                  <a:pt x="128" y="45"/>
                  <a:pt x="127" y="44"/>
                </a:cubicBezTo>
                <a:cubicBezTo>
                  <a:pt x="126" y="43"/>
                  <a:pt x="125" y="42"/>
                  <a:pt x="123" y="42"/>
                </a:cubicBezTo>
                <a:cubicBezTo>
                  <a:pt x="121" y="40"/>
                  <a:pt x="121" y="40"/>
                  <a:pt x="123" y="40"/>
                </a:cubicBezTo>
                <a:cubicBezTo>
                  <a:pt x="125" y="40"/>
                  <a:pt x="125" y="41"/>
                  <a:pt x="126" y="41"/>
                </a:cubicBezTo>
                <a:cubicBezTo>
                  <a:pt x="134" y="46"/>
                  <a:pt x="143" y="50"/>
                  <a:pt x="151" y="55"/>
                </a:cubicBezTo>
                <a:cubicBezTo>
                  <a:pt x="149" y="54"/>
                  <a:pt x="146" y="53"/>
                  <a:pt x="145" y="53"/>
                </a:cubicBezTo>
                <a:cubicBezTo>
                  <a:pt x="140" y="50"/>
                  <a:pt x="135" y="49"/>
                  <a:pt x="129" y="49"/>
                </a:cubicBezTo>
                <a:cubicBezTo>
                  <a:pt x="129" y="49"/>
                  <a:pt x="130" y="48"/>
                  <a:pt x="129" y="48"/>
                </a:cubicBezTo>
                <a:cubicBezTo>
                  <a:pt x="129" y="48"/>
                  <a:pt x="128" y="47"/>
                  <a:pt x="127" y="47"/>
                </a:cubicBezTo>
                <a:cubicBezTo>
                  <a:pt x="127" y="48"/>
                  <a:pt x="126" y="48"/>
                  <a:pt x="128" y="49"/>
                </a:cubicBezTo>
                <a:cubicBezTo>
                  <a:pt x="129" y="50"/>
                  <a:pt x="122" y="48"/>
                  <a:pt x="126" y="50"/>
                </a:cubicBezTo>
                <a:cubicBezTo>
                  <a:pt x="128" y="51"/>
                  <a:pt x="132" y="52"/>
                  <a:pt x="132" y="51"/>
                </a:cubicBezTo>
                <a:cubicBezTo>
                  <a:pt x="136" y="49"/>
                  <a:pt x="139" y="52"/>
                  <a:pt x="143" y="53"/>
                </a:cubicBezTo>
                <a:cubicBezTo>
                  <a:pt x="144" y="54"/>
                  <a:pt x="146" y="55"/>
                  <a:pt x="147" y="56"/>
                </a:cubicBezTo>
                <a:cubicBezTo>
                  <a:pt x="151" y="58"/>
                  <a:pt x="154" y="57"/>
                  <a:pt x="157" y="58"/>
                </a:cubicBezTo>
                <a:cubicBezTo>
                  <a:pt x="157" y="58"/>
                  <a:pt x="157" y="58"/>
                  <a:pt x="157" y="58"/>
                </a:cubicBezTo>
                <a:cubicBezTo>
                  <a:pt x="158" y="58"/>
                  <a:pt x="158" y="58"/>
                  <a:pt x="158" y="58"/>
                </a:cubicBezTo>
                <a:cubicBezTo>
                  <a:pt x="161" y="60"/>
                  <a:pt x="157" y="60"/>
                  <a:pt x="159" y="62"/>
                </a:cubicBezTo>
                <a:cubicBezTo>
                  <a:pt x="162" y="64"/>
                  <a:pt x="169" y="67"/>
                  <a:pt x="173" y="70"/>
                </a:cubicBezTo>
                <a:cubicBezTo>
                  <a:pt x="175" y="70"/>
                  <a:pt x="176" y="71"/>
                  <a:pt x="177" y="72"/>
                </a:cubicBezTo>
                <a:cubicBezTo>
                  <a:pt x="183" y="74"/>
                  <a:pt x="185" y="76"/>
                  <a:pt x="188" y="78"/>
                </a:cubicBezTo>
                <a:cubicBezTo>
                  <a:pt x="194" y="80"/>
                  <a:pt x="196" y="82"/>
                  <a:pt x="202" y="85"/>
                </a:cubicBezTo>
                <a:cubicBezTo>
                  <a:pt x="204" y="86"/>
                  <a:pt x="207" y="87"/>
                  <a:pt x="209" y="89"/>
                </a:cubicBezTo>
                <a:cubicBezTo>
                  <a:pt x="215" y="92"/>
                  <a:pt x="222" y="95"/>
                  <a:pt x="228" y="98"/>
                </a:cubicBezTo>
                <a:cubicBezTo>
                  <a:pt x="229" y="99"/>
                  <a:pt x="231" y="100"/>
                  <a:pt x="232" y="100"/>
                </a:cubicBezTo>
                <a:cubicBezTo>
                  <a:pt x="231" y="100"/>
                  <a:pt x="230" y="100"/>
                  <a:pt x="229" y="100"/>
                </a:cubicBezTo>
                <a:cubicBezTo>
                  <a:pt x="224" y="97"/>
                  <a:pt x="219" y="95"/>
                  <a:pt x="213" y="93"/>
                </a:cubicBezTo>
                <a:cubicBezTo>
                  <a:pt x="214" y="93"/>
                  <a:pt x="214" y="93"/>
                  <a:pt x="214" y="94"/>
                </a:cubicBezTo>
                <a:cubicBezTo>
                  <a:pt x="214" y="93"/>
                  <a:pt x="213" y="93"/>
                  <a:pt x="213" y="93"/>
                </a:cubicBezTo>
                <a:cubicBezTo>
                  <a:pt x="207" y="89"/>
                  <a:pt x="200" y="86"/>
                  <a:pt x="194" y="83"/>
                </a:cubicBezTo>
                <a:cubicBezTo>
                  <a:pt x="188" y="80"/>
                  <a:pt x="181" y="77"/>
                  <a:pt x="175" y="74"/>
                </a:cubicBezTo>
                <a:cubicBezTo>
                  <a:pt x="165" y="70"/>
                  <a:pt x="155" y="65"/>
                  <a:pt x="146" y="60"/>
                </a:cubicBezTo>
                <a:cubicBezTo>
                  <a:pt x="144" y="59"/>
                  <a:pt x="141" y="58"/>
                  <a:pt x="138" y="57"/>
                </a:cubicBezTo>
                <a:cubicBezTo>
                  <a:pt x="133" y="53"/>
                  <a:pt x="124" y="50"/>
                  <a:pt x="118" y="46"/>
                </a:cubicBezTo>
                <a:cubicBezTo>
                  <a:pt x="118" y="45"/>
                  <a:pt x="113" y="44"/>
                  <a:pt x="110" y="42"/>
                </a:cubicBezTo>
                <a:cubicBezTo>
                  <a:pt x="109" y="43"/>
                  <a:pt x="114" y="45"/>
                  <a:pt x="116" y="46"/>
                </a:cubicBezTo>
                <a:cubicBezTo>
                  <a:pt x="116" y="46"/>
                  <a:pt x="116" y="46"/>
                  <a:pt x="116" y="46"/>
                </a:cubicBezTo>
                <a:cubicBezTo>
                  <a:pt x="115" y="47"/>
                  <a:pt x="113" y="47"/>
                  <a:pt x="106" y="45"/>
                </a:cubicBezTo>
                <a:cubicBezTo>
                  <a:pt x="108" y="46"/>
                  <a:pt x="108" y="48"/>
                  <a:pt x="112" y="49"/>
                </a:cubicBezTo>
                <a:cubicBezTo>
                  <a:pt x="114" y="49"/>
                  <a:pt x="111" y="47"/>
                  <a:pt x="116" y="49"/>
                </a:cubicBezTo>
                <a:cubicBezTo>
                  <a:pt x="120" y="50"/>
                  <a:pt x="119" y="51"/>
                  <a:pt x="122" y="52"/>
                </a:cubicBezTo>
                <a:cubicBezTo>
                  <a:pt x="122" y="54"/>
                  <a:pt x="117" y="53"/>
                  <a:pt x="117" y="53"/>
                </a:cubicBezTo>
                <a:cubicBezTo>
                  <a:pt x="108" y="51"/>
                  <a:pt x="117" y="54"/>
                  <a:pt x="116" y="54"/>
                </a:cubicBezTo>
                <a:cubicBezTo>
                  <a:pt x="117" y="54"/>
                  <a:pt x="116" y="54"/>
                  <a:pt x="115" y="55"/>
                </a:cubicBezTo>
                <a:cubicBezTo>
                  <a:pt x="115" y="55"/>
                  <a:pt x="114" y="55"/>
                  <a:pt x="113" y="55"/>
                </a:cubicBezTo>
                <a:cubicBezTo>
                  <a:pt x="112" y="54"/>
                  <a:pt x="110" y="53"/>
                  <a:pt x="108" y="52"/>
                </a:cubicBezTo>
                <a:cubicBezTo>
                  <a:pt x="106" y="51"/>
                  <a:pt x="104" y="50"/>
                  <a:pt x="102" y="49"/>
                </a:cubicBezTo>
                <a:cubicBezTo>
                  <a:pt x="98" y="46"/>
                  <a:pt x="90" y="43"/>
                  <a:pt x="82" y="39"/>
                </a:cubicBezTo>
                <a:cubicBezTo>
                  <a:pt x="89" y="43"/>
                  <a:pt x="93" y="46"/>
                  <a:pt x="101" y="49"/>
                </a:cubicBezTo>
                <a:cubicBezTo>
                  <a:pt x="103" y="50"/>
                  <a:pt x="105" y="51"/>
                  <a:pt x="108" y="52"/>
                </a:cubicBezTo>
                <a:cubicBezTo>
                  <a:pt x="109" y="54"/>
                  <a:pt x="111" y="55"/>
                  <a:pt x="113" y="56"/>
                </a:cubicBezTo>
                <a:cubicBezTo>
                  <a:pt x="111" y="56"/>
                  <a:pt x="113" y="57"/>
                  <a:pt x="112" y="57"/>
                </a:cubicBezTo>
                <a:cubicBezTo>
                  <a:pt x="108" y="57"/>
                  <a:pt x="106" y="56"/>
                  <a:pt x="104" y="55"/>
                </a:cubicBezTo>
                <a:cubicBezTo>
                  <a:pt x="93" y="49"/>
                  <a:pt x="82" y="42"/>
                  <a:pt x="71" y="36"/>
                </a:cubicBezTo>
                <a:cubicBezTo>
                  <a:pt x="70" y="36"/>
                  <a:pt x="69" y="35"/>
                  <a:pt x="67" y="35"/>
                </a:cubicBezTo>
                <a:cubicBezTo>
                  <a:pt x="66" y="33"/>
                  <a:pt x="63" y="32"/>
                  <a:pt x="60" y="31"/>
                </a:cubicBezTo>
                <a:cubicBezTo>
                  <a:pt x="60" y="30"/>
                  <a:pt x="60" y="30"/>
                  <a:pt x="60" y="30"/>
                </a:cubicBezTo>
                <a:cubicBezTo>
                  <a:pt x="60" y="30"/>
                  <a:pt x="59" y="30"/>
                  <a:pt x="59" y="29"/>
                </a:cubicBezTo>
                <a:cubicBezTo>
                  <a:pt x="57" y="28"/>
                  <a:pt x="55" y="27"/>
                  <a:pt x="52" y="25"/>
                </a:cubicBezTo>
                <a:cubicBezTo>
                  <a:pt x="51" y="24"/>
                  <a:pt x="51" y="23"/>
                  <a:pt x="44" y="20"/>
                </a:cubicBezTo>
                <a:cubicBezTo>
                  <a:pt x="37" y="18"/>
                  <a:pt x="34" y="15"/>
                  <a:pt x="35" y="13"/>
                </a:cubicBezTo>
                <a:cubicBezTo>
                  <a:pt x="35" y="12"/>
                  <a:pt x="37" y="12"/>
                  <a:pt x="36" y="11"/>
                </a:cubicBezTo>
                <a:cubicBezTo>
                  <a:pt x="33" y="11"/>
                  <a:pt x="30" y="10"/>
                  <a:pt x="27" y="10"/>
                </a:cubicBezTo>
                <a:cubicBezTo>
                  <a:pt x="25" y="9"/>
                  <a:pt x="24" y="8"/>
                  <a:pt x="23" y="8"/>
                </a:cubicBezTo>
                <a:cubicBezTo>
                  <a:pt x="23" y="7"/>
                  <a:pt x="22" y="7"/>
                  <a:pt x="22" y="7"/>
                </a:cubicBezTo>
                <a:cubicBezTo>
                  <a:pt x="19" y="5"/>
                  <a:pt x="17" y="4"/>
                  <a:pt x="14" y="2"/>
                </a:cubicBezTo>
                <a:cubicBezTo>
                  <a:pt x="13" y="2"/>
                  <a:pt x="12" y="1"/>
                  <a:pt x="9" y="0"/>
                </a:cubicBezTo>
                <a:cubicBezTo>
                  <a:pt x="9" y="1"/>
                  <a:pt x="11" y="2"/>
                  <a:pt x="13" y="2"/>
                </a:cubicBezTo>
                <a:cubicBezTo>
                  <a:pt x="13" y="3"/>
                  <a:pt x="13" y="3"/>
                  <a:pt x="13" y="3"/>
                </a:cubicBezTo>
                <a:cubicBezTo>
                  <a:pt x="13" y="3"/>
                  <a:pt x="12" y="3"/>
                  <a:pt x="12" y="3"/>
                </a:cubicBezTo>
                <a:cubicBezTo>
                  <a:pt x="11" y="3"/>
                  <a:pt x="11" y="3"/>
                  <a:pt x="11" y="3"/>
                </a:cubicBezTo>
                <a:cubicBezTo>
                  <a:pt x="9" y="2"/>
                  <a:pt x="9" y="1"/>
                  <a:pt x="5" y="0"/>
                </a:cubicBezTo>
                <a:cubicBezTo>
                  <a:pt x="5" y="0"/>
                  <a:pt x="7" y="1"/>
                  <a:pt x="10" y="3"/>
                </a:cubicBezTo>
                <a:cubicBezTo>
                  <a:pt x="11" y="3"/>
                  <a:pt x="12" y="4"/>
                  <a:pt x="14" y="5"/>
                </a:cubicBezTo>
                <a:cubicBezTo>
                  <a:pt x="13" y="5"/>
                  <a:pt x="16" y="6"/>
                  <a:pt x="17" y="7"/>
                </a:cubicBezTo>
                <a:cubicBezTo>
                  <a:pt x="17" y="7"/>
                  <a:pt x="17" y="8"/>
                  <a:pt x="18" y="8"/>
                </a:cubicBezTo>
                <a:cubicBezTo>
                  <a:pt x="21" y="9"/>
                  <a:pt x="22" y="11"/>
                  <a:pt x="25" y="12"/>
                </a:cubicBezTo>
                <a:cubicBezTo>
                  <a:pt x="25" y="13"/>
                  <a:pt x="28" y="14"/>
                  <a:pt x="30" y="15"/>
                </a:cubicBezTo>
                <a:cubicBezTo>
                  <a:pt x="31" y="16"/>
                  <a:pt x="33" y="17"/>
                  <a:pt x="33" y="18"/>
                </a:cubicBezTo>
                <a:cubicBezTo>
                  <a:pt x="33" y="18"/>
                  <a:pt x="33" y="18"/>
                  <a:pt x="33" y="18"/>
                </a:cubicBezTo>
                <a:cubicBezTo>
                  <a:pt x="32" y="18"/>
                  <a:pt x="31" y="18"/>
                  <a:pt x="32" y="18"/>
                </a:cubicBezTo>
                <a:cubicBezTo>
                  <a:pt x="33" y="19"/>
                  <a:pt x="35" y="19"/>
                  <a:pt x="36" y="19"/>
                </a:cubicBezTo>
                <a:cubicBezTo>
                  <a:pt x="42" y="22"/>
                  <a:pt x="41" y="23"/>
                  <a:pt x="46" y="26"/>
                </a:cubicBezTo>
                <a:cubicBezTo>
                  <a:pt x="47" y="27"/>
                  <a:pt x="51" y="28"/>
                  <a:pt x="51" y="29"/>
                </a:cubicBezTo>
                <a:cubicBezTo>
                  <a:pt x="42" y="25"/>
                  <a:pt x="34" y="21"/>
                  <a:pt x="28" y="18"/>
                </a:cubicBezTo>
                <a:cubicBezTo>
                  <a:pt x="28" y="17"/>
                  <a:pt x="28" y="17"/>
                  <a:pt x="26" y="16"/>
                </a:cubicBezTo>
                <a:cubicBezTo>
                  <a:pt x="24" y="15"/>
                  <a:pt x="22" y="14"/>
                  <a:pt x="19" y="13"/>
                </a:cubicBezTo>
                <a:cubicBezTo>
                  <a:pt x="20" y="14"/>
                  <a:pt x="21" y="15"/>
                  <a:pt x="23" y="16"/>
                </a:cubicBezTo>
                <a:cubicBezTo>
                  <a:pt x="24" y="16"/>
                  <a:pt x="25" y="17"/>
                  <a:pt x="26" y="17"/>
                </a:cubicBezTo>
                <a:cubicBezTo>
                  <a:pt x="26" y="18"/>
                  <a:pt x="29" y="19"/>
                  <a:pt x="29" y="20"/>
                </a:cubicBezTo>
                <a:cubicBezTo>
                  <a:pt x="28" y="19"/>
                  <a:pt x="27" y="19"/>
                  <a:pt x="25" y="18"/>
                </a:cubicBezTo>
                <a:cubicBezTo>
                  <a:pt x="23" y="18"/>
                  <a:pt x="25" y="19"/>
                  <a:pt x="26" y="20"/>
                </a:cubicBezTo>
                <a:cubicBezTo>
                  <a:pt x="28" y="21"/>
                  <a:pt x="31" y="22"/>
                  <a:pt x="35" y="23"/>
                </a:cubicBezTo>
                <a:cubicBezTo>
                  <a:pt x="37" y="25"/>
                  <a:pt x="41" y="28"/>
                  <a:pt x="46" y="30"/>
                </a:cubicBezTo>
                <a:cubicBezTo>
                  <a:pt x="50" y="32"/>
                  <a:pt x="43" y="31"/>
                  <a:pt x="43" y="33"/>
                </a:cubicBezTo>
                <a:cubicBezTo>
                  <a:pt x="42" y="33"/>
                  <a:pt x="41" y="33"/>
                  <a:pt x="39" y="32"/>
                </a:cubicBezTo>
                <a:cubicBezTo>
                  <a:pt x="35" y="30"/>
                  <a:pt x="31" y="28"/>
                  <a:pt x="29" y="26"/>
                </a:cubicBezTo>
                <a:cubicBezTo>
                  <a:pt x="31" y="25"/>
                  <a:pt x="33" y="27"/>
                  <a:pt x="35" y="27"/>
                </a:cubicBezTo>
                <a:cubicBezTo>
                  <a:pt x="33" y="26"/>
                  <a:pt x="32" y="24"/>
                  <a:pt x="28" y="24"/>
                </a:cubicBezTo>
                <a:cubicBezTo>
                  <a:pt x="25" y="23"/>
                  <a:pt x="28" y="25"/>
                  <a:pt x="27" y="25"/>
                </a:cubicBezTo>
                <a:cubicBezTo>
                  <a:pt x="22" y="24"/>
                  <a:pt x="22" y="25"/>
                  <a:pt x="24" y="26"/>
                </a:cubicBezTo>
                <a:cubicBezTo>
                  <a:pt x="28" y="28"/>
                  <a:pt x="32" y="30"/>
                  <a:pt x="36" y="32"/>
                </a:cubicBezTo>
                <a:cubicBezTo>
                  <a:pt x="37" y="33"/>
                  <a:pt x="41" y="34"/>
                  <a:pt x="40" y="35"/>
                </a:cubicBezTo>
                <a:cubicBezTo>
                  <a:pt x="36" y="34"/>
                  <a:pt x="40" y="36"/>
                  <a:pt x="39" y="36"/>
                </a:cubicBezTo>
                <a:cubicBezTo>
                  <a:pt x="36" y="36"/>
                  <a:pt x="35" y="35"/>
                  <a:pt x="33" y="35"/>
                </a:cubicBezTo>
                <a:cubicBezTo>
                  <a:pt x="27" y="33"/>
                  <a:pt x="26" y="31"/>
                  <a:pt x="19" y="29"/>
                </a:cubicBezTo>
                <a:cubicBezTo>
                  <a:pt x="20" y="30"/>
                  <a:pt x="25" y="31"/>
                  <a:pt x="25" y="32"/>
                </a:cubicBezTo>
                <a:cubicBezTo>
                  <a:pt x="25" y="34"/>
                  <a:pt x="35" y="37"/>
                  <a:pt x="32" y="38"/>
                </a:cubicBezTo>
                <a:cubicBezTo>
                  <a:pt x="31" y="38"/>
                  <a:pt x="30" y="37"/>
                  <a:pt x="29" y="37"/>
                </a:cubicBezTo>
                <a:cubicBezTo>
                  <a:pt x="29" y="35"/>
                  <a:pt x="21" y="33"/>
                  <a:pt x="18" y="31"/>
                </a:cubicBezTo>
                <a:cubicBezTo>
                  <a:pt x="19" y="33"/>
                  <a:pt x="21" y="34"/>
                  <a:pt x="25" y="36"/>
                </a:cubicBezTo>
                <a:cubicBezTo>
                  <a:pt x="29" y="38"/>
                  <a:pt x="34" y="40"/>
                  <a:pt x="38" y="43"/>
                </a:cubicBezTo>
                <a:cubicBezTo>
                  <a:pt x="33" y="41"/>
                  <a:pt x="29" y="40"/>
                  <a:pt x="24" y="38"/>
                </a:cubicBezTo>
                <a:cubicBezTo>
                  <a:pt x="24" y="37"/>
                  <a:pt x="23" y="36"/>
                  <a:pt x="21" y="35"/>
                </a:cubicBezTo>
                <a:cubicBezTo>
                  <a:pt x="19" y="35"/>
                  <a:pt x="19" y="36"/>
                  <a:pt x="21" y="37"/>
                </a:cubicBezTo>
                <a:cubicBezTo>
                  <a:pt x="22" y="38"/>
                  <a:pt x="22" y="38"/>
                  <a:pt x="22" y="38"/>
                </a:cubicBezTo>
                <a:cubicBezTo>
                  <a:pt x="28" y="44"/>
                  <a:pt x="35" y="49"/>
                  <a:pt x="44" y="55"/>
                </a:cubicBezTo>
                <a:cubicBezTo>
                  <a:pt x="43" y="55"/>
                  <a:pt x="43" y="55"/>
                  <a:pt x="42" y="54"/>
                </a:cubicBezTo>
                <a:cubicBezTo>
                  <a:pt x="34" y="50"/>
                  <a:pt x="25" y="45"/>
                  <a:pt x="17" y="40"/>
                </a:cubicBezTo>
                <a:cubicBezTo>
                  <a:pt x="12" y="37"/>
                  <a:pt x="6" y="34"/>
                  <a:pt x="0" y="31"/>
                </a:cubicBezTo>
                <a:cubicBezTo>
                  <a:pt x="0" y="84"/>
                  <a:pt x="0" y="84"/>
                  <a:pt x="0" y="84"/>
                </a:cubicBezTo>
                <a:cubicBezTo>
                  <a:pt x="0" y="84"/>
                  <a:pt x="1" y="85"/>
                  <a:pt x="1" y="85"/>
                </a:cubicBezTo>
                <a:cubicBezTo>
                  <a:pt x="2" y="86"/>
                  <a:pt x="3" y="86"/>
                  <a:pt x="4" y="87"/>
                </a:cubicBezTo>
                <a:cubicBezTo>
                  <a:pt x="4" y="87"/>
                  <a:pt x="5" y="88"/>
                  <a:pt x="6" y="88"/>
                </a:cubicBezTo>
                <a:cubicBezTo>
                  <a:pt x="4" y="88"/>
                  <a:pt x="2" y="88"/>
                  <a:pt x="0" y="88"/>
                </a:cubicBezTo>
                <a:cubicBezTo>
                  <a:pt x="0" y="107"/>
                  <a:pt x="0" y="107"/>
                  <a:pt x="0" y="107"/>
                </a:cubicBezTo>
                <a:cubicBezTo>
                  <a:pt x="0" y="107"/>
                  <a:pt x="0" y="107"/>
                  <a:pt x="1" y="107"/>
                </a:cubicBezTo>
                <a:cubicBezTo>
                  <a:pt x="1" y="108"/>
                  <a:pt x="1" y="108"/>
                  <a:pt x="2" y="109"/>
                </a:cubicBezTo>
                <a:cubicBezTo>
                  <a:pt x="1" y="109"/>
                  <a:pt x="1" y="109"/>
                  <a:pt x="0" y="109"/>
                </a:cubicBezTo>
                <a:cubicBezTo>
                  <a:pt x="0" y="109"/>
                  <a:pt x="0" y="109"/>
                  <a:pt x="0" y="108"/>
                </a:cubicBezTo>
                <a:cubicBezTo>
                  <a:pt x="0" y="126"/>
                  <a:pt x="0" y="126"/>
                  <a:pt x="0" y="126"/>
                </a:cubicBezTo>
                <a:cubicBezTo>
                  <a:pt x="0" y="127"/>
                  <a:pt x="0" y="127"/>
                  <a:pt x="0" y="127"/>
                </a:cubicBezTo>
                <a:cubicBezTo>
                  <a:pt x="0" y="127"/>
                  <a:pt x="0" y="127"/>
                  <a:pt x="0" y="127"/>
                </a:cubicBezTo>
                <a:cubicBezTo>
                  <a:pt x="0" y="158"/>
                  <a:pt x="0" y="158"/>
                  <a:pt x="0" y="158"/>
                </a:cubicBezTo>
                <a:cubicBezTo>
                  <a:pt x="0" y="158"/>
                  <a:pt x="0" y="158"/>
                  <a:pt x="0" y="158"/>
                </a:cubicBezTo>
                <a:cubicBezTo>
                  <a:pt x="0" y="159"/>
                  <a:pt x="0" y="159"/>
                  <a:pt x="0" y="159"/>
                </a:cubicBezTo>
                <a:cubicBezTo>
                  <a:pt x="0" y="159"/>
                  <a:pt x="0" y="159"/>
                  <a:pt x="0" y="159"/>
                </a:cubicBezTo>
                <a:cubicBezTo>
                  <a:pt x="0" y="173"/>
                  <a:pt x="0" y="173"/>
                  <a:pt x="0" y="173"/>
                </a:cubicBezTo>
                <a:cubicBezTo>
                  <a:pt x="0" y="173"/>
                  <a:pt x="0" y="173"/>
                  <a:pt x="0" y="173"/>
                </a:cubicBezTo>
                <a:cubicBezTo>
                  <a:pt x="0" y="173"/>
                  <a:pt x="0" y="173"/>
                  <a:pt x="0" y="173"/>
                </a:cubicBezTo>
                <a:cubicBezTo>
                  <a:pt x="0" y="173"/>
                  <a:pt x="0" y="173"/>
                  <a:pt x="0" y="173"/>
                </a:cubicBezTo>
                <a:cubicBezTo>
                  <a:pt x="0" y="220"/>
                  <a:pt x="0" y="220"/>
                  <a:pt x="0" y="220"/>
                </a:cubicBezTo>
                <a:cubicBezTo>
                  <a:pt x="1" y="220"/>
                  <a:pt x="2" y="220"/>
                  <a:pt x="3" y="221"/>
                </a:cubicBezTo>
                <a:cubicBezTo>
                  <a:pt x="3" y="221"/>
                  <a:pt x="3" y="221"/>
                  <a:pt x="3" y="221"/>
                </a:cubicBezTo>
                <a:cubicBezTo>
                  <a:pt x="3" y="221"/>
                  <a:pt x="3" y="221"/>
                  <a:pt x="3" y="221"/>
                </a:cubicBezTo>
                <a:cubicBezTo>
                  <a:pt x="3" y="221"/>
                  <a:pt x="3" y="221"/>
                  <a:pt x="3" y="221"/>
                </a:cubicBezTo>
                <a:cubicBezTo>
                  <a:pt x="2" y="221"/>
                  <a:pt x="1" y="220"/>
                  <a:pt x="0" y="220"/>
                </a:cubicBezTo>
                <a:cubicBezTo>
                  <a:pt x="0" y="220"/>
                  <a:pt x="0" y="220"/>
                  <a:pt x="0" y="220"/>
                </a:cubicBezTo>
                <a:cubicBezTo>
                  <a:pt x="0" y="220"/>
                  <a:pt x="0" y="220"/>
                  <a:pt x="0" y="220"/>
                </a:cubicBezTo>
                <a:cubicBezTo>
                  <a:pt x="0" y="223"/>
                  <a:pt x="0" y="223"/>
                  <a:pt x="0" y="223"/>
                </a:cubicBezTo>
                <a:cubicBezTo>
                  <a:pt x="0" y="223"/>
                  <a:pt x="0" y="223"/>
                  <a:pt x="0" y="223"/>
                </a:cubicBezTo>
                <a:cubicBezTo>
                  <a:pt x="0" y="223"/>
                  <a:pt x="0" y="223"/>
                  <a:pt x="0" y="223"/>
                </a:cubicBezTo>
                <a:cubicBezTo>
                  <a:pt x="0" y="223"/>
                  <a:pt x="0" y="223"/>
                  <a:pt x="0" y="223"/>
                </a:cubicBezTo>
                <a:cubicBezTo>
                  <a:pt x="0" y="229"/>
                  <a:pt x="0" y="229"/>
                  <a:pt x="0" y="229"/>
                </a:cubicBezTo>
                <a:cubicBezTo>
                  <a:pt x="13" y="229"/>
                  <a:pt x="13" y="229"/>
                  <a:pt x="13" y="229"/>
                </a:cubicBezTo>
                <a:cubicBezTo>
                  <a:pt x="18" y="231"/>
                  <a:pt x="23" y="234"/>
                  <a:pt x="28" y="236"/>
                </a:cubicBezTo>
                <a:cubicBezTo>
                  <a:pt x="42" y="243"/>
                  <a:pt x="57" y="249"/>
                  <a:pt x="70" y="256"/>
                </a:cubicBezTo>
                <a:cubicBezTo>
                  <a:pt x="70" y="256"/>
                  <a:pt x="70" y="256"/>
                  <a:pt x="70" y="256"/>
                </a:cubicBezTo>
                <a:cubicBezTo>
                  <a:pt x="72" y="257"/>
                  <a:pt x="73" y="258"/>
                  <a:pt x="76" y="258"/>
                </a:cubicBezTo>
                <a:cubicBezTo>
                  <a:pt x="78" y="259"/>
                  <a:pt x="79" y="260"/>
                  <a:pt x="81" y="261"/>
                </a:cubicBezTo>
                <a:cubicBezTo>
                  <a:pt x="80" y="260"/>
                  <a:pt x="77" y="259"/>
                  <a:pt x="77" y="258"/>
                </a:cubicBezTo>
                <a:cubicBezTo>
                  <a:pt x="76" y="258"/>
                  <a:pt x="75" y="257"/>
                  <a:pt x="75" y="257"/>
                </a:cubicBezTo>
                <a:cubicBezTo>
                  <a:pt x="74" y="256"/>
                  <a:pt x="72" y="256"/>
                  <a:pt x="72" y="255"/>
                </a:cubicBezTo>
                <a:cubicBezTo>
                  <a:pt x="74" y="255"/>
                  <a:pt x="70" y="254"/>
                  <a:pt x="71" y="254"/>
                </a:cubicBezTo>
                <a:cubicBezTo>
                  <a:pt x="72" y="254"/>
                  <a:pt x="73" y="254"/>
                  <a:pt x="73" y="254"/>
                </a:cubicBezTo>
                <a:cubicBezTo>
                  <a:pt x="73" y="254"/>
                  <a:pt x="71" y="253"/>
                  <a:pt x="70" y="253"/>
                </a:cubicBezTo>
                <a:cubicBezTo>
                  <a:pt x="69" y="252"/>
                  <a:pt x="67" y="252"/>
                  <a:pt x="67" y="251"/>
                </a:cubicBezTo>
                <a:cubicBezTo>
                  <a:pt x="68" y="252"/>
                  <a:pt x="70" y="252"/>
                  <a:pt x="71" y="253"/>
                </a:cubicBezTo>
                <a:cubicBezTo>
                  <a:pt x="72" y="253"/>
                  <a:pt x="72" y="253"/>
                  <a:pt x="72" y="253"/>
                </a:cubicBezTo>
                <a:cubicBezTo>
                  <a:pt x="70" y="252"/>
                  <a:pt x="69" y="251"/>
                  <a:pt x="67" y="251"/>
                </a:cubicBezTo>
                <a:cubicBezTo>
                  <a:pt x="66" y="250"/>
                  <a:pt x="65" y="249"/>
                  <a:pt x="63" y="249"/>
                </a:cubicBezTo>
                <a:cubicBezTo>
                  <a:pt x="63" y="248"/>
                  <a:pt x="64" y="248"/>
                  <a:pt x="64" y="248"/>
                </a:cubicBezTo>
                <a:cubicBezTo>
                  <a:pt x="66" y="249"/>
                  <a:pt x="68" y="250"/>
                  <a:pt x="70" y="251"/>
                </a:cubicBezTo>
                <a:cubicBezTo>
                  <a:pt x="74" y="253"/>
                  <a:pt x="79" y="255"/>
                  <a:pt x="84" y="258"/>
                </a:cubicBezTo>
                <a:cubicBezTo>
                  <a:pt x="84" y="258"/>
                  <a:pt x="85" y="258"/>
                  <a:pt x="85" y="258"/>
                </a:cubicBezTo>
                <a:cubicBezTo>
                  <a:pt x="86" y="259"/>
                  <a:pt x="88" y="259"/>
                  <a:pt x="89" y="260"/>
                </a:cubicBezTo>
                <a:cubicBezTo>
                  <a:pt x="90" y="260"/>
                  <a:pt x="91" y="261"/>
                  <a:pt x="93" y="261"/>
                </a:cubicBezTo>
                <a:cubicBezTo>
                  <a:pt x="95" y="262"/>
                  <a:pt x="96" y="263"/>
                  <a:pt x="99" y="264"/>
                </a:cubicBezTo>
                <a:cubicBezTo>
                  <a:pt x="99" y="263"/>
                  <a:pt x="97" y="262"/>
                  <a:pt x="94" y="261"/>
                </a:cubicBezTo>
                <a:cubicBezTo>
                  <a:pt x="90" y="258"/>
                  <a:pt x="86" y="257"/>
                  <a:pt x="82" y="256"/>
                </a:cubicBezTo>
                <a:cubicBezTo>
                  <a:pt x="77" y="254"/>
                  <a:pt x="73" y="252"/>
                  <a:pt x="68" y="250"/>
                </a:cubicBezTo>
                <a:cubicBezTo>
                  <a:pt x="65" y="248"/>
                  <a:pt x="61" y="247"/>
                  <a:pt x="58" y="245"/>
                </a:cubicBezTo>
                <a:cubicBezTo>
                  <a:pt x="56" y="244"/>
                  <a:pt x="54" y="243"/>
                  <a:pt x="52" y="242"/>
                </a:cubicBezTo>
                <a:cubicBezTo>
                  <a:pt x="51" y="241"/>
                  <a:pt x="49" y="240"/>
                  <a:pt x="48" y="240"/>
                </a:cubicBezTo>
                <a:cubicBezTo>
                  <a:pt x="50" y="240"/>
                  <a:pt x="51" y="241"/>
                  <a:pt x="53" y="242"/>
                </a:cubicBezTo>
                <a:cubicBezTo>
                  <a:pt x="53" y="242"/>
                  <a:pt x="54" y="242"/>
                  <a:pt x="55" y="242"/>
                </a:cubicBezTo>
                <a:cubicBezTo>
                  <a:pt x="55" y="242"/>
                  <a:pt x="55" y="242"/>
                  <a:pt x="55" y="242"/>
                </a:cubicBezTo>
                <a:cubicBezTo>
                  <a:pt x="55" y="242"/>
                  <a:pt x="53" y="241"/>
                  <a:pt x="51" y="240"/>
                </a:cubicBezTo>
                <a:cubicBezTo>
                  <a:pt x="51" y="240"/>
                  <a:pt x="50" y="240"/>
                  <a:pt x="50" y="239"/>
                </a:cubicBezTo>
                <a:cubicBezTo>
                  <a:pt x="48" y="239"/>
                  <a:pt x="47" y="238"/>
                  <a:pt x="46" y="237"/>
                </a:cubicBezTo>
                <a:cubicBezTo>
                  <a:pt x="44" y="237"/>
                  <a:pt x="43" y="237"/>
                  <a:pt x="41" y="236"/>
                </a:cubicBezTo>
                <a:cubicBezTo>
                  <a:pt x="41" y="236"/>
                  <a:pt x="41" y="235"/>
                  <a:pt x="41" y="235"/>
                </a:cubicBezTo>
                <a:cubicBezTo>
                  <a:pt x="39" y="234"/>
                  <a:pt x="38" y="233"/>
                  <a:pt x="35" y="233"/>
                </a:cubicBezTo>
                <a:cubicBezTo>
                  <a:pt x="33" y="232"/>
                  <a:pt x="31" y="230"/>
                  <a:pt x="28" y="229"/>
                </a:cubicBezTo>
                <a:cubicBezTo>
                  <a:pt x="28" y="229"/>
                  <a:pt x="28" y="229"/>
                  <a:pt x="28" y="229"/>
                </a:cubicBezTo>
                <a:cubicBezTo>
                  <a:pt x="33" y="229"/>
                  <a:pt x="33" y="229"/>
                  <a:pt x="33" y="229"/>
                </a:cubicBezTo>
                <a:cubicBezTo>
                  <a:pt x="41" y="233"/>
                  <a:pt x="49" y="236"/>
                  <a:pt x="57" y="240"/>
                </a:cubicBezTo>
                <a:cubicBezTo>
                  <a:pt x="58" y="240"/>
                  <a:pt x="59" y="240"/>
                  <a:pt x="60" y="241"/>
                </a:cubicBezTo>
                <a:cubicBezTo>
                  <a:pt x="63" y="242"/>
                  <a:pt x="66" y="244"/>
                  <a:pt x="69" y="245"/>
                </a:cubicBezTo>
                <a:cubicBezTo>
                  <a:pt x="70" y="246"/>
                  <a:pt x="71" y="246"/>
                  <a:pt x="71" y="246"/>
                </a:cubicBezTo>
                <a:cubicBezTo>
                  <a:pt x="72" y="246"/>
                  <a:pt x="73" y="246"/>
                  <a:pt x="74" y="246"/>
                </a:cubicBezTo>
                <a:cubicBezTo>
                  <a:pt x="87" y="252"/>
                  <a:pt x="98" y="259"/>
                  <a:pt x="112" y="265"/>
                </a:cubicBezTo>
                <a:cubicBezTo>
                  <a:pt x="112" y="266"/>
                  <a:pt x="114" y="267"/>
                  <a:pt x="116" y="268"/>
                </a:cubicBezTo>
                <a:cubicBezTo>
                  <a:pt x="117" y="268"/>
                  <a:pt x="117" y="269"/>
                  <a:pt x="121" y="269"/>
                </a:cubicBezTo>
                <a:cubicBezTo>
                  <a:pt x="122" y="269"/>
                  <a:pt x="124" y="270"/>
                  <a:pt x="125" y="271"/>
                </a:cubicBezTo>
                <a:cubicBezTo>
                  <a:pt x="130" y="273"/>
                  <a:pt x="133" y="275"/>
                  <a:pt x="139" y="277"/>
                </a:cubicBezTo>
                <a:cubicBezTo>
                  <a:pt x="137" y="276"/>
                  <a:pt x="133" y="274"/>
                  <a:pt x="133" y="273"/>
                </a:cubicBezTo>
                <a:cubicBezTo>
                  <a:pt x="143" y="277"/>
                  <a:pt x="152" y="281"/>
                  <a:pt x="160" y="286"/>
                </a:cubicBezTo>
                <a:cubicBezTo>
                  <a:pt x="162" y="287"/>
                  <a:pt x="164" y="288"/>
                  <a:pt x="168" y="289"/>
                </a:cubicBezTo>
                <a:cubicBezTo>
                  <a:pt x="168" y="289"/>
                  <a:pt x="169" y="290"/>
                  <a:pt x="169" y="290"/>
                </a:cubicBezTo>
                <a:cubicBezTo>
                  <a:pt x="171" y="291"/>
                  <a:pt x="176" y="293"/>
                  <a:pt x="178" y="295"/>
                </a:cubicBezTo>
                <a:cubicBezTo>
                  <a:pt x="179" y="295"/>
                  <a:pt x="179" y="295"/>
                  <a:pt x="179" y="295"/>
                </a:cubicBezTo>
                <a:cubicBezTo>
                  <a:pt x="179" y="295"/>
                  <a:pt x="179" y="295"/>
                  <a:pt x="179" y="295"/>
                </a:cubicBezTo>
                <a:cubicBezTo>
                  <a:pt x="179" y="295"/>
                  <a:pt x="179" y="295"/>
                  <a:pt x="178" y="295"/>
                </a:cubicBezTo>
                <a:cubicBezTo>
                  <a:pt x="181" y="297"/>
                  <a:pt x="186" y="299"/>
                  <a:pt x="190" y="301"/>
                </a:cubicBezTo>
                <a:cubicBezTo>
                  <a:pt x="195" y="303"/>
                  <a:pt x="200" y="306"/>
                  <a:pt x="202" y="308"/>
                </a:cubicBezTo>
                <a:cubicBezTo>
                  <a:pt x="203" y="309"/>
                  <a:pt x="204" y="309"/>
                  <a:pt x="204" y="309"/>
                </a:cubicBezTo>
                <a:cubicBezTo>
                  <a:pt x="208" y="311"/>
                  <a:pt x="214" y="314"/>
                  <a:pt x="218" y="316"/>
                </a:cubicBezTo>
                <a:cubicBezTo>
                  <a:pt x="219" y="317"/>
                  <a:pt x="221" y="318"/>
                  <a:pt x="224" y="318"/>
                </a:cubicBezTo>
                <a:cubicBezTo>
                  <a:pt x="225" y="318"/>
                  <a:pt x="226" y="319"/>
                  <a:pt x="228" y="320"/>
                </a:cubicBezTo>
                <a:cubicBezTo>
                  <a:pt x="228" y="320"/>
                  <a:pt x="229" y="320"/>
                  <a:pt x="229" y="320"/>
                </a:cubicBezTo>
                <a:cubicBezTo>
                  <a:pt x="229" y="320"/>
                  <a:pt x="229" y="320"/>
                  <a:pt x="229" y="320"/>
                </a:cubicBezTo>
                <a:cubicBezTo>
                  <a:pt x="226" y="317"/>
                  <a:pt x="221" y="315"/>
                  <a:pt x="216" y="313"/>
                </a:cubicBezTo>
                <a:cubicBezTo>
                  <a:pt x="214" y="312"/>
                  <a:pt x="211" y="311"/>
                  <a:pt x="211" y="310"/>
                </a:cubicBezTo>
                <a:cubicBezTo>
                  <a:pt x="204" y="309"/>
                  <a:pt x="209" y="308"/>
                  <a:pt x="204" y="306"/>
                </a:cubicBezTo>
                <a:cubicBezTo>
                  <a:pt x="204" y="306"/>
                  <a:pt x="204" y="306"/>
                  <a:pt x="204" y="306"/>
                </a:cubicBezTo>
                <a:cubicBezTo>
                  <a:pt x="203" y="305"/>
                  <a:pt x="203" y="304"/>
                  <a:pt x="200" y="303"/>
                </a:cubicBezTo>
                <a:cubicBezTo>
                  <a:pt x="197" y="302"/>
                  <a:pt x="193" y="300"/>
                  <a:pt x="191" y="299"/>
                </a:cubicBezTo>
                <a:cubicBezTo>
                  <a:pt x="189" y="297"/>
                  <a:pt x="188" y="298"/>
                  <a:pt x="186" y="298"/>
                </a:cubicBezTo>
                <a:cubicBezTo>
                  <a:pt x="186" y="297"/>
                  <a:pt x="188" y="297"/>
                  <a:pt x="185" y="296"/>
                </a:cubicBezTo>
                <a:cubicBezTo>
                  <a:pt x="185" y="295"/>
                  <a:pt x="181" y="294"/>
                  <a:pt x="181" y="293"/>
                </a:cubicBezTo>
                <a:cubicBezTo>
                  <a:pt x="181" y="293"/>
                  <a:pt x="182" y="293"/>
                  <a:pt x="182" y="293"/>
                </a:cubicBezTo>
                <a:cubicBezTo>
                  <a:pt x="184" y="293"/>
                  <a:pt x="183" y="293"/>
                  <a:pt x="183" y="292"/>
                </a:cubicBezTo>
                <a:cubicBezTo>
                  <a:pt x="187" y="293"/>
                  <a:pt x="190" y="295"/>
                  <a:pt x="190" y="295"/>
                </a:cubicBezTo>
                <a:cubicBezTo>
                  <a:pt x="190" y="297"/>
                  <a:pt x="192" y="297"/>
                  <a:pt x="196" y="298"/>
                </a:cubicBezTo>
                <a:cubicBezTo>
                  <a:pt x="198" y="299"/>
                  <a:pt x="200" y="300"/>
                  <a:pt x="201" y="301"/>
                </a:cubicBezTo>
                <a:cubicBezTo>
                  <a:pt x="202" y="301"/>
                  <a:pt x="204" y="302"/>
                  <a:pt x="206" y="302"/>
                </a:cubicBezTo>
                <a:cubicBezTo>
                  <a:pt x="206" y="303"/>
                  <a:pt x="206" y="303"/>
                  <a:pt x="207" y="303"/>
                </a:cubicBezTo>
                <a:cubicBezTo>
                  <a:pt x="210" y="304"/>
                  <a:pt x="214" y="306"/>
                  <a:pt x="218" y="308"/>
                </a:cubicBezTo>
                <a:cubicBezTo>
                  <a:pt x="218" y="308"/>
                  <a:pt x="218" y="308"/>
                  <a:pt x="218" y="308"/>
                </a:cubicBezTo>
                <a:cubicBezTo>
                  <a:pt x="218" y="308"/>
                  <a:pt x="218" y="308"/>
                  <a:pt x="218" y="308"/>
                </a:cubicBezTo>
                <a:cubicBezTo>
                  <a:pt x="218" y="308"/>
                  <a:pt x="218" y="308"/>
                  <a:pt x="218" y="308"/>
                </a:cubicBezTo>
                <a:cubicBezTo>
                  <a:pt x="220" y="309"/>
                  <a:pt x="223" y="310"/>
                  <a:pt x="225" y="311"/>
                </a:cubicBezTo>
                <a:cubicBezTo>
                  <a:pt x="229" y="312"/>
                  <a:pt x="232" y="314"/>
                  <a:pt x="236" y="316"/>
                </a:cubicBezTo>
                <a:cubicBezTo>
                  <a:pt x="235" y="314"/>
                  <a:pt x="225" y="311"/>
                  <a:pt x="227" y="310"/>
                </a:cubicBezTo>
                <a:cubicBezTo>
                  <a:pt x="228" y="310"/>
                  <a:pt x="228" y="309"/>
                  <a:pt x="228" y="309"/>
                </a:cubicBezTo>
                <a:cubicBezTo>
                  <a:pt x="228" y="309"/>
                  <a:pt x="228" y="308"/>
                  <a:pt x="227" y="308"/>
                </a:cubicBezTo>
                <a:cubicBezTo>
                  <a:pt x="225" y="308"/>
                  <a:pt x="223" y="307"/>
                  <a:pt x="220" y="306"/>
                </a:cubicBezTo>
                <a:cubicBezTo>
                  <a:pt x="220" y="306"/>
                  <a:pt x="219" y="305"/>
                  <a:pt x="218" y="305"/>
                </a:cubicBezTo>
                <a:cubicBezTo>
                  <a:pt x="217" y="305"/>
                  <a:pt x="216" y="304"/>
                  <a:pt x="216" y="304"/>
                </a:cubicBezTo>
                <a:cubicBezTo>
                  <a:pt x="210" y="301"/>
                  <a:pt x="206" y="298"/>
                  <a:pt x="202" y="296"/>
                </a:cubicBezTo>
                <a:cubicBezTo>
                  <a:pt x="204" y="296"/>
                  <a:pt x="206" y="297"/>
                  <a:pt x="208" y="298"/>
                </a:cubicBezTo>
                <a:cubicBezTo>
                  <a:pt x="208" y="297"/>
                  <a:pt x="204" y="296"/>
                  <a:pt x="203" y="295"/>
                </a:cubicBezTo>
                <a:cubicBezTo>
                  <a:pt x="203" y="295"/>
                  <a:pt x="203" y="295"/>
                  <a:pt x="204" y="295"/>
                </a:cubicBezTo>
                <a:cubicBezTo>
                  <a:pt x="204" y="295"/>
                  <a:pt x="204" y="295"/>
                  <a:pt x="204" y="295"/>
                </a:cubicBezTo>
                <a:cubicBezTo>
                  <a:pt x="204" y="295"/>
                  <a:pt x="204" y="294"/>
                  <a:pt x="205" y="295"/>
                </a:cubicBezTo>
                <a:cubicBezTo>
                  <a:pt x="208" y="296"/>
                  <a:pt x="209" y="296"/>
                  <a:pt x="210" y="296"/>
                </a:cubicBezTo>
                <a:cubicBezTo>
                  <a:pt x="211" y="295"/>
                  <a:pt x="209" y="295"/>
                  <a:pt x="208" y="294"/>
                </a:cubicBezTo>
                <a:cubicBezTo>
                  <a:pt x="205" y="293"/>
                  <a:pt x="202" y="292"/>
                  <a:pt x="201" y="291"/>
                </a:cubicBezTo>
                <a:cubicBezTo>
                  <a:pt x="199" y="289"/>
                  <a:pt x="197" y="289"/>
                  <a:pt x="195" y="289"/>
                </a:cubicBezTo>
                <a:cubicBezTo>
                  <a:pt x="193" y="288"/>
                  <a:pt x="191" y="287"/>
                  <a:pt x="187" y="285"/>
                </a:cubicBezTo>
                <a:cubicBezTo>
                  <a:pt x="189" y="287"/>
                  <a:pt x="191" y="288"/>
                  <a:pt x="195" y="289"/>
                </a:cubicBezTo>
                <a:cubicBezTo>
                  <a:pt x="197" y="290"/>
                  <a:pt x="199" y="291"/>
                  <a:pt x="201" y="292"/>
                </a:cubicBezTo>
                <a:cubicBezTo>
                  <a:pt x="203" y="293"/>
                  <a:pt x="203" y="294"/>
                  <a:pt x="201" y="294"/>
                </a:cubicBezTo>
                <a:cubicBezTo>
                  <a:pt x="199" y="293"/>
                  <a:pt x="196" y="291"/>
                  <a:pt x="195" y="293"/>
                </a:cubicBezTo>
                <a:cubicBezTo>
                  <a:pt x="195" y="292"/>
                  <a:pt x="194" y="292"/>
                  <a:pt x="193" y="292"/>
                </a:cubicBezTo>
                <a:cubicBezTo>
                  <a:pt x="193" y="291"/>
                  <a:pt x="191" y="290"/>
                  <a:pt x="189" y="290"/>
                </a:cubicBezTo>
                <a:cubicBezTo>
                  <a:pt x="184" y="287"/>
                  <a:pt x="178" y="284"/>
                  <a:pt x="172" y="281"/>
                </a:cubicBezTo>
                <a:cubicBezTo>
                  <a:pt x="169" y="279"/>
                  <a:pt x="167" y="277"/>
                  <a:pt x="162" y="275"/>
                </a:cubicBezTo>
                <a:cubicBezTo>
                  <a:pt x="160" y="273"/>
                  <a:pt x="154" y="271"/>
                  <a:pt x="152" y="269"/>
                </a:cubicBezTo>
                <a:cubicBezTo>
                  <a:pt x="151" y="269"/>
                  <a:pt x="149" y="268"/>
                  <a:pt x="148" y="267"/>
                </a:cubicBezTo>
                <a:cubicBezTo>
                  <a:pt x="147" y="266"/>
                  <a:pt x="146" y="266"/>
                  <a:pt x="146" y="265"/>
                </a:cubicBezTo>
                <a:cubicBezTo>
                  <a:pt x="145" y="265"/>
                  <a:pt x="145" y="264"/>
                  <a:pt x="144" y="264"/>
                </a:cubicBezTo>
                <a:cubicBezTo>
                  <a:pt x="146" y="265"/>
                  <a:pt x="148" y="266"/>
                  <a:pt x="150" y="267"/>
                </a:cubicBezTo>
                <a:cubicBezTo>
                  <a:pt x="152" y="267"/>
                  <a:pt x="152" y="268"/>
                  <a:pt x="154" y="268"/>
                </a:cubicBezTo>
                <a:cubicBezTo>
                  <a:pt x="155" y="269"/>
                  <a:pt x="157" y="269"/>
                  <a:pt x="158" y="270"/>
                </a:cubicBezTo>
                <a:cubicBezTo>
                  <a:pt x="158" y="269"/>
                  <a:pt x="158" y="269"/>
                  <a:pt x="159" y="269"/>
                </a:cubicBezTo>
                <a:cubicBezTo>
                  <a:pt x="162" y="270"/>
                  <a:pt x="164" y="272"/>
                  <a:pt x="168" y="273"/>
                </a:cubicBezTo>
                <a:cubicBezTo>
                  <a:pt x="170" y="274"/>
                  <a:pt x="172" y="275"/>
                  <a:pt x="173" y="276"/>
                </a:cubicBezTo>
                <a:cubicBezTo>
                  <a:pt x="173" y="276"/>
                  <a:pt x="172" y="276"/>
                  <a:pt x="173" y="277"/>
                </a:cubicBezTo>
                <a:cubicBezTo>
                  <a:pt x="175" y="277"/>
                  <a:pt x="175" y="277"/>
                  <a:pt x="176" y="277"/>
                </a:cubicBezTo>
                <a:cubicBezTo>
                  <a:pt x="177" y="277"/>
                  <a:pt x="178" y="278"/>
                  <a:pt x="180" y="279"/>
                </a:cubicBezTo>
                <a:cubicBezTo>
                  <a:pt x="180" y="279"/>
                  <a:pt x="180" y="279"/>
                  <a:pt x="180" y="279"/>
                </a:cubicBezTo>
                <a:cubicBezTo>
                  <a:pt x="186" y="283"/>
                  <a:pt x="196" y="287"/>
                  <a:pt x="204" y="291"/>
                </a:cubicBezTo>
                <a:cubicBezTo>
                  <a:pt x="208" y="293"/>
                  <a:pt x="212" y="296"/>
                  <a:pt x="216" y="298"/>
                </a:cubicBezTo>
                <a:cubicBezTo>
                  <a:pt x="218" y="299"/>
                  <a:pt x="221" y="301"/>
                  <a:pt x="224" y="302"/>
                </a:cubicBezTo>
                <a:cubicBezTo>
                  <a:pt x="225" y="303"/>
                  <a:pt x="225" y="304"/>
                  <a:pt x="228" y="304"/>
                </a:cubicBezTo>
                <a:cubicBezTo>
                  <a:pt x="233" y="305"/>
                  <a:pt x="230" y="303"/>
                  <a:pt x="230" y="303"/>
                </a:cubicBezTo>
                <a:cubicBezTo>
                  <a:pt x="231" y="303"/>
                  <a:pt x="232" y="304"/>
                  <a:pt x="234" y="304"/>
                </a:cubicBezTo>
                <a:cubicBezTo>
                  <a:pt x="232" y="303"/>
                  <a:pt x="229" y="301"/>
                  <a:pt x="226" y="299"/>
                </a:cubicBezTo>
                <a:cubicBezTo>
                  <a:pt x="227" y="299"/>
                  <a:pt x="228" y="299"/>
                  <a:pt x="226" y="298"/>
                </a:cubicBezTo>
                <a:cubicBezTo>
                  <a:pt x="223" y="297"/>
                  <a:pt x="221" y="296"/>
                  <a:pt x="217" y="294"/>
                </a:cubicBezTo>
                <a:cubicBezTo>
                  <a:pt x="217" y="294"/>
                  <a:pt x="217" y="294"/>
                  <a:pt x="217" y="294"/>
                </a:cubicBezTo>
                <a:cubicBezTo>
                  <a:pt x="217" y="294"/>
                  <a:pt x="217" y="294"/>
                  <a:pt x="217" y="294"/>
                </a:cubicBezTo>
                <a:cubicBezTo>
                  <a:pt x="217" y="294"/>
                  <a:pt x="217" y="294"/>
                  <a:pt x="217" y="294"/>
                </a:cubicBezTo>
                <a:cubicBezTo>
                  <a:pt x="217" y="294"/>
                  <a:pt x="220" y="294"/>
                  <a:pt x="215" y="293"/>
                </a:cubicBezTo>
                <a:cubicBezTo>
                  <a:pt x="214" y="292"/>
                  <a:pt x="212" y="291"/>
                  <a:pt x="214" y="291"/>
                </a:cubicBezTo>
                <a:cubicBezTo>
                  <a:pt x="214" y="291"/>
                  <a:pt x="214" y="291"/>
                  <a:pt x="214" y="291"/>
                </a:cubicBezTo>
                <a:cubicBezTo>
                  <a:pt x="214" y="291"/>
                  <a:pt x="214" y="291"/>
                  <a:pt x="214" y="291"/>
                </a:cubicBezTo>
                <a:cubicBezTo>
                  <a:pt x="214" y="291"/>
                  <a:pt x="214" y="291"/>
                  <a:pt x="214" y="291"/>
                </a:cubicBezTo>
                <a:cubicBezTo>
                  <a:pt x="219" y="293"/>
                  <a:pt x="223" y="296"/>
                  <a:pt x="230" y="298"/>
                </a:cubicBezTo>
                <a:cubicBezTo>
                  <a:pt x="231" y="299"/>
                  <a:pt x="232" y="299"/>
                  <a:pt x="233" y="300"/>
                </a:cubicBezTo>
                <a:cubicBezTo>
                  <a:pt x="236" y="300"/>
                  <a:pt x="232" y="299"/>
                  <a:pt x="232" y="299"/>
                </a:cubicBezTo>
                <a:cubicBezTo>
                  <a:pt x="233" y="299"/>
                  <a:pt x="234" y="298"/>
                  <a:pt x="235" y="298"/>
                </a:cubicBezTo>
                <a:cubicBezTo>
                  <a:pt x="239" y="300"/>
                  <a:pt x="241" y="301"/>
                  <a:pt x="244" y="303"/>
                </a:cubicBezTo>
                <a:cubicBezTo>
                  <a:pt x="246" y="304"/>
                  <a:pt x="248" y="305"/>
                  <a:pt x="250" y="305"/>
                </a:cubicBezTo>
                <a:cubicBezTo>
                  <a:pt x="253" y="306"/>
                  <a:pt x="247" y="304"/>
                  <a:pt x="246" y="303"/>
                </a:cubicBezTo>
                <a:cubicBezTo>
                  <a:pt x="246" y="303"/>
                  <a:pt x="246" y="303"/>
                  <a:pt x="246" y="302"/>
                </a:cubicBezTo>
                <a:cubicBezTo>
                  <a:pt x="246" y="302"/>
                  <a:pt x="246" y="302"/>
                  <a:pt x="246" y="302"/>
                </a:cubicBezTo>
                <a:cubicBezTo>
                  <a:pt x="247" y="302"/>
                  <a:pt x="247" y="302"/>
                  <a:pt x="248" y="302"/>
                </a:cubicBezTo>
                <a:cubicBezTo>
                  <a:pt x="245" y="301"/>
                  <a:pt x="240" y="299"/>
                  <a:pt x="238" y="298"/>
                </a:cubicBezTo>
                <a:cubicBezTo>
                  <a:pt x="237" y="297"/>
                  <a:pt x="237" y="297"/>
                  <a:pt x="236" y="296"/>
                </a:cubicBezTo>
                <a:cubicBezTo>
                  <a:pt x="236" y="296"/>
                  <a:pt x="237" y="296"/>
                  <a:pt x="238" y="296"/>
                </a:cubicBezTo>
                <a:cubicBezTo>
                  <a:pt x="238" y="296"/>
                  <a:pt x="238" y="296"/>
                  <a:pt x="237" y="295"/>
                </a:cubicBezTo>
                <a:cubicBezTo>
                  <a:pt x="231" y="292"/>
                  <a:pt x="231" y="292"/>
                  <a:pt x="237" y="292"/>
                </a:cubicBezTo>
                <a:cubicBezTo>
                  <a:pt x="239" y="292"/>
                  <a:pt x="239" y="293"/>
                  <a:pt x="242" y="293"/>
                </a:cubicBezTo>
                <a:cubicBezTo>
                  <a:pt x="244" y="293"/>
                  <a:pt x="241" y="292"/>
                  <a:pt x="240" y="292"/>
                </a:cubicBezTo>
                <a:cubicBezTo>
                  <a:pt x="239" y="291"/>
                  <a:pt x="239" y="290"/>
                  <a:pt x="241" y="291"/>
                </a:cubicBezTo>
                <a:cubicBezTo>
                  <a:pt x="247" y="293"/>
                  <a:pt x="253" y="294"/>
                  <a:pt x="258" y="297"/>
                </a:cubicBezTo>
                <a:cubicBezTo>
                  <a:pt x="258" y="297"/>
                  <a:pt x="259" y="297"/>
                  <a:pt x="258" y="297"/>
                </a:cubicBezTo>
                <a:cubicBezTo>
                  <a:pt x="258" y="297"/>
                  <a:pt x="256" y="296"/>
                  <a:pt x="255" y="297"/>
                </a:cubicBezTo>
                <a:cubicBezTo>
                  <a:pt x="260" y="300"/>
                  <a:pt x="270" y="302"/>
                  <a:pt x="275" y="305"/>
                </a:cubicBezTo>
                <a:cubicBezTo>
                  <a:pt x="277" y="307"/>
                  <a:pt x="280" y="308"/>
                  <a:pt x="284" y="310"/>
                </a:cubicBezTo>
                <a:cubicBezTo>
                  <a:pt x="285" y="311"/>
                  <a:pt x="286" y="311"/>
                  <a:pt x="288" y="311"/>
                </a:cubicBezTo>
                <a:cubicBezTo>
                  <a:pt x="290" y="311"/>
                  <a:pt x="289" y="310"/>
                  <a:pt x="287" y="310"/>
                </a:cubicBezTo>
                <a:cubicBezTo>
                  <a:pt x="283" y="308"/>
                  <a:pt x="287" y="309"/>
                  <a:pt x="287" y="308"/>
                </a:cubicBezTo>
                <a:cubicBezTo>
                  <a:pt x="288" y="308"/>
                  <a:pt x="289" y="308"/>
                  <a:pt x="289" y="309"/>
                </a:cubicBezTo>
                <a:cubicBezTo>
                  <a:pt x="287" y="308"/>
                  <a:pt x="287" y="306"/>
                  <a:pt x="282" y="306"/>
                </a:cubicBezTo>
                <a:cubicBezTo>
                  <a:pt x="281" y="306"/>
                  <a:pt x="283" y="307"/>
                  <a:pt x="283" y="307"/>
                </a:cubicBezTo>
                <a:cubicBezTo>
                  <a:pt x="280" y="307"/>
                  <a:pt x="280" y="306"/>
                  <a:pt x="278" y="305"/>
                </a:cubicBezTo>
                <a:cubicBezTo>
                  <a:pt x="273" y="303"/>
                  <a:pt x="273" y="302"/>
                  <a:pt x="268" y="300"/>
                </a:cubicBezTo>
                <a:cubicBezTo>
                  <a:pt x="266" y="299"/>
                  <a:pt x="264" y="298"/>
                  <a:pt x="262" y="297"/>
                </a:cubicBezTo>
                <a:cubicBezTo>
                  <a:pt x="262" y="296"/>
                  <a:pt x="263" y="296"/>
                  <a:pt x="262" y="295"/>
                </a:cubicBezTo>
                <a:cubicBezTo>
                  <a:pt x="260" y="294"/>
                  <a:pt x="258" y="293"/>
                  <a:pt x="256" y="292"/>
                </a:cubicBezTo>
                <a:cubicBezTo>
                  <a:pt x="256" y="292"/>
                  <a:pt x="255" y="292"/>
                  <a:pt x="255" y="292"/>
                </a:cubicBezTo>
                <a:cubicBezTo>
                  <a:pt x="257" y="293"/>
                  <a:pt x="259" y="294"/>
                  <a:pt x="261" y="295"/>
                </a:cubicBezTo>
                <a:cubicBezTo>
                  <a:pt x="256" y="294"/>
                  <a:pt x="255" y="293"/>
                  <a:pt x="252" y="292"/>
                </a:cubicBezTo>
                <a:cubicBezTo>
                  <a:pt x="251" y="290"/>
                  <a:pt x="245" y="288"/>
                  <a:pt x="242" y="287"/>
                </a:cubicBezTo>
                <a:cubicBezTo>
                  <a:pt x="242" y="286"/>
                  <a:pt x="241" y="286"/>
                  <a:pt x="240" y="286"/>
                </a:cubicBezTo>
                <a:cubicBezTo>
                  <a:pt x="240" y="286"/>
                  <a:pt x="240" y="286"/>
                  <a:pt x="240" y="286"/>
                </a:cubicBezTo>
                <a:cubicBezTo>
                  <a:pt x="240" y="286"/>
                  <a:pt x="240" y="286"/>
                  <a:pt x="240" y="286"/>
                </a:cubicBezTo>
                <a:cubicBezTo>
                  <a:pt x="240" y="286"/>
                  <a:pt x="240" y="286"/>
                  <a:pt x="240" y="286"/>
                </a:cubicBezTo>
                <a:cubicBezTo>
                  <a:pt x="236" y="285"/>
                  <a:pt x="234" y="283"/>
                  <a:pt x="229" y="281"/>
                </a:cubicBezTo>
                <a:cubicBezTo>
                  <a:pt x="229" y="281"/>
                  <a:pt x="229" y="281"/>
                  <a:pt x="229" y="281"/>
                </a:cubicBezTo>
                <a:cubicBezTo>
                  <a:pt x="229" y="281"/>
                  <a:pt x="229" y="281"/>
                  <a:pt x="229" y="281"/>
                </a:cubicBezTo>
                <a:cubicBezTo>
                  <a:pt x="228" y="280"/>
                  <a:pt x="226" y="279"/>
                  <a:pt x="224" y="279"/>
                </a:cubicBezTo>
                <a:cubicBezTo>
                  <a:pt x="223" y="277"/>
                  <a:pt x="220" y="276"/>
                  <a:pt x="217" y="275"/>
                </a:cubicBezTo>
                <a:cubicBezTo>
                  <a:pt x="215" y="274"/>
                  <a:pt x="214" y="273"/>
                  <a:pt x="212" y="273"/>
                </a:cubicBezTo>
                <a:cubicBezTo>
                  <a:pt x="212" y="272"/>
                  <a:pt x="212" y="272"/>
                  <a:pt x="212" y="272"/>
                </a:cubicBezTo>
                <a:cubicBezTo>
                  <a:pt x="210" y="271"/>
                  <a:pt x="207" y="270"/>
                  <a:pt x="208" y="269"/>
                </a:cubicBezTo>
                <a:cubicBezTo>
                  <a:pt x="214" y="271"/>
                  <a:pt x="218" y="274"/>
                  <a:pt x="225" y="276"/>
                </a:cubicBezTo>
                <a:cubicBezTo>
                  <a:pt x="236" y="282"/>
                  <a:pt x="246" y="287"/>
                  <a:pt x="257" y="292"/>
                </a:cubicBezTo>
                <a:cubicBezTo>
                  <a:pt x="258" y="292"/>
                  <a:pt x="260" y="293"/>
                  <a:pt x="261" y="293"/>
                </a:cubicBezTo>
                <a:cubicBezTo>
                  <a:pt x="262" y="294"/>
                  <a:pt x="262" y="294"/>
                  <a:pt x="263" y="294"/>
                </a:cubicBezTo>
                <a:cubicBezTo>
                  <a:pt x="269" y="297"/>
                  <a:pt x="274" y="300"/>
                  <a:pt x="280" y="302"/>
                </a:cubicBezTo>
                <a:cubicBezTo>
                  <a:pt x="286" y="305"/>
                  <a:pt x="293" y="308"/>
                  <a:pt x="297" y="311"/>
                </a:cubicBezTo>
                <a:cubicBezTo>
                  <a:pt x="298" y="312"/>
                  <a:pt x="301" y="313"/>
                  <a:pt x="303" y="315"/>
                </a:cubicBezTo>
                <a:cubicBezTo>
                  <a:pt x="302" y="314"/>
                  <a:pt x="301" y="314"/>
                  <a:pt x="300" y="314"/>
                </a:cubicBezTo>
                <a:cubicBezTo>
                  <a:pt x="301" y="315"/>
                  <a:pt x="302" y="315"/>
                  <a:pt x="304" y="316"/>
                </a:cubicBezTo>
                <a:cubicBezTo>
                  <a:pt x="305" y="316"/>
                  <a:pt x="304" y="315"/>
                  <a:pt x="304" y="315"/>
                </a:cubicBezTo>
                <a:cubicBezTo>
                  <a:pt x="305" y="315"/>
                  <a:pt x="306" y="316"/>
                  <a:pt x="309" y="316"/>
                </a:cubicBezTo>
                <a:cubicBezTo>
                  <a:pt x="304" y="314"/>
                  <a:pt x="303" y="313"/>
                  <a:pt x="299" y="311"/>
                </a:cubicBezTo>
                <a:cubicBezTo>
                  <a:pt x="297" y="310"/>
                  <a:pt x="296" y="309"/>
                  <a:pt x="294" y="308"/>
                </a:cubicBezTo>
                <a:cubicBezTo>
                  <a:pt x="290" y="306"/>
                  <a:pt x="284" y="303"/>
                  <a:pt x="280" y="300"/>
                </a:cubicBezTo>
                <a:cubicBezTo>
                  <a:pt x="281" y="300"/>
                  <a:pt x="280" y="300"/>
                  <a:pt x="280" y="299"/>
                </a:cubicBezTo>
                <a:cubicBezTo>
                  <a:pt x="279" y="299"/>
                  <a:pt x="279" y="298"/>
                  <a:pt x="280" y="298"/>
                </a:cubicBezTo>
                <a:cubicBezTo>
                  <a:pt x="282" y="298"/>
                  <a:pt x="284" y="299"/>
                  <a:pt x="285" y="300"/>
                </a:cubicBezTo>
                <a:cubicBezTo>
                  <a:pt x="288" y="301"/>
                  <a:pt x="292" y="302"/>
                  <a:pt x="296" y="303"/>
                </a:cubicBezTo>
                <a:cubicBezTo>
                  <a:pt x="300" y="305"/>
                  <a:pt x="302" y="304"/>
                  <a:pt x="304" y="304"/>
                </a:cubicBezTo>
                <a:cubicBezTo>
                  <a:pt x="304" y="304"/>
                  <a:pt x="306" y="304"/>
                  <a:pt x="307" y="304"/>
                </a:cubicBezTo>
                <a:cubicBezTo>
                  <a:pt x="308" y="305"/>
                  <a:pt x="308" y="305"/>
                  <a:pt x="306" y="305"/>
                </a:cubicBezTo>
                <a:cubicBezTo>
                  <a:pt x="303" y="305"/>
                  <a:pt x="304" y="306"/>
                  <a:pt x="302" y="306"/>
                </a:cubicBezTo>
                <a:cubicBezTo>
                  <a:pt x="306" y="307"/>
                  <a:pt x="310" y="308"/>
                  <a:pt x="314" y="310"/>
                </a:cubicBezTo>
                <a:cubicBezTo>
                  <a:pt x="313" y="309"/>
                  <a:pt x="312" y="308"/>
                  <a:pt x="312" y="307"/>
                </a:cubicBezTo>
                <a:cubicBezTo>
                  <a:pt x="314" y="308"/>
                  <a:pt x="319" y="309"/>
                  <a:pt x="318" y="307"/>
                </a:cubicBezTo>
                <a:cubicBezTo>
                  <a:pt x="317" y="305"/>
                  <a:pt x="317" y="305"/>
                  <a:pt x="321" y="305"/>
                </a:cubicBezTo>
                <a:cubicBezTo>
                  <a:pt x="317" y="304"/>
                  <a:pt x="314" y="302"/>
                  <a:pt x="310" y="302"/>
                </a:cubicBezTo>
                <a:cubicBezTo>
                  <a:pt x="310" y="302"/>
                  <a:pt x="309" y="302"/>
                  <a:pt x="309" y="302"/>
                </a:cubicBezTo>
                <a:cubicBezTo>
                  <a:pt x="309" y="301"/>
                  <a:pt x="309" y="301"/>
                  <a:pt x="310" y="301"/>
                </a:cubicBezTo>
                <a:cubicBezTo>
                  <a:pt x="312" y="301"/>
                  <a:pt x="310" y="300"/>
                  <a:pt x="309" y="300"/>
                </a:cubicBezTo>
                <a:cubicBezTo>
                  <a:pt x="308" y="300"/>
                  <a:pt x="308" y="300"/>
                  <a:pt x="308" y="299"/>
                </a:cubicBezTo>
                <a:cubicBezTo>
                  <a:pt x="308" y="299"/>
                  <a:pt x="308" y="299"/>
                  <a:pt x="306" y="298"/>
                </a:cubicBezTo>
                <a:cubicBezTo>
                  <a:pt x="304" y="297"/>
                  <a:pt x="304" y="297"/>
                  <a:pt x="306" y="297"/>
                </a:cubicBezTo>
                <a:cubicBezTo>
                  <a:pt x="307" y="297"/>
                  <a:pt x="304" y="296"/>
                  <a:pt x="305" y="295"/>
                </a:cubicBezTo>
                <a:cubicBezTo>
                  <a:pt x="306" y="296"/>
                  <a:pt x="307" y="297"/>
                  <a:pt x="308" y="297"/>
                </a:cubicBezTo>
                <a:cubicBezTo>
                  <a:pt x="310" y="299"/>
                  <a:pt x="314" y="300"/>
                  <a:pt x="317" y="302"/>
                </a:cubicBezTo>
                <a:cubicBezTo>
                  <a:pt x="318" y="303"/>
                  <a:pt x="320" y="304"/>
                  <a:pt x="322" y="305"/>
                </a:cubicBezTo>
                <a:cubicBezTo>
                  <a:pt x="323" y="305"/>
                  <a:pt x="324" y="306"/>
                  <a:pt x="325" y="306"/>
                </a:cubicBezTo>
                <a:cubicBezTo>
                  <a:pt x="326" y="306"/>
                  <a:pt x="327" y="307"/>
                  <a:pt x="327" y="307"/>
                </a:cubicBezTo>
                <a:cubicBezTo>
                  <a:pt x="327" y="307"/>
                  <a:pt x="328" y="308"/>
                  <a:pt x="329" y="308"/>
                </a:cubicBezTo>
                <a:cubicBezTo>
                  <a:pt x="330" y="308"/>
                  <a:pt x="331" y="309"/>
                  <a:pt x="332" y="309"/>
                </a:cubicBezTo>
                <a:cubicBezTo>
                  <a:pt x="332" y="308"/>
                  <a:pt x="331" y="308"/>
                  <a:pt x="330" y="308"/>
                </a:cubicBezTo>
                <a:cubicBezTo>
                  <a:pt x="329" y="307"/>
                  <a:pt x="328" y="306"/>
                  <a:pt x="326" y="306"/>
                </a:cubicBezTo>
                <a:cubicBezTo>
                  <a:pt x="321" y="303"/>
                  <a:pt x="317" y="300"/>
                  <a:pt x="309" y="297"/>
                </a:cubicBezTo>
                <a:cubicBezTo>
                  <a:pt x="305" y="294"/>
                  <a:pt x="298" y="291"/>
                  <a:pt x="292" y="288"/>
                </a:cubicBezTo>
                <a:cubicBezTo>
                  <a:pt x="289" y="287"/>
                  <a:pt x="287" y="285"/>
                  <a:pt x="284" y="284"/>
                </a:cubicBezTo>
                <a:cubicBezTo>
                  <a:pt x="283" y="283"/>
                  <a:pt x="279" y="281"/>
                  <a:pt x="276" y="280"/>
                </a:cubicBezTo>
                <a:cubicBezTo>
                  <a:pt x="280" y="281"/>
                  <a:pt x="284" y="280"/>
                  <a:pt x="289" y="282"/>
                </a:cubicBezTo>
                <a:cubicBezTo>
                  <a:pt x="294" y="284"/>
                  <a:pt x="299" y="286"/>
                  <a:pt x="303" y="288"/>
                </a:cubicBezTo>
                <a:cubicBezTo>
                  <a:pt x="309" y="291"/>
                  <a:pt x="314" y="295"/>
                  <a:pt x="322" y="298"/>
                </a:cubicBezTo>
                <a:cubicBezTo>
                  <a:pt x="325" y="299"/>
                  <a:pt x="330" y="300"/>
                  <a:pt x="334" y="302"/>
                </a:cubicBezTo>
                <a:cubicBezTo>
                  <a:pt x="335" y="300"/>
                  <a:pt x="331" y="299"/>
                  <a:pt x="328" y="298"/>
                </a:cubicBezTo>
                <a:cubicBezTo>
                  <a:pt x="326" y="297"/>
                  <a:pt x="323" y="297"/>
                  <a:pt x="323" y="296"/>
                </a:cubicBezTo>
                <a:cubicBezTo>
                  <a:pt x="323" y="295"/>
                  <a:pt x="325" y="296"/>
                  <a:pt x="327" y="296"/>
                </a:cubicBezTo>
                <a:cubicBezTo>
                  <a:pt x="328" y="296"/>
                  <a:pt x="330" y="296"/>
                  <a:pt x="331" y="296"/>
                </a:cubicBezTo>
                <a:cubicBezTo>
                  <a:pt x="331" y="297"/>
                  <a:pt x="332" y="297"/>
                  <a:pt x="333" y="298"/>
                </a:cubicBezTo>
                <a:cubicBezTo>
                  <a:pt x="333" y="298"/>
                  <a:pt x="333" y="298"/>
                  <a:pt x="333" y="298"/>
                </a:cubicBezTo>
                <a:cubicBezTo>
                  <a:pt x="333" y="298"/>
                  <a:pt x="333" y="298"/>
                  <a:pt x="333" y="298"/>
                </a:cubicBezTo>
                <a:cubicBezTo>
                  <a:pt x="332" y="298"/>
                  <a:pt x="330" y="297"/>
                  <a:pt x="330" y="297"/>
                </a:cubicBezTo>
                <a:cubicBezTo>
                  <a:pt x="330" y="298"/>
                  <a:pt x="331" y="299"/>
                  <a:pt x="334" y="299"/>
                </a:cubicBezTo>
                <a:cubicBezTo>
                  <a:pt x="334" y="299"/>
                  <a:pt x="335" y="300"/>
                  <a:pt x="335" y="300"/>
                </a:cubicBezTo>
                <a:cubicBezTo>
                  <a:pt x="337" y="301"/>
                  <a:pt x="339" y="302"/>
                  <a:pt x="341" y="303"/>
                </a:cubicBezTo>
                <a:cubicBezTo>
                  <a:pt x="341" y="303"/>
                  <a:pt x="342" y="303"/>
                  <a:pt x="342" y="303"/>
                </a:cubicBezTo>
                <a:cubicBezTo>
                  <a:pt x="340" y="302"/>
                  <a:pt x="338" y="301"/>
                  <a:pt x="336" y="300"/>
                </a:cubicBezTo>
                <a:cubicBezTo>
                  <a:pt x="335" y="299"/>
                  <a:pt x="335" y="299"/>
                  <a:pt x="337" y="298"/>
                </a:cubicBezTo>
                <a:cubicBezTo>
                  <a:pt x="339" y="299"/>
                  <a:pt x="340" y="299"/>
                  <a:pt x="341" y="299"/>
                </a:cubicBezTo>
                <a:cubicBezTo>
                  <a:pt x="342" y="300"/>
                  <a:pt x="344" y="301"/>
                  <a:pt x="347" y="301"/>
                </a:cubicBezTo>
                <a:cubicBezTo>
                  <a:pt x="346" y="300"/>
                  <a:pt x="345" y="299"/>
                  <a:pt x="344" y="299"/>
                </a:cubicBezTo>
                <a:cubicBezTo>
                  <a:pt x="343" y="297"/>
                  <a:pt x="339" y="295"/>
                  <a:pt x="335" y="294"/>
                </a:cubicBezTo>
                <a:cubicBezTo>
                  <a:pt x="334" y="293"/>
                  <a:pt x="333" y="293"/>
                  <a:pt x="331" y="292"/>
                </a:cubicBezTo>
                <a:cubicBezTo>
                  <a:pt x="331" y="292"/>
                  <a:pt x="331" y="292"/>
                  <a:pt x="330" y="291"/>
                </a:cubicBezTo>
                <a:cubicBezTo>
                  <a:pt x="330" y="291"/>
                  <a:pt x="329" y="290"/>
                  <a:pt x="327" y="290"/>
                </a:cubicBezTo>
                <a:cubicBezTo>
                  <a:pt x="326" y="289"/>
                  <a:pt x="325" y="289"/>
                  <a:pt x="325" y="289"/>
                </a:cubicBezTo>
                <a:cubicBezTo>
                  <a:pt x="327" y="288"/>
                  <a:pt x="323" y="287"/>
                  <a:pt x="324" y="287"/>
                </a:cubicBezTo>
                <a:cubicBezTo>
                  <a:pt x="325" y="287"/>
                  <a:pt x="329" y="288"/>
                  <a:pt x="329" y="287"/>
                </a:cubicBezTo>
                <a:cubicBezTo>
                  <a:pt x="330" y="287"/>
                  <a:pt x="328" y="286"/>
                  <a:pt x="326" y="285"/>
                </a:cubicBezTo>
                <a:cubicBezTo>
                  <a:pt x="324" y="284"/>
                  <a:pt x="323" y="284"/>
                  <a:pt x="322" y="283"/>
                </a:cubicBezTo>
                <a:cubicBezTo>
                  <a:pt x="320" y="281"/>
                  <a:pt x="318" y="280"/>
                  <a:pt x="311" y="278"/>
                </a:cubicBezTo>
                <a:cubicBezTo>
                  <a:pt x="310" y="277"/>
                  <a:pt x="304" y="275"/>
                  <a:pt x="301" y="273"/>
                </a:cubicBezTo>
                <a:cubicBezTo>
                  <a:pt x="296" y="271"/>
                  <a:pt x="290" y="268"/>
                  <a:pt x="284" y="265"/>
                </a:cubicBezTo>
                <a:cubicBezTo>
                  <a:pt x="283" y="264"/>
                  <a:pt x="281" y="263"/>
                  <a:pt x="276" y="262"/>
                </a:cubicBezTo>
                <a:cubicBezTo>
                  <a:pt x="278" y="263"/>
                  <a:pt x="281" y="264"/>
                  <a:pt x="283" y="265"/>
                </a:cubicBezTo>
                <a:cubicBezTo>
                  <a:pt x="285" y="266"/>
                  <a:pt x="286" y="267"/>
                  <a:pt x="288" y="268"/>
                </a:cubicBezTo>
                <a:cubicBezTo>
                  <a:pt x="282" y="266"/>
                  <a:pt x="281" y="264"/>
                  <a:pt x="277" y="263"/>
                </a:cubicBezTo>
                <a:cubicBezTo>
                  <a:pt x="275" y="262"/>
                  <a:pt x="273" y="262"/>
                  <a:pt x="272" y="261"/>
                </a:cubicBezTo>
                <a:cubicBezTo>
                  <a:pt x="272" y="261"/>
                  <a:pt x="272" y="261"/>
                  <a:pt x="272" y="261"/>
                </a:cubicBezTo>
                <a:cubicBezTo>
                  <a:pt x="272" y="261"/>
                  <a:pt x="272" y="260"/>
                  <a:pt x="270" y="259"/>
                </a:cubicBezTo>
                <a:cubicBezTo>
                  <a:pt x="268" y="259"/>
                  <a:pt x="268" y="259"/>
                  <a:pt x="268" y="260"/>
                </a:cubicBezTo>
                <a:cubicBezTo>
                  <a:pt x="265" y="258"/>
                  <a:pt x="262" y="257"/>
                  <a:pt x="260" y="256"/>
                </a:cubicBezTo>
                <a:cubicBezTo>
                  <a:pt x="260" y="256"/>
                  <a:pt x="261" y="256"/>
                  <a:pt x="262" y="256"/>
                </a:cubicBezTo>
                <a:cubicBezTo>
                  <a:pt x="263" y="256"/>
                  <a:pt x="264" y="257"/>
                  <a:pt x="265" y="257"/>
                </a:cubicBezTo>
                <a:cubicBezTo>
                  <a:pt x="269" y="258"/>
                  <a:pt x="272" y="259"/>
                  <a:pt x="273" y="260"/>
                </a:cubicBezTo>
                <a:cubicBezTo>
                  <a:pt x="274" y="260"/>
                  <a:pt x="275" y="261"/>
                  <a:pt x="276" y="261"/>
                </a:cubicBezTo>
                <a:cubicBezTo>
                  <a:pt x="277" y="261"/>
                  <a:pt x="276" y="260"/>
                  <a:pt x="275" y="260"/>
                </a:cubicBezTo>
                <a:cubicBezTo>
                  <a:pt x="276" y="260"/>
                  <a:pt x="277" y="260"/>
                  <a:pt x="277" y="260"/>
                </a:cubicBezTo>
                <a:cubicBezTo>
                  <a:pt x="278" y="260"/>
                  <a:pt x="279" y="261"/>
                  <a:pt x="280" y="261"/>
                </a:cubicBezTo>
                <a:cubicBezTo>
                  <a:pt x="285" y="263"/>
                  <a:pt x="289" y="266"/>
                  <a:pt x="294" y="268"/>
                </a:cubicBezTo>
                <a:cubicBezTo>
                  <a:pt x="294" y="268"/>
                  <a:pt x="294" y="268"/>
                  <a:pt x="294" y="267"/>
                </a:cubicBezTo>
                <a:cubicBezTo>
                  <a:pt x="294" y="267"/>
                  <a:pt x="293" y="267"/>
                  <a:pt x="293" y="267"/>
                </a:cubicBezTo>
                <a:cubicBezTo>
                  <a:pt x="293" y="267"/>
                  <a:pt x="293" y="267"/>
                  <a:pt x="293" y="267"/>
                </a:cubicBezTo>
                <a:cubicBezTo>
                  <a:pt x="293" y="267"/>
                  <a:pt x="293" y="267"/>
                  <a:pt x="293" y="267"/>
                </a:cubicBezTo>
                <a:cubicBezTo>
                  <a:pt x="296" y="267"/>
                  <a:pt x="299" y="268"/>
                  <a:pt x="300" y="270"/>
                </a:cubicBezTo>
                <a:cubicBezTo>
                  <a:pt x="301" y="270"/>
                  <a:pt x="303" y="271"/>
                  <a:pt x="306" y="272"/>
                </a:cubicBezTo>
                <a:cubicBezTo>
                  <a:pt x="307" y="272"/>
                  <a:pt x="308" y="272"/>
                  <a:pt x="308" y="272"/>
                </a:cubicBezTo>
                <a:cubicBezTo>
                  <a:pt x="310" y="271"/>
                  <a:pt x="307" y="270"/>
                  <a:pt x="305" y="270"/>
                </a:cubicBezTo>
                <a:cubicBezTo>
                  <a:pt x="298" y="266"/>
                  <a:pt x="289" y="262"/>
                  <a:pt x="282" y="259"/>
                </a:cubicBezTo>
                <a:cubicBezTo>
                  <a:pt x="282" y="259"/>
                  <a:pt x="282" y="259"/>
                  <a:pt x="282" y="259"/>
                </a:cubicBezTo>
                <a:cubicBezTo>
                  <a:pt x="279" y="257"/>
                  <a:pt x="272" y="255"/>
                  <a:pt x="271" y="253"/>
                </a:cubicBezTo>
                <a:cubicBezTo>
                  <a:pt x="281" y="257"/>
                  <a:pt x="290" y="262"/>
                  <a:pt x="299" y="266"/>
                </a:cubicBezTo>
                <a:cubicBezTo>
                  <a:pt x="308" y="270"/>
                  <a:pt x="318" y="275"/>
                  <a:pt x="330" y="280"/>
                </a:cubicBezTo>
                <a:cubicBezTo>
                  <a:pt x="332" y="281"/>
                  <a:pt x="334" y="281"/>
                  <a:pt x="336" y="282"/>
                </a:cubicBezTo>
                <a:cubicBezTo>
                  <a:pt x="340" y="285"/>
                  <a:pt x="347" y="288"/>
                  <a:pt x="352" y="291"/>
                </a:cubicBezTo>
                <a:cubicBezTo>
                  <a:pt x="353" y="291"/>
                  <a:pt x="349" y="290"/>
                  <a:pt x="349" y="289"/>
                </a:cubicBezTo>
                <a:cubicBezTo>
                  <a:pt x="355" y="290"/>
                  <a:pt x="358" y="292"/>
                  <a:pt x="361" y="294"/>
                </a:cubicBezTo>
                <a:cubicBezTo>
                  <a:pt x="363" y="295"/>
                  <a:pt x="365" y="297"/>
                  <a:pt x="371" y="298"/>
                </a:cubicBezTo>
                <a:cubicBezTo>
                  <a:pt x="376" y="299"/>
                  <a:pt x="377" y="300"/>
                  <a:pt x="380" y="302"/>
                </a:cubicBezTo>
                <a:cubicBezTo>
                  <a:pt x="380" y="302"/>
                  <a:pt x="380" y="302"/>
                  <a:pt x="380" y="302"/>
                </a:cubicBezTo>
                <a:cubicBezTo>
                  <a:pt x="385" y="304"/>
                  <a:pt x="389" y="306"/>
                  <a:pt x="393" y="308"/>
                </a:cubicBezTo>
                <a:cubicBezTo>
                  <a:pt x="390" y="307"/>
                  <a:pt x="389" y="306"/>
                  <a:pt x="387" y="306"/>
                </a:cubicBezTo>
                <a:cubicBezTo>
                  <a:pt x="386" y="305"/>
                  <a:pt x="385" y="304"/>
                  <a:pt x="381" y="303"/>
                </a:cubicBezTo>
                <a:cubicBezTo>
                  <a:pt x="382" y="304"/>
                  <a:pt x="383" y="305"/>
                  <a:pt x="386" y="306"/>
                </a:cubicBezTo>
                <a:cubicBezTo>
                  <a:pt x="389" y="307"/>
                  <a:pt x="391" y="308"/>
                  <a:pt x="394" y="310"/>
                </a:cubicBezTo>
                <a:cubicBezTo>
                  <a:pt x="396" y="311"/>
                  <a:pt x="398" y="311"/>
                  <a:pt x="399" y="312"/>
                </a:cubicBezTo>
                <a:cubicBezTo>
                  <a:pt x="399" y="312"/>
                  <a:pt x="400" y="312"/>
                  <a:pt x="400" y="312"/>
                </a:cubicBezTo>
                <a:cubicBezTo>
                  <a:pt x="398" y="311"/>
                  <a:pt x="397" y="311"/>
                  <a:pt x="396" y="310"/>
                </a:cubicBezTo>
                <a:cubicBezTo>
                  <a:pt x="396" y="310"/>
                  <a:pt x="397" y="310"/>
                  <a:pt x="397" y="310"/>
                </a:cubicBezTo>
                <a:cubicBezTo>
                  <a:pt x="402" y="313"/>
                  <a:pt x="410" y="316"/>
                  <a:pt x="413" y="319"/>
                </a:cubicBezTo>
                <a:cubicBezTo>
                  <a:pt x="416" y="320"/>
                  <a:pt x="418" y="321"/>
                  <a:pt x="421" y="322"/>
                </a:cubicBezTo>
                <a:cubicBezTo>
                  <a:pt x="421" y="323"/>
                  <a:pt x="422" y="324"/>
                  <a:pt x="426" y="325"/>
                </a:cubicBezTo>
                <a:cubicBezTo>
                  <a:pt x="429" y="328"/>
                  <a:pt x="436" y="329"/>
                  <a:pt x="442" y="331"/>
                </a:cubicBezTo>
                <a:cubicBezTo>
                  <a:pt x="442" y="331"/>
                  <a:pt x="442" y="331"/>
                  <a:pt x="443" y="331"/>
                </a:cubicBezTo>
                <a:cubicBezTo>
                  <a:pt x="444" y="332"/>
                  <a:pt x="446" y="333"/>
                  <a:pt x="448" y="334"/>
                </a:cubicBezTo>
                <a:cubicBezTo>
                  <a:pt x="450" y="335"/>
                  <a:pt x="448" y="335"/>
                  <a:pt x="446" y="334"/>
                </a:cubicBezTo>
                <a:cubicBezTo>
                  <a:pt x="445" y="334"/>
                  <a:pt x="444" y="333"/>
                  <a:pt x="441" y="333"/>
                </a:cubicBezTo>
                <a:cubicBezTo>
                  <a:pt x="442" y="333"/>
                  <a:pt x="444" y="334"/>
                  <a:pt x="445" y="334"/>
                </a:cubicBezTo>
                <a:cubicBezTo>
                  <a:pt x="446" y="335"/>
                  <a:pt x="447" y="335"/>
                  <a:pt x="448" y="336"/>
                </a:cubicBezTo>
                <a:cubicBezTo>
                  <a:pt x="452" y="338"/>
                  <a:pt x="459" y="341"/>
                  <a:pt x="465" y="344"/>
                </a:cubicBezTo>
                <a:cubicBezTo>
                  <a:pt x="467" y="345"/>
                  <a:pt x="468" y="347"/>
                  <a:pt x="473" y="348"/>
                </a:cubicBezTo>
                <a:cubicBezTo>
                  <a:pt x="472" y="347"/>
                  <a:pt x="469" y="345"/>
                  <a:pt x="466" y="344"/>
                </a:cubicBezTo>
                <a:cubicBezTo>
                  <a:pt x="463" y="342"/>
                  <a:pt x="459" y="340"/>
                  <a:pt x="455" y="339"/>
                </a:cubicBezTo>
                <a:cubicBezTo>
                  <a:pt x="457" y="338"/>
                  <a:pt x="452" y="335"/>
                  <a:pt x="450" y="334"/>
                </a:cubicBezTo>
                <a:cubicBezTo>
                  <a:pt x="449" y="333"/>
                  <a:pt x="446" y="331"/>
                  <a:pt x="444" y="330"/>
                </a:cubicBezTo>
                <a:cubicBezTo>
                  <a:pt x="444" y="329"/>
                  <a:pt x="441" y="329"/>
                  <a:pt x="439" y="328"/>
                </a:cubicBezTo>
                <a:cubicBezTo>
                  <a:pt x="435" y="326"/>
                  <a:pt x="429" y="324"/>
                  <a:pt x="432" y="323"/>
                </a:cubicBezTo>
                <a:cubicBezTo>
                  <a:pt x="433" y="323"/>
                  <a:pt x="431" y="321"/>
                  <a:pt x="427" y="321"/>
                </a:cubicBezTo>
                <a:cubicBezTo>
                  <a:pt x="425" y="320"/>
                  <a:pt x="423" y="319"/>
                  <a:pt x="421" y="318"/>
                </a:cubicBezTo>
                <a:cubicBezTo>
                  <a:pt x="420" y="317"/>
                  <a:pt x="418" y="317"/>
                  <a:pt x="417" y="316"/>
                </a:cubicBezTo>
                <a:cubicBezTo>
                  <a:pt x="417" y="315"/>
                  <a:pt x="416" y="315"/>
                  <a:pt x="414" y="314"/>
                </a:cubicBezTo>
                <a:cubicBezTo>
                  <a:pt x="413" y="314"/>
                  <a:pt x="414" y="315"/>
                  <a:pt x="415" y="316"/>
                </a:cubicBezTo>
                <a:cubicBezTo>
                  <a:pt x="416" y="317"/>
                  <a:pt x="417" y="317"/>
                  <a:pt x="419" y="318"/>
                </a:cubicBezTo>
                <a:cubicBezTo>
                  <a:pt x="421" y="319"/>
                  <a:pt x="421" y="320"/>
                  <a:pt x="419" y="320"/>
                </a:cubicBezTo>
                <a:cubicBezTo>
                  <a:pt x="417" y="320"/>
                  <a:pt x="417" y="319"/>
                  <a:pt x="416" y="319"/>
                </a:cubicBezTo>
                <a:cubicBezTo>
                  <a:pt x="408" y="314"/>
                  <a:pt x="399" y="310"/>
                  <a:pt x="391" y="306"/>
                </a:cubicBezTo>
                <a:cubicBezTo>
                  <a:pt x="393" y="306"/>
                  <a:pt x="396" y="307"/>
                  <a:pt x="397" y="308"/>
                </a:cubicBezTo>
                <a:cubicBezTo>
                  <a:pt x="402" y="311"/>
                  <a:pt x="407" y="311"/>
                  <a:pt x="413" y="311"/>
                </a:cubicBezTo>
                <a:cubicBezTo>
                  <a:pt x="413" y="312"/>
                  <a:pt x="412" y="312"/>
                  <a:pt x="413" y="312"/>
                </a:cubicBezTo>
                <a:cubicBezTo>
                  <a:pt x="413" y="313"/>
                  <a:pt x="414" y="313"/>
                  <a:pt x="415" y="313"/>
                </a:cubicBezTo>
                <a:cubicBezTo>
                  <a:pt x="415" y="312"/>
                  <a:pt x="416" y="312"/>
                  <a:pt x="414" y="311"/>
                </a:cubicBezTo>
                <a:cubicBezTo>
                  <a:pt x="413" y="311"/>
                  <a:pt x="420" y="312"/>
                  <a:pt x="416" y="310"/>
                </a:cubicBezTo>
                <a:cubicBezTo>
                  <a:pt x="414" y="309"/>
                  <a:pt x="410" y="309"/>
                  <a:pt x="410" y="309"/>
                </a:cubicBezTo>
                <a:cubicBezTo>
                  <a:pt x="406" y="311"/>
                  <a:pt x="403" y="308"/>
                  <a:pt x="399" y="307"/>
                </a:cubicBezTo>
                <a:cubicBezTo>
                  <a:pt x="398" y="306"/>
                  <a:pt x="396" y="305"/>
                  <a:pt x="395" y="305"/>
                </a:cubicBezTo>
                <a:cubicBezTo>
                  <a:pt x="391" y="302"/>
                  <a:pt x="388" y="303"/>
                  <a:pt x="385" y="303"/>
                </a:cubicBezTo>
                <a:cubicBezTo>
                  <a:pt x="385" y="303"/>
                  <a:pt x="385" y="303"/>
                  <a:pt x="385" y="303"/>
                </a:cubicBezTo>
                <a:cubicBezTo>
                  <a:pt x="384" y="302"/>
                  <a:pt x="384" y="302"/>
                  <a:pt x="384" y="302"/>
                </a:cubicBezTo>
                <a:cubicBezTo>
                  <a:pt x="382" y="301"/>
                  <a:pt x="385" y="301"/>
                  <a:pt x="384" y="299"/>
                </a:cubicBezTo>
                <a:cubicBezTo>
                  <a:pt x="380" y="296"/>
                  <a:pt x="373" y="294"/>
                  <a:pt x="369" y="291"/>
                </a:cubicBezTo>
                <a:cubicBezTo>
                  <a:pt x="367" y="291"/>
                  <a:pt x="366" y="290"/>
                  <a:pt x="365" y="289"/>
                </a:cubicBezTo>
                <a:cubicBezTo>
                  <a:pt x="359" y="288"/>
                  <a:pt x="358" y="286"/>
                  <a:pt x="354" y="284"/>
                </a:cubicBezTo>
                <a:cubicBezTo>
                  <a:pt x="348" y="282"/>
                  <a:pt x="346" y="279"/>
                  <a:pt x="341" y="277"/>
                </a:cubicBezTo>
                <a:cubicBezTo>
                  <a:pt x="338" y="276"/>
                  <a:pt x="335" y="274"/>
                  <a:pt x="333" y="273"/>
                </a:cubicBezTo>
                <a:cubicBezTo>
                  <a:pt x="327" y="270"/>
                  <a:pt x="320" y="267"/>
                  <a:pt x="314" y="264"/>
                </a:cubicBezTo>
                <a:cubicBezTo>
                  <a:pt x="313" y="263"/>
                  <a:pt x="311" y="263"/>
                  <a:pt x="310" y="262"/>
                </a:cubicBezTo>
                <a:cubicBezTo>
                  <a:pt x="311" y="262"/>
                  <a:pt x="312" y="262"/>
                  <a:pt x="313" y="262"/>
                </a:cubicBezTo>
                <a:cubicBezTo>
                  <a:pt x="318" y="265"/>
                  <a:pt x="323" y="267"/>
                  <a:pt x="329" y="269"/>
                </a:cubicBezTo>
                <a:cubicBezTo>
                  <a:pt x="328" y="269"/>
                  <a:pt x="328" y="269"/>
                  <a:pt x="328" y="268"/>
                </a:cubicBezTo>
                <a:cubicBezTo>
                  <a:pt x="328" y="269"/>
                  <a:pt x="329" y="269"/>
                  <a:pt x="329" y="269"/>
                </a:cubicBezTo>
                <a:cubicBezTo>
                  <a:pt x="335" y="272"/>
                  <a:pt x="342" y="275"/>
                  <a:pt x="348" y="279"/>
                </a:cubicBezTo>
                <a:cubicBezTo>
                  <a:pt x="354" y="281"/>
                  <a:pt x="361" y="284"/>
                  <a:pt x="367" y="287"/>
                </a:cubicBezTo>
                <a:cubicBezTo>
                  <a:pt x="377" y="291"/>
                  <a:pt x="387" y="296"/>
                  <a:pt x="396" y="300"/>
                </a:cubicBezTo>
                <a:cubicBezTo>
                  <a:pt x="398" y="301"/>
                  <a:pt x="401" y="303"/>
                  <a:pt x="404" y="304"/>
                </a:cubicBezTo>
                <a:cubicBezTo>
                  <a:pt x="409" y="307"/>
                  <a:pt x="418" y="310"/>
                  <a:pt x="424" y="314"/>
                </a:cubicBezTo>
                <a:cubicBezTo>
                  <a:pt x="425" y="315"/>
                  <a:pt x="429" y="316"/>
                  <a:pt x="432" y="318"/>
                </a:cubicBezTo>
                <a:cubicBezTo>
                  <a:pt x="433" y="317"/>
                  <a:pt x="428" y="315"/>
                  <a:pt x="426" y="314"/>
                </a:cubicBezTo>
                <a:cubicBezTo>
                  <a:pt x="426" y="314"/>
                  <a:pt x="426" y="314"/>
                  <a:pt x="426" y="314"/>
                </a:cubicBezTo>
                <a:cubicBezTo>
                  <a:pt x="428" y="313"/>
                  <a:pt x="429" y="313"/>
                  <a:pt x="436" y="315"/>
                </a:cubicBezTo>
                <a:cubicBezTo>
                  <a:pt x="434" y="314"/>
                  <a:pt x="434" y="312"/>
                  <a:pt x="430" y="311"/>
                </a:cubicBezTo>
                <a:cubicBezTo>
                  <a:pt x="428" y="311"/>
                  <a:pt x="431" y="313"/>
                  <a:pt x="426" y="311"/>
                </a:cubicBezTo>
                <a:cubicBezTo>
                  <a:pt x="422" y="310"/>
                  <a:pt x="423" y="309"/>
                  <a:pt x="420" y="308"/>
                </a:cubicBezTo>
                <a:cubicBezTo>
                  <a:pt x="420" y="307"/>
                  <a:pt x="425" y="307"/>
                  <a:pt x="425" y="307"/>
                </a:cubicBezTo>
                <a:cubicBezTo>
                  <a:pt x="434" y="309"/>
                  <a:pt x="425" y="307"/>
                  <a:pt x="426" y="306"/>
                </a:cubicBezTo>
                <a:cubicBezTo>
                  <a:pt x="425" y="306"/>
                  <a:pt x="426" y="306"/>
                  <a:pt x="427" y="306"/>
                </a:cubicBezTo>
                <a:cubicBezTo>
                  <a:pt x="427" y="306"/>
                  <a:pt x="428" y="306"/>
                  <a:pt x="429" y="306"/>
                </a:cubicBezTo>
                <a:cubicBezTo>
                  <a:pt x="430" y="306"/>
                  <a:pt x="432" y="307"/>
                  <a:pt x="434" y="308"/>
                </a:cubicBezTo>
                <a:cubicBezTo>
                  <a:pt x="436" y="309"/>
                  <a:pt x="438" y="310"/>
                  <a:pt x="440" y="311"/>
                </a:cubicBezTo>
                <a:cubicBezTo>
                  <a:pt x="444" y="314"/>
                  <a:pt x="452" y="317"/>
                  <a:pt x="460" y="320"/>
                </a:cubicBezTo>
                <a:cubicBezTo>
                  <a:pt x="453" y="317"/>
                  <a:pt x="449" y="314"/>
                  <a:pt x="441" y="311"/>
                </a:cubicBezTo>
                <a:cubicBezTo>
                  <a:pt x="439" y="310"/>
                  <a:pt x="437" y="309"/>
                  <a:pt x="434" y="308"/>
                </a:cubicBezTo>
                <a:cubicBezTo>
                  <a:pt x="433" y="307"/>
                  <a:pt x="431" y="306"/>
                  <a:pt x="429" y="305"/>
                </a:cubicBezTo>
                <a:cubicBezTo>
                  <a:pt x="431" y="305"/>
                  <a:pt x="429" y="304"/>
                  <a:pt x="430" y="303"/>
                </a:cubicBezTo>
                <a:cubicBezTo>
                  <a:pt x="434" y="303"/>
                  <a:pt x="436" y="305"/>
                  <a:pt x="438" y="306"/>
                </a:cubicBezTo>
                <a:cubicBezTo>
                  <a:pt x="449" y="312"/>
                  <a:pt x="460" y="317"/>
                  <a:pt x="471" y="323"/>
                </a:cubicBezTo>
                <a:cubicBezTo>
                  <a:pt x="472" y="324"/>
                  <a:pt x="473" y="325"/>
                  <a:pt x="475" y="325"/>
                </a:cubicBezTo>
                <a:cubicBezTo>
                  <a:pt x="476" y="326"/>
                  <a:pt x="479" y="328"/>
                  <a:pt x="482" y="329"/>
                </a:cubicBezTo>
                <a:cubicBezTo>
                  <a:pt x="482" y="329"/>
                  <a:pt x="482" y="329"/>
                  <a:pt x="482" y="329"/>
                </a:cubicBezTo>
                <a:cubicBezTo>
                  <a:pt x="482" y="329"/>
                  <a:pt x="483" y="329"/>
                  <a:pt x="483" y="330"/>
                </a:cubicBezTo>
                <a:cubicBezTo>
                  <a:pt x="485" y="331"/>
                  <a:pt x="487" y="332"/>
                  <a:pt x="490" y="334"/>
                </a:cubicBezTo>
                <a:cubicBezTo>
                  <a:pt x="491" y="335"/>
                  <a:pt x="491" y="336"/>
                  <a:pt x="498" y="339"/>
                </a:cubicBezTo>
                <a:cubicBezTo>
                  <a:pt x="505" y="341"/>
                  <a:pt x="509" y="344"/>
                  <a:pt x="507" y="346"/>
                </a:cubicBezTo>
                <a:cubicBezTo>
                  <a:pt x="507" y="346"/>
                  <a:pt x="505" y="346"/>
                  <a:pt x="506" y="347"/>
                </a:cubicBezTo>
                <a:cubicBezTo>
                  <a:pt x="509" y="348"/>
                  <a:pt x="512" y="348"/>
                  <a:pt x="515" y="349"/>
                </a:cubicBezTo>
                <a:cubicBezTo>
                  <a:pt x="517" y="349"/>
                  <a:pt x="518" y="350"/>
                  <a:pt x="519" y="351"/>
                </a:cubicBezTo>
                <a:cubicBezTo>
                  <a:pt x="519" y="351"/>
                  <a:pt x="520" y="351"/>
                  <a:pt x="520" y="351"/>
                </a:cubicBezTo>
                <a:cubicBezTo>
                  <a:pt x="523" y="353"/>
                  <a:pt x="525" y="354"/>
                  <a:pt x="528" y="356"/>
                </a:cubicBezTo>
                <a:cubicBezTo>
                  <a:pt x="529" y="357"/>
                  <a:pt x="530" y="357"/>
                  <a:pt x="533" y="358"/>
                </a:cubicBezTo>
                <a:cubicBezTo>
                  <a:pt x="533" y="357"/>
                  <a:pt x="531" y="357"/>
                  <a:pt x="529" y="356"/>
                </a:cubicBezTo>
                <a:cubicBezTo>
                  <a:pt x="529" y="356"/>
                  <a:pt x="529" y="355"/>
                  <a:pt x="529" y="355"/>
                </a:cubicBezTo>
                <a:cubicBezTo>
                  <a:pt x="529" y="355"/>
                  <a:pt x="530" y="355"/>
                  <a:pt x="530" y="355"/>
                </a:cubicBezTo>
                <a:cubicBezTo>
                  <a:pt x="531" y="355"/>
                  <a:pt x="531" y="355"/>
                  <a:pt x="531" y="356"/>
                </a:cubicBezTo>
                <a:cubicBezTo>
                  <a:pt x="533" y="357"/>
                  <a:pt x="533" y="357"/>
                  <a:pt x="537" y="359"/>
                </a:cubicBezTo>
                <a:cubicBezTo>
                  <a:pt x="537" y="358"/>
                  <a:pt x="535" y="357"/>
                  <a:pt x="532" y="356"/>
                </a:cubicBezTo>
                <a:cubicBezTo>
                  <a:pt x="531" y="355"/>
                  <a:pt x="530" y="354"/>
                  <a:pt x="528" y="354"/>
                </a:cubicBezTo>
                <a:cubicBezTo>
                  <a:pt x="529" y="353"/>
                  <a:pt x="526" y="352"/>
                  <a:pt x="525" y="351"/>
                </a:cubicBezTo>
                <a:cubicBezTo>
                  <a:pt x="525" y="351"/>
                  <a:pt x="525" y="351"/>
                  <a:pt x="524" y="350"/>
                </a:cubicBezTo>
                <a:cubicBezTo>
                  <a:pt x="521" y="349"/>
                  <a:pt x="520" y="348"/>
                  <a:pt x="517" y="347"/>
                </a:cubicBezTo>
                <a:cubicBezTo>
                  <a:pt x="517" y="346"/>
                  <a:pt x="514" y="345"/>
                  <a:pt x="512" y="344"/>
                </a:cubicBezTo>
                <a:cubicBezTo>
                  <a:pt x="511" y="343"/>
                  <a:pt x="509" y="342"/>
                  <a:pt x="509" y="341"/>
                </a:cubicBezTo>
                <a:cubicBezTo>
                  <a:pt x="509" y="341"/>
                  <a:pt x="509" y="341"/>
                  <a:pt x="509" y="341"/>
                </a:cubicBezTo>
                <a:cubicBezTo>
                  <a:pt x="510" y="341"/>
                  <a:pt x="511" y="341"/>
                  <a:pt x="510" y="341"/>
                </a:cubicBezTo>
                <a:cubicBezTo>
                  <a:pt x="509" y="340"/>
                  <a:pt x="507" y="340"/>
                  <a:pt x="506" y="340"/>
                </a:cubicBezTo>
                <a:cubicBezTo>
                  <a:pt x="500" y="337"/>
                  <a:pt x="501" y="336"/>
                  <a:pt x="496" y="334"/>
                </a:cubicBezTo>
                <a:cubicBezTo>
                  <a:pt x="495" y="333"/>
                  <a:pt x="491" y="331"/>
                  <a:pt x="491" y="330"/>
                </a:cubicBezTo>
                <a:cubicBezTo>
                  <a:pt x="500" y="334"/>
                  <a:pt x="508" y="338"/>
                  <a:pt x="514" y="341"/>
                </a:cubicBezTo>
                <a:cubicBezTo>
                  <a:pt x="514" y="342"/>
                  <a:pt x="514" y="342"/>
                  <a:pt x="516" y="343"/>
                </a:cubicBezTo>
                <a:cubicBezTo>
                  <a:pt x="518" y="344"/>
                  <a:pt x="520" y="345"/>
                  <a:pt x="523" y="346"/>
                </a:cubicBezTo>
                <a:cubicBezTo>
                  <a:pt x="522" y="345"/>
                  <a:pt x="521" y="344"/>
                  <a:pt x="519" y="343"/>
                </a:cubicBezTo>
                <a:cubicBezTo>
                  <a:pt x="518" y="342"/>
                  <a:pt x="517" y="342"/>
                  <a:pt x="516" y="342"/>
                </a:cubicBezTo>
                <a:cubicBezTo>
                  <a:pt x="516" y="341"/>
                  <a:pt x="513" y="340"/>
                  <a:pt x="513" y="339"/>
                </a:cubicBezTo>
                <a:cubicBezTo>
                  <a:pt x="514" y="339"/>
                  <a:pt x="515" y="340"/>
                  <a:pt x="517" y="340"/>
                </a:cubicBezTo>
                <a:cubicBezTo>
                  <a:pt x="519" y="341"/>
                  <a:pt x="517" y="340"/>
                  <a:pt x="517" y="339"/>
                </a:cubicBezTo>
                <a:cubicBezTo>
                  <a:pt x="514" y="338"/>
                  <a:pt x="511" y="337"/>
                  <a:pt x="507" y="336"/>
                </a:cubicBezTo>
                <a:cubicBezTo>
                  <a:pt x="505" y="334"/>
                  <a:pt x="501" y="332"/>
                  <a:pt x="496" y="330"/>
                </a:cubicBezTo>
                <a:cubicBezTo>
                  <a:pt x="492" y="328"/>
                  <a:pt x="499" y="328"/>
                  <a:pt x="499" y="327"/>
                </a:cubicBezTo>
                <a:cubicBezTo>
                  <a:pt x="500" y="327"/>
                  <a:pt x="501" y="327"/>
                  <a:pt x="503" y="328"/>
                </a:cubicBezTo>
                <a:cubicBezTo>
                  <a:pt x="507" y="330"/>
                  <a:pt x="511" y="332"/>
                  <a:pt x="513" y="333"/>
                </a:cubicBezTo>
                <a:cubicBezTo>
                  <a:pt x="511" y="334"/>
                  <a:pt x="509" y="333"/>
                  <a:pt x="507" y="332"/>
                </a:cubicBezTo>
                <a:cubicBezTo>
                  <a:pt x="509" y="333"/>
                  <a:pt x="510" y="335"/>
                  <a:pt x="514" y="335"/>
                </a:cubicBezTo>
                <a:cubicBezTo>
                  <a:pt x="517" y="336"/>
                  <a:pt x="514" y="334"/>
                  <a:pt x="515" y="334"/>
                </a:cubicBezTo>
                <a:cubicBezTo>
                  <a:pt x="520" y="335"/>
                  <a:pt x="520" y="335"/>
                  <a:pt x="518" y="333"/>
                </a:cubicBezTo>
                <a:cubicBezTo>
                  <a:pt x="514" y="331"/>
                  <a:pt x="510" y="329"/>
                  <a:pt x="506" y="327"/>
                </a:cubicBezTo>
                <a:cubicBezTo>
                  <a:pt x="505" y="326"/>
                  <a:pt x="501" y="325"/>
                  <a:pt x="502" y="325"/>
                </a:cubicBezTo>
                <a:cubicBezTo>
                  <a:pt x="506" y="325"/>
                  <a:pt x="502" y="324"/>
                  <a:pt x="503" y="323"/>
                </a:cubicBezTo>
                <a:cubicBezTo>
                  <a:pt x="506" y="324"/>
                  <a:pt x="507" y="325"/>
                  <a:pt x="509" y="325"/>
                </a:cubicBezTo>
                <a:cubicBezTo>
                  <a:pt x="515" y="326"/>
                  <a:pt x="516" y="328"/>
                  <a:pt x="523" y="330"/>
                </a:cubicBezTo>
                <a:cubicBezTo>
                  <a:pt x="522" y="329"/>
                  <a:pt x="517" y="328"/>
                  <a:pt x="517" y="327"/>
                </a:cubicBezTo>
                <a:cubicBezTo>
                  <a:pt x="517" y="325"/>
                  <a:pt x="507" y="323"/>
                  <a:pt x="510" y="321"/>
                </a:cubicBezTo>
                <a:cubicBezTo>
                  <a:pt x="511" y="322"/>
                  <a:pt x="512" y="322"/>
                  <a:pt x="513" y="323"/>
                </a:cubicBezTo>
                <a:cubicBezTo>
                  <a:pt x="513" y="324"/>
                  <a:pt x="521" y="326"/>
                  <a:pt x="524" y="328"/>
                </a:cubicBezTo>
                <a:cubicBezTo>
                  <a:pt x="523" y="327"/>
                  <a:pt x="521" y="325"/>
                  <a:pt x="517" y="324"/>
                </a:cubicBezTo>
                <a:cubicBezTo>
                  <a:pt x="513" y="322"/>
                  <a:pt x="509" y="319"/>
                  <a:pt x="504" y="317"/>
                </a:cubicBezTo>
                <a:cubicBezTo>
                  <a:pt x="509" y="319"/>
                  <a:pt x="513" y="320"/>
                  <a:pt x="518" y="322"/>
                </a:cubicBezTo>
                <a:cubicBezTo>
                  <a:pt x="518" y="323"/>
                  <a:pt x="519" y="323"/>
                  <a:pt x="521" y="325"/>
                </a:cubicBezTo>
                <a:cubicBezTo>
                  <a:pt x="523" y="324"/>
                  <a:pt x="523" y="324"/>
                  <a:pt x="521" y="322"/>
                </a:cubicBezTo>
                <a:cubicBezTo>
                  <a:pt x="521" y="322"/>
                  <a:pt x="520" y="322"/>
                  <a:pt x="520" y="321"/>
                </a:cubicBezTo>
                <a:cubicBezTo>
                  <a:pt x="514" y="316"/>
                  <a:pt x="507" y="311"/>
                  <a:pt x="498" y="305"/>
                </a:cubicBezTo>
                <a:cubicBezTo>
                  <a:pt x="499" y="306"/>
                  <a:pt x="500" y="306"/>
                  <a:pt x="500" y="306"/>
                </a:cubicBezTo>
                <a:cubicBezTo>
                  <a:pt x="508" y="311"/>
                  <a:pt x="517" y="315"/>
                  <a:pt x="525" y="320"/>
                </a:cubicBezTo>
                <a:cubicBezTo>
                  <a:pt x="530" y="323"/>
                  <a:pt x="536" y="326"/>
                  <a:pt x="542" y="329"/>
                </a:cubicBezTo>
                <a:cubicBezTo>
                  <a:pt x="542" y="278"/>
                  <a:pt x="542" y="278"/>
                  <a:pt x="542" y="278"/>
                </a:cubicBezTo>
                <a:cubicBezTo>
                  <a:pt x="542" y="277"/>
                  <a:pt x="541" y="277"/>
                  <a:pt x="541" y="277"/>
                </a:cubicBezTo>
                <a:cubicBezTo>
                  <a:pt x="540" y="276"/>
                  <a:pt x="539" y="275"/>
                  <a:pt x="538" y="275"/>
                </a:cubicBezTo>
                <a:cubicBezTo>
                  <a:pt x="538" y="274"/>
                  <a:pt x="537" y="274"/>
                  <a:pt x="536" y="274"/>
                </a:cubicBezTo>
                <a:cubicBezTo>
                  <a:pt x="538" y="273"/>
                  <a:pt x="540" y="273"/>
                  <a:pt x="542" y="274"/>
                </a:cubicBezTo>
                <a:cubicBezTo>
                  <a:pt x="542" y="256"/>
                  <a:pt x="542" y="256"/>
                  <a:pt x="542" y="256"/>
                </a:cubicBezTo>
                <a:cubicBezTo>
                  <a:pt x="542" y="256"/>
                  <a:pt x="542" y="256"/>
                  <a:pt x="542" y="255"/>
                </a:cubicBezTo>
                <a:cubicBezTo>
                  <a:pt x="541" y="255"/>
                  <a:pt x="541" y="254"/>
                  <a:pt x="541" y="254"/>
                </a:cubicBezTo>
                <a:cubicBezTo>
                  <a:pt x="541" y="254"/>
                  <a:pt x="541" y="254"/>
                  <a:pt x="542" y="254"/>
                </a:cubicBezTo>
                <a:cubicBezTo>
                  <a:pt x="542" y="254"/>
                  <a:pt x="542" y="254"/>
                  <a:pt x="542" y="254"/>
                </a:cubicBezTo>
                <a:cubicBezTo>
                  <a:pt x="542" y="237"/>
                  <a:pt x="542" y="237"/>
                  <a:pt x="542" y="237"/>
                </a:cubicBezTo>
                <a:cubicBezTo>
                  <a:pt x="542" y="237"/>
                  <a:pt x="542" y="237"/>
                  <a:pt x="542" y="236"/>
                </a:cubicBezTo>
                <a:cubicBezTo>
                  <a:pt x="542" y="236"/>
                  <a:pt x="542" y="236"/>
                  <a:pt x="542" y="236"/>
                </a:cubicBezTo>
                <a:cubicBezTo>
                  <a:pt x="542" y="207"/>
                  <a:pt x="542" y="207"/>
                  <a:pt x="542" y="207"/>
                </a:cubicBezTo>
                <a:cubicBezTo>
                  <a:pt x="542" y="207"/>
                  <a:pt x="542" y="207"/>
                  <a:pt x="542" y="207"/>
                </a:cubicBezTo>
                <a:cubicBezTo>
                  <a:pt x="542" y="206"/>
                  <a:pt x="542" y="206"/>
                  <a:pt x="542" y="206"/>
                </a:cubicBezTo>
                <a:cubicBezTo>
                  <a:pt x="542" y="206"/>
                  <a:pt x="542" y="206"/>
                  <a:pt x="542" y="206"/>
                </a:cubicBezTo>
                <a:cubicBezTo>
                  <a:pt x="542" y="193"/>
                  <a:pt x="542" y="193"/>
                  <a:pt x="542" y="193"/>
                </a:cubicBezTo>
                <a:cubicBezTo>
                  <a:pt x="542" y="193"/>
                  <a:pt x="542" y="193"/>
                  <a:pt x="542" y="193"/>
                </a:cubicBezTo>
                <a:cubicBezTo>
                  <a:pt x="542" y="192"/>
                  <a:pt x="542" y="192"/>
                  <a:pt x="542" y="192"/>
                </a:cubicBezTo>
                <a:cubicBezTo>
                  <a:pt x="542" y="192"/>
                  <a:pt x="542" y="192"/>
                  <a:pt x="542" y="192"/>
                </a:cubicBezTo>
                <a:cubicBezTo>
                  <a:pt x="542" y="148"/>
                  <a:pt x="542" y="148"/>
                  <a:pt x="542" y="148"/>
                </a:cubicBezTo>
                <a:cubicBezTo>
                  <a:pt x="540" y="147"/>
                  <a:pt x="538" y="146"/>
                  <a:pt x="537" y="145"/>
                </a:cubicBezTo>
                <a:cubicBezTo>
                  <a:pt x="539" y="146"/>
                  <a:pt x="541" y="146"/>
                  <a:pt x="542" y="147"/>
                </a:cubicBezTo>
                <a:cubicBezTo>
                  <a:pt x="542" y="144"/>
                  <a:pt x="542" y="144"/>
                  <a:pt x="542" y="144"/>
                </a:cubicBezTo>
                <a:cubicBezTo>
                  <a:pt x="542" y="144"/>
                  <a:pt x="542" y="144"/>
                  <a:pt x="542" y="144"/>
                </a:cubicBezTo>
                <a:cubicBezTo>
                  <a:pt x="542" y="144"/>
                  <a:pt x="542" y="144"/>
                  <a:pt x="542" y="144"/>
                </a:cubicBezTo>
                <a:close/>
              </a:path>
            </a:pathLst>
          </a:custGeom>
          <a:solidFill>
            <a:schemeClr val="tx1">
              <a:alpha val="7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4" name="Group 13"/>
          <p:cNvGrpSpPr/>
          <p:nvPr/>
        </p:nvGrpSpPr>
        <p:grpSpPr>
          <a:xfrm>
            <a:off x="3807111" y="2897653"/>
            <a:ext cx="4577779" cy="1062695"/>
            <a:chOff x="576775" y="2897653"/>
            <a:chExt cx="4577779" cy="1062695"/>
          </a:xfrm>
        </p:grpSpPr>
        <p:pic>
          <p:nvPicPr>
            <p:cNvPr id="12" name="Picture 11"/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35690" t="44951" r="29720" b="44305"/>
            <a:stretch/>
          </p:blipFill>
          <p:spPr>
            <a:xfrm>
              <a:off x="1702689" y="2897653"/>
              <a:ext cx="2325950" cy="736846"/>
            </a:xfrm>
            <a:prstGeom prst="rect">
              <a:avLst/>
            </a:prstGeom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3" name="Title 1"/>
            <p:cNvSpPr txBox="1">
              <a:spLocks/>
            </p:cNvSpPr>
            <p:nvPr/>
          </p:nvSpPr>
          <p:spPr>
            <a:xfrm>
              <a:off x="576775" y="3652571"/>
              <a:ext cx="4577779" cy="307777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2000" dirty="0">
                  <a:solidFill>
                    <a:schemeClr val="bg1"/>
                  </a:solidFill>
                  <a:ea typeface="Segoe UI" panose="020B0502040204020203" pitchFamily="34" charset="0"/>
                  <a:cs typeface="Segoe UI" panose="020B0502040204020203" pitchFamily="34" charset="0"/>
                </a:rPr>
                <a:t>- PowerPoint Presentation -</a:t>
              </a:r>
            </a:p>
          </p:txBody>
        </p:sp>
      </p:grpSp>
      <p:sp>
        <p:nvSpPr>
          <p:cNvPr id="15" name="Rectangle 14"/>
          <p:cNvSpPr/>
          <p:nvPr/>
        </p:nvSpPr>
        <p:spPr>
          <a:xfrm>
            <a:off x="5167313" y="4173539"/>
            <a:ext cx="571500" cy="55562"/>
          </a:xfrm>
          <a:prstGeom prst="rect">
            <a:avLst/>
          </a:prstGeom>
          <a:solidFill>
            <a:srgbClr val="E258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/>
        </p:nvSpPr>
        <p:spPr>
          <a:xfrm>
            <a:off x="5810250" y="4173539"/>
            <a:ext cx="571500" cy="55562"/>
          </a:xfrm>
          <a:prstGeom prst="rect">
            <a:avLst/>
          </a:prstGeom>
          <a:solidFill>
            <a:srgbClr val="78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/>
          <p:cNvSpPr/>
          <p:nvPr/>
        </p:nvSpPr>
        <p:spPr>
          <a:xfrm>
            <a:off x="6453187" y="4173539"/>
            <a:ext cx="571500" cy="55562"/>
          </a:xfrm>
          <a:prstGeom prst="rect">
            <a:avLst/>
          </a:prstGeom>
          <a:solidFill>
            <a:srgbClr val="3B39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129893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Rectangle 102"/>
          <p:cNvSpPr/>
          <p:nvPr/>
        </p:nvSpPr>
        <p:spPr>
          <a:xfrm>
            <a:off x="12344400" y="0"/>
            <a:ext cx="469900" cy="469900"/>
          </a:xfrm>
          <a:prstGeom prst="rect">
            <a:avLst/>
          </a:pr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4" name="Rectangle 103"/>
          <p:cNvSpPr/>
          <p:nvPr/>
        </p:nvSpPr>
        <p:spPr>
          <a:xfrm>
            <a:off x="12344400" y="649557"/>
            <a:ext cx="469900" cy="469900"/>
          </a:xfrm>
          <a:prstGeom prst="rect">
            <a:avLst/>
          </a:prstGeom>
          <a:solidFill>
            <a:srgbClr val="AFAB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5" name="Rectangle 104"/>
          <p:cNvSpPr/>
          <p:nvPr/>
        </p:nvSpPr>
        <p:spPr>
          <a:xfrm>
            <a:off x="12344400" y="1299114"/>
            <a:ext cx="469900" cy="469900"/>
          </a:xfrm>
          <a:prstGeom prst="rect">
            <a:avLst/>
          </a:prstGeom>
          <a:solidFill>
            <a:srgbClr val="7671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7" name="Rectangle 106"/>
          <p:cNvSpPr/>
          <p:nvPr/>
        </p:nvSpPr>
        <p:spPr>
          <a:xfrm>
            <a:off x="12966699" y="0"/>
            <a:ext cx="469900" cy="469900"/>
          </a:xfrm>
          <a:prstGeom prst="rect">
            <a:avLst/>
          </a:prstGeom>
          <a:solidFill>
            <a:srgbClr val="E878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8" name="Rectangle 107"/>
          <p:cNvSpPr/>
          <p:nvPr/>
        </p:nvSpPr>
        <p:spPr>
          <a:xfrm>
            <a:off x="12966699" y="649557"/>
            <a:ext cx="469900" cy="469900"/>
          </a:xfrm>
          <a:prstGeom prst="rect">
            <a:avLst/>
          </a:prstGeom>
          <a:solidFill>
            <a:srgbClr val="E258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9" name="Rectangle 108"/>
          <p:cNvSpPr/>
          <p:nvPr/>
        </p:nvSpPr>
        <p:spPr>
          <a:xfrm>
            <a:off x="12966699" y="1299114"/>
            <a:ext cx="469900" cy="469900"/>
          </a:xfrm>
          <a:prstGeom prst="rect">
            <a:avLst/>
          </a:prstGeom>
          <a:solidFill>
            <a:srgbClr val="D63E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0" name="Rectangle 109"/>
          <p:cNvSpPr/>
          <p:nvPr/>
        </p:nvSpPr>
        <p:spPr>
          <a:xfrm>
            <a:off x="13588998" y="0"/>
            <a:ext cx="469900" cy="469900"/>
          </a:xfrm>
          <a:prstGeom prst="rect">
            <a:avLst/>
          </a:prstGeom>
          <a:solidFill>
            <a:srgbClr val="8EDC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1" name="Rectangle 110"/>
          <p:cNvSpPr/>
          <p:nvPr/>
        </p:nvSpPr>
        <p:spPr>
          <a:xfrm>
            <a:off x="13588998" y="649557"/>
            <a:ext cx="469900" cy="469900"/>
          </a:xfrm>
          <a:prstGeom prst="rect">
            <a:avLst/>
          </a:prstGeom>
          <a:solidFill>
            <a:srgbClr val="78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2" name="Rectangle 111"/>
          <p:cNvSpPr/>
          <p:nvPr/>
        </p:nvSpPr>
        <p:spPr>
          <a:xfrm>
            <a:off x="13588998" y="1299114"/>
            <a:ext cx="469900" cy="469900"/>
          </a:xfrm>
          <a:prstGeom prst="rect">
            <a:avLst/>
          </a:prstGeom>
          <a:solidFill>
            <a:srgbClr val="4CC7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3" name="Rectangle 112"/>
          <p:cNvSpPr/>
          <p:nvPr/>
        </p:nvSpPr>
        <p:spPr>
          <a:xfrm>
            <a:off x="14211297" y="0"/>
            <a:ext cx="469900" cy="469900"/>
          </a:xfrm>
          <a:prstGeom prst="rect">
            <a:avLst/>
          </a:prstGeom>
          <a:solidFill>
            <a:srgbClr val="5553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4" name="Rectangle 113"/>
          <p:cNvSpPr/>
          <p:nvPr/>
        </p:nvSpPr>
        <p:spPr>
          <a:xfrm>
            <a:off x="14211297" y="649557"/>
            <a:ext cx="469900" cy="469900"/>
          </a:xfrm>
          <a:prstGeom prst="rect">
            <a:avLst/>
          </a:prstGeom>
          <a:solidFill>
            <a:srgbClr val="3B39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5" name="Rectangle 114"/>
          <p:cNvSpPr/>
          <p:nvPr/>
        </p:nvSpPr>
        <p:spPr>
          <a:xfrm>
            <a:off x="14211297" y="1299114"/>
            <a:ext cx="469900" cy="469900"/>
          </a:xfrm>
          <a:prstGeom prst="rect">
            <a:avLst/>
          </a:prstGeom>
          <a:solidFill>
            <a:srgbClr val="2523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6" name="Date Placeholder 11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E1B330-CB56-448E-9C70-830A2B9C05C8}" type="datetime1">
              <a:rPr lang="en-US" smtClean="0"/>
              <a:t>11/15/2018</a:t>
            </a:fld>
            <a:endParaRPr lang="en-US"/>
          </a:p>
        </p:txBody>
      </p:sp>
      <p:sp>
        <p:nvSpPr>
          <p:cNvPr id="117" name="Slide Number Placeholder 1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06E70-9524-410D-AE9B-78D656EAA14D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262" name="Oval 261"/>
          <p:cNvSpPr/>
          <p:nvPr/>
        </p:nvSpPr>
        <p:spPr>
          <a:xfrm>
            <a:off x="6432768" y="1893069"/>
            <a:ext cx="4141478" cy="4141478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3" name="Oval 262"/>
          <p:cNvSpPr/>
          <p:nvPr/>
        </p:nvSpPr>
        <p:spPr>
          <a:xfrm>
            <a:off x="6792152" y="2252453"/>
            <a:ext cx="3422709" cy="3422709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8" name="Freeform 114"/>
          <p:cNvSpPr>
            <a:spLocks/>
          </p:cNvSpPr>
          <p:nvPr/>
        </p:nvSpPr>
        <p:spPr bwMode="auto">
          <a:xfrm>
            <a:off x="7002872" y="3307398"/>
            <a:ext cx="1625223" cy="2166344"/>
          </a:xfrm>
          <a:custGeom>
            <a:avLst/>
            <a:gdLst>
              <a:gd name="T0" fmla="*/ 358 w 369"/>
              <a:gd name="T1" fmla="*/ 321 h 492"/>
              <a:gd name="T2" fmla="*/ 358 w 369"/>
              <a:gd name="T3" fmla="*/ 321 h 492"/>
              <a:gd name="T4" fmla="*/ 344 w 369"/>
              <a:gd name="T5" fmla="*/ 322 h 492"/>
              <a:gd name="T6" fmla="*/ 171 w 369"/>
              <a:gd name="T7" fmla="*/ 150 h 492"/>
              <a:gd name="T8" fmla="*/ 189 w 369"/>
              <a:gd name="T9" fmla="*/ 73 h 492"/>
              <a:gd name="T10" fmla="*/ 189 w 369"/>
              <a:gd name="T11" fmla="*/ 73 h 492"/>
              <a:gd name="T12" fmla="*/ 126 w 369"/>
              <a:gd name="T13" fmla="*/ 7 h 492"/>
              <a:gd name="T14" fmla="*/ 35 w 369"/>
              <a:gd name="T15" fmla="*/ 0 h 492"/>
              <a:gd name="T16" fmla="*/ 0 w 369"/>
              <a:gd name="T17" fmla="*/ 150 h 492"/>
              <a:gd name="T18" fmla="*/ 344 w 369"/>
              <a:gd name="T19" fmla="*/ 492 h 492"/>
              <a:gd name="T20" fmla="*/ 369 w 369"/>
              <a:gd name="T21" fmla="*/ 491 h 492"/>
              <a:gd name="T22" fmla="*/ 331 w 369"/>
              <a:gd name="T23" fmla="*/ 410 h 492"/>
              <a:gd name="T24" fmla="*/ 358 w 369"/>
              <a:gd name="T25" fmla="*/ 321 h 4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369" h="492">
                <a:moveTo>
                  <a:pt x="358" y="321"/>
                </a:moveTo>
                <a:cubicBezTo>
                  <a:pt x="358" y="321"/>
                  <a:pt x="358" y="321"/>
                  <a:pt x="358" y="321"/>
                </a:cubicBezTo>
                <a:cubicBezTo>
                  <a:pt x="353" y="321"/>
                  <a:pt x="348" y="322"/>
                  <a:pt x="344" y="322"/>
                </a:cubicBezTo>
                <a:cubicBezTo>
                  <a:pt x="248" y="322"/>
                  <a:pt x="171" y="245"/>
                  <a:pt x="171" y="150"/>
                </a:cubicBezTo>
                <a:cubicBezTo>
                  <a:pt x="171" y="122"/>
                  <a:pt x="177" y="96"/>
                  <a:pt x="189" y="73"/>
                </a:cubicBezTo>
                <a:cubicBezTo>
                  <a:pt x="189" y="73"/>
                  <a:pt x="189" y="73"/>
                  <a:pt x="189" y="73"/>
                </a:cubicBezTo>
                <a:cubicBezTo>
                  <a:pt x="126" y="7"/>
                  <a:pt x="126" y="7"/>
                  <a:pt x="126" y="7"/>
                </a:cubicBezTo>
                <a:cubicBezTo>
                  <a:pt x="35" y="0"/>
                  <a:pt x="35" y="0"/>
                  <a:pt x="35" y="0"/>
                </a:cubicBezTo>
                <a:cubicBezTo>
                  <a:pt x="13" y="46"/>
                  <a:pt x="0" y="96"/>
                  <a:pt x="0" y="150"/>
                </a:cubicBezTo>
                <a:cubicBezTo>
                  <a:pt x="0" y="339"/>
                  <a:pt x="154" y="492"/>
                  <a:pt x="344" y="492"/>
                </a:cubicBezTo>
                <a:cubicBezTo>
                  <a:pt x="352" y="492"/>
                  <a:pt x="361" y="491"/>
                  <a:pt x="369" y="491"/>
                </a:cubicBezTo>
                <a:cubicBezTo>
                  <a:pt x="331" y="410"/>
                  <a:pt x="331" y="410"/>
                  <a:pt x="331" y="410"/>
                </a:cubicBezTo>
                <a:lnTo>
                  <a:pt x="358" y="321"/>
                </a:lnTo>
                <a:close/>
              </a:path>
            </a:pathLst>
          </a:custGeom>
          <a:solidFill>
            <a:srgbClr val="3B3939"/>
          </a:solidFill>
          <a:ln w="14288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9" name="Freeform 115"/>
          <p:cNvSpPr>
            <a:spLocks/>
          </p:cNvSpPr>
          <p:nvPr/>
        </p:nvSpPr>
        <p:spPr bwMode="auto">
          <a:xfrm>
            <a:off x="8460738" y="3114008"/>
            <a:ext cx="1567577" cy="2356015"/>
          </a:xfrm>
          <a:custGeom>
            <a:avLst/>
            <a:gdLst>
              <a:gd name="T0" fmla="*/ 356 w 356"/>
              <a:gd name="T1" fmla="*/ 194 h 535"/>
              <a:gd name="T2" fmla="*/ 295 w 356"/>
              <a:gd name="T3" fmla="*/ 0 h 535"/>
              <a:gd name="T4" fmla="*/ 246 w 356"/>
              <a:gd name="T5" fmla="*/ 74 h 535"/>
              <a:gd name="T6" fmla="*/ 154 w 356"/>
              <a:gd name="T7" fmla="*/ 96 h 535"/>
              <a:gd name="T8" fmla="*/ 154 w 356"/>
              <a:gd name="T9" fmla="*/ 96 h 535"/>
              <a:gd name="T10" fmla="*/ 186 w 356"/>
              <a:gd name="T11" fmla="*/ 194 h 535"/>
              <a:gd name="T12" fmla="*/ 27 w 356"/>
              <a:gd name="T13" fmla="*/ 365 h 535"/>
              <a:gd name="T14" fmla="*/ 27 w 356"/>
              <a:gd name="T15" fmla="*/ 365 h 535"/>
              <a:gd name="T16" fmla="*/ 0 w 356"/>
              <a:gd name="T17" fmla="*/ 454 h 535"/>
              <a:gd name="T18" fmla="*/ 38 w 356"/>
              <a:gd name="T19" fmla="*/ 535 h 535"/>
              <a:gd name="T20" fmla="*/ 356 w 356"/>
              <a:gd name="T21" fmla="*/ 194 h 5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356" h="535">
                <a:moveTo>
                  <a:pt x="356" y="194"/>
                </a:moveTo>
                <a:cubicBezTo>
                  <a:pt x="356" y="122"/>
                  <a:pt x="333" y="55"/>
                  <a:pt x="295" y="0"/>
                </a:cubicBezTo>
                <a:cubicBezTo>
                  <a:pt x="246" y="74"/>
                  <a:pt x="246" y="74"/>
                  <a:pt x="246" y="74"/>
                </a:cubicBezTo>
                <a:cubicBezTo>
                  <a:pt x="154" y="96"/>
                  <a:pt x="154" y="96"/>
                  <a:pt x="154" y="96"/>
                </a:cubicBezTo>
                <a:cubicBezTo>
                  <a:pt x="154" y="96"/>
                  <a:pt x="154" y="96"/>
                  <a:pt x="154" y="96"/>
                </a:cubicBezTo>
                <a:cubicBezTo>
                  <a:pt x="174" y="123"/>
                  <a:pt x="186" y="157"/>
                  <a:pt x="186" y="194"/>
                </a:cubicBezTo>
                <a:cubicBezTo>
                  <a:pt x="186" y="284"/>
                  <a:pt x="116" y="358"/>
                  <a:pt x="27" y="365"/>
                </a:cubicBezTo>
                <a:cubicBezTo>
                  <a:pt x="27" y="365"/>
                  <a:pt x="27" y="365"/>
                  <a:pt x="27" y="365"/>
                </a:cubicBezTo>
                <a:cubicBezTo>
                  <a:pt x="0" y="454"/>
                  <a:pt x="0" y="454"/>
                  <a:pt x="0" y="454"/>
                </a:cubicBezTo>
                <a:cubicBezTo>
                  <a:pt x="38" y="535"/>
                  <a:pt x="38" y="535"/>
                  <a:pt x="38" y="535"/>
                </a:cubicBezTo>
                <a:cubicBezTo>
                  <a:pt x="215" y="522"/>
                  <a:pt x="356" y="374"/>
                  <a:pt x="356" y="194"/>
                </a:cubicBezTo>
                <a:close/>
              </a:path>
            </a:pathLst>
          </a:custGeom>
          <a:solidFill>
            <a:srgbClr val="78D2D2"/>
          </a:solidFill>
          <a:ln w="14288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270" name="Group 269"/>
          <p:cNvGrpSpPr/>
          <p:nvPr/>
        </p:nvGrpSpPr>
        <p:grpSpPr>
          <a:xfrm>
            <a:off x="9037190" y="3874552"/>
            <a:ext cx="1924605" cy="1911589"/>
            <a:chOff x="12573000" y="3162300"/>
            <a:chExt cx="1643062" cy="1631950"/>
          </a:xfrm>
        </p:grpSpPr>
        <p:sp>
          <p:nvSpPr>
            <p:cNvPr id="304" name="Oval 109"/>
            <p:cNvSpPr>
              <a:spLocks noChangeArrowheads="1"/>
            </p:cNvSpPr>
            <p:nvPr/>
          </p:nvSpPr>
          <p:spPr bwMode="auto">
            <a:xfrm>
              <a:off x="12573000" y="3162300"/>
              <a:ext cx="1643062" cy="1631950"/>
            </a:xfrm>
            <a:prstGeom prst="ellipse">
              <a:avLst/>
            </a:prstGeom>
            <a:solidFill>
              <a:srgbClr val="78D2D2"/>
            </a:solidFill>
            <a:ln w="14288" cap="flat">
              <a:noFill/>
              <a:prstDash val="solid"/>
              <a:miter lim="800000"/>
              <a:headEnd/>
              <a:tailEnd/>
            </a:ln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5" name="Oval 110"/>
            <p:cNvSpPr>
              <a:spLocks noChangeArrowheads="1"/>
            </p:cNvSpPr>
            <p:nvPr/>
          </p:nvSpPr>
          <p:spPr bwMode="auto">
            <a:xfrm>
              <a:off x="12754553" y="3338946"/>
              <a:ext cx="1281545" cy="1278659"/>
            </a:xfrm>
            <a:prstGeom prst="ellipse">
              <a:avLst/>
            </a:prstGeom>
            <a:solidFill>
              <a:schemeClr val="bg1"/>
            </a:solidFill>
            <a:ln w="14288" cap="flat">
              <a:noFill/>
              <a:prstDash val="solid"/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71" name="Freeform 113"/>
          <p:cNvSpPr>
            <a:spLocks/>
          </p:cNvSpPr>
          <p:nvPr/>
        </p:nvSpPr>
        <p:spPr bwMode="auto">
          <a:xfrm>
            <a:off x="7157213" y="2465034"/>
            <a:ext cx="2603332" cy="1164061"/>
          </a:xfrm>
          <a:custGeom>
            <a:avLst/>
            <a:gdLst>
              <a:gd name="T0" fmla="*/ 154 w 591"/>
              <a:gd name="T1" fmla="*/ 264 h 264"/>
              <a:gd name="T2" fmla="*/ 154 w 591"/>
              <a:gd name="T3" fmla="*/ 264 h 264"/>
              <a:gd name="T4" fmla="*/ 309 w 591"/>
              <a:gd name="T5" fmla="*/ 170 h 264"/>
              <a:gd name="T6" fmla="*/ 450 w 591"/>
              <a:gd name="T7" fmla="*/ 243 h 264"/>
              <a:gd name="T8" fmla="*/ 450 w 591"/>
              <a:gd name="T9" fmla="*/ 243 h 264"/>
              <a:gd name="T10" fmla="*/ 542 w 591"/>
              <a:gd name="T11" fmla="*/ 221 h 264"/>
              <a:gd name="T12" fmla="*/ 591 w 591"/>
              <a:gd name="T13" fmla="*/ 147 h 264"/>
              <a:gd name="T14" fmla="*/ 309 w 591"/>
              <a:gd name="T15" fmla="*/ 0 h 264"/>
              <a:gd name="T16" fmla="*/ 0 w 591"/>
              <a:gd name="T17" fmla="*/ 191 h 264"/>
              <a:gd name="T18" fmla="*/ 91 w 591"/>
              <a:gd name="T19" fmla="*/ 198 h 264"/>
              <a:gd name="T20" fmla="*/ 154 w 591"/>
              <a:gd name="T21" fmla="*/ 264 h 2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591" h="264">
                <a:moveTo>
                  <a:pt x="154" y="264"/>
                </a:moveTo>
                <a:cubicBezTo>
                  <a:pt x="154" y="264"/>
                  <a:pt x="154" y="264"/>
                  <a:pt x="154" y="264"/>
                </a:cubicBezTo>
                <a:cubicBezTo>
                  <a:pt x="183" y="208"/>
                  <a:pt x="241" y="170"/>
                  <a:pt x="309" y="170"/>
                </a:cubicBezTo>
                <a:cubicBezTo>
                  <a:pt x="367" y="170"/>
                  <a:pt x="419" y="199"/>
                  <a:pt x="450" y="243"/>
                </a:cubicBezTo>
                <a:cubicBezTo>
                  <a:pt x="450" y="243"/>
                  <a:pt x="450" y="243"/>
                  <a:pt x="450" y="243"/>
                </a:cubicBezTo>
                <a:cubicBezTo>
                  <a:pt x="542" y="221"/>
                  <a:pt x="542" y="221"/>
                  <a:pt x="542" y="221"/>
                </a:cubicBezTo>
                <a:cubicBezTo>
                  <a:pt x="591" y="147"/>
                  <a:pt x="591" y="147"/>
                  <a:pt x="591" y="147"/>
                </a:cubicBezTo>
                <a:cubicBezTo>
                  <a:pt x="529" y="58"/>
                  <a:pt x="425" y="0"/>
                  <a:pt x="309" y="0"/>
                </a:cubicBezTo>
                <a:cubicBezTo>
                  <a:pt x="173" y="0"/>
                  <a:pt x="56" y="78"/>
                  <a:pt x="0" y="191"/>
                </a:cubicBezTo>
                <a:cubicBezTo>
                  <a:pt x="91" y="198"/>
                  <a:pt x="91" y="198"/>
                  <a:pt x="91" y="198"/>
                </a:cubicBezTo>
                <a:lnTo>
                  <a:pt x="154" y="264"/>
                </a:lnTo>
                <a:close/>
              </a:path>
            </a:pathLst>
          </a:custGeom>
          <a:solidFill>
            <a:srgbClr val="E2583D"/>
          </a:solidFill>
          <a:ln w="14288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72" name="Oval 111"/>
          <p:cNvSpPr>
            <a:spLocks noChangeArrowheads="1"/>
          </p:cNvSpPr>
          <p:nvPr/>
        </p:nvSpPr>
        <p:spPr bwMode="auto">
          <a:xfrm>
            <a:off x="7557010" y="1299114"/>
            <a:ext cx="1911589" cy="1915308"/>
          </a:xfrm>
          <a:prstGeom prst="ellipse">
            <a:avLst/>
          </a:prstGeom>
          <a:solidFill>
            <a:srgbClr val="E2583D"/>
          </a:solidFill>
          <a:ln w="14288" cap="flat">
            <a:noFill/>
            <a:prstDash val="solid"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73" name="Oval 107"/>
          <p:cNvSpPr>
            <a:spLocks noChangeArrowheads="1"/>
          </p:cNvSpPr>
          <p:nvPr/>
        </p:nvSpPr>
        <p:spPr bwMode="auto">
          <a:xfrm>
            <a:off x="6086128" y="3874552"/>
            <a:ext cx="1920886" cy="1911589"/>
          </a:xfrm>
          <a:prstGeom prst="ellipse">
            <a:avLst/>
          </a:prstGeom>
          <a:solidFill>
            <a:srgbClr val="3B3939"/>
          </a:solidFill>
          <a:ln w="14288" cap="flat">
            <a:noFill/>
            <a:prstDash val="solid"/>
            <a:miter lim="800000"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74" name="Oval 108"/>
          <p:cNvSpPr>
            <a:spLocks noChangeArrowheads="1"/>
          </p:cNvSpPr>
          <p:nvPr/>
        </p:nvSpPr>
        <p:spPr bwMode="auto">
          <a:xfrm>
            <a:off x="6293464" y="4081467"/>
            <a:ext cx="1506213" cy="1497761"/>
          </a:xfrm>
          <a:prstGeom prst="ellipse">
            <a:avLst/>
          </a:prstGeom>
          <a:solidFill>
            <a:schemeClr val="bg1"/>
          </a:solidFill>
          <a:ln w="14288" cap="flat">
            <a:noFill/>
            <a:prstDash val="solid"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5" name="TextBox 294"/>
          <p:cNvSpPr txBox="1"/>
          <p:nvPr/>
        </p:nvSpPr>
        <p:spPr>
          <a:xfrm>
            <a:off x="6635521" y="4970226"/>
            <a:ext cx="822100" cy="184666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3B3939"/>
                </a:solidFill>
                <a:effectLst/>
                <a:uLnTx/>
                <a:uFillTx/>
                <a:ea typeface="+mn-ea"/>
                <a:cs typeface="+mn-cs"/>
              </a:rPr>
              <a:t>SUPPLIER</a:t>
            </a:r>
          </a:p>
        </p:txBody>
      </p:sp>
      <p:grpSp>
        <p:nvGrpSpPr>
          <p:cNvPr id="296" name="Group 295"/>
          <p:cNvGrpSpPr>
            <a:grpSpLocks noChangeAspect="1"/>
          </p:cNvGrpSpPr>
          <p:nvPr/>
        </p:nvGrpSpPr>
        <p:grpSpPr>
          <a:xfrm>
            <a:off x="6885286" y="4474158"/>
            <a:ext cx="322571" cy="421687"/>
            <a:chOff x="3359150" y="3986213"/>
            <a:chExt cx="284162" cy="371476"/>
          </a:xfrm>
          <a:solidFill>
            <a:srgbClr val="3B3939"/>
          </a:solidFill>
        </p:grpSpPr>
        <p:sp>
          <p:nvSpPr>
            <p:cNvPr id="297" name="Freeform 121"/>
            <p:cNvSpPr>
              <a:spLocks noEditPoints="1"/>
            </p:cNvSpPr>
            <p:nvPr/>
          </p:nvSpPr>
          <p:spPr bwMode="auto">
            <a:xfrm>
              <a:off x="3359150" y="4249738"/>
              <a:ext cx="107950" cy="107950"/>
            </a:xfrm>
            <a:custGeom>
              <a:avLst/>
              <a:gdLst>
                <a:gd name="T0" fmla="*/ 14 w 28"/>
                <a:gd name="T1" fmla="*/ 28 h 28"/>
                <a:gd name="T2" fmla="*/ 0 w 28"/>
                <a:gd name="T3" fmla="*/ 14 h 28"/>
                <a:gd name="T4" fmla="*/ 14 w 28"/>
                <a:gd name="T5" fmla="*/ 0 h 28"/>
                <a:gd name="T6" fmla="*/ 28 w 28"/>
                <a:gd name="T7" fmla="*/ 14 h 28"/>
                <a:gd name="T8" fmla="*/ 14 w 28"/>
                <a:gd name="T9" fmla="*/ 28 h 28"/>
                <a:gd name="T10" fmla="*/ 14 w 28"/>
                <a:gd name="T11" fmla="*/ 4 h 28"/>
                <a:gd name="T12" fmla="*/ 4 w 28"/>
                <a:gd name="T13" fmla="*/ 14 h 28"/>
                <a:gd name="T14" fmla="*/ 14 w 28"/>
                <a:gd name="T15" fmla="*/ 24 h 28"/>
                <a:gd name="T16" fmla="*/ 24 w 28"/>
                <a:gd name="T17" fmla="*/ 14 h 28"/>
                <a:gd name="T18" fmla="*/ 14 w 28"/>
                <a:gd name="T19" fmla="*/ 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28">
                  <a:moveTo>
                    <a:pt x="14" y="28"/>
                  </a:moveTo>
                  <a:cubicBezTo>
                    <a:pt x="6" y="28"/>
                    <a:pt x="0" y="22"/>
                    <a:pt x="0" y="14"/>
                  </a:cubicBezTo>
                  <a:cubicBezTo>
                    <a:pt x="0" y="6"/>
                    <a:pt x="6" y="0"/>
                    <a:pt x="14" y="0"/>
                  </a:cubicBezTo>
                  <a:cubicBezTo>
                    <a:pt x="22" y="0"/>
                    <a:pt x="28" y="6"/>
                    <a:pt x="28" y="14"/>
                  </a:cubicBezTo>
                  <a:cubicBezTo>
                    <a:pt x="28" y="22"/>
                    <a:pt x="22" y="28"/>
                    <a:pt x="14" y="28"/>
                  </a:cubicBezTo>
                  <a:close/>
                  <a:moveTo>
                    <a:pt x="14" y="4"/>
                  </a:moveTo>
                  <a:cubicBezTo>
                    <a:pt x="8" y="4"/>
                    <a:pt x="4" y="8"/>
                    <a:pt x="4" y="14"/>
                  </a:cubicBezTo>
                  <a:cubicBezTo>
                    <a:pt x="4" y="20"/>
                    <a:pt x="8" y="24"/>
                    <a:pt x="14" y="24"/>
                  </a:cubicBezTo>
                  <a:cubicBezTo>
                    <a:pt x="20" y="24"/>
                    <a:pt x="24" y="20"/>
                    <a:pt x="24" y="14"/>
                  </a:cubicBezTo>
                  <a:cubicBezTo>
                    <a:pt x="24" y="8"/>
                    <a:pt x="20" y="4"/>
                    <a:pt x="1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8" name="Freeform 122"/>
            <p:cNvSpPr>
              <a:spLocks/>
            </p:cNvSpPr>
            <p:nvPr/>
          </p:nvSpPr>
          <p:spPr bwMode="auto">
            <a:xfrm>
              <a:off x="3373438" y="3986213"/>
              <a:ext cx="63500" cy="282575"/>
            </a:xfrm>
            <a:custGeom>
              <a:avLst/>
              <a:gdLst>
                <a:gd name="T0" fmla="*/ 14 w 16"/>
                <a:gd name="T1" fmla="*/ 73 h 73"/>
                <a:gd name="T2" fmla="*/ 12 w 16"/>
                <a:gd name="T3" fmla="*/ 71 h 73"/>
                <a:gd name="T4" fmla="*/ 12 w 16"/>
                <a:gd name="T5" fmla="*/ 4 h 73"/>
                <a:gd name="T6" fmla="*/ 2 w 16"/>
                <a:gd name="T7" fmla="*/ 4 h 73"/>
                <a:gd name="T8" fmla="*/ 0 w 16"/>
                <a:gd name="T9" fmla="*/ 2 h 73"/>
                <a:gd name="T10" fmla="*/ 2 w 16"/>
                <a:gd name="T11" fmla="*/ 0 h 73"/>
                <a:gd name="T12" fmla="*/ 14 w 16"/>
                <a:gd name="T13" fmla="*/ 0 h 73"/>
                <a:gd name="T14" fmla="*/ 16 w 16"/>
                <a:gd name="T15" fmla="*/ 2 h 73"/>
                <a:gd name="T16" fmla="*/ 16 w 16"/>
                <a:gd name="T17" fmla="*/ 71 h 73"/>
                <a:gd name="T18" fmla="*/ 14 w 16"/>
                <a:gd name="T19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73">
                  <a:moveTo>
                    <a:pt x="14" y="73"/>
                  </a:moveTo>
                  <a:cubicBezTo>
                    <a:pt x="13" y="73"/>
                    <a:pt x="12" y="72"/>
                    <a:pt x="12" y="71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6" y="1"/>
                    <a:pt x="16" y="2"/>
                  </a:cubicBezTo>
                  <a:cubicBezTo>
                    <a:pt x="16" y="71"/>
                    <a:pt x="16" y="71"/>
                    <a:pt x="16" y="71"/>
                  </a:cubicBezTo>
                  <a:cubicBezTo>
                    <a:pt x="16" y="72"/>
                    <a:pt x="15" y="73"/>
                    <a:pt x="14" y="7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9" name="Freeform 123"/>
            <p:cNvSpPr>
              <a:spLocks/>
            </p:cNvSpPr>
            <p:nvPr/>
          </p:nvSpPr>
          <p:spPr bwMode="auto">
            <a:xfrm>
              <a:off x="3448050" y="4311651"/>
              <a:ext cx="195262" cy="46038"/>
            </a:xfrm>
            <a:custGeom>
              <a:avLst/>
              <a:gdLst>
                <a:gd name="T0" fmla="*/ 47 w 50"/>
                <a:gd name="T1" fmla="*/ 12 h 12"/>
                <a:gd name="T2" fmla="*/ 46 w 50"/>
                <a:gd name="T3" fmla="*/ 11 h 12"/>
                <a:gd name="T4" fmla="*/ 38 w 50"/>
                <a:gd name="T5" fmla="*/ 4 h 12"/>
                <a:gd name="T6" fmla="*/ 2 w 50"/>
                <a:gd name="T7" fmla="*/ 4 h 12"/>
                <a:gd name="T8" fmla="*/ 0 w 50"/>
                <a:gd name="T9" fmla="*/ 2 h 12"/>
                <a:gd name="T10" fmla="*/ 2 w 50"/>
                <a:gd name="T11" fmla="*/ 0 h 12"/>
                <a:gd name="T12" fmla="*/ 39 w 50"/>
                <a:gd name="T13" fmla="*/ 0 h 12"/>
                <a:gd name="T14" fmla="*/ 40 w 50"/>
                <a:gd name="T15" fmla="*/ 1 h 12"/>
                <a:gd name="T16" fmla="*/ 49 w 50"/>
                <a:gd name="T17" fmla="*/ 9 h 12"/>
                <a:gd name="T18" fmla="*/ 49 w 50"/>
                <a:gd name="T19" fmla="*/ 11 h 12"/>
                <a:gd name="T20" fmla="*/ 47 w 50"/>
                <a:gd name="T21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0" h="12">
                  <a:moveTo>
                    <a:pt x="47" y="12"/>
                  </a:moveTo>
                  <a:cubicBezTo>
                    <a:pt x="47" y="12"/>
                    <a:pt x="46" y="12"/>
                    <a:pt x="46" y="11"/>
                  </a:cubicBezTo>
                  <a:cubicBezTo>
                    <a:pt x="38" y="4"/>
                    <a:pt x="38" y="4"/>
                    <a:pt x="38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40" y="0"/>
                    <a:pt x="40" y="0"/>
                    <a:pt x="40" y="1"/>
                  </a:cubicBezTo>
                  <a:cubicBezTo>
                    <a:pt x="49" y="9"/>
                    <a:pt x="49" y="9"/>
                    <a:pt x="49" y="9"/>
                  </a:cubicBezTo>
                  <a:cubicBezTo>
                    <a:pt x="50" y="9"/>
                    <a:pt x="50" y="11"/>
                    <a:pt x="49" y="11"/>
                  </a:cubicBezTo>
                  <a:cubicBezTo>
                    <a:pt x="48" y="12"/>
                    <a:pt x="48" y="12"/>
                    <a:pt x="47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0" name="Freeform 124"/>
            <p:cNvSpPr>
              <a:spLocks noEditPoints="1"/>
            </p:cNvSpPr>
            <p:nvPr/>
          </p:nvSpPr>
          <p:spPr bwMode="auto">
            <a:xfrm>
              <a:off x="3452813" y="4141788"/>
              <a:ext cx="171450" cy="153988"/>
            </a:xfrm>
            <a:custGeom>
              <a:avLst/>
              <a:gdLst>
                <a:gd name="T0" fmla="*/ 42 w 44"/>
                <a:gd name="T1" fmla="*/ 40 h 40"/>
                <a:gd name="T2" fmla="*/ 2 w 44"/>
                <a:gd name="T3" fmla="*/ 40 h 40"/>
                <a:gd name="T4" fmla="*/ 0 w 44"/>
                <a:gd name="T5" fmla="*/ 38 h 40"/>
                <a:gd name="T6" fmla="*/ 0 w 44"/>
                <a:gd name="T7" fmla="*/ 2 h 40"/>
                <a:gd name="T8" fmla="*/ 2 w 44"/>
                <a:gd name="T9" fmla="*/ 0 h 40"/>
                <a:gd name="T10" fmla="*/ 42 w 44"/>
                <a:gd name="T11" fmla="*/ 0 h 40"/>
                <a:gd name="T12" fmla="*/ 44 w 44"/>
                <a:gd name="T13" fmla="*/ 2 h 40"/>
                <a:gd name="T14" fmla="*/ 44 w 44"/>
                <a:gd name="T15" fmla="*/ 38 h 40"/>
                <a:gd name="T16" fmla="*/ 42 w 44"/>
                <a:gd name="T17" fmla="*/ 40 h 40"/>
                <a:gd name="T18" fmla="*/ 4 w 44"/>
                <a:gd name="T19" fmla="*/ 36 h 40"/>
                <a:gd name="T20" fmla="*/ 40 w 44"/>
                <a:gd name="T21" fmla="*/ 36 h 40"/>
                <a:gd name="T22" fmla="*/ 40 w 44"/>
                <a:gd name="T23" fmla="*/ 4 h 40"/>
                <a:gd name="T24" fmla="*/ 4 w 44"/>
                <a:gd name="T25" fmla="*/ 4 h 40"/>
                <a:gd name="T26" fmla="*/ 4 w 44"/>
                <a:gd name="T27" fmla="*/ 3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40">
                  <a:moveTo>
                    <a:pt x="42" y="40"/>
                  </a:moveTo>
                  <a:cubicBezTo>
                    <a:pt x="2" y="40"/>
                    <a:pt x="2" y="40"/>
                    <a:pt x="2" y="40"/>
                  </a:cubicBezTo>
                  <a:cubicBezTo>
                    <a:pt x="1" y="40"/>
                    <a:pt x="0" y="39"/>
                    <a:pt x="0" y="38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3" y="0"/>
                    <a:pt x="44" y="1"/>
                    <a:pt x="44" y="2"/>
                  </a:cubicBezTo>
                  <a:cubicBezTo>
                    <a:pt x="44" y="38"/>
                    <a:pt x="44" y="38"/>
                    <a:pt x="44" y="38"/>
                  </a:cubicBezTo>
                  <a:cubicBezTo>
                    <a:pt x="44" y="39"/>
                    <a:pt x="43" y="40"/>
                    <a:pt x="42" y="40"/>
                  </a:cubicBezTo>
                  <a:close/>
                  <a:moveTo>
                    <a:pt x="4" y="36"/>
                  </a:moveTo>
                  <a:cubicBezTo>
                    <a:pt x="40" y="36"/>
                    <a:pt x="40" y="36"/>
                    <a:pt x="40" y="36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" y="4"/>
                    <a:pt x="4" y="4"/>
                    <a:pt x="4" y="4"/>
                  </a:cubicBezTo>
                  <a:lnTo>
                    <a:pt x="4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1" name="Freeform 125"/>
            <p:cNvSpPr>
              <a:spLocks noEditPoints="1"/>
            </p:cNvSpPr>
            <p:nvPr/>
          </p:nvSpPr>
          <p:spPr bwMode="auto">
            <a:xfrm>
              <a:off x="3452813" y="4064001"/>
              <a:ext cx="123825" cy="92075"/>
            </a:xfrm>
            <a:custGeom>
              <a:avLst/>
              <a:gdLst>
                <a:gd name="T0" fmla="*/ 30 w 32"/>
                <a:gd name="T1" fmla="*/ 24 h 24"/>
                <a:gd name="T2" fmla="*/ 2 w 32"/>
                <a:gd name="T3" fmla="*/ 24 h 24"/>
                <a:gd name="T4" fmla="*/ 0 w 32"/>
                <a:gd name="T5" fmla="*/ 22 h 24"/>
                <a:gd name="T6" fmla="*/ 0 w 32"/>
                <a:gd name="T7" fmla="*/ 2 h 24"/>
                <a:gd name="T8" fmla="*/ 2 w 32"/>
                <a:gd name="T9" fmla="*/ 0 h 24"/>
                <a:gd name="T10" fmla="*/ 30 w 32"/>
                <a:gd name="T11" fmla="*/ 0 h 24"/>
                <a:gd name="T12" fmla="*/ 32 w 32"/>
                <a:gd name="T13" fmla="*/ 2 h 24"/>
                <a:gd name="T14" fmla="*/ 32 w 32"/>
                <a:gd name="T15" fmla="*/ 22 h 24"/>
                <a:gd name="T16" fmla="*/ 30 w 32"/>
                <a:gd name="T17" fmla="*/ 24 h 24"/>
                <a:gd name="T18" fmla="*/ 4 w 32"/>
                <a:gd name="T19" fmla="*/ 20 h 24"/>
                <a:gd name="T20" fmla="*/ 28 w 32"/>
                <a:gd name="T21" fmla="*/ 20 h 24"/>
                <a:gd name="T22" fmla="*/ 28 w 32"/>
                <a:gd name="T23" fmla="*/ 4 h 24"/>
                <a:gd name="T24" fmla="*/ 4 w 32"/>
                <a:gd name="T25" fmla="*/ 4 h 24"/>
                <a:gd name="T26" fmla="*/ 4 w 32"/>
                <a:gd name="T27" fmla="*/ 2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" h="24">
                  <a:moveTo>
                    <a:pt x="30" y="24"/>
                  </a:moveTo>
                  <a:cubicBezTo>
                    <a:pt x="2" y="24"/>
                    <a:pt x="2" y="24"/>
                    <a:pt x="2" y="24"/>
                  </a:cubicBezTo>
                  <a:cubicBezTo>
                    <a:pt x="1" y="24"/>
                    <a:pt x="0" y="23"/>
                    <a:pt x="0" y="2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1" y="0"/>
                    <a:pt x="32" y="1"/>
                    <a:pt x="32" y="2"/>
                  </a:cubicBezTo>
                  <a:cubicBezTo>
                    <a:pt x="32" y="22"/>
                    <a:pt x="32" y="22"/>
                    <a:pt x="32" y="22"/>
                  </a:cubicBezTo>
                  <a:cubicBezTo>
                    <a:pt x="32" y="23"/>
                    <a:pt x="31" y="24"/>
                    <a:pt x="30" y="24"/>
                  </a:cubicBezTo>
                  <a:close/>
                  <a:moveTo>
                    <a:pt x="4" y="20"/>
                  </a:moveTo>
                  <a:cubicBezTo>
                    <a:pt x="28" y="20"/>
                    <a:pt x="28" y="20"/>
                    <a:pt x="28" y="20"/>
                  </a:cubicBezTo>
                  <a:cubicBezTo>
                    <a:pt x="28" y="4"/>
                    <a:pt x="28" y="4"/>
                    <a:pt x="28" y="4"/>
                  </a:cubicBezTo>
                  <a:cubicBezTo>
                    <a:pt x="4" y="4"/>
                    <a:pt x="4" y="4"/>
                    <a:pt x="4" y="4"/>
                  </a:cubicBezTo>
                  <a:lnTo>
                    <a:pt x="4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2" name="Freeform 126"/>
            <p:cNvSpPr>
              <a:spLocks/>
            </p:cNvSpPr>
            <p:nvPr/>
          </p:nvSpPr>
          <p:spPr bwMode="auto">
            <a:xfrm>
              <a:off x="3546475" y="4249738"/>
              <a:ext cx="46037" cy="15875"/>
            </a:xfrm>
            <a:custGeom>
              <a:avLst/>
              <a:gdLst>
                <a:gd name="T0" fmla="*/ 10 w 12"/>
                <a:gd name="T1" fmla="*/ 4 h 4"/>
                <a:gd name="T2" fmla="*/ 2 w 12"/>
                <a:gd name="T3" fmla="*/ 4 h 4"/>
                <a:gd name="T4" fmla="*/ 0 w 12"/>
                <a:gd name="T5" fmla="*/ 2 h 4"/>
                <a:gd name="T6" fmla="*/ 2 w 12"/>
                <a:gd name="T7" fmla="*/ 0 h 4"/>
                <a:gd name="T8" fmla="*/ 10 w 12"/>
                <a:gd name="T9" fmla="*/ 0 h 4"/>
                <a:gd name="T10" fmla="*/ 12 w 12"/>
                <a:gd name="T11" fmla="*/ 2 h 4"/>
                <a:gd name="T12" fmla="*/ 10 w 12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4">
                  <a:moveTo>
                    <a:pt x="10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1" y="0"/>
                    <a:pt x="12" y="1"/>
                    <a:pt x="12" y="2"/>
                  </a:cubicBezTo>
                  <a:cubicBezTo>
                    <a:pt x="12" y="3"/>
                    <a:pt x="11" y="4"/>
                    <a:pt x="1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3" name="Freeform 127"/>
            <p:cNvSpPr>
              <a:spLocks/>
            </p:cNvSpPr>
            <p:nvPr/>
          </p:nvSpPr>
          <p:spPr bwMode="auto">
            <a:xfrm>
              <a:off x="3482975" y="4110038"/>
              <a:ext cx="31750" cy="15875"/>
            </a:xfrm>
            <a:custGeom>
              <a:avLst/>
              <a:gdLst>
                <a:gd name="T0" fmla="*/ 6 w 8"/>
                <a:gd name="T1" fmla="*/ 4 h 4"/>
                <a:gd name="T2" fmla="*/ 2 w 8"/>
                <a:gd name="T3" fmla="*/ 4 h 4"/>
                <a:gd name="T4" fmla="*/ 0 w 8"/>
                <a:gd name="T5" fmla="*/ 2 h 4"/>
                <a:gd name="T6" fmla="*/ 2 w 8"/>
                <a:gd name="T7" fmla="*/ 0 h 4"/>
                <a:gd name="T8" fmla="*/ 6 w 8"/>
                <a:gd name="T9" fmla="*/ 0 h 4"/>
                <a:gd name="T10" fmla="*/ 8 w 8"/>
                <a:gd name="T11" fmla="*/ 2 h 4"/>
                <a:gd name="T12" fmla="*/ 6 w 8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4">
                  <a:moveTo>
                    <a:pt x="6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7" y="0"/>
                    <a:pt x="8" y="1"/>
                    <a:pt x="8" y="2"/>
                  </a:cubicBezTo>
                  <a:cubicBezTo>
                    <a:pt x="8" y="3"/>
                    <a:pt x="7" y="4"/>
                    <a:pt x="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86" name="Oval 112"/>
          <p:cNvSpPr>
            <a:spLocks noChangeArrowheads="1"/>
          </p:cNvSpPr>
          <p:nvPr/>
        </p:nvSpPr>
        <p:spPr bwMode="auto">
          <a:xfrm>
            <a:off x="7763925" y="1509578"/>
            <a:ext cx="1497761" cy="1494380"/>
          </a:xfrm>
          <a:prstGeom prst="ellipse">
            <a:avLst/>
          </a:prstGeom>
          <a:solidFill>
            <a:schemeClr val="bg1"/>
          </a:solidFill>
          <a:ln w="14288" cap="flat">
            <a:noFill/>
            <a:prstDash val="solid"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88" name="TextBox 287"/>
          <p:cNvSpPr txBox="1"/>
          <p:nvPr/>
        </p:nvSpPr>
        <p:spPr>
          <a:xfrm>
            <a:off x="7887374" y="2370113"/>
            <a:ext cx="1250862" cy="184666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E2583D"/>
                </a:solidFill>
                <a:effectLst/>
                <a:uLnTx/>
                <a:uFillTx/>
                <a:ea typeface="+mn-ea"/>
                <a:cs typeface="+mn-cs"/>
              </a:rPr>
              <a:t>YOUR PROCESS</a:t>
            </a:r>
          </a:p>
        </p:txBody>
      </p:sp>
      <p:grpSp>
        <p:nvGrpSpPr>
          <p:cNvPr id="289" name="Group 288"/>
          <p:cNvGrpSpPr>
            <a:grpSpLocks noChangeAspect="1"/>
          </p:cNvGrpSpPr>
          <p:nvPr/>
        </p:nvGrpSpPr>
        <p:grpSpPr>
          <a:xfrm>
            <a:off x="8292599" y="1927114"/>
            <a:ext cx="440413" cy="348502"/>
            <a:chOff x="8045450" y="1020762"/>
            <a:chExt cx="365126" cy="288926"/>
          </a:xfrm>
          <a:solidFill>
            <a:srgbClr val="E2583D"/>
          </a:solidFill>
        </p:grpSpPr>
        <p:sp>
          <p:nvSpPr>
            <p:cNvPr id="290" name="Freeform 131"/>
            <p:cNvSpPr>
              <a:spLocks/>
            </p:cNvSpPr>
            <p:nvPr/>
          </p:nvSpPr>
          <p:spPr bwMode="auto">
            <a:xfrm>
              <a:off x="8045450" y="1133475"/>
              <a:ext cx="109538" cy="82550"/>
            </a:xfrm>
            <a:custGeom>
              <a:avLst/>
              <a:gdLst>
                <a:gd name="T0" fmla="*/ 13 w 28"/>
                <a:gd name="T1" fmla="*/ 21 h 21"/>
                <a:gd name="T2" fmla="*/ 13 w 28"/>
                <a:gd name="T3" fmla="*/ 21 h 21"/>
                <a:gd name="T4" fmla="*/ 11 w 28"/>
                <a:gd name="T5" fmla="*/ 20 h 21"/>
                <a:gd name="T6" fmla="*/ 0 w 28"/>
                <a:gd name="T7" fmla="*/ 4 h 21"/>
                <a:gd name="T8" fmla="*/ 1 w 28"/>
                <a:gd name="T9" fmla="*/ 1 h 21"/>
                <a:gd name="T10" fmla="*/ 4 w 28"/>
                <a:gd name="T11" fmla="*/ 1 h 21"/>
                <a:gd name="T12" fmla="*/ 13 w 28"/>
                <a:gd name="T13" fmla="*/ 16 h 21"/>
                <a:gd name="T14" fmla="*/ 24 w 28"/>
                <a:gd name="T15" fmla="*/ 2 h 21"/>
                <a:gd name="T16" fmla="*/ 27 w 28"/>
                <a:gd name="T17" fmla="*/ 2 h 21"/>
                <a:gd name="T18" fmla="*/ 27 w 28"/>
                <a:gd name="T19" fmla="*/ 5 h 21"/>
                <a:gd name="T20" fmla="*/ 15 w 28"/>
                <a:gd name="T21" fmla="*/ 20 h 21"/>
                <a:gd name="T22" fmla="*/ 13 w 28"/>
                <a:gd name="T23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" h="21">
                  <a:moveTo>
                    <a:pt x="13" y="21"/>
                  </a:moveTo>
                  <a:cubicBezTo>
                    <a:pt x="13" y="21"/>
                    <a:pt x="13" y="21"/>
                    <a:pt x="13" y="21"/>
                  </a:cubicBezTo>
                  <a:cubicBezTo>
                    <a:pt x="12" y="21"/>
                    <a:pt x="12" y="21"/>
                    <a:pt x="11" y="2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3"/>
                    <a:pt x="0" y="1"/>
                    <a:pt x="1" y="1"/>
                  </a:cubicBezTo>
                  <a:cubicBezTo>
                    <a:pt x="2" y="0"/>
                    <a:pt x="3" y="0"/>
                    <a:pt x="4" y="1"/>
                  </a:cubicBezTo>
                  <a:cubicBezTo>
                    <a:pt x="13" y="16"/>
                    <a:pt x="13" y="16"/>
                    <a:pt x="13" y="16"/>
                  </a:cubicBezTo>
                  <a:cubicBezTo>
                    <a:pt x="24" y="2"/>
                    <a:pt x="24" y="2"/>
                    <a:pt x="24" y="2"/>
                  </a:cubicBezTo>
                  <a:cubicBezTo>
                    <a:pt x="25" y="2"/>
                    <a:pt x="26" y="1"/>
                    <a:pt x="27" y="2"/>
                  </a:cubicBezTo>
                  <a:cubicBezTo>
                    <a:pt x="28" y="3"/>
                    <a:pt x="28" y="4"/>
                    <a:pt x="27" y="5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4" y="21"/>
                    <a:pt x="14" y="21"/>
                    <a:pt x="13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1" name="Freeform 132"/>
            <p:cNvSpPr>
              <a:spLocks/>
            </p:cNvSpPr>
            <p:nvPr/>
          </p:nvSpPr>
          <p:spPr bwMode="auto">
            <a:xfrm>
              <a:off x="8080375" y="1020762"/>
              <a:ext cx="255588" cy="195263"/>
            </a:xfrm>
            <a:custGeom>
              <a:avLst/>
              <a:gdLst>
                <a:gd name="T0" fmla="*/ 4 w 66"/>
                <a:gd name="T1" fmla="*/ 50 h 50"/>
                <a:gd name="T2" fmla="*/ 2 w 66"/>
                <a:gd name="T3" fmla="*/ 48 h 50"/>
                <a:gd name="T4" fmla="*/ 7 w 66"/>
                <a:gd name="T5" fmla="*/ 20 h 50"/>
                <a:gd name="T6" fmla="*/ 30 w 66"/>
                <a:gd name="T7" fmla="*/ 3 h 50"/>
                <a:gd name="T8" fmla="*/ 65 w 66"/>
                <a:gd name="T9" fmla="*/ 14 h 50"/>
                <a:gd name="T10" fmla="*/ 65 w 66"/>
                <a:gd name="T11" fmla="*/ 17 h 50"/>
                <a:gd name="T12" fmla="*/ 62 w 66"/>
                <a:gd name="T13" fmla="*/ 17 h 50"/>
                <a:gd name="T14" fmla="*/ 31 w 66"/>
                <a:gd name="T15" fmla="*/ 7 h 50"/>
                <a:gd name="T16" fmla="*/ 10 w 66"/>
                <a:gd name="T17" fmla="*/ 22 h 50"/>
                <a:gd name="T18" fmla="*/ 6 w 66"/>
                <a:gd name="T19" fmla="*/ 47 h 50"/>
                <a:gd name="T20" fmla="*/ 4 w 66"/>
                <a:gd name="T21" fmla="*/ 50 h 50"/>
                <a:gd name="T22" fmla="*/ 4 w 66"/>
                <a:gd name="T23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6" h="50">
                  <a:moveTo>
                    <a:pt x="4" y="50"/>
                  </a:moveTo>
                  <a:cubicBezTo>
                    <a:pt x="3" y="50"/>
                    <a:pt x="2" y="49"/>
                    <a:pt x="2" y="48"/>
                  </a:cubicBezTo>
                  <a:cubicBezTo>
                    <a:pt x="0" y="39"/>
                    <a:pt x="1" y="28"/>
                    <a:pt x="7" y="20"/>
                  </a:cubicBezTo>
                  <a:cubicBezTo>
                    <a:pt x="12" y="11"/>
                    <a:pt x="20" y="5"/>
                    <a:pt x="30" y="3"/>
                  </a:cubicBezTo>
                  <a:cubicBezTo>
                    <a:pt x="43" y="0"/>
                    <a:pt x="56" y="4"/>
                    <a:pt x="65" y="14"/>
                  </a:cubicBezTo>
                  <a:cubicBezTo>
                    <a:pt x="66" y="15"/>
                    <a:pt x="66" y="16"/>
                    <a:pt x="65" y="17"/>
                  </a:cubicBezTo>
                  <a:cubicBezTo>
                    <a:pt x="64" y="18"/>
                    <a:pt x="63" y="18"/>
                    <a:pt x="62" y="17"/>
                  </a:cubicBezTo>
                  <a:cubicBezTo>
                    <a:pt x="54" y="8"/>
                    <a:pt x="42" y="4"/>
                    <a:pt x="31" y="7"/>
                  </a:cubicBezTo>
                  <a:cubicBezTo>
                    <a:pt x="22" y="9"/>
                    <a:pt x="15" y="14"/>
                    <a:pt x="10" y="22"/>
                  </a:cubicBezTo>
                  <a:cubicBezTo>
                    <a:pt x="5" y="30"/>
                    <a:pt x="4" y="39"/>
                    <a:pt x="6" y="47"/>
                  </a:cubicBezTo>
                  <a:cubicBezTo>
                    <a:pt x="6" y="48"/>
                    <a:pt x="5" y="49"/>
                    <a:pt x="4" y="50"/>
                  </a:cubicBezTo>
                  <a:cubicBezTo>
                    <a:pt x="4" y="50"/>
                    <a:pt x="4" y="50"/>
                    <a:pt x="4" y="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2" name="Freeform 133"/>
            <p:cNvSpPr>
              <a:spLocks/>
            </p:cNvSpPr>
            <p:nvPr/>
          </p:nvSpPr>
          <p:spPr bwMode="auto">
            <a:xfrm>
              <a:off x="8301038" y="1122363"/>
              <a:ext cx="109538" cy="82550"/>
            </a:xfrm>
            <a:custGeom>
              <a:avLst/>
              <a:gdLst>
                <a:gd name="T0" fmla="*/ 26 w 28"/>
                <a:gd name="T1" fmla="*/ 21 h 21"/>
                <a:gd name="T2" fmla="*/ 24 w 28"/>
                <a:gd name="T3" fmla="*/ 20 h 21"/>
                <a:gd name="T4" fmla="*/ 15 w 28"/>
                <a:gd name="T5" fmla="*/ 5 h 21"/>
                <a:gd name="T6" fmla="*/ 4 w 28"/>
                <a:gd name="T7" fmla="*/ 19 h 21"/>
                <a:gd name="T8" fmla="*/ 1 w 28"/>
                <a:gd name="T9" fmla="*/ 19 h 21"/>
                <a:gd name="T10" fmla="*/ 1 w 28"/>
                <a:gd name="T11" fmla="*/ 16 h 21"/>
                <a:gd name="T12" fmla="*/ 13 w 28"/>
                <a:gd name="T13" fmla="*/ 1 h 21"/>
                <a:gd name="T14" fmla="*/ 15 w 28"/>
                <a:gd name="T15" fmla="*/ 0 h 21"/>
                <a:gd name="T16" fmla="*/ 17 w 28"/>
                <a:gd name="T17" fmla="*/ 1 h 21"/>
                <a:gd name="T18" fmla="*/ 28 w 28"/>
                <a:gd name="T19" fmla="*/ 17 h 21"/>
                <a:gd name="T20" fmla="*/ 27 w 28"/>
                <a:gd name="T21" fmla="*/ 20 h 21"/>
                <a:gd name="T22" fmla="*/ 26 w 28"/>
                <a:gd name="T23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" h="21">
                  <a:moveTo>
                    <a:pt x="26" y="21"/>
                  </a:moveTo>
                  <a:cubicBezTo>
                    <a:pt x="25" y="21"/>
                    <a:pt x="25" y="20"/>
                    <a:pt x="24" y="20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3" y="19"/>
                    <a:pt x="2" y="20"/>
                    <a:pt x="1" y="19"/>
                  </a:cubicBezTo>
                  <a:cubicBezTo>
                    <a:pt x="0" y="18"/>
                    <a:pt x="0" y="17"/>
                    <a:pt x="1" y="16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4" y="0"/>
                    <a:pt x="14" y="0"/>
                    <a:pt x="15" y="0"/>
                  </a:cubicBezTo>
                  <a:cubicBezTo>
                    <a:pt x="16" y="0"/>
                    <a:pt x="16" y="0"/>
                    <a:pt x="17" y="1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8"/>
                    <a:pt x="28" y="20"/>
                    <a:pt x="27" y="20"/>
                  </a:cubicBezTo>
                  <a:cubicBezTo>
                    <a:pt x="27" y="20"/>
                    <a:pt x="27" y="21"/>
                    <a:pt x="26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3" name="Freeform 134"/>
            <p:cNvSpPr>
              <a:spLocks/>
            </p:cNvSpPr>
            <p:nvPr/>
          </p:nvSpPr>
          <p:spPr bwMode="auto">
            <a:xfrm>
              <a:off x="8120063" y="1122363"/>
              <a:ext cx="255588" cy="187325"/>
            </a:xfrm>
            <a:custGeom>
              <a:avLst/>
              <a:gdLst>
                <a:gd name="T0" fmla="*/ 28 w 66"/>
                <a:gd name="T1" fmla="*/ 48 h 48"/>
                <a:gd name="T2" fmla="*/ 1 w 66"/>
                <a:gd name="T3" fmla="*/ 36 h 48"/>
                <a:gd name="T4" fmla="*/ 1 w 66"/>
                <a:gd name="T5" fmla="*/ 33 h 48"/>
                <a:gd name="T6" fmla="*/ 4 w 66"/>
                <a:gd name="T7" fmla="*/ 33 h 48"/>
                <a:gd name="T8" fmla="*/ 35 w 66"/>
                <a:gd name="T9" fmla="*/ 43 h 48"/>
                <a:gd name="T10" fmla="*/ 56 w 66"/>
                <a:gd name="T11" fmla="*/ 28 h 48"/>
                <a:gd name="T12" fmla="*/ 60 w 66"/>
                <a:gd name="T13" fmla="*/ 3 h 48"/>
                <a:gd name="T14" fmla="*/ 62 w 66"/>
                <a:gd name="T15" fmla="*/ 0 h 48"/>
                <a:gd name="T16" fmla="*/ 64 w 66"/>
                <a:gd name="T17" fmla="*/ 2 h 48"/>
                <a:gd name="T18" fmla="*/ 59 w 66"/>
                <a:gd name="T19" fmla="*/ 30 h 48"/>
                <a:gd name="T20" fmla="*/ 36 w 66"/>
                <a:gd name="T21" fmla="*/ 47 h 48"/>
                <a:gd name="T22" fmla="*/ 28 w 66"/>
                <a:gd name="T2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6" h="48">
                  <a:moveTo>
                    <a:pt x="28" y="48"/>
                  </a:moveTo>
                  <a:cubicBezTo>
                    <a:pt x="18" y="48"/>
                    <a:pt x="8" y="44"/>
                    <a:pt x="1" y="36"/>
                  </a:cubicBezTo>
                  <a:cubicBezTo>
                    <a:pt x="0" y="35"/>
                    <a:pt x="0" y="34"/>
                    <a:pt x="1" y="33"/>
                  </a:cubicBezTo>
                  <a:cubicBezTo>
                    <a:pt x="2" y="32"/>
                    <a:pt x="3" y="32"/>
                    <a:pt x="4" y="33"/>
                  </a:cubicBezTo>
                  <a:cubicBezTo>
                    <a:pt x="12" y="42"/>
                    <a:pt x="24" y="46"/>
                    <a:pt x="35" y="43"/>
                  </a:cubicBezTo>
                  <a:cubicBezTo>
                    <a:pt x="44" y="41"/>
                    <a:pt x="51" y="36"/>
                    <a:pt x="56" y="28"/>
                  </a:cubicBezTo>
                  <a:cubicBezTo>
                    <a:pt x="61" y="20"/>
                    <a:pt x="62" y="11"/>
                    <a:pt x="60" y="3"/>
                  </a:cubicBezTo>
                  <a:cubicBezTo>
                    <a:pt x="60" y="2"/>
                    <a:pt x="60" y="1"/>
                    <a:pt x="62" y="0"/>
                  </a:cubicBezTo>
                  <a:cubicBezTo>
                    <a:pt x="63" y="0"/>
                    <a:pt x="64" y="1"/>
                    <a:pt x="64" y="2"/>
                  </a:cubicBezTo>
                  <a:cubicBezTo>
                    <a:pt x="66" y="11"/>
                    <a:pt x="65" y="22"/>
                    <a:pt x="59" y="30"/>
                  </a:cubicBezTo>
                  <a:cubicBezTo>
                    <a:pt x="54" y="39"/>
                    <a:pt x="46" y="45"/>
                    <a:pt x="36" y="47"/>
                  </a:cubicBezTo>
                  <a:cubicBezTo>
                    <a:pt x="34" y="48"/>
                    <a:pt x="31" y="48"/>
                    <a:pt x="28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4" name="Freeform 135"/>
            <p:cNvSpPr>
              <a:spLocks noEditPoints="1"/>
            </p:cNvSpPr>
            <p:nvPr/>
          </p:nvSpPr>
          <p:spPr bwMode="auto">
            <a:xfrm>
              <a:off x="8189913" y="1130300"/>
              <a:ext cx="76200" cy="77788"/>
            </a:xfrm>
            <a:custGeom>
              <a:avLst/>
              <a:gdLst>
                <a:gd name="T0" fmla="*/ 10 w 20"/>
                <a:gd name="T1" fmla="*/ 20 h 20"/>
                <a:gd name="T2" fmla="*/ 0 w 20"/>
                <a:gd name="T3" fmla="*/ 10 h 20"/>
                <a:gd name="T4" fmla="*/ 10 w 20"/>
                <a:gd name="T5" fmla="*/ 0 h 20"/>
                <a:gd name="T6" fmla="*/ 20 w 20"/>
                <a:gd name="T7" fmla="*/ 10 h 20"/>
                <a:gd name="T8" fmla="*/ 10 w 20"/>
                <a:gd name="T9" fmla="*/ 20 h 20"/>
                <a:gd name="T10" fmla="*/ 10 w 20"/>
                <a:gd name="T11" fmla="*/ 4 h 20"/>
                <a:gd name="T12" fmla="*/ 4 w 20"/>
                <a:gd name="T13" fmla="*/ 10 h 20"/>
                <a:gd name="T14" fmla="*/ 10 w 20"/>
                <a:gd name="T15" fmla="*/ 16 h 20"/>
                <a:gd name="T16" fmla="*/ 16 w 20"/>
                <a:gd name="T17" fmla="*/ 10 h 20"/>
                <a:gd name="T18" fmla="*/ 10 w 20"/>
                <a:gd name="T19" fmla="*/ 4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20">
                  <a:moveTo>
                    <a:pt x="10" y="20"/>
                  </a:moveTo>
                  <a:cubicBezTo>
                    <a:pt x="4" y="20"/>
                    <a:pt x="0" y="16"/>
                    <a:pt x="0" y="10"/>
                  </a:cubicBezTo>
                  <a:cubicBezTo>
                    <a:pt x="0" y="4"/>
                    <a:pt x="4" y="0"/>
                    <a:pt x="10" y="0"/>
                  </a:cubicBezTo>
                  <a:cubicBezTo>
                    <a:pt x="16" y="0"/>
                    <a:pt x="20" y="4"/>
                    <a:pt x="20" y="10"/>
                  </a:cubicBezTo>
                  <a:cubicBezTo>
                    <a:pt x="20" y="16"/>
                    <a:pt x="16" y="20"/>
                    <a:pt x="10" y="20"/>
                  </a:cubicBezTo>
                  <a:close/>
                  <a:moveTo>
                    <a:pt x="10" y="4"/>
                  </a:moveTo>
                  <a:cubicBezTo>
                    <a:pt x="7" y="4"/>
                    <a:pt x="4" y="7"/>
                    <a:pt x="4" y="10"/>
                  </a:cubicBezTo>
                  <a:cubicBezTo>
                    <a:pt x="4" y="13"/>
                    <a:pt x="7" y="16"/>
                    <a:pt x="10" y="16"/>
                  </a:cubicBezTo>
                  <a:cubicBezTo>
                    <a:pt x="13" y="16"/>
                    <a:pt x="16" y="13"/>
                    <a:pt x="16" y="10"/>
                  </a:cubicBezTo>
                  <a:cubicBezTo>
                    <a:pt x="16" y="7"/>
                    <a:pt x="13" y="4"/>
                    <a:pt x="1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78" name="TextBox 277"/>
          <p:cNvSpPr txBox="1"/>
          <p:nvPr/>
        </p:nvSpPr>
        <p:spPr>
          <a:xfrm>
            <a:off x="9516947" y="4965319"/>
            <a:ext cx="965092" cy="184666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78D2D2"/>
                </a:solidFill>
                <a:effectLst/>
                <a:uLnTx/>
                <a:uFillTx/>
                <a:ea typeface="+mn-ea"/>
                <a:cs typeface="+mn-cs"/>
              </a:rPr>
              <a:t>CUSTOMER</a:t>
            </a:r>
          </a:p>
        </p:txBody>
      </p:sp>
      <p:grpSp>
        <p:nvGrpSpPr>
          <p:cNvPr id="279" name="Group 278"/>
          <p:cNvGrpSpPr>
            <a:grpSpLocks noChangeAspect="1"/>
          </p:cNvGrpSpPr>
          <p:nvPr/>
        </p:nvGrpSpPr>
        <p:grpSpPr>
          <a:xfrm>
            <a:off x="9758693" y="4479066"/>
            <a:ext cx="481600" cy="421687"/>
            <a:chOff x="7548563" y="349250"/>
            <a:chExt cx="3317876" cy="2905126"/>
          </a:xfrm>
          <a:solidFill>
            <a:srgbClr val="78D2D2"/>
          </a:solidFill>
        </p:grpSpPr>
        <p:sp>
          <p:nvSpPr>
            <p:cNvPr id="280" name="Freeform 139"/>
            <p:cNvSpPr>
              <a:spLocks noEditPoints="1"/>
            </p:cNvSpPr>
            <p:nvPr/>
          </p:nvSpPr>
          <p:spPr bwMode="auto">
            <a:xfrm>
              <a:off x="7548563" y="1316038"/>
              <a:ext cx="831850" cy="1384300"/>
            </a:xfrm>
            <a:custGeom>
              <a:avLst/>
              <a:gdLst>
                <a:gd name="T0" fmla="*/ 165 w 221"/>
                <a:gd name="T1" fmla="*/ 368 h 368"/>
                <a:gd name="T2" fmla="*/ 55 w 221"/>
                <a:gd name="T3" fmla="*/ 368 h 368"/>
                <a:gd name="T4" fmla="*/ 37 w 221"/>
                <a:gd name="T5" fmla="*/ 350 h 368"/>
                <a:gd name="T6" fmla="*/ 37 w 221"/>
                <a:gd name="T7" fmla="*/ 200 h 368"/>
                <a:gd name="T8" fmla="*/ 0 w 221"/>
                <a:gd name="T9" fmla="*/ 129 h 368"/>
                <a:gd name="T10" fmla="*/ 0 w 221"/>
                <a:gd name="T11" fmla="*/ 19 h 368"/>
                <a:gd name="T12" fmla="*/ 18 w 221"/>
                <a:gd name="T13" fmla="*/ 0 h 368"/>
                <a:gd name="T14" fmla="*/ 202 w 221"/>
                <a:gd name="T15" fmla="*/ 0 h 368"/>
                <a:gd name="T16" fmla="*/ 221 w 221"/>
                <a:gd name="T17" fmla="*/ 19 h 368"/>
                <a:gd name="T18" fmla="*/ 221 w 221"/>
                <a:gd name="T19" fmla="*/ 129 h 368"/>
                <a:gd name="T20" fmla="*/ 184 w 221"/>
                <a:gd name="T21" fmla="*/ 200 h 368"/>
                <a:gd name="T22" fmla="*/ 184 w 221"/>
                <a:gd name="T23" fmla="*/ 350 h 368"/>
                <a:gd name="T24" fmla="*/ 165 w 221"/>
                <a:gd name="T25" fmla="*/ 368 h 368"/>
                <a:gd name="T26" fmla="*/ 74 w 221"/>
                <a:gd name="T27" fmla="*/ 331 h 368"/>
                <a:gd name="T28" fmla="*/ 147 w 221"/>
                <a:gd name="T29" fmla="*/ 331 h 368"/>
                <a:gd name="T30" fmla="*/ 147 w 221"/>
                <a:gd name="T31" fmla="*/ 184 h 368"/>
                <a:gd name="T32" fmla="*/ 165 w 221"/>
                <a:gd name="T33" fmla="*/ 166 h 368"/>
                <a:gd name="T34" fmla="*/ 184 w 221"/>
                <a:gd name="T35" fmla="*/ 129 h 368"/>
                <a:gd name="T36" fmla="*/ 184 w 221"/>
                <a:gd name="T37" fmla="*/ 37 h 368"/>
                <a:gd name="T38" fmla="*/ 37 w 221"/>
                <a:gd name="T39" fmla="*/ 37 h 368"/>
                <a:gd name="T40" fmla="*/ 37 w 221"/>
                <a:gd name="T41" fmla="*/ 129 h 368"/>
                <a:gd name="T42" fmla="*/ 55 w 221"/>
                <a:gd name="T43" fmla="*/ 166 h 368"/>
                <a:gd name="T44" fmla="*/ 74 w 221"/>
                <a:gd name="T45" fmla="*/ 184 h 368"/>
                <a:gd name="T46" fmla="*/ 74 w 221"/>
                <a:gd name="T47" fmla="*/ 331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21" h="368">
                  <a:moveTo>
                    <a:pt x="165" y="368"/>
                  </a:moveTo>
                  <a:cubicBezTo>
                    <a:pt x="55" y="368"/>
                    <a:pt x="55" y="368"/>
                    <a:pt x="55" y="368"/>
                  </a:cubicBezTo>
                  <a:cubicBezTo>
                    <a:pt x="45" y="368"/>
                    <a:pt x="37" y="360"/>
                    <a:pt x="37" y="350"/>
                  </a:cubicBezTo>
                  <a:cubicBezTo>
                    <a:pt x="37" y="200"/>
                    <a:pt x="37" y="200"/>
                    <a:pt x="37" y="200"/>
                  </a:cubicBezTo>
                  <a:cubicBezTo>
                    <a:pt x="12" y="193"/>
                    <a:pt x="0" y="169"/>
                    <a:pt x="0" y="12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9"/>
                    <a:pt x="8" y="0"/>
                    <a:pt x="18" y="0"/>
                  </a:cubicBezTo>
                  <a:cubicBezTo>
                    <a:pt x="202" y="0"/>
                    <a:pt x="202" y="0"/>
                    <a:pt x="202" y="0"/>
                  </a:cubicBezTo>
                  <a:cubicBezTo>
                    <a:pt x="212" y="0"/>
                    <a:pt x="221" y="9"/>
                    <a:pt x="221" y="19"/>
                  </a:cubicBezTo>
                  <a:cubicBezTo>
                    <a:pt x="221" y="129"/>
                    <a:pt x="221" y="129"/>
                    <a:pt x="221" y="129"/>
                  </a:cubicBezTo>
                  <a:cubicBezTo>
                    <a:pt x="221" y="169"/>
                    <a:pt x="208" y="193"/>
                    <a:pt x="184" y="200"/>
                  </a:cubicBezTo>
                  <a:cubicBezTo>
                    <a:pt x="184" y="350"/>
                    <a:pt x="184" y="350"/>
                    <a:pt x="184" y="350"/>
                  </a:cubicBezTo>
                  <a:cubicBezTo>
                    <a:pt x="184" y="360"/>
                    <a:pt x="176" y="368"/>
                    <a:pt x="165" y="368"/>
                  </a:cubicBezTo>
                  <a:close/>
                  <a:moveTo>
                    <a:pt x="74" y="331"/>
                  </a:moveTo>
                  <a:cubicBezTo>
                    <a:pt x="147" y="331"/>
                    <a:pt x="147" y="331"/>
                    <a:pt x="147" y="331"/>
                  </a:cubicBezTo>
                  <a:cubicBezTo>
                    <a:pt x="147" y="184"/>
                    <a:pt x="147" y="184"/>
                    <a:pt x="147" y="184"/>
                  </a:cubicBezTo>
                  <a:cubicBezTo>
                    <a:pt x="147" y="174"/>
                    <a:pt x="155" y="166"/>
                    <a:pt x="165" y="166"/>
                  </a:cubicBezTo>
                  <a:cubicBezTo>
                    <a:pt x="174" y="166"/>
                    <a:pt x="184" y="166"/>
                    <a:pt x="184" y="129"/>
                  </a:cubicBezTo>
                  <a:cubicBezTo>
                    <a:pt x="184" y="37"/>
                    <a:pt x="184" y="37"/>
                    <a:pt x="184" y="37"/>
                  </a:cubicBezTo>
                  <a:cubicBezTo>
                    <a:pt x="37" y="37"/>
                    <a:pt x="37" y="37"/>
                    <a:pt x="37" y="37"/>
                  </a:cubicBezTo>
                  <a:cubicBezTo>
                    <a:pt x="37" y="129"/>
                    <a:pt x="37" y="129"/>
                    <a:pt x="37" y="129"/>
                  </a:cubicBezTo>
                  <a:cubicBezTo>
                    <a:pt x="37" y="166"/>
                    <a:pt x="47" y="166"/>
                    <a:pt x="55" y="166"/>
                  </a:cubicBezTo>
                  <a:cubicBezTo>
                    <a:pt x="65" y="166"/>
                    <a:pt x="74" y="174"/>
                    <a:pt x="74" y="184"/>
                  </a:cubicBezTo>
                  <a:lnTo>
                    <a:pt x="74" y="3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1" name="Freeform 140"/>
            <p:cNvSpPr>
              <a:spLocks noEditPoints="1"/>
            </p:cNvSpPr>
            <p:nvPr/>
          </p:nvSpPr>
          <p:spPr bwMode="auto">
            <a:xfrm>
              <a:off x="10039351" y="1316038"/>
              <a:ext cx="827088" cy="1384300"/>
            </a:xfrm>
            <a:custGeom>
              <a:avLst/>
              <a:gdLst>
                <a:gd name="T0" fmla="*/ 165 w 220"/>
                <a:gd name="T1" fmla="*/ 368 h 368"/>
                <a:gd name="T2" fmla="*/ 55 w 220"/>
                <a:gd name="T3" fmla="*/ 368 h 368"/>
                <a:gd name="T4" fmla="*/ 36 w 220"/>
                <a:gd name="T5" fmla="*/ 350 h 368"/>
                <a:gd name="T6" fmla="*/ 36 w 220"/>
                <a:gd name="T7" fmla="*/ 200 h 368"/>
                <a:gd name="T8" fmla="*/ 0 w 220"/>
                <a:gd name="T9" fmla="*/ 129 h 368"/>
                <a:gd name="T10" fmla="*/ 0 w 220"/>
                <a:gd name="T11" fmla="*/ 19 h 368"/>
                <a:gd name="T12" fmla="*/ 18 w 220"/>
                <a:gd name="T13" fmla="*/ 0 h 368"/>
                <a:gd name="T14" fmla="*/ 202 w 220"/>
                <a:gd name="T15" fmla="*/ 0 h 368"/>
                <a:gd name="T16" fmla="*/ 220 w 220"/>
                <a:gd name="T17" fmla="*/ 19 h 368"/>
                <a:gd name="T18" fmla="*/ 220 w 220"/>
                <a:gd name="T19" fmla="*/ 129 h 368"/>
                <a:gd name="T20" fmla="*/ 184 w 220"/>
                <a:gd name="T21" fmla="*/ 200 h 368"/>
                <a:gd name="T22" fmla="*/ 184 w 220"/>
                <a:gd name="T23" fmla="*/ 350 h 368"/>
                <a:gd name="T24" fmla="*/ 165 w 220"/>
                <a:gd name="T25" fmla="*/ 368 h 368"/>
                <a:gd name="T26" fmla="*/ 73 w 220"/>
                <a:gd name="T27" fmla="*/ 331 h 368"/>
                <a:gd name="T28" fmla="*/ 147 w 220"/>
                <a:gd name="T29" fmla="*/ 331 h 368"/>
                <a:gd name="T30" fmla="*/ 147 w 220"/>
                <a:gd name="T31" fmla="*/ 184 h 368"/>
                <a:gd name="T32" fmla="*/ 165 w 220"/>
                <a:gd name="T33" fmla="*/ 166 h 368"/>
                <a:gd name="T34" fmla="*/ 184 w 220"/>
                <a:gd name="T35" fmla="*/ 129 h 368"/>
                <a:gd name="T36" fmla="*/ 184 w 220"/>
                <a:gd name="T37" fmla="*/ 37 h 368"/>
                <a:gd name="T38" fmla="*/ 36 w 220"/>
                <a:gd name="T39" fmla="*/ 37 h 368"/>
                <a:gd name="T40" fmla="*/ 36 w 220"/>
                <a:gd name="T41" fmla="*/ 129 h 368"/>
                <a:gd name="T42" fmla="*/ 55 w 220"/>
                <a:gd name="T43" fmla="*/ 166 h 368"/>
                <a:gd name="T44" fmla="*/ 73 w 220"/>
                <a:gd name="T45" fmla="*/ 184 h 368"/>
                <a:gd name="T46" fmla="*/ 73 w 220"/>
                <a:gd name="T47" fmla="*/ 331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20" h="368">
                  <a:moveTo>
                    <a:pt x="165" y="368"/>
                  </a:moveTo>
                  <a:cubicBezTo>
                    <a:pt x="55" y="368"/>
                    <a:pt x="55" y="368"/>
                    <a:pt x="55" y="368"/>
                  </a:cubicBezTo>
                  <a:cubicBezTo>
                    <a:pt x="45" y="368"/>
                    <a:pt x="36" y="360"/>
                    <a:pt x="36" y="350"/>
                  </a:cubicBezTo>
                  <a:cubicBezTo>
                    <a:pt x="36" y="200"/>
                    <a:pt x="36" y="200"/>
                    <a:pt x="36" y="200"/>
                  </a:cubicBezTo>
                  <a:cubicBezTo>
                    <a:pt x="12" y="193"/>
                    <a:pt x="0" y="169"/>
                    <a:pt x="0" y="12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9"/>
                    <a:pt x="8" y="0"/>
                    <a:pt x="18" y="0"/>
                  </a:cubicBezTo>
                  <a:cubicBezTo>
                    <a:pt x="202" y="0"/>
                    <a:pt x="202" y="0"/>
                    <a:pt x="202" y="0"/>
                  </a:cubicBezTo>
                  <a:cubicBezTo>
                    <a:pt x="212" y="0"/>
                    <a:pt x="220" y="9"/>
                    <a:pt x="220" y="19"/>
                  </a:cubicBezTo>
                  <a:cubicBezTo>
                    <a:pt x="220" y="129"/>
                    <a:pt x="220" y="129"/>
                    <a:pt x="220" y="129"/>
                  </a:cubicBezTo>
                  <a:cubicBezTo>
                    <a:pt x="220" y="169"/>
                    <a:pt x="208" y="193"/>
                    <a:pt x="184" y="200"/>
                  </a:cubicBezTo>
                  <a:cubicBezTo>
                    <a:pt x="184" y="350"/>
                    <a:pt x="184" y="350"/>
                    <a:pt x="184" y="350"/>
                  </a:cubicBezTo>
                  <a:cubicBezTo>
                    <a:pt x="184" y="360"/>
                    <a:pt x="175" y="368"/>
                    <a:pt x="165" y="368"/>
                  </a:cubicBezTo>
                  <a:close/>
                  <a:moveTo>
                    <a:pt x="73" y="331"/>
                  </a:moveTo>
                  <a:cubicBezTo>
                    <a:pt x="147" y="331"/>
                    <a:pt x="147" y="331"/>
                    <a:pt x="147" y="331"/>
                  </a:cubicBezTo>
                  <a:cubicBezTo>
                    <a:pt x="147" y="184"/>
                    <a:pt x="147" y="184"/>
                    <a:pt x="147" y="184"/>
                  </a:cubicBezTo>
                  <a:cubicBezTo>
                    <a:pt x="147" y="174"/>
                    <a:pt x="155" y="166"/>
                    <a:pt x="165" y="166"/>
                  </a:cubicBezTo>
                  <a:cubicBezTo>
                    <a:pt x="173" y="166"/>
                    <a:pt x="183" y="166"/>
                    <a:pt x="184" y="129"/>
                  </a:cubicBezTo>
                  <a:cubicBezTo>
                    <a:pt x="184" y="37"/>
                    <a:pt x="184" y="37"/>
                    <a:pt x="184" y="37"/>
                  </a:cubicBezTo>
                  <a:cubicBezTo>
                    <a:pt x="36" y="37"/>
                    <a:pt x="36" y="37"/>
                    <a:pt x="36" y="37"/>
                  </a:cubicBezTo>
                  <a:cubicBezTo>
                    <a:pt x="36" y="129"/>
                    <a:pt x="36" y="129"/>
                    <a:pt x="36" y="129"/>
                  </a:cubicBezTo>
                  <a:cubicBezTo>
                    <a:pt x="36" y="166"/>
                    <a:pt x="47" y="166"/>
                    <a:pt x="55" y="166"/>
                  </a:cubicBezTo>
                  <a:cubicBezTo>
                    <a:pt x="65" y="166"/>
                    <a:pt x="73" y="174"/>
                    <a:pt x="73" y="184"/>
                  </a:cubicBezTo>
                  <a:lnTo>
                    <a:pt x="73" y="3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2" name="Freeform 141"/>
            <p:cNvSpPr>
              <a:spLocks noEditPoints="1"/>
            </p:cNvSpPr>
            <p:nvPr/>
          </p:nvSpPr>
          <p:spPr bwMode="auto">
            <a:xfrm>
              <a:off x="8655051" y="1316038"/>
              <a:ext cx="1104900" cy="1938338"/>
            </a:xfrm>
            <a:custGeom>
              <a:avLst/>
              <a:gdLst>
                <a:gd name="T0" fmla="*/ 202 w 294"/>
                <a:gd name="T1" fmla="*/ 515 h 515"/>
                <a:gd name="T2" fmla="*/ 92 w 294"/>
                <a:gd name="T3" fmla="*/ 515 h 515"/>
                <a:gd name="T4" fmla="*/ 74 w 294"/>
                <a:gd name="T5" fmla="*/ 497 h 515"/>
                <a:gd name="T6" fmla="*/ 74 w 294"/>
                <a:gd name="T7" fmla="*/ 293 h 515"/>
                <a:gd name="T8" fmla="*/ 0 w 294"/>
                <a:gd name="T9" fmla="*/ 203 h 515"/>
                <a:gd name="T10" fmla="*/ 0 w 294"/>
                <a:gd name="T11" fmla="*/ 19 h 515"/>
                <a:gd name="T12" fmla="*/ 18 w 294"/>
                <a:gd name="T13" fmla="*/ 0 h 515"/>
                <a:gd name="T14" fmla="*/ 276 w 294"/>
                <a:gd name="T15" fmla="*/ 0 h 515"/>
                <a:gd name="T16" fmla="*/ 294 w 294"/>
                <a:gd name="T17" fmla="*/ 19 h 515"/>
                <a:gd name="T18" fmla="*/ 294 w 294"/>
                <a:gd name="T19" fmla="*/ 203 h 515"/>
                <a:gd name="T20" fmla="*/ 221 w 294"/>
                <a:gd name="T21" fmla="*/ 293 h 515"/>
                <a:gd name="T22" fmla="*/ 221 w 294"/>
                <a:gd name="T23" fmla="*/ 497 h 515"/>
                <a:gd name="T24" fmla="*/ 202 w 294"/>
                <a:gd name="T25" fmla="*/ 515 h 515"/>
                <a:gd name="T26" fmla="*/ 110 w 294"/>
                <a:gd name="T27" fmla="*/ 478 h 515"/>
                <a:gd name="T28" fmla="*/ 184 w 294"/>
                <a:gd name="T29" fmla="*/ 478 h 515"/>
                <a:gd name="T30" fmla="*/ 184 w 294"/>
                <a:gd name="T31" fmla="*/ 276 h 515"/>
                <a:gd name="T32" fmla="*/ 202 w 294"/>
                <a:gd name="T33" fmla="*/ 258 h 515"/>
                <a:gd name="T34" fmla="*/ 257 w 294"/>
                <a:gd name="T35" fmla="*/ 203 h 515"/>
                <a:gd name="T36" fmla="*/ 257 w 294"/>
                <a:gd name="T37" fmla="*/ 37 h 515"/>
                <a:gd name="T38" fmla="*/ 37 w 294"/>
                <a:gd name="T39" fmla="*/ 37 h 515"/>
                <a:gd name="T40" fmla="*/ 37 w 294"/>
                <a:gd name="T41" fmla="*/ 203 h 515"/>
                <a:gd name="T42" fmla="*/ 92 w 294"/>
                <a:gd name="T43" fmla="*/ 258 h 515"/>
                <a:gd name="T44" fmla="*/ 110 w 294"/>
                <a:gd name="T45" fmla="*/ 276 h 515"/>
                <a:gd name="T46" fmla="*/ 110 w 294"/>
                <a:gd name="T47" fmla="*/ 478 h 5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94" h="515">
                  <a:moveTo>
                    <a:pt x="202" y="515"/>
                  </a:moveTo>
                  <a:cubicBezTo>
                    <a:pt x="92" y="515"/>
                    <a:pt x="92" y="515"/>
                    <a:pt x="92" y="515"/>
                  </a:cubicBezTo>
                  <a:cubicBezTo>
                    <a:pt x="82" y="515"/>
                    <a:pt x="74" y="507"/>
                    <a:pt x="74" y="497"/>
                  </a:cubicBezTo>
                  <a:cubicBezTo>
                    <a:pt x="74" y="293"/>
                    <a:pt x="74" y="293"/>
                    <a:pt x="74" y="293"/>
                  </a:cubicBezTo>
                  <a:cubicBezTo>
                    <a:pt x="32" y="284"/>
                    <a:pt x="0" y="247"/>
                    <a:pt x="0" y="203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9"/>
                    <a:pt x="8" y="0"/>
                    <a:pt x="18" y="0"/>
                  </a:cubicBezTo>
                  <a:cubicBezTo>
                    <a:pt x="276" y="0"/>
                    <a:pt x="276" y="0"/>
                    <a:pt x="276" y="0"/>
                  </a:cubicBezTo>
                  <a:cubicBezTo>
                    <a:pt x="286" y="0"/>
                    <a:pt x="294" y="9"/>
                    <a:pt x="294" y="19"/>
                  </a:cubicBezTo>
                  <a:cubicBezTo>
                    <a:pt x="294" y="203"/>
                    <a:pt x="294" y="203"/>
                    <a:pt x="294" y="203"/>
                  </a:cubicBezTo>
                  <a:cubicBezTo>
                    <a:pt x="294" y="247"/>
                    <a:pt x="263" y="284"/>
                    <a:pt x="221" y="293"/>
                  </a:cubicBezTo>
                  <a:cubicBezTo>
                    <a:pt x="221" y="497"/>
                    <a:pt x="221" y="497"/>
                    <a:pt x="221" y="497"/>
                  </a:cubicBezTo>
                  <a:cubicBezTo>
                    <a:pt x="221" y="507"/>
                    <a:pt x="212" y="515"/>
                    <a:pt x="202" y="515"/>
                  </a:cubicBezTo>
                  <a:close/>
                  <a:moveTo>
                    <a:pt x="110" y="478"/>
                  </a:moveTo>
                  <a:cubicBezTo>
                    <a:pt x="184" y="478"/>
                    <a:pt x="184" y="478"/>
                    <a:pt x="184" y="478"/>
                  </a:cubicBezTo>
                  <a:cubicBezTo>
                    <a:pt x="184" y="276"/>
                    <a:pt x="184" y="276"/>
                    <a:pt x="184" y="276"/>
                  </a:cubicBezTo>
                  <a:cubicBezTo>
                    <a:pt x="184" y="266"/>
                    <a:pt x="192" y="258"/>
                    <a:pt x="202" y="258"/>
                  </a:cubicBezTo>
                  <a:cubicBezTo>
                    <a:pt x="233" y="258"/>
                    <a:pt x="257" y="233"/>
                    <a:pt x="257" y="203"/>
                  </a:cubicBezTo>
                  <a:cubicBezTo>
                    <a:pt x="257" y="37"/>
                    <a:pt x="257" y="37"/>
                    <a:pt x="257" y="37"/>
                  </a:cubicBezTo>
                  <a:cubicBezTo>
                    <a:pt x="37" y="37"/>
                    <a:pt x="37" y="37"/>
                    <a:pt x="37" y="37"/>
                  </a:cubicBezTo>
                  <a:cubicBezTo>
                    <a:pt x="37" y="203"/>
                    <a:pt x="37" y="203"/>
                    <a:pt x="37" y="203"/>
                  </a:cubicBezTo>
                  <a:cubicBezTo>
                    <a:pt x="37" y="233"/>
                    <a:pt x="62" y="258"/>
                    <a:pt x="92" y="258"/>
                  </a:cubicBezTo>
                  <a:cubicBezTo>
                    <a:pt x="102" y="258"/>
                    <a:pt x="110" y="266"/>
                    <a:pt x="110" y="276"/>
                  </a:cubicBezTo>
                  <a:lnTo>
                    <a:pt x="110" y="4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3" name="Freeform 142"/>
            <p:cNvSpPr>
              <a:spLocks noEditPoints="1"/>
            </p:cNvSpPr>
            <p:nvPr/>
          </p:nvSpPr>
          <p:spPr bwMode="auto">
            <a:xfrm>
              <a:off x="7688263" y="627063"/>
              <a:ext cx="552450" cy="554038"/>
            </a:xfrm>
            <a:custGeom>
              <a:avLst/>
              <a:gdLst>
                <a:gd name="T0" fmla="*/ 73 w 147"/>
                <a:gd name="T1" fmla="*/ 147 h 147"/>
                <a:gd name="T2" fmla="*/ 0 w 147"/>
                <a:gd name="T3" fmla="*/ 73 h 147"/>
                <a:gd name="T4" fmla="*/ 73 w 147"/>
                <a:gd name="T5" fmla="*/ 0 h 147"/>
                <a:gd name="T6" fmla="*/ 147 w 147"/>
                <a:gd name="T7" fmla="*/ 73 h 147"/>
                <a:gd name="T8" fmla="*/ 73 w 147"/>
                <a:gd name="T9" fmla="*/ 147 h 147"/>
                <a:gd name="T10" fmla="*/ 73 w 147"/>
                <a:gd name="T11" fmla="*/ 36 h 147"/>
                <a:gd name="T12" fmla="*/ 37 w 147"/>
                <a:gd name="T13" fmla="*/ 73 h 147"/>
                <a:gd name="T14" fmla="*/ 73 w 147"/>
                <a:gd name="T15" fmla="*/ 110 h 147"/>
                <a:gd name="T16" fmla="*/ 110 w 147"/>
                <a:gd name="T17" fmla="*/ 73 h 147"/>
                <a:gd name="T18" fmla="*/ 73 w 147"/>
                <a:gd name="T19" fmla="*/ 36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47">
                  <a:moveTo>
                    <a:pt x="73" y="147"/>
                  </a:moveTo>
                  <a:cubicBezTo>
                    <a:pt x="33" y="147"/>
                    <a:pt x="0" y="114"/>
                    <a:pt x="0" y="73"/>
                  </a:cubicBezTo>
                  <a:cubicBezTo>
                    <a:pt x="0" y="32"/>
                    <a:pt x="33" y="0"/>
                    <a:pt x="73" y="0"/>
                  </a:cubicBezTo>
                  <a:cubicBezTo>
                    <a:pt x="114" y="0"/>
                    <a:pt x="147" y="32"/>
                    <a:pt x="147" y="73"/>
                  </a:cubicBezTo>
                  <a:cubicBezTo>
                    <a:pt x="147" y="114"/>
                    <a:pt x="114" y="147"/>
                    <a:pt x="73" y="147"/>
                  </a:cubicBezTo>
                  <a:close/>
                  <a:moveTo>
                    <a:pt x="73" y="36"/>
                  </a:moveTo>
                  <a:cubicBezTo>
                    <a:pt x="53" y="36"/>
                    <a:pt x="37" y="53"/>
                    <a:pt x="37" y="73"/>
                  </a:cubicBezTo>
                  <a:cubicBezTo>
                    <a:pt x="37" y="93"/>
                    <a:pt x="53" y="110"/>
                    <a:pt x="73" y="110"/>
                  </a:cubicBezTo>
                  <a:cubicBezTo>
                    <a:pt x="94" y="110"/>
                    <a:pt x="110" y="93"/>
                    <a:pt x="110" y="73"/>
                  </a:cubicBezTo>
                  <a:cubicBezTo>
                    <a:pt x="110" y="53"/>
                    <a:pt x="94" y="36"/>
                    <a:pt x="73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4" name="Freeform 143"/>
            <p:cNvSpPr>
              <a:spLocks noEditPoints="1"/>
            </p:cNvSpPr>
            <p:nvPr/>
          </p:nvSpPr>
          <p:spPr bwMode="auto">
            <a:xfrm>
              <a:off x="10174288" y="627063"/>
              <a:ext cx="557213" cy="554038"/>
            </a:xfrm>
            <a:custGeom>
              <a:avLst/>
              <a:gdLst>
                <a:gd name="T0" fmla="*/ 74 w 148"/>
                <a:gd name="T1" fmla="*/ 147 h 147"/>
                <a:gd name="T2" fmla="*/ 0 w 148"/>
                <a:gd name="T3" fmla="*/ 73 h 147"/>
                <a:gd name="T4" fmla="*/ 74 w 148"/>
                <a:gd name="T5" fmla="*/ 0 h 147"/>
                <a:gd name="T6" fmla="*/ 148 w 148"/>
                <a:gd name="T7" fmla="*/ 73 h 147"/>
                <a:gd name="T8" fmla="*/ 74 w 148"/>
                <a:gd name="T9" fmla="*/ 147 h 147"/>
                <a:gd name="T10" fmla="*/ 74 w 148"/>
                <a:gd name="T11" fmla="*/ 36 h 147"/>
                <a:gd name="T12" fmla="*/ 37 w 148"/>
                <a:gd name="T13" fmla="*/ 73 h 147"/>
                <a:gd name="T14" fmla="*/ 74 w 148"/>
                <a:gd name="T15" fmla="*/ 110 h 147"/>
                <a:gd name="T16" fmla="*/ 111 w 148"/>
                <a:gd name="T17" fmla="*/ 73 h 147"/>
                <a:gd name="T18" fmla="*/ 74 w 148"/>
                <a:gd name="T19" fmla="*/ 36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8" h="147">
                  <a:moveTo>
                    <a:pt x="74" y="147"/>
                  </a:moveTo>
                  <a:cubicBezTo>
                    <a:pt x="33" y="147"/>
                    <a:pt x="0" y="114"/>
                    <a:pt x="0" y="73"/>
                  </a:cubicBezTo>
                  <a:cubicBezTo>
                    <a:pt x="0" y="32"/>
                    <a:pt x="33" y="0"/>
                    <a:pt x="74" y="0"/>
                  </a:cubicBezTo>
                  <a:cubicBezTo>
                    <a:pt x="115" y="0"/>
                    <a:pt x="148" y="32"/>
                    <a:pt x="148" y="73"/>
                  </a:cubicBezTo>
                  <a:cubicBezTo>
                    <a:pt x="148" y="114"/>
                    <a:pt x="115" y="147"/>
                    <a:pt x="74" y="147"/>
                  </a:cubicBezTo>
                  <a:close/>
                  <a:moveTo>
                    <a:pt x="74" y="36"/>
                  </a:moveTo>
                  <a:cubicBezTo>
                    <a:pt x="54" y="36"/>
                    <a:pt x="37" y="53"/>
                    <a:pt x="37" y="73"/>
                  </a:cubicBezTo>
                  <a:cubicBezTo>
                    <a:pt x="37" y="93"/>
                    <a:pt x="54" y="110"/>
                    <a:pt x="74" y="110"/>
                  </a:cubicBezTo>
                  <a:cubicBezTo>
                    <a:pt x="94" y="110"/>
                    <a:pt x="111" y="93"/>
                    <a:pt x="111" y="73"/>
                  </a:cubicBezTo>
                  <a:cubicBezTo>
                    <a:pt x="111" y="53"/>
                    <a:pt x="94" y="36"/>
                    <a:pt x="7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5" name="Freeform 144"/>
            <p:cNvSpPr>
              <a:spLocks noEditPoints="1"/>
            </p:cNvSpPr>
            <p:nvPr/>
          </p:nvSpPr>
          <p:spPr bwMode="auto">
            <a:xfrm>
              <a:off x="8793163" y="349250"/>
              <a:ext cx="828675" cy="831850"/>
            </a:xfrm>
            <a:custGeom>
              <a:avLst/>
              <a:gdLst>
                <a:gd name="T0" fmla="*/ 110 w 220"/>
                <a:gd name="T1" fmla="*/ 221 h 221"/>
                <a:gd name="T2" fmla="*/ 0 w 220"/>
                <a:gd name="T3" fmla="*/ 110 h 221"/>
                <a:gd name="T4" fmla="*/ 110 w 220"/>
                <a:gd name="T5" fmla="*/ 0 h 221"/>
                <a:gd name="T6" fmla="*/ 220 w 220"/>
                <a:gd name="T7" fmla="*/ 110 h 221"/>
                <a:gd name="T8" fmla="*/ 110 w 220"/>
                <a:gd name="T9" fmla="*/ 221 h 221"/>
                <a:gd name="T10" fmla="*/ 110 w 220"/>
                <a:gd name="T11" fmla="*/ 37 h 221"/>
                <a:gd name="T12" fmla="*/ 37 w 220"/>
                <a:gd name="T13" fmla="*/ 110 h 221"/>
                <a:gd name="T14" fmla="*/ 110 w 220"/>
                <a:gd name="T15" fmla="*/ 184 h 221"/>
                <a:gd name="T16" fmla="*/ 184 w 220"/>
                <a:gd name="T17" fmla="*/ 110 h 221"/>
                <a:gd name="T18" fmla="*/ 110 w 220"/>
                <a:gd name="T19" fmla="*/ 37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1">
                  <a:moveTo>
                    <a:pt x="110" y="221"/>
                  </a:moveTo>
                  <a:cubicBezTo>
                    <a:pt x="49" y="221"/>
                    <a:pt x="0" y="171"/>
                    <a:pt x="0" y="110"/>
                  </a:cubicBezTo>
                  <a:cubicBezTo>
                    <a:pt x="0" y="49"/>
                    <a:pt x="49" y="0"/>
                    <a:pt x="110" y="0"/>
                  </a:cubicBezTo>
                  <a:cubicBezTo>
                    <a:pt x="171" y="0"/>
                    <a:pt x="220" y="49"/>
                    <a:pt x="220" y="110"/>
                  </a:cubicBezTo>
                  <a:cubicBezTo>
                    <a:pt x="220" y="171"/>
                    <a:pt x="171" y="221"/>
                    <a:pt x="110" y="221"/>
                  </a:cubicBezTo>
                  <a:close/>
                  <a:moveTo>
                    <a:pt x="110" y="37"/>
                  </a:moveTo>
                  <a:cubicBezTo>
                    <a:pt x="70" y="37"/>
                    <a:pt x="37" y="70"/>
                    <a:pt x="37" y="110"/>
                  </a:cubicBezTo>
                  <a:cubicBezTo>
                    <a:pt x="37" y="151"/>
                    <a:pt x="70" y="184"/>
                    <a:pt x="110" y="184"/>
                  </a:cubicBezTo>
                  <a:cubicBezTo>
                    <a:pt x="151" y="184"/>
                    <a:pt x="184" y="151"/>
                    <a:pt x="184" y="110"/>
                  </a:cubicBezTo>
                  <a:cubicBezTo>
                    <a:pt x="184" y="70"/>
                    <a:pt x="151" y="37"/>
                    <a:pt x="110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65" name="TextBox 264"/>
          <p:cNvSpPr txBox="1"/>
          <p:nvPr/>
        </p:nvSpPr>
        <p:spPr>
          <a:xfrm>
            <a:off x="6540415" y="2719131"/>
            <a:ext cx="468738" cy="243503"/>
          </a:xfrm>
          <a:prstGeom prst="rect">
            <a:avLst/>
          </a:prstGeom>
          <a:solidFill>
            <a:schemeClr val="bg1"/>
          </a:solidFill>
          <a:ln w="6350">
            <a:noFill/>
            <a:prstDash val="dash"/>
          </a:ln>
        </p:spPr>
        <p:txBody>
          <a:bodyPr wrap="square" lIns="0" tIns="36000" rIns="10800" bIns="3600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Inputs</a:t>
            </a:r>
          </a:p>
        </p:txBody>
      </p:sp>
      <p:sp>
        <p:nvSpPr>
          <p:cNvPr id="266" name="TextBox 265"/>
          <p:cNvSpPr txBox="1"/>
          <p:nvPr/>
        </p:nvSpPr>
        <p:spPr>
          <a:xfrm>
            <a:off x="10054613" y="2719131"/>
            <a:ext cx="537727" cy="243503"/>
          </a:xfrm>
          <a:prstGeom prst="rect">
            <a:avLst/>
          </a:prstGeom>
          <a:solidFill>
            <a:schemeClr val="bg1"/>
          </a:solidFill>
          <a:ln w="6350">
            <a:noFill/>
            <a:prstDash val="dash"/>
          </a:ln>
        </p:spPr>
        <p:txBody>
          <a:bodyPr wrap="square" lIns="0" tIns="36000" rIns="10800" bIns="3600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Outputs</a:t>
            </a:r>
          </a:p>
        </p:txBody>
      </p:sp>
      <p:sp>
        <p:nvSpPr>
          <p:cNvPr id="267" name="TextBox 266"/>
          <p:cNvSpPr txBox="1"/>
          <p:nvPr/>
        </p:nvSpPr>
        <p:spPr>
          <a:xfrm>
            <a:off x="8034255" y="5919426"/>
            <a:ext cx="838588" cy="243503"/>
          </a:xfrm>
          <a:prstGeom prst="rect">
            <a:avLst/>
          </a:prstGeom>
          <a:solidFill>
            <a:schemeClr val="bg1"/>
          </a:solidFill>
          <a:ln w="6350">
            <a:noFill/>
            <a:prstDash val="dash"/>
          </a:ln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Feedback</a:t>
            </a:r>
          </a:p>
        </p:txBody>
      </p:sp>
      <p:sp>
        <p:nvSpPr>
          <p:cNvPr id="207" name="TextBox 206"/>
          <p:cNvSpPr txBox="1"/>
          <p:nvPr/>
        </p:nvSpPr>
        <p:spPr>
          <a:xfrm>
            <a:off x="1296436" y="2450264"/>
            <a:ext cx="4424849" cy="661496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Lorem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Ipsum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is simply dummy text of the printing and typesetting industry. Lorem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Ipsum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has been the industry's standard dummy text ever since the 1500s, when an unknown printer took a galley of type and scrambled it to make a type specimen book. </a:t>
            </a:r>
          </a:p>
        </p:txBody>
      </p:sp>
      <p:sp>
        <p:nvSpPr>
          <p:cNvPr id="208" name="TextBox 207"/>
          <p:cNvSpPr txBox="1"/>
          <p:nvPr/>
        </p:nvSpPr>
        <p:spPr>
          <a:xfrm>
            <a:off x="1296436" y="2246318"/>
            <a:ext cx="3957064" cy="153888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CUSTOMER SUPPLIER MODEL</a:t>
            </a:r>
          </a:p>
        </p:txBody>
      </p:sp>
      <p:grpSp>
        <p:nvGrpSpPr>
          <p:cNvPr id="196" name="Group 195"/>
          <p:cNvGrpSpPr>
            <a:grpSpLocks noChangeAspect="1"/>
          </p:cNvGrpSpPr>
          <p:nvPr/>
        </p:nvGrpSpPr>
        <p:grpSpPr>
          <a:xfrm>
            <a:off x="1296436" y="3375257"/>
            <a:ext cx="322570" cy="421687"/>
            <a:chOff x="3359150" y="3986213"/>
            <a:chExt cx="284162" cy="371476"/>
          </a:xfrm>
          <a:solidFill>
            <a:srgbClr val="3B3939"/>
          </a:solidFill>
        </p:grpSpPr>
        <p:sp>
          <p:nvSpPr>
            <p:cNvPr id="200" name="Freeform 121"/>
            <p:cNvSpPr>
              <a:spLocks noEditPoints="1"/>
            </p:cNvSpPr>
            <p:nvPr/>
          </p:nvSpPr>
          <p:spPr bwMode="auto">
            <a:xfrm>
              <a:off x="3359150" y="4249738"/>
              <a:ext cx="107950" cy="107950"/>
            </a:xfrm>
            <a:custGeom>
              <a:avLst/>
              <a:gdLst>
                <a:gd name="T0" fmla="*/ 14 w 28"/>
                <a:gd name="T1" fmla="*/ 28 h 28"/>
                <a:gd name="T2" fmla="*/ 0 w 28"/>
                <a:gd name="T3" fmla="*/ 14 h 28"/>
                <a:gd name="T4" fmla="*/ 14 w 28"/>
                <a:gd name="T5" fmla="*/ 0 h 28"/>
                <a:gd name="T6" fmla="*/ 28 w 28"/>
                <a:gd name="T7" fmla="*/ 14 h 28"/>
                <a:gd name="T8" fmla="*/ 14 w 28"/>
                <a:gd name="T9" fmla="*/ 28 h 28"/>
                <a:gd name="T10" fmla="*/ 14 w 28"/>
                <a:gd name="T11" fmla="*/ 4 h 28"/>
                <a:gd name="T12" fmla="*/ 4 w 28"/>
                <a:gd name="T13" fmla="*/ 14 h 28"/>
                <a:gd name="T14" fmla="*/ 14 w 28"/>
                <a:gd name="T15" fmla="*/ 24 h 28"/>
                <a:gd name="T16" fmla="*/ 24 w 28"/>
                <a:gd name="T17" fmla="*/ 14 h 28"/>
                <a:gd name="T18" fmla="*/ 14 w 28"/>
                <a:gd name="T19" fmla="*/ 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28">
                  <a:moveTo>
                    <a:pt x="14" y="28"/>
                  </a:moveTo>
                  <a:cubicBezTo>
                    <a:pt x="6" y="28"/>
                    <a:pt x="0" y="22"/>
                    <a:pt x="0" y="14"/>
                  </a:cubicBezTo>
                  <a:cubicBezTo>
                    <a:pt x="0" y="6"/>
                    <a:pt x="6" y="0"/>
                    <a:pt x="14" y="0"/>
                  </a:cubicBezTo>
                  <a:cubicBezTo>
                    <a:pt x="22" y="0"/>
                    <a:pt x="28" y="6"/>
                    <a:pt x="28" y="14"/>
                  </a:cubicBezTo>
                  <a:cubicBezTo>
                    <a:pt x="28" y="22"/>
                    <a:pt x="22" y="28"/>
                    <a:pt x="14" y="28"/>
                  </a:cubicBezTo>
                  <a:close/>
                  <a:moveTo>
                    <a:pt x="14" y="4"/>
                  </a:moveTo>
                  <a:cubicBezTo>
                    <a:pt x="8" y="4"/>
                    <a:pt x="4" y="8"/>
                    <a:pt x="4" y="14"/>
                  </a:cubicBezTo>
                  <a:cubicBezTo>
                    <a:pt x="4" y="20"/>
                    <a:pt x="8" y="24"/>
                    <a:pt x="14" y="24"/>
                  </a:cubicBezTo>
                  <a:cubicBezTo>
                    <a:pt x="20" y="24"/>
                    <a:pt x="24" y="20"/>
                    <a:pt x="24" y="14"/>
                  </a:cubicBezTo>
                  <a:cubicBezTo>
                    <a:pt x="24" y="8"/>
                    <a:pt x="20" y="4"/>
                    <a:pt x="1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01" name="Freeform 122"/>
            <p:cNvSpPr>
              <a:spLocks/>
            </p:cNvSpPr>
            <p:nvPr/>
          </p:nvSpPr>
          <p:spPr bwMode="auto">
            <a:xfrm>
              <a:off x="3373438" y="3986213"/>
              <a:ext cx="63500" cy="282575"/>
            </a:xfrm>
            <a:custGeom>
              <a:avLst/>
              <a:gdLst>
                <a:gd name="T0" fmla="*/ 14 w 16"/>
                <a:gd name="T1" fmla="*/ 73 h 73"/>
                <a:gd name="T2" fmla="*/ 12 w 16"/>
                <a:gd name="T3" fmla="*/ 71 h 73"/>
                <a:gd name="T4" fmla="*/ 12 w 16"/>
                <a:gd name="T5" fmla="*/ 4 h 73"/>
                <a:gd name="T6" fmla="*/ 2 w 16"/>
                <a:gd name="T7" fmla="*/ 4 h 73"/>
                <a:gd name="T8" fmla="*/ 0 w 16"/>
                <a:gd name="T9" fmla="*/ 2 h 73"/>
                <a:gd name="T10" fmla="*/ 2 w 16"/>
                <a:gd name="T11" fmla="*/ 0 h 73"/>
                <a:gd name="T12" fmla="*/ 14 w 16"/>
                <a:gd name="T13" fmla="*/ 0 h 73"/>
                <a:gd name="T14" fmla="*/ 16 w 16"/>
                <a:gd name="T15" fmla="*/ 2 h 73"/>
                <a:gd name="T16" fmla="*/ 16 w 16"/>
                <a:gd name="T17" fmla="*/ 71 h 73"/>
                <a:gd name="T18" fmla="*/ 14 w 16"/>
                <a:gd name="T19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73">
                  <a:moveTo>
                    <a:pt x="14" y="73"/>
                  </a:moveTo>
                  <a:cubicBezTo>
                    <a:pt x="13" y="73"/>
                    <a:pt x="12" y="72"/>
                    <a:pt x="12" y="71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6" y="1"/>
                    <a:pt x="16" y="2"/>
                  </a:cubicBezTo>
                  <a:cubicBezTo>
                    <a:pt x="16" y="71"/>
                    <a:pt x="16" y="71"/>
                    <a:pt x="16" y="71"/>
                  </a:cubicBezTo>
                  <a:cubicBezTo>
                    <a:pt x="16" y="72"/>
                    <a:pt x="15" y="73"/>
                    <a:pt x="14" y="7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02" name="Freeform 123"/>
            <p:cNvSpPr>
              <a:spLocks/>
            </p:cNvSpPr>
            <p:nvPr/>
          </p:nvSpPr>
          <p:spPr bwMode="auto">
            <a:xfrm>
              <a:off x="3448050" y="4311651"/>
              <a:ext cx="195262" cy="46038"/>
            </a:xfrm>
            <a:custGeom>
              <a:avLst/>
              <a:gdLst>
                <a:gd name="T0" fmla="*/ 47 w 50"/>
                <a:gd name="T1" fmla="*/ 12 h 12"/>
                <a:gd name="T2" fmla="*/ 46 w 50"/>
                <a:gd name="T3" fmla="*/ 11 h 12"/>
                <a:gd name="T4" fmla="*/ 38 w 50"/>
                <a:gd name="T5" fmla="*/ 4 h 12"/>
                <a:gd name="T6" fmla="*/ 2 w 50"/>
                <a:gd name="T7" fmla="*/ 4 h 12"/>
                <a:gd name="T8" fmla="*/ 0 w 50"/>
                <a:gd name="T9" fmla="*/ 2 h 12"/>
                <a:gd name="T10" fmla="*/ 2 w 50"/>
                <a:gd name="T11" fmla="*/ 0 h 12"/>
                <a:gd name="T12" fmla="*/ 39 w 50"/>
                <a:gd name="T13" fmla="*/ 0 h 12"/>
                <a:gd name="T14" fmla="*/ 40 w 50"/>
                <a:gd name="T15" fmla="*/ 1 h 12"/>
                <a:gd name="T16" fmla="*/ 49 w 50"/>
                <a:gd name="T17" fmla="*/ 9 h 12"/>
                <a:gd name="T18" fmla="*/ 49 w 50"/>
                <a:gd name="T19" fmla="*/ 11 h 12"/>
                <a:gd name="T20" fmla="*/ 47 w 50"/>
                <a:gd name="T21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0" h="12">
                  <a:moveTo>
                    <a:pt x="47" y="12"/>
                  </a:moveTo>
                  <a:cubicBezTo>
                    <a:pt x="47" y="12"/>
                    <a:pt x="46" y="12"/>
                    <a:pt x="46" y="11"/>
                  </a:cubicBezTo>
                  <a:cubicBezTo>
                    <a:pt x="38" y="4"/>
                    <a:pt x="38" y="4"/>
                    <a:pt x="38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40" y="0"/>
                    <a:pt x="40" y="0"/>
                    <a:pt x="40" y="1"/>
                  </a:cubicBezTo>
                  <a:cubicBezTo>
                    <a:pt x="49" y="9"/>
                    <a:pt x="49" y="9"/>
                    <a:pt x="49" y="9"/>
                  </a:cubicBezTo>
                  <a:cubicBezTo>
                    <a:pt x="50" y="9"/>
                    <a:pt x="50" y="11"/>
                    <a:pt x="49" y="11"/>
                  </a:cubicBezTo>
                  <a:cubicBezTo>
                    <a:pt x="48" y="12"/>
                    <a:pt x="48" y="12"/>
                    <a:pt x="47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03" name="Freeform 124"/>
            <p:cNvSpPr>
              <a:spLocks noEditPoints="1"/>
            </p:cNvSpPr>
            <p:nvPr/>
          </p:nvSpPr>
          <p:spPr bwMode="auto">
            <a:xfrm>
              <a:off x="3452813" y="4141788"/>
              <a:ext cx="171450" cy="153988"/>
            </a:xfrm>
            <a:custGeom>
              <a:avLst/>
              <a:gdLst>
                <a:gd name="T0" fmla="*/ 42 w 44"/>
                <a:gd name="T1" fmla="*/ 40 h 40"/>
                <a:gd name="T2" fmla="*/ 2 w 44"/>
                <a:gd name="T3" fmla="*/ 40 h 40"/>
                <a:gd name="T4" fmla="*/ 0 w 44"/>
                <a:gd name="T5" fmla="*/ 38 h 40"/>
                <a:gd name="T6" fmla="*/ 0 w 44"/>
                <a:gd name="T7" fmla="*/ 2 h 40"/>
                <a:gd name="T8" fmla="*/ 2 w 44"/>
                <a:gd name="T9" fmla="*/ 0 h 40"/>
                <a:gd name="T10" fmla="*/ 42 w 44"/>
                <a:gd name="T11" fmla="*/ 0 h 40"/>
                <a:gd name="T12" fmla="*/ 44 w 44"/>
                <a:gd name="T13" fmla="*/ 2 h 40"/>
                <a:gd name="T14" fmla="*/ 44 w 44"/>
                <a:gd name="T15" fmla="*/ 38 h 40"/>
                <a:gd name="T16" fmla="*/ 42 w 44"/>
                <a:gd name="T17" fmla="*/ 40 h 40"/>
                <a:gd name="T18" fmla="*/ 4 w 44"/>
                <a:gd name="T19" fmla="*/ 36 h 40"/>
                <a:gd name="T20" fmla="*/ 40 w 44"/>
                <a:gd name="T21" fmla="*/ 36 h 40"/>
                <a:gd name="T22" fmla="*/ 40 w 44"/>
                <a:gd name="T23" fmla="*/ 4 h 40"/>
                <a:gd name="T24" fmla="*/ 4 w 44"/>
                <a:gd name="T25" fmla="*/ 4 h 40"/>
                <a:gd name="T26" fmla="*/ 4 w 44"/>
                <a:gd name="T27" fmla="*/ 3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40">
                  <a:moveTo>
                    <a:pt x="42" y="40"/>
                  </a:moveTo>
                  <a:cubicBezTo>
                    <a:pt x="2" y="40"/>
                    <a:pt x="2" y="40"/>
                    <a:pt x="2" y="40"/>
                  </a:cubicBezTo>
                  <a:cubicBezTo>
                    <a:pt x="1" y="40"/>
                    <a:pt x="0" y="39"/>
                    <a:pt x="0" y="38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3" y="0"/>
                    <a:pt x="44" y="1"/>
                    <a:pt x="44" y="2"/>
                  </a:cubicBezTo>
                  <a:cubicBezTo>
                    <a:pt x="44" y="38"/>
                    <a:pt x="44" y="38"/>
                    <a:pt x="44" y="38"/>
                  </a:cubicBezTo>
                  <a:cubicBezTo>
                    <a:pt x="44" y="39"/>
                    <a:pt x="43" y="40"/>
                    <a:pt x="42" y="40"/>
                  </a:cubicBezTo>
                  <a:close/>
                  <a:moveTo>
                    <a:pt x="4" y="36"/>
                  </a:moveTo>
                  <a:cubicBezTo>
                    <a:pt x="40" y="36"/>
                    <a:pt x="40" y="36"/>
                    <a:pt x="40" y="36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" y="4"/>
                    <a:pt x="4" y="4"/>
                    <a:pt x="4" y="4"/>
                  </a:cubicBezTo>
                  <a:lnTo>
                    <a:pt x="4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04" name="Freeform 125"/>
            <p:cNvSpPr>
              <a:spLocks noEditPoints="1"/>
            </p:cNvSpPr>
            <p:nvPr/>
          </p:nvSpPr>
          <p:spPr bwMode="auto">
            <a:xfrm>
              <a:off x="3452813" y="4064001"/>
              <a:ext cx="123825" cy="92075"/>
            </a:xfrm>
            <a:custGeom>
              <a:avLst/>
              <a:gdLst>
                <a:gd name="T0" fmla="*/ 30 w 32"/>
                <a:gd name="T1" fmla="*/ 24 h 24"/>
                <a:gd name="T2" fmla="*/ 2 w 32"/>
                <a:gd name="T3" fmla="*/ 24 h 24"/>
                <a:gd name="T4" fmla="*/ 0 w 32"/>
                <a:gd name="T5" fmla="*/ 22 h 24"/>
                <a:gd name="T6" fmla="*/ 0 w 32"/>
                <a:gd name="T7" fmla="*/ 2 h 24"/>
                <a:gd name="T8" fmla="*/ 2 w 32"/>
                <a:gd name="T9" fmla="*/ 0 h 24"/>
                <a:gd name="T10" fmla="*/ 30 w 32"/>
                <a:gd name="T11" fmla="*/ 0 h 24"/>
                <a:gd name="T12" fmla="*/ 32 w 32"/>
                <a:gd name="T13" fmla="*/ 2 h 24"/>
                <a:gd name="T14" fmla="*/ 32 w 32"/>
                <a:gd name="T15" fmla="*/ 22 h 24"/>
                <a:gd name="T16" fmla="*/ 30 w 32"/>
                <a:gd name="T17" fmla="*/ 24 h 24"/>
                <a:gd name="T18" fmla="*/ 4 w 32"/>
                <a:gd name="T19" fmla="*/ 20 h 24"/>
                <a:gd name="T20" fmla="*/ 28 w 32"/>
                <a:gd name="T21" fmla="*/ 20 h 24"/>
                <a:gd name="T22" fmla="*/ 28 w 32"/>
                <a:gd name="T23" fmla="*/ 4 h 24"/>
                <a:gd name="T24" fmla="*/ 4 w 32"/>
                <a:gd name="T25" fmla="*/ 4 h 24"/>
                <a:gd name="T26" fmla="*/ 4 w 32"/>
                <a:gd name="T27" fmla="*/ 2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" h="24">
                  <a:moveTo>
                    <a:pt x="30" y="24"/>
                  </a:moveTo>
                  <a:cubicBezTo>
                    <a:pt x="2" y="24"/>
                    <a:pt x="2" y="24"/>
                    <a:pt x="2" y="24"/>
                  </a:cubicBezTo>
                  <a:cubicBezTo>
                    <a:pt x="1" y="24"/>
                    <a:pt x="0" y="23"/>
                    <a:pt x="0" y="2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1" y="0"/>
                    <a:pt x="32" y="1"/>
                    <a:pt x="32" y="2"/>
                  </a:cubicBezTo>
                  <a:cubicBezTo>
                    <a:pt x="32" y="22"/>
                    <a:pt x="32" y="22"/>
                    <a:pt x="32" y="22"/>
                  </a:cubicBezTo>
                  <a:cubicBezTo>
                    <a:pt x="32" y="23"/>
                    <a:pt x="31" y="24"/>
                    <a:pt x="30" y="24"/>
                  </a:cubicBezTo>
                  <a:close/>
                  <a:moveTo>
                    <a:pt x="4" y="20"/>
                  </a:moveTo>
                  <a:cubicBezTo>
                    <a:pt x="28" y="20"/>
                    <a:pt x="28" y="20"/>
                    <a:pt x="28" y="20"/>
                  </a:cubicBezTo>
                  <a:cubicBezTo>
                    <a:pt x="28" y="4"/>
                    <a:pt x="28" y="4"/>
                    <a:pt x="28" y="4"/>
                  </a:cubicBezTo>
                  <a:cubicBezTo>
                    <a:pt x="4" y="4"/>
                    <a:pt x="4" y="4"/>
                    <a:pt x="4" y="4"/>
                  </a:cubicBezTo>
                  <a:lnTo>
                    <a:pt x="4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05" name="Freeform 126"/>
            <p:cNvSpPr>
              <a:spLocks/>
            </p:cNvSpPr>
            <p:nvPr/>
          </p:nvSpPr>
          <p:spPr bwMode="auto">
            <a:xfrm>
              <a:off x="3546475" y="4249738"/>
              <a:ext cx="46037" cy="15875"/>
            </a:xfrm>
            <a:custGeom>
              <a:avLst/>
              <a:gdLst>
                <a:gd name="T0" fmla="*/ 10 w 12"/>
                <a:gd name="T1" fmla="*/ 4 h 4"/>
                <a:gd name="T2" fmla="*/ 2 w 12"/>
                <a:gd name="T3" fmla="*/ 4 h 4"/>
                <a:gd name="T4" fmla="*/ 0 w 12"/>
                <a:gd name="T5" fmla="*/ 2 h 4"/>
                <a:gd name="T6" fmla="*/ 2 w 12"/>
                <a:gd name="T7" fmla="*/ 0 h 4"/>
                <a:gd name="T8" fmla="*/ 10 w 12"/>
                <a:gd name="T9" fmla="*/ 0 h 4"/>
                <a:gd name="T10" fmla="*/ 12 w 12"/>
                <a:gd name="T11" fmla="*/ 2 h 4"/>
                <a:gd name="T12" fmla="*/ 10 w 12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4">
                  <a:moveTo>
                    <a:pt x="10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1" y="0"/>
                    <a:pt x="12" y="1"/>
                    <a:pt x="12" y="2"/>
                  </a:cubicBezTo>
                  <a:cubicBezTo>
                    <a:pt x="12" y="3"/>
                    <a:pt x="11" y="4"/>
                    <a:pt x="1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06" name="Freeform 127"/>
            <p:cNvSpPr>
              <a:spLocks/>
            </p:cNvSpPr>
            <p:nvPr/>
          </p:nvSpPr>
          <p:spPr bwMode="auto">
            <a:xfrm>
              <a:off x="3482975" y="4110038"/>
              <a:ext cx="31750" cy="15875"/>
            </a:xfrm>
            <a:custGeom>
              <a:avLst/>
              <a:gdLst>
                <a:gd name="T0" fmla="*/ 6 w 8"/>
                <a:gd name="T1" fmla="*/ 4 h 4"/>
                <a:gd name="T2" fmla="*/ 2 w 8"/>
                <a:gd name="T3" fmla="*/ 4 h 4"/>
                <a:gd name="T4" fmla="*/ 0 w 8"/>
                <a:gd name="T5" fmla="*/ 2 h 4"/>
                <a:gd name="T6" fmla="*/ 2 w 8"/>
                <a:gd name="T7" fmla="*/ 0 h 4"/>
                <a:gd name="T8" fmla="*/ 6 w 8"/>
                <a:gd name="T9" fmla="*/ 0 h 4"/>
                <a:gd name="T10" fmla="*/ 8 w 8"/>
                <a:gd name="T11" fmla="*/ 2 h 4"/>
                <a:gd name="T12" fmla="*/ 6 w 8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4">
                  <a:moveTo>
                    <a:pt x="6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7" y="0"/>
                    <a:pt x="8" y="1"/>
                    <a:pt x="8" y="2"/>
                  </a:cubicBezTo>
                  <a:cubicBezTo>
                    <a:pt x="8" y="3"/>
                    <a:pt x="7" y="4"/>
                    <a:pt x="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grpSp>
        <p:nvGrpSpPr>
          <p:cNvPr id="197" name="Group 196"/>
          <p:cNvGrpSpPr/>
          <p:nvPr/>
        </p:nvGrpSpPr>
        <p:grpSpPr>
          <a:xfrm>
            <a:off x="1754186" y="3375257"/>
            <a:ext cx="3771387" cy="487263"/>
            <a:chOff x="949864" y="3145757"/>
            <a:chExt cx="3219685" cy="415983"/>
          </a:xfrm>
        </p:grpSpPr>
        <p:sp>
          <p:nvSpPr>
            <p:cNvPr id="198" name="TextBox 197"/>
            <p:cNvSpPr txBox="1"/>
            <p:nvPr/>
          </p:nvSpPr>
          <p:spPr>
            <a:xfrm>
              <a:off x="949864" y="3145757"/>
              <a:ext cx="701838" cy="141182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SUPPLIER</a:t>
              </a:r>
            </a:p>
          </p:txBody>
        </p:sp>
        <p:sp>
          <p:nvSpPr>
            <p:cNvPr id="199" name="TextBox 198"/>
            <p:cNvSpPr txBox="1"/>
            <p:nvPr/>
          </p:nvSpPr>
          <p:spPr>
            <a:xfrm>
              <a:off x="949864" y="3279375"/>
              <a:ext cx="3219685" cy="282365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Lorem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Ipsum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 is simply dummy text of the printing and typesetting industry.</a:t>
              </a:r>
            </a:p>
          </p:txBody>
        </p:sp>
      </p:grpSp>
      <p:grpSp>
        <p:nvGrpSpPr>
          <p:cNvPr id="187" name="Group 186"/>
          <p:cNvGrpSpPr>
            <a:grpSpLocks noChangeAspect="1"/>
          </p:cNvGrpSpPr>
          <p:nvPr/>
        </p:nvGrpSpPr>
        <p:grpSpPr>
          <a:xfrm>
            <a:off x="1296436" y="4047934"/>
            <a:ext cx="363978" cy="288018"/>
            <a:chOff x="8045450" y="1020762"/>
            <a:chExt cx="365126" cy="288926"/>
          </a:xfrm>
          <a:solidFill>
            <a:srgbClr val="E2583D"/>
          </a:solidFill>
        </p:grpSpPr>
        <p:sp>
          <p:nvSpPr>
            <p:cNvPr id="191" name="Freeform 131"/>
            <p:cNvSpPr>
              <a:spLocks/>
            </p:cNvSpPr>
            <p:nvPr/>
          </p:nvSpPr>
          <p:spPr bwMode="auto">
            <a:xfrm>
              <a:off x="8045450" y="1133475"/>
              <a:ext cx="109538" cy="82550"/>
            </a:xfrm>
            <a:custGeom>
              <a:avLst/>
              <a:gdLst>
                <a:gd name="T0" fmla="*/ 13 w 28"/>
                <a:gd name="T1" fmla="*/ 21 h 21"/>
                <a:gd name="T2" fmla="*/ 13 w 28"/>
                <a:gd name="T3" fmla="*/ 21 h 21"/>
                <a:gd name="T4" fmla="*/ 11 w 28"/>
                <a:gd name="T5" fmla="*/ 20 h 21"/>
                <a:gd name="T6" fmla="*/ 0 w 28"/>
                <a:gd name="T7" fmla="*/ 4 h 21"/>
                <a:gd name="T8" fmla="*/ 1 w 28"/>
                <a:gd name="T9" fmla="*/ 1 h 21"/>
                <a:gd name="T10" fmla="*/ 4 w 28"/>
                <a:gd name="T11" fmla="*/ 1 h 21"/>
                <a:gd name="T12" fmla="*/ 13 w 28"/>
                <a:gd name="T13" fmla="*/ 16 h 21"/>
                <a:gd name="T14" fmla="*/ 24 w 28"/>
                <a:gd name="T15" fmla="*/ 2 h 21"/>
                <a:gd name="T16" fmla="*/ 27 w 28"/>
                <a:gd name="T17" fmla="*/ 2 h 21"/>
                <a:gd name="T18" fmla="*/ 27 w 28"/>
                <a:gd name="T19" fmla="*/ 5 h 21"/>
                <a:gd name="T20" fmla="*/ 15 w 28"/>
                <a:gd name="T21" fmla="*/ 20 h 21"/>
                <a:gd name="T22" fmla="*/ 13 w 28"/>
                <a:gd name="T23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" h="21">
                  <a:moveTo>
                    <a:pt x="13" y="21"/>
                  </a:moveTo>
                  <a:cubicBezTo>
                    <a:pt x="13" y="21"/>
                    <a:pt x="13" y="21"/>
                    <a:pt x="13" y="21"/>
                  </a:cubicBezTo>
                  <a:cubicBezTo>
                    <a:pt x="12" y="21"/>
                    <a:pt x="12" y="21"/>
                    <a:pt x="11" y="2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3"/>
                    <a:pt x="0" y="1"/>
                    <a:pt x="1" y="1"/>
                  </a:cubicBezTo>
                  <a:cubicBezTo>
                    <a:pt x="2" y="0"/>
                    <a:pt x="3" y="0"/>
                    <a:pt x="4" y="1"/>
                  </a:cubicBezTo>
                  <a:cubicBezTo>
                    <a:pt x="13" y="16"/>
                    <a:pt x="13" y="16"/>
                    <a:pt x="13" y="16"/>
                  </a:cubicBezTo>
                  <a:cubicBezTo>
                    <a:pt x="24" y="2"/>
                    <a:pt x="24" y="2"/>
                    <a:pt x="24" y="2"/>
                  </a:cubicBezTo>
                  <a:cubicBezTo>
                    <a:pt x="25" y="2"/>
                    <a:pt x="26" y="1"/>
                    <a:pt x="27" y="2"/>
                  </a:cubicBezTo>
                  <a:cubicBezTo>
                    <a:pt x="28" y="3"/>
                    <a:pt x="28" y="4"/>
                    <a:pt x="27" y="5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4" y="21"/>
                    <a:pt x="14" y="21"/>
                    <a:pt x="13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92" name="Freeform 132"/>
            <p:cNvSpPr>
              <a:spLocks/>
            </p:cNvSpPr>
            <p:nvPr/>
          </p:nvSpPr>
          <p:spPr bwMode="auto">
            <a:xfrm>
              <a:off x="8080375" y="1020762"/>
              <a:ext cx="255588" cy="195263"/>
            </a:xfrm>
            <a:custGeom>
              <a:avLst/>
              <a:gdLst>
                <a:gd name="T0" fmla="*/ 4 w 66"/>
                <a:gd name="T1" fmla="*/ 50 h 50"/>
                <a:gd name="T2" fmla="*/ 2 w 66"/>
                <a:gd name="T3" fmla="*/ 48 h 50"/>
                <a:gd name="T4" fmla="*/ 7 w 66"/>
                <a:gd name="T5" fmla="*/ 20 h 50"/>
                <a:gd name="T6" fmla="*/ 30 w 66"/>
                <a:gd name="T7" fmla="*/ 3 h 50"/>
                <a:gd name="T8" fmla="*/ 65 w 66"/>
                <a:gd name="T9" fmla="*/ 14 h 50"/>
                <a:gd name="T10" fmla="*/ 65 w 66"/>
                <a:gd name="T11" fmla="*/ 17 h 50"/>
                <a:gd name="T12" fmla="*/ 62 w 66"/>
                <a:gd name="T13" fmla="*/ 17 h 50"/>
                <a:gd name="T14" fmla="*/ 31 w 66"/>
                <a:gd name="T15" fmla="*/ 7 h 50"/>
                <a:gd name="T16" fmla="*/ 10 w 66"/>
                <a:gd name="T17" fmla="*/ 22 h 50"/>
                <a:gd name="T18" fmla="*/ 6 w 66"/>
                <a:gd name="T19" fmla="*/ 47 h 50"/>
                <a:gd name="T20" fmla="*/ 4 w 66"/>
                <a:gd name="T21" fmla="*/ 50 h 50"/>
                <a:gd name="T22" fmla="*/ 4 w 66"/>
                <a:gd name="T23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6" h="50">
                  <a:moveTo>
                    <a:pt x="4" y="50"/>
                  </a:moveTo>
                  <a:cubicBezTo>
                    <a:pt x="3" y="50"/>
                    <a:pt x="2" y="49"/>
                    <a:pt x="2" y="48"/>
                  </a:cubicBezTo>
                  <a:cubicBezTo>
                    <a:pt x="0" y="39"/>
                    <a:pt x="1" y="28"/>
                    <a:pt x="7" y="20"/>
                  </a:cubicBezTo>
                  <a:cubicBezTo>
                    <a:pt x="12" y="11"/>
                    <a:pt x="20" y="5"/>
                    <a:pt x="30" y="3"/>
                  </a:cubicBezTo>
                  <a:cubicBezTo>
                    <a:pt x="43" y="0"/>
                    <a:pt x="56" y="4"/>
                    <a:pt x="65" y="14"/>
                  </a:cubicBezTo>
                  <a:cubicBezTo>
                    <a:pt x="66" y="15"/>
                    <a:pt x="66" y="16"/>
                    <a:pt x="65" y="17"/>
                  </a:cubicBezTo>
                  <a:cubicBezTo>
                    <a:pt x="64" y="18"/>
                    <a:pt x="63" y="18"/>
                    <a:pt x="62" y="17"/>
                  </a:cubicBezTo>
                  <a:cubicBezTo>
                    <a:pt x="54" y="8"/>
                    <a:pt x="42" y="4"/>
                    <a:pt x="31" y="7"/>
                  </a:cubicBezTo>
                  <a:cubicBezTo>
                    <a:pt x="22" y="9"/>
                    <a:pt x="15" y="14"/>
                    <a:pt x="10" y="22"/>
                  </a:cubicBezTo>
                  <a:cubicBezTo>
                    <a:pt x="5" y="30"/>
                    <a:pt x="4" y="39"/>
                    <a:pt x="6" y="47"/>
                  </a:cubicBezTo>
                  <a:cubicBezTo>
                    <a:pt x="6" y="48"/>
                    <a:pt x="5" y="49"/>
                    <a:pt x="4" y="50"/>
                  </a:cubicBezTo>
                  <a:cubicBezTo>
                    <a:pt x="4" y="50"/>
                    <a:pt x="4" y="50"/>
                    <a:pt x="4" y="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93" name="Freeform 133"/>
            <p:cNvSpPr>
              <a:spLocks/>
            </p:cNvSpPr>
            <p:nvPr/>
          </p:nvSpPr>
          <p:spPr bwMode="auto">
            <a:xfrm>
              <a:off x="8301038" y="1122363"/>
              <a:ext cx="109538" cy="82550"/>
            </a:xfrm>
            <a:custGeom>
              <a:avLst/>
              <a:gdLst>
                <a:gd name="T0" fmla="*/ 26 w 28"/>
                <a:gd name="T1" fmla="*/ 21 h 21"/>
                <a:gd name="T2" fmla="*/ 24 w 28"/>
                <a:gd name="T3" fmla="*/ 20 h 21"/>
                <a:gd name="T4" fmla="*/ 15 w 28"/>
                <a:gd name="T5" fmla="*/ 5 h 21"/>
                <a:gd name="T6" fmla="*/ 4 w 28"/>
                <a:gd name="T7" fmla="*/ 19 h 21"/>
                <a:gd name="T8" fmla="*/ 1 w 28"/>
                <a:gd name="T9" fmla="*/ 19 h 21"/>
                <a:gd name="T10" fmla="*/ 1 w 28"/>
                <a:gd name="T11" fmla="*/ 16 h 21"/>
                <a:gd name="T12" fmla="*/ 13 w 28"/>
                <a:gd name="T13" fmla="*/ 1 h 21"/>
                <a:gd name="T14" fmla="*/ 15 w 28"/>
                <a:gd name="T15" fmla="*/ 0 h 21"/>
                <a:gd name="T16" fmla="*/ 17 w 28"/>
                <a:gd name="T17" fmla="*/ 1 h 21"/>
                <a:gd name="T18" fmla="*/ 28 w 28"/>
                <a:gd name="T19" fmla="*/ 17 h 21"/>
                <a:gd name="T20" fmla="*/ 27 w 28"/>
                <a:gd name="T21" fmla="*/ 20 h 21"/>
                <a:gd name="T22" fmla="*/ 26 w 28"/>
                <a:gd name="T23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" h="21">
                  <a:moveTo>
                    <a:pt x="26" y="21"/>
                  </a:moveTo>
                  <a:cubicBezTo>
                    <a:pt x="25" y="21"/>
                    <a:pt x="25" y="20"/>
                    <a:pt x="24" y="20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3" y="19"/>
                    <a:pt x="2" y="20"/>
                    <a:pt x="1" y="19"/>
                  </a:cubicBezTo>
                  <a:cubicBezTo>
                    <a:pt x="0" y="18"/>
                    <a:pt x="0" y="17"/>
                    <a:pt x="1" y="16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4" y="0"/>
                    <a:pt x="14" y="0"/>
                    <a:pt x="15" y="0"/>
                  </a:cubicBezTo>
                  <a:cubicBezTo>
                    <a:pt x="16" y="0"/>
                    <a:pt x="16" y="0"/>
                    <a:pt x="17" y="1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8"/>
                    <a:pt x="28" y="20"/>
                    <a:pt x="27" y="20"/>
                  </a:cubicBezTo>
                  <a:cubicBezTo>
                    <a:pt x="27" y="20"/>
                    <a:pt x="27" y="21"/>
                    <a:pt x="26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94" name="Freeform 134"/>
            <p:cNvSpPr>
              <a:spLocks/>
            </p:cNvSpPr>
            <p:nvPr/>
          </p:nvSpPr>
          <p:spPr bwMode="auto">
            <a:xfrm>
              <a:off x="8120063" y="1122363"/>
              <a:ext cx="255588" cy="187325"/>
            </a:xfrm>
            <a:custGeom>
              <a:avLst/>
              <a:gdLst>
                <a:gd name="T0" fmla="*/ 28 w 66"/>
                <a:gd name="T1" fmla="*/ 48 h 48"/>
                <a:gd name="T2" fmla="*/ 1 w 66"/>
                <a:gd name="T3" fmla="*/ 36 h 48"/>
                <a:gd name="T4" fmla="*/ 1 w 66"/>
                <a:gd name="T5" fmla="*/ 33 h 48"/>
                <a:gd name="T6" fmla="*/ 4 w 66"/>
                <a:gd name="T7" fmla="*/ 33 h 48"/>
                <a:gd name="T8" fmla="*/ 35 w 66"/>
                <a:gd name="T9" fmla="*/ 43 h 48"/>
                <a:gd name="T10" fmla="*/ 56 w 66"/>
                <a:gd name="T11" fmla="*/ 28 h 48"/>
                <a:gd name="T12" fmla="*/ 60 w 66"/>
                <a:gd name="T13" fmla="*/ 3 h 48"/>
                <a:gd name="T14" fmla="*/ 62 w 66"/>
                <a:gd name="T15" fmla="*/ 0 h 48"/>
                <a:gd name="T16" fmla="*/ 64 w 66"/>
                <a:gd name="T17" fmla="*/ 2 h 48"/>
                <a:gd name="T18" fmla="*/ 59 w 66"/>
                <a:gd name="T19" fmla="*/ 30 h 48"/>
                <a:gd name="T20" fmla="*/ 36 w 66"/>
                <a:gd name="T21" fmla="*/ 47 h 48"/>
                <a:gd name="T22" fmla="*/ 28 w 66"/>
                <a:gd name="T2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6" h="48">
                  <a:moveTo>
                    <a:pt x="28" y="48"/>
                  </a:moveTo>
                  <a:cubicBezTo>
                    <a:pt x="18" y="48"/>
                    <a:pt x="8" y="44"/>
                    <a:pt x="1" y="36"/>
                  </a:cubicBezTo>
                  <a:cubicBezTo>
                    <a:pt x="0" y="35"/>
                    <a:pt x="0" y="34"/>
                    <a:pt x="1" y="33"/>
                  </a:cubicBezTo>
                  <a:cubicBezTo>
                    <a:pt x="2" y="32"/>
                    <a:pt x="3" y="32"/>
                    <a:pt x="4" y="33"/>
                  </a:cubicBezTo>
                  <a:cubicBezTo>
                    <a:pt x="12" y="42"/>
                    <a:pt x="24" y="46"/>
                    <a:pt x="35" y="43"/>
                  </a:cubicBezTo>
                  <a:cubicBezTo>
                    <a:pt x="44" y="41"/>
                    <a:pt x="51" y="36"/>
                    <a:pt x="56" y="28"/>
                  </a:cubicBezTo>
                  <a:cubicBezTo>
                    <a:pt x="61" y="20"/>
                    <a:pt x="62" y="11"/>
                    <a:pt x="60" y="3"/>
                  </a:cubicBezTo>
                  <a:cubicBezTo>
                    <a:pt x="60" y="2"/>
                    <a:pt x="60" y="1"/>
                    <a:pt x="62" y="0"/>
                  </a:cubicBezTo>
                  <a:cubicBezTo>
                    <a:pt x="63" y="0"/>
                    <a:pt x="64" y="1"/>
                    <a:pt x="64" y="2"/>
                  </a:cubicBezTo>
                  <a:cubicBezTo>
                    <a:pt x="66" y="11"/>
                    <a:pt x="65" y="22"/>
                    <a:pt x="59" y="30"/>
                  </a:cubicBezTo>
                  <a:cubicBezTo>
                    <a:pt x="54" y="39"/>
                    <a:pt x="46" y="45"/>
                    <a:pt x="36" y="47"/>
                  </a:cubicBezTo>
                  <a:cubicBezTo>
                    <a:pt x="34" y="48"/>
                    <a:pt x="31" y="48"/>
                    <a:pt x="28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95" name="Freeform 135"/>
            <p:cNvSpPr>
              <a:spLocks noEditPoints="1"/>
            </p:cNvSpPr>
            <p:nvPr/>
          </p:nvSpPr>
          <p:spPr bwMode="auto">
            <a:xfrm>
              <a:off x="8189913" y="1130300"/>
              <a:ext cx="76200" cy="77788"/>
            </a:xfrm>
            <a:custGeom>
              <a:avLst/>
              <a:gdLst>
                <a:gd name="T0" fmla="*/ 10 w 20"/>
                <a:gd name="T1" fmla="*/ 20 h 20"/>
                <a:gd name="T2" fmla="*/ 0 w 20"/>
                <a:gd name="T3" fmla="*/ 10 h 20"/>
                <a:gd name="T4" fmla="*/ 10 w 20"/>
                <a:gd name="T5" fmla="*/ 0 h 20"/>
                <a:gd name="T6" fmla="*/ 20 w 20"/>
                <a:gd name="T7" fmla="*/ 10 h 20"/>
                <a:gd name="T8" fmla="*/ 10 w 20"/>
                <a:gd name="T9" fmla="*/ 20 h 20"/>
                <a:gd name="T10" fmla="*/ 10 w 20"/>
                <a:gd name="T11" fmla="*/ 4 h 20"/>
                <a:gd name="T12" fmla="*/ 4 w 20"/>
                <a:gd name="T13" fmla="*/ 10 h 20"/>
                <a:gd name="T14" fmla="*/ 10 w 20"/>
                <a:gd name="T15" fmla="*/ 16 h 20"/>
                <a:gd name="T16" fmla="*/ 16 w 20"/>
                <a:gd name="T17" fmla="*/ 10 h 20"/>
                <a:gd name="T18" fmla="*/ 10 w 20"/>
                <a:gd name="T19" fmla="*/ 4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20">
                  <a:moveTo>
                    <a:pt x="10" y="20"/>
                  </a:moveTo>
                  <a:cubicBezTo>
                    <a:pt x="4" y="20"/>
                    <a:pt x="0" y="16"/>
                    <a:pt x="0" y="10"/>
                  </a:cubicBezTo>
                  <a:cubicBezTo>
                    <a:pt x="0" y="4"/>
                    <a:pt x="4" y="0"/>
                    <a:pt x="10" y="0"/>
                  </a:cubicBezTo>
                  <a:cubicBezTo>
                    <a:pt x="16" y="0"/>
                    <a:pt x="20" y="4"/>
                    <a:pt x="20" y="10"/>
                  </a:cubicBezTo>
                  <a:cubicBezTo>
                    <a:pt x="20" y="16"/>
                    <a:pt x="16" y="20"/>
                    <a:pt x="10" y="20"/>
                  </a:cubicBezTo>
                  <a:close/>
                  <a:moveTo>
                    <a:pt x="10" y="4"/>
                  </a:moveTo>
                  <a:cubicBezTo>
                    <a:pt x="7" y="4"/>
                    <a:pt x="4" y="7"/>
                    <a:pt x="4" y="10"/>
                  </a:cubicBezTo>
                  <a:cubicBezTo>
                    <a:pt x="4" y="13"/>
                    <a:pt x="7" y="16"/>
                    <a:pt x="10" y="16"/>
                  </a:cubicBezTo>
                  <a:cubicBezTo>
                    <a:pt x="13" y="16"/>
                    <a:pt x="16" y="13"/>
                    <a:pt x="16" y="10"/>
                  </a:cubicBezTo>
                  <a:cubicBezTo>
                    <a:pt x="16" y="7"/>
                    <a:pt x="13" y="4"/>
                    <a:pt x="1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grpSp>
        <p:nvGrpSpPr>
          <p:cNvPr id="188" name="Group 187"/>
          <p:cNvGrpSpPr/>
          <p:nvPr/>
        </p:nvGrpSpPr>
        <p:grpSpPr>
          <a:xfrm>
            <a:off x="1774889" y="4047934"/>
            <a:ext cx="3771388" cy="487263"/>
            <a:chOff x="949864" y="3145757"/>
            <a:chExt cx="3219685" cy="415983"/>
          </a:xfrm>
        </p:grpSpPr>
        <p:sp>
          <p:nvSpPr>
            <p:cNvPr id="189" name="TextBox 188"/>
            <p:cNvSpPr txBox="1"/>
            <p:nvPr/>
          </p:nvSpPr>
          <p:spPr>
            <a:xfrm>
              <a:off x="949864" y="3145757"/>
              <a:ext cx="1312030" cy="141182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YOUR PROCESS</a:t>
              </a:r>
            </a:p>
          </p:txBody>
        </p:sp>
        <p:sp>
          <p:nvSpPr>
            <p:cNvPr id="190" name="TextBox 189"/>
            <p:cNvSpPr txBox="1"/>
            <p:nvPr/>
          </p:nvSpPr>
          <p:spPr>
            <a:xfrm>
              <a:off x="949864" y="3279375"/>
              <a:ext cx="3219685" cy="282365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Lorem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Ipsum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 is simply dummy text of the printing and typesetting industry.</a:t>
              </a:r>
            </a:p>
          </p:txBody>
        </p:sp>
      </p:grpSp>
      <p:grpSp>
        <p:nvGrpSpPr>
          <p:cNvPr id="131" name="Group 130"/>
          <p:cNvGrpSpPr/>
          <p:nvPr/>
        </p:nvGrpSpPr>
        <p:grpSpPr>
          <a:xfrm>
            <a:off x="1773817" y="4720612"/>
            <a:ext cx="3771387" cy="487263"/>
            <a:chOff x="949864" y="3145757"/>
            <a:chExt cx="3219685" cy="415983"/>
          </a:xfrm>
        </p:grpSpPr>
        <p:sp>
          <p:nvSpPr>
            <p:cNvPr id="185" name="TextBox 184"/>
            <p:cNvSpPr txBox="1"/>
            <p:nvPr/>
          </p:nvSpPr>
          <p:spPr>
            <a:xfrm>
              <a:off x="949864" y="3145757"/>
              <a:ext cx="701838" cy="141182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CUSTOMER</a:t>
              </a:r>
            </a:p>
          </p:txBody>
        </p:sp>
        <p:sp>
          <p:nvSpPr>
            <p:cNvPr id="186" name="TextBox 185"/>
            <p:cNvSpPr txBox="1"/>
            <p:nvPr/>
          </p:nvSpPr>
          <p:spPr>
            <a:xfrm>
              <a:off x="949864" y="3279375"/>
              <a:ext cx="3219685" cy="282365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Lorem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Ipsum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 is simply dummy text of the printing and typesetting industry.</a:t>
              </a:r>
            </a:p>
          </p:txBody>
        </p:sp>
      </p:grpSp>
      <p:grpSp>
        <p:nvGrpSpPr>
          <p:cNvPr id="132" name="Group 131"/>
          <p:cNvGrpSpPr>
            <a:grpSpLocks noChangeAspect="1"/>
          </p:cNvGrpSpPr>
          <p:nvPr/>
        </p:nvGrpSpPr>
        <p:grpSpPr>
          <a:xfrm>
            <a:off x="1296436" y="4720612"/>
            <a:ext cx="361833" cy="316820"/>
            <a:chOff x="7548563" y="349250"/>
            <a:chExt cx="3317876" cy="2905126"/>
          </a:xfrm>
          <a:solidFill>
            <a:srgbClr val="78D2D2"/>
          </a:solidFill>
        </p:grpSpPr>
        <p:sp>
          <p:nvSpPr>
            <p:cNvPr id="133" name="Freeform 139"/>
            <p:cNvSpPr>
              <a:spLocks noEditPoints="1"/>
            </p:cNvSpPr>
            <p:nvPr/>
          </p:nvSpPr>
          <p:spPr bwMode="auto">
            <a:xfrm>
              <a:off x="7548563" y="1316038"/>
              <a:ext cx="831850" cy="1384300"/>
            </a:xfrm>
            <a:custGeom>
              <a:avLst/>
              <a:gdLst>
                <a:gd name="T0" fmla="*/ 165 w 221"/>
                <a:gd name="T1" fmla="*/ 368 h 368"/>
                <a:gd name="T2" fmla="*/ 55 w 221"/>
                <a:gd name="T3" fmla="*/ 368 h 368"/>
                <a:gd name="T4" fmla="*/ 37 w 221"/>
                <a:gd name="T5" fmla="*/ 350 h 368"/>
                <a:gd name="T6" fmla="*/ 37 w 221"/>
                <a:gd name="T7" fmla="*/ 200 h 368"/>
                <a:gd name="T8" fmla="*/ 0 w 221"/>
                <a:gd name="T9" fmla="*/ 129 h 368"/>
                <a:gd name="T10" fmla="*/ 0 w 221"/>
                <a:gd name="T11" fmla="*/ 19 h 368"/>
                <a:gd name="T12" fmla="*/ 18 w 221"/>
                <a:gd name="T13" fmla="*/ 0 h 368"/>
                <a:gd name="T14" fmla="*/ 202 w 221"/>
                <a:gd name="T15" fmla="*/ 0 h 368"/>
                <a:gd name="T16" fmla="*/ 221 w 221"/>
                <a:gd name="T17" fmla="*/ 19 h 368"/>
                <a:gd name="T18" fmla="*/ 221 w 221"/>
                <a:gd name="T19" fmla="*/ 129 h 368"/>
                <a:gd name="T20" fmla="*/ 184 w 221"/>
                <a:gd name="T21" fmla="*/ 200 h 368"/>
                <a:gd name="T22" fmla="*/ 184 w 221"/>
                <a:gd name="T23" fmla="*/ 350 h 368"/>
                <a:gd name="T24" fmla="*/ 165 w 221"/>
                <a:gd name="T25" fmla="*/ 368 h 368"/>
                <a:gd name="T26" fmla="*/ 74 w 221"/>
                <a:gd name="T27" fmla="*/ 331 h 368"/>
                <a:gd name="T28" fmla="*/ 147 w 221"/>
                <a:gd name="T29" fmla="*/ 331 h 368"/>
                <a:gd name="T30" fmla="*/ 147 w 221"/>
                <a:gd name="T31" fmla="*/ 184 h 368"/>
                <a:gd name="T32" fmla="*/ 165 w 221"/>
                <a:gd name="T33" fmla="*/ 166 h 368"/>
                <a:gd name="T34" fmla="*/ 184 w 221"/>
                <a:gd name="T35" fmla="*/ 129 h 368"/>
                <a:gd name="T36" fmla="*/ 184 w 221"/>
                <a:gd name="T37" fmla="*/ 37 h 368"/>
                <a:gd name="T38" fmla="*/ 37 w 221"/>
                <a:gd name="T39" fmla="*/ 37 h 368"/>
                <a:gd name="T40" fmla="*/ 37 w 221"/>
                <a:gd name="T41" fmla="*/ 129 h 368"/>
                <a:gd name="T42" fmla="*/ 55 w 221"/>
                <a:gd name="T43" fmla="*/ 166 h 368"/>
                <a:gd name="T44" fmla="*/ 74 w 221"/>
                <a:gd name="T45" fmla="*/ 184 h 368"/>
                <a:gd name="T46" fmla="*/ 74 w 221"/>
                <a:gd name="T47" fmla="*/ 331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21" h="368">
                  <a:moveTo>
                    <a:pt x="165" y="368"/>
                  </a:moveTo>
                  <a:cubicBezTo>
                    <a:pt x="55" y="368"/>
                    <a:pt x="55" y="368"/>
                    <a:pt x="55" y="368"/>
                  </a:cubicBezTo>
                  <a:cubicBezTo>
                    <a:pt x="45" y="368"/>
                    <a:pt x="37" y="360"/>
                    <a:pt x="37" y="350"/>
                  </a:cubicBezTo>
                  <a:cubicBezTo>
                    <a:pt x="37" y="200"/>
                    <a:pt x="37" y="200"/>
                    <a:pt x="37" y="200"/>
                  </a:cubicBezTo>
                  <a:cubicBezTo>
                    <a:pt x="12" y="193"/>
                    <a:pt x="0" y="169"/>
                    <a:pt x="0" y="12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9"/>
                    <a:pt x="8" y="0"/>
                    <a:pt x="18" y="0"/>
                  </a:cubicBezTo>
                  <a:cubicBezTo>
                    <a:pt x="202" y="0"/>
                    <a:pt x="202" y="0"/>
                    <a:pt x="202" y="0"/>
                  </a:cubicBezTo>
                  <a:cubicBezTo>
                    <a:pt x="212" y="0"/>
                    <a:pt x="221" y="9"/>
                    <a:pt x="221" y="19"/>
                  </a:cubicBezTo>
                  <a:cubicBezTo>
                    <a:pt x="221" y="129"/>
                    <a:pt x="221" y="129"/>
                    <a:pt x="221" y="129"/>
                  </a:cubicBezTo>
                  <a:cubicBezTo>
                    <a:pt x="221" y="169"/>
                    <a:pt x="208" y="193"/>
                    <a:pt x="184" y="200"/>
                  </a:cubicBezTo>
                  <a:cubicBezTo>
                    <a:pt x="184" y="350"/>
                    <a:pt x="184" y="350"/>
                    <a:pt x="184" y="350"/>
                  </a:cubicBezTo>
                  <a:cubicBezTo>
                    <a:pt x="184" y="360"/>
                    <a:pt x="176" y="368"/>
                    <a:pt x="165" y="368"/>
                  </a:cubicBezTo>
                  <a:close/>
                  <a:moveTo>
                    <a:pt x="74" y="331"/>
                  </a:moveTo>
                  <a:cubicBezTo>
                    <a:pt x="147" y="331"/>
                    <a:pt x="147" y="331"/>
                    <a:pt x="147" y="331"/>
                  </a:cubicBezTo>
                  <a:cubicBezTo>
                    <a:pt x="147" y="184"/>
                    <a:pt x="147" y="184"/>
                    <a:pt x="147" y="184"/>
                  </a:cubicBezTo>
                  <a:cubicBezTo>
                    <a:pt x="147" y="174"/>
                    <a:pt x="155" y="166"/>
                    <a:pt x="165" y="166"/>
                  </a:cubicBezTo>
                  <a:cubicBezTo>
                    <a:pt x="174" y="166"/>
                    <a:pt x="184" y="166"/>
                    <a:pt x="184" y="129"/>
                  </a:cubicBezTo>
                  <a:cubicBezTo>
                    <a:pt x="184" y="37"/>
                    <a:pt x="184" y="37"/>
                    <a:pt x="184" y="37"/>
                  </a:cubicBezTo>
                  <a:cubicBezTo>
                    <a:pt x="37" y="37"/>
                    <a:pt x="37" y="37"/>
                    <a:pt x="37" y="37"/>
                  </a:cubicBezTo>
                  <a:cubicBezTo>
                    <a:pt x="37" y="129"/>
                    <a:pt x="37" y="129"/>
                    <a:pt x="37" y="129"/>
                  </a:cubicBezTo>
                  <a:cubicBezTo>
                    <a:pt x="37" y="166"/>
                    <a:pt x="47" y="166"/>
                    <a:pt x="55" y="166"/>
                  </a:cubicBezTo>
                  <a:cubicBezTo>
                    <a:pt x="65" y="166"/>
                    <a:pt x="74" y="174"/>
                    <a:pt x="74" y="184"/>
                  </a:cubicBezTo>
                  <a:lnTo>
                    <a:pt x="74" y="3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34" name="Freeform 140"/>
            <p:cNvSpPr>
              <a:spLocks noEditPoints="1"/>
            </p:cNvSpPr>
            <p:nvPr/>
          </p:nvSpPr>
          <p:spPr bwMode="auto">
            <a:xfrm>
              <a:off x="10039351" y="1316038"/>
              <a:ext cx="827088" cy="1384300"/>
            </a:xfrm>
            <a:custGeom>
              <a:avLst/>
              <a:gdLst>
                <a:gd name="T0" fmla="*/ 165 w 220"/>
                <a:gd name="T1" fmla="*/ 368 h 368"/>
                <a:gd name="T2" fmla="*/ 55 w 220"/>
                <a:gd name="T3" fmla="*/ 368 h 368"/>
                <a:gd name="T4" fmla="*/ 36 w 220"/>
                <a:gd name="T5" fmla="*/ 350 h 368"/>
                <a:gd name="T6" fmla="*/ 36 w 220"/>
                <a:gd name="T7" fmla="*/ 200 h 368"/>
                <a:gd name="T8" fmla="*/ 0 w 220"/>
                <a:gd name="T9" fmla="*/ 129 h 368"/>
                <a:gd name="T10" fmla="*/ 0 w 220"/>
                <a:gd name="T11" fmla="*/ 19 h 368"/>
                <a:gd name="T12" fmla="*/ 18 w 220"/>
                <a:gd name="T13" fmla="*/ 0 h 368"/>
                <a:gd name="T14" fmla="*/ 202 w 220"/>
                <a:gd name="T15" fmla="*/ 0 h 368"/>
                <a:gd name="T16" fmla="*/ 220 w 220"/>
                <a:gd name="T17" fmla="*/ 19 h 368"/>
                <a:gd name="T18" fmla="*/ 220 w 220"/>
                <a:gd name="T19" fmla="*/ 129 h 368"/>
                <a:gd name="T20" fmla="*/ 184 w 220"/>
                <a:gd name="T21" fmla="*/ 200 h 368"/>
                <a:gd name="T22" fmla="*/ 184 w 220"/>
                <a:gd name="T23" fmla="*/ 350 h 368"/>
                <a:gd name="T24" fmla="*/ 165 w 220"/>
                <a:gd name="T25" fmla="*/ 368 h 368"/>
                <a:gd name="T26" fmla="*/ 73 w 220"/>
                <a:gd name="T27" fmla="*/ 331 h 368"/>
                <a:gd name="T28" fmla="*/ 147 w 220"/>
                <a:gd name="T29" fmla="*/ 331 h 368"/>
                <a:gd name="T30" fmla="*/ 147 w 220"/>
                <a:gd name="T31" fmla="*/ 184 h 368"/>
                <a:gd name="T32" fmla="*/ 165 w 220"/>
                <a:gd name="T33" fmla="*/ 166 h 368"/>
                <a:gd name="T34" fmla="*/ 184 w 220"/>
                <a:gd name="T35" fmla="*/ 129 h 368"/>
                <a:gd name="T36" fmla="*/ 184 w 220"/>
                <a:gd name="T37" fmla="*/ 37 h 368"/>
                <a:gd name="T38" fmla="*/ 36 w 220"/>
                <a:gd name="T39" fmla="*/ 37 h 368"/>
                <a:gd name="T40" fmla="*/ 36 w 220"/>
                <a:gd name="T41" fmla="*/ 129 h 368"/>
                <a:gd name="T42" fmla="*/ 55 w 220"/>
                <a:gd name="T43" fmla="*/ 166 h 368"/>
                <a:gd name="T44" fmla="*/ 73 w 220"/>
                <a:gd name="T45" fmla="*/ 184 h 368"/>
                <a:gd name="T46" fmla="*/ 73 w 220"/>
                <a:gd name="T47" fmla="*/ 331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20" h="368">
                  <a:moveTo>
                    <a:pt x="165" y="368"/>
                  </a:moveTo>
                  <a:cubicBezTo>
                    <a:pt x="55" y="368"/>
                    <a:pt x="55" y="368"/>
                    <a:pt x="55" y="368"/>
                  </a:cubicBezTo>
                  <a:cubicBezTo>
                    <a:pt x="45" y="368"/>
                    <a:pt x="36" y="360"/>
                    <a:pt x="36" y="350"/>
                  </a:cubicBezTo>
                  <a:cubicBezTo>
                    <a:pt x="36" y="200"/>
                    <a:pt x="36" y="200"/>
                    <a:pt x="36" y="200"/>
                  </a:cubicBezTo>
                  <a:cubicBezTo>
                    <a:pt x="12" y="193"/>
                    <a:pt x="0" y="169"/>
                    <a:pt x="0" y="12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9"/>
                    <a:pt x="8" y="0"/>
                    <a:pt x="18" y="0"/>
                  </a:cubicBezTo>
                  <a:cubicBezTo>
                    <a:pt x="202" y="0"/>
                    <a:pt x="202" y="0"/>
                    <a:pt x="202" y="0"/>
                  </a:cubicBezTo>
                  <a:cubicBezTo>
                    <a:pt x="212" y="0"/>
                    <a:pt x="220" y="9"/>
                    <a:pt x="220" y="19"/>
                  </a:cubicBezTo>
                  <a:cubicBezTo>
                    <a:pt x="220" y="129"/>
                    <a:pt x="220" y="129"/>
                    <a:pt x="220" y="129"/>
                  </a:cubicBezTo>
                  <a:cubicBezTo>
                    <a:pt x="220" y="169"/>
                    <a:pt x="208" y="193"/>
                    <a:pt x="184" y="200"/>
                  </a:cubicBezTo>
                  <a:cubicBezTo>
                    <a:pt x="184" y="350"/>
                    <a:pt x="184" y="350"/>
                    <a:pt x="184" y="350"/>
                  </a:cubicBezTo>
                  <a:cubicBezTo>
                    <a:pt x="184" y="360"/>
                    <a:pt x="175" y="368"/>
                    <a:pt x="165" y="368"/>
                  </a:cubicBezTo>
                  <a:close/>
                  <a:moveTo>
                    <a:pt x="73" y="331"/>
                  </a:moveTo>
                  <a:cubicBezTo>
                    <a:pt x="147" y="331"/>
                    <a:pt x="147" y="331"/>
                    <a:pt x="147" y="331"/>
                  </a:cubicBezTo>
                  <a:cubicBezTo>
                    <a:pt x="147" y="184"/>
                    <a:pt x="147" y="184"/>
                    <a:pt x="147" y="184"/>
                  </a:cubicBezTo>
                  <a:cubicBezTo>
                    <a:pt x="147" y="174"/>
                    <a:pt x="155" y="166"/>
                    <a:pt x="165" y="166"/>
                  </a:cubicBezTo>
                  <a:cubicBezTo>
                    <a:pt x="173" y="166"/>
                    <a:pt x="183" y="166"/>
                    <a:pt x="184" y="129"/>
                  </a:cubicBezTo>
                  <a:cubicBezTo>
                    <a:pt x="184" y="37"/>
                    <a:pt x="184" y="37"/>
                    <a:pt x="184" y="37"/>
                  </a:cubicBezTo>
                  <a:cubicBezTo>
                    <a:pt x="36" y="37"/>
                    <a:pt x="36" y="37"/>
                    <a:pt x="36" y="37"/>
                  </a:cubicBezTo>
                  <a:cubicBezTo>
                    <a:pt x="36" y="129"/>
                    <a:pt x="36" y="129"/>
                    <a:pt x="36" y="129"/>
                  </a:cubicBezTo>
                  <a:cubicBezTo>
                    <a:pt x="36" y="166"/>
                    <a:pt x="47" y="166"/>
                    <a:pt x="55" y="166"/>
                  </a:cubicBezTo>
                  <a:cubicBezTo>
                    <a:pt x="65" y="166"/>
                    <a:pt x="73" y="174"/>
                    <a:pt x="73" y="184"/>
                  </a:cubicBezTo>
                  <a:lnTo>
                    <a:pt x="73" y="3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35" name="Freeform 141"/>
            <p:cNvSpPr>
              <a:spLocks noEditPoints="1"/>
            </p:cNvSpPr>
            <p:nvPr/>
          </p:nvSpPr>
          <p:spPr bwMode="auto">
            <a:xfrm>
              <a:off x="8655051" y="1316038"/>
              <a:ext cx="1104900" cy="1938338"/>
            </a:xfrm>
            <a:custGeom>
              <a:avLst/>
              <a:gdLst>
                <a:gd name="T0" fmla="*/ 202 w 294"/>
                <a:gd name="T1" fmla="*/ 515 h 515"/>
                <a:gd name="T2" fmla="*/ 92 w 294"/>
                <a:gd name="T3" fmla="*/ 515 h 515"/>
                <a:gd name="T4" fmla="*/ 74 w 294"/>
                <a:gd name="T5" fmla="*/ 497 h 515"/>
                <a:gd name="T6" fmla="*/ 74 w 294"/>
                <a:gd name="T7" fmla="*/ 293 h 515"/>
                <a:gd name="T8" fmla="*/ 0 w 294"/>
                <a:gd name="T9" fmla="*/ 203 h 515"/>
                <a:gd name="T10" fmla="*/ 0 w 294"/>
                <a:gd name="T11" fmla="*/ 19 h 515"/>
                <a:gd name="T12" fmla="*/ 18 w 294"/>
                <a:gd name="T13" fmla="*/ 0 h 515"/>
                <a:gd name="T14" fmla="*/ 276 w 294"/>
                <a:gd name="T15" fmla="*/ 0 h 515"/>
                <a:gd name="T16" fmla="*/ 294 w 294"/>
                <a:gd name="T17" fmla="*/ 19 h 515"/>
                <a:gd name="T18" fmla="*/ 294 w 294"/>
                <a:gd name="T19" fmla="*/ 203 h 515"/>
                <a:gd name="T20" fmla="*/ 221 w 294"/>
                <a:gd name="T21" fmla="*/ 293 h 515"/>
                <a:gd name="T22" fmla="*/ 221 w 294"/>
                <a:gd name="T23" fmla="*/ 497 h 515"/>
                <a:gd name="T24" fmla="*/ 202 w 294"/>
                <a:gd name="T25" fmla="*/ 515 h 515"/>
                <a:gd name="T26" fmla="*/ 110 w 294"/>
                <a:gd name="T27" fmla="*/ 478 h 515"/>
                <a:gd name="T28" fmla="*/ 184 w 294"/>
                <a:gd name="T29" fmla="*/ 478 h 515"/>
                <a:gd name="T30" fmla="*/ 184 w 294"/>
                <a:gd name="T31" fmla="*/ 276 h 515"/>
                <a:gd name="T32" fmla="*/ 202 w 294"/>
                <a:gd name="T33" fmla="*/ 258 h 515"/>
                <a:gd name="T34" fmla="*/ 257 w 294"/>
                <a:gd name="T35" fmla="*/ 203 h 515"/>
                <a:gd name="T36" fmla="*/ 257 w 294"/>
                <a:gd name="T37" fmla="*/ 37 h 515"/>
                <a:gd name="T38" fmla="*/ 37 w 294"/>
                <a:gd name="T39" fmla="*/ 37 h 515"/>
                <a:gd name="T40" fmla="*/ 37 w 294"/>
                <a:gd name="T41" fmla="*/ 203 h 515"/>
                <a:gd name="T42" fmla="*/ 92 w 294"/>
                <a:gd name="T43" fmla="*/ 258 h 515"/>
                <a:gd name="T44" fmla="*/ 110 w 294"/>
                <a:gd name="T45" fmla="*/ 276 h 515"/>
                <a:gd name="T46" fmla="*/ 110 w 294"/>
                <a:gd name="T47" fmla="*/ 478 h 5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94" h="515">
                  <a:moveTo>
                    <a:pt x="202" y="515"/>
                  </a:moveTo>
                  <a:cubicBezTo>
                    <a:pt x="92" y="515"/>
                    <a:pt x="92" y="515"/>
                    <a:pt x="92" y="515"/>
                  </a:cubicBezTo>
                  <a:cubicBezTo>
                    <a:pt x="82" y="515"/>
                    <a:pt x="74" y="507"/>
                    <a:pt x="74" y="497"/>
                  </a:cubicBezTo>
                  <a:cubicBezTo>
                    <a:pt x="74" y="293"/>
                    <a:pt x="74" y="293"/>
                    <a:pt x="74" y="293"/>
                  </a:cubicBezTo>
                  <a:cubicBezTo>
                    <a:pt x="32" y="284"/>
                    <a:pt x="0" y="247"/>
                    <a:pt x="0" y="203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9"/>
                    <a:pt x="8" y="0"/>
                    <a:pt x="18" y="0"/>
                  </a:cubicBezTo>
                  <a:cubicBezTo>
                    <a:pt x="276" y="0"/>
                    <a:pt x="276" y="0"/>
                    <a:pt x="276" y="0"/>
                  </a:cubicBezTo>
                  <a:cubicBezTo>
                    <a:pt x="286" y="0"/>
                    <a:pt x="294" y="9"/>
                    <a:pt x="294" y="19"/>
                  </a:cubicBezTo>
                  <a:cubicBezTo>
                    <a:pt x="294" y="203"/>
                    <a:pt x="294" y="203"/>
                    <a:pt x="294" y="203"/>
                  </a:cubicBezTo>
                  <a:cubicBezTo>
                    <a:pt x="294" y="247"/>
                    <a:pt x="263" y="284"/>
                    <a:pt x="221" y="293"/>
                  </a:cubicBezTo>
                  <a:cubicBezTo>
                    <a:pt x="221" y="497"/>
                    <a:pt x="221" y="497"/>
                    <a:pt x="221" y="497"/>
                  </a:cubicBezTo>
                  <a:cubicBezTo>
                    <a:pt x="221" y="507"/>
                    <a:pt x="212" y="515"/>
                    <a:pt x="202" y="515"/>
                  </a:cubicBezTo>
                  <a:close/>
                  <a:moveTo>
                    <a:pt x="110" y="478"/>
                  </a:moveTo>
                  <a:cubicBezTo>
                    <a:pt x="184" y="478"/>
                    <a:pt x="184" y="478"/>
                    <a:pt x="184" y="478"/>
                  </a:cubicBezTo>
                  <a:cubicBezTo>
                    <a:pt x="184" y="276"/>
                    <a:pt x="184" y="276"/>
                    <a:pt x="184" y="276"/>
                  </a:cubicBezTo>
                  <a:cubicBezTo>
                    <a:pt x="184" y="266"/>
                    <a:pt x="192" y="258"/>
                    <a:pt x="202" y="258"/>
                  </a:cubicBezTo>
                  <a:cubicBezTo>
                    <a:pt x="233" y="258"/>
                    <a:pt x="257" y="233"/>
                    <a:pt x="257" y="203"/>
                  </a:cubicBezTo>
                  <a:cubicBezTo>
                    <a:pt x="257" y="37"/>
                    <a:pt x="257" y="37"/>
                    <a:pt x="257" y="37"/>
                  </a:cubicBezTo>
                  <a:cubicBezTo>
                    <a:pt x="37" y="37"/>
                    <a:pt x="37" y="37"/>
                    <a:pt x="37" y="37"/>
                  </a:cubicBezTo>
                  <a:cubicBezTo>
                    <a:pt x="37" y="203"/>
                    <a:pt x="37" y="203"/>
                    <a:pt x="37" y="203"/>
                  </a:cubicBezTo>
                  <a:cubicBezTo>
                    <a:pt x="37" y="233"/>
                    <a:pt x="62" y="258"/>
                    <a:pt x="92" y="258"/>
                  </a:cubicBezTo>
                  <a:cubicBezTo>
                    <a:pt x="102" y="258"/>
                    <a:pt x="110" y="266"/>
                    <a:pt x="110" y="276"/>
                  </a:cubicBezTo>
                  <a:lnTo>
                    <a:pt x="110" y="4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82" name="Freeform 142"/>
            <p:cNvSpPr>
              <a:spLocks noEditPoints="1"/>
            </p:cNvSpPr>
            <p:nvPr/>
          </p:nvSpPr>
          <p:spPr bwMode="auto">
            <a:xfrm>
              <a:off x="7688263" y="627063"/>
              <a:ext cx="552450" cy="554038"/>
            </a:xfrm>
            <a:custGeom>
              <a:avLst/>
              <a:gdLst>
                <a:gd name="T0" fmla="*/ 73 w 147"/>
                <a:gd name="T1" fmla="*/ 147 h 147"/>
                <a:gd name="T2" fmla="*/ 0 w 147"/>
                <a:gd name="T3" fmla="*/ 73 h 147"/>
                <a:gd name="T4" fmla="*/ 73 w 147"/>
                <a:gd name="T5" fmla="*/ 0 h 147"/>
                <a:gd name="T6" fmla="*/ 147 w 147"/>
                <a:gd name="T7" fmla="*/ 73 h 147"/>
                <a:gd name="T8" fmla="*/ 73 w 147"/>
                <a:gd name="T9" fmla="*/ 147 h 147"/>
                <a:gd name="T10" fmla="*/ 73 w 147"/>
                <a:gd name="T11" fmla="*/ 36 h 147"/>
                <a:gd name="T12" fmla="*/ 37 w 147"/>
                <a:gd name="T13" fmla="*/ 73 h 147"/>
                <a:gd name="T14" fmla="*/ 73 w 147"/>
                <a:gd name="T15" fmla="*/ 110 h 147"/>
                <a:gd name="T16" fmla="*/ 110 w 147"/>
                <a:gd name="T17" fmla="*/ 73 h 147"/>
                <a:gd name="T18" fmla="*/ 73 w 147"/>
                <a:gd name="T19" fmla="*/ 36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47">
                  <a:moveTo>
                    <a:pt x="73" y="147"/>
                  </a:moveTo>
                  <a:cubicBezTo>
                    <a:pt x="33" y="147"/>
                    <a:pt x="0" y="114"/>
                    <a:pt x="0" y="73"/>
                  </a:cubicBezTo>
                  <a:cubicBezTo>
                    <a:pt x="0" y="32"/>
                    <a:pt x="33" y="0"/>
                    <a:pt x="73" y="0"/>
                  </a:cubicBezTo>
                  <a:cubicBezTo>
                    <a:pt x="114" y="0"/>
                    <a:pt x="147" y="32"/>
                    <a:pt x="147" y="73"/>
                  </a:cubicBezTo>
                  <a:cubicBezTo>
                    <a:pt x="147" y="114"/>
                    <a:pt x="114" y="147"/>
                    <a:pt x="73" y="147"/>
                  </a:cubicBezTo>
                  <a:close/>
                  <a:moveTo>
                    <a:pt x="73" y="36"/>
                  </a:moveTo>
                  <a:cubicBezTo>
                    <a:pt x="53" y="36"/>
                    <a:pt x="37" y="53"/>
                    <a:pt x="37" y="73"/>
                  </a:cubicBezTo>
                  <a:cubicBezTo>
                    <a:pt x="37" y="93"/>
                    <a:pt x="53" y="110"/>
                    <a:pt x="73" y="110"/>
                  </a:cubicBezTo>
                  <a:cubicBezTo>
                    <a:pt x="94" y="110"/>
                    <a:pt x="110" y="93"/>
                    <a:pt x="110" y="73"/>
                  </a:cubicBezTo>
                  <a:cubicBezTo>
                    <a:pt x="110" y="53"/>
                    <a:pt x="94" y="36"/>
                    <a:pt x="73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83" name="Freeform 143"/>
            <p:cNvSpPr>
              <a:spLocks noEditPoints="1"/>
            </p:cNvSpPr>
            <p:nvPr/>
          </p:nvSpPr>
          <p:spPr bwMode="auto">
            <a:xfrm>
              <a:off x="10174288" y="627063"/>
              <a:ext cx="557213" cy="554038"/>
            </a:xfrm>
            <a:custGeom>
              <a:avLst/>
              <a:gdLst>
                <a:gd name="T0" fmla="*/ 74 w 148"/>
                <a:gd name="T1" fmla="*/ 147 h 147"/>
                <a:gd name="T2" fmla="*/ 0 w 148"/>
                <a:gd name="T3" fmla="*/ 73 h 147"/>
                <a:gd name="T4" fmla="*/ 74 w 148"/>
                <a:gd name="T5" fmla="*/ 0 h 147"/>
                <a:gd name="T6" fmla="*/ 148 w 148"/>
                <a:gd name="T7" fmla="*/ 73 h 147"/>
                <a:gd name="T8" fmla="*/ 74 w 148"/>
                <a:gd name="T9" fmla="*/ 147 h 147"/>
                <a:gd name="T10" fmla="*/ 74 w 148"/>
                <a:gd name="T11" fmla="*/ 36 h 147"/>
                <a:gd name="T12" fmla="*/ 37 w 148"/>
                <a:gd name="T13" fmla="*/ 73 h 147"/>
                <a:gd name="T14" fmla="*/ 74 w 148"/>
                <a:gd name="T15" fmla="*/ 110 h 147"/>
                <a:gd name="T16" fmla="*/ 111 w 148"/>
                <a:gd name="T17" fmla="*/ 73 h 147"/>
                <a:gd name="T18" fmla="*/ 74 w 148"/>
                <a:gd name="T19" fmla="*/ 36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8" h="147">
                  <a:moveTo>
                    <a:pt x="74" y="147"/>
                  </a:moveTo>
                  <a:cubicBezTo>
                    <a:pt x="33" y="147"/>
                    <a:pt x="0" y="114"/>
                    <a:pt x="0" y="73"/>
                  </a:cubicBezTo>
                  <a:cubicBezTo>
                    <a:pt x="0" y="32"/>
                    <a:pt x="33" y="0"/>
                    <a:pt x="74" y="0"/>
                  </a:cubicBezTo>
                  <a:cubicBezTo>
                    <a:pt x="115" y="0"/>
                    <a:pt x="148" y="32"/>
                    <a:pt x="148" y="73"/>
                  </a:cubicBezTo>
                  <a:cubicBezTo>
                    <a:pt x="148" y="114"/>
                    <a:pt x="115" y="147"/>
                    <a:pt x="74" y="147"/>
                  </a:cubicBezTo>
                  <a:close/>
                  <a:moveTo>
                    <a:pt x="74" y="36"/>
                  </a:moveTo>
                  <a:cubicBezTo>
                    <a:pt x="54" y="36"/>
                    <a:pt x="37" y="53"/>
                    <a:pt x="37" y="73"/>
                  </a:cubicBezTo>
                  <a:cubicBezTo>
                    <a:pt x="37" y="93"/>
                    <a:pt x="54" y="110"/>
                    <a:pt x="74" y="110"/>
                  </a:cubicBezTo>
                  <a:cubicBezTo>
                    <a:pt x="94" y="110"/>
                    <a:pt x="111" y="93"/>
                    <a:pt x="111" y="73"/>
                  </a:cubicBezTo>
                  <a:cubicBezTo>
                    <a:pt x="111" y="53"/>
                    <a:pt x="94" y="36"/>
                    <a:pt x="7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84" name="Freeform 144"/>
            <p:cNvSpPr>
              <a:spLocks noEditPoints="1"/>
            </p:cNvSpPr>
            <p:nvPr/>
          </p:nvSpPr>
          <p:spPr bwMode="auto">
            <a:xfrm>
              <a:off x="8793163" y="349250"/>
              <a:ext cx="828675" cy="831850"/>
            </a:xfrm>
            <a:custGeom>
              <a:avLst/>
              <a:gdLst>
                <a:gd name="T0" fmla="*/ 110 w 220"/>
                <a:gd name="T1" fmla="*/ 221 h 221"/>
                <a:gd name="T2" fmla="*/ 0 w 220"/>
                <a:gd name="T3" fmla="*/ 110 h 221"/>
                <a:gd name="T4" fmla="*/ 110 w 220"/>
                <a:gd name="T5" fmla="*/ 0 h 221"/>
                <a:gd name="T6" fmla="*/ 220 w 220"/>
                <a:gd name="T7" fmla="*/ 110 h 221"/>
                <a:gd name="T8" fmla="*/ 110 w 220"/>
                <a:gd name="T9" fmla="*/ 221 h 221"/>
                <a:gd name="T10" fmla="*/ 110 w 220"/>
                <a:gd name="T11" fmla="*/ 37 h 221"/>
                <a:gd name="T12" fmla="*/ 37 w 220"/>
                <a:gd name="T13" fmla="*/ 110 h 221"/>
                <a:gd name="T14" fmla="*/ 110 w 220"/>
                <a:gd name="T15" fmla="*/ 184 h 221"/>
                <a:gd name="T16" fmla="*/ 184 w 220"/>
                <a:gd name="T17" fmla="*/ 110 h 221"/>
                <a:gd name="T18" fmla="*/ 110 w 220"/>
                <a:gd name="T19" fmla="*/ 37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1">
                  <a:moveTo>
                    <a:pt x="110" y="221"/>
                  </a:moveTo>
                  <a:cubicBezTo>
                    <a:pt x="49" y="221"/>
                    <a:pt x="0" y="171"/>
                    <a:pt x="0" y="110"/>
                  </a:cubicBezTo>
                  <a:cubicBezTo>
                    <a:pt x="0" y="49"/>
                    <a:pt x="49" y="0"/>
                    <a:pt x="110" y="0"/>
                  </a:cubicBezTo>
                  <a:cubicBezTo>
                    <a:pt x="171" y="0"/>
                    <a:pt x="220" y="49"/>
                    <a:pt x="220" y="110"/>
                  </a:cubicBezTo>
                  <a:cubicBezTo>
                    <a:pt x="220" y="171"/>
                    <a:pt x="171" y="221"/>
                    <a:pt x="110" y="221"/>
                  </a:cubicBezTo>
                  <a:close/>
                  <a:moveTo>
                    <a:pt x="110" y="37"/>
                  </a:moveTo>
                  <a:cubicBezTo>
                    <a:pt x="70" y="37"/>
                    <a:pt x="37" y="70"/>
                    <a:pt x="37" y="110"/>
                  </a:cubicBezTo>
                  <a:cubicBezTo>
                    <a:pt x="37" y="151"/>
                    <a:pt x="70" y="184"/>
                    <a:pt x="110" y="184"/>
                  </a:cubicBezTo>
                  <a:cubicBezTo>
                    <a:pt x="151" y="184"/>
                    <a:pt x="184" y="151"/>
                    <a:pt x="184" y="110"/>
                  </a:cubicBezTo>
                  <a:cubicBezTo>
                    <a:pt x="184" y="70"/>
                    <a:pt x="151" y="37"/>
                    <a:pt x="110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cxnSp>
        <p:nvCxnSpPr>
          <p:cNvPr id="129" name="Straight Connector 128"/>
          <p:cNvCxnSpPr/>
          <p:nvPr/>
        </p:nvCxnSpPr>
        <p:spPr>
          <a:xfrm>
            <a:off x="1296436" y="3970111"/>
            <a:ext cx="4319110" cy="0"/>
          </a:xfrm>
          <a:prstGeom prst="line">
            <a:avLst/>
          </a:prstGeom>
          <a:ln w="63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Straight Connector 129"/>
          <p:cNvCxnSpPr/>
          <p:nvPr/>
        </p:nvCxnSpPr>
        <p:spPr>
          <a:xfrm>
            <a:off x="1296436" y="4642787"/>
            <a:ext cx="4319110" cy="0"/>
          </a:xfrm>
          <a:prstGeom prst="line">
            <a:avLst/>
          </a:prstGeom>
          <a:ln w="63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PowerPoint Presentation</a:t>
            </a:r>
          </a:p>
        </p:txBody>
      </p:sp>
    </p:spTree>
    <p:extLst>
      <p:ext uri="{BB962C8B-B14F-4D97-AF65-F5344CB8AC3E}">
        <p14:creationId xmlns:p14="http://schemas.microsoft.com/office/powerpoint/2010/main" val="219031882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PowerPoint Presentation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852138-FCC6-44DD-9FFC-1C789392E7AA}" type="datetime1">
              <a:rPr lang="en-US" smtClean="0"/>
              <a:t>11/15/2018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06E70-9524-410D-AE9B-78D656EAA14D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2061330" y="2103881"/>
            <a:ext cx="534112" cy="493100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AFABAB"/>
                </a:solidFill>
                <a:effectLst/>
                <a:uLnTx/>
                <a:uFillTx/>
                <a:ea typeface="+mn-ea"/>
                <a:cs typeface="+mn-cs"/>
              </a:rPr>
              <a:t>02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061330" y="1195451"/>
            <a:ext cx="534112" cy="493100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E2583D"/>
                </a:solidFill>
                <a:effectLst/>
                <a:uLnTx/>
                <a:uFillTx/>
                <a:ea typeface="+mn-ea"/>
                <a:cs typeface="+mn-cs"/>
              </a:rPr>
              <a:t>01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5574825" y="1303898"/>
            <a:ext cx="4555846" cy="4783639"/>
            <a:chOff x="2984501" y="1762125"/>
            <a:chExt cx="3175000" cy="3333751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10" name="Freeform 5"/>
            <p:cNvSpPr>
              <a:spLocks/>
            </p:cNvSpPr>
            <p:nvPr/>
          </p:nvSpPr>
          <p:spPr bwMode="auto">
            <a:xfrm>
              <a:off x="2984501" y="2657475"/>
              <a:ext cx="1006475" cy="1749425"/>
            </a:xfrm>
            <a:custGeom>
              <a:avLst/>
              <a:gdLst>
                <a:gd name="T0" fmla="*/ 167 w 267"/>
                <a:gd name="T1" fmla="*/ 465 h 465"/>
                <a:gd name="T2" fmla="*/ 20 w 267"/>
                <a:gd name="T3" fmla="*/ 289 h 465"/>
                <a:gd name="T4" fmla="*/ 267 w 267"/>
                <a:gd name="T5" fmla="*/ 0 h 465"/>
                <a:gd name="T6" fmla="*/ 143 w 267"/>
                <a:gd name="T7" fmla="*/ 250 h 465"/>
                <a:gd name="T8" fmla="*/ 167 w 267"/>
                <a:gd name="T9" fmla="*/ 465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7" h="465">
                  <a:moveTo>
                    <a:pt x="167" y="465"/>
                  </a:moveTo>
                  <a:cubicBezTo>
                    <a:pt x="167" y="465"/>
                    <a:pt x="37" y="424"/>
                    <a:pt x="20" y="289"/>
                  </a:cubicBezTo>
                  <a:cubicBezTo>
                    <a:pt x="0" y="123"/>
                    <a:pt x="267" y="0"/>
                    <a:pt x="267" y="0"/>
                  </a:cubicBezTo>
                  <a:cubicBezTo>
                    <a:pt x="267" y="0"/>
                    <a:pt x="158" y="136"/>
                    <a:pt x="143" y="250"/>
                  </a:cubicBezTo>
                  <a:cubicBezTo>
                    <a:pt x="126" y="376"/>
                    <a:pt x="167" y="465"/>
                    <a:pt x="167" y="465"/>
                  </a:cubicBezTo>
                  <a:close/>
                </a:path>
              </a:pathLst>
            </a:custGeom>
            <a:solidFill>
              <a:srgbClr val="3B393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1" name="Freeform 6"/>
            <p:cNvSpPr>
              <a:spLocks/>
            </p:cNvSpPr>
            <p:nvPr/>
          </p:nvSpPr>
          <p:spPr bwMode="auto">
            <a:xfrm>
              <a:off x="3132138" y="1901825"/>
              <a:ext cx="1817688" cy="1189038"/>
            </a:xfrm>
            <a:custGeom>
              <a:avLst/>
              <a:gdLst>
                <a:gd name="T0" fmla="*/ 30 w 483"/>
                <a:gd name="T1" fmla="*/ 316 h 316"/>
                <a:gd name="T2" fmla="*/ 109 w 483"/>
                <a:gd name="T3" fmla="*/ 100 h 316"/>
                <a:gd name="T4" fmla="*/ 483 w 483"/>
                <a:gd name="T5" fmla="*/ 170 h 316"/>
                <a:gd name="T6" fmla="*/ 204 w 483"/>
                <a:gd name="T7" fmla="*/ 187 h 316"/>
                <a:gd name="T8" fmla="*/ 30 w 483"/>
                <a:gd name="T9" fmla="*/ 316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3" h="316">
                  <a:moveTo>
                    <a:pt x="30" y="316"/>
                  </a:moveTo>
                  <a:cubicBezTo>
                    <a:pt x="30" y="316"/>
                    <a:pt x="0" y="183"/>
                    <a:pt x="109" y="100"/>
                  </a:cubicBezTo>
                  <a:cubicBezTo>
                    <a:pt x="243" y="0"/>
                    <a:pt x="483" y="170"/>
                    <a:pt x="483" y="170"/>
                  </a:cubicBezTo>
                  <a:cubicBezTo>
                    <a:pt x="483" y="170"/>
                    <a:pt x="310" y="143"/>
                    <a:pt x="204" y="187"/>
                  </a:cubicBezTo>
                  <a:cubicBezTo>
                    <a:pt x="87" y="235"/>
                    <a:pt x="30" y="316"/>
                    <a:pt x="30" y="316"/>
                  </a:cubicBezTo>
                  <a:close/>
                </a:path>
              </a:pathLst>
            </a:custGeom>
            <a:solidFill>
              <a:srgbClr val="E2583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2" name="Freeform 7"/>
            <p:cNvSpPr>
              <a:spLocks/>
            </p:cNvSpPr>
            <p:nvPr/>
          </p:nvSpPr>
          <p:spPr bwMode="auto">
            <a:xfrm>
              <a:off x="4200526" y="1762125"/>
              <a:ext cx="1431925" cy="1550988"/>
            </a:xfrm>
            <a:custGeom>
              <a:avLst/>
              <a:gdLst>
                <a:gd name="T0" fmla="*/ 0 w 380"/>
                <a:gd name="T1" fmla="*/ 92 h 412"/>
                <a:gd name="T2" fmla="*/ 227 w 380"/>
                <a:gd name="T3" fmla="*/ 53 h 412"/>
                <a:gd name="T4" fmla="*/ 354 w 380"/>
                <a:gd name="T5" fmla="*/ 412 h 412"/>
                <a:gd name="T6" fmla="*/ 199 w 380"/>
                <a:gd name="T7" fmla="*/ 179 h 412"/>
                <a:gd name="T8" fmla="*/ 0 w 380"/>
                <a:gd name="T9" fmla="*/ 92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0" h="412">
                  <a:moveTo>
                    <a:pt x="0" y="92"/>
                  </a:moveTo>
                  <a:cubicBezTo>
                    <a:pt x="0" y="92"/>
                    <a:pt x="101" y="0"/>
                    <a:pt x="227" y="53"/>
                  </a:cubicBezTo>
                  <a:cubicBezTo>
                    <a:pt x="380" y="119"/>
                    <a:pt x="354" y="412"/>
                    <a:pt x="354" y="412"/>
                  </a:cubicBezTo>
                  <a:cubicBezTo>
                    <a:pt x="354" y="412"/>
                    <a:pt x="290" y="249"/>
                    <a:pt x="199" y="179"/>
                  </a:cubicBezTo>
                  <a:cubicBezTo>
                    <a:pt x="99" y="102"/>
                    <a:pt x="0" y="92"/>
                    <a:pt x="0" y="92"/>
                  </a:cubicBezTo>
                  <a:close/>
                </a:path>
              </a:pathLst>
            </a:custGeom>
            <a:solidFill>
              <a:srgbClr val="78D2D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3" name="Freeform 8"/>
            <p:cNvSpPr>
              <a:spLocks/>
            </p:cNvSpPr>
            <p:nvPr/>
          </p:nvSpPr>
          <p:spPr bwMode="auto">
            <a:xfrm>
              <a:off x="5153026" y="2451100"/>
              <a:ext cx="1006475" cy="1749425"/>
            </a:xfrm>
            <a:custGeom>
              <a:avLst/>
              <a:gdLst>
                <a:gd name="T0" fmla="*/ 100 w 267"/>
                <a:gd name="T1" fmla="*/ 0 h 465"/>
                <a:gd name="T2" fmla="*/ 247 w 267"/>
                <a:gd name="T3" fmla="*/ 176 h 465"/>
                <a:gd name="T4" fmla="*/ 0 w 267"/>
                <a:gd name="T5" fmla="*/ 465 h 465"/>
                <a:gd name="T6" fmla="*/ 124 w 267"/>
                <a:gd name="T7" fmla="*/ 215 h 465"/>
                <a:gd name="T8" fmla="*/ 100 w 267"/>
                <a:gd name="T9" fmla="*/ 0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7" h="465">
                  <a:moveTo>
                    <a:pt x="100" y="0"/>
                  </a:moveTo>
                  <a:cubicBezTo>
                    <a:pt x="100" y="0"/>
                    <a:pt x="230" y="41"/>
                    <a:pt x="247" y="176"/>
                  </a:cubicBezTo>
                  <a:cubicBezTo>
                    <a:pt x="267" y="342"/>
                    <a:pt x="0" y="465"/>
                    <a:pt x="0" y="465"/>
                  </a:cubicBezTo>
                  <a:cubicBezTo>
                    <a:pt x="0" y="465"/>
                    <a:pt x="109" y="329"/>
                    <a:pt x="124" y="215"/>
                  </a:cubicBezTo>
                  <a:cubicBezTo>
                    <a:pt x="141" y="89"/>
                    <a:pt x="100" y="0"/>
                    <a:pt x="100" y="0"/>
                  </a:cubicBezTo>
                  <a:close/>
                </a:path>
              </a:pathLst>
            </a:custGeom>
            <a:solidFill>
              <a:srgbClr val="3B393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4" name="Freeform 9"/>
            <p:cNvSpPr>
              <a:spLocks/>
            </p:cNvSpPr>
            <p:nvPr/>
          </p:nvSpPr>
          <p:spPr bwMode="auto">
            <a:xfrm>
              <a:off x="4194176" y="3767138"/>
              <a:ext cx="1817688" cy="1189038"/>
            </a:xfrm>
            <a:custGeom>
              <a:avLst/>
              <a:gdLst>
                <a:gd name="T0" fmla="*/ 453 w 483"/>
                <a:gd name="T1" fmla="*/ 0 h 316"/>
                <a:gd name="T2" fmla="*/ 374 w 483"/>
                <a:gd name="T3" fmla="*/ 216 h 316"/>
                <a:gd name="T4" fmla="*/ 0 w 483"/>
                <a:gd name="T5" fmla="*/ 146 h 316"/>
                <a:gd name="T6" fmla="*/ 279 w 483"/>
                <a:gd name="T7" fmla="*/ 129 h 316"/>
                <a:gd name="T8" fmla="*/ 453 w 483"/>
                <a:gd name="T9" fmla="*/ 0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3" h="316">
                  <a:moveTo>
                    <a:pt x="453" y="0"/>
                  </a:moveTo>
                  <a:cubicBezTo>
                    <a:pt x="453" y="0"/>
                    <a:pt x="483" y="133"/>
                    <a:pt x="374" y="216"/>
                  </a:cubicBezTo>
                  <a:cubicBezTo>
                    <a:pt x="241" y="316"/>
                    <a:pt x="0" y="146"/>
                    <a:pt x="0" y="146"/>
                  </a:cubicBezTo>
                  <a:cubicBezTo>
                    <a:pt x="0" y="146"/>
                    <a:pt x="173" y="173"/>
                    <a:pt x="279" y="129"/>
                  </a:cubicBezTo>
                  <a:cubicBezTo>
                    <a:pt x="396" y="81"/>
                    <a:pt x="453" y="0"/>
                    <a:pt x="453" y="0"/>
                  </a:cubicBezTo>
                  <a:close/>
                </a:path>
              </a:pathLst>
            </a:custGeom>
            <a:solidFill>
              <a:srgbClr val="E2583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5" name="Freeform 10"/>
            <p:cNvSpPr>
              <a:spLocks/>
            </p:cNvSpPr>
            <p:nvPr/>
          </p:nvSpPr>
          <p:spPr bwMode="auto">
            <a:xfrm>
              <a:off x="3511551" y="3544888"/>
              <a:ext cx="1431925" cy="1550988"/>
            </a:xfrm>
            <a:custGeom>
              <a:avLst/>
              <a:gdLst>
                <a:gd name="T0" fmla="*/ 380 w 380"/>
                <a:gd name="T1" fmla="*/ 320 h 412"/>
                <a:gd name="T2" fmla="*/ 153 w 380"/>
                <a:gd name="T3" fmla="*/ 359 h 412"/>
                <a:gd name="T4" fmla="*/ 27 w 380"/>
                <a:gd name="T5" fmla="*/ 0 h 412"/>
                <a:gd name="T6" fmla="*/ 181 w 380"/>
                <a:gd name="T7" fmla="*/ 233 h 412"/>
                <a:gd name="T8" fmla="*/ 380 w 380"/>
                <a:gd name="T9" fmla="*/ 320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0" h="412">
                  <a:moveTo>
                    <a:pt x="380" y="320"/>
                  </a:moveTo>
                  <a:cubicBezTo>
                    <a:pt x="380" y="320"/>
                    <a:pt x="279" y="412"/>
                    <a:pt x="153" y="359"/>
                  </a:cubicBezTo>
                  <a:cubicBezTo>
                    <a:pt x="0" y="293"/>
                    <a:pt x="27" y="0"/>
                    <a:pt x="27" y="0"/>
                  </a:cubicBezTo>
                  <a:cubicBezTo>
                    <a:pt x="27" y="0"/>
                    <a:pt x="90" y="163"/>
                    <a:pt x="181" y="233"/>
                  </a:cubicBezTo>
                  <a:cubicBezTo>
                    <a:pt x="282" y="310"/>
                    <a:pt x="380" y="320"/>
                    <a:pt x="380" y="320"/>
                  </a:cubicBezTo>
                  <a:close/>
                </a:path>
              </a:pathLst>
            </a:custGeom>
            <a:solidFill>
              <a:srgbClr val="78D2D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6420377" y="2134636"/>
            <a:ext cx="286131" cy="287721"/>
            <a:chOff x="9882188" y="1925638"/>
            <a:chExt cx="285750" cy="287338"/>
          </a:xfrm>
          <a:solidFill>
            <a:schemeClr val="bg1"/>
          </a:solidFill>
        </p:grpSpPr>
        <p:sp>
          <p:nvSpPr>
            <p:cNvPr id="17" name="Freeform 93"/>
            <p:cNvSpPr>
              <a:spLocks noEditPoints="1"/>
            </p:cNvSpPr>
            <p:nvPr/>
          </p:nvSpPr>
          <p:spPr bwMode="auto">
            <a:xfrm>
              <a:off x="9882188" y="1925638"/>
              <a:ext cx="285750" cy="287338"/>
            </a:xfrm>
            <a:custGeom>
              <a:avLst/>
              <a:gdLst>
                <a:gd name="T0" fmla="*/ 872 w 902"/>
                <a:gd name="T1" fmla="*/ 872 h 902"/>
                <a:gd name="T2" fmla="*/ 30 w 902"/>
                <a:gd name="T3" fmla="*/ 872 h 902"/>
                <a:gd name="T4" fmla="*/ 30 w 902"/>
                <a:gd name="T5" fmla="*/ 30 h 902"/>
                <a:gd name="T6" fmla="*/ 872 w 902"/>
                <a:gd name="T7" fmla="*/ 30 h 902"/>
                <a:gd name="T8" fmla="*/ 872 w 902"/>
                <a:gd name="T9" fmla="*/ 872 h 902"/>
                <a:gd name="T10" fmla="*/ 887 w 902"/>
                <a:gd name="T11" fmla="*/ 0 h 902"/>
                <a:gd name="T12" fmla="*/ 15 w 902"/>
                <a:gd name="T13" fmla="*/ 0 h 902"/>
                <a:gd name="T14" fmla="*/ 12 w 902"/>
                <a:gd name="T15" fmla="*/ 0 h 902"/>
                <a:gd name="T16" fmla="*/ 10 w 902"/>
                <a:gd name="T17" fmla="*/ 2 h 902"/>
                <a:gd name="T18" fmla="*/ 6 w 902"/>
                <a:gd name="T19" fmla="*/ 3 h 902"/>
                <a:gd name="T20" fmla="*/ 4 w 902"/>
                <a:gd name="T21" fmla="*/ 5 h 902"/>
                <a:gd name="T22" fmla="*/ 3 w 902"/>
                <a:gd name="T23" fmla="*/ 7 h 902"/>
                <a:gd name="T24" fmla="*/ 1 w 902"/>
                <a:gd name="T25" fmla="*/ 9 h 902"/>
                <a:gd name="T26" fmla="*/ 1 w 902"/>
                <a:gd name="T27" fmla="*/ 12 h 902"/>
                <a:gd name="T28" fmla="*/ 0 w 902"/>
                <a:gd name="T29" fmla="*/ 15 h 902"/>
                <a:gd name="T30" fmla="*/ 0 w 902"/>
                <a:gd name="T31" fmla="*/ 887 h 902"/>
                <a:gd name="T32" fmla="*/ 1 w 902"/>
                <a:gd name="T33" fmla="*/ 891 h 902"/>
                <a:gd name="T34" fmla="*/ 1 w 902"/>
                <a:gd name="T35" fmla="*/ 893 h 902"/>
                <a:gd name="T36" fmla="*/ 3 w 902"/>
                <a:gd name="T37" fmla="*/ 896 h 902"/>
                <a:gd name="T38" fmla="*/ 4 w 902"/>
                <a:gd name="T39" fmla="*/ 898 h 902"/>
                <a:gd name="T40" fmla="*/ 6 w 902"/>
                <a:gd name="T41" fmla="*/ 900 h 902"/>
                <a:gd name="T42" fmla="*/ 10 w 902"/>
                <a:gd name="T43" fmla="*/ 901 h 902"/>
                <a:gd name="T44" fmla="*/ 12 w 902"/>
                <a:gd name="T45" fmla="*/ 902 h 902"/>
                <a:gd name="T46" fmla="*/ 15 w 902"/>
                <a:gd name="T47" fmla="*/ 902 h 902"/>
                <a:gd name="T48" fmla="*/ 887 w 902"/>
                <a:gd name="T49" fmla="*/ 902 h 902"/>
                <a:gd name="T50" fmla="*/ 890 w 902"/>
                <a:gd name="T51" fmla="*/ 902 h 902"/>
                <a:gd name="T52" fmla="*/ 893 w 902"/>
                <a:gd name="T53" fmla="*/ 901 h 902"/>
                <a:gd name="T54" fmla="*/ 896 w 902"/>
                <a:gd name="T55" fmla="*/ 900 h 902"/>
                <a:gd name="T56" fmla="*/ 898 w 902"/>
                <a:gd name="T57" fmla="*/ 898 h 902"/>
                <a:gd name="T58" fmla="*/ 900 w 902"/>
                <a:gd name="T59" fmla="*/ 896 h 902"/>
                <a:gd name="T60" fmla="*/ 901 w 902"/>
                <a:gd name="T61" fmla="*/ 893 h 902"/>
                <a:gd name="T62" fmla="*/ 902 w 902"/>
                <a:gd name="T63" fmla="*/ 891 h 902"/>
                <a:gd name="T64" fmla="*/ 902 w 902"/>
                <a:gd name="T65" fmla="*/ 887 h 902"/>
                <a:gd name="T66" fmla="*/ 902 w 902"/>
                <a:gd name="T67" fmla="*/ 15 h 902"/>
                <a:gd name="T68" fmla="*/ 902 w 902"/>
                <a:gd name="T69" fmla="*/ 12 h 902"/>
                <a:gd name="T70" fmla="*/ 901 w 902"/>
                <a:gd name="T71" fmla="*/ 9 h 902"/>
                <a:gd name="T72" fmla="*/ 900 w 902"/>
                <a:gd name="T73" fmla="*/ 7 h 902"/>
                <a:gd name="T74" fmla="*/ 898 w 902"/>
                <a:gd name="T75" fmla="*/ 5 h 902"/>
                <a:gd name="T76" fmla="*/ 896 w 902"/>
                <a:gd name="T77" fmla="*/ 3 h 902"/>
                <a:gd name="T78" fmla="*/ 893 w 902"/>
                <a:gd name="T79" fmla="*/ 2 h 902"/>
                <a:gd name="T80" fmla="*/ 890 w 902"/>
                <a:gd name="T81" fmla="*/ 0 h 902"/>
                <a:gd name="T82" fmla="*/ 887 w 902"/>
                <a:gd name="T83" fmla="*/ 0 h 902"/>
                <a:gd name="T84" fmla="*/ 887 w 902"/>
                <a:gd name="T85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02" h="902">
                  <a:moveTo>
                    <a:pt x="872" y="872"/>
                  </a:moveTo>
                  <a:lnTo>
                    <a:pt x="30" y="872"/>
                  </a:lnTo>
                  <a:lnTo>
                    <a:pt x="30" y="30"/>
                  </a:lnTo>
                  <a:lnTo>
                    <a:pt x="872" y="30"/>
                  </a:lnTo>
                  <a:lnTo>
                    <a:pt x="872" y="872"/>
                  </a:lnTo>
                  <a:close/>
                  <a:moveTo>
                    <a:pt x="887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10" y="2"/>
                  </a:lnTo>
                  <a:lnTo>
                    <a:pt x="6" y="3"/>
                  </a:lnTo>
                  <a:lnTo>
                    <a:pt x="4" y="5"/>
                  </a:lnTo>
                  <a:lnTo>
                    <a:pt x="3" y="7"/>
                  </a:lnTo>
                  <a:lnTo>
                    <a:pt x="1" y="9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0" y="887"/>
                  </a:lnTo>
                  <a:lnTo>
                    <a:pt x="1" y="891"/>
                  </a:lnTo>
                  <a:lnTo>
                    <a:pt x="1" y="893"/>
                  </a:lnTo>
                  <a:lnTo>
                    <a:pt x="3" y="896"/>
                  </a:lnTo>
                  <a:lnTo>
                    <a:pt x="4" y="898"/>
                  </a:lnTo>
                  <a:lnTo>
                    <a:pt x="6" y="900"/>
                  </a:lnTo>
                  <a:lnTo>
                    <a:pt x="10" y="901"/>
                  </a:lnTo>
                  <a:lnTo>
                    <a:pt x="12" y="902"/>
                  </a:lnTo>
                  <a:lnTo>
                    <a:pt x="15" y="902"/>
                  </a:lnTo>
                  <a:lnTo>
                    <a:pt x="887" y="902"/>
                  </a:lnTo>
                  <a:lnTo>
                    <a:pt x="890" y="902"/>
                  </a:lnTo>
                  <a:lnTo>
                    <a:pt x="893" y="901"/>
                  </a:lnTo>
                  <a:lnTo>
                    <a:pt x="896" y="900"/>
                  </a:lnTo>
                  <a:lnTo>
                    <a:pt x="898" y="898"/>
                  </a:lnTo>
                  <a:lnTo>
                    <a:pt x="900" y="896"/>
                  </a:lnTo>
                  <a:lnTo>
                    <a:pt x="901" y="893"/>
                  </a:lnTo>
                  <a:lnTo>
                    <a:pt x="902" y="891"/>
                  </a:lnTo>
                  <a:lnTo>
                    <a:pt x="902" y="887"/>
                  </a:lnTo>
                  <a:lnTo>
                    <a:pt x="902" y="15"/>
                  </a:lnTo>
                  <a:lnTo>
                    <a:pt x="902" y="12"/>
                  </a:lnTo>
                  <a:lnTo>
                    <a:pt x="901" y="9"/>
                  </a:lnTo>
                  <a:lnTo>
                    <a:pt x="900" y="7"/>
                  </a:lnTo>
                  <a:lnTo>
                    <a:pt x="898" y="5"/>
                  </a:lnTo>
                  <a:lnTo>
                    <a:pt x="896" y="3"/>
                  </a:lnTo>
                  <a:lnTo>
                    <a:pt x="893" y="2"/>
                  </a:lnTo>
                  <a:lnTo>
                    <a:pt x="890" y="0"/>
                  </a:lnTo>
                  <a:lnTo>
                    <a:pt x="887" y="0"/>
                  </a:lnTo>
                  <a:lnTo>
                    <a:pt x="88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8" name="Freeform 94"/>
            <p:cNvSpPr>
              <a:spLocks/>
            </p:cNvSpPr>
            <p:nvPr/>
          </p:nvSpPr>
          <p:spPr bwMode="auto">
            <a:xfrm>
              <a:off x="9920288" y="2165350"/>
              <a:ext cx="209550" cy="9525"/>
            </a:xfrm>
            <a:custGeom>
              <a:avLst/>
              <a:gdLst>
                <a:gd name="T0" fmla="*/ 15 w 661"/>
                <a:gd name="T1" fmla="*/ 30 h 30"/>
                <a:gd name="T2" fmla="*/ 646 w 661"/>
                <a:gd name="T3" fmla="*/ 30 h 30"/>
                <a:gd name="T4" fmla="*/ 649 w 661"/>
                <a:gd name="T5" fmla="*/ 29 h 30"/>
                <a:gd name="T6" fmla="*/ 652 w 661"/>
                <a:gd name="T7" fmla="*/ 29 h 30"/>
                <a:gd name="T8" fmla="*/ 655 w 661"/>
                <a:gd name="T9" fmla="*/ 27 h 30"/>
                <a:gd name="T10" fmla="*/ 657 w 661"/>
                <a:gd name="T11" fmla="*/ 26 h 30"/>
                <a:gd name="T12" fmla="*/ 659 w 661"/>
                <a:gd name="T13" fmla="*/ 23 h 30"/>
                <a:gd name="T14" fmla="*/ 660 w 661"/>
                <a:gd name="T15" fmla="*/ 21 h 30"/>
                <a:gd name="T16" fmla="*/ 661 w 661"/>
                <a:gd name="T17" fmla="*/ 18 h 30"/>
                <a:gd name="T18" fmla="*/ 661 w 661"/>
                <a:gd name="T19" fmla="*/ 15 h 30"/>
                <a:gd name="T20" fmla="*/ 661 w 661"/>
                <a:gd name="T21" fmla="*/ 12 h 30"/>
                <a:gd name="T22" fmla="*/ 660 w 661"/>
                <a:gd name="T23" fmla="*/ 9 h 30"/>
                <a:gd name="T24" fmla="*/ 659 w 661"/>
                <a:gd name="T25" fmla="*/ 7 h 30"/>
                <a:gd name="T26" fmla="*/ 657 w 661"/>
                <a:gd name="T27" fmla="*/ 5 h 30"/>
                <a:gd name="T28" fmla="*/ 655 w 661"/>
                <a:gd name="T29" fmla="*/ 3 h 30"/>
                <a:gd name="T30" fmla="*/ 652 w 661"/>
                <a:gd name="T31" fmla="*/ 2 h 30"/>
                <a:gd name="T32" fmla="*/ 649 w 661"/>
                <a:gd name="T33" fmla="*/ 0 h 30"/>
                <a:gd name="T34" fmla="*/ 646 w 661"/>
                <a:gd name="T35" fmla="*/ 0 h 30"/>
                <a:gd name="T36" fmla="*/ 15 w 661"/>
                <a:gd name="T37" fmla="*/ 0 h 30"/>
                <a:gd name="T38" fmla="*/ 12 w 661"/>
                <a:gd name="T39" fmla="*/ 0 h 30"/>
                <a:gd name="T40" fmla="*/ 9 w 661"/>
                <a:gd name="T41" fmla="*/ 2 h 30"/>
                <a:gd name="T42" fmla="*/ 6 w 661"/>
                <a:gd name="T43" fmla="*/ 3 h 30"/>
                <a:gd name="T44" fmla="*/ 4 w 661"/>
                <a:gd name="T45" fmla="*/ 5 h 30"/>
                <a:gd name="T46" fmla="*/ 2 w 661"/>
                <a:gd name="T47" fmla="*/ 7 h 30"/>
                <a:gd name="T48" fmla="*/ 1 w 661"/>
                <a:gd name="T49" fmla="*/ 9 h 30"/>
                <a:gd name="T50" fmla="*/ 0 w 661"/>
                <a:gd name="T51" fmla="*/ 12 h 30"/>
                <a:gd name="T52" fmla="*/ 0 w 661"/>
                <a:gd name="T53" fmla="*/ 15 h 30"/>
                <a:gd name="T54" fmla="*/ 0 w 661"/>
                <a:gd name="T55" fmla="*/ 18 h 30"/>
                <a:gd name="T56" fmla="*/ 1 w 661"/>
                <a:gd name="T57" fmla="*/ 21 h 30"/>
                <a:gd name="T58" fmla="*/ 2 w 661"/>
                <a:gd name="T59" fmla="*/ 23 h 30"/>
                <a:gd name="T60" fmla="*/ 4 w 661"/>
                <a:gd name="T61" fmla="*/ 26 h 30"/>
                <a:gd name="T62" fmla="*/ 6 w 661"/>
                <a:gd name="T63" fmla="*/ 27 h 30"/>
                <a:gd name="T64" fmla="*/ 9 w 661"/>
                <a:gd name="T65" fmla="*/ 29 h 30"/>
                <a:gd name="T66" fmla="*/ 12 w 661"/>
                <a:gd name="T67" fmla="*/ 29 h 30"/>
                <a:gd name="T68" fmla="*/ 15 w 661"/>
                <a:gd name="T69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61" h="30">
                  <a:moveTo>
                    <a:pt x="15" y="30"/>
                  </a:moveTo>
                  <a:lnTo>
                    <a:pt x="646" y="30"/>
                  </a:lnTo>
                  <a:lnTo>
                    <a:pt x="649" y="29"/>
                  </a:lnTo>
                  <a:lnTo>
                    <a:pt x="652" y="29"/>
                  </a:lnTo>
                  <a:lnTo>
                    <a:pt x="655" y="27"/>
                  </a:lnTo>
                  <a:lnTo>
                    <a:pt x="657" y="26"/>
                  </a:lnTo>
                  <a:lnTo>
                    <a:pt x="659" y="23"/>
                  </a:lnTo>
                  <a:lnTo>
                    <a:pt x="660" y="21"/>
                  </a:lnTo>
                  <a:lnTo>
                    <a:pt x="661" y="18"/>
                  </a:lnTo>
                  <a:lnTo>
                    <a:pt x="661" y="15"/>
                  </a:lnTo>
                  <a:lnTo>
                    <a:pt x="661" y="12"/>
                  </a:lnTo>
                  <a:lnTo>
                    <a:pt x="660" y="9"/>
                  </a:lnTo>
                  <a:lnTo>
                    <a:pt x="659" y="7"/>
                  </a:lnTo>
                  <a:lnTo>
                    <a:pt x="657" y="5"/>
                  </a:lnTo>
                  <a:lnTo>
                    <a:pt x="655" y="3"/>
                  </a:lnTo>
                  <a:lnTo>
                    <a:pt x="652" y="2"/>
                  </a:lnTo>
                  <a:lnTo>
                    <a:pt x="649" y="0"/>
                  </a:lnTo>
                  <a:lnTo>
                    <a:pt x="646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9" y="2"/>
                  </a:lnTo>
                  <a:lnTo>
                    <a:pt x="6" y="3"/>
                  </a:lnTo>
                  <a:lnTo>
                    <a:pt x="4" y="5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1"/>
                  </a:lnTo>
                  <a:lnTo>
                    <a:pt x="2" y="23"/>
                  </a:lnTo>
                  <a:lnTo>
                    <a:pt x="4" y="26"/>
                  </a:lnTo>
                  <a:lnTo>
                    <a:pt x="6" y="27"/>
                  </a:lnTo>
                  <a:lnTo>
                    <a:pt x="9" y="29"/>
                  </a:lnTo>
                  <a:lnTo>
                    <a:pt x="12" y="29"/>
                  </a:lnTo>
                  <a:lnTo>
                    <a:pt x="15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9" name="Freeform 95"/>
            <p:cNvSpPr>
              <a:spLocks/>
            </p:cNvSpPr>
            <p:nvPr/>
          </p:nvSpPr>
          <p:spPr bwMode="auto">
            <a:xfrm>
              <a:off x="9929813" y="1973263"/>
              <a:ext cx="85725" cy="163513"/>
            </a:xfrm>
            <a:custGeom>
              <a:avLst/>
              <a:gdLst>
                <a:gd name="T0" fmla="*/ 120 w 270"/>
                <a:gd name="T1" fmla="*/ 52 h 511"/>
                <a:gd name="T2" fmla="*/ 120 w 270"/>
                <a:gd name="T3" fmla="*/ 500 h 511"/>
                <a:gd name="T4" fmla="*/ 122 w 270"/>
                <a:gd name="T5" fmla="*/ 505 h 511"/>
                <a:gd name="T6" fmla="*/ 126 w 270"/>
                <a:gd name="T7" fmla="*/ 509 h 511"/>
                <a:gd name="T8" fmla="*/ 132 w 270"/>
                <a:gd name="T9" fmla="*/ 511 h 511"/>
                <a:gd name="T10" fmla="*/ 138 w 270"/>
                <a:gd name="T11" fmla="*/ 511 h 511"/>
                <a:gd name="T12" fmla="*/ 144 w 270"/>
                <a:gd name="T13" fmla="*/ 509 h 511"/>
                <a:gd name="T14" fmla="*/ 148 w 270"/>
                <a:gd name="T15" fmla="*/ 505 h 511"/>
                <a:gd name="T16" fmla="*/ 150 w 270"/>
                <a:gd name="T17" fmla="*/ 500 h 511"/>
                <a:gd name="T18" fmla="*/ 150 w 270"/>
                <a:gd name="T19" fmla="*/ 52 h 511"/>
                <a:gd name="T20" fmla="*/ 246 w 270"/>
                <a:gd name="T21" fmla="*/ 148 h 511"/>
                <a:gd name="T22" fmla="*/ 253 w 270"/>
                <a:gd name="T23" fmla="*/ 150 h 511"/>
                <a:gd name="T24" fmla="*/ 258 w 270"/>
                <a:gd name="T25" fmla="*/ 150 h 511"/>
                <a:gd name="T26" fmla="*/ 264 w 270"/>
                <a:gd name="T27" fmla="*/ 148 h 511"/>
                <a:gd name="T28" fmla="*/ 268 w 270"/>
                <a:gd name="T29" fmla="*/ 144 h 511"/>
                <a:gd name="T30" fmla="*/ 270 w 270"/>
                <a:gd name="T31" fmla="*/ 139 h 511"/>
                <a:gd name="T32" fmla="*/ 270 w 270"/>
                <a:gd name="T33" fmla="*/ 133 h 511"/>
                <a:gd name="T34" fmla="*/ 268 w 270"/>
                <a:gd name="T35" fmla="*/ 128 h 511"/>
                <a:gd name="T36" fmla="*/ 146 w 270"/>
                <a:gd name="T37" fmla="*/ 5 h 511"/>
                <a:gd name="T38" fmla="*/ 140 w 270"/>
                <a:gd name="T39" fmla="*/ 2 h 511"/>
                <a:gd name="T40" fmla="*/ 135 w 270"/>
                <a:gd name="T41" fmla="*/ 0 h 511"/>
                <a:gd name="T42" fmla="*/ 135 w 270"/>
                <a:gd name="T43" fmla="*/ 0 h 511"/>
                <a:gd name="T44" fmla="*/ 135 w 270"/>
                <a:gd name="T45" fmla="*/ 0 h 511"/>
                <a:gd name="T46" fmla="*/ 130 w 270"/>
                <a:gd name="T47" fmla="*/ 2 h 511"/>
                <a:gd name="T48" fmla="*/ 124 w 270"/>
                <a:gd name="T49" fmla="*/ 5 h 511"/>
                <a:gd name="T50" fmla="*/ 2 w 270"/>
                <a:gd name="T51" fmla="*/ 128 h 511"/>
                <a:gd name="T52" fmla="*/ 0 w 270"/>
                <a:gd name="T53" fmla="*/ 133 h 511"/>
                <a:gd name="T54" fmla="*/ 0 w 270"/>
                <a:gd name="T55" fmla="*/ 139 h 511"/>
                <a:gd name="T56" fmla="*/ 2 w 270"/>
                <a:gd name="T57" fmla="*/ 144 h 511"/>
                <a:gd name="T58" fmla="*/ 6 w 270"/>
                <a:gd name="T59" fmla="*/ 148 h 511"/>
                <a:gd name="T60" fmla="*/ 12 w 270"/>
                <a:gd name="T61" fmla="*/ 150 h 511"/>
                <a:gd name="T62" fmla="*/ 17 w 270"/>
                <a:gd name="T63" fmla="*/ 150 h 511"/>
                <a:gd name="T64" fmla="*/ 23 w 270"/>
                <a:gd name="T65" fmla="*/ 148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70" h="511">
                  <a:moveTo>
                    <a:pt x="26" y="146"/>
                  </a:moveTo>
                  <a:lnTo>
                    <a:pt x="120" y="52"/>
                  </a:lnTo>
                  <a:lnTo>
                    <a:pt x="120" y="496"/>
                  </a:lnTo>
                  <a:lnTo>
                    <a:pt x="120" y="500"/>
                  </a:lnTo>
                  <a:lnTo>
                    <a:pt x="121" y="503"/>
                  </a:lnTo>
                  <a:lnTo>
                    <a:pt x="122" y="505"/>
                  </a:lnTo>
                  <a:lnTo>
                    <a:pt x="124" y="507"/>
                  </a:lnTo>
                  <a:lnTo>
                    <a:pt x="126" y="509"/>
                  </a:lnTo>
                  <a:lnTo>
                    <a:pt x="129" y="510"/>
                  </a:lnTo>
                  <a:lnTo>
                    <a:pt x="132" y="511"/>
                  </a:lnTo>
                  <a:lnTo>
                    <a:pt x="135" y="511"/>
                  </a:lnTo>
                  <a:lnTo>
                    <a:pt x="138" y="511"/>
                  </a:lnTo>
                  <a:lnTo>
                    <a:pt x="140" y="510"/>
                  </a:lnTo>
                  <a:lnTo>
                    <a:pt x="144" y="509"/>
                  </a:lnTo>
                  <a:lnTo>
                    <a:pt x="146" y="507"/>
                  </a:lnTo>
                  <a:lnTo>
                    <a:pt x="148" y="505"/>
                  </a:lnTo>
                  <a:lnTo>
                    <a:pt x="149" y="503"/>
                  </a:lnTo>
                  <a:lnTo>
                    <a:pt x="150" y="500"/>
                  </a:lnTo>
                  <a:lnTo>
                    <a:pt x="150" y="496"/>
                  </a:lnTo>
                  <a:lnTo>
                    <a:pt x="150" y="52"/>
                  </a:lnTo>
                  <a:lnTo>
                    <a:pt x="244" y="146"/>
                  </a:lnTo>
                  <a:lnTo>
                    <a:pt x="246" y="148"/>
                  </a:lnTo>
                  <a:lnTo>
                    <a:pt x="250" y="150"/>
                  </a:lnTo>
                  <a:lnTo>
                    <a:pt x="253" y="150"/>
                  </a:lnTo>
                  <a:lnTo>
                    <a:pt x="255" y="151"/>
                  </a:lnTo>
                  <a:lnTo>
                    <a:pt x="258" y="150"/>
                  </a:lnTo>
                  <a:lnTo>
                    <a:pt x="261" y="150"/>
                  </a:lnTo>
                  <a:lnTo>
                    <a:pt x="264" y="148"/>
                  </a:lnTo>
                  <a:lnTo>
                    <a:pt x="266" y="146"/>
                  </a:lnTo>
                  <a:lnTo>
                    <a:pt x="268" y="144"/>
                  </a:lnTo>
                  <a:lnTo>
                    <a:pt x="269" y="142"/>
                  </a:lnTo>
                  <a:lnTo>
                    <a:pt x="270" y="139"/>
                  </a:lnTo>
                  <a:lnTo>
                    <a:pt x="270" y="136"/>
                  </a:lnTo>
                  <a:lnTo>
                    <a:pt x="270" y="133"/>
                  </a:lnTo>
                  <a:lnTo>
                    <a:pt x="269" y="130"/>
                  </a:lnTo>
                  <a:lnTo>
                    <a:pt x="268" y="128"/>
                  </a:lnTo>
                  <a:lnTo>
                    <a:pt x="266" y="126"/>
                  </a:lnTo>
                  <a:lnTo>
                    <a:pt x="146" y="5"/>
                  </a:lnTo>
                  <a:lnTo>
                    <a:pt x="144" y="4"/>
                  </a:lnTo>
                  <a:lnTo>
                    <a:pt x="140" y="2"/>
                  </a:lnTo>
                  <a:lnTo>
                    <a:pt x="138" y="2"/>
                  </a:lnTo>
                  <a:lnTo>
                    <a:pt x="135" y="0"/>
                  </a:lnTo>
                  <a:lnTo>
                    <a:pt x="135" y="0"/>
                  </a:lnTo>
                  <a:lnTo>
                    <a:pt x="135" y="0"/>
                  </a:lnTo>
                  <a:lnTo>
                    <a:pt x="135" y="0"/>
                  </a:lnTo>
                  <a:lnTo>
                    <a:pt x="135" y="0"/>
                  </a:lnTo>
                  <a:lnTo>
                    <a:pt x="132" y="0"/>
                  </a:lnTo>
                  <a:lnTo>
                    <a:pt x="130" y="2"/>
                  </a:lnTo>
                  <a:lnTo>
                    <a:pt x="126" y="4"/>
                  </a:lnTo>
                  <a:lnTo>
                    <a:pt x="124" y="5"/>
                  </a:lnTo>
                  <a:lnTo>
                    <a:pt x="4" y="126"/>
                  </a:lnTo>
                  <a:lnTo>
                    <a:pt x="2" y="128"/>
                  </a:lnTo>
                  <a:lnTo>
                    <a:pt x="1" y="130"/>
                  </a:lnTo>
                  <a:lnTo>
                    <a:pt x="0" y="133"/>
                  </a:lnTo>
                  <a:lnTo>
                    <a:pt x="0" y="136"/>
                  </a:lnTo>
                  <a:lnTo>
                    <a:pt x="0" y="139"/>
                  </a:lnTo>
                  <a:lnTo>
                    <a:pt x="1" y="142"/>
                  </a:lnTo>
                  <a:lnTo>
                    <a:pt x="2" y="144"/>
                  </a:lnTo>
                  <a:lnTo>
                    <a:pt x="4" y="146"/>
                  </a:lnTo>
                  <a:lnTo>
                    <a:pt x="6" y="148"/>
                  </a:lnTo>
                  <a:lnTo>
                    <a:pt x="9" y="150"/>
                  </a:lnTo>
                  <a:lnTo>
                    <a:pt x="12" y="150"/>
                  </a:lnTo>
                  <a:lnTo>
                    <a:pt x="15" y="151"/>
                  </a:lnTo>
                  <a:lnTo>
                    <a:pt x="17" y="150"/>
                  </a:lnTo>
                  <a:lnTo>
                    <a:pt x="20" y="150"/>
                  </a:lnTo>
                  <a:lnTo>
                    <a:pt x="23" y="148"/>
                  </a:lnTo>
                  <a:lnTo>
                    <a:pt x="26" y="1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20" name="Freeform 96"/>
            <p:cNvSpPr>
              <a:spLocks/>
            </p:cNvSpPr>
            <p:nvPr/>
          </p:nvSpPr>
          <p:spPr bwMode="auto">
            <a:xfrm>
              <a:off x="10034588" y="1973263"/>
              <a:ext cx="85725" cy="163513"/>
            </a:xfrm>
            <a:custGeom>
              <a:avLst/>
              <a:gdLst>
                <a:gd name="T0" fmla="*/ 121 w 271"/>
                <a:gd name="T1" fmla="*/ 52 h 511"/>
                <a:gd name="T2" fmla="*/ 121 w 271"/>
                <a:gd name="T3" fmla="*/ 500 h 511"/>
                <a:gd name="T4" fmla="*/ 123 w 271"/>
                <a:gd name="T5" fmla="*/ 505 h 511"/>
                <a:gd name="T6" fmla="*/ 127 w 271"/>
                <a:gd name="T7" fmla="*/ 509 h 511"/>
                <a:gd name="T8" fmla="*/ 133 w 271"/>
                <a:gd name="T9" fmla="*/ 511 h 511"/>
                <a:gd name="T10" fmla="*/ 139 w 271"/>
                <a:gd name="T11" fmla="*/ 511 h 511"/>
                <a:gd name="T12" fmla="*/ 145 w 271"/>
                <a:gd name="T13" fmla="*/ 509 h 511"/>
                <a:gd name="T14" fmla="*/ 148 w 271"/>
                <a:gd name="T15" fmla="*/ 505 h 511"/>
                <a:gd name="T16" fmla="*/ 150 w 271"/>
                <a:gd name="T17" fmla="*/ 500 h 511"/>
                <a:gd name="T18" fmla="*/ 151 w 271"/>
                <a:gd name="T19" fmla="*/ 52 h 511"/>
                <a:gd name="T20" fmla="*/ 247 w 271"/>
                <a:gd name="T21" fmla="*/ 148 h 511"/>
                <a:gd name="T22" fmla="*/ 253 w 271"/>
                <a:gd name="T23" fmla="*/ 150 h 511"/>
                <a:gd name="T24" fmla="*/ 259 w 271"/>
                <a:gd name="T25" fmla="*/ 150 h 511"/>
                <a:gd name="T26" fmla="*/ 265 w 271"/>
                <a:gd name="T27" fmla="*/ 148 h 511"/>
                <a:gd name="T28" fmla="*/ 269 w 271"/>
                <a:gd name="T29" fmla="*/ 144 h 511"/>
                <a:gd name="T30" fmla="*/ 271 w 271"/>
                <a:gd name="T31" fmla="*/ 139 h 511"/>
                <a:gd name="T32" fmla="*/ 271 w 271"/>
                <a:gd name="T33" fmla="*/ 133 h 511"/>
                <a:gd name="T34" fmla="*/ 269 w 271"/>
                <a:gd name="T35" fmla="*/ 128 h 511"/>
                <a:gd name="T36" fmla="*/ 147 w 271"/>
                <a:gd name="T37" fmla="*/ 5 h 511"/>
                <a:gd name="T38" fmla="*/ 141 w 271"/>
                <a:gd name="T39" fmla="*/ 2 h 511"/>
                <a:gd name="T40" fmla="*/ 136 w 271"/>
                <a:gd name="T41" fmla="*/ 0 h 511"/>
                <a:gd name="T42" fmla="*/ 136 w 271"/>
                <a:gd name="T43" fmla="*/ 0 h 511"/>
                <a:gd name="T44" fmla="*/ 136 w 271"/>
                <a:gd name="T45" fmla="*/ 0 h 511"/>
                <a:gd name="T46" fmla="*/ 130 w 271"/>
                <a:gd name="T47" fmla="*/ 2 h 511"/>
                <a:gd name="T48" fmla="*/ 125 w 271"/>
                <a:gd name="T49" fmla="*/ 5 h 511"/>
                <a:gd name="T50" fmla="*/ 3 w 271"/>
                <a:gd name="T51" fmla="*/ 128 h 511"/>
                <a:gd name="T52" fmla="*/ 1 w 271"/>
                <a:gd name="T53" fmla="*/ 133 h 511"/>
                <a:gd name="T54" fmla="*/ 1 w 271"/>
                <a:gd name="T55" fmla="*/ 139 h 511"/>
                <a:gd name="T56" fmla="*/ 3 w 271"/>
                <a:gd name="T57" fmla="*/ 144 h 511"/>
                <a:gd name="T58" fmla="*/ 7 w 271"/>
                <a:gd name="T59" fmla="*/ 148 h 511"/>
                <a:gd name="T60" fmla="*/ 13 w 271"/>
                <a:gd name="T61" fmla="*/ 150 h 511"/>
                <a:gd name="T62" fmla="*/ 18 w 271"/>
                <a:gd name="T63" fmla="*/ 150 h 511"/>
                <a:gd name="T64" fmla="*/ 24 w 271"/>
                <a:gd name="T65" fmla="*/ 148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71" h="511">
                  <a:moveTo>
                    <a:pt x="26" y="146"/>
                  </a:moveTo>
                  <a:lnTo>
                    <a:pt x="121" y="52"/>
                  </a:lnTo>
                  <a:lnTo>
                    <a:pt x="121" y="496"/>
                  </a:lnTo>
                  <a:lnTo>
                    <a:pt x="121" y="500"/>
                  </a:lnTo>
                  <a:lnTo>
                    <a:pt x="122" y="503"/>
                  </a:lnTo>
                  <a:lnTo>
                    <a:pt x="123" y="505"/>
                  </a:lnTo>
                  <a:lnTo>
                    <a:pt x="125" y="507"/>
                  </a:lnTo>
                  <a:lnTo>
                    <a:pt x="127" y="509"/>
                  </a:lnTo>
                  <a:lnTo>
                    <a:pt x="130" y="510"/>
                  </a:lnTo>
                  <a:lnTo>
                    <a:pt x="133" y="511"/>
                  </a:lnTo>
                  <a:lnTo>
                    <a:pt x="136" y="511"/>
                  </a:lnTo>
                  <a:lnTo>
                    <a:pt x="139" y="511"/>
                  </a:lnTo>
                  <a:lnTo>
                    <a:pt x="141" y="510"/>
                  </a:lnTo>
                  <a:lnTo>
                    <a:pt x="145" y="509"/>
                  </a:lnTo>
                  <a:lnTo>
                    <a:pt x="147" y="507"/>
                  </a:lnTo>
                  <a:lnTo>
                    <a:pt x="148" y="505"/>
                  </a:lnTo>
                  <a:lnTo>
                    <a:pt x="150" y="503"/>
                  </a:lnTo>
                  <a:lnTo>
                    <a:pt x="150" y="500"/>
                  </a:lnTo>
                  <a:lnTo>
                    <a:pt x="151" y="496"/>
                  </a:lnTo>
                  <a:lnTo>
                    <a:pt x="151" y="52"/>
                  </a:lnTo>
                  <a:lnTo>
                    <a:pt x="245" y="146"/>
                  </a:lnTo>
                  <a:lnTo>
                    <a:pt x="247" y="148"/>
                  </a:lnTo>
                  <a:lnTo>
                    <a:pt x="251" y="150"/>
                  </a:lnTo>
                  <a:lnTo>
                    <a:pt x="253" y="150"/>
                  </a:lnTo>
                  <a:lnTo>
                    <a:pt x="256" y="151"/>
                  </a:lnTo>
                  <a:lnTo>
                    <a:pt x="259" y="150"/>
                  </a:lnTo>
                  <a:lnTo>
                    <a:pt x="261" y="150"/>
                  </a:lnTo>
                  <a:lnTo>
                    <a:pt x="265" y="148"/>
                  </a:lnTo>
                  <a:lnTo>
                    <a:pt x="267" y="146"/>
                  </a:lnTo>
                  <a:lnTo>
                    <a:pt x="269" y="144"/>
                  </a:lnTo>
                  <a:lnTo>
                    <a:pt x="270" y="142"/>
                  </a:lnTo>
                  <a:lnTo>
                    <a:pt x="271" y="139"/>
                  </a:lnTo>
                  <a:lnTo>
                    <a:pt x="271" y="136"/>
                  </a:lnTo>
                  <a:lnTo>
                    <a:pt x="271" y="133"/>
                  </a:lnTo>
                  <a:lnTo>
                    <a:pt x="270" y="130"/>
                  </a:lnTo>
                  <a:lnTo>
                    <a:pt x="269" y="128"/>
                  </a:lnTo>
                  <a:lnTo>
                    <a:pt x="267" y="126"/>
                  </a:lnTo>
                  <a:lnTo>
                    <a:pt x="147" y="5"/>
                  </a:lnTo>
                  <a:lnTo>
                    <a:pt x="144" y="4"/>
                  </a:lnTo>
                  <a:lnTo>
                    <a:pt x="141" y="2"/>
                  </a:lnTo>
                  <a:lnTo>
                    <a:pt x="138" y="2"/>
                  </a:lnTo>
                  <a:lnTo>
                    <a:pt x="136" y="0"/>
                  </a:lnTo>
                  <a:lnTo>
                    <a:pt x="136" y="0"/>
                  </a:lnTo>
                  <a:lnTo>
                    <a:pt x="136" y="0"/>
                  </a:lnTo>
                  <a:lnTo>
                    <a:pt x="136" y="0"/>
                  </a:lnTo>
                  <a:lnTo>
                    <a:pt x="136" y="0"/>
                  </a:lnTo>
                  <a:lnTo>
                    <a:pt x="133" y="0"/>
                  </a:lnTo>
                  <a:lnTo>
                    <a:pt x="130" y="2"/>
                  </a:lnTo>
                  <a:lnTo>
                    <a:pt x="127" y="4"/>
                  </a:lnTo>
                  <a:lnTo>
                    <a:pt x="125" y="5"/>
                  </a:lnTo>
                  <a:lnTo>
                    <a:pt x="4" y="126"/>
                  </a:lnTo>
                  <a:lnTo>
                    <a:pt x="3" y="128"/>
                  </a:lnTo>
                  <a:lnTo>
                    <a:pt x="1" y="130"/>
                  </a:lnTo>
                  <a:lnTo>
                    <a:pt x="1" y="133"/>
                  </a:lnTo>
                  <a:lnTo>
                    <a:pt x="0" y="136"/>
                  </a:lnTo>
                  <a:lnTo>
                    <a:pt x="1" y="139"/>
                  </a:lnTo>
                  <a:lnTo>
                    <a:pt x="1" y="142"/>
                  </a:lnTo>
                  <a:lnTo>
                    <a:pt x="3" y="144"/>
                  </a:lnTo>
                  <a:lnTo>
                    <a:pt x="4" y="146"/>
                  </a:lnTo>
                  <a:lnTo>
                    <a:pt x="7" y="148"/>
                  </a:lnTo>
                  <a:lnTo>
                    <a:pt x="10" y="150"/>
                  </a:lnTo>
                  <a:lnTo>
                    <a:pt x="13" y="150"/>
                  </a:lnTo>
                  <a:lnTo>
                    <a:pt x="15" y="151"/>
                  </a:lnTo>
                  <a:lnTo>
                    <a:pt x="18" y="150"/>
                  </a:lnTo>
                  <a:lnTo>
                    <a:pt x="21" y="150"/>
                  </a:lnTo>
                  <a:lnTo>
                    <a:pt x="24" y="148"/>
                  </a:lnTo>
                  <a:lnTo>
                    <a:pt x="26" y="1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8127838" y="1693763"/>
            <a:ext cx="276594" cy="190754"/>
            <a:chOff x="10455275" y="1401763"/>
            <a:chExt cx="276225" cy="190500"/>
          </a:xfrm>
          <a:solidFill>
            <a:schemeClr val="bg1"/>
          </a:solidFill>
        </p:grpSpPr>
        <p:sp>
          <p:nvSpPr>
            <p:cNvPr id="22" name="Freeform 180"/>
            <p:cNvSpPr>
              <a:spLocks noEditPoints="1"/>
            </p:cNvSpPr>
            <p:nvPr/>
          </p:nvSpPr>
          <p:spPr bwMode="auto">
            <a:xfrm>
              <a:off x="10455275" y="1401763"/>
              <a:ext cx="238125" cy="152400"/>
            </a:xfrm>
            <a:custGeom>
              <a:avLst/>
              <a:gdLst>
                <a:gd name="T0" fmla="*/ 722 w 752"/>
                <a:gd name="T1" fmla="*/ 451 h 481"/>
                <a:gd name="T2" fmla="*/ 31 w 752"/>
                <a:gd name="T3" fmla="*/ 451 h 481"/>
                <a:gd name="T4" fmla="*/ 31 w 752"/>
                <a:gd name="T5" fmla="*/ 30 h 481"/>
                <a:gd name="T6" fmla="*/ 722 w 752"/>
                <a:gd name="T7" fmla="*/ 30 h 481"/>
                <a:gd name="T8" fmla="*/ 722 w 752"/>
                <a:gd name="T9" fmla="*/ 451 h 481"/>
                <a:gd name="T10" fmla="*/ 752 w 752"/>
                <a:gd name="T11" fmla="*/ 0 h 481"/>
                <a:gd name="T12" fmla="*/ 0 w 752"/>
                <a:gd name="T13" fmla="*/ 0 h 481"/>
                <a:gd name="T14" fmla="*/ 0 w 752"/>
                <a:gd name="T15" fmla="*/ 481 h 481"/>
                <a:gd name="T16" fmla="*/ 752 w 752"/>
                <a:gd name="T17" fmla="*/ 481 h 481"/>
                <a:gd name="T18" fmla="*/ 752 w 752"/>
                <a:gd name="T19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52" h="481">
                  <a:moveTo>
                    <a:pt x="722" y="451"/>
                  </a:moveTo>
                  <a:lnTo>
                    <a:pt x="31" y="451"/>
                  </a:lnTo>
                  <a:lnTo>
                    <a:pt x="31" y="30"/>
                  </a:lnTo>
                  <a:lnTo>
                    <a:pt x="722" y="30"/>
                  </a:lnTo>
                  <a:lnTo>
                    <a:pt x="722" y="451"/>
                  </a:lnTo>
                  <a:close/>
                  <a:moveTo>
                    <a:pt x="752" y="0"/>
                  </a:moveTo>
                  <a:lnTo>
                    <a:pt x="0" y="0"/>
                  </a:lnTo>
                  <a:lnTo>
                    <a:pt x="0" y="481"/>
                  </a:lnTo>
                  <a:lnTo>
                    <a:pt x="752" y="481"/>
                  </a:lnTo>
                  <a:lnTo>
                    <a:pt x="75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23" name="Freeform 181"/>
            <p:cNvSpPr>
              <a:spLocks/>
            </p:cNvSpPr>
            <p:nvPr/>
          </p:nvSpPr>
          <p:spPr bwMode="auto">
            <a:xfrm>
              <a:off x="10474325" y="1420813"/>
              <a:ext cx="238125" cy="152400"/>
            </a:xfrm>
            <a:custGeom>
              <a:avLst/>
              <a:gdLst>
                <a:gd name="T0" fmla="*/ 751 w 751"/>
                <a:gd name="T1" fmla="*/ 15 h 481"/>
                <a:gd name="T2" fmla="*/ 751 w 751"/>
                <a:gd name="T3" fmla="*/ 11 h 481"/>
                <a:gd name="T4" fmla="*/ 750 w 751"/>
                <a:gd name="T5" fmla="*/ 9 h 481"/>
                <a:gd name="T6" fmla="*/ 749 w 751"/>
                <a:gd name="T7" fmla="*/ 6 h 481"/>
                <a:gd name="T8" fmla="*/ 747 w 751"/>
                <a:gd name="T9" fmla="*/ 4 h 481"/>
                <a:gd name="T10" fmla="*/ 745 w 751"/>
                <a:gd name="T11" fmla="*/ 3 h 481"/>
                <a:gd name="T12" fmla="*/ 742 w 751"/>
                <a:gd name="T13" fmla="*/ 1 h 481"/>
                <a:gd name="T14" fmla="*/ 739 w 751"/>
                <a:gd name="T15" fmla="*/ 0 h 481"/>
                <a:gd name="T16" fmla="*/ 736 w 751"/>
                <a:gd name="T17" fmla="*/ 0 h 481"/>
                <a:gd name="T18" fmla="*/ 734 w 751"/>
                <a:gd name="T19" fmla="*/ 0 h 481"/>
                <a:gd name="T20" fmla="*/ 731 w 751"/>
                <a:gd name="T21" fmla="*/ 1 h 481"/>
                <a:gd name="T22" fmla="*/ 728 w 751"/>
                <a:gd name="T23" fmla="*/ 3 h 481"/>
                <a:gd name="T24" fmla="*/ 725 w 751"/>
                <a:gd name="T25" fmla="*/ 4 h 481"/>
                <a:gd name="T26" fmla="*/ 724 w 751"/>
                <a:gd name="T27" fmla="*/ 6 h 481"/>
                <a:gd name="T28" fmla="*/ 722 w 751"/>
                <a:gd name="T29" fmla="*/ 9 h 481"/>
                <a:gd name="T30" fmla="*/ 722 w 751"/>
                <a:gd name="T31" fmla="*/ 11 h 481"/>
                <a:gd name="T32" fmla="*/ 721 w 751"/>
                <a:gd name="T33" fmla="*/ 15 h 481"/>
                <a:gd name="T34" fmla="*/ 721 w 751"/>
                <a:gd name="T35" fmla="*/ 451 h 481"/>
                <a:gd name="T36" fmla="*/ 15 w 751"/>
                <a:gd name="T37" fmla="*/ 451 h 481"/>
                <a:gd name="T38" fmla="*/ 12 w 751"/>
                <a:gd name="T39" fmla="*/ 451 h 481"/>
                <a:gd name="T40" fmla="*/ 9 w 751"/>
                <a:gd name="T41" fmla="*/ 452 h 481"/>
                <a:gd name="T42" fmla="*/ 6 w 751"/>
                <a:gd name="T43" fmla="*/ 454 h 481"/>
                <a:gd name="T44" fmla="*/ 4 w 751"/>
                <a:gd name="T45" fmla="*/ 455 h 481"/>
                <a:gd name="T46" fmla="*/ 2 w 751"/>
                <a:gd name="T47" fmla="*/ 457 h 481"/>
                <a:gd name="T48" fmla="*/ 1 w 751"/>
                <a:gd name="T49" fmla="*/ 460 h 481"/>
                <a:gd name="T50" fmla="*/ 0 w 751"/>
                <a:gd name="T51" fmla="*/ 462 h 481"/>
                <a:gd name="T52" fmla="*/ 0 w 751"/>
                <a:gd name="T53" fmla="*/ 466 h 481"/>
                <a:gd name="T54" fmla="*/ 0 w 751"/>
                <a:gd name="T55" fmla="*/ 469 h 481"/>
                <a:gd name="T56" fmla="*/ 1 w 751"/>
                <a:gd name="T57" fmla="*/ 472 h 481"/>
                <a:gd name="T58" fmla="*/ 2 w 751"/>
                <a:gd name="T59" fmla="*/ 474 h 481"/>
                <a:gd name="T60" fmla="*/ 4 w 751"/>
                <a:gd name="T61" fmla="*/ 476 h 481"/>
                <a:gd name="T62" fmla="*/ 6 w 751"/>
                <a:gd name="T63" fmla="*/ 478 h 481"/>
                <a:gd name="T64" fmla="*/ 9 w 751"/>
                <a:gd name="T65" fmla="*/ 479 h 481"/>
                <a:gd name="T66" fmla="*/ 12 w 751"/>
                <a:gd name="T67" fmla="*/ 481 h 481"/>
                <a:gd name="T68" fmla="*/ 15 w 751"/>
                <a:gd name="T69" fmla="*/ 481 h 481"/>
                <a:gd name="T70" fmla="*/ 751 w 751"/>
                <a:gd name="T71" fmla="*/ 481 h 481"/>
                <a:gd name="T72" fmla="*/ 751 w 751"/>
                <a:gd name="T73" fmla="*/ 15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751" h="481">
                  <a:moveTo>
                    <a:pt x="751" y="15"/>
                  </a:moveTo>
                  <a:lnTo>
                    <a:pt x="751" y="11"/>
                  </a:lnTo>
                  <a:lnTo>
                    <a:pt x="750" y="9"/>
                  </a:lnTo>
                  <a:lnTo>
                    <a:pt x="749" y="6"/>
                  </a:lnTo>
                  <a:lnTo>
                    <a:pt x="747" y="4"/>
                  </a:lnTo>
                  <a:lnTo>
                    <a:pt x="745" y="3"/>
                  </a:lnTo>
                  <a:lnTo>
                    <a:pt x="742" y="1"/>
                  </a:lnTo>
                  <a:lnTo>
                    <a:pt x="739" y="0"/>
                  </a:lnTo>
                  <a:lnTo>
                    <a:pt x="736" y="0"/>
                  </a:lnTo>
                  <a:lnTo>
                    <a:pt x="734" y="0"/>
                  </a:lnTo>
                  <a:lnTo>
                    <a:pt x="731" y="1"/>
                  </a:lnTo>
                  <a:lnTo>
                    <a:pt x="728" y="3"/>
                  </a:lnTo>
                  <a:lnTo>
                    <a:pt x="725" y="4"/>
                  </a:lnTo>
                  <a:lnTo>
                    <a:pt x="724" y="6"/>
                  </a:lnTo>
                  <a:lnTo>
                    <a:pt x="722" y="9"/>
                  </a:lnTo>
                  <a:lnTo>
                    <a:pt x="722" y="11"/>
                  </a:lnTo>
                  <a:lnTo>
                    <a:pt x="721" y="15"/>
                  </a:lnTo>
                  <a:lnTo>
                    <a:pt x="721" y="451"/>
                  </a:lnTo>
                  <a:lnTo>
                    <a:pt x="15" y="451"/>
                  </a:lnTo>
                  <a:lnTo>
                    <a:pt x="12" y="451"/>
                  </a:lnTo>
                  <a:lnTo>
                    <a:pt x="9" y="452"/>
                  </a:lnTo>
                  <a:lnTo>
                    <a:pt x="6" y="454"/>
                  </a:lnTo>
                  <a:lnTo>
                    <a:pt x="4" y="455"/>
                  </a:lnTo>
                  <a:lnTo>
                    <a:pt x="2" y="457"/>
                  </a:lnTo>
                  <a:lnTo>
                    <a:pt x="1" y="460"/>
                  </a:lnTo>
                  <a:lnTo>
                    <a:pt x="0" y="462"/>
                  </a:lnTo>
                  <a:lnTo>
                    <a:pt x="0" y="466"/>
                  </a:lnTo>
                  <a:lnTo>
                    <a:pt x="0" y="469"/>
                  </a:lnTo>
                  <a:lnTo>
                    <a:pt x="1" y="472"/>
                  </a:lnTo>
                  <a:lnTo>
                    <a:pt x="2" y="474"/>
                  </a:lnTo>
                  <a:lnTo>
                    <a:pt x="4" y="476"/>
                  </a:lnTo>
                  <a:lnTo>
                    <a:pt x="6" y="478"/>
                  </a:lnTo>
                  <a:lnTo>
                    <a:pt x="9" y="479"/>
                  </a:lnTo>
                  <a:lnTo>
                    <a:pt x="12" y="481"/>
                  </a:lnTo>
                  <a:lnTo>
                    <a:pt x="15" y="481"/>
                  </a:lnTo>
                  <a:lnTo>
                    <a:pt x="751" y="481"/>
                  </a:lnTo>
                  <a:lnTo>
                    <a:pt x="751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24" name="Freeform 182"/>
            <p:cNvSpPr>
              <a:spLocks/>
            </p:cNvSpPr>
            <p:nvPr/>
          </p:nvSpPr>
          <p:spPr bwMode="auto">
            <a:xfrm>
              <a:off x="10493375" y="1439863"/>
              <a:ext cx="238125" cy="152400"/>
            </a:xfrm>
            <a:custGeom>
              <a:avLst/>
              <a:gdLst>
                <a:gd name="T0" fmla="*/ 736 w 752"/>
                <a:gd name="T1" fmla="*/ 0 h 480"/>
                <a:gd name="T2" fmla="*/ 734 w 752"/>
                <a:gd name="T3" fmla="*/ 1 h 480"/>
                <a:gd name="T4" fmla="*/ 731 w 752"/>
                <a:gd name="T5" fmla="*/ 1 h 480"/>
                <a:gd name="T6" fmla="*/ 728 w 752"/>
                <a:gd name="T7" fmla="*/ 3 h 480"/>
                <a:gd name="T8" fmla="*/ 726 w 752"/>
                <a:gd name="T9" fmla="*/ 4 h 480"/>
                <a:gd name="T10" fmla="*/ 724 w 752"/>
                <a:gd name="T11" fmla="*/ 7 h 480"/>
                <a:gd name="T12" fmla="*/ 723 w 752"/>
                <a:gd name="T13" fmla="*/ 9 h 480"/>
                <a:gd name="T14" fmla="*/ 722 w 752"/>
                <a:gd name="T15" fmla="*/ 12 h 480"/>
                <a:gd name="T16" fmla="*/ 721 w 752"/>
                <a:gd name="T17" fmla="*/ 15 h 480"/>
                <a:gd name="T18" fmla="*/ 721 w 752"/>
                <a:gd name="T19" fmla="*/ 451 h 480"/>
                <a:gd name="T20" fmla="*/ 15 w 752"/>
                <a:gd name="T21" fmla="*/ 451 h 480"/>
                <a:gd name="T22" fmla="*/ 12 w 752"/>
                <a:gd name="T23" fmla="*/ 452 h 480"/>
                <a:gd name="T24" fmla="*/ 9 w 752"/>
                <a:gd name="T25" fmla="*/ 452 h 480"/>
                <a:gd name="T26" fmla="*/ 6 w 752"/>
                <a:gd name="T27" fmla="*/ 454 h 480"/>
                <a:gd name="T28" fmla="*/ 4 w 752"/>
                <a:gd name="T29" fmla="*/ 455 h 480"/>
                <a:gd name="T30" fmla="*/ 2 w 752"/>
                <a:gd name="T31" fmla="*/ 458 h 480"/>
                <a:gd name="T32" fmla="*/ 1 w 752"/>
                <a:gd name="T33" fmla="*/ 460 h 480"/>
                <a:gd name="T34" fmla="*/ 0 w 752"/>
                <a:gd name="T35" fmla="*/ 463 h 480"/>
                <a:gd name="T36" fmla="*/ 0 w 752"/>
                <a:gd name="T37" fmla="*/ 465 h 480"/>
                <a:gd name="T38" fmla="*/ 0 w 752"/>
                <a:gd name="T39" fmla="*/ 469 h 480"/>
                <a:gd name="T40" fmla="*/ 1 w 752"/>
                <a:gd name="T41" fmla="*/ 472 h 480"/>
                <a:gd name="T42" fmla="*/ 2 w 752"/>
                <a:gd name="T43" fmla="*/ 474 h 480"/>
                <a:gd name="T44" fmla="*/ 4 w 752"/>
                <a:gd name="T45" fmla="*/ 476 h 480"/>
                <a:gd name="T46" fmla="*/ 6 w 752"/>
                <a:gd name="T47" fmla="*/ 478 h 480"/>
                <a:gd name="T48" fmla="*/ 9 w 752"/>
                <a:gd name="T49" fmla="*/ 479 h 480"/>
                <a:gd name="T50" fmla="*/ 12 w 752"/>
                <a:gd name="T51" fmla="*/ 480 h 480"/>
                <a:gd name="T52" fmla="*/ 15 w 752"/>
                <a:gd name="T53" fmla="*/ 480 h 480"/>
                <a:gd name="T54" fmla="*/ 752 w 752"/>
                <a:gd name="T55" fmla="*/ 480 h 480"/>
                <a:gd name="T56" fmla="*/ 752 w 752"/>
                <a:gd name="T57" fmla="*/ 15 h 480"/>
                <a:gd name="T58" fmla="*/ 751 w 752"/>
                <a:gd name="T59" fmla="*/ 11 h 480"/>
                <a:gd name="T60" fmla="*/ 750 w 752"/>
                <a:gd name="T61" fmla="*/ 9 h 480"/>
                <a:gd name="T62" fmla="*/ 749 w 752"/>
                <a:gd name="T63" fmla="*/ 6 h 480"/>
                <a:gd name="T64" fmla="*/ 747 w 752"/>
                <a:gd name="T65" fmla="*/ 4 h 480"/>
                <a:gd name="T66" fmla="*/ 745 w 752"/>
                <a:gd name="T67" fmla="*/ 3 h 480"/>
                <a:gd name="T68" fmla="*/ 742 w 752"/>
                <a:gd name="T69" fmla="*/ 1 h 480"/>
                <a:gd name="T70" fmla="*/ 739 w 752"/>
                <a:gd name="T71" fmla="*/ 1 h 480"/>
                <a:gd name="T72" fmla="*/ 736 w 752"/>
                <a:gd name="T73" fmla="*/ 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752" h="480">
                  <a:moveTo>
                    <a:pt x="736" y="0"/>
                  </a:moveTo>
                  <a:lnTo>
                    <a:pt x="734" y="1"/>
                  </a:lnTo>
                  <a:lnTo>
                    <a:pt x="731" y="1"/>
                  </a:lnTo>
                  <a:lnTo>
                    <a:pt x="728" y="3"/>
                  </a:lnTo>
                  <a:lnTo>
                    <a:pt x="726" y="4"/>
                  </a:lnTo>
                  <a:lnTo>
                    <a:pt x="724" y="7"/>
                  </a:lnTo>
                  <a:lnTo>
                    <a:pt x="723" y="9"/>
                  </a:lnTo>
                  <a:lnTo>
                    <a:pt x="722" y="12"/>
                  </a:lnTo>
                  <a:lnTo>
                    <a:pt x="721" y="15"/>
                  </a:lnTo>
                  <a:lnTo>
                    <a:pt x="721" y="451"/>
                  </a:lnTo>
                  <a:lnTo>
                    <a:pt x="15" y="451"/>
                  </a:lnTo>
                  <a:lnTo>
                    <a:pt x="12" y="452"/>
                  </a:lnTo>
                  <a:lnTo>
                    <a:pt x="9" y="452"/>
                  </a:lnTo>
                  <a:lnTo>
                    <a:pt x="6" y="454"/>
                  </a:lnTo>
                  <a:lnTo>
                    <a:pt x="4" y="455"/>
                  </a:lnTo>
                  <a:lnTo>
                    <a:pt x="2" y="458"/>
                  </a:lnTo>
                  <a:lnTo>
                    <a:pt x="1" y="460"/>
                  </a:lnTo>
                  <a:lnTo>
                    <a:pt x="0" y="463"/>
                  </a:lnTo>
                  <a:lnTo>
                    <a:pt x="0" y="465"/>
                  </a:lnTo>
                  <a:lnTo>
                    <a:pt x="0" y="469"/>
                  </a:lnTo>
                  <a:lnTo>
                    <a:pt x="1" y="472"/>
                  </a:lnTo>
                  <a:lnTo>
                    <a:pt x="2" y="474"/>
                  </a:lnTo>
                  <a:lnTo>
                    <a:pt x="4" y="476"/>
                  </a:lnTo>
                  <a:lnTo>
                    <a:pt x="6" y="478"/>
                  </a:lnTo>
                  <a:lnTo>
                    <a:pt x="9" y="479"/>
                  </a:lnTo>
                  <a:lnTo>
                    <a:pt x="12" y="480"/>
                  </a:lnTo>
                  <a:lnTo>
                    <a:pt x="15" y="480"/>
                  </a:lnTo>
                  <a:lnTo>
                    <a:pt x="752" y="480"/>
                  </a:lnTo>
                  <a:lnTo>
                    <a:pt x="752" y="15"/>
                  </a:lnTo>
                  <a:lnTo>
                    <a:pt x="751" y="11"/>
                  </a:lnTo>
                  <a:lnTo>
                    <a:pt x="750" y="9"/>
                  </a:lnTo>
                  <a:lnTo>
                    <a:pt x="749" y="6"/>
                  </a:lnTo>
                  <a:lnTo>
                    <a:pt x="747" y="4"/>
                  </a:lnTo>
                  <a:lnTo>
                    <a:pt x="745" y="3"/>
                  </a:lnTo>
                  <a:lnTo>
                    <a:pt x="742" y="1"/>
                  </a:lnTo>
                  <a:lnTo>
                    <a:pt x="739" y="1"/>
                  </a:lnTo>
                  <a:lnTo>
                    <a:pt x="7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25" name="Freeform 183"/>
            <p:cNvSpPr>
              <a:spLocks/>
            </p:cNvSpPr>
            <p:nvPr/>
          </p:nvSpPr>
          <p:spPr bwMode="auto">
            <a:xfrm>
              <a:off x="10483850" y="1516063"/>
              <a:ext cx="38100" cy="9525"/>
            </a:xfrm>
            <a:custGeom>
              <a:avLst/>
              <a:gdLst>
                <a:gd name="T0" fmla="*/ 15 w 120"/>
                <a:gd name="T1" fmla="*/ 30 h 30"/>
                <a:gd name="T2" fmla="*/ 105 w 120"/>
                <a:gd name="T3" fmla="*/ 30 h 30"/>
                <a:gd name="T4" fmla="*/ 108 w 120"/>
                <a:gd name="T5" fmla="*/ 30 h 30"/>
                <a:gd name="T6" fmla="*/ 110 w 120"/>
                <a:gd name="T7" fmla="*/ 28 h 30"/>
                <a:gd name="T8" fmla="*/ 114 w 120"/>
                <a:gd name="T9" fmla="*/ 27 h 30"/>
                <a:gd name="T10" fmla="*/ 116 w 120"/>
                <a:gd name="T11" fmla="*/ 25 h 30"/>
                <a:gd name="T12" fmla="*/ 118 w 120"/>
                <a:gd name="T13" fmla="*/ 23 h 30"/>
                <a:gd name="T14" fmla="*/ 119 w 120"/>
                <a:gd name="T15" fmla="*/ 20 h 30"/>
                <a:gd name="T16" fmla="*/ 120 w 120"/>
                <a:gd name="T17" fmla="*/ 18 h 30"/>
                <a:gd name="T18" fmla="*/ 120 w 120"/>
                <a:gd name="T19" fmla="*/ 15 h 30"/>
                <a:gd name="T20" fmla="*/ 120 w 120"/>
                <a:gd name="T21" fmla="*/ 11 h 30"/>
                <a:gd name="T22" fmla="*/ 119 w 120"/>
                <a:gd name="T23" fmla="*/ 8 h 30"/>
                <a:gd name="T24" fmla="*/ 118 w 120"/>
                <a:gd name="T25" fmla="*/ 6 h 30"/>
                <a:gd name="T26" fmla="*/ 116 w 120"/>
                <a:gd name="T27" fmla="*/ 4 h 30"/>
                <a:gd name="T28" fmla="*/ 114 w 120"/>
                <a:gd name="T29" fmla="*/ 2 h 30"/>
                <a:gd name="T30" fmla="*/ 110 w 120"/>
                <a:gd name="T31" fmla="*/ 1 h 30"/>
                <a:gd name="T32" fmla="*/ 108 w 120"/>
                <a:gd name="T33" fmla="*/ 0 h 30"/>
                <a:gd name="T34" fmla="*/ 105 w 120"/>
                <a:gd name="T35" fmla="*/ 0 h 30"/>
                <a:gd name="T36" fmla="*/ 15 w 120"/>
                <a:gd name="T37" fmla="*/ 0 h 30"/>
                <a:gd name="T38" fmla="*/ 12 w 120"/>
                <a:gd name="T39" fmla="*/ 0 h 30"/>
                <a:gd name="T40" fmla="*/ 9 w 120"/>
                <a:gd name="T41" fmla="*/ 1 h 30"/>
                <a:gd name="T42" fmla="*/ 6 w 120"/>
                <a:gd name="T43" fmla="*/ 2 h 30"/>
                <a:gd name="T44" fmla="*/ 4 w 120"/>
                <a:gd name="T45" fmla="*/ 4 h 30"/>
                <a:gd name="T46" fmla="*/ 2 w 120"/>
                <a:gd name="T47" fmla="*/ 6 h 30"/>
                <a:gd name="T48" fmla="*/ 1 w 120"/>
                <a:gd name="T49" fmla="*/ 8 h 30"/>
                <a:gd name="T50" fmla="*/ 0 w 120"/>
                <a:gd name="T51" fmla="*/ 11 h 30"/>
                <a:gd name="T52" fmla="*/ 0 w 120"/>
                <a:gd name="T53" fmla="*/ 15 h 30"/>
                <a:gd name="T54" fmla="*/ 0 w 120"/>
                <a:gd name="T55" fmla="*/ 18 h 30"/>
                <a:gd name="T56" fmla="*/ 1 w 120"/>
                <a:gd name="T57" fmla="*/ 20 h 30"/>
                <a:gd name="T58" fmla="*/ 2 w 120"/>
                <a:gd name="T59" fmla="*/ 23 h 30"/>
                <a:gd name="T60" fmla="*/ 4 w 120"/>
                <a:gd name="T61" fmla="*/ 25 h 30"/>
                <a:gd name="T62" fmla="*/ 6 w 120"/>
                <a:gd name="T63" fmla="*/ 27 h 30"/>
                <a:gd name="T64" fmla="*/ 9 w 120"/>
                <a:gd name="T65" fmla="*/ 28 h 30"/>
                <a:gd name="T66" fmla="*/ 12 w 120"/>
                <a:gd name="T67" fmla="*/ 30 h 30"/>
                <a:gd name="T68" fmla="*/ 15 w 120"/>
                <a:gd name="T69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0" h="30">
                  <a:moveTo>
                    <a:pt x="15" y="30"/>
                  </a:moveTo>
                  <a:lnTo>
                    <a:pt x="105" y="30"/>
                  </a:lnTo>
                  <a:lnTo>
                    <a:pt x="108" y="30"/>
                  </a:lnTo>
                  <a:lnTo>
                    <a:pt x="110" y="28"/>
                  </a:lnTo>
                  <a:lnTo>
                    <a:pt x="114" y="27"/>
                  </a:lnTo>
                  <a:lnTo>
                    <a:pt x="116" y="25"/>
                  </a:lnTo>
                  <a:lnTo>
                    <a:pt x="118" y="23"/>
                  </a:lnTo>
                  <a:lnTo>
                    <a:pt x="119" y="20"/>
                  </a:lnTo>
                  <a:lnTo>
                    <a:pt x="120" y="18"/>
                  </a:lnTo>
                  <a:lnTo>
                    <a:pt x="120" y="15"/>
                  </a:lnTo>
                  <a:lnTo>
                    <a:pt x="120" y="11"/>
                  </a:lnTo>
                  <a:lnTo>
                    <a:pt x="119" y="8"/>
                  </a:lnTo>
                  <a:lnTo>
                    <a:pt x="118" y="6"/>
                  </a:lnTo>
                  <a:lnTo>
                    <a:pt x="116" y="4"/>
                  </a:lnTo>
                  <a:lnTo>
                    <a:pt x="114" y="2"/>
                  </a:lnTo>
                  <a:lnTo>
                    <a:pt x="110" y="1"/>
                  </a:lnTo>
                  <a:lnTo>
                    <a:pt x="108" y="0"/>
                  </a:lnTo>
                  <a:lnTo>
                    <a:pt x="105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9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8"/>
                  </a:lnTo>
                  <a:lnTo>
                    <a:pt x="0" y="11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0"/>
                  </a:lnTo>
                  <a:lnTo>
                    <a:pt x="2" y="23"/>
                  </a:lnTo>
                  <a:lnTo>
                    <a:pt x="4" y="25"/>
                  </a:lnTo>
                  <a:lnTo>
                    <a:pt x="6" y="27"/>
                  </a:lnTo>
                  <a:lnTo>
                    <a:pt x="9" y="28"/>
                  </a:lnTo>
                  <a:lnTo>
                    <a:pt x="12" y="30"/>
                  </a:lnTo>
                  <a:lnTo>
                    <a:pt x="15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26" name="Freeform 184"/>
            <p:cNvSpPr>
              <a:spLocks/>
            </p:cNvSpPr>
            <p:nvPr/>
          </p:nvSpPr>
          <p:spPr bwMode="auto">
            <a:xfrm>
              <a:off x="10626725" y="1430338"/>
              <a:ext cx="38100" cy="9525"/>
            </a:xfrm>
            <a:custGeom>
              <a:avLst/>
              <a:gdLst>
                <a:gd name="T0" fmla="*/ 15 w 120"/>
                <a:gd name="T1" fmla="*/ 30 h 30"/>
                <a:gd name="T2" fmla="*/ 105 w 120"/>
                <a:gd name="T3" fmla="*/ 30 h 30"/>
                <a:gd name="T4" fmla="*/ 108 w 120"/>
                <a:gd name="T5" fmla="*/ 30 h 30"/>
                <a:gd name="T6" fmla="*/ 110 w 120"/>
                <a:gd name="T7" fmla="*/ 28 h 30"/>
                <a:gd name="T8" fmla="*/ 114 w 120"/>
                <a:gd name="T9" fmla="*/ 27 h 30"/>
                <a:gd name="T10" fmla="*/ 116 w 120"/>
                <a:gd name="T11" fmla="*/ 25 h 30"/>
                <a:gd name="T12" fmla="*/ 118 w 120"/>
                <a:gd name="T13" fmla="*/ 23 h 30"/>
                <a:gd name="T14" fmla="*/ 119 w 120"/>
                <a:gd name="T15" fmla="*/ 21 h 30"/>
                <a:gd name="T16" fmla="*/ 120 w 120"/>
                <a:gd name="T17" fmla="*/ 18 h 30"/>
                <a:gd name="T18" fmla="*/ 120 w 120"/>
                <a:gd name="T19" fmla="*/ 15 h 30"/>
                <a:gd name="T20" fmla="*/ 120 w 120"/>
                <a:gd name="T21" fmla="*/ 11 h 30"/>
                <a:gd name="T22" fmla="*/ 119 w 120"/>
                <a:gd name="T23" fmla="*/ 9 h 30"/>
                <a:gd name="T24" fmla="*/ 118 w 120"/>
                <a:gd name="T25" fmla="*/ 6 h 30"/>
                <a:gd name="T26" fmla="*/ 116 w 120"/>
                <a:gd name="T27" fmla="*/ 4 h 30"/>
                <a:gd name="T28" fmla="*/ 114 w 120"/>
                <a:gd name="T29" fmla="*/ 3 h 30"/>
                <a:gd name="T30" fmla="*/ 110 w 120"/>
                <a:gd name="T31" fmla="*/ 1 h 30"/>
                <a:gd name="T32" fmla="*/ 108 w 120"/>
                <a:gd name="T33" fmla="*/ 1 h 30"/>
                <a:gd name="T34" fmla="*/ 105 w 120"/>
                <a:gd name="T35" fmla="*/ 0 h 30"/>
                <a:gd name="T36" fmla="*/ 15 w 120"/>
                <a:gd name="T37" fmla="*/ 0 h 30"/>
                <a:gd name="T38" fmla="*/ 12 w 120"/>
                <a:gd name="T39" fmla="*/ 0 h 30"/>
                <a:gd name="T40" fmla="*/ 9 w 120"/>
                <a:gd name="T41" fmla="*/ 1 h 30"/>
                <a:gd name="T42" fmla="*/ 6 w 120"/>
                <a:gd name="T43" fmla="*/ 3 h 30"/>
                <a:gd name="T44" fmla="*/ 4 w 120"/>
                <a:gd name="T45" fmla="*/ 4 h 30"/>
                <a:gd name="T46" fmla="*/ 2 w 120"/>
                <a:gd name="T47" fmla="*/ 6 h 30"/>
                <a:gd name="T48" fmla="*/ 1 w 120"/>
                <a:gd name="T49" fmla="*/ 9 h 30"/>
                <a:gd name="T50" fmla="*/ 0 w 120"/>
                <a:gd name="T51" fmla="*/ 11 h 30"/>
                <a:gd name="T52" fmla="*/ 0 w 120"/>
                <a:gd name="T53" fmla="*/ 15 h 30"/>
                <a:gd name="T54" fmla="*/ 0 w 120"/>
                <a:gd name="T55" fmla="*/ 18 h 30"/>
                <a:gd name="T56" fmla="*/ 1 w 120"/>
                <a:gd name="T57" fmla="*/ 21 h 30"/>
                <a:gd name="T58" fmla="*/ 2 w 120"/>
                <a:gd name="T59" fmla="*/ 23 h 30"/>
                <a:gd name="T60" fmla="*/ 4 w 120"/>
                <a:gd name="T61" fmla="*/ 25 h 30"/>
                <a:gd name="T62" fmla="*/ 6 w 120"/>
                <a:gd name="T63" fmla="*/ 27 h 30"/>
                <a:gd name="T64" fmla="*/ 9 w 120"/>
                <a:gd name="T65" fmla="*/ 28 h 30"/>
                <a:gd name="T66" fmla="*/ 12 w 120"/>
                <a:gd name="T67" fmla="*/ 30 h 30"/>
                <a:gd name="T68" fmla="*/ 15 w 120"/>
                <a:gd name="T69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0" h="30">
                  <a:moveTo>
                    <a:pt x="15" y="30"/>
                  </a:moveTo>
                  <a:lnTo>
                    <a:pt x="105" y="30"/>
                  </a:lnTo>
                  <a:lnTo>
                    <a:pt x="108" y="30"/>
                  </a:lnTo>
                  <a:lnTo>
                    <a:pt x="110" y="28"/>
                  </a:lnTo>
                  <a:lnTo>
                    <a:pt x="114" y="27"/>
                  </a:lnTo>
                  <a:lnTo>
                    <a:pt x="116" y="25"/>
                  </a:lnTo>
                  <a:lnTo>
                    <a:pt x="118" y="23"/>
                  </a:lnTo>
                  <a:lnTo>
                    <a:pt x="119" y="21"/>
                  </a:lnTo>
                  <a:lnTo>
                    <a:pt x="120" y="18"/>
                  </a:lnTo>
                  <a:lnTo>
                    <a:pt x="120" y="15"/>
                  </a:lnTo>
                  <a:lnTo>
                    <a:pt x="120" y="11"/>
                  </a:lnTo>
                  <a:lnTo>
                    <a:pt x="119" y="9"/>
                  </a:lnTo>
                  <a:lnTo>
                    <a:pt x="118" y="6"/>
                  </a:lnTo>
                  <a:lnTo>
                    <a:pt x="116" y="4"/>
                  </a:lnTo>
                  <a:lnTo>
                    <a:pt x="114" y="3"/>
                  </a:lnTo>
                  <a:lnTo>
                    <a:pt x="110" y="1"/>
                  </a:lnTo>
                  <a:lnTo>
                    <a:pt x="108" y="1"/>
                  </a:lnTo>
                  <a:lnTo>
                    <a:pt x="105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9" y="1"/>
                  </a:lnTo>
                  <a:lnTo>
                    <a:pt x="6" y="3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9"/>
                  </a:lnTo>
                  <a:lnTo>
                    <a:pt x="0" y="11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1"/>
                  </a:lnTo>
                  <a:lnTo>
                    <a:pt x="2" y="23"/>
                  </a:lnTo>
                  <a:lnTo>
                    <a:pt x="4" y="25"/>
                  </a:lnTo>
                  <a:lnTo>
                    <a:pt x="6" y="27"/>
                  </a:lnTo>
                  <a:lnTo>
                    <a:pt x="9" y="28"/>
                  </a:lnTo>
                  <a:lnTo>
                    <a:pt x="12" y="30"/>
                  </a:lnTo>
                  <a:lnTo>
                    <a:pt x="15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27" name="Freeform 185"/>
            <p:cNvSpPr>
              <a:spLocks noEditPoints="1"/>
            </p:cNvSpPr>
            <p:nvPr/>
          </p:nvSpPr>
          <p:spPr bwMode="auto">
            <a:xfrm>
              <a:off x="10531475" y="1435100"/>
              <a:ext cx="85725" cy="85725"/>
            </a:xfrm>
            <a:custGeom>
              <a:avLst/>
              <a:gdLst>
                <a:gd name="T0" fmla="*/ 156 w 271"/>
                <a:gd name="T1" fmla="*/ 32 h 271"/>
                <a:gd name="T2" fmla="*/ 185 w 271"/>
                <a:gd name="T3" fmla="*/ 42 h 271"/>
                <a:gd name="T4" fmla="*/ 210 w 271"/>
                <a:gd name="T5" fmla="*/ 61 h 271"/>
                <a:gd name="T6" fmla="*/ 228 w 271"/>
                <a:gd name="T7" fmla="*/ 85 h 271"/>
                <a:gd name="T8" fmla="*/ 239 w 271"/>
                <a:gd name="T9" fmla="*/ 114 h 271"/>
                <a:gd name="T10" fmla="*/ 240 w 271"/>
                <a:gd name="T11" fmla="*/ 146 h 271"/>
                <a:gd name="T12" fmla="*/ 232 w 271"/>
                <a:gd name="T13" fmla="*/ 176 h 271"/>
                <a:gd name="T14" fmla="*/ 216 w 271"/>
                <a:gd name="T15" fmla="*/ 202 h 271"/>
                <a:gd name="T16" fmla="*/ 194 w 271"/>
                <a:gd name="T17" fmla="*/ 222 h 271"/>
                <a:gd name="T18" fmla="*/ 167 w 271"/>
                <a:gd name="T19" fmla="*/ 235 h 271"/>
                <a:gd name="T20" fmla="*/ 135 w 271"/>
                <a:gd name="T21" fmla="*/ 241 h 271"/>
                <a:gd name="T22" fmla="*/ 104 w 271"/>
                <a:gd name="T23" fmla="*/ 235 h 271"/>
                <a:gd name="T24" fmla="*/ 76 w 271"/>
                <a:gd name="T25" fmla="*/ 222 h 271"/>
                <a:gd name="T26" fmla="*/ 55 w 271"/>
                <a:gd name="T27" fmla="*/ 202 h 271"/>
                <a:gd name="T28" fmla="*/ 39 w 271"/>
                <a:gd name="T29" fmla="*/ 176 h 271"/>
                <a:gd name="T30" fmla="*/ 31 w 271"/>
                <a:gd name="T31" fmla="*/ 146 h 271"/>
                <a:gd name="T32" fmla="*/ 32 w 271"/>
                <a:gd name="T33" fmla="*/ 114 h 271"/>
                <a:gd name="T34" fmla="*/ 43 w 271"/>
                <a:gd name="T35" fmla="*/ 85 h 271"/>
                <a:gd name="T36" fmla="*/ 61 w 271"/>
                <a:gd name="T37" fmla="*/ 61 h 271"/>
                <a:gd name="T38" fmla="*/ 86 w 271"/>
                <a:gd name="T39" fmla="*/ 42 h 271"/>
                <a:gd name="T40" fmla="*/ 115 w 271"/>
                <a:gd name="T41" fmla="*/ 32 h 271"/>
                <a:gd name="T42" fmla="*/ 135 w 271"/>
                <a:gd name="T43" fmla="*/ 271 h 271"/>
                <a:gd name="T44" fmla="*/ 176 w 271"/>
                <a:gd name="T45" fmla="*/ 264 h 271"/>
                <a:gd name="T46" fmla="*/ 211 w 271"/>
                <a:gd name="T47" fmla="*/ 247 h 271"/>
                <a:gd name="T48" fmla="*/ 240 w 271"/>
                <a:gd name="T49" fmla="*/ 221 h 271"/>
                <a:gd name="T50" fmla="*/ 260 w 271"/>
                <a:gd name="T51" fmla="*/ 188 h 271"/>
                <a:gd name="T52" fmla="*/ 270 w 271"/>
                <a:gd name="T53" fmla="*/ 148 h 271"/>
                <a:gd name="T54" fmla="*/ 268 w 271"/>
                <a:gd name="T55" fmla="*/ 108 h 271"/>
                <a:gd name="T56" fmla="*/ 254 w 271"/>
                <a:gd name="T57" fmla="*/ 70 h 271"/>
                <a:gd name="T58" fmla="*/ 231 w 271"/>
                <a:gd name="T59" fmla="*/ 39 h 271"/>
                <a:gd name="T60" fmla="*/ 199 w 271"/>
                <a:gd name="T61" fmla="*/ 17 h 271"/>
                <a:gd name="T62" fmla="*/ 163 w 271"/>
                <a:gd name="T63" fmla="*/ 3 h 271"/>
                <a:gd name="T64" fmla="*/ 121 w 271"/>
                <a:gd name="T65" fmla="*/ 1 h 271"/>
                <a:gd name="T66" fmla="*/ 82 w 271"/>
                <a:gd name="T67" fmla="*/ 10 h 271"/>
                <a:gd name="T68" fmla="*/ 49 w 271"/>
                <a:gd name="T69" fmla="*/ 31 h 271"/>
                <a:gd name="T70" fmla="*/ 24 w 271"/>
                <a:gd name="T71" fmla="*/ 60 h 271"/>
                <a:gd name="T72" fmla="*/ 6 w 271"/>
                <a:gd name="T73" fmla="*/ 95 h 271"/>
                <a:gd name="T74" fmla="*/ 0 w 271"/>
                <a:gd name="T75" fmla="*/ 136 h 271"/>
                <a:gd name="T76" fmla="*/ 6 w 271"/>
                <a:gd name="T77" fmla="*/ 175 h 271"/>
                <a:gd name="T78" fmla="*/ 24 w 271"/>
                <a:gd name="T79" fmla="*/ 211 h 271"/>
                <a:gd name="T80" fmla="*/ 49 w 271"/>
                <a:gd name="T81" fmla="*/ 239 h 271"/>
                <a:gd name="T82" fmla="*/ 82 w 271"/>
                <a:gd name="T83" fmla="*/ 260 h 271"/>
                <a:gd name="T84" fmla="*/ 121 w 271"/>
                <a:gd name="T85" fmla="*/ 269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71" h="271">
                  <a:moveTo>
                    <a:pt x="135" y="30"/>
                  </a:moveTo>
                  <a:lnTo>
                    <a:pt x="146" y="31"/>
                  </a:lnTo>
                  <a:lnTo>
                    <a:pt x="156" y="32"/>
                  </a:lnTo>
                  <a:lnTo>
                    <a:pt x="167" y="35"/>
                  </a:lnTo>
                  <a:lnTo>
                    <a:pt x="177" y="38"/>
                  </a:lnTo>
                  <a:lnTo>
                    <a:pt x="185" y="42"/>
                  </a:lnTo>
                  <a:lnTo>
                    <a:pt x="194" y="48"/>
                  </a:lnTo>
                  <a:lnTo>
                    <a:pt x="202" y="54"/>
                  </a:lnTo>
                  <a:lnTo>
                    <a:pt x="210" y="61"/>
                  </a:lnTo>
                  <a:lnTo>
                    <a:pt x="216" y="68"/>
                  </a:lnTo>
                  <a:lnTo>
                    <a:pt x="223" y="77"/>
                  </a:lnTo>
                  <a:lnTo>
                    <a:pt x="228" y="85"/>
                  </a:lnTo>
                  <a:lnTo>
                    <a:pt x="232" y="94"/>
                  </a:lnTo>
                  <a:lnTo>
                    <a:pt x="236" y="103"/>
                  </a:lnTo>
                  <a:lnTo>
                    <a:pt x="239" y="114"/>
                  </a:lnTo>
                  <a:lnTo>
                    <a:pt x="240" y="125"/>
                  </a:lnTo>
                  <a:lnTo>
                    <a:pt x="241" y="136"/>
                  </a:lnTo>
                  <a:lnTo>
                    <a:pt x="240" y="146"/>
                  </a:lnTo>
                  <a:lnTo>
                    <a:pt x="239" y="156"/>
                  </a:lnTo>
                  <a:lnTo>
                    <a:pt x="236" y="167"/>
                  </a:lnTo>
                  <a:lnTo>
                    <a:pt x="232" y="176"/>
                  </a:lnTo>
                  <a:lnTo>
                    <a:pt x="228" y="185"/>
                  </a:lnTo>
                  <a:lnTo>
                    <a:pt x="223" y="193"/>
                  </a:lnTo>
                  <a:lnTo>
                    <a:pt x="216" y="202"/>
                  </a:lnTo>
                  <a:lnTo>
                    <a:pt x="210" y="209"/>
                  </a:lnTo>
                  <a:lnTo>
                    <a:pt x="202" y="216"/>
                  </a:lnTo>
                  <a:lnTo>
                    <a:pt x="194" y="222"/>
                  </a:lnTo>
                  <a:lnTo>
                    <a:pt x="185" y="228"/>
                  </a:lnTo>
                  <a:lnTo>
                    <a:pt x="177" y="232"/>
                  </a:lnTo>
                  <a:lnTo>
                    <a:pt x="167" y="235"/>
                  </a:lnTo>
                  <a:lnTo>
                    <a:pt x="156" y="238"/>
                  </a:lnTo>
                  <a:lnTo>
                    <a:pt x="146" y="239"/>
                  </a:lnTo>
                  <a:lnTo>
                    <a:pt x="135" y="241"/>
                  </a:lnTo>
                  <a:lnTo>
                    <a:pt x="124" y="239"/>
                  </a:lnTo>
                  <a:lnTo>
                    <a:pt x="115" y="238"/>
                  </a:lnTo>
                  <a:lnTo>
                    <a:pt x="104" y="235"/>
                  </a:lnTo>
                  <a:lnTo>
                    <a:pt x="94" y="232"/>
                  </a:lnTo>
                  <a:lnTo>
                    <a:pt x="86" y="228"/>
                  </a:lnTo>
                  <a:lnTo>
                    <a:pt x="76" y="222"/>
                  </a:lnTo>
                  <a:lnTo>
                    <a:pt x="69" y="216"/>
                  </a:lnTo>
                  <a:lnTo>
                    <a:pt x="61" y="209"/>
                  </a:lnTo>
                  <a:lnTo>
                    <a:pt x="55" y="202"/>
                  </a:lnTo>
                  <a:lnTo>
                    <a:pt x="48" y="193"/>
                  </a:lnTo>
                  <a:lnTo>
                    <a:pt x="43" y="185"/>
                  </a:lnTo>
                  <a:lnTo>
                    <a:pt x="39" y="176"/>
                  </a:lnTo>
                  <a:lnTo>
                    <a:pt x="35" y="167"/>
                  </a:lnTo>
                  <a:lnTo>
                    <a:pt x="32" y="156"/>
                  </a:lnTo>
                  <a:lnTo>
                    <a:pt x="31" y="146"/>
                  </a:lnTo>
                  <a:lnTo>
                    <a:pt x="30" y="136"/>
                  </a:lnTo>
                  <a:lnTo>
                    <a:pt x="31" y="125"/>
                  </a:lnTo>
                  <a:lnTo>
                    <a:pt x="32" y="114"/>
                  </a:lnTo>
                  <a:lnTo>
                    <a:pt x="35" y="103"/>
                  </a:lnTo>
                  <a:lnTo>
                    <a:pt x="39" y="94"/>
                  </a:lnTo>
                  <a:lnTo>
                    <a:pt x="43" y="85"/>
                  </a:lnTo>
                  <a:lnTo>
                    <a:pt x="48" y="77"/>
                  </a:lnTo>
                  <a:lnTo>
                    <a:pt x="55" y="68"/>
                  </a:lnTo>
                  <a:lnTo>
                    <a:pt x="61" y="61"/>
                  </a:lnTo>
                  <a:lnTo>
                    <a:pt x="69" y="54"/>
                  </a:lnTo>
                  <a:lnTo>
                    <a:pt x="76" y="48"/>
                  </a:lnTo>
                  <a:lnTo>
                    <a:pt x="86" y="42"/>
                  </a:lnTo>
                  <a:lnTo>
                    <a:pt x="94" y="38"/>
                  </a:lnTo>
                  <a:lnTo>
                    <a:pt x="104" y="35"/>
                  </a:lnTo>
                  <a:lnTo>
                    <a:pt x="115" y="32"/>
                  </a:lnTo>
                  <a:lnTo>
                    <a:pt x="124" y="31"/>
                  </a:lnTo>
                  <a:lnTo>
                    <a:pt x="135" y="30"/>
                  </a:lnTo>
                  <a:close/>
                  <a:moveTo>
                    <a:pt x="135" y="271"/>
                  </a:moveTo>
                  <a:lnTo>
                    <a:pt x="149" y="269"/>
                  </a:lnTo>
                  <a:lnTo>
                    <a:pt x="163" y="267"/>
                  </a:lnTo>
                  <a:lnTo>
                    <a:pt x="176" y="264"/>
                  </a:lnTo>
                  <a:lnTo>
                    <a:pt x="187" y="260"/>
                  </a:lnTo>
                  <a:lnTo>
                    <a:pt x="200" y="254"/>
                  </a:lnTo>
                  <a:lnTo>
                    <a:pt x="211" y="247"/>
                  </a:lnTo>
                  <a:lnTo>
                    <a:pt x="222" y="239"/>
                  </a:lnTo>
                  <a:lnTo>
                    <a:pt x="231" y="231"/>
                  </a:lnTo>
                  <a:lnTo>
                    <a:pt x="240" y="221"/>
                  </a:lnTo>
                  <a:lnTo>
                    <a:pt x="247" y="211"/>
                  </a:lnTo>
                  <a:lnTo>
                    <a:pt x="254" y="200"/>
                  </a:lnTo>
                  <a:lnTo>
                    <a:pt x="260" y="188"/>
                  </a:lnTo>
                  <a:lnTo>
                    <a:pt x="265" y="175"/>
                  </a:lnTo>
                  <a:lnTo>
                    <a:pt x="268" y="162"/>
                  </a:lnTo>
                  <a:lnTo>
                    <a:pt x="270" y="148"/>
                  </a:lnTo>
                  <a:lnTo>
                    <a:pt x="271" y="136"/>
                  </a:lnTo>
                  <a:lnTo>
                    <a:pt x="270" y="122"/>
                  </a:lnTo>
                  <a:lnTo>
                    <a:pt x="268" y="108"/>
                  </a:lnTo>
                  <a:lnTo>
                    <a:pt x="265" y="95"/>
                  </a:lnTo>
                  <a:lnTo>
                    <a:pt x="260" y="82"/>
                  </a:lnTo>
                  <a:lnTo>
                    <a:pt x="254" y="70"/>
                  </a:lnTo>
                  <a:lnTo>
                    <a:pt x="247" y="60"/>
                  </a:lnTo>
                  <a:lnTo>
                    <a:pt x="240" y="49"/>
                  </a:lnTo>
                  <a:lnTo>
                    <a:pt x="231" y="39"/>
                  </a:lnTo>
                  <a:lnTo>
                    <a:pt x="222" y="31"/>
                  </a:lnTo>
                  <a:lnTo>
                    <a:pt x="211" y="23"/>
                  </a:lnTo>
                  <a:lnTo>
                    <a:pt x="199" y="17"/>
                  </a:lnTo>
                  <a:lnTo>
                    <a:pt x="187" y="10"/>
                  </a:lnTo>
                  <a:lnTo>
                    <a:pt x="176" y="6"/>
                  </a:lnTo>
                  <a:lnTo>
                    <a:pt x="163" y="3"/>
                  </a:lnTo>
                  <a:lnTo>
                    <a:pt x="149" y="1"/>
                  </a:lnTo>
                  <a:lnTo>
                    <a:pt x="135" y="0"/>
                  </a:lnTo>
                  <a:lnTo>
                    <a:pt x="121" y="1"/>
                  </a:lnTo>
                  <a:lnTo>
                    <a:pt x="108" y="3"/>
                  </a:lnTo>
                  <a:lnTo>
                    <a:pt x="95" y="6"/>
                  </a:lnTo>
                  <a:lnTo>
                    <a:pt x="82" y="10"/>
                  </a:lnTo>
                  <a:lnTo>
                    <a:pt x="71" y="16"/>
                  </a:lnTo>
                  <a:lnTo>
                    <a:pt x="60" y="23"/>
                  </a:lnTo>
                  <a:lnTo>
                    <a:pt x="49" y="31"/>
                  </a:lnTo>
                  <a:lnTo>
                    <a:pt x="40" y="39"/>
                  </a:lnTo>
                  <a:lnTo>
                    <a:pt x="31" y="49"/>
                  </a:lnTo>
                  <a:lnTo>
                    <a:pt x="24" y="60"/>
                  </a:lnTo>
                  <a:lnTo>
                    <a:pt x="16" y="70"/>
                  </a:lnTo>
                  <a:lnTo>
                    <a:pt x="11" y="82"/>
                  </a:lnTo>
                  <a:lnTo>
                    <a:pt x="6" y="95"/>
                  </a:lnTo>
                  <a:lnTo>
                    <a:pt x="3" y="108"/>
                  </a:lnTo>
                  <a:lnTo>
                    <a:pt x="1" y="122"/>
                  </a:lnTo>
                  <a:lnTo>
                    <a:pt x="0" y="136"/>
                  </a:lnTo>
                  <a:lnTo>
                    <a:pt x="1" y="148"/>
                  </a:lnTo>
                  <a:lnTo>
                    <a:pt x="3" y="162"/>
                  </a:lnTo>
                  <a:lnTo>
                    <a:pt x="6" y="175"/>
                  </a:lnTo>
                  <a:lnTo>
                    <a:pt x="11" y="188"/>
                  </a:lnTo>
                  <a:lnTo>
                    <a:pt x="16" y="200"/>
                  </a:lnTo>
                  <a:lnTo>
                    <a:pt x="24" y="211"/>
                  </a:lnTo>
                  <a:lnTo>
                    <a:pt x="31" y="221"/>
                  </a:lnTo>
                  <a:lnTo>
                    <a:pt x="40" y="231"/>
                  </a:lnTo>
                  <a:lnTo>
                    <a:pt x="49" y="239"/>
                  </a:lnTo>
                  <a:lnTo>
                    <a:pt x="60" y="247"/>
                  </a:lnTo>
                  <a:lnTo>
                    <a:pt x="71" y="254"/>
                  </a:lnTo>
                  <a:lnTo>
                    <a:pt x="82" y="260"/>
                  </a:lnTo>
                  <a:lnTo>
                    <a:pt x="95" y="264"/>
                  </a:lnTo>
                  <a:lnTo>
                    <a:pt x="108" y="267"/>
                  </a:lnTo>
                  <a:lnTo>
                    <a:pt x="121" y="269"/>
                  </a:lnTo>
                  <a:lnTo>
                    <a:pt x="135" y="271"/>
                  </a:lnTo>
                  <a:lnTo>
                    <a:pt x="135" y="2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5877730" y="4010857"/>
            <a:ext cx="286131" cy="287721"/>
            <a:chOff x="10455275" y="2498725"/>
            <a:chExt cx="285750" cy="287338"/>
          </a:xfrm>
          <a:solidFill>
            <a:schemeClr val="bg1"/>
          </a:solidFill>
        </p:grpSpPr>
        <p:sp>
          <p:nvSpPr>
            <p:cNvPr id="29" name="Freeform 214"/>
            <p:cNvSpPr>
              <a:spLocks noEditPoints="1"/>
            </p:cNvSpPr>
            <p:nvPr/>
          </p:nvSpPr>
          <p:spPr bwMode="auto">
            <a:xfrm>
              <a:off x="10455275" y="2593975"/>
              <a:ext cx="285750" cy="192088"/>
            </a:xfrm>
            <a:custGeom>
              <a:avLst/>
              <a:gdLst>
                <a:gd name="T0" fmla="*/ 812 w 903"/>
                <a:gd name="T1" fmla="*/ 30 h 601"/>
                <a:gd name="T2" fmla="*/ 512 w 903"/>
                <a:gd name="T3" fmla="*/ 571 h 601"/>
                <a:gd name="T4" fmla="*/ 602 w 903"/>
                <a:gd name="T5" fmla="*/ 571 h 601"/>
                <a:gd name="T6" fmla="*/ 301 w 903"/>
                <a:gd name="T7" fmla="*/ 210 h 601"/>
                <a:gd name="T8" fmla="*/ 301 w 903"/>
                <a:gd name="T9" fmla="*/ 571 h 601"/>
                <a:gd name="T10" fmla="*/ 181 w 903"/>
                <a:gd name="T11" fmla="*/ 421 h 601"/>
                <a:gd name="T12" fmla="*/ 888 w 903"/>
                <a:gd name="T13" fmla="*/ 571 h 601"/>
                <a:gd name="T14" fmla="*/ 842 w 903"/>
                <a:gd name="T15" fmla="*/ 12 h 601"/>
                <a:gd name="T16" fmla="*/ 838 w 903"/>
                <a:gd name="T17" fmla="*/ 5 h 601"/>
                <a:gd name="T18" fmla="*/ 830 w 903"/>
                <a:gd name="T19" fmla="*/ 0 h 601"/>
                <a:gd name="T20" fmla="*/ 704 w 903"/>
                <a:gd name="T21" fmla="*/ 0 h 601"/>
                <a:gd name="T22" fmla="*/ 696 w 903"/>
                <a:gd name="T23" fmla="*/ 5 h 601"/>
                <a:gd name="T24" fmla="*/ 692 w 903"/>
                <a:gd name="T25" fmla="*/ 12 h 601"/>
                <a:gd name="T26" fmla="*/ 632 w 903"/>
                <a:gd name="T27" fmla="*/ 571 h 601"/>
                <a:gd name="T28" fmla="*/ 631 w 903"/>
                <a:gd name="T29" fmla="*/ 280 h 601"/>
                <a:gd name="T30" fmla="*/ 626 w 903"/>
                <a:gd name="T31" fmla="*/ 274 h 601"/>
                <a:gd name="T32" fmla="*/ 617 w 903"/>
                <a:gd name="T33" fmla="*/ 270 h 601"/>
                <a:gd name="T34" fmla="*/ 491 w 903"/>
                <a:gd name="T35" fmla="*/ 271 h 601"/>
                <a:gd name="T36" fmla="*/ 484 w 903"/>
                <a:gd name="T37" fmla="*/ 278 h 601"/>
                <a:gd name="T38" fmla="*/ 482 w 903"/>
                <a:gd name="T39" fmla="*/ 285 h 601"/>
                <a:gd name="T40" fmla="*/ 421 w 903"/>
                <a:gd name="T41" fmla="*/ 195 h 601"/>
                <a:gd name="T42" fmla="*/ 419 w 903"/>
                <a:gd name="T43" fmla="*/ 187 h 601"/>
                <a:gd name="T44" fmla="*/ 412 w 903"/>
                <a:gd name="T45" fmla="*/ 181 h 601"/>
                <a:gd name="T46" fmla="*/ 286 w 903"/>
                <a:gd name="T47" fmla="*/ 180 h 601"/>
                <a:gd name="T48" fmla="*/ 277 w 903"/>
                <a:gd name="T49" fmla="*/ 184 h 601"/>
                <a:gd name="T50" fmla="*/ 272 w 903"/>
                <a:gd name="T51" fmla="*/ 190 h 601"/>
                <a:gd name="T52" fmla="*/ 271 w 903"/>
                <a:gd name="T53" fmla="*/ 571 h 601"/>
                <a:gd name="T54" fmla="*/ 211 w 903"/>
                <a:gd name="T55" fmla="*/ 403 h 601"/>
                <a:gd name="T56" fmla="*/ 207 w 903"/>
                <a:gd name="T57" fmla="*/ 396 h 601"/>
                <a:gd name="T58" fmla="*/ 199 w 903"/>
                <a:gd name="T59" fmla="*/ 391 h 601"/>
                <a:gd name="T60" fmla="*/ 73 w 903"/>
                <a:gd name="T61" fmla="*/ 391 h 601"/>
                <a:gd name="T62" fmla="*/ 65 w 903"/>
                <a:gd name="T63" fmla="*/ 396 h 601"/>
                <a:gd name="T64" fmla="*/ 61 w 903"/>
                <a:gd name="T65" fmla="*/ 403 h 601"/>
                <a:gd name="T66" fmla="*/ 16 w 903"/>
                <a:gd name="T67" fmla="*/ 571 h 601"/>
                <a:gd name="T68" fmla="*/ 7 w 903"/>
                <a:gd name="T69" fmla="*/ 573 h 601"/>
                <a:gd name="T70" fmla="*/ 2 w 903"/>
                <a:gd name="T71" fmla="*/ 581 h 601"/>
                <a:gd name="T72" fmla="*/ 1 w 903"/>
                <a:gd name="T73" fmla="*/ 590 h 601"/>
                <a:gd name="T74" fmla="*/ 5 w 903"/>
                <a:gd name="T75" fmla="*/ 597 h 601"/>
                <a:gd name="T76" fmla="*/ 13 w 903"/>
                <a:gd name="T77" fmla="*/ 601 h 601"/>
                <a:gd name="T78" fmla="*/ 196 w 903"/>
                <a:gd name="T79" fmla="*/ 601 h 601"/>
                <a:gd name="T80" fmla="*/ 497 w 903"/>
                <a:gd name="T81" fmla="*/ 601 h 601"/>
                <a:gd name="T82" fmla="*/ 827 w 903"/>
                <a:gd name="T83" fmla="*/ 601 h 601"/>
                <a:gd name="T84" fmla="*/ 893 w 903"/>
                <a:gd name="T85" fmla="*/ 600 h 601"/>
                <a:gd name="T86" fmla="*/ 900 w 903"/>
                <a:gd name="T87" fmla="*/ 595 h 601"/>
                <a:gd name="T88" fmla="*/ 903 w 903"/>
                <a:gd name="T89" fmla="*/ 586 h 601"/>
                <a:gd name="T90" fmla="*/ 900 w 903"/>
                <a:gd name="T91" fmla="*/ 578 h 601"/>
                <a:gd name="T92" fmla="*/ 893 w 903"/>
                <a:gd name="T93" fmla="*/ 572 h 6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903" h="601">
                  <a:moveTo>
                    <a:pt x="722" y="571"/>
                  </a:moveTo>
                  <a:lnTo>
                    <a:pt x="722" y="30"/>
                  </a:lnTo>
                  <a:lnTo>
                    <a:pt x="812" y="30"/>
                  </a:lnTo>
                  <a:lnTo>
                    <a:pt x="812" y="571"/>
                  </a:lnTo>
                  <a:lnTo>
                    <a:pt x="722" y="571"/>
                  </a:lnTo>
                  <a:close/>
                  <a:moveTo>
                    <a:pt x="512" y="571"/>
                  </a:moveTo>
                  <a:lnTo>
                    <a:pt x="512" y="300"/>
                  </a:lnTo>
                  <a:lnTo>
                    <a:pt x="602" y="300"/>
                  </a:lnTo>
                  <a:lnTo>
                    <a:pt x="602" y="571"/>
                  </a:lnTo>
                  <a:lnTo>
                    <a:pt x="512" y="571"/>
                  </a:lnTo>
                  <a:close/>
                  <a:moveTo>
                    <a:pt x="301" y="571"/>
                  </a:moveTo>
                  <a:lnTo>
                    <a:pt x="301" y="210"/>
                  </a:lnTo>
                  <a:lnTo>
                    <a:pt x="391" y="210"/>
                  </a:lnTo>
                  <a:lnTo>
                    <a:pt x="391" y="571"/>
                  </a:lnTo>
                  <a:lnTo>
                    <a:pt x="301" y="571"/>
                  </a:lnTo>
                  <a:close/>
                  <a:moveTo>
                    <a:pt x="91" y="571"/>
                  </a:moveTo>
                  <a:lnTo>
                    <a:pt x="91" y="421"/>
                  </a:lnTo>
                  <a:lnTo>
                    <a:pt x="181" y="421"/>
                  </a:lnTo>
                  <a:lnTo>
                    <a:pt x="181" y="571"/>
                  </a:lnTo>
                  <a:lnTo>
                    <a:pt x="91" y="571"/>
                  </a:lnTo>
                  <a:close/>
                  <a:moveTo>
                    <a:pt x="888" y="571"/>
                  </a:moveTo>
                  <a:lnTo>
                    <a:pt x="842" y="571"/>
                  </a:lnTo>
                  <a:lnTo>
                    <a:pt x="842" y="15"/>
                  </a:lnTo>
                  <a:lnTo>
                    <a:pt x="842" y="12"/>
                  </a:lnTo>
                  <a:lnTo>
                    <a:pt x="841" y="9"/>
                  </a:lnTo>
                  <a:lnTo>
                    <a:pt x="840" y="7"/>
                  </a:lnTo>
                  <a:lnTo>
                    <a:pt x="838" y="5"/>
                  </a:lnTo>
                  <a:lnTo>
                    <a:pt x="836" y="3"/>
                  </a:lnTo>
                  <a:lnTo>
                    <a:pt x="833" y="1"/>
                  </a:lnTo>
                  <a:lnTo>
                    <a:pt x="830" y="0"/>
                  </a:lnTo>
                  <a:lnTo>
                    <a:pt x="827" y="0"/>
                  </a:lnTo>
                  <a:lnTo>
                    <a:pt x="707" y="0"/>
                  </a:lnTo>
                  <a:lnTo>
                    <a:pt x="704" y="0"/>
                  </a:lnTo>
                  <a:lnTo>
                    <a:pt x="702" y="1"/>
                  </a:lnTo>
                  <a:lnTo>
                    <a:pt x="698" y="3"/>
                  </a:lnTo>
                  <a:lnTo>
                    <a:pt x="696" y="5"/>
                  </a:lnTo>
                  <a:lnTo>
                    <a:pt x="694" y="7"/>
                  </a:lnTo>
                  <a:lnTo>
                    <a:pt x="693" y="9"/>
                  </a:lnTo>
                  <a:lnTo>
                    <a:pt x="692" y="12"/>
                  </a:lnTo>
                  <a:lnTo>
                    <a:pt x="692" y="15"/>
                  </a:lnTo>
                  <a:lnTo>
                    <a:pt x="692" y="571"/>
                  </a:lnTo>
                  <a:lnTo>
                    <a:pt x="632" y="571"/>
                  </a:lnTo>
                  <a:lnTo>
                    <a:pt x="632" y="285"/>
                  </a:lnTo>
                  <a:lnTo>
                    <a:pt x="632" y="283"/>
                  </a:lnTo>
                  <a:lnTo>
                    <a:pt x="631" y="280"/>
                  </a:lnTo>
                  <a:lnTo>
                    <a:pt x="630" y="278"/>
                  </a:lnTo>
                  <a:lnTo>
                    <a:pt x="628" y="275"/>
                  </a:lnTo>
                  <a:lnTo>
                    <a:pt x="626" y="274"/>
                  </a:lnTo>
                  <a:lnTo>
                    <a:pt x="622" y="271"/>
                  </a:lnTo>
                  <a:lnTo>
                    <a:pt x="620" y="271"/>
                  </a:lnTo>
                  <a:lnTo>
                    <a:pt x="617" y="270"/>
                  </a:lnTo>
                  <a:lnTo>
                    <a:pt x="497" y="270"/>
                  </a:lnTo>
                  <a:lnTo>
                    <a:pt x="494" y="271"/>
                  </a:lnTo>
                  <a:lnTo>
                    <a:pt x="491" y="271"/>
                  </a:lnTo>
                  <a:lnTo>
                    <a:pt x="488" y="274"/>
                  </a:lnTo>
                  <a:lnTo>
                    <a:pt x="486" y="275"/>
                  </a:lnTo>
                  <a:lnTo>
                    <a:pt x="484" y="278"/>
                  </a:lnTo>
                  <a:lnTo>
                    <a:pt x="483" y="280"/>
                  </a:lnTo>
                  <a:lnTo>
                    <a:pt x="482" y="283"/>
                  </a:lnTo>
                  <a:lnTo>
                    <a:pt x="482" y="285"/>
                  </a:lnTo>
                  <a:lnTo>
                    <a:pt x="482" y="571"/>
                  </a:lnTo>
                  <a:lnTo>
                    <a:pt x="421" y="571"/>
                  </a:lnTo>
                  <a:lnTo>
                    <a:pt x="421" y="195"/>
                  </a:lnTo>
                  <a:lnTo>
                    <a:pt x="421" y="192"/>
                  </a:lnTo>
                  <a:lnTo>
                    <a:pt x="420" y="190"/>
                  </a:lnTo>
                  <a:lnTo>
                    <a:pt x="419" y="187"/>
                  </a:lnTo>
                  <a:lnTo>
                    <a:pt x="417" y="185"/>
                  </a:lnTo>
                  <a:lnTo>
                    <a:pt x="415" y="184"/>
                  </a:lnTo>
                  <a:lnTo>
                    <a:pt x="412" y="181"/>
                  </a:lnTo>
                  <a:lnTo>
                    <a:pt x="409" y="180"/>
                  </a:lnTo>
                  <a:lnTo>
                    <a:pt x="406" y="180"/>
                  </a:lnTo>
                  <a:lnTo>
                    <a:pt x="286" y="180"/>
                  </a:lnTo>
                  <a:lnTo>
                    <a:pt x="283" y="180"/>
                  </a:lnTo>
                  <a:lnTo>
                    <a:pt x="281" y="181"/>
                  </a:lnTo>
                  <a:lnTo>
                    <a:pt x="277" y="184"/>
                  </a:lnTo>
                  <a:lnTo>
                    <a:pt x="275" y="185"/>
                  </a:lnTo>
                  <a:lnTo>
                    <a:pt x="274" y="187"/>
                  </a:lnTo>
                  <a:lnTo>
                    <a:pt x="272" y="190"/>
                  </a:lnTo>
                  <a:lnTo>
                    <a:pt x="271" y="192"/>
                  </a:lnTo>
                  <a:lnTo>
                    <a:pt x="271" y="195"/>
                  </a:lnTo>
                  <a:lnTo>
                    <a:pt x="271" y="571"/>
                  </a:lnTo>
                  <a:lnTo>
                    <a:pt x="211" y="571"/>
                  </a:lnTo>
                  <a:lnTo>
                    <a:pt x="211" y="406"/>
                  </a:lnTo>
                  <a:lnTo>
                    <a:pt x="211" y="403"/>
                  </a:lnTo>
                  <a:lnTo>
                    <a:pt x="210" y="400"/>
                  </a:lnTo>
                  <a:lnTo>
                    <a:pt x="209" y="398"/>
                  </a:lnTo>
                  <a:lnTo>
                    <a:pt x="207" y="396"/>
                  </a:lnTo>
                  <a:lnTo>
                    <a:pt x="205" y="394"/>
                  </a:lnTo>
                  <a:lnTo>
                    <a:pt x="201" y="392"/>
                  </a:lnTo>
                  <a:lnTo>
                    <a:pt x="199" y="391"/>
                  </a:lnTo>
                  <a:lnTo>
                    <a:pt x="196" y="391"/>
                  </a:lnTo>
                  <a:lnTo>
                    <a:pt x="76" y="391"/>
                  </a:lnTo>
                  <a:lnTo>
                    <a:pt x="73" y="391"/>
                  </a:lnTo>
                  <a:lnTo>
                    <a:pt x="70" y="392"/>
                  </a:lnTo>
                  <a:lnTo>
                    <a:pt x="67" y="394"/>
                  </a:lnTo>
                  <a:lnTo>
                    <a:pt x="65" y="396"/>
                  </a:lnTo>
                  <a:lnTo>
                    <a:pt x="63" y="398"/>
                  </a:lnTo>
                  <a:lnTo>
                    <a:pt x="62" y="400"/>
                  </a:lnTo>
                  <a:lnTo>
                    <a:pt x="61" y="403"/>
                  </a:lnTo>
                  <a:lnTo>
                    <a:pt x="61" y="406"/>
                  </a:lnTo>
                  <a:lnTo>
                    <a:pt x="61" y="571"/>
                  </a:lnTo>
                  <a:lnTo>
                    <a:pt x="16" y="571"/>
                  </a:lnTo>
                  <a:lnTo>
                    <a:pt x="13" y="571"/>
                  </a:lnTo>
                  <a:lnTo>
                    <a:pt x="10" y="572"/>
                  </a:lnTo>
                  <a:lnTo>
                    <a:pt x="7" y="573"/>
                  </a:lnTo>
                  <a:lnTo>
                    <a:pt x="5" y="576"/>
                  </a:lnTo>
                  <a:lnTo>
                    <a:pt x="3" y="578"/>
                  </a:lnTo>
                  <a:lnTo>
                    <a:pt x="2" y="581"/>
                  </a:lnTo>
                  <a:lnTo>
                    <a:pt x="1" y="583"/>
                  </a:lnTo>
                  <a:lnTo>
                    <a:pt x="0" y="586"/>
                  </a:lnTo>
                  <a:lnTo>
                    <a:pt x="1" y="590"/>
                  </a:lnTo>
                  <a:lnTo>
                    <a:pt x="2" y="593"/>
                  </a:lnTo>
                  <a:lnTo>
                    <a:pt x="3" y="595"/>
                  </a:lnTo>
                  <a:lnTo>
                    <a:pt x="5" y="597"/>
                  </a:lnTo>
                  <a:lnTo>
                    <a:pt x="7" y="599"/>
                  </a:lnTo>
                  <a:lnTo>
                    <a:pt x="10" y="600"/>
                  </a:lnTo>
                  <a:lnTo>
                    <a:pt x="13" y="601"/>
                  </a:lnTo>
                  <a:lnTo>
                    <a:pt x="16" y="601"/>
                  </a:lnTo>
                  <a:lnTo>
                    <a:pt x="76" y="601"/>
                  </a:lnTo>
                  <a:lnTo>
                    <a:pt x="196" y="601"/>
                  </a:lnTo>
                  <a:lnTo>
                    <a:pt x="286" y="601"/>
                  </a:lnTo>
                  <a:lnTo>
                    <a:pt x="406" y="601"/>
                  </a:lnTo>
                  <a:lnTo>
                    <a:pt x="497" y="601"/>
                  </a:lnTo>
                  <a:lnTo>
                    <a:pt x="617" y="601"/>
                  </a:lnTo>
                  <a:lnTo>
                    <a:pt x="707" y="601"/>
                  </a:lnTo>
                  <a:lnTo>
                    <a:pt x="827" y="601"/>
                  </a:lnTo>
                  <a:lnTo>
                    <a:pt x="888" y="601"/>
                  </a:lnTo>
                  <a:lnTo>
                    <a:pt x="890" y="601"/>
                  </a:lnTo>
                  <a:lnTo>
                    <a:pt x="893" y="600"/>
                  </a:lnTo>
                  <a:lnTo>
                    <a:pt x="896" y="599"/>
                  </a:lnTo>
                  <a:lnTo>
                    <a:pt x="898" y="597"/>
                  </a:lnTo>
                  <a:lnTo>
                    <a:pt x="900" y="595"/>
                  </a:lnTo>
                  <a:lnTo>
                    <a:pt x="901" y="593"/>
                  </a:lnTo>
                  <a:lnTo>
                    <a:pt x="902" y="590"/>
                  </a:lnTo>
                  <a:lnTo>
                    <a:pt x="903" y="586"/>
                  </a:lnTo>
                  <a:lnTo>
                    <a:pt x="902" y="583"/>
                  </a:lnTo>
                  <a:lnTo>
                    <a:pt x="901" y="581"/>
                  </a:lnTo>
                  <a:lnTo>
                    <a:pt x="900" y="578"/>
                  </a:lnTo>
                  <a:lnTo>
                    <a:pt x="898" y="576"/>
                  </a:lnTo>
                  <a:lnTo>
                    <a:pt x="896" y="573"/>
                  </a:lnTo>
                  <a:lnTo>
                    <a:pt x="893" y="572"/>
                  </a:lnTo>
                  <a:lnTo>
                    <a:pt x="890" y="571"/>
                  </a:lnTo>
                  <a:lnTo>
                    <a:pt x="888" y="5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30" name="Freeform 215"/>
            <p:cNvSpPr>
              <a:spLocks noEditPoints="1"/>
            </p:cNvSpPr>
            <p:nvPr/>
          </p:nvSpPr>
          <p:spPr bwMode="auto">
            <a:xfrm>
              <a:off x="10474325" y="2498725"/>
              <a:ext cx="252413" cy="157163"/>
            </a:xfrm>
            <a:custGeom>
              <a:avLst/>
              <a:gdLst>
                <a:gd name="T0" fmla="*/ 83 w 796"/>
                <a:gd name="T1" fmla="*/ 417 h 496"/>
                <a:gd name="T2" fmla="*/ 89 w 796"/>
                <a:gd name="T3" fmla="*/ 431 h 496"/>
                <a:gd name="T4" fmla="*/ 76 w 796"/>
                <a:gd name="T5" fmla="*/ 461 h 496"/>
                <a:gd name="T6" fmla="*/ 43 w 796"/>
                <a:gd name="T7" fmla="*/ 461 h 496"/>
                <a:gd name="T8" fmla="*/ 30 w 796"/>
                <a:gd name="T9" fmla="*/ 430 h 496"/>
                <a:gd name="T10" fmla="*/ 54 w 796"/>
                <a:gd name="T11" fmla="*/ 407 h 496"/>
                <a:gd name="T12" fmla="*/ 302 w 796"/>
                <a:gd name="T13" fmla="*/ 216 h 496"/>
                <a:gd name="T14" fmla="*/ 315 w 796"/>
                <a:gd name="T15" fmla="*/ 247 h 496"/>
                <a:gd name="T16" fmla="*/ 291 w 796"/>
                <a:gd name="T17" fmla="*/ 270 h 496"/>
                <a:gd name="T18" fmla="*/ 260 w 796"/>
                <a:gd name="T19" fmla="*/ 257 h 496"/>
                <a:gd name="T20" fmla="*/ 260 w 796"/>
                <a:gd name="T21" fmla="*/ 224 h 496"/>
                <a:gd name="T22" fmla="*/ 511 w 796"/>
                <a:gd name="T23" fmla="*/ 301 h 496"/>
                <a:gd name="T24" fmla="*/ 530 w 796"/>
                <a:gd name="T25" fmla="*/ 308 h 496"/>
                <a:gd name="T26" fmla="*/ 541 w 796"/>
                <a:gd name="T27" fmla="*/ 331 h 496"/>
                <a:gd name="T28" fmla="*/ 523 w 796"/>
                <a:gd name="T29" fmla="*/ 359 h 496"/>
                <a:gd name="T30" fmla="*/ 490 w 796"/>
                <a:gd name="T31" fmla="*/ 353 h 496"/>
                <a:gd name="T32" fmla="*/ 483 w 796"/>
                <a:gd name="T33" fmla="*/ 320 h 496"/>
                <a:gd name="T34" fmla="*/ 511 w 796"/>
                <a:gd name="T35" fmla="*/ 301 h 496"/>
                <a:gd name="T36" fmla="*/ 757 w 796"/>
                <a:gd name="T37" fmla="*/ 39 h 496"/>
                <a:gd name="T38" fmla="*/ 764 w 796"/>
                <a:gd name="T39" fmla="*/ 72 h 496"/>
                <a:gd name="T40" fmla="*/ 736 w 796"/>
                <a:gd name="T41" fmla="*/ 90 h 496"/>
                <a:gd name="T42" fmla="*/ 708 w 796"/>
                <a:gd name="T43" fmla="*/ 72 h 496"/>
                <a:gd name="T44" fmla="*/ 716 w 796"/>
                <a:gd name="T45" fmla="*/ 39 h 496"/>
                <a:gd name="T46" fmla="*/ 60 w 796"/>
                <a:gd name="T47" fmla="*/ 496 h 496"/>
                <a:gd name="T48" fmla="*/ 93 w 796"/>
                <a:gd name="T49" fmla="*/ 487 h 496"/>
                <a:gd name="T50" fmla="*/ 115 w 796"/>
                <a:gd name="T51" fmla="*/ 460 h 496"/>
                <a:gd name="T52" fmla="*/ 118 w 796"/>
                <a:gd name="T53" fmla="*/ 422 h 496"/>
                <a:gd name="T54" fmla="*/ 276 w 796"/>
                <a:gd name="T55" fmla="*/ 300 h 496"/>
                <a:gd name="T56" fmla="*/ 318 w 796"/>
                <a:gd name="T57" fmla="*/ 291 h 496"/>
                <a:gd name="T58" fmla="*/ 451 w 796"/>
                <a:gd name="T59" fmla="*/ 331 h 496"/>
                <a:gd name="T60" fmla="*/ 461 w 796"/>
                <a:gd name="T61" fmla="*/ 365 h 496"/>
                <a:gd name="T62" fmla="*/ 487 w 796"/>
                <a:gd name="T63" fmla="*/ 387 h 496"/>
                <a:gd name="T64" fmla="*/ 523 w 796"/>
                <a:gd name="T65" fmla="*/ 390 h 496"/>
                <a:gd name="T66" fmla="*/ 554 w 796"/>
                <a:gd name="T67" fmla="*/ 373 h 496"/>
                <a:gd name="T68" fmla="*/ 570 w 796"/>
                <a:gd name="T69" fmla="*/ 343 h 496"/>
                <a:gd name="T70" fmla="*/ 559 w 796"/>
                <a:gd name="T71" fmla="*/ 296 h 496"/>
                <a:gd name="T72" fmla="*/ 742 w 796"/>
                <a:gd name="T73" fmla="*/ 120 h 496"/>
                <a:gd name="T74" fmla="*/ 775 w 796"/>
                <a:gd name="T75" fmla="*/ 106 h 496"/>
                <a:gd name="T76" fmla="*/ 794 w 796"/>
                <a:gd name="T77" fmla="*/ 79 h 496"/>
                <a:gd name="T78" fmla="*/ 794 w 796"/>
                <a:gd name="T79" fmla="*/ 43 h 496"/>
                <a:gd name="T80" fmla="*/ 775 w 796"/>
                <a:gd name="T81" fmla="*/ 14 h 496"/>
                <a:gd name="T82" fmla="*/ 742 w 796"/>
                <a:gd name="T83" fmla="*/ 0 h 496"/>
                <a:gd name="T84" fmla="*/ 708 w 796"/>
                <a:gd name="T85" fmla="*/ 8 h 496"/>
                <a:gd name="T86" fmla="*/ 683 w 796"/>
                <a:gd name="T87" fmla="*/ 31 h 496"/>
                <a:gd name="T88" fmla="*/ 677 w 796"/>
                <a:gd name="T89" fmla="*/ 70 h 496"/>
                <a:gd name="T90" fmla="*/ 524 w 796"/>
                <a:gd name="T91" fmla="*/ 272 h 496"/>
                <a:gd name="T92" fmla="*/ 483 w 796"/>
                <a:gd name="T93" fmla="*/ 278 h 496"/>
                <a:gd name="T94" fmla="*/ 345 w 796"/>
                <a:gd name="T95" fmla="*/ 245 h 496"/>
                <a:gd name="T96" fmla="*/ 339 w 796"/>
                <a:gd name="T97" fmla="*/ 212 h 496"/>
                <a:gd name="T98" fmla="*/ 314 w 796"/>
                <a:gd name="T99" fmla="*/ 188 h 496"/>
                <a:gd name="T100" fmla="*/ 280 w 796"/>
                <a:gd name="T101" fmla="*/ 181 h 496"/>
                <a:gd name="T102" fmla="*/ 247 w 796"/>
                <a:gd name="T103" fmla="*/ 194 h 496"/>
                <a:gd name="T104" fmla="*/ 228 w 796"/>
                <a:gd name="T105" fmla="*/ 223 h 496"/>
                <a:gd name="T106" fmla="*/ 229 w 796"/>
                <a:gd name="T107" fmla="*/ 262 h 496"/>
                <a:gd name="T108" fmla="*/ 60 w 796"/>
                <a:gd name="T109" fmla="*/ 376 h 496"/>
                <a:gd name="T110" fmla="*/ 26 w 796"/>
                <a:gd name="T111" fmla="*/ 387 h 496"/>
                <a:gd name="T112" fmla="*/ 4 w 796"/>
                <a:gd name="T113" fmla="*/ 413 h 496"/>
                <a:gd name="T114" fmla="*/ 1 w 796"/>
                <a:gd name="T115" fmla="*/ 448 h 496"/>
                <a:gd name="T116" fmla="*/ 17 w 796"/>
                <a:gd name="T117" fmla="*/ 479 h 496"/>
                <a:gd name="T118" fmla="*/ 47 w 796"/>
                <a:gd name="T119" fmla="*/ 495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96" h="496">
                  <a:moveTo>
                    <a:pt x="60" y="406"/>
                  </a:moveTo>
                  <a:lnTo>
                    <a:pt x="66" y="407"/>
                  </a:lnTo>
                  <a:lnTo>
                    <a:pt x="73" y="410"/>
                  </a:lnTo>
                  <a:lnTo>
                    <a:pt x="78" y="413"/>
                  </a:lnTo>
                  <a:lnTo>
                    <a:pt x="83" y="417"/>
                  </a:lnTo>
                  <a:lnTo>
                    <a:pt x="83" y="417"/>
                  </a:lnTo>
                  <a:lnTo>
                    <a:pt x="83" y="417"/>
                  </a:lnTo>
                  <a:lnTo>
                    <a:pt x="83" y="417"/>
                  </a:lnTo>
                  <a:lnTo>
                    <a:pt x="83" y="417"/>
                  </a:lnTo>
                  <a:lnTo>
                    <a:pt x="86" y="421"/>
                  </a:lnTo>
                  <a:lnTo>
                    <a:pt x="88" y="426"/>
                  </a:lnTo>
                  <a:lnTo>
                    <a:pt x="89" y="431"/>
                  </a:lnTo>
                  <a:lnTo>
                    <a:pt x="90" y="436"/>
                  </a:lnTo>
                  <a:lnTo>
                    <a:pt x="89" y="443"/>
                  </a:lnTo>
                  <a:lnTo>
                    <a:pt x="88" y="448"/>
                  </a:lnTo>
                  <a:lnTo>
                    <a:pt x="85" y="453"/>
                  </a:lnTo>
                  <a:lnTo>
                    <a:pt x="81" y="458"/>
                  </a:lnTo>
                  <a:lnTo>
                    <a:pt x="76" y="461"/>
                  </a:lnTo>
                  <a:lnTo>
                    <a:pt x="72" y="464"/>
                  </a:lnTo>
                  <a:lnTo>
                    <a:pt x="65" y="466"/>
                  </a:lnTo>
                  <a:lnTo>
                    <a:pt x="60" y="466"/>
                  </a:lnTo>
                  <a:lnTo>
                    <a:pt x="54" y="466"/>
                  </a:lnTo>
                  <a:lnTo>
                    <a:pt x="48" y="464"/>
                  </a:lnTo>
                  <a:lnTo>
                    <a:pt x="43" y="461"/>
                  </a:lnTo>
                  <a:lnTo>
                    <a:pt x="39" y="458"/>
                  </a:lnTo>
                  <a:lnTo>
                    <a:pt x="34" y="453"/>
                  </a:lnTo>
                  <a:lnTo>
                    <a:pt x="32" y="448"/>
                  </a:lnTo>
                  <a:lnTo>
                    <a:pt x="30" y="443"/>
                  </a:lnTo>
                  <a:lnTo>
                    <a:pt x="30" y="436"/>
                  </a:lnTo>
                  <a:lnTo>
                    <a:pt x="30" y="430"/>
                  </a:lnTo>
                  <a:lnTo>
                    <a:pt x="32" y="425"/>
                  </a:lnTo>
                  <a:lnTo>
                    <a:pt x="34" y="419"/>
                  </a:lnTo>
                  <a:lnTo>
                    <a:pt x="39" y="415"/>
                  </a:lnTo>
                  <a:lnTo>
                    <a:pt x="43" y="412"/>
                  </a:lnTo>
                  <a:lnTo>
                    <a:pt x="48" y="409"/>
                  </a:lnTo>
                  <a:lnTo>
                    <a:pt x="54" y="407"/>
                  </a:lnTo>
                  <a:lnTo>
                    <a:pt x="60" y="406"/>
                  </a:lnTo>
                  <a:lnTo>
                    <a:pt x="60" y="406"/>
                  </a:lnTo>
                  <a:close/>
                  <a:moveTo>
                    <a:pt x="285" y="211"/>
                  </a:moveTo>
                  <a:lnTo>
                    <a:pt x="291" y="211"/>
                  </a:lnTo>
                  <a:lnTo>
                    <a:pt x="297" y="214"/>
                  </a:lnTo>
                  <a:lnTo>
                    <a:pt x="302" y="216"/>
                  </a:lnTo>
                  <a:lnTo>
                    <a:pt x="306" y="220"/>
                  </a:lnTo>
                  <a:lnTo>
                    <a:pt x="311" y="224"/>
                  </a:lnTo>
                  <a:lnTo>
                    <a:pt x="313" y="230"/>
                  </a:lnTo>
                  <a:lnTo>
                    <a:pt x="315" y="235"/>
                  </a:lnTo>
                  <a:lnTo>
                    <a:pt x="315" y="241"/>
                  </a:lnTo>
                  <a:lnTo>
                    <a:pt x="315" y="247"/>
                  </a:lnTo>
                  <a:lnTo>
                    <a:pt x="313" y="253"/>
                  </a:lnTo>
                  <a:lnTo>
                    <a:pt x="311" y="257"/>
                  </a:lnTo>
                  <a:lnTo>
                    <a:pt x="306" y="262"/>
                  </a:lnTo>
                  <a:lnTo>
                    <a:pt x="302" y="266"/>
                  </a:lnTo>
                  <a:lnTo>
                    <a:pt x="297" y="268"/>
                  </a:lnTo>
                  <a:lnTo>
                    <a:pt x="291" y="270"/>
                  </a:lnTo>
                  <a:lnTo>
                    <a:pt x="285" y="271"/>
                  </a:lnTo>
                  <a:lnTo>
                    <a:pt x="280" y="270"/>
                  </a:lnTo>
                  <a:lnTo>
                    <a:pt x="273" y="268"/>
                  </a:lnTo>
                  <a:lnTo>
                    <a:pt x="269" y="266"/>
                  </a:lnTo>
                  <a:lnTo>
                    <a:pt x="264" y="262"/>
                  </a:lnTo>
                  <a:lnTo>
                    <a:pt x="260" y="257"/>
                  </a:lnTo>
                  <a:lnTo>
                    <a:pt x="257" y="253"/>
                  </a:lnTo>
                  <a:lnTo>
                    <a:pt x="256" y="247"/>
                  </a:lnTo>
                  <a:lnTo>
                    <a:pt x="255" y="241"/>
                  </a:lnTo>
                  <a:lnTo>
                    <a:pt x="256" y="235"/>
                  </a:lnTo>
                  <a:lnTo>
                    <a:pt x="257" y="230"/>
                  </a:lnTo>
                  <a:lnTo>
                    <a:pt x="260" y="224"/>
                  </a:lnTo>
                  <a:lnTo>
                    <a:pt x="264" y="220"/>
                  </a:lnTo>
                  <a:lnTo>
                    <a:pt x="269" y="216"/>
                  </a:lnTo>
                  <a:lnTo>
                    <a:pt x="273" y="214"/>
                  </a:lnTo>
                  <a:lnTo>
                    <a:pt x="280" y="211"/>
                  </a:lnTo>
                  <a:lnTo>
                    <a:pt x="285" y="211"/>
                  </a:lnTo>
                  <a:close/>
                  <a:moveTo>
                    <a:pt x="511" y="301"/>
                  </a:moveTo>
                  <a:lnTo>
                    <a:pt x="516" y="301"/>
                  </a:lnTo>
                  <a:lnTo>
                    <a:pt x="521" y="302"/>
                  </a:lnTo>
                  <a:lnTo>
                    <a:pt x="526" y="306"/>
                  </a:lnTo>
                  <a:lnTo>
                    <a:pt x="530" y="308"/>
                  </a:lnTo>
                  <a:lnTo>
                    <a:pt x="530" y="308"/>
                  </a:lnTo>
                  <a:lnTo>
                    <a:pt x="530" y="308"/>
                  </a:lnTo>
                  <a:lnTo>
                    <a:pt x="530" y="308"/>
                  </a:lnTo>
                  <a:lnTo>
                    <a:pt x="530" y="308"/>
                  </a:lnTo>
                  <a:lnTo>
                    <a:pt x="535" y="313"/>
                  </a:lnTo>
                  <a:lnTo>
                    <a:pt x="538" y="319"/>
                  </a:lnTo>
                  <a:lnTo>
                    <a:pt x="540" y="325"/>
                  </a:lnTo>
                  <a:lnTo>
                    <a:pt x="541" y="331"/>
                  </a:lnTo>
                  <a:lnTo>
                    <a:pt x="540" y="337"/>
                  </a:lnTo>
                  <a:lnTo>
                    <a:pt x="539" y="343"/>
                  </a:lnTo>
                  <a:lnTo>
                    <a:pt x="536" y="347"/>
                  </a:lnTo>
                  <a:lnTo>
                    <a:pt x="532" y="353"/>
                  </a:lnTo>
                  <a:lnTo>
                    <a:pt x="527" y="356"/>
                  </a:lnTo>
                  <a:lnTo>
                    <a:pt x="523" y="359"/>
                  </a:lnTo>
                  <a:lnTo>
                    <a:pt x="516" y="360"/>
                  </a:lnTo>
                  <a:lnTo>
                    <a:pt x="511" y="361"/>
                  </a:lnTo>
                  <a:lnTo>
                    <a:pt x="505" y="360"/>
                  </a:lnTo>
                  <a:lnTo>
                    <a:pt x="499" y="359"/>
                  </a:lnTo>
                  <a:lnTo>
                    <a:pt x="494" y="356"/>
                  </a:lnTo>
                  <a:lnTo>
                    <a:pt x="490" y="353"/>
                  </a:lnTo>
                  <a:lnTo>
                    <a:pt x="486" y="349"/>
                  </a:lnTo>
                  <a:lnTo>
                    <a:pt x="483" y="343"/>
                  </a:lnTo>
                  <a:lnTo>
                    <a:pt x="481" y="337"/>
                  </a:lnTo>
                  <a:lnTo>
                    <a:pt x="481" y="331"/>
                  </a:lnTo>
                  <a:lnTo>
                    <a:pt x="481" y="325"/>
                  </a:lnTo>
                  <a:lnTo>
                    <a:pt x="483" y="320"/>
                  </a:lnTo>
                  <a:lnTo>
                    <a:pt x="486" y="314"/>
                  </a:lnTo>
                  <a:lnTo>
                    <a:pt x="490" y="310"/>
                  </a:lnTo>
                  <a:lnTo>
                    <a:pt x="494" y="307"/>
                  </a:lnTo>
                  <a:lnTo>
                    <a:pt x="499" y="304"/>
                  </a:lnTo>
                  <a:lnTo>
                    <a:pt x="505" y="301"/>
                  </a:lnTo>
                  <a:lnTo>
                    <a:pt x="511" y="301"/>
                  </a:lnTo>
                  <a:lnTo>
                    <a:pt x="511" y="301"/>
                  </a:lnTo>
                  <a:close/>
                  <a:moveTo>
                    <a:pt x="736" y="30"/>
                  </a:moveTo>
                  <a:lnTo>
                    <a:pt x="742" y="31"/>
                  </a:lnTo>
                  <a:lnTo>
                    <a:pt x="748" y="33"/>
                  </a:lnTo>
                  <a:lnTo>
                    <a:pt x="753" y="36"/>
                  </a:lnTo>
                  <a:lnTo>
                    <a:pt x="757" y="39"/>
                  </a:lnTo>
                  <a:lnTo>
                    <a:pt x="762" y="43"/>
                  </a:lnTo>
                  <a:lnTo>
                    <a:pt x="764" y="49"/>
                  </a:lnTo>
                  <a:lnTo>
                    <a:pt x="766" y="55"/>
                  </a:lnTo>
                  <a:lnTo>
                    <a:pt x="766" y="60"/>
                  </a:lnTo>
                  <a:lnTo>
                    <a:pt x="766" y="67"/>
                  </a:lnTo>
                  <a:lnTo>
                    <a:pt x="764" y="72"/>
                  </a:lnTo>
                  <a:lnTo>
                    <a:pt x="762" y="78"/>
                  </a:lnTo>
                  <a:lnTo>
                    <a:pt x="757" y="82"/>
                  </a:lnTo>
                  <a:lnTo>
                    <a:pt x="753" y="85"/>
                  </a:lnTo>
                  <a:lnTo>
                    <a:pt x="748" y="88"/>
                  </a:lnTo>
                  <a:lnTo>
                    <a:pt x="742" y="90"/>
                  </a:lnTo>
                  <a:lnTo>
                    <a:pt x="736" y="90"/>
                  </a:lnTo>
                  <a:lnTo>
                    <a:pt x="731" y="90"/>
                  </a:lnTo>
                  <a:lnTo>
                    <a:pt x="724" y="88"/>
                  </a:lnTo>
                  <a:lnTo>
                    <a:pt x="720" y="85"/>
                  </a:lnTo>
                  <a:lnTo>
                    <a:pt x="716" y="82"/>
                  </a:lnTo>
                  <a:lnTo>
                    <a:pt x="711" y="78"/>
                  </a:lnTo>
                  <a:lnTo>
                    <a:pt x="708" y="72"/>
                  </a:lnTo>
                  <a:lnTo>
                    <a:pt x="707" y="67"/>
                  </a:lnTo>
                  <a:lnTo>
                    <a:pt x="706" y="60"/>
                  </a:lnTo>
                  <a:lnTo>
                    <a:pt x="707" y="55"/>
                  </a:lnTo>
                  <a:lnTo>
                    <a:pt x="708" y="49"/>
                  </a:lnTo>
                  <a:lnTo>
                    <a:pt x="711" y="43"/>
                  </a:lnTo>
                  <a:lnTo>
                    <a:pt x="716" y="39"/>
                  </a:lnTo>
                  <a:lnTo>
                    <a:pt x="720" y="36"/>
                  </a:lnTo>
                  <a:lnTo>
                    <a:pt x="724" y="33"/>
                  </a:lnTo>
                  <a:lnTo>
                    <a:pt x="731" y="31"/>
                  </a:lnTo>
                  <a:lnTo>
                    <a:pt x="736" y="30"/>
                  </a:lnTo>
                  <a:lnTo>
                    <a:pt x="736" y="30"/>
                  </a:lnTo>
                  <a:close/>
                  <a:moveTo>
                    <a:pt x="60" y="496"/>
                  </a:moveTo>
                  <a:lnTo>
                    <a:pt x="66" y="496"/>
                  </a:lnTo>
                  <a:lnTo>
                    <a:pt x="72" y="495"/>
                  </a:lnTo>
                  <a:lnTo>
                    <a:pt x="77" y="494"/>
                  </a:lnTo>
                  <a:lnTo>
                    <a:pt x="84" y="492"/>
                  </a:lnTo>
                  <a:lnTo>
                    <a:pt x="89" y="489"/>
                  </a:lnTo>
                  <a:lnTo>
                    <a:pt x="93" y="487"/>
                  </a:lnTo>
                  <a:lnTo>
                    <a:pt x="98" y="482"/>
                  </a:lnTo>
                  <a:lnTo>
                    <a:pt x="102" y="479"/>
                  </a:lnTo>
                  <a:lnTo>
                    <a:pt x="106" y="475"/>
                  </a:lnTo>
                  <a:lnTo>
                    <a:pt x="109" y="470"/>
                  </a:lnTo>
                  <a:lnTo>
                    <a:pt x="113" y="465"/>
                  </a:lnTo>
                  <a:lnTo>
                    <a:pt x="115" y="460"/>
                  </a:lnTo>
                  <a:lnTo>
                    <a:pt x="117" y="455"/>
                  </a:lnTo>
                  <a:lnTo>
                    <a:pt x="119" y="448"/>
                  </a:lnTo>
                  <a:lnTo>
                    <a:pt x="120" y="443"/>
                  </a:lnTo>
                  <a:lnTo>
                    <a:pt x="120" y="436"/>
                  </a:lnTo>
                  <a:lnTo>
                    <a:pt x="119" y="429"/>
                  </a:lnTo>
                  <a:lnTo>
                    <a:pt x="118" y="422"/>
                  </a:lnTo>
                  <a:lnTo>
                    <a:pt x="116" y="416"/>
                  </a:lnTo>
                  <a:lnTo>
                    <a:pt x="114" y="410"/>
                  </a:lnTo>
                  <a:lnTo>
                    <a:pt x="251" y="291"/>
                  </a:lnTo>
                  <a:lnTo>
                    <a:pt x="259" y="295"/>
                  </a:lnTo>
                  <a:lnTo>
                    <a:pt x="267" y="298"/>
                  </a:lnTo>
                  <a:lnTo>
                    <a:pt x="276" y="300"/>
                  </a:lnTo>
                  <a:lnTo>
                    <a:pt x="285" y="301"/>
                  </a:lnTo>
                  <a:lnTo>
                    <a:pt x="292" y="300"/>
                  </a:lnTo>
                  <a:lnTo>
                    <a:pt x="300" y="299"/>
                  </a:lnTo>
                  <a:lnTo>
                    <a:pt x="306" y="297"/>
                  </a:lnTo>
                  <a:lnTo>
                    <a:pt x="313" y="294"/>
                  </a:lnTo>
                  <a:lnTo>
                    <a:pt x="318" y="291"/>
                  </a:lnTo>
                  <a:lnTo>
                    <a:pt x="325" y="286"/>
                  </a:lnTo>
                  <a:lnTo>
                    <a:pt x="329" y="282"/>
                  </a:lnTo>
                  <a:lnTo>
                    <a:pt x="333" y="277"/>
                  </a:lnTo>
                  <a:lnTo>
                    <a:pt x="451" y="324"/>
                  </a:lnTo>
                  <a:lnTo>
                    <a:pt x="451" y="327"/>
                  </a:lnTo>
                  <a:lnTo>
                    <a:pt x="451" y="331"/>
                  </a:lnTo>
                  <a:lnTo>
                    <a:pt x="451" y="338"/>
                  </a:lnTo>
                  <a:lnTo>
                    <a:pt x="452" y="343"/>
                  </a:lnTo>
                  <a:lnTo>
                    <a:pt x="453" y="350"/>
                  </a:lnTo>
                  <a:lnTo>
                    <a:pt x="455" y="355"/>
                  </a:lnTo>
                  <a:lnTo>
                    <a:pt x="457" y="360"/>
                  </a:lnTo>
                  <a:lnTo>
                    <a:pt x="461" y="365"/>
                  </a:lnTo>
                  <a:lnTo>
                    <a:pt x="464" y="370"/>
                  </a:lnTo>
                  <a:lnTo>
                    <a:pt x="468" y="374"/>
                  </a:lnTo>
                  <a:lnTo>
                    <a:pt x="472" y="377"/>
                  </a:lnTo>
                  <a:lnTo>
                    <a:pt x="477" y="381"/>
                  </a:lnTo>
                  <a:lnTo>
                    <a:pt x="482" y="384"/>
                  </a:lnTo>
                  <a:lnTo>
                    <a:pt x="487" y="387"/>
                  </a:lnTo>
                  <a:lnTo>
                    <a:pt x="493" y="388"/>
                  </a:lnTo>
                  <a:lnTo>
                    <a:pt x="498" y="390"/>
                  </a:lnTo>
                  <a:lnTo>
                    <a:pt x="505" y="391"/>
                  </a:lnTo>
                  <a:lnTo>
                    <a:pt x="511" y="391"/>
                  </a:lnTo>
                  <a:lnTo>
                    <a:pt x="517" y="391"/>
                  </a:lnTo>
                  <a:lnTo>
                    <a:pt x="523" y="390"/>
                  </a:lnTo>
                  <a:lnTo>
                    <a:pt x="529" y="388"/>
                  </a:lnTo>
                  <a:lnTo>
                    <a:pt x="535" y="387"/>
                  </a:lnTo>
                  <a:lnTo>
                    <a:pt x="540" y="384"/>
                  </a:lnTo>
                  <a:lnTo>
                    <a:pt x="544" y="381"/>
                  </a:lnTo>
                  <a:lnTo>
                    <a:pt x="550" y="377"/>
                  </a:lnTo>
                  <a:lnTo>
                    <a:pt x="554" y="373"/>
                  </a:lnTo>
                  <a:lnTo>
                    <a:pt x="557" y="370"/>
                  </a:lnTo>
                  <a:lnTo>
                    <a:pt x="560" y="365"/>
                  </a:lnTo>
                  <a:lnTo>
                    <a:pt x="564" y="360"/>
                  </a:lnTo>
                  <a:lnTo>
                    <a:pt x="567" y="355"/>
                  </a:lnTo>
                  <a:lnTo>
                    <a:pt x="568" y="350"/>
                  </a:lnTo>
                  <a:lnTo>
                    <a:pt x="570" y="343"/>
                  </a:lnTo>
                  <a:lnTo>
                    <a:pt x="571" y="338"/>
                  </a:lnTo>
                  <a:lnTo>
                    <a:pt x="571" y="331"/>
                  </a:lnTo>
                  <a:lnTo>
                    <a:pt x="570" y="322"/>
                  </a:lnTo>
                  <a:lnTo>
                    <a:pt x="568" y="312"/>
                  </a:lnTo>
                  <a:lnTo>
                    <a:pt x="565" y="304"/>
                  </a:lnTo>
                  <a:lnTo>
                    <a:pt x="559" y="296"/>
                  </a:lnTo>
                  <a:lnTo>
                    <a:pt x="710" y="115"/>
                  </a:lnTo>
                  <a:lnTo>
                    <a:pt x="717" y="117"/>
                  </a:lnTo>
                  <a:lnTo>
                    <a:pt x="723" y="119"/>
                  </a:lnTo>
                  <a:lnTo>
                    <a:pt x="730" y="120"/>
                  </a:lnTo>
                  <a:lnTo>
                    <a:pt x="736" y="120"/>
                  </a:lnTo>
                  <a:lnTo>
                    <a:pt x="742" y="120"/>
                  </a:lnTo>
                  <a:lnTo>
                    <a:pt x="749" y="119"/>
                  </a:lnTo>
                  <a:lnTo>
                    <a:pt x="754" y="118"/>
                  </a:lnTo>
                  <a:lnTo>
                    <a:pt x="760" y="116"/>
                  </a:lnTo>
                  <a:lnTo>
                    <a:pt x="765" y="114"/>
                  </a:lnTo>
                  <a:lnTo>
                    <a:pt x="770" y="111"/>
                  </a:lnTo>
                  <a:lnTo>
                    <a:pt x="775" y="106"/>
                  </a:lnTo>
                  <a:lnTo>
                    <a:pt x="779" y="103"/>
                  </a:lnTo>
                  <a:lnTo>
                    <a:pt x="783" y="99"/>
                  </a:lnTo>
                  <a:lnTo>
                    <a:pt x="786" y="95"/>
                  </a:lnTo>
                  <a:lnTo>
                    <a:pt x="790" y="89"/>
                  </a:lnTo>
                  <a:lnTo>
                    <a:pt x="792" y="84"/>
                  </a:lnTo>
                  <a:lnTo>
                    <a:pt x="794" y="79"/>
                  </a:lnTo>
                  <a:lnTo>
                    <a:pt x="795" y="73"/>
                  </a:lnTo>
                  <a:lnTo>
                    <a:pt x="796" y="67"/>
                  </a:lnTo>
                  <a:lnTo>
                    <a:pt x="796" y="60"/>
                  </a:lnTo>
                  <a:lnTo>
                    <a:pt x="796" y="54"/>
                  </a:lnTo>
                  <a:lnTo>
                    <a:pt x="795" y="49"/>
                  </a:lnTo>
                  <a:lnTo>
                    <a:pt x="794" y="43"/>
                  </a:lnTo>
                  <a:lnTo>
                    <a:pt x="792" y="37"/>
                  </a:lnTo>
                  <a:lnTo>
                    <a:pt x="790" y="31"/>
                  </a:lnTo>
                  <a:lnTo>
                    <a:pt x="786" y="27"/>
                  </a:lnTo>
                  <a:lnTo>
                    <a:pt x="783" y="23"/>
                  </a:lnTo>
                  <a:lnTo>
                    <a:pt x="779" y="19"/>
                  </a:lnTo>
                  <a:lnTo>
                    <a:pt x="775" y="14"/>
                  </a:lnTo>
                  <a:lnTo>
                    <a:pt x="770" y="11"/>
                  </a:lnTo>
                  <a:lnTo>
                    <a:pt x="765" y="8"/>
                  </a:lnTo>
                  <a:lnTo>
                    <a:pt x="760" y="5"/>
                  </a:lnTo>
                  <a:lnTo>
                    <a:pt x="754" y="4"/>
                  </a:lnTo>
                  <a:lnTo>
                    <a:pt x="749" y="1"/>
                  </a:lnTo>
                  <a:lnTo>
                    <a:pt x="742" y="0"/>
                  </a:lnTo>
                  <a:lnTo>
                    <a:pt x="736" y="0"/>
                  </a:lnTo>
                  <a:lnTo>
                    <a:pt x="731" y="0"/>
                  </a:lnTo>
                  <a:lnTo>
                    <a:pt x="724" y="1"/>
                  </a:lnTo>
                  <a:lnTo>
                    <a:pt x="719" y="4"/>
                  </a:lnTo>
                  <a:lnTo>
                    <a:pt x="712" y="5"/>
                  </a:lnTo>
                  <a:lnTo>
                    <a:pt x="708" y="8"/>
                  </a:lnTo>
                  <a:lnTo>
                    <a:pt x="703" y="11"/>
                  </a:lnTo>
                  <a:lnTo>
                    <a:pt x="698" y="14"/>
                  </a:lnTo>
                  <a:lnTo>
                    <a:pt x="694" y="19"/>
                  </a:lnTo>
                  <a:lnTo>
                    <a:pt x="690" y="22"/>
                  </a:lnTo>
                  <a:lnTo>
                    <a:pt x="687" y="27"/>
                  </a:lnTo>
                  <a:lnTo>
                    <a:pt x="683" y="31"/>
                  </a:lnTo>
                  <a:lnTo>
                    <a:pt x="681" y="37"/>
                  </a:lnTo>
                  <a:lnTo>
                    <a:pt x="679" y="43"/>
                  </a:lnTo>
                  <a:lnTo>
                    <a:pt x="677" y="49"/>
                  </a:lnTo>
                  <a:lnTo>
                    <a:pt x="676" y="54"/>
                  </a:lnTo>
                  <a:lnTo>
                    <a:pt x="676" y="60"/>
                  </a:lnTo>
                  <a:lnTo>
                    <a:pt x="677" y="70"/>
                  </a:lnTo>
                  <a:lnTo>
                    <a:pt x="679" y="80"/>
                  </a:lnTo>
                  <a:lnTo>
                    <a:pt x="682" y="88"/>
                  </a:lnTo>
                  <a:lnTo>
                    <a:pt x="688" y="96"/>
                  </a:lnTo>
                  <a:lnTo>
                    <a:pt x="537" y="277"/>
                  </a:lnTo>
                  <a:lnTo>
                    <a:pt x="530" y="275"/>
                  </a:lnTo>
                  <a:lnTo>
                    <a:pt x="524" y="272"/>
                  </a:lnTo>
                  <a:lnTo>
                    <a:pt x="517" y="271"/>
                  </a:lnTo>
                  <a:lnTo>
                    <a:pt x="511" y="271"/>
                  </a:lnTo>
                  <a:lnTo>
                    <a:pt x="504" y="271"/>
                  </a:lnTo>
                  <a:lnTo>
                    <a:pt x="496" y="272"/>
                  </a:lnTo>
                  <a:lnTo>
                    <a:pt x="490" y="275"/>
                  </a:lnTo>
                  <a:lnTo>
                    <a:pt x="483" y="278"/>
                  </a:lnTo>
                  <a:lnTo>
                    <a:pt x="478" y="281"/>
                  </a:lnTo>
                  <a:lnTo>
                    <a:pt x="472" y="285"/>
                  </a:lnTo>
                  <a:lnTo>
                    <a:pt x="467" y="291"/>
                  </a:lnTo>
                  <a:lnTo>
                    <a:pt x="463" y="296"/>
                  </a:lnTo>
                  <a:lnTo>
                    <a:pt x="345" y="249"/>
                  </a:lnTo>
                  <a:lnTo>
                    <a:pt x="345" y="245"/>
                  </a:lnTo>
                  <a:lnTo>
                    <a:pt x="345" y="241"/>
                  </a:lnTo>
                  <a:lnTo>
                    <a:pt x="345" y="235"/>
                  </a:lnTo>
                  <a:lnTo>
                    <a:pt x="344" y="229"/>
                  </a:lnTo>
                  <a:lnTo>
                    <a:pt x="343" y="223"/>
                  </a:lnTo>
                  <a:lnTo>
                    <a:pt x="341" y="218"/>
                  </a:lnTo>
                  <a:lnTo>
                    <a:pt x="339" y="212"/>
                  </a:lnTo>
                  <a:lnTo>
                    <a:pt x="335" y="207"/>
                  </a:lnTo>
                  <a:lnTo>
                    <a:pt x="332" y="203"/>
                  </a:lnTo>
                  <a:lnTo>
                    <a:pt x="328" y="199"/>
                  </a:lnTo>
                  <a:lnTo>
                    <a:pt x="324" y="194"/>
                  </a:lnTo>
                  <a:lnTo>
                    <a:pt x="319" y="191"/>
                  </a:lnTo>
                  <a:lnTo>
                    <a:pt x="314" y="188"/>
                  </a:lnTo>
                  <a:lnTo>
                    <a:pt x="309" y="186"/>
                  </a:lnTo>
                  <a:lnTo>
                    <a:pt x="303" y="184"/>
                  </a:lnTo>
                  <a:lnTo>
                    <a:pt x="298" y="182"/>
                  </a:lnTo>
                  <a:lnTo>
                    <a:pt x="291" y="181"/>
                  </a:lnTo>
                  <a:lnTo>
                    <a:pt x="285" y="180"/>
                  </a:lnTo>
                  <a:lnTo>
                    <a:pt x="280" y="181"/>
                  </a:lnTo>
                  <a:lnTo>
                    <a:pt x="273" y="182"/>
                  </a:lnTo>
                  <a:lnTo>
                    <a:pt x="268" y="184"/>
                  </a:lnTo>
                  <a:lnTo>
                    <a:pt x="261" y="186"/>
                  </a:lnTo>
                  <a:lnTo>
                    <a:pt x="257" y="188"/>
                  </a:lnTo>
                  <a:lnTo>
                    <a:pt x="252" y="191"/>
                  </a:lnTo>
                  <a:lnTo>
                    <a:pt x="247" y="194"/>
                  </a:lnTo>
                  <a:lnTo>
                    <a:pt x="243" y="199"/>
                  </a:lnTo>
                  <a:lnTo>
                    <a:pt x="239" y="203"/>
                  </a:lnTo>
                  <a:lnTo>
                    <a:pt x="236" y="207"/>
                  </a:lnTo>
                  <a:lnTo>
                    <a:pt x="232" y="212"/>
                  </a:lnTo>
                  <a:lnTo>
                    <a:pt x="230" y="218"/>
                  </a:lnTo>
                  <a:lnTo>
                    <a:pt x="228" y="223"/>
                  </a:lnTo>
                  <a:lnTo>
                    <a:pt x="226" y="229"/>
                  </a:lnTo>
                  <a:lnTo>
                    <a:pt x="225" y="235"/>
                  </a:lnTo>
                  <a:lnTo>
                    <a:pt x="225" y="241"/>
                  </a:lnTo>
                  <a:lnTo>
                    <a:pt x="226" y="248"/>
                  </a:lnTo>
                  <a:lnTo>
                    <a:pt x="227" y="255"/>
                  </a:lnTo>
                  <a:lnTo>
                    <a:pt x="229" y="262"/>
                  </a:lnTo>
                  <a:lnTo>
                    <a:pt x="231" y="267"/>
                  </a:lnTo>
                  <a:lnTo>
                    <a:pt x="94" y="387"/>
                  </a:lnTo>
                  <a:lnTo>
                    <a:pt x="86" y="383"/>
                  </a:lnTo>
                  <a:lnTo>
                    <a:pt x="78" y="380"/>
                  </a:lnTo>
                  <a:lnTo>
                    <a:pt x="69" y="377"/>
                  </a:lnTo>
                  <a:lnTo>
                    <a:pt x="60" y="376"/>
                  </a:lnTo>
                  <a:lnTo>
                    <a:pt x="54" y="376"/>
                  </a:lnTo>
                  <a:lnTo>
                    <a:pt x="47" y="377"/>
                  </a:lnTo>
                  <a:lnTo>
                    <a:pt x="42" y="379"/>
                  </a:lnTo>
                  <a:lnTo>
                    <a:pt x="36" y="381"/>
                  </a:lnTo>
                  <a:lnTo>
                    <a:pt x="31" y="384"/>
                  </a:lnTo>
                  <a:lnTo>
                    <a:pt x="26" y="387"/>
                  </a:lnTo>
                  <a:lnTo>
                    <a:pt x="21" y="390"/>
                  </a:lnTo>
                  <a:lnTo>
                    <a:pt x="17" y="394"/>
                  </a:lnTo>
                  <a:lnTo>
                    <a:pt x="13" y="398"/>
                  </a:lnTo>
                  <a:lnTo>
                    <a:pt x="10" y="403"/>
                  </a:lnTo>
                  <a:lnTo>
                    <a:pt x="6" y="407"/>
                  </a:lnTo>
                  <a:lnTo>
                    <a:pt x="4" y="413"/>
                  </a:lnTo>
                  <a:lnTo>
                    <a:pt x="2" y="418"/>
                  </a:lnTo>
                  <a:lnTo>
                    <a:pt x="1" y="425"/>
                  </a:lnTo>
                  <a:lnTo>
                    <a:pt x="0" y="430"/>
                  </a:lnTo>
                  <a:lnTo>
                    <a:pt x="0" y="436"/>
                  </a:lnTo>
                  <a:lnTo>
                    <a:pt x="0" y="443"/>
                  </a:lnTo>
                  <a:lnTo>
                    <a:pt x="1" y="448"/>
                  </a:lnTo>
                  <a:lnTo>
                    <a:pt x="2" y="455"/>
                  </a:lnTo>
                  <a:lnTo>
                    <a:pt x="4" y="460"/>
                  </a:lnTo>
                  <a:lnTo>
                    <a:pt x="6" y="465"/>
                  </a:lnTo>
                  <a:lnTo>
                    <a:pt x="10" y="470"/>
                  </a:lnTo>
                  <a:lnTo>
                    <a:pt x="13" y="475"/>
                  </a:lnTo>
                  <a:lnTo>
                    <a:pt x="17" y="479"/>
                  </a:lnTo>
                  <a:lnTo>
                    <a:pt x="21" y="482"/>
                  </a:lnTo>
                  <a:lnTo>
                    <a:pt x="26" y="487"/>
                  </a:lnTo>
                  <a:lnTo>
                    <a:pt x="31" y="489"/>
                  </a:lnTo>
                  <a:lnTo>
                    <a:pt x="36" y="492"/>
                  </a:lnTo>
                  <a:lnTo>
                    <a:pt x="42" y="494"/>
                  </a:lnTo>
                  <a:lnTo>
                    <a:pt x="47" y="495"/>
                  </a:lnTo>
                  <a:lnTo>
                    <a:pt x="54" y="496"/>
                  </a:lnTo>
                  <a:lnTo>
                    <a:pt x="60" y="4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7214577" y="5432396"/>
            <a:ext cx="287721" cy="249571"/>
            <a:chOff x="9309100" y="2536825"/>
            <a:chExt cx="287338" cy="249238"/>
          </a:xfrm>
          <a:solidFill>
            <a:schemeClr val="bg1"/>
          </a:solidFill>
        </p:grpSpPr>
        <p:sp>
          <p:nvSpPr>
            <p:cNvPr id="32" name="Freeform 216"/>
            <p:cNvSpPr>
              <a:spLocks noEditPoints="1"/>
            </p:cNvSpPr>
            <p:nvPr/>
          </p:nvSpPr>
          <p:spPr bwMode="auto">
            <a:xfrm>
              <a:off x="9356725" y="2670175"/>
              <a:ext cx="104775" cy="77788"/>
            </a:xfrm>
            <a:custGeom>
              <a:avLst/>
              <a:gdLst>
                <a:gd name="T0" fmla="*/ 301 w 331"/>
                <a:gd name="T1" fmla="*/ 211 h 241"/>
                <a:gd name="T2" fmla="*/ 30 w 331"/>
                <a:gd name="T3" fmla="*/ 211 h 241"/>
                <a:gd name="T4" fmla="*/ 30 w 331"/>
                <a:gd name="T5" fmla="*/ 30 h 241"/>
                <a:gd name="T6" fmla="*/ 301 w 331"/>
                <a:gd name="T7" fmla="*/ 30 h 241"/>
                <a:gd name="T8" fmla="*/ 301 w 331"/>
                <a:gd name="T9" fmla="*/ 211 h 241"/>
                <a:gd name="T10" fmla="*/ 316 w 331"/>
                <a:gd name="T11" fmla="*/ 0 h 241"/>
                <a:gd name="T12" fmla="*/ 15 w 331"/>
                <a:gd name="T13" fmla="*/ 0 h 241"/>
                <a:gd name="T14" fmla="*/ 13 w 331"/>
                <a:gd name="T15" fmla="*/ 1 h 241"/>
                <a:gd name="T16" fmla="*/ 10 w 331"/>
                <a:gd name="T17" fmla="*/ 1 h 241"/>
                <a:gd name="T18" fmla="*/ 7 w 331"/>
                <a:gd name="T19" fmla="*/ 4 h 241"/>
                <a:gd name="T20" fmla="*/ 5 w 331"/>
                <a:gd name="T21" fmla="*/ 5 h 241"/>
                <a:gd name="T22" fmla="*/ 3 w 331"/>
                <a:gd name="T23" fmla="*/ 7 h 241"/>
                <a:gd name="T24" fmla="*/ 2 w 331"/>
                <a:gd name="T25" fmla="*/ 10 h 241"/>
                <a:gd name="T26" fmla="*/ 1 w 331"/>
                <a:gd name="T27" fmla="*/ 13 h 241"/>
                <a:gd name="T28" fmla="*/ 0 w 331"/>
                <a:gd name="T29" fmla="*/ 15 h 241"/>
                <a:gd name="T30" fmla="*/ 0 w 331"/>
                <a:gd name="T31" fmla="*/ 226 h 241"/>
                <a:gd name="T32" fmla="*/ 1 w 331"/>
                <a:gd name="T33" fmla="*/ 230 h 241"/>
                <a:gd name="T34" fmla="*/ 2 w 331"/>
                <a:gd name="T35" fmla="*/ 232 h 241"/>
                <a:gd name="T36" fmla="*/ 3 w 331"/>
                <a:gd name="T37" fmla="*/ 235 h 241"/>
                <a:gd name="T38" fmla="*/ 5 w 331"/>
                <a:gd name="T39" fmla="*/ 237 h 241"/>
                <a:gd name="T40" fmla="*/ 7 w 331"/>
                <a:gd name="T41" fmla="*/ 238 h 241"/>
                <a:gd name="T42" fmla="*/ 10 w 331"/>
                <a:gd name="T43" fmla="*/ 240 h 241"/>
                <a:gd name="T44" fmla="*/ 13 w 331"/>
                <a:gd name="T45" fmla="*/ 241 h 241"/>
                <a:gd name="T46" fmla="*/ 15 w 331"/>
                <a:gd name="T47" fmla="*/ 241 h 241"/>
                <a:gd name="T48" fmla="*/ 316 w 331"/>
                <a:gd name="T49" fmla="*/ 241 h 241"/>
                <a:gd name="T50" fmla="*/ 319 w 331"/>
                <a:gd name="T51" fmla="*/ 241 h 241"/>
                <a:gd name="T52" fmla="*/ 322 w 331"/>
                <a:gd name="T53" fmla="*/ 240 h 241"/>
                <a:gd name="T54" fmla="*/ 325 w 331"/>
                <a:gd name="T55" fmla="*/ 238 h 241"/>
                <a:gd name="T56" fmla="*/ 327 w 331"/>
                <a:gd name="T57" fmla="*/ 237 h 241"/>
                <a:gd name="T58" fmla="*/ 329 w 331"/>
                <a:gd name="T59" fmla="*/ 235 h 241"/>
                <a:gd name="T60" fmla="*/ 330 w 331"/>
                <a:gd name="T61" fmla="*/ 232 h 241"/>
                <a:gd name="T62" fmla="*/ 331 w 331"/>
                <a:gd name="T63" fmla="*/ 230 h 241"/>
                <a:gd name="T64" fmla="*/ 331 w 331"/>
                <a:gd name="T65" fmla="*/ 226 h 241"/>
                <a:gd name="T66" fmla="*/ 331 w 331"/>
                <a:gd name="T67" fmla="*/ 15 h 241"/>
                <a:gd name="T68" fmla="*/ 331 w 331"/>
                <a:gd name="T69" fmla="*/ 12 h 241"/>
                <a:gd name="T70" fmla="*/ 330 w 331"/>
                <a:gd name="T71" fmla="*/ 10 h 241"/>
                <a:gd name="T72" fmla="*/ 329 w 331"/>
                <a:gd name="T73" fmla="*/ 7 h 241"/>
                <a:gd name="T74" fmla="*/ 327 w 331"/>
                <a:gd name="T75" fmla="*/ 5 h 241"/>
                <a:gd name="T76" fmla="*/ 325 w 331"/>
                <a:gd name="T77" fmla="*/ 4 h 241"/>
                <a:gd name="T78" fmla="*/ 322 w 331"/>
                <a:gd name="T79" fmla="*/ 1 h 241"/>
                <a:gd name="T80" fmla="*/ 319 w 331"/>
                <a:gd name="T81" fmla="*/ 1 h 241"/>
                <a:gd name="T82" fmla="*/ 316 w 331"/>
                <a:gd name="T83" fmla="*/ 0 h 241"/>
                <a:gd name="T84" fmla="*/ 316 w 331"/>
                <a:gd name="T85" fmla="*/ 0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31" h="241">
                  <a:moveTo>
                    <a:pt x="301" y="211"/>
                  </a:moveTo>
                  <a:lnTo>
                    <a:pt x="30" y="211"/>
                  </a:lnTo>
                  <a:lnTo>
                    <a:pt x="30" y="30"/>
                  </a:lnTo>
                  <a:lnTo>
                    <a:pt x="301" y="30"/>
                  </a:lnTo>
                  <a:lnTo>
                    <a:pt x="301" y="211"/>
                  </a:lnTo>
                  <a:close/>
                  <a:moveTo>
                    <a:pt x="316" y="0"/>
                  </a:moveTo>
                  <a:lnTo>
                    <a:pt x="15" y="0"/>
                  </a:lnTo>
                  <a:lnTo>
                    <a:pt x="13" y="1"/>
                  </a:lnTo>
                  <a:lnTo>
                    <a:pt x="10" y="1"/>
                  </a:lnTo>
                  <a:lnTo>
                    <a:pt x="7" y="4"/>
                  </a:lnTo>
                  <a:lnTo>
                    <a:pt x="5" y="5"/>
                  </a:lnTo>
                  <a:lnTo>
                    <a:pt x="3" y="7"/>
                  </a:lnTo>
                  <a:lnTo>
                    <a:pt x="2" y="10"/>
                  </a:lnTo>
                  <a:lnTo>
                    <a:pt x="1" y="13"/>
                  </a:lnTo>
                  <a:lnTo>
                    <a:pt x="0" y="15"/>
                  </a:lnTo>
                  <a:lnTo>
                    <a:pt x="0" y="226"/>
                  </a:lnTo>
                  <a:lnTo>
                    <a:pt x="1" y="230"/>
                  </a:lnTo>
                  <a:lnTo>
                    <a:pt x="2" y="232"/>
                  </a:lnTo>
                  <a:lnTo>
                    <a:pt x="3" y="235"/>
                  </a:lnTo>
                  <a:lnTo>
                    <a:pt x="5" y="237"/>
                  </a:lnTo>
                  <a:lnTo>
                    <a:pt x="7" y="238"/>
                  </a:lnTo>
                  <a:lnTo>
                    <a:pt x="10" y="240"/>
                  </a:lnTo>
                  <a:lnTo>
                    <a:pt x="13" y="241"/>
                  </a:lnTo>
                  <a:lnTo>
                    <a:pt x="15" y="241"/>
                  </a:lnTo>
                  <a:lnTo>
                    <a:pt x="316" y="241"/>
                  </a:lnTo>
                  <a:lnTo>
                    <a:pt x="319" y="241"/>
                  </a:lnTo>
                  <a:lnTo>
                    <a:pt x="322" y="240"/>
                  </a:lnTo>
                  <a:lnTo>
                    <a:pt x="325" y="238"/>
                  </a:lnTo>
                  <a:lnTo>
                    <a:pt x="327" y="237"/>
                  </a:lnTo>
                  <a:lnTo>
                    <a:pt x="329" y="235"/>
                  </a:lnTo>
                  <a:lnTo>
                    <a:pt x="330" y="232"/>
                  </a:lnTo>
                  <a:lnTo>
                    <a:pt x="331" y="230"/>
                  </a:lnTo>
                  <a:lnTo>
                    <a:pt x="331" y="226"/>
                  </a:lnTo>
                  <a:lnTo>
                    <a:pt x="331" y="15"/>
                  </a:lnTo>
                  <a:lnTo>
                    <a:pt x="331" y="12"/>
                  </a:lnTo>
                  <a:lnTo>
                    <a:pt x="330" y="10"/>
                  </a:lnTo>
                  <a:lnTo>
                    <a:pt x="329" y="7"/>
                  </a:lnTo>
                  <a:lnTo>
                    <a:pt x="327" y="5"/>
                  </a:lnTo>
                  <a:lnTo>
                    <a:pt x="325" y="4"/>
                  </a:lnTo>
                  <a:lnTo>
                    <a:pt x="322" y="1"/>
                  </a:lnTo>
                  <a:lnTo>
                    <a:pt x="319" y="1"/>
                  </a:lnTo>
                  <a:lnTo>
                    <a:pt x="316" y="0"/>
                  </a:lnTo>
                  <a:lnTo>
                    <a:pt x="31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33" name="Freeform 217"/>
            <p:cNvSpPr>
              <a:spLocks noEditPoints="1"/>
            </p:cNvSpPr>
            <p:nvPr/>
          </p:nvSpPr>
          <p:spPr bwMode="auto">
            <a:xfrm>
              <a:off x="9309100" y="2536825"/>
              <a:ext cx="287338" cy="249238"/>
            </a:xfrm>
            <a:custGeom>
              <a:avLst/>
              <a:gdLst>
                <a:gd name="T0" fmla="*/ 863 w 902"/>
                <a:gd name="T1" fmla="*/ 235 h 782"/>
                <a:gd name="T2" fmla="*/ 832 w 902"/>
                <a:gd name="T3" fmla="*/ 276 h 782"/>
                <a:gd name="T4" fmla="*/ 787 w 902"/>
                <a:gd name="T5" fmla="*/ 299 h 782"/>
                <a:gd name="T6" fmla="*/ 737 w 902"/>
                <a:gd name="T7" fmla="*/ 298 h 782"/>
                <a:gd name="T8" fmla="*/ 692 w 902"/>
                <a:gd name="T9" fmla="*/ 280 h 782"/>
                <a:gd name="T10" fmla="*/ 752 w 902"/>
                <a:gd name="T11" fmla="*/ 752 h 782"/>
                <a:gd name="T12" fmla="*/ 748 w 902"/>
                <a:gd name="T13" fmla="*/ 426 h 782"/>
                <a:gd name="T14" fmla="*/ 556 w 902"/>
                <a:gd name="T15" fmla="*/ 421 h 782"/>
                <a:gd name="T16" fmla="*/ 544 w 902"/>
                <a:gd name="T17" fmla="*/ 428 h 782"/>
                <a:gd name="T18" fmla="*/ 120 w 902"/>
                <a:gd name="T19" fmla="*/ 752 h 782"/>
                <a:gd name="T20" fmla="*/ 170 w 902"/>
                <a:gd name="T21" fmla="*/ 326 h 782"/>
                <a:gd name="T22" fmla="*/ 231 w 902"/>
                <a:gd name="T23" fmla="*/ 320 h 782"/>
                <a:gd name="T24" fmla="*/ 279 w 902"/>
                <a:gd name="T25" fmla="*/ 354 h 782"/>
                <a:gd name="T26" fmla="*/ 347 w 902"/>
                <a:gd name="T27" fmla="*/ 361 h 782"/>
                <a:gd name="T28" fmla="*/ 415 w 902"/>
                <a:gd name="T29" fmla="*/ 340 h 782"/>
                <a:gd name="T30" fmla="*/ 475 w 902"/>
                <a:gd name="T31" fmla="*/ 346 h 782"/>
                <a:gd name="T32" fmla="*/ 556 w 902"/>
                <a:gd name="T33" fmla="*/ 361 h 782"/>
                <a:gd name="T34" fmla="*/ 643 w 902"/>
                <a:gd name="T35" fmla="*/ 341 h 782"/>
                <a:gd name="T36" fmla="*/ 701 w 902"/>
                <a:gd name="T37" fmla="*/ 319 h 782"/>
                <a:gd name="T38" fmla="*/ 756 w 902"/>
                <a:gd name="T39" fmla="*/ 331 h 782"/>
                <a:gd name="T40" fmla="*/ 571 w 902"/>
                <a:gd name="T41" fmla="*/ 752 h 782"/>
                <a:gd name="T42" fmla="*/ 30 w 902"/>
                <a:gd name="T43" fmla="*/ 196 h 782"/>
                <a:gd name="T44" fmla="*/ 193 w 902"/>
                <a:gd name="T45" fmla="*/ 289 h 782"/>
                <a:gd name="T46" fmla="*/ 132 w 902"/>
                <a:gd name="T47" fmla="*/ 301 h 782"/>
                <a:gd name="T48" fmla="*/ 82 w 902"/>
                <a:gd name="T49" fmla="*/ 292 h 782"/>
                <a:gd name="T50" fmla="*/ 48 w 902"/>
                <a:gd name="T51" fmla="*/ 261 h 782"/>
                <a:gd name="T52" fmla="*/ 32 w 902"/>
                <a:gd name="T53" fmla="*/ 216 h 782"/>
                <a:gd name="T54" fmla="*/ 214 w 902"/>
                <a:gd name="T55" fmla="*/ 151 h 782"/>
                <a:gd name="T56" fmla="*/ 451 w 902"/>
                <a:gd name="T57" fmla="*/ 151 h 782"/>
                <a:gd name="T58" fmla="*/ 245 w 902"/>
                <a:gd name="T59" fmla="*/ 151 h 782"/>
                <a:gd name="T60" fmla="*/ 421 w 902"/>
                <a:gd name="T61" fmla="*/ 295 h 782"/>
                <a:gd name="T62" fmla="*/ 371 w 902"/>
                <a:gd name="T63" fmla="*/ 327 h 782"/>
                <a:gd name="T64" fmla="*/ 301 w 902"/>
                <a:gd name="T65" fmla="*/ 329 h 782"/>
                <a:gd name="T66" fmla="*/ 250 w 902"/>
                <a:gd name="T67" fmla="*/ 295 h 782"/>
                <a:gd name="T68" fmla="*/ 643 w 902"/>
                <a:gd name="T69" fmla="*/ 304 h 782"/>
                <a:gd name="T70" fmla="*/ 574 w 902"/>
                <a:gd name="T71" fmla="*/ 330 h 782"/>
                <a:gd name="T72" fmla="*/ 496 w 902"/>
                <a:gd name="T73" fmla="*/ 322 h 782"/>
                <a:gd name="T74" fmla="*/ 451 w 902"/>
                <a:gd name="T75" fmla="*/ 181 h 782"/>
                <a:gd name="T76" fmla="*/ 651 w 902"/>
                <a:gd name="T77" fmla="*/ 30 h 782"/>
                <a:gd name="T78" fmla="*/ 901 w 902"/>
                <a:gd name="T79" fmla="*/ 160 h 782"/>
                <a:gd name="T80" fmla="*/ 805 w 902"/>
                <a:gd name="T81" fmla="*/ 2 h 782"/>
                <a:gd name="T82" fmla="*/ 97 w 902"/>
                <a:gd name="T83" fmla="*/ 2 h 782"/>
                <a:gd name="T84" fmla="*/ 2 w 902"/>
                <a:gd name="T85" fmla="*/ 160 h 782"/>
                <a:gd name="T86" fmla="*/ 0 w 902"/>
                <a:gd name="T87" fmla="*/ 166 h 782"/>
                <a:gd name="T88" fmla="*/ 4 w 902"/>
                <a:gd name="T89" fmla="*/ 231 h 782"/>
                <a:gd name="T90" fmla="*/ 26 w 902"/>
                <a:gd name="T91" fmla="*/ 280 h 782"/>
                <a:gd name="T92" fmla="*/ 62 w 902"/>
                <a:gd name="T93" fmla="*/ 315 h 782"/>
                <a:gd name="T94" fmla="*/ 91 w 902"/>
                <a:gd name="T95" fmla="*/ 771 h 782"/>
                <a:gd name="T96" fmla="*/ 100 w 902"/>
                <a:gd name="T97" fmla="*/ 781 h 782"/>
                <a:gd name="T98" fmla="*/ 797 w 902"/>
                <a:gd name="T99" fmla="*/ 782 h 782"/>
                <a:gd name="T100" fmla="*/ 810 w 902"/>
                <a:gd name="T101" fmla="*/ 776 h 782"/>
                <a:gd name="T102" fmla="*/ 822 w 902"/>
                <a:gd name="T103" fmla="*/ 319 h 782"/>
                <a:gd name="T104" fmla="*/ 862 w 902"/>
                <a:gd name="T105" fmla="*/ 289 h 782"/>
                <a:gd name="T106" fmla="*/ 891 w 902"/>
                <a:gd name="T107" fmla="*/ 246 h 782"/>
                <a:gd name="T108" fmla="*/ 902 w 902"/>
                <a:gd name="T109" fmla="*/ 196 h 782"/>
                <a:gd name="T110" fmla="*/ 901 w 902"/>
                <a:gd name="T111" fmla="*/ 161 h 7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902" h="782">
                  <a:moveTo>
                    <a:pt x="872" y="196"/>
                  </a:moveTo>
                  <a:lnTo>
                    <a:pt x="872" y="206"/>
                  </a:lnTo>
                  <a:lnTo>
                    <a:pt x="870" y="216"/>
                  </a:lnTo>
                  <a:lnTo>
                    <a:pt x="867" y="226"/>
                  </a:lnTo>
                  <a:lnTo>
                    <a:pt x="863" y="235"/>
                  </a:lnTo>
                  <a:lnTo>
                    <a:pt x="858" y="245"/>
                  </a:lnTo>
                  <a:lnTo>
                    <a:pt x="853" y="253"/>
                  </a:lnTo>
                  <a:lnTo>
                    <a:pt x="846" y="262"/>
                  </a:lnTo>
                  <a:lnTo>
                    <a:pt x="840" y="269"/>
                  </a:lnTo>
                  <a:lnTo>
                    <a:pt x="832" y="276"/>
                  </a:lnTo>
                  <a:lnTo>
                    <a:pt x="824" y="282"/>
                  </a:lnTo>
                  <a:lnTo>
                    <a:pt x="815" y="287"/>
                  </a:lnTo>
                  <a:lnTo>
                    <a:pt x="807" y="293"/>
                  </a:lnTo>
                  <a:lnTo>
                    <a:pt x="797" y="296"/>
                  </a:lnTo>
                  <a:lnTo>
                    <a:pt x="787" y="299"/>
                  </a:lnTo>
                  <a:lnTo>
                    <a:pt x="777" y="301"/>
                  </a:lnTo>
                  <a:lnTo>
                    <a:pt x="767" y="301"/>
                  </a:lnTo>
                  <a:lnTo>
                    <a:pt x="757" y="301"/>
                  </a:lnTo>
                  <a:lnTo>
                    <a:pt x="748" y="300"/>
                  </a:lnTo>
                  <a:lnTo>
                    <a:pt x="737" y="298"/>
                  </a:lnTo>
                  <a:lnTo>
                    <a:pt x="727" y="296"/>
                  </a:lnTo>
                  <a:lnTo>
                    <a:pt x="717" y="293"/>
                  </a:lnTo>
                  <a:lnTo>
                    <a:pt x="708" y="290"/>
                  </a:lnTo>
                  <a:lnTo>
                    <a:pt x="700" y="284"/>
                  </a:lnTo>
                  <a:lnTo>
                    <a:pt x="692" y="280"/>
                  </a:lnTo>
                  <a:lnTo>
                    <a:pt x="692" y="181"/>
                  </a:lnTo>
                  <a:lnTo>
                    <a:pt x="872" y="181"/>
                  </a:lnTo>
                  <a:lnTo>
                    <a:pt x="872" y="196"/>
                  </a:lnTo>
                  <a:close/>
                  <a:moveTo>
                    <a:pt x="782" y="752"/>
                  </a:moveTo>
                  <a:lnTo>
                    <a:pt x="752" y="752"/>
                  </a:lnTo>
                  <a:lnTo>
                    <a:pt x="752" y="436"/>
                  </a:lnTo>
                  <a:lnTo>
                    <a:pt x="752" y="433"/>
                  </a:lnTo>
                  <a:lnTo>
                    <a:pt x="751" y="431"/>
                  </a:lnTo>
                  <a:lnTo>
                    <a:pt x="749" y="428"/>
                  </a:lnTo>
                  <a:lnTo>
                    <a:pt x="748" y="426"/>
                  </a:lnTo>
                  <a:lnTo>
                    <a:pt x="746" y="425"/>
                  </a:lnTo>
                  <a:lnTo>
                    <a:pt x="742" y="422"/>
                  </a:lnTo>
                  <a:lnTo>
                    <a:pt x="740" y="422"/>
                  </a:lnTo>
                  <a:lnTo>
                    <a:pt x="737" y="421"/>
                  </a:lnTo>
                  <a:lnTo>
                    <a:pt x="556" y="421"/>
                  </a:lnTo>
                  <a:lnTo>
                    <a:pt x="554" y="422"/>
                  </a:lnTo>
                  <a:lnTo>
                    <a:pt x="551" y="422"/>
                  </a:lnTo>
                  <a:lnTo>
                    <a:pt x="548" y="425"/>
                  </a:lnTo>
                  <a:lnTo>
                    <a:pt x="545" y="426"/>
                  </a:lnTo>
                  <a:lnTo>
                    <a:pt x="544" y="428"/>
                  </a:lnTo>
                  <a:lnTo>
                    <a:pt x="542" y="431"/>
                  </a:lnTo>
                  <a:lnTo>
                    <a:pt x="542" y="434"/>
                  </a:lnTo>
                  <a:lnTo>
                    <a:pt x="541" y="436"/>
                  </a:lnTo>
                  <a:lnTo>
                    <a:pt x="541" y="752"/>
                  </a:lnTo>
                  <a:lnTo>
                    <a:pt x="120" y="752"/>
                  </a:lnTo>
                  <a:lnTo>
                    <a:pt x="120" y="331"/>
                  </a:lnTo>
                  <a:lnTo>
                    <a:pt x="131" y="331"/>
                  </a:lnTo>
                  <a:lnTo>
                    <a:pt x="144" y="330"/>
                  </a:lnTo>
                  <a:lnTo>
                    <a:pt x="156" y="328"/>
                  </a:lnTo>
                  <a:lnTo>
                    <a:pt x="170" y="326"/>
                  </a:lnTo>
                  <a:lnTo>
                    <a:pt x="184" y="323"/>
                  </a:lnTo>
                  <a:lnTo>
                    <a:pt x="197" y="319"/>
                  </a:lnTo>
                  <a:lnTo>
                    <a:pt x="210" y="314"/>
                  </a:lnTo>
                  <a:lnTo>
                    <a:pt x="222" y="308"/>
                  </a:lnTo>
                  <a:lnTo>
                    <a:pt x="231" y="320"/>
                  </a:lnTo>
                  <a:lnTo>
                    <a:pt x="241" y="330"/>
                  </a:lnTo>
                  <a:lnTo>
                    <a:pt x="252" y="340"/>
                  </a:lnTo>
                  <a:lnTo>
                    <a:pt x="265" y="347"/>
                  </a:lnTo>
                  <a:lnTo>
                    <a:pt x="271" y="351"/>
                  </a:lnTo>
                  <a:lnTo>
                    <a:pt x="279" y="354"/>
                  </a:lnTo>
                  <a:lnTo>
                    <a:pt x="285" y="356"/>
                  </a:lnTo>
                  <a:lnTo>
                    <a:pt x="294" y="358"/>
                  </a:lnTo>
                  <a:lnTo>
                    <a:pt x="311" y="360"/>
                  </a:lnTo>
                  <a:lnTo>
                    <a:pt x="331" y="361"/>
                  </a:lnTo>
                  <a:lnTo>
                    <a:pt x="347" y="361"/>
                  </a:lnTo>
                  <a:lnTo>
                    <a:pt x="362" y="359"/>
                  </a:lnTo>
                  <a:lnTo>
                    <a:pt x="376" y="356"/>
                  </a:lnTo>
                  <a:lnTo>
                    <a:pt x="390" y="352"/>
                  </a:lnTo>
                  <a:lnTo>
                    <a:pt x="403" y="346"/>
                  </a:lnTo>
                  <a:lnTo>
                    <a:pt x="415" y="340"/>
                  </a:lnTo>
                  <a:lnTo>
                    <a:pt x="425" y="332"/>
                  </a:lnTo>
                  <a:lnTo>
                    <a:pt x="436" y="323"/>
                  </a:lnTo>
                  <a:lnTo>
                    <a:pt x="448" y="331"/>
                  </a:lnTo>
                  <a:lnTo>
                    <a:pt x="461" y="339"/>
                  </a:lnTo>
                  <a:lnTo>
                    <a:pt x="475" y="346"/>
                  </a:lnTo>
                  <a:lnTo>
                    <a:pt x="488" y="352"/>
                  </a:lnTo>
                  <a:lnTo>
                    <a:pt x="505" y="356"/>
                  </a:lnTo>
                  <a:lnTo>
                    <a:pt x="522" y="359"/>
                  </a:lnTo>
                  <a:lnTo>
                    <a:pt x="539" y="361"/>
                  </a:lnTo>
                  <a:lnTo>
                    <a:pt x="556" y="361"/>
                  </a:lnTo>
                  <a:lnTo>
                    <a:pt x="576" y="360"/>
                  </a:lnTo>
                  <a:lnTo>
                    <a:pt x="595" y="358"/>
                  </a:lnTo>
                  <a:lnTo>
                    <a:pt x="612" y="354"/>
                  </a:lnTo>
                  <a:lnTo>
                    <a:pt x="628" y="348"/>
                  </a:lnTo>
                  <a:lnTo>
                    <a:pt x="643" y="341"/>
                  </a:lnTo>
                  <a:lnTo>
                    <a:pt x="656" y="331"/>
                  </a:lnTo>
                  <a:lnTo>
                    <a:pt x="668" y="321"/>
                  </a:lnTo>
                  <a:lnTo>
                    <a:pt x="679" y="308"/>
                  </a:lnTo>
                  <a:lnTo>
                    <a:pt x="690" y="314"/>
                  </a:lnTo>
                  <a:lnTo>
                    <a:pt x="701" y="319"/>
                  </a:lnTo>
                  <a:lnTo>
                    <a:pt x="712" y="323"/>
                  </a:lnTo>
                  <a:lnTo>
                    <a:pt x="723" y="326"/>
                  </a:lnTo>
                  <a:lnTo>
                    <a:pt x="735" y="328"/>
                  </a:lnTo>
                  <a:lnTo>
                    <a:pt x="746" y="330"/>
                  </a:lnTo>
                  <a:lnTo>
                    <a:pt x="756" y="331"/>
                  </a:lnTo>
                  <a:lnTo>
                    <a:pt x="767" y="331"/>
                  </a:lnTo>
                  <a:lnTo>
                    <a:pt x="775" y="331"/>
                  </a:lnTo>
                  <a:lnTo>
                    <a:pt x="782" y="330"/>
                  </a:lnTo>
                  <a:lnTo>
                    <a:pt x="782" y="752"/>
                  </a:lnTo>
                  <a:close/>
                  <a:moveTo>
                    <a:pt x="571" y="752"/>
                  </a:moveTo>
                  <a:lnTo>
                    <a:pt x="571" y="451"/>
                  </a:lnTo>
                  <a:lnTo>
                    <a:pt x="722" y="451"/>
                  </a:lnTo>
                  <a:lnTo>
                    <a:pt x="722" y="752"/>
                  </a:lnTo>
                  <a:lnTo>
                    <a:pt x="571" y="752"/>
                  </a:lnTo>
                  <a:close/>
                  <a:moveTo>
                    <a:pt x="30" y="196"/>
                  </a:moveTo>
                  <a:lnTo>
                    <a:pt x="30" y="181"/>
                  </a:lnTo>
                  <a:lnTo>
                    <a:pt x="211" y="181"/>
                  </a:lnTo>
                  <a:lnTo>
                    <a:pt x="211" y="279"/>
                  </a:lnTo>
                  <a:lnTo>
                    <a:pt x="202" y="284"/>
                  </a:lnTo>
                  <a:lnTo>
                    <a:pt x="193" y="289"/>
                  </a:lnTo>
                  <a:lnTo>
                    <a:pt x="182" y="292"/>
                  </a:lnTo>
                  <a:lnTo>
                    <a:pt x="170" y="295"/>
                  </a:lnTo>
                  <a:lnTo>
                    <a:pt x="157" y="298"/>
                  </a:lnTo>
                  <a:lnTo>
                    <a:pt x="145" y="300"/>
                  </a:lnTo>
                  <a:lnTo>
                    <a:pt x="132" y="301"/>
                  </a:lnTo>
                  <a:lnTo>
                    <a:pt x="120" y="301"/>
                  </a:lnTo>
                  <a:lnTo>
                    <a:pt x="110" y="300"/>
                  </a:lnTo>
                  <a:lnTo>
                    <a:pt x="101" y="299"/>
                  </a:lnTo>
                  <a:lnTo>
                    <a:pt x="91" y="296"/>
                  </a:lnTo>
                  <a:lnTo>
                    <a:pt x="82" y="292"/>
                  </a:lnTo>
                  <a:lnTo>
                    <a:pt x="74" y="287"/>
                  </a:lnTo>
                  <a:lnTo>
                    <a:pt x="67" y="282"/>
                  </a:lnTo>
                  <a:lnTo>
                    <a:pt x="60" y="276"/>
                  </a:lnTo>
                  <a:lnTo>
                    <a:pt x="54" y="268"/>
                  </a:lnTo>
                  <a:lnTo>
                    <a:pt x="48" y="261"/>
                  </a:lnTo>
                  <a:lnTo>
                    <a:pt x="44" y="252"/>
                  </a:lnTo>
                  <a:lnTo>
                    <a:pt x="40" y="244"/>
                  </a:lnTo>
                  <a:lnTo>
                    <a:pt x="36" y="235"/>
                  </a:lnTo>
                  <a:lnTo>
                    <a:pt x="33" y="225"/>
                  </a:lnTo>
                  <a:lnTo>
                    <a:pt x="32" y="216"/>
                  </a:lnTo>
                  <a:lnTo>
                    <a:pt x="31" y="206"/>
                  </a:lnTo>
                  <a:lnTo>
                    <a:pt x="30" y="196"/>
                  </a:lnTo>
                  <a:close/>
                  <a:moveTo>
                    <a:pt x="114" y="30"/>
                  </a:moveTo>
                  <a:lnTo>
                    <a:pt x="251" y="30"/>
                  </a:lnTo>
                  <a:lnTo>
                    <a:pt x="214" y="151"/>
                  </a:lnTo>
                  <a:lnTo>
                    <a:pt x="42" y="151"/>
                  </a:lnTo>
                  <a:lnTo>
                    <a:pt x="114" y="30"/>
                  </a:lnTo>
                  <a:close/>
                  <a:moveTo>
                    <a:pt x="620" y="30"/>
                  </a:moveTo>
                  <a:lnTo>
                    <a:pt x="657" y="151"/>
                  </a:lnTo>
                  <a:lnTo>
                    <a:pt x="451" y="151"/>
                  </a:lnTo>
                  <a:lnTo>
                    <a:pt x="451" y="30"/>
                  </a:lnTo>
                  <a:lnTo>
                    <a:pt x="620" y="30"/>
                  </a:lnTo>
                  <a:close/>
                  <a:moveTo>
                    <a:pt x="421" y="30"/>
                  </a:moveTo>
                  <a:lnTo>
                    <a:pt x="421" y="151"/>
                  </a:lnTo>
                  <a:lnTo>
                    <a:pt x="245" y="151"/>
                  </a:lnTo>
                  <a:lnTo>
                    <a:pt x="282" y="30"/>
                  </a:lnTo>
                  <a:lnTo>
                    <a:pt x="421" y="30"/>
                  </a:lnTo>
                  <a:close/>
                  <a:moveTo>
                    <a:pt x="241" y="181"/>
                  </a:moveTo>
                  <a:lnTo>
                    <a:pt x="421" y="181"/>
                  </a:lnTo>
                  <a:lnTo>
                    <a:pt x="421" y="295"/>
                  </a:lnTo>
                  <a:lnTo>
                    <a:pt x="412" y="305"/>
                  </a:lnTo>
                  <a:lnTo>
                    <a:pt x="403" y="312"/>
                  </a:lnTo>
                  <a:lnTo>
                    <a:pt x="392" y="317"/>
                  </a:lnTo>
                  <a:lnTo>
                    <a:pt x="381" y="323"/>
                  </a:lnTo>
                  <a:lnTo>
                    <a:pt x="371" y="327"/>
                  </a:lnTo>
                  <a:lnTo>
                    <a:pt x="358" y="329"/>
                  </a:lnTo>
                  <a:lnTo>
                    <a:pt x="345" y="331"/>
                  </a:lnTo>
                  <a:lnTo>
                    <a:pt x="331" y="331"/>
                  </a:lnTo>
                  <a:lnTo>
                    <a:pt x="315" y="331"/>
                  </a:lnTo>
                  <a:lnTo>
                    <a:pt x="301" y="329"/>
                  </a:lnTo>
                  <a:lnTo>
                    <a:pt x="289" y="326"/>
                  </a:lnTo>
                  <a:lnTo>
                    <a:pt x="279" y="321"/>
                  </a:lnTo>
                  <a:lnTo>
                    <a:pt x="268" y="314"/>
                  </a:lnTo>
                  <a:lnTo>
                    <a:pt x="259" y="306"/>
                  </a:lnTo>
                  <a:lnTo>
                    <a:pt x="250" y="295"/>
                  </a:lnTo>
                  <a:lnTo>
                    <a:pt x="241" y="282"/>
                  </a:lnTo>
                  <a:lnTo>
                    <a:pt x="241" y="181"/>
                  </a:lnTo>
                  <a:close/>
                  <a:moveTo>
                    <a:pt x="662" y="282"/>
                  </a:moveTo>
                  <a:lnTo>
                    <a:pt x="652" y="294"/>
                  </a:lnTo>
                  <a:lnTo>
                    <a:pt x="643" y="304"/>
                  </a:lnTo>
                  <a:lnTo>
                    <a:pt x="631" y="312"/>
                  </a:lnTo>
                  <a:lnTo>
                    <a:pt x="619" y="320"/>
                  </a:lnTo>
                  <a:lnTo>
                    <a:pt x="605" y="325"/>
                  </a:lnTo>
                  <a:lnTo>
                    <a:pt x="590" y="328"/>
                  </a:lnTo>
                  <a:lnTo>
                    <a:pt x="574" y="330"/>
                  </a:lnTo>
                  <a:lnTo>
                    <a:pt x="556" y="331"/>
                  </a:lnTo>
                  <a:lnTo>
                    <a:pt x="540" y="331"/>
                  </a:lnTo>
                  <a:lnTo>
                    <a:pt x="524" y="329"/>
                  </a:lnTo>
                  <a:lnTo>
                    <a:pt x="510" y="326"/>
                  </a:lnTo>
                  <a:lnTo>
                    <a:pt x="496" y="322"/>
                  </a:lnTo>
                  <a:lnTo>
                    <a:pt x="483" y="316"/>
                  </a:lnTo>
                  <a:lnTo>
                    <a:pt x="471" y="311"/>
                  </a:lnTo>
                  <a:lnTo>
                    <a:pt x="461" y="304"/>
                  </a:lnTo>
                  <a:lnTo>
                    <a:pt x="451" y="295"/>
                  </a:lnTo>
                  <a:lnTo>
                    <a:pt x="451" y="181"/>
                  </a:lnTo>
                  <a:lnTo>
                    <a:pt x="662" y="181"/>
                  </a:lnTo>
                  <a:lnTo>
                    <a:pt x="662" y="282"/>
                  </a:lnTo>
                  <a:close/>
                  <a:moveTo>
                    <a:pt x="860" y="151"/>
                  </a:moveTo>
                  <a:lnTo>
                    <a:pt x="688" y="151"/>
                  </a:lnTo>
                  <a:lnTo>
                    <a:pt x="651" y="30"/>
                  </a:lnTo>
                  <a:lnTo>
                    <a:pt x="788" y="30"/>
                  </a:lnTo>
                  <a:lnTo>
                    <a:pt x="860" y="151"/>
                  </a:lnTo>
                  <a:close/>
                  <a:moveTo>
                    <a:pt x="901" y="161"/>
                  </a:moveTo>
                  <a:lnTo>
                    <a:pt x="901" y="160"/>
                  </a:lnTo>
                  <a:lnTo>
                    <a:pt x="901" y="160"/>
                  </a:lnTo>
                  <a:lnTo>
                    <a:pt x="900" y="159"/>
                  </a:lnTo>
                  <a:lnTo>
                    <a:pt x="900" y="159"/>
                  </a:lnTo>
                  <a:lnTo>
                    <a:pt x="810" y="8"/>
                  </a:lnTo>
                  <a:lnTo>
                    <a:pt x="808" y="5"/>
                  </a:lnTo>
                  <a:lnTo>
                    <a:pt x="805" y="2"/>
                  </a:lnTo>
                  <a:lnTo>
                    <a:pt x="801" y="1"/>
                  </a:lnTo>
                  <a:lnTo>
                    <a:pt x="797" y="0"/>
                  </a:lnTo>
                  <a:lnTo>
                    <a:pt x="105" y="0"/>
                  </a:lnTo>
                  <a:lnTo>
                    <a:pt x="102" y="1"/>
                  </a:lnTo>
                  <a:lnTo>
                    <a:pt x="97" y="2"/>
                  </a:lnTo>
                  <a:lnTo>
                    <a:pt x="95" y="5"/>
                  </a:lnTo>
                  <a:lnTo>
                    <a:pt x="92" y="8"/>
                  </a:lnTo>
                  <a:lnTo>
                    <a:pt x="2" y="158"/>
                  </a:lnTo>
                  <a:lnTo>
                    <a:pt x="2" y="159"/>
                  </a:lnTo>
                  <a:lnTo>
                    <a:pt x="2" y="160"/>
                  </a:lnTo>
                  <a:lnTo>
                    <a:pt x="1" y="160"/>
                  </a:lnTo>
                  <a:lnTo>
                    <a:pt x="1" y="161"/>
                  </a:lnTo>
                  <a:lnTo>
                    <a:pt x="0" y="163"/>
                  </a:lnTo>
                  <a:lnTo>
                    <a:pt x="0" y="166"/>
                  </a:lnTo>
                  <a:lnTo>
                    <a:pt x="0" y="166"/>
                  </a:lnTo>
                  <a:lnTo>
                    <a:pt x="0" y="166"/>
                  </a:lnTo>
                  <a:lnTo>
                    <a:pt x="0" y="196"/>
                  </a:lnTo>
                  <a:lnTo>
                    <a:pt x="0" y="208"/>
                  </a:lnTo>
                  <a:lnTo>
                    <a:pt x="2" y="220"/>
                  </a:lnTo>
                  <a:lnTo>
                    <a:pt x="4" y="231"/>
                  </a:lnTo>
                  <a:lnTo>
                    <a:pt x="6" y="241"/>
                  </a:lnTo>
                  <a:lnTo>
                    <a:pt x="11" y="252"/>
                  </a:lnTo>
                  <a:lnTo>
                    <a:pt x="15" y="262"/>
                  </a:lnTo>
                  <a:lnTo>
                    <a:pt x="19" y="271"/>
                  </a:lnTo>
                  <a:lnTo>
                    <a:pt x="26" y="280"/>
                  </a:lnTo>
                  <a:lnTo>
                    <a:pt x="32" y="289"/>
                  </a:lnTo>
                  <a:lnTo>
                    <a:pt x="39" y="296"/>
                  </a:lnTo>
                  <a:lnTo>
                    <a:pt x="46" y="304"/>
                  </a:lnTo>
                  <a:lnTo>
                    <a:pt x="54" y="310"/>
                  </a:lnTo>
                  <a:lnTo>
                    <a:pt x="62" y="315"/>
                  </a:lnTo>
                  <a:lnTo>
                    <a:pt x="72" y="320"/>
                  </a:lnTo>
                  <a:lnTo>
                    <a:pt x="80" y="324"/>
                  </a:lnTo>
                  <a:lnTo>
                    <a:pt x="90" y="327"/>
                  </a:lnTo>
                  <a:lnTo>
                    <a:pt x="90" y="767"/>
                  </a:lnTo>
                  <a:lnTo>
                    <a:pt x="91" y="771"/>
                  </a:lnTo>
                  <a:lnTo>
                    <a:pt x="91" y="774"/>
                  </a:lnTo>
                  <a:lnTo>
                    <a:pt x="93" y="776"/>
                  </a:lnTo>
                  <a:lnTo>
                    <a:pt x="94" y="778"/>
                  </a:lnTo>
                  <a:lnTo>
                    <a:pt x="96" y="780"/>
                  </a:lnTo>
                  <a:lnTo>
                    <a:pt x="100" y="781"/>
                  </a:lnTo>
                  <a:lnTo>
                    <a:pt x="102" y="782"/>
                  </a:lnTo>
                  <a:lnTo>
                    <a:pt x="105" y="782"/>
                  </a:lnTo>
                  <a:lnTo>
                    <a:pt x="556" y="782"/>
                  </a:lnTo>
                  <a:lnTo>
                    <a:pt x="737" y="782"/>
                  </a:lnTo>
                  <a:lnTo>
                    <a:pt x="797" y="782"/>
                  </a:lnTo>
                  <a:lnTo>
                    <a:pt x="800" y="782"/>
                  </a:lnTo>
                  <a:lnTo>
                    <a:pt x="802" y="781"/>
                  </a:lnTo>
                  <a:lnTo>
                    <a:pt x="806" y="780"/>
                  </a:lnTo>
                  <a:lnTo>
                    <a:pt x="808" y="778"/>
                  </a:lnTo>
                  <a:lnTo>
                    <a:pt x="810" y="776"/>
                  </a:lnTo>
                  <a:lnTo>
                    <a:pt x="811" y="774"/>
                  </a:lnTo>
                  <a:lnTo>
                    <a:pt x="812" y="771"/>
                  </a:lnTo>
                  <a:lnTo>
                    <a:pt x="812" y="767"/>
                  </a:lnTo>
                  <a:lnTo>
                    <a:pt x="812" y="323"/>
                  </a:lnTo>
                  <a:lnTo>
                    <a:pt x="822" y="319"/>
                  </a:lnTo>
                  <a:lnTo>
                    <a:pt x="830" y="313"/>
                  </a:lnTo>
                  <a:lnTo>
                    <a:pt x="839" y="308"/>
                  </a:lnTo>
                  <a:lnTo>
                    <a:pt x="847" y="302"/>
                  </a:lnTo>
                  <a:lnTo>
                    <a:pt x="856" y="296"/>
                  </a:lnTo>
                  <a:lnTo>
                    <a:pt x="862" y="289"/>
                  </a:lnTo>
                  <a:lnTo>
                    <a:pt x="870" y="281"/>
                  </a:lnTo>
                  <a:lnTo>
                    <a:pt x="876" y="272"/>
                  </a:lnTo>
                  <a:lnTo>
                    <a:pt x="882" y="264"/>
                  </a:lnTo>
                  <a:lnTo>
                    <a:pt x="887" y="255"/>
                  </a:lnTo>
                  <a:lnTo>
                    <a:pt x="891" y="246"/>
                  </a:lnTo>
                  <a:lnTo>
                    <a:pt x="896" y="236"/>
                  </a:lnTo>
                  <a:lnTo>
                    <a:pt x="898" y="226"/>
                  </a:lnTo>
                  <a:lnTo>
                    <a:pt x="900" y="217"/>
                  </a:lnTo>
                  <a:lnTo>
                    <a:pt x="902" y="206"/>
                  </a:lnTo>
                  <a:lnTo>
                    <a:pt x="902" y="196"/>
                  </a:lnTo>
                  <a:lnTo>
                    <a:pt x="902" y="166"/>
                  </a:lnTo>
                  <a:lnTo>
                    <a:pt x="902" y="166"/>
                  </a:lnTo>
                  <a:lnTo>
                    <a:pt x="902" y="166"/>
                  </a:lnTo>
                  <a:lnTo>
                    <a:pt x="902" y="163"/>
                  </a:lnTo>
                  <a:lnTo>
                    <a:pt x="901" y="1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34" name="Freeform 218"/>
            <p:cNvSpPr>
              <a:spLocks/>
            </p:cNvSpPr>
            <p:nvPr/>
          </p:nvSpPr>
          <p:spPr bwMode="auto">
            <a:xfrm>
              <a:off x="9520238" y="2728913"/>
              <a:ext cx="9525" cy="9525"/>
            </a:xfrm>
            <a:custGeom>
              <a:avLst/>
              <a:gdLst>
                <a:gd name="T0" fmla="*/ 15 w 30"/>
                <a:gd name="T1" fmla="*/ 0 h 30"/>
                <a:gd name="T2" fmla="*/ 12 w 30"/>
                <a:gd name="T3" fmla="*/ 0 h 30"/>
                <a:gd name="T4" fmla="*/ 9 w 30"/>
                <a:gd name="T5" fmla="*/ 1 h 30"/>
                <a:gd name="T6" fmla="*/ 6 w 30"/>
                <a:gd name="T7" fmla="*/ 3 h 30"/>
                <a:gd name="T8" fmla="*/ 4 w 30"/>
                <a:gd name="T9" fmla="*/ 5 h 30"/>
                <a:gd name="T10" fmla="*/ 2 w 30"/>
                <a:gd name="T11" fmla="*/ 7 h 30"/>
                <a:gd name="T12" fmla="*/ 1 w 30"/>
                <a:gd name="T13" fmla="*/ 9 h 30"/>
                <a:gd name="T14" fmla="*/ 0 w 30"/>
                <a:gd name="T15" fmla="*/ 12 h 30"/>
                <a:gd name="T16" fmla="*/ 0 w 30"/>
                <a:gd name="T17" fmla="*/ 15 h 30"/>
                <a:gd name="T18" fmla="*/ 0 w 30"/>
                <a:gd name="T19" fmla="*/ 19 h 30"/>
                <a:gd name="T20" fmla="*/ 1 w 30"/>
                <a:gd name="T21" fmla="*/ 21 h 30"/>
                <a:gd name="T22" fmla="*/ 2 w 30"/>
                <a:gd name="T23" fmla="*/ 24 h 30"/>
                <a:gd name="T24" fmla="*/ 4 w 30"/>
                <a:gd name="T25" fmla="*/ 26 h 30"/>
                <a:gd name="T26" fmla="*/ 6 w 30"/>
                <a:gd name="T27" fmla="*/ 27 h 30"/>
                <a:gd name="T28" fmla="*/ 9 w 30"/>
                <a:gd name="T29" fmla="*/ 29 h 30"/>
                <a:gd name="T30" fmla="*/ 12 w 30"/>
                <a:gd name="T31" fmla="*/ 30 h 30"/>
                <a:gd name="T32" fmla="*/ 15 w 30"/>
                <a:gd name="T33" fmla="*/ 30 h 30"/>
                <a:gd name="T34" fmla="*/ 17 w 30"/>
                <a:gd name="T35" fmla="*/ 30 h 30"/>
                <a:gd name="T36" fmla="*/ 20 w 30"/>
                <a:gd name="T37" fmla="*/ 29 h 30"/>
                <a:gd name="T38" fmla="*/ 23 w 30"/>
                <a:gd name="T39" fmla="*/ 27 h 30"/>
                <a:gd name="T40" fmla="*/ 26 w 30"/>
                <a:gd name="T41" fmla="*/ 26 h 30"/>
                <a:gd name="T42" fmla="*/ 27 w 30"/>
                <a:gd name="T43" fmla="*/ 24 h 30"/>
                <a:gd name="T44" fmla="*/ 29 w 30"/>
                <a:gd name="T45" fmla="*/ 21 h 30"/>
                <a:gd name="T46" fmla="*/ 29 w 30"/>
                <a:gd name="T47" fmla="*/ 19 h 30"/>
                <a:gd name="T48" fmla="*/ 30 w 30"/>
                <a:gd name="T49" fmla="*/ 15 h 30"/>
                <a:gd name="T50" fmla="*/ 29 w 30"/>
                <a:gd name="T51" fmla="*/ 12 h 30"/>
                <a:gd name="T52" fmla="*/ 29 w 30"/>
                <a:gd name="T53" fmla="*/ 9 h 30"/>
                <a:gd name="T54" fmla="*/ 27 w 30"/>
                <a:gd name="T55" fmla="*/ 7 h 30"/>
                <a:gd name="T56" fmla="*/ 26 w 30"/>
                <a:gd name="T57" fmla="*/ 5 h 30"/>
                <a:gd name="T58" fmla="*/ 23 w 30"/>
                <a:gd name="T59" fmla="*/ 3 h 30"/>
                <a:gd name="T60" fmla="*/ 20 w 30"/>
                <a:gd name="T61" fmla="*/ 1 h 30"/>
                <a:gd name="T62" fmla="*/ 17 w 30"/>
                <a:gd name="T63" fmla="*/ 0 h 30"/>
                <a:gd name="T64" fmla="*/ 15 w 30"/>
                <a:gd name="T65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0" h="30">
                  <a:moveTo>
                    <a:pt x="15" y="0"/>
                  </a:moveTo>
                  <a:lnTo>
                    <a:pt x="12" y="0"/>
                  </a:lnTo>
                  <a:lnTo>
                    <a:pt x="9" y="1"/>
                  </a:lnTo>
                  <a:lnTo>
                    <a:pt x="6" y="3"/>
                  </a:lnTo>
                  <a:lnTo>
                    <a:pt x="4" y="5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9"/>
                  </a:lnTo>
                  <a:lnTo>
                    <a:pt x="1" y="21"/>
                  </a:lnTo>
                  <a:lnTo>
                    <a:pt x="2" y="24"/>
                  </a:lnTo>
                  <a:lnTo>
                    <a:pt x="4" y="26"/>
                  </a:lnTo>
                  <a:lnTo>
                    <a:pt x="6" y="27"/>
                  </a:lnTo>
                  <a:lnTo>
                    <a:pt x="9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17" y="30"/>
                  </a:lnTo>
                  <a:lnTo>
                    <a:pt x="20" y="29"/>
                  </a:lnTo>
                  <a:lnTo>
                    <a:pt x="23" y="27"/>
                  </a:lnTo>
                  <a:lnTo>
                    <a:pt x="26" y="26"/>
                  </a:lnTo>
                  <a:lnTo>
                    <a:pt x="27" y="24"/>
                  </a:lnTo>
                  <a:lnTo>
                    <a:pt x="29" y="21"/>
                  </a:lnTo>
                  <a:lnTo>
                    <a:pt x="29" y="19"/>
                  </a:lnTo>
                  <a:lnTo>
                    <a:pt x="30" y="15"/>
                  </a:lnTo>
                  <a:lnTo>
                    <a:pt x="29" y="12"/>
                  </a:lnTo>
                  <a:lnTo>
                    <a:pt x="29" y="9"/>
                  </a:lnTo>
                  <a:lnTo>
                    <a:pt x="27" y="7"/>
                  </a:lnTo>
                  <a:lnTo>
                    <a:pt x="26" y="5"/>
                  </a:lnTo>
                  <a:lnTo>
                    <a:pt x="23" y="3"/>
                  </a:lnTo>
                  <a:lnTo>
                    <a:pt x="20" y="1"/>
                  </a:lnTo>
                  <a:lnTo>
                    <a:pt x="17" y="0"/>
                  </a:ln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  <p:grpSp>
        <p:nvGrpSpPr>
          <p:cNvPr id="35" name="Group 34"/>
          <p:cNvGrpSpPr/>
          <p:nvPr/>
        </p:nvGrpSpPr>
        <p:grpSpPr>
          <a:xfrm>
            <a:off x="9532020" y="2887689"/>
            <a:ext cx="286131" cy="286131"/>
            <a:chOff x="7591425" y="4217988"/>
            <a:chExt cx="285750" cy="285750"/>
          </a:xfrm>
          <a:solidFill>
            <a:schemeClr val="bg1"/>
          </a:solidFill>
        </p:grpSpPr>
        <p:sp>
          <p:nvSpPr>
            <p:cNvPr id="36" name="Freeform 275"/>
            <p:cNvSpPr>
              <a:spLocks noEditPoints="1"/>
            </p:cNvSpPr>
            <p:nvPr/>
          </p:nvSpPr>
          <p:spPr bwMode="auto">
            <a:xfrm>
              <a:off x="7591425" y="4217988"/>
              <a:ext cx="285750" cy="285750"/>
            </a:xfrm>
            <a:custGeom>
              <a:avLst/>
              <a:gdLst>
                <a:gd name="T0" fmla="*/ 366 w 903"/>
                <a:gd name="T1" fmla="*/ 864 h 902"/>
                <a:gd name="T2" fmla="*/ 269 w 903"/>
                <a:gd name="T3" fmla="*/ 830 h 902"/>
                <a:gd name="T4" fmla="*/ 184 w 903"/>
                <a:gd name="T5" fmla="*/ 776 h 902"/>
                <a:gd name="T6" fmla="*/ 115 w 903"/>
                <a:gd name="T7" fmla="*/ 703 h 902"/>
                <a:gd name="T8" fmla="*/ 63 w 903"/>
                <a:gd name="T9" fmla="*/ 615 h 902"/>
                <a:gd name="T10" fmla="*/ 35 w 903"/>
                <a:gd name="T11" fmla="*/ 515 h 902"/>
                <a:gd name="T12" fmla="*/ 33 w 903"/>
                <a:gd name="T13" fmla="*/ 408 h 902"/>
                <a:gd name="T14" fmla="*/ 56 w 903"/>
                <a:gd name="T15" fmla="*/ 307 h 902"/>
                <a:gd name="T16" fmla="*/ 103 w 903"/>
                <a:gd name="T17" fmla="*/ 215 h 902"/>
                <a:gd name="T18" fmla="*/ 168 w 903"/>
                <a:gd name="T19" fmla="*/ 139 h 902"/>
                <a:gd name="T20" fmla="*/ 251 w 903"/>
                <a:gd name="T21" fmla="*/ 80 h 902"/>
                <a:gd name="T22" fmla="*/ 346 w 903"/>
                <a:gd name="T23" fmla="*/ 43 h 902"/>
                <a:gd name="T24" fmla="*/ 451 w 903"/>
                <a:gd name="T25" fmla="*/ 30 h 902"/>
                <a:gd name="T26" fmla="*/ 557 w 903"/>
                <a:gd name="T27" fmla="*/ 43 h 902"/>
                <a:gd name="T28" fmla="*/ 652 w 903"/>
                <a:gd name="T29" fmla="*/ 80 h 902"/>
                <a:gd name="T30" fmla="*/ 735 w 903"/>
                <a:gd name="T31" fmla="*/ 139 h 902"/>
                <a:gd name="T32" fmla="*/ 800 w 903"/>
                <a:gd name="T33" fmla="*/ 215 h 902"/>
                <a:gd name="T34" fmla="*/ 847 w 903"/>
                <a:gd name="T35" fmla="*/ 307 h 902"/>
                <a:gd name="T36" fmla="*/ 870 w 903"/>
                <a:gd name="T37" fmla="*/ 408 h 902"/>
                <a:gd name="T38" fmla="*/ 868 w 903"/>
                <a:gd name="T39" fmla="*/ 514 h 902"/>
                <a:gd name="T40" fmla="*/ 840 w 903"/>
                <a:gd name="T41" fmla="*/ 615 h 902"/>
                <a:gd name="T42" fmla="*/ 788 w 903"/>
                <a:gd name="T43" fmla="*/ 703 h 902"/>
                <a:gd name="T44" fmla="*/ 719 w 903"/>
                <a:gd name="T45" fmla="*/ 776 h 902"/>
                <a:gd name="T46" fmla="*/ 634 w 903"/>
                <a:gd name="T47" fmla="*/ 830 h 902"/>
                <a:gd name="T48" fmla="*/ 537 w 903"/>
                <a:gd name="T49" fmla="*/ 864 h 902"/>
                <a:gd name="T50" fmla="*/ 452 w 903"/>
                <a:gd name="T51" fmla="*/ 0 h 902"/>
                <a:gd name="T52" fmla="*/ 338 w 903"/>
                <a:gd name="T53" fmla="*/ 14 h 902"/>
                <a:gd name="T54" fmla="*/ 237 w 903"/>
                <a:gd name="T55" fmla="*/ 54 h 902"/>
                <a:gd name="T56" fmla="*/ 149 w 903"/>
                <a:gd name="T57" fmla="*/ 117 h 902"/>
                <a:gd name="T58" fmla="*/ 77 w 903"/>
                <a:gd name="T59" fmla="*/ 198 h 902"/>
                <a:gd name="T60" fmla="*/ 28 w 903"/>
                <a:gd name="T61" fmla="*/ 296 h 902"/>
                <a:gd name="T62" fmla="*/ 3 w 903"/>
                <a:gd name="T63" fmla="*/ 405 h 902"/>
                <a:gd name="T64" fmla="*/ 5 w 903"/>
                <a:gd name="T65" fmla="*/ 520 h 902"/>
                <a:gd name="T66" fmla="*/ 36 w 903"/>
                <a:gd name="T67" fmla="*/ 626 h 902"/>
                <a:gd name="T68" fmla="*/ 90 w 903"/>
                <a:gd name="T69" fmla="*/ 720 h 902"/>
                <a:gd name="T70" fmla="*/ 165 w 903"/>
                <a:gd name="T71" fmla="*/ 798 h 902"/>
                <a:gd name="T72" fmla="*/ 256 w 903"/>
                <a:gd name="T73" fmla="*/ 857 h 902"/>
                <a:gd name="T74" fmla="*/ 361 w 903"/>
                <a:gd name="T75" fmla="*/ 892 h 902"/>
                <a:gd name="T76" fmla="*/ 475 w 903"/>
                <a:gd name="T77" fmla="*/ 901 h 902"/>
                <a:gd name="T78" fmla="*/ 586 w 903"/>
                <a:gd name="T79" fmla="*/ 882 h 902"/>
                <a:gd name="T80" fmla="*/ 686 w 903"/>
                <a:gd name="T81" fmla="*/ 837 h 902"/>
                <a:gd name="T82" fmla="*/ 770 w 903"/>
                <a:gd name="T83" fmla="*/ 769 h 902"/>
                <a:gd name="T84" fmla="*/ 837 w 903"/>
                <a:gd name="T85" fmla="*/ 685 h 902"/>
                <a:gd name="T86" fmla="*/ 883 w 903"/>
                <a:gd name="T87" fmla="*/ 585 h 902"/>
                <a:gd name="T88" fmla="*/ 902 w 903"/>
                <a:gd name="T89" fmla="*/ 474 h 902"/>
                <a:gd name="T90" fmla="*/ 893 w 903"/>
                <a:gd name="T91" fmla="*/ 360 h 902"/>
                <a:gd name="T92" fmla="*/ 858 w 903"/>
                <a:gd name="T93" fmla="*/ 255 h 902"/>
                <a:gd name="T94" fmla="*/ 799 w 903"/>
                <a:gd name="T95" fmla="*/ 164 h 902"/>
                <a:gd name="T96" fmla="*/ 721 w 903"/>
                <a:gd name="T97" fmla="*/ 89 h 902"/>
                <a:gd name="T98" fmla="*/ 627 w 903"/>
                <a:gd name="T99" fmla="*/ 36 h 902"/>
                <a:gd name="T100" fmla="*/ 521 w 903"/>
                <a:gd name="T101" fmla="*/ 6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903" h="902">
                  <a:moveTo>
                    <a:pt x="452" y="872"/>
                  </a:moveTo>
                  <a:lnTo>
                    <a:pt x="430" y="871"/>
                  </a:lnTo>
                  <a:lnTo>
                    <a:pt x="408" y="870"/>
                  </a:lnTo>
                  <a:lnTo>
                    <a:pt x="388" y="867"/>
                  </a:lnTo>
                  <a:lnTo>
                    <a:pt x="366" y="864"/>
                  </a:lnTo>
                  <a:lnTo>
                    <a:pt x="346" y="858"/>
                  </a:lnTo>
                  <a:lnTo>
                    <a:pt x="327" y="853"/>
                  </a:lnTo>
                  <a:lnTo>
                    <a:pt x="307" y="846"/>
                  </a:lnTo>
                  <a:lnTo>
                    <a:pt x="288" y="839"/>
                  </a:lnTo>
                  <a:lnTo>
                    <a:pt x="269" y="830"/>
                  </a:lnTo>
                  <a:lnTo>
                    <a:pt x="251" y="821"/>
                  </a:lnTo>
                  <a:lnTo>
                    <a:pt x="234" y="811"/>
                  </a:lnTo>
                  <a:lnTo>
                    <a:pt x="216" y="799"/>
                  </a:lnTo>
                  <a:lnTo>
                    <a:pt x="200" y="789"/>
                  </a:lnTo>
                  <a:lnTo>
                    <a:pt x="184" y="776"/>
                  </a:lnTo>
                  <a:lnTo>
                    <a:pt x="168" y="762"/>
                  </a:lnTo>
                  <a:lnTo>
                    <a:pt x="154" y="748"/>
                  </a:lnTo>
                  <a:lnTo>
                    <a:pt x="140" y="734"/>
                  </a:lnTo>
                  <a:lnTo>
                    <a:pt x="126" y="719"/>
                  </a:lnTo>
                  <a:lnTo>
                    <a:pt x="115" y="703"/>
                  </a:lnTo>
                  <a:lnTo>
                    <a:pt x="103" y="686"/>
                  </a:lnTo>
                  <a:lnTo>
                    <a:pt x="91" y="669"/>
                  </a:lnTo>
                  <a:lnTo>
                    <a:pt x="81" y="651"/>
                  </a:lnTo>
                  <a:lnTo>
                    <a:pt x="72" y="633"/>
                  </a:lnTo>
                  <a:lnTo>
                    <a:pt x="63" y="615"/>
                  </a:lnTo>
                  <a:lnTo>
                    <a:pt x="56" y="596"/>
                  </a:lnTo>
                  <a:lnTo>
                    <a:pt x="49" y="575"/>
                  </a:lnTo>
                  <a:lnTo>
                    <a:pt x="44" y="556"/>
                  </a:lnTo>
                  <a:lnTo>
                    <a:pt x="40" y="536"/>
                  </a:lnTo>
                  <a:lnTo>
                    <a:pt x="35" y="515"/>
                  </a:lnTo>
                  <a:lnTo>
                    <a:pt x="33" y="494"/>
                  </a:lnTo>
                  <a:lnTo>
                    <a:pt x="31" y="473"/>
                  </a:lnTo>
                  <a:lnTo>
                    <a:pt x="31" y="451"/>
                  </a:lnTo>
                  <a:lnTo>
                    <a:pt x="31" y="430"/>
                  </a:lnTo>
                  <a:lnTo>
                    <a:pt x="33" y="408"/>
                  </a:lnTo>
                  <a:lnTo>
                    <a:pt x="35" y="387"/>
                  </a:lnTo>
                  <a:lnTo>
                    <a:pt x="40" y="367"/>
                  </a:lnTo>
                  <a:lnTo>
                    <a:pt x="44" y="346"/>
                  </a:lnTo>
                  <a:lnTo>
                    <a:pt x="49" y="326"/>
                  </a:lnTo>
                  <a:lnTo>
                    <a:pt x="56" y="307"/>
                  </a:lnTo>
                  <a:lnTo>
                    <a:pt x="63" y="287"/>
                  </a:lnTo>
                  <a:lnTo>
                    <a:pt x="72" y="268"/>
                  </a:lnTo>
                  <a:lnTo>
                    <a:pt x="81" y="251"/>
                  </a:lnTo>
                  <a:lnTo>
                    <a:pt x="91" y="233"/>
                  </a:lnTo>
                  <a:lnTo>
                    <a:pt x="103" y="215"/>
                  </a:lnTo>
                  <a:lnTo>
                    <a:pt x="115" y="199"/>
                  </a:lnTo>
                  <a:lnTo>
                    <a:pt x="126" y="183"/>
                  </a:lnTo>
                  <a:lnTo>
                    <a:pt x="140" y="168"/>
                  </a:lnTo>
                  <a:lnTo>
                    <a:pt x="154" y="153"/>
                  </a:lnTo>
                  <a:lnTo>
                    <a:pt x="168" y="139"/>
                  </a:lnTo>
                  <a:lnTo>
                    <a:pt x="184" y="127"/>
                  </a:lnTo>
                  <a:lnTo>
                    <a:pt x="200" y="114"/>
                  </a:lnTo>
                  <a:lnTo>
                    <a:pt x="216" y="102"/>
                  </a:lnTo>
                  <a:lnTo>
                    <a:pt x="234" y="91"/>
                  </a:lnTo>
                  <a:lnTo>
                    <a:pt x="251" y="80"/>
                  </a:lnTo>
                  <a:lnTo>
                    <a:pt x="269" y="72"/>
                  </a:lnTo>
                  <a:lnTo>
                    <a:pt x="288" y="63"/>
                  </a:lnTo>
                  <a:lnTo>
                    <a:pt x="307" y="56"/>
                  </a:lnTo>
                  <a:lnTo>
                    <a:pt x="327" y="48"/>
                  </a:lnTo>
                  <a:lnTo>
                    <a:pt x="346" y="43"/>
                  </a:lnTo>
                  <a:lnTo>
                    <a:pt x="366" y="39"/>
                  </a:lnTo>
                  <a:lnTo>
                    <a:pt x="388" y="34"/>
                  </a:lnTo>
                  <a:lnTo>
                    <a:pt x="408" y="32"/>
                  </a:lnTo>
                  <a:lnTo>
                    <a:pt x="430" y="30"/>
                  </a:lnTo>
                  <a:lnTo>
                    <a:pt x="451" y="30"/>
                  </a:lnTo>
                  <a:lnTo>
                    <a:pt x="473" y="30"/>
                  </a:lnTo>
                  <a:lnTo>
                    <a:pt x="495" y="32"/>
                  </a:lnTo>
                  <a:lnTo>
                    <a:pt x="515" y="34"/>
                  </a:lnTo>
                  <a:lnTo>
                    <a:pt x="537" y="39"/>
                  </a:lnTo>
                  <a:lnTo>
                    <a:pt x="557" y="43"/>
                  </a:lnTo>
                  <a:lnTo>
                    <a:pt x="576" y="48"/>
                  </a:lnTo>
                  <a:lnTo>
                    <a:pt x="596" y="56"/>
                  </a:lnTo>
                  <a:lnTo>
                    <a:pt x="615" y="63"/>
                  </a:lnTo>
                  <a:lnTo>
                    <a:pt x="634" y="72"/>
                  </a:lnTo>
                  <a:lnTo>
                    <a:pt x="652" y="80"/>
                  </a:lnTo>
                  <a:lnTo>
                    <a:pt x="670" y="91"/>
                  </a:lnTo>
                  <a:lnTo>
                    <a:pt x="687" y="102"/>
                  </a:lnTo>
                  <a:lnTo>
                    <a:pt x="703" y="114"/>
                  </a:lnTo>
                  <a:lnTo>
                    <a:pt x="719" y="127"/>
                  </a:lnTo>
                  <a:lnTo>
                    <a:pt x="735" y="139"/>
                  </a:lnTo>
                  <a:lnTo>
                    <a:pt x="749" y="153"/>
                  </a:lnTo>
                  <a:lnTo>
                    <a:pt x="763" y="168"/>
                  </a:lnTo>
                  <a:lnTo>
                    <a:pt x="777" y="183"/>
                  </a:lnTo>
                  <a:lnTo>
                    <a:pt x="788" y="199"/>
                  </a:lnTo>
                  <a:lnTo>
                    <a:pt x="800" y="215"/>
                  </a:lnTo>
                  <a:lnTo>
                    <a:pt x="812" y="233"/>
                  </a:lnTo>
                  <a:lnTo>
                    <a:pt x="822" y="251"/>
                  </a:lnTo>
                  <a:lnTo>
                    <a:pt x="831" y="269"/>
                  </a:lnTo>
                  <a:lnTo>
                    <a:pt x="840" y="287"/>
                  </a:lnTo>
                  <a:lnTo>
                    <a:pt x="847" y="307"/>
                  </a:lnTo>
                  <a:lnTo>
                    <a:pt x="854" y="326"/>
                  </a:lnTo>
                  <a:lnTo>
                    <a:pt x="859" y="346"/>
                  </a:lnTo>
                  <a:lnTo>
                    <a:pt x="863" y="367"/>
                  </a:lnTo>
                  <a:lnTo>
                    <a:pt x="868" y="387"/>
                  </a:lnTo>
                  <a:lnTo>
                    <a:pt x="870" y="408"/>
                  </a:lnTo>
                  <a:lnTo>
                    <a:pt x="872" y="430"/>
                  </a:lnTo>
                  <a:lnTo>
                    <a:pt x="872" y="451"/>
                  </a:lnTo>
                  <a:lnTo>
                    <a:pt x="872" y="473"/>
                  </a:lnTo>
                  <a:lnTo>
                    <a:pt x="870" y="494"/>
                  </a:lnTo>
                  <a:lnTo>
                    <a:pt x="868" y="514"/>
                  </a:lnTo>
                  <a:lnTo>
                    <a:pt x="863" y="536"/>
                  </a:lnTo>
                  <a:lnTo>
                    <a:pt x="859" y="556"/>
                  </a:lnTo>
                  <a:lnTo>
                    <a:pt x="854" y="575"/>
                  </a:lnTo>
                  <a:lnTo>
                    <a:pt x="847" y="596"/>
                  </a:lnTo>
                  <a:lnTo>
                    <a:pt x="840" y="615"/>
                  </a:lnTo>
                  <a:lnTo>
                    <a:pt x="831" y="633"/>
                  </a:lnTo>
                  <a:lnTo>
                    <a:pt x="822" y="651"/>
                  </a:lnTo>
                  <a:lnTo>
                    <a:pt x="812" y="669"/>
                  </a:lnTo>
                  <a:lnTo>
                    <a:pt x="800" y="686"/>
                  </a:lnTo>
                  <a:lnTo>
                    <a:pt x="788" y="703"/>
                  </a:lnTo>
                  <a:lnTo>
                    <a:pt x="777" y="719"/>
                  </a:lnTo>
                  <a:lnTo>
                    <a:pt x="763" y="734"/>
                  </a:lnTo>
                  <a:lnTo>
                    <a:pt x="749" y="748"/>
                  </a:lnTo>
                  <a:lnTo>
                    <a:pt x="735" y="762"/>
                  </a:lnTo>
                  <a:lnTo>
                    <a:pt x="719" y="776"/>
                  </a:lnTo>
                  <a:lnTo>
                    <a:pt x="703" y="787"/>
                  </a:lnTo>
                  <a:lnTo>
                    <a:pt x="687" y="799"/>
                  </a:lnTo>
                  <a:lnTo>
                    <a:pt x="670" y="811"/>
                  </a:lnTo>
                  <a:lnTo>
                    <a:pt x="652" y="821"/>
                  </a:lnTo>
                  <a:lnTo>
                    <a:pt x="634" y="830"/>
                  </a:lnTo>
                  <a:lnTo>
                    <a:pt x="615" y="839"/>
                  </a:lnTo>
                  <a:lnTo>
                    <a:pt x="596" y="846"/>
                  </a:lnTo>
                  <a:lnTo>
                    <a:pt x="576" y="853"/>
                  </a:lnTo>
                  <a:lnTo>
                    <a:pt x="557" y="858"/>
                  </a:lnTo>
                  <a:lnTo>
                    <a:pt x="537" y="864"/>
                  </a:lnTo>
                  <a:lnTo>
                    <a:pt x="515" y="867"/>
                  </a:lnTo>
                  <a:lnTo>
                    <a:pt x="495" y="870"/>
                  </a:lnTo>
                  <a:lnTo>
                    <a:pt x="473" y="871"/>
                  </a:lnTo>
                  <a:lnTo>
                    <a:pt x="452" y="872"/>
                  </a:lnTo>
                  <a:close/>
                  <a:moveTo>
                    <a:pt x="452" y="0"/>
                  </a:moveTo>
                  <a:lnTo>
                    <a:pt x="428" y="0"/>
                  </a:lnTo>
                  <a:lnTo>
                    <a:pt x="406" y="2"/>
                  </a:lnTo>
                  <a:lnTo>
                    <a:pt x="382" y="4"/>
                  </a:lnTo>
                  <a:lnTo>
                    <a:pt x="361" y="9"/>
                  </a:lnTo>
                  <a:lnTo>
                    <a:pt x="338" y="14"/>
                  </a:lnTo>
                  <a:lnTo>
                    <a:pt x="317" y="21"/>
                  </a:lnTo>
                  <a:lnTo>
                    <a:pt x="297" y="27"/>
                  </a:lnTo>
                  <a:lnTo>
                    <a:pt x="276" y="36"/>
                  </a:lnTo>
                  <a:lnTo>
                    <a:pt x="256" y="44"/>
                  </a:lnTo>
                  <a:lnTo>
                    <a:pt x="237" y="54"/>
                  </a:lnTo>
                  <a:lnTo>
                    <a:pt x="217" y="65"/>
                  </a:lnTo>
                  <a:lnTo>
                    <a:pt x="199" y="77"/>
                  </a:lnTo>
                  <a:lnTo>
                    <a:pt x="182" y="89"/>
                  </a:lnTo>
                  <a:lnTo>
                    <a:pt x="165" y="103"/>
                  </a:lnTo>
                  <a:lnTo>
                    <a:pt x="149" y="117"/>
                  </a:lnTo>
                  <a:lnTo>
                    <a:pt x="133" y="132"/>
                  </a:lnTo>
                  <a:lnTo>
                    <a:pt x="118" y="148"/>
                  </a:lnTo>
                  <a:lnTo>
                    <a:pt x="104" y="164"/>
                  </a:lnTo>
                  <a:lnTo>
                    <a:pt x="90" y="181"/>
                  </a:lnTo>
                  <a:lnTo>
                    <a:pt x="77" y="198"/>
                  </a:lnTo>
                  <a:lnTo>
                    <a:pt x="65" y="218"/>
                  </a:lnTo>
                  <a:lnTo>
                    <a:pt x="55" y="236"/>
                  </a:lnTo>
                  <a:lnTo>
                    <a:pt x="45" y="255"/>
                  </a:lnTo>
                  <a:lnTo>
                    <a:pt x="36" y="275"/>
                  </a:lnTo>
                  <a:lnTo>
                    <a:pt x="28" y="296"/>
                  </a:lnTo>
                  <a:lnTo>
                    <a:pt x="20" y="317"/>
                  </a:lnTo>
                  <a:lnTo>
                    <a:pt x="15" y="339"/>
                  </a:lnTo>
                  <a:lnTo>
                    <a:pt x="10" y="360"/>
                  </a:lnTo>
                  <a:lnTo>
                    <a:pt x="5" y="383"/>
                  </a:lnTo>
                  <a:lnTo>
                    <a:pt x="3" y="405"/>
                  </a:lnTo>
                  <a:lnTo>
                    <a:pt x="1" y="428"/>
                  </a:lnTo>
                  <a:lnTo>
                    <a:pt x="0" y="451"/>
                  </a:lnTo>
                  <a:lnTo>
                    <a:pt x="1" y="474"/>
                  </a:lnTo>
                  <a:lnTo>
                    <a:pt x="3" y="497"/>
                  </a:lnTo>
                  <a:lnTo>
                    <a:pt x="5" y="520"/>
                  </a:lnTo>
                  <a:lnTo>
                    <a:pt x="10" y="541"/>
                  </a:lnTo>
                  <a:lnTo>
                    <a:pt x="15" y="564"/>
                  </a:lnTo>
                  <a:lnTo>
                    <a:pt x="20" y="585"/>
                  </a:lnTo>
                  <a:lnTo>
                    <a:pt x="28" y="605"/>
                  </a:lnTo>
                  <a:lnTo>
                    <a:pt x="36" y="626"/>
                  </a:lnTo>
                  <a:lnTo>
                    <a:pt x="45" y="646"/>
                  </a:lnTo>
                  <a:lnTo>
                    <a:pt x="55" y="665"/>
                  </a:lnTo>
                  <a:lnTo>
                    <a:pt x="66" y="685"/>
                  </a:lnTo>
                  <a:lnTo>
                    <a:pt x="77" y="703"/>
                  </a:lnTo>
                  <a:lnTo>
                    <a:pt x="90" y="720"/>
                  </a:lnTo>
                  <a:lnTo>
                    <a:pt x="104" y="737"/>
                  </a:lnTo>
                  <a:lnTo>
                    <a:pt x="118" y="754"/>
                  </a:lnTo>
                  <a:lnTo>
                    <a:pt x="133" y="769"/>
                  </a:lnTo>
                  <a:lnTo>
                    <a:pt x="149" y="784"/>
                  </a:lnTo>
                  <a:lnTo>
                    <a:pt x="165" y="798"/>
                  </a:lnTo>
                  <a:lnTo>
                    <a:pt x="182" y="812"/>
                  </a:lnTo>
                  <a:lnTo>
                    <a:pt x="199" y="825"/>
                  </a:lnTo>
                  <a:lnTo>
                    <a:pt x="217" y="837"/>
                  </a:lnTo>
                  <a:lnTo>
                    <a:pt x="237" y="847"/>
                  </a:lnTo>
                  <a:lnTo>
                    <a:pt x="256" y="857"/>
                  </a:lnTo>
                  <a:lnTo>
                    <a:pt x="276" y="867"/>
                  </a:lnTo>
                  <a:lnTo>
                    <a:pt x="297" y="874"/>
                  </a:lnTo>
                  <a:lnTo>
                    <a:pt x="317" y="882"/>
                  </a:lnTo>
                  <a:lnTo>
                    <a:pt x="338" y="887"/>
                  </a:lnTo>
                  <a:lnTo>
                    <a:pt x="361" y="892"/>
                  </a:lnTo>
                  <a:lnTo>
                    <a:pt x="382" y="897"/>
                  </a:lnTo>
                  <a:lnTo>
                    <a:pt x="406" y="900"/>
                  </a:lnTo>
                  <a:lnTo>
                    <a:pt x="428" y="901"/>
                  </a:lnTo>
                  <a:lnTo>
                    <a:pt x="451" y="902"/>
                  </a:lnTo>
                  <a:lnTo>
                    <a:pt x="475" y="901"/>
                  </a:lnTo>
                  <a:lnTo>
                    <a:pt x="497" y="900"/>
                  </a:lnTo>
                  <a:lnTo>
                    <a:pt x="521" y="897"/>
                  </a:lnTo>
                  <a:lnTo>
                    <a:pt x="542" y="892"/>
                  </a:lnTo>
                  <a:lnTo>
                    <a:pt x="565" y="887"/>
                  </a:lnTo>
                  <a:lnTo>
                    <a:pt x="586" y="882"/>
                  </a:lnTo>
                  <a:lnTo>
                    <a:pt x="606" y="874"/>
                  </a:lnTo>
                  <a:lnTo>
                    <a:pt x="627" y="867"/>
                  </a:lnTo>
                  <a:lnTo>
                    <a:pt x="647" y="857"/>
                  </a:lnTo>
                  <a:lnTo>
                    <a:pt x="666" y="847"/>
                  </a:lnTo>
                  <a:lnTo>
                    <a:pt x="686" y="837"/>
                  </a:lnTo>
                  <a:lnTo>
                    <a:pt x="704" y="825"/>
                  </a:lnTo>
                  <a:lnTo>
                    <a:pt x="721" y="812"/>
                  </a:lnTo>
                  <a:lnTo>
                    <a:pt x="738" y="798"/>
                  </a:lnTo>
                  <a:lnTo>
                    <a:pt x="754" y="784"/>
                  </a:lnTo>
                  <a:lnTo>
                    <a:pt x="770" y="769"/>
                  </a:lnTo>
                  <a:lnTo>
                    <a:pt x="785" y="754"/>
                  </a:lnTo>
                  <a:lnTo>
                    <a:pt x="799" y="737"/>
                  </a:lnTo>
                  <a:lnTo>
                    <a:pt x="813" y="720"/>
                  </a:lnTo>
                  <a:lnTo>
                    <a:pt x="826" y="703"/>
                  </a:lnTo>
                  <a:lnTo>
                    <a:pt x="837" y="685"/>
                  </a:lnTo>
                  <a:lnTo>
                    <a:pt x="848" y="665"/>
                  </a:lnTo>
                  <a:lnTo>
                    <a:pt x="858" y="646"/>
                  </a:lnTo>
                  <a:lnTo>
                    <a:pt x="867" y="626"/>
                  </a:lnTo>
                  <a:lnTo>
                    <a:pt x="875" y="605"/>
                  </a:lnTo>
                  <a:lnTo>
                    <a:pt x="883" y="585"/>
                  </a:lnTo>
                  <a:lnTo>
                    <a:pt x="888" y="564"/>
                  </a:lnTo>
                  <a:lnTo>
                    <a:pt x="893" y="541"/>
                  </a:lnTo>
                  <a:lnTo>
                    <a:pt x="898" y="520"/>
                  </a:lnTo>
                  <a:lnTo>
                    <a:pt x="900" y="497"/>
                  </a:lnTo>
                  <a:lnTo>
                    <a:pt x="902" y="474"/>
                  </a:lnTo>
                  <a:lnTo>
                    <a:pt x="903" y="451"/>
                  </a:lnTo>
                  <a:lnTo>
                    <a:pt x="902" y="428"/>
                  </a:lnTo>
                  <a:lnTo>
                    <a:pt x="900" y="405"/>
                  </a:lnTo>
                  <a:lnTo>
                    <a:pt x="898" y="383"/>
                  </a:lnTo>
                  <a:lnTo>
                    <a:pt x="893" y="360"/>
                  </a:lnTo>
                  <a:lnTo>
                    <a:pt x="888" y="339"/>
                  </a:lnTo>
                  <a:lnTo>
                    <a:pt x="883" y="317"/>
                  </a:lnTo>
                  <a:lnTo>
                    <a:pt x="875" y="296"/>
                  </a:lnTo>
                  <a:lnTo>
                    <a:pt x="867" y="275"/>
                  </a:lnTo>
                  <a:lnTo>
                    <a:pt x="858" y="255"/>
                  </a:lnTo>
                  <a:lnTo>
                    <a:pt x="848" y="236"/>
                  </a:lnTo>
                  <a:lnTo>
                    <a:pt x="837" y="218"/>
                  </a:lnTo>
                  <a:lnTo>
                    <a:pt x="826" y="198"/>
                  </a:lnTo>
                  <a:lnTo>
                    <a:pt x="813" y="181"/>
                  </a:lnTo>
                  <a:lnTo>
                    <a:pt x="799" y="164"/>
                  </a:lnTo>
                  <a:lnTo>
                    <a:pt x="785" y="148"/>
                  </a:lnTo>
                  <a:lnTo>
                    <a:pt x="770" y="132"/>
                  </a:lnTo>
                  <a:lnTo>
                    <a:pt x="754" y="117"/>
                  </a:lnTo>
                  <a:lnTo>
                    <a:pt x="738" y="103"/>
                  </a:lnTo>
                  <a:lnTo>
                    <a:pt x="721" y="89"/>
                  </a:lnTo>
                  <a:lnTo>
                    <a:pt x="704" y="77"/>
                  </a:lnTo>
                  <a:lnTo>
                    <a:pt x="686" y="65"/>
                  </a:lnTo>
                  <a:lnTo>
                    <a:pt x="666" y="55"/>
                  </a:lnTo>
                  <a:lnTo>
                    <a:pt x="647" y="44"/>
                  </a:lnTo>
                  <a:lnTo>
                    <a:pt x="627" y="36"/>
                  </a:lnTo>
                  <a:lnTo>
                    <a:pt x="606" y="27"/>
                  </a:lnTo>
                  <a:lnTo>
                    <a:pt x="586" y="21"/>
                  </a:lnTo>
                  <a:lnTo>
                    <a:pt x="565" y="14"/>
                  </a:lnTo>
                  <a:lnTo>
                    <a:pt x="542" y="9"/>
                  </a:lnTo>
                  <a:lnTo>
                    <a:pt x="521" y="6"/>
                  </a:lnTo>
                  <a:lnTo>
                    <a:pt x="497" y="2"/>
                  </a:lnTo>
                  <a:lnTo>
                    <a:pt x="475" y="0"/>
                  </a:lnTo>
                  <a:lnTo>
                    <a:pt x="451" y="0"/>
                  </a:lnTo>
                  <a:lnTo>
                    <a:pt x="45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37" name="Freeform 276"/>
            <p:cNvSpPr>
              <a:spLocks/>
            </p:cNvSpPr>
            <p:nvPr/>
          </p:nvSpPr>
          <p:spPr bwMode="auto">
            <a:xfrm>
              <a:off x="7681913" y="4308475"/>
              <a:ext cx="104775" cy="104775"/>
            </a:xfrm>
            <a:custGeom>
              <a:avLst/>
              <a:gdLst>
                <a:gd name="T0" fmla="*/ 327 w 331"/>
                <a:gd name="T1" fmla="*/ 4 h 331"/>
                <a:gd name="T2" fmla="*/ 325 w 331"/>
                <a:gd name="T3" fmla="*/ 3 h 331"/>
                <a:gd name="T4" fmla="*/ 321 w 331"/>
                <a:gd name="T5" fmla="*/ 1 h 331"/>
                <a:gd name="T6" fmla="*/ 319 w 331"/>
                <a:gd name="T7" fmla="*/ 1 h 331"/>
                <a:gd name="T8" fmla="*/ 316 w 331"/>
                <a:gd name="T9" fmla="*/ 0 h 331"/>
                <a:gd name="T10" fmla="*/ 313 w 331"/>
                <a:gd name="T11" fmla="*/ 1 h 331"/>
                <a:gd name="T12" fmla="*/ 311 w 331"/>
                <a:gd name="T13" fmla="*/ 1 h 331"/>
                <a:gd name="T14" fmla="*/ 307 w 331"/>
                <a:gd name="T15" fmla="*/ 3 h 331"/>
                <a:gd name="T16" fmla="*/ 305 w 331"/>
                <a:gd name="T17" fmla="*/ 4 h 331"/>
                <a:gd name="T18" fmla="*/ 4 w 331"/>
                <a:gd name="T19" fmla="*/ 305 h 331"/>
                <a:gd name="T20" fmla="*/ 2 w 331"/>
                <a:gd name="T21" fmla="*/ 308 h 331"/>
                <a:gd name="T22" fmla="*/ 1 w 331"/>
                <a:gd name="T23" fmla="*/ 311 h 331"/>
                <a:gd name="T24" fmla="*/ 0 w 331"/>
                <a:gd name="T25" fmla="*/ 313 h 331"/>
                <a:gd name="T26" fmla="*/ 0 w 331"/>
                <a:gd name="T27" fmla="*/ 316 h 331"/>
                <a:gd name="T28" fmla="*/ 0 w 331"/>
                <a:gd name="T29" fmla="*/ 319 h 331"/>
                <a:gd name="T30" fmla="*/ 1 w 331"/>
                <a:gd name="T31" fmla="*/ 321 h 331"/>
                <a:gd name="T32" fmla="*/ 2 w 331"/>
                <a:gd name="T33" fmla="*/ 325 h 331"/>
                <a:gd name="T34" fmla="*/ 4 w 331"/>
                <a:gd name="T35" fmla="*/ 327 h 331"/>
                <a:gd name="T36" fmla="*/ 6 w 331"/>
                <a:gd name="T37" fmla="*/ 329 h 331"/>
                <a:gd name="T38" fmla="*/ 10 w 331"/>
                <a:gd name="T39" fmla="*/ 330 h 331"/>
                <a:gd name="T40" fmla="*/ 12 w 331"/>
                <a:gd name="T41" fmla="*/ 331 h 331"/>
                <a:gd name="T42" fmla="*/ 15 w 331"/>
                <a:gd name="T43" fmla="*/ 331 h 331"/>
                <a:gd name="T44" fmla="*/ 18 w 331"/>
                <a:gd name="T45" fmla="*/ 331 h 331"/>
                <a:gd name="T46" fmla="*/ 20 w 331"/>
                <a:gd name="T47" fmla="*/ 330 h 331"/>
                <a:gd name="T48" fmla="*/ 24 w 331"/>
                <a:gd name="T49" fmla="*/ 329 h 331"/>
                <a:gd name="T50" fmla="*/ 26 w 331"/>
                <a:gd name="T51" fmla="*/ 327 h 331"/>
                <a:gd name="T52" fmla="*/ 327 w 331"/>
                <a:gd name="T53" fmla="*/ 26 h 331"/>
                <a:gd name="T54" fmla="*/ 329 w 331"/>
                <a:gd name="T55" fmla="*/ 24 h 331"/>
                <a:gd name="T56" fmla="*/ 330 w 331"/>
                <a:gd name="T57" fmla="*/ 22 h 331"/>
                <a:gd name="T58" fmla="*/ 331 w 331"/>
                <a:gd name="T59" fmla="*/ 18 h 331"/>
                <a:gd name="T60" fmla="*/ 331 w 331"/>
                <a:gd name="T61" fmla="*/ 15 h 331"/>
                <a:gd name="T62" fmla="*/ 331 w 331"/>
                <a:gd name="T63" fmla="*/ 13 h 331"/>
                <a:gd name="T64" fmla="*/ 330 w 331"/>
                <a:gd name="T65" fmla="*/ 10 h 331"/>
                <a:gd name="T66" fmla="*/ 329 w 331"/>
                <a:gd name="T67" fmla="*/ 8 h 331"/>
                <a:gd name="T68" fmla="*/ 327 w 331"/>
                <a:gd name="T69" fmla="*/ 4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31" h="331">
                  <a:moveTo>
                    <a:pt x="327" y="4"/>
                  </a:moveTo>
                  <a:lnTo>
                    <a:pt x="325" y="3"/>
                  </a:lnTo>
                  <a:lnTo>
                    <a:pt x="321" y="1"/>
                  </a:lnTo>
                  <a:lnTo>
                    <a:pt x="319" y="1"/>
                  </a:lnTo>
                  <a:lnTo>
                    <a:pt x="316" y="0"/>
                  </a:lnTo>
                  <a:lnTo>
                    <a:pt x="313" y="1"/>
                  </a:lnTo>
                  <a:lnTo>
                    <a:pt x="311" y="1"/>
                  </a:lnTo>
                  <a:lnTo>
                    <a:pt x="307" y="3"/>
                  </a:lnTo>
                  <a:lnTo>
                    <a:pt x="305" y="4"/>
                  </a:lnTo>
                  <a:lnTo>
                    <a:pt x="4" y="305"/>
                  </a:lnTo>
                  <a:lnTo>
                    <a:pt x="2" y="308"/>
                  </a:lnTo>
                  <a:lnTo>
                    <a:pt x="1" y="311"/>
                  </a:lnTo>
                  <a:lnTo>
                    <a:pt x="0" y="313"/>
                  </a:lnTo>
                  <a:lnTo>
                    <a:pt x="0" y="316"/>
                  </a:lnTo>
                  <a:lnTo>
                    <a:pt x="0" y="319"/>
                  </a:lnTo>
                  <a:lnTo>
                    <a:pt x="1" y="321"/>
                  </a:lnTo>
                  <a:lnTo>
                    <a:pt x="2" y="325"/>
                  </a:lnTo>
                  <a:lnTo>
                    <a:pt x="4" y="327"/>
                  </a:lnTo>
                  <a:lnTo>
                    <a:pt x="6" y="329"/>
                  </a:lnTo>
                  <a:lnTo>
                    <a:pt x="10" y="330"/>
                  </a:lnTo>
                  <a:lnTo>
                    <a:pt x="12" y="331"/>
                  </a:lnTo>
                  <a:lnTo>
                    <a:pt x="15" y="331"/>
                  </a:lnTo>
                  <a:lnTo>
                    <a:pt x="18" y="331"/>
                  </a:lnTo>
                  <a:lnTo>
                    <a:pt x="20" y="330"/>
                  </a:lnTo>
                  <a:lnTo>
                    <a:pt x="24" y="329"/>
                  </a:lnTo>
                  <a:lnTo>
                    <a:pt x="26" y="327"/>
                  </a:lnTo>
                  <a:lnTo>
                    <a:pt x="327" y="26"/>
                  </a:lnTo>
                  <a:lnTo>
                    <a:pt x="329" y="24"/>
                  </a:lnTo>
                  <a:lnTo>
                    <a:pt x="330" y="22"/>
                  </a:lnTo>
                  <a:lnTo>
                    <a:pt x="331" y="18"/>
                  </a:lnTo>
                  <a:lnTo>
                    <a:pt x="331" y="15"/>
                  </a:lnTo>
                  <a:lnTo>
                    <a:pt x="331" y="13"/>
                  </a:lnTo>
                  <a:lnTo>
                    <a:pt x="330" y="10"/>
                  </a:lnTo>
                  <a:lnTo>
                    <a:pt x="329" y="8"/>
                  </a:lnTo>
                  <a:lnTo>
                    <a:pt x="327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38" name="Freeform 277"/>
            <p:cNvSpPr>
              <a:spLocks noEditPoints="1"/>
            </p:cNvSpPr>
            <p:nvPr/>
          </p:nvSpPr>
          <p:spPr bwMode="auto">
            <a:xfrm>
              <a:off x="7677150" y="4303713"/>
              <a:ext cx="47625" cy="47625"/>
            </a:xfrm>
            <a:custGeom>
              <a:avLst/>
              <a:gdLst>
                <a:gd name="T0" fmla="*/ 85 w 150"/>
                <a:gd name="T1" fmla="*/ 31 h 151"/>
                <a:gd name="T2" fmla="*/ 101 w 150"/>
                <a:gd name="T3" fmla="*/ 39 h 151"/>
                <a:gd name="T4" fmla="*/ 112 w 150"/>
                <a:gd name="T5" fmla="*/ 50 h 151"/>
                <a:gd name="T6" fmla="*/ 119 w 150"/>
                <a:gd name="T7" fmla="*/ 67 h 151"/>
                <a:gd name="T8" fmla="*/ 120 w 150"/>
                <a:gd name="T9" fmla="*/ 85 h 151"/>
                <a:gd name="T10" fmla="*/ 112 w 150"/>
                <a:gd name="T11" fmla="*/ 101 h 151"/>
                <a:gd name="T12" fmla="*/ 101 w 150"/>
                <a:gd name="T13" fmla="*/ 113 h 151"/>
                <a:gd name="T14" fmla="*/ 85 w 150"/>
                <a:gd name="T15" fmla="*/ 120 h 151"/>
                <a:gd name="T16" fmla="*/ 66 w 150"/>
                <a:gd name="T17" fmla="*/ 120 h 151"/>
                <a:gd name="T18" fmla="*/ 50 w 150"/>
                <a:gd name="T19" fmla="*/ 113 h 151"/>
                <a:gd name="T20" fmla="*/ 37 w 150"/>
                <a:gd name="T21" fmla="*/ 101 h 151"/>
                <a:gd name="T22" fmla="*/ 31 w 150"/>
                <a:gd name="T23" fmla="*/ 85 h 151"/>
                <a:gd name="T24" fmla="*/ 31 w 150"/>
                <a:gd name="T25" fmla="*/ 67 h 151"/>
                <a:gd name="T26" fmla="*/ 37 w 150"/>
                <a:gd name="T27" fmla="*/ 50 h 151"/>
                <a:gd name="T28" fmla="*/ 50 w 150"/>
                <a:gd name="T29" fmla="*/ 39 h 151"/>
                <a:gd name="T30" fmla="*/ 66 w 150"/>
                <a:gd name="T31" fmla="*/ 31 h 151"/>
                <a:gd name="T32" fmla="*/ 75 w 150"/>
                <a:gd name="T33" fmla="*/ 151 h 151"/>
                <a:gd name="T34" fmla="*/ 90 w 150"/>
                <a:gd name="T35" fmla="*/ 149 h 151"/>
                <a:gd name="T36" fmla="*/ 105 w 150"/>
                <a:gd name="T37" fmla="*/ 145 h 151"/>
                <a:gd name="T38" fmla="*/ 117 w 150"/>
                <a:gd name="T39" fmla="*/ 138 h 151"/>
                <a:gd name="T40" fmla="*/ 129 w 150"/>
                <a:gd name="T41" fmla="*/ 129 h 151"/>
                <a:gd name="T42" fmla="*/ 137 w 150"/>
                <a:gd name="T43" fmla="*/ 118 h 151"/>
                <a:gd name="T44" fmla="*/ 145 w 150"/>
                <a:gd name="T45" fmla="*/ 105 h 151"/>
                <a:gd name="T46" fmla="*/ 149 w 150"/>
                <a:gd name="T47" fmla="*/ 91 h 151"/>
                <a:gd name="T48" fmla="*/ 150 w 150"/>
                <a:gd name="T49" fmla="*/ 75 h 151"/>
                <a:gd name="T50" fmla="*/ 149 w 150"/>
                <a:gd name="T51" fmla="*/ 60 h 151"/>
                <a:gd name="T52" fmla="*/ 145 w 150"/>
                <a:gd name="T53" fmla="*/ 46 h 151"/>
                <a:gd name="T54" fmla="*/ 137 w 150"/>
                <a:gd name="T55" fmla="*/ 33 h 151"/>
                <a:gd name="T56" fmla="*/ 129 w 150"/>
                <a:gd name="T57" fmla="*/ 23 h 151"/>
                <a:gd name="T58" fmla="*/ 117 w 150"/>
                <a:gd name="T59" fmla="*/ 13 h 151"/>
                <a:gd name="T60" fmla="*/ 105 w 150"/>
                <a:gd name="T61" fmla="*/ 7 h 151"/>
                <a:gd name="T62" fmla="*/ 90 w 150"/>
                <a:gd name="T63" fmla="*/ 2 h 151"/>
                <a:gd name="T64" fmla="*/ 75 w 150"/>
                <a:gd name="T65" fmla="*/ 0 h 151"/>
                <a:gd name="T66" fmla="*/ 60 w 150"/>
                <a:gd name="T67" fmla="*/ 2 h 151"/>
                <a:gd name="T68" fmla="*/ 46 w 150"/>
                <a:gd name="T69" fmla="*/ 7 h 151"/>
                <a:gd name="T70" fmla="*/ 33 w 150"/>
                <a:gd name="T71" fmla="*/ 13 h 151"/>
                <a:gd name="T72" fmla="*/ 22 w 150"/>
                <a:gd name="T73" fmla="*/ 23 h 151"/>
                <a:gd name="T74" fmla="*/ 13 w 150"/>
                <a:gd name="T75" fmla="*/ 33 h 151"/>
                <a:gd name="T76" fmla="*/ 6 w 150"/>
                <a:gd name="T77" fmla="*/ 46 h 151"/>
                <a:gd name="T78" fmla="*/ 2 w 150"/>
                <a:gd name="T79" fmla="*/ 60 h 151"/>
                <a:gd name="T80" fmla="*/ 0 w 150"/>
                <a:gd name="T81" fmla="*/ 75 h 151"/>
                <a:gd name="T82" fmla="*/ 2 w 150"/>
                <a:gd name="T83" fmla="*/ 91 h 151"/>
                <a:gd name="T84" fmla="*/ 6 w 150"/>
                <a:gd name="T85" fmla="*/ 105 h 151"/>
                <a:gd name="T86" fmla="*/ 13 w 150"/>
                <a:gd name="T87" fmla="*/ 118 h 151"/>
                <a:gd name="T88" fmla="*/ 22 w 150"/>
                <a:gd name="T89" fmla="*/ 129 h 151"/>
                <a:gd name="T90" fmla="*/ 33 w 150"/>
                <a:gd name="T91" fmla="*/ 138 h 151"/>
                <a:gd name="T92" fmla="*/ 46 w 150"/>
                <a:gd name="T93" fmla="*/ 145 h 151"/>
                <a:gd name="T94" fmla="*/ 60 w 150"/>
                <a:gd name="T95" fmla="*/ 149 h 151"/>
                <a:gd name="T96" fmla="*/ 75 w 150"/>
                <a:gd name="T97" fmla="*/ 15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50" h="151">
                  <a:moveTo>
                    <a:pt x="75" y="30"/>
                  </a:moveTo>
                  <a:lnTo>
                    <a:pt x="85" y="31"/>
                  </a:lnTo>
                  <a:lnTo>
                    <a:pt x="93" y="34"/>
                  </a:lnTo>
                  <a:lnTo>
                    <a:pt x="101" y="39"/>
                  </a:lnTo>
                  <a:lnTo>
                    <a:pt x="107" y="44"/>
                  </a:lnTo>
                  <a:lnTo>
                    <a:pt x="112" y="50"/>
                  </a:lnTo>
                  <a:lnTo>
                    <a:pt x="117" y="58"/>
                  </a:lnTo>
                  <a:lnTo>
                    <a:pt x="119" y="67"/>
                  </a:lnTo>
                  <a:lnTo>
                    <a:pt x="120" y="75"/>
                  </a:lnTo>
                  <a:lnTo>
                    <a:pt x="120" y="85"/>
                  </a:lnTo>
                  <a:lnTo>
                    <a:pt x="117" y="93"/>
                  </a:lnTo>
                  <a:lnTo>
                    <a:pt x="112" y="101"/>
                  </a:lnTo>
                  <a:lnTo>
                    <a:pt x="107" y="107"/>
                  </a:lnTo>
                  <a:lnTo>
                    <a:pt x="101" y="113"/>
                  </a:lnTo>
                  <a:lnTo>
                    <a:pt x="93" y="117"/>
                  </a:lnTo>
                  <a:lnTo>
                    <a:pt x="85" y="120"/>
                  </a:lnTo>
                  <a:lnTo>
                    <a:pt x="75" y="121"/>
                  </a:lnTo>
                  <a:lnTo>
                    <a:pt x="66" y="120"/>
                  </a:lnTo>
                  <a:lnTo>
                    <a:pt x="58" y="117"/>
                  </a:lnTo>
                  <a:lnTo>
                    <a:pt x="50" y="113"/>
                  </a:lnTo>
                  <a:lnTo>
                    <a:pt x="44" y="107"/>
                  </a:lnTo>
                  <a:lnTo>
                    <a:pt x="37" y="101"/>
                  </a:lnTo>
                  <a:lnTo>
                    <a:pt x="33" y="93"/>
                  </a:lnTo>
                  <a:lnTo>
                    <a:pt x="31" y="85"/>
                  </a:lnTo>
                  <a:lnTo>
                    <a:pt x="30" y="75"/>
                  </a:lnTo>
                  <a:lnTo>
                    <a:pt x="31" y="67"/>
                  </a:lnTo>
                  <a:lnTo>
                    <a:pt x="33" y="58"/>
                  </a:lnTo>
                  <a:lnTo>
                    <a:pt x="37" y="50"/>
                  </a:lnTo>
                  <a:lnTo>
                    <a:pt x="44" y="44"/>
                  </a:lnTo>
                  <a:lnTo>
                    <a:pt x="50" y="39"/>
                  </a:lnTo>
                  <a:lnTo>
                    <a:pt x="58" y="34"/>
                  </a:lnTo>
                  <a:lnTo>
                    <a:pt x="66" y="31"/>
                  </a:lnTo>
                  <a:lnTo>
                    <a:pt x="75" y="30"/>
                  </a:lnTo>
                  <a:close/>
                  <a:moveTo>
                    <a:pt x="75" y="151"/>
                  </a:moveTo>
                  <a:lnTo>
                    <a:pt x="82" y="150"/>
                  </a:lnTo>
                  <a:lnTo>
                    <a:pt x="90" y="149"/>
                  </a:lnTo>
                  <a:lnTo>
                    <a:pt x="97" y="147"/>
                  </a:lnTo>
                  <a:lnTo>
                    <a:pt x="105" y="145"/>
                  </a:lnTo>
                  <a:lnTo>
                    <a:pt x="111" y="141"/>
                  </a:lnTo>
                  <a:lnTo>
                    <a:pt x="117" y="138"/>
                  </a:lnTo>
                  <a:lnTo>
                    <a:pt x="123" y="134"/>
                  </a:lnTo>
                  <a:lnTo>
                    <a:pt x="129" y="129"/>
                  </a:lnTo>
                  <a:lnTo>
                    <a:pt x="133" y="123"/>
                  </a:lnTo>
                  <a:lnTo>
                    <a:pt x="137" y="118"/>
                  </a:lnTo>
                  <a:lnTo>
                    <a:pt x="141" y="111"/>
                  </a:lnTo>
                  <a:lnTo>
                    <a:pt x="145" y="105"/>
                  </a:lnTo>
                  <a:lnTo>
                    <a:pt x="147" y="98"/>
                  </a:lnTo>
                  <a:lnTo>
                    <a:pt x="149" y="91"/>
                  </a:lnTo>
                  <a:lnTo>
                    <a:pt x="150" y="84"/>
                  </a:lnTo>
                  <a:lnTo>
                    <a:pt x="150" y="75"/>
                  </a:lnTo>
                  <a:lnTo>
                    <a:pt x="150" y="68"/>
                  </a:lnTo>
                  <a:lnTo>
                    <a:pt x="149" y="60"/>
                  </a:lnTo>
                  <a:lnTo>
                    <a:pt x="147" y="54"/>
                  </a:lnTo>
                  <a:lnTo>
                    <a:pt x="145" y="46"/>
                  </a:lnTo>
                  <a:lnTo>
                    <a:pt x="141" y="40"/>
                  </a:lnTo>
                  <a:lnTo>
                    <a:pt x="137" y="33"/>
                  </a:lnTo>
                  <a:lnTo>
                    <a:pt x="133" y="28"/>
                  </a:lnTo>
                  <a:lnTo>
                    <a:pt x="129" y="23"/>
                  </a:lnTo>
                  <a:lnTo>
                    <a:pt x="123" y="17"/>
                  </a:lnTo>
                  <a:lnTo>
                    <a:pt x="117" y="13"/>
                  </a:lnTo>
                  <a:lnTo>
                    <a:pt x="111" y="10"/>
                  </a:lnTo>
                  <a:lnTo>
                    <a:pt x="105" y="7"/>
                  </a:lnTo>
                  <a:lnTo>
                    <a:pt x="97" y="3"/>
                  </a:lnTo>
                  <a:lnTo>
                    <a:pt x="90" y="2"/>
                  </a:lnTo>
                  <a:lnTo>
                    <a:pt x="82" y="1"/>
                  </a:lnTo>
                  <a:lnTo>
                    <a:pt x="75" y="0"/>
                  </a:lnTo>
                  <a:lnTo>
                    <a:pt x="67" y="1"/>
                  </a:lnTo>
                  <a:lnTo>
                    <a:pt x="60" y="2"/>
                  </a:lnTo>
                  <a:lnTo>
                    <a:pt x="52" y="3"/>
                  </a:lnTo>
                  <a:lnTo>
                    <a:pt x="46" y="7"/>
                  </a:lnTo>
                  <a:lnTo>
                    <a:pt x="40" y="10"/>
                  </a:lnTo>
                  <a:lnTo>
                    <a:pt x="33" y="13"/>
                  </a:lnTo>
                  <a:lnTo>
                    <a:pt x="28" y="17"/>
                  </a:lnTo>
                  <a:lnTo>
                    <a:pt x="22" y="23"/>
                  </a:lnTo>
                  <a:lnTo>
                    <a:pt x="17" y="28"/>
                  </a:lnTo>
                  <a:lnTo>
                    <a:pt x="13" y="33"/>
                  </a:lnTo>
                  <a:lnTo>
                    <a:pt x="10" y="40"/>
                  </a:lnTo>
                  <a:lnTo>
                    <a:pt x="6" y="46"/>
                  </a:lnTo>
                  <a:lnTo>
                    <a:pt x="3" y="54"/>
                  </a:lnTo>
                  <a:lnTo>
                    <a:pt x="2" y="60"/>
                  </a:lnTo>
                  <a:lnTo>
                    <a:pt x="0" y="68"/>
                  </a:lnTo>
                  <a:lnTo>
                    <a:pt x="0" y="75"/>
                  </a:lnTo>
                  <a:lnTo>
                    <a:pt x="0" y="84"/>
                  </a:lnTo>
                  <a:lnTo>
                    <a:pt x="2" y="91"/>
                  </a:lnTo>
                  <a:lnTo>
                    <a:pt x="3" y="98"/>
                  </a:lnTo>
                  <a:lnTo>
                    <a:pt x="6" y="105"/>
                  </a:lnTo>
                  <a:lnTo>
                    <a:pt x="10" y="111"/>
                  </a:lnTo>
                  <a:lnTo>
                    <a:pt x="13" y="118"/>
                  </a:lnTo>
                  <a:lnTo>
                    <a:pt x="17" y="123"/>
                  </a:lnTo>
                  <a:lnTo>
                    <a:pt x="22" y="129"/>
                  </a:lnTo>
                  <a:lnTo>
                    <a:pt x="28" y="134"/>
                  </a:lnTo>
                  <a:lnTo>
                    <a:pt x="33" y="138"/>
                  </a:lnTo>
                  <a:lnTo>
                    <a:pt x="40" y="141"/>
                  </a:lnTo>
                  <a:lnTo>
                    <a:pt x="46" y="145"/>
                  </a:lnTo>
                  <a:lnTo>
                    <a:pt x="52" y="147"/>
                  </a:lnTo>
                  <a:lnTo>
                    <a:pt x="60" y="149"/>
                  </a:lnTo>
                  <a:lnTo>
                    <a:pt x="67" y="150"/>
                  </a:lnTo>
                  <a:lnTo>
                    <a:pt x="75" y="1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39" name="Freeform 278"/>
            <p:cNvSpPr>
              <a:spLocks noEditPoints="1"/>
            </p:cNvSpPr>
            <p:nvPr/>
          </p:nvSpPr>
          <p:spPr bwMode="auto">
            <a:xfrm>
              <a:off x="7743825" y="4370388"/>
              <a:ext cx="47625" cy="47625"/>
            </a:xfrm>
            <a:custGeom>
              <a:avLst/>
              <a:gdLst>
                <a:gd name="T0" fmla="*/ 65 w 150"/>
                <a:gd name="T1" fmla="*/ 119 h 150"/>
                <a:gd name="T2" fmla="*/ 49 w 150"/>
                <a:gd name="T3" fmla="*/ 113 h 150"/>
                <a:gd name="T4" fmla="*/ 38 w 150"/>
                <a:gd name="T5" fmla="*/ 100 h 150"/>
                <a:gd name="T6" fmla="*/ 30 w 150"/>
                <a:gd name="T7" fmla="*/ 84 h 150"/>
                <a:gd name="T8" fmla="*/ 30 w 150"/>
                <a:gd name="T9" fmla="*/ 65 h 150"/>
                <a:gd name="T10" fmla="*/ 38 w 150"/>
                <a:gd name="T11" fmla="*/ 49 h 150"/>
                <a:gd name="T12" fmla="*/ 49 w 150"/>
                <a:gd name="T13" fmla="*/ 38 h 150"/>
                <a:gd name="T14" fmla="*/ 65 w 150"/>
                <a:gd name="T15" fmla="*/ 31 h 150"/>
                <a:gd name="T16" fmla="*/ 84 w 150"/>
                <a:gd name="T17" fmla="*/ 31 h 150"/>
                <a:gd name="T18" fmla="*/ 100 w 150"/>
                <a:gd name="T19" fmla="*/ 38 h 150"/>
                <a:gd name="T20" fmla="*/ 113 w 150"/>
                <a:gd name="T21" fmla="*/ 49 h 150"/>
                <a:gd name="T22" fmla="*/ 119 w 150"/>
                <a:gd name="T23" fmla="*/ 65 h 150"/>
                <a:gd name="T24" fmla="*/ 119 w 150"/>
                <a:gd name="T25" fmla="*/ 84 h 150"/>
                <a:gd name="T26" fmla="*/ 113 w 150"/>
                <a:gd name="T27" fmla="*/ 100 h 150"/>
                <a:gd name="T28" fmla="*/ 100 w 150"/>
                <a:gd name="T29" fmla="*/ 113 h 150"/>
                <a:gd name="T30" fmla="*/ 84 w 150"/>
                <a:gd name="T31" fmla="*/ 119 h 150"/>
                <a:gd name="T32" fmla="*/ 75 w 150"/>
                <a:gd name="T33" fmla="*/ 0 h 150"/>
                <a:gd name="T34" fmla="*/ 60 w 150"/>
                <a:gd name="T35" fmla="*/ 1 h 150"/>
                <a:gd name="T36" fmla="*/ 45 w 150"/>
                <a:gd name="T37" fmla="*/ 5 h 150"/>
                <a:gd name="T38" fmla="*/ 33 w 150"/>
                <a:gd name="T39" fmla="*/ 13 h 150"/>
                <a:gd name="T40" fmla="*/ 21 w 150"/>
                <a:gd name="T41" fmla="*/ 22 h 150"/>
                <a:gd name="T42" fmla="*/ 13 w 150"/>
                <a:gd name="T43" fmla="*/ 33 h 150"/>
                <a:gd name="T44" fmla="*/ 5 w 150"/>
                <a:gd name="T45" fmla="*/ 46 h 150"/>
                <a:gd name="T46" fmla="*/ 1 w 150"/>
                <a:gd name="T47" fmla="*/ 60 h 150"/>
                <a:gd name="T48" fmla="*/ 0 w 150"/>
                <a:gd name="T49" fmla="*/ 75 h 150"/>
                <a:gd name="T50" fmla="*/ 1 w 150"/>
                <a:gd name="T51" fmla="*/ 90 h 150"/>
                <a:gd name="T52" fmla="*/ 5 w 150"/>
                <a:gd name="T53" fmla="*/ 104 h 150"/>
                <a:gd name="T54" fmla="*/ 13 w 150"/>
                <a:gd name="T55" fmla="*/ 117 h 150"/>
                <a:gd name="T56" fmla="*/ 21 w 150"/>
                <a:gd name="T57" fmla="*/ 129 h 150"/>
                <a:gd name="T58" fmla="*/ 33 w 150"/>
                <a:gd name="T59" fmla="*/ 137 h 150"/>
                <a:gd name="T60" fmla="*/ 45 w 150"/>
                <a:gd name="T61" fmla="*/ 145 h 150"/>
                <a:gd name="T62" fmla="*/ 60 w 150"/>
                <a:gd name="T63" fmla="*/ 149 h 150"/>
                <a:gd name="T64" fmla="*/ 75 w 150"/>
                <a:gd name="T65" fmla="*/ 150 h 150"/>
                <a:gd name="T66" fmla="*/ 90 w 150"/>
                <a:gd name="T67" fmla="*/ 149 h 150"/>
                <a:gd name="T68" fmla="*/ 104 w 150"/>
                <a:gd name="T69" fmla="*/ 145 h 150"/>
                <a:gd name="T70" fmla="*/ 117 w 150"/>
                <a:gd name="T71" fmla="*/ 137 h 150"/>
                <a:gd name="T72" fmla="*/ 128 w 150"/>
                <a:gd name="T73" fmla="*/ 129 h 150"/>
                <a:gd name="T74" fmla="*/ 137 w 150"/>
                <a:gd name="T75" fmla="*/ 117 h 150"/>
                <a:gd name="T76" fmla="*/ 144 w 150"/>
                <a:gd name="T77" fmla="*/ 104 h 150"/>
                <a:gd name="T78" fmla="*/ 148 w 150"/>
                <a:gd name="T79" fmla="*/ 90 h 150"/>
                <a:gd name="T80" fmla="*/ 150 w 150"/>
                <a:gd name="T81" fmla="*/ 75 h 150"/>
                <a:gd name="T82" fmla="*/ 148 w 150"/>
                <a:gd name="T83" fmla="*/ 60 h 150"/>
                <a:gd name="T84" fmla="*/ 144 w 150"/>
                <a:gd name="T85" fmla="*/ 46 h 150"/>
                <a:gd name="T86" fmla="*/ 137 w 150"/>
                <a:gd name="T87" fmla="*/ 33 h 150"/>
                <a:gd name="T88" fmla="*/ 128 w 150"/>
                <a:gd name="T89" fmla="*/ 22 h 150"/>
                <a:gd name="T90" fmla="*/ 117 w 150"/>
                <a:gd name="T91" fmla="*/ 13 h 150"/>
                <a:gd name="T92" fmla="*/ 104 w 150"/>
                <a:gd name="T93" fmla="*/ 5 h 150"/>
                <a:gd name="T94" fmla="*/ 90 w 150"/>
                <a:gd name="T95" fmla="*/ 1 h 150"/>
                <a:gd name="T96" fmla="*/ 75 w 150"/>
                <a:gd name="T97" fmla="*/ 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50" h="150">
                  <a:moveTo>
                    <a:pt x="75" y="120"/>
                  </a:moveTo>
                  <a:lnTo>
                    <a:pt x="65" y="119"/>
                  </a:lnTo>
                  <a:lnTo>
                    <a:pt x="57" y="117"/>
                  </a:lnTo>
                  <a:lnTo>
                    <a:pt x="49" y="113"/>
                  </a:lnTo>
                  <a:lnTo>
                    <a:pt x="43" y="107"/>
                  </a:lnTo>
                  <a:lnTo>
                    <a:pt x="38" y="100"/>
                  </a:lnTo>
                  <a:lnTo>
                    <a:pt x="33" y="92"/>
                  </a:lnTo>
                  <a:lnTo>
                    <a:pt x="30" y="84"/>
                  </a:lnTo>
                  <a:lnTo>
                    <a:pt x="30" y="75"/>
                  </a:lnTo>
                  <a:lnTo>
                    <a:pt x="30" y="65"/>
                  </a:lnTo>
                  <a:lnTo>
                    <a:pt x="33" y="58"/>
                  </a:lnTo>
                  <a:lnTo>
                    <a:pt x="38" y="49"/>
                  </a:lnTo>
                  <a:lnTo>
                    <a:pt x="43" y="43"/>
                  </a:lnTo>
                  <a:lnTo>
                    <a:pt x="49" y="38"/>
                  </a:lnTo>
                  <a:lnTo>
                    <a:pt x="57" y="33"/>
                  </a:lnTo>
                  <a:lnTo>
                    <a:pt x="65" y="31"/>
                  </a:lnTo>
                  <a:lnTo>
                    <a:pt x="75" y="30"/>
                  </a:lnTo>
                  <a:lnTo>
                    <a:pt x="84" y="31"/>
                  </a:lnTo>
                  <a:lnTo>
                    <a:pt x="92" y="33"/>
                  </a:lnTo>
                  <a:lnTo>
                    <a:pt x="100" y="38"/>
                  </a:lnTo>
                  <a:lnTo>
                    <a:pt x="106" y="43"/>
                  </a:lnTo>
                  <a:lnTo>
                    <a:pt x="113" y="49"/>
                  </a:lnTo>
                  <a:lnTo>
                    <a:pt x="117" y="58"/>
                  </a:lnTo>
                  <a:lnTo>
                    <a:pt x="119" y="65"/>
                  </a:lnTo>
                  <a:lnTo>
                    <a:pt x="120" y="75"/>
                  </a:lnTo>
                  <a:lnTo>
                    <a:pt x="119" y="84"/>
                  </a:lnTo>
                  <a:lnTo>
                    <a:pt x="117" y="92"/>
                  </a:lnTo>
                  <a:lnTo>
                    <a:pt x="113" y="100"/>
                  </a:lnTo>
                  <a:lnTo>
                    <a:pt x="106" y="107"/>
                  </a:lnTo>
                  <a:lnTo>
                    <a:pt x="100" y="113"/>
                  </a:lnTo>
                  <a:lnTo>
                    <a:pt x="92" y="117"/>
                  </a:lnTo>
                  <a:lnTo>
                    <a:pt x="84" y="119"/>
                  </a:lnTo>
                  <a:lnTo>
                    <a:pt x="75" y="120"/>
                  </a:lnTo>
                  <a:close/>
                  <a:moveTo>
                    <a:pt x="75" y="0"/>
                  </a:moveTo>
                  <a:lnTo>
                    <a:pt x="68" y="0"/>
                  </a:lnTo>
                  <a:lnTo>
                    <a:pt x="60" y="1"/>
                  </a:lnTo>
                  <a:lnTo>
                    <a:pt x="53" y="3"/>
                  </a:lnTo>
                  <a:lnTo>
                    <a:pt x="45" y="5"/>
                  </a:lnTo>
                  <a:lnTo>
                    <a:pt x="39" y="9"/>
                  </a:lnTo>
                  <a:lnTo>
                    <a:pt x="33" y="13"/>
                  </a:lnTo>
                  <a:lnTo>
                    <a:pt x="27" y="17"/>
                  </a:lnTo>
                  <a:lnTo>
                    <a:pt x="21" y="22"/>
                  </a:lnTo>
                  <a:lnTo>
                    <a:pt x="17" y="27"/>
                  </a:lnTo>
                  <a:lnTo>
                    <a:pt x="13" y="33"/>
                  </a:lnTo>
                  <a:lnTo>
                    <a:pt x="9" y="40"/>
                  </a:lnTo>
                  <a:lnTo>
                    <a:pt x="5" y="46"/>
                  </a:lnTo>
                  <a:lnTo>
                    <a:pt x="3" y="53"/>
                  </a:lnTo>
                  <a:lnTo>
                    <a:pt x="1" y="60"/>
                  </a:lnTo>
                  <a:lnTo>
                    <a:pt x="0" y="68"/>
                  </a:lnTo>
                  <a:lnTo>
                    <a:pt x="0" y="75"/>
                  </a:lnTo>
                  <a:lnTo>
                    <a:pt x="0" y="83"/>
                  </a:lnTo>
                  <a:lnTo>
                    <a:pt x="1" y="90"/>
                  </a:lnTo>
                  <a:lnTo>
                    <a:pt x="3" y="98"/>
                  </a:lnTo>
                  <a:lnTo>
                    <a:pt x="5" y="104"/>
                  </a:lnTo>
                  <a:lnTo>
                    <a:pt x="9" y="110"/>
                  </a:lnTo>
                  <a:lnTo>
                    <a:pt x="13" y="117"/>
                  </a:lnTo>
                  <a:lnTo>
                    <a:pt x="17" y="123"/>
                  </a:lnTo>
                  <a:lnTo>
                    <a:pt x="21" y="129"/>
                  </a:lnTo>
                  <a:lnTo>
                    <a:pt x="27" y="133"/>
                  </a:lnTo>
                  <a:lnTo>
                    <a:pt x="33" y="137"/>
                  </a:lnTo>
                  <a:lnTo>
                    <a:pt x="39" y="142"/>
                  </a:lnTo>
                  <a:lnTo>
                    <a:pt x="45" y="145"/>
                  </a:lnTo>
                  <a:lnTo>
                    <a:pt x="53" y="147"/>
                  </a:lnTo>
                  <a:lnTo>
                    <a:pt x="60" y="149"/>
                  </a:lnTo>
                  <a:lnTo>
                    <a:pt x="68" y="150"/>
                  </a:lnTo>
                  <a:lnTo>
                    <a:pt x="75" y="150"/>
                  </a:lnTo>
                  <a:lnTo>
                    <a:pt x="83" y="150"/>
                  </a:lnTo>
                  <a:lnTo>
                    <a:pt x="90" y="149"/>
                  </a:lnTo>
                  <a:lnTo>
                    <a:pt x="98" y="147"/>
                  </a:lnTo>
                  <a:lnTo>
                    <a:pt x="104" y="145"/>
                  </a:lnTo>
                  <a:lnTo>
                    <a:pt x="110" y="142"/>
                  </a:lnTo>
                  <a:lnTo>
                    <a:pt x="117" y="137"/>
                  </a:lnTo>
                  <a:lnTo>
                    <a:pt x="122" y="133"/>
                  </a:lnTo>
                  <a:lnTo>
                    <a:pt x="128" y="129"/>
                  </a:lnTo>
                  <a:lnTo>
                    <a:pt x="133" y="123"/>
                  </a:lnTo>
                  <a:lnTo>
                    <a:pt x="137" y="117"/>
                  </a:lnTo>
                  <a:lnTo>
                    <a:pt x="140" y="110"/>
                  </a:lnTo>
                  <a:lnTo>
                    <a:pt x="144" y="104"/>
                  </a:lnTo>
                  <a:lnTo>
                    <a:pt x="147" y="98"/>
                  </a:lnTo>
                  <a:lnTo>
                    <a:pt x="148" y="90"/>
                  </a:lnTo>
                  <a:lnTo>
                    <a:pt x="150" y="83"/>
                  </a:lnTo>
                  <a:lnTo>
                    <a:pt x="150" y="75"/>
                  </a:lnTo>
                  <a:lnTo>
                    <a:pt x="150" y="68"/>
                  </a:lnTo>
                  <a:lnTo>
                    <a:pt x="148" y="60"/>
                  </a:lnTo>
                  <a:lnTo>
                    <a:pt x="147" y="53"/>
                  </a:lnTo>
                  <a:lnTo>
                    <a:pt x="144" y="46"/>
                  </a:lnTo>
                  <a:lnTo>
                    <a:pt x="140" y="40"/>
                  </a:lnTo>
                  <a:lnTo>
                    <a:pt x="137" y="33"/>
                  </a:lnTo>
                  <a:lnTo>
                    <a:pt x="133" y="27"/>
                  </a:lnTo>
                  <a:lnTo>
                    <a:pt x="128" y="22"/>
                  </a:lnTo>
                  <a:lnTo>
                    <a:pt x="122" y="17"/>
                  </a:lnTo>
                  <a:lnTo>
                    <a:pt x="117" y="13"/>
                  </a:lnTo>
                  <a:lnTo>
                    <a:pt x="110" y="9"/>
                  </a:lnTo>
                  <a:lnTo>
                    <a:pt x="104" y="5"/>
                  </a:lnTo>
                  <a:lnTo>
                    <a:pt x="98" y="3"/>
                  </a:lnTo>
                  <a:lnTo>
                    <a:pt x="90" y="1"/>
                  </a:lnTo>
                  <a:lnTo>
                    <a:pt x="83" y="0"/>
                  </a:lnTo>
                  <a:lnTo>
                    <a:pt x="75" y="0"/>
                  </a:lnTo>
                  <a:lnTo>
                    <a:pt x="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  <p:grpSp>
        <p:nvGrpSpPr>
          <p:cNvPr id="40" name="Group 39"/>
          <p:cNvGrpSpPr/>
          <p:nvPr/>
        </p:nvGrpSpPr>
        <p:grpSpPr>
          <a:xfrm>
            <a:off x="9039441" y="4915736"/>
            <a:ext cx="286131" cy="286131"/>
            <a:chOff x="10455275" y="4217988"/>
            <a:chExt cx="285750" cy="285750"/>
          </a:xfrm>
          <a:solidFill>
            <a:schemeClr val="bg1"/>
          </a:solidFill>
        </p:grpSpPr>
        <p:sp>
          <p:nvSpPr>
            <p:cNvPr id="41" name="Freeform 311"/>
            <p:cNvSpPr>
              <a:spLocks noEditPoints="1"/>
            </p:cNvSpPr>
            <p:nvPr/>
          </p:nvSpPr>
          <p:spPr bwMode="auto">
            <a:xfrm>
              <a:off x="10607675" y="4217988"/>
              <a:ext cx="133350" cy="133350"/>
            </a:xfrm>
            <a:custGeom>
              <a:avLst/>
              <a:gdLst>
                <a:gd name="T0" fmla="*/ 48 w 421"/>
                <a:gd name="T1" fmla="*/ 31 h 421"/>
                <a:gd name="T2" fmla="*/ 84 w 421"/>
                <a:gd name="T3" fmla="*/ 37 h 421"/>
                <a:gd name="T4" fmla="*/ 118 w 421"/>
                <a:gd name="T5" fmla="*/ 44 h 421"/>
                <a:gd name="T6" fmla="*/ 151 w 421"/>
                <a:gd name="T7" fmla="*/ 56 h 421"/>
                <a:gd name="T8" fmla="*/ 183 w 421"/>
                <a:gd name="T9" fmla="*/ 70 h 421"/>
                <a:gd name="T10" fmla="*/ 213 w 421"/>
                <a:gd name="T11" fmla="*/ 87 h 421"/>
                <a:gd name="T12" fmla="*/ 241 w 421"/>
                <a:gd name="T13" fmla="*/ 106 h 421"/>
                <a:gd name="T14" fmla="*/ 268 w 421"/>
                <a:gd name="T15" fmla="*/ 129 h 421"/>
                <a:gd name="T16" fmla="*/ 292 w 421"/>
                <a:gd name="T17" fmla="*/ 152 h 421"/>
                <a:gd name="T18" fmla="*/ 314 w 421"/>
                <a:gd name="T19" fmla="*/ 179 h 421"/>
                <a:gd name="T20" fmla="*/ 333 w 421"/>
                <a:gd name="T21" fmla="*/ 207 h 421"/>
                <a:gd name="T22" fmla="*/ 350 w 421"/>
                <a:gd name="T23" fmla="*/ 237 h 421"/>
                <a:gd name="T24" fmla="*/ 365 w 421"/>
                <a:gd name="T25" fmla="*/ 269 h 421"/>
                <a:gd name="T26" fmla="*/ 376 w 421"/>
                <a:gd name="T27" fmla="*/ 302 h 421"/>
                <a:gd name="T28" fmla="*/ 385 w 421"/>
                <a:gd name="T29" fmla="*/ 337 h 421"/>
                <a:gd name="T30" fmla="*/ 389 w 421"/>
                <a:gd name="T31" fmla="*/ 373 h 421"/>
                <a:gd name="T32" fmla="*/ 30 w 421"/>
                <a:gd name="T33" fmla="*/ 390 h 421"/>
                <a:gd name="T34" fmla="*/ 15 w 421"/>
                <a:gd name="T35" fmla="*/ 421 h 421"/>
                <a:gd name="T36" fmla="*/ 408 w 421"/>
                <a:gd name="T37" fmla="*/ 420 h 421"/>
                <a:gd name="T38" fmla="*/ 414 w 421"/>
                <a:gd name="T39" fmla="*/ 418 h 421"/>
                <a:gd name="T40" fmla="*/ 418 w 421"/>
                <a:gd name="T41" fmla="*/ 414 h 421"/>
                <a:gd name="T42" fmla="*/ 420 w 421"/>
                <a:gd name="T43" fmla="*/ 408 h 421"/>
                <a:gd name="T44" fmla="*/ 420 w 421"/>
                <a:gd name="T45" fmla="*/ 385 h 421"/>
                <a:gd name="T46" fmla="*/ 416 w 421"/>
                <a:gd name="T47" fmla="*/ 344 h 421"/>
                <a:gd name="T48" fmla="*/ 408 w 421"/>
                <a:gd name="T49" fmla="*/ 304 h 421"/>
                <a:gd name="T50" fmla="*/ 396 w 421"/>
                <a:gd name="T51" fmla="*/ 266 h 421"/>
                <a:gd name="T52" fmla="*/ 380 w 421"/>
                <a:gd name="T53" fmla="*/ 229 h 421"/>
                <a:gd name="T54" fmla="*/ 362 w 421"/>
                <a:gd name="T55" fmla="*/ 195 h 421"/>
                <a:gd name="T56" fmla="*/ 340 w 421"/>
                <a:gd name="T57" fmla="*/ 163 h 421"/>
                <a:gd name="T58" fmla="*/ 315 w 421"/>
                <a:gd name="T59" fmla="*/ 133 h 421"/>
                <a:gd name="T60" fmla="*/ 287 w 421"/>
                <a:gd name="T61" fmla="*/ 105 h 421"/>
                <a:gd name="T62" fmla="*/ 257 w 421"/>
                <a:gd name="T63" fmla="*/ 80 h 421"/>
                <a:gd name="T64" fmla="*/ 225 w 421"/>
                <a:gd name="T65" fmla="*/ 59 h 421"/>
                <a:gd name="T66" fmla="*/ 191 w 421"/>
                <a:gd name="T67" fmla="*/ 40 h 421"/>
                <a:gd name="T68" fmla="*/ 154 w 421"/>
                <a:gd name="T69" fmla="*/ 25 h 421"/>
                <a:gd name="T70" fmla="*/ 116 w 421"/>
                <a:gd name="T71" fmla="*/ 13 h 421"/>
                <a:gd name="T72" fmla="*/ 76 w 421"/>
                <a:gd name="T73" fmla="*/ 4 h 421"/>
                <a:gd name="T74" fmla="*/ 35 w 421"/>
                <a:gd name="T75" fmla="*/ 0 h 421"/>
                <a:gd name="T76" fmla="*/ 12 w 421"/>
                <a:gd name="T77" fmla="*/ 0 h 421"/>
                <a:gd name="T78" fmla="*/ 6 w 421"/>
                <a:gd name="T79" fmla="*/ 2 h 421"/>
                <a:gd name="T80" fmla="*/ 2 w 421"/>
                <a:gd name="T81" fmla="*/ 7 h 421"/>
                <a:gd name="T82" fmla="*/ 0 w 421"/>
                <a:gd name="T83" fmla="*/ 12 h 421"/>
                <a:gd name="T84" fmla="*/ 0 w 421"/>
                <a:gd name="T85" fmla="*/ 406 h 421"/>
                <a:gd name="T86" fmla="*/ 1 w 421"/>
                <a:gd name="T87" fmla="*/ 411 h 421"/>
                <a:gd name="T88" fmla="*/ 4 w 421"/>
                <a:gd name="T89" fmla="*/ 417 h 421"/>
                <a:gd name="T90" fmla="*/ 9 w 421"/>
                <a:gd name="T91" fmla="*/ 420 h 421"/>
                <a:gd name="T92" fmla="*/ 15 w 421"/>
                <a:gd name="T93" fmla="*/ 421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21" h="421">
                  <a:moveTo>
                    <a:pt x="30" y="30"/>
                  </a:moveTo>
                  <a:lnTo>
                    <a:pt x="48" y="31"/>
                  </a:lnTo>
                  <a:lnTo>
                    <a:pt x="65" y="33"/>
                  </a:lnTo>
                  <a:lnTo>
                    <a:pt x="84" y="37"/>
                  </a:lnTo>
                  <a:lnTo>
                    <a:pt x="101" y="40"/>
                  </a:lnTo>
                  <a:lnTo>
                    <a:pt x="118" y="44"/>
                  </a:lnTo>
                  <a:lnTo>
                    <a:pt x="135" y="49"/>
                  </a:lnTo>
                  <a:lnTo>
                    <a:pt x="151" y="56"/>
                  </a:lnTo>
                  <a:lnTo>
                    <a:pt x="167" y="62"/>
                  </a:lnTo>
                  <a:lnTo>
                    <a:pt x="183" y="70"/>
                  </a:lnTo>
                  <a:lnTo>
                    <a:pt x="198" y="78"/>
                  </a:lnTo>
                  <a:lnTo>
                    <a:pt x="213" y="87"/>
                  </a:lnTo>
                  <a:lnTo>
                    <a:pt x="227" y="97"/>
                  </a:lnTo>
                  <a:lnTo>
                    <a:pt x="241" y="106"/>
                  </a:lnTo>
                  <a:lnTo>
                    <a:pt x="255" y="117"/>
                  </a:lnTo>
                  <a:lnTo>
                    <a:pt x="268" y="129"/>
                  </a:lnTo>
                  <a:lnTo>
                    <a:pt x="281" y="140"/>
                  </a:lnTo>
                  <a:lnTo>
                    <a:pt x="292" y="152"/>
                  </a:lnTo>
                  <a:lnTo>
                    <a:pt x="303" y="165"/>
                  </a:lnTo>
                  <a:lnTo>
                    <a:pt x="314" y="179"/>
                  </a:lnTo>
                  <a:lnTo>
                    <a:pt x="325" y="193"/>
                  </a:lnTo>
                  <a:lnTo>
                    <a:pt x="333" y="207"/>
                  </a:lnTo>
                  <a:lnTo>
                    <a:pt x="343" y="222"/>
                  </a:lnTo>
                  <a:lnTo>
                    <a:pt x="350" y="237"/>
                  </a:lnTo>
                  <a:lnTo>
                    <a:pt x="358" y="253"/>
                  </a:lnTo>
                  <a:lnTo>
                    <a:pt x="365" y="269"/>
                  </a:lnTo>
                  <a:lnTo>
                    <a:pt x="371" y="285"/>
                  </a:lnTo>
                  <a:lnTo>
                    <a:pt x="376" y="302"/>
                  </a:lnTo>
                  <a:lnTo>
                    <a:pt x="380" y="319"/>
                  </a:lnTo>
                  <a:lnTo>
                    <a:pt x="385" y="337"/>
                  </a:lnTo>
                  <a:lnTo>
                    <a:pt x="387" y="355"/>
                  </a:lnTo>
                  <a:lnTo>
                    <a:pt x="389" y="373"/>
                  </a:lnTo>
                  <a:lnTo>
                    <a:pt x="390" y="391"/>
                  </a:lnTo>
                  <a:lnTo>
                    <a:pt x="30" y="390"/>
                  </a:lnTo>
                  <a:lnTo>
                    <a:pt x="30" y="30"/>
                  </a:lnTo>
                  <a:close/>
                  <a:moveTo>
                    <a:pt x="15" y="421"/>
                  </a:moveTo>
                  <a:lnTo>
                    <a:pt x="406" y="421"/>
                  </a:lnTo>
                  <a:lnTo>
                    <a:pt x="408" y="420"/>
                  </a:lnTo>
                  <a:lnTo>
                    <a:pt x="411" y="420"/>
                  </a:lnTo>
                  <a:lnTo>
                    <a:pt x="414" y="418"/>
                  </a:lnTo>
                  <a:lnTo>
                    <a:pt x="416" y="417"/>
                  </a:lnTo>
                  <a:lnTo>
                    <a:pt x="418" y="414"/>
                  </a:lnTo>
                  <a:lnTo>
                    <a:pt x="419" y="411"/>
                  </a:lnTo>
                  <a:lnTo>
                    <a:pt x="420" y="408"/>
                  </a:lnTo>
                  <a:lnTo>
                    <a:pt x="421" y="406"/>
                  </a:lnTo>
                  <a:lnTo>
                    <a:pt x="420" y="385"/>
                  </a:lnTo>
                  <a:lnTo>
                    <a:pt x="419" y="364"/>
                  </a:lnTo>
                  <a:lnTo>
                    <a:pt x="416" y="344"/>
                  </a:lnTo>
                  <a:lnTo>
                    <a:pt x="412" y="324"/>
                  </a:lnTo>
                  <a:lnTo>
                    <a:pt x="408" y="304"/>
                  </a:lnTo>
                  <a:lnTo>
                    <a:pt x="403" y="285"/>
                  </a:lnTo>
                  <a:lnTo>
                    <a:pt x="396" y="266"/>
                  </a:lnTo>
                  <a:lnTo>
                    <a:pt x="389" y="248"/>
                  </a:lnTo>
                  <a:lnTo>
                    <a:pt x="380" y="229"/>
                  </a:lnTo>
                  <a:lnTo>
                    <a:pt x="372" y="212"/>
                  </a:lnTo>
                  <a:lnTo>
                    <a:pt x="362" y="195"/>
                  </a:lnTo>
                  <a:lnTo>
                    <a:pt x="351" y="179"/>
                  </a:lnTo>
                  <a:lnTo>
                    <a:pt x="340" y="163"/>
                  </a:lnTo>
                  <a:lnTo>
                    <a:pt x="328" y="148"/>
                  </a:lnTo>
                  <a:lnTo>
                    <a:pt x="315" y="133"/>
                  </a:lnTo>
                  <a:lnTo>
                    <a:pt x="301" y="119"/>
                  </a:lnTo>
                  <a:lnTo>
                    <a:pt x="287" y="105"/>
                  </a:lnTo>
                  <a:lnTo>
                    <a:pt x="273" y="92"/>
                  </a:lnTo>
                  <a:lnTo>
                    <a:pt x="257" y="80"/>
                  </a:lnTo>
                  <a:lnTo>
                    <a:pt x="241" y="69"/>
                  </a:lnTo>
                  <a:lnTo>
                    <a:pt x="225" y="59"/>
                  </a:lnTo>
                  <a:lnTo>
                    <a:pt x="208" y="48"/>
                  </a:lnTo>
                  <a:lnTo>
                    <a:pt x="191" y="40"/>
                  </a:lnTo>
                  <a:lnTo>
                    <a:pt x="173" y="31"/>
                  </a:lnTo>
                  <a:lnTo>
                    <a:pt x="154" y="25"/>
                  </a:lnTo>
                  <a:lnTo>
                    <a:pt x="135" y="18"/>
                  </a:lnTo>
                  <a:lnTo>
                    <a:pt x="116" y="13"/>
                  </a:lnTo>
                  <a:lnTo>
                    <a:pt x="96" y="8"/>
                  </a:lnTo>
                  <a:lnTo>
                    <a:pt x="76" y="4"/>
                  </a:lnTo>
                  <a:lnTo>
                    <a:pt x="56" y="2"/>
                  </a:lnTo>
                  <a:lnTo>
                    <a:pt x="35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9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406"/>
                  </a:lnTo>
                  <a:lnTo>
                    <a:pt x="0" y="408"/>
                  </a:lnTo>
                  <a:lnTo>
                    <a:pt x="1" y="411"/>
                  </a:lnTo>
                  <a:lnTo>
                    <a:pt x="2" y="414"/>
                  </a:lnTo>
                  <a:lnTo>
                    <a:pt x="4" y="417"/>
                  </a:lnTo>
                  <a:lnTo>
                    <a:pt x="6" y="418"/>
                  </a:lnTo>
                  <a:lnTo>
                    <a:pt x="9" y="420"/>
                  </a:lnTo>
                  <a:lnTo>
                    <a:pt x="12" y="420"/>
                  </a:lnTo>
                  <a:lnTo>
                    <a:pt x="15" y="4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42" name="Freeform 312"/>
            <p:cNvSpPr>
              <a:spLocks noEditPoints="1"/>
            </p:cNvSpPr>
            <p:nvPr/>
          </p:nvSpPr>
          <p:spPr bwMode="auto">
            <a:xfrm>
              <a:off x="10455275" y="4246563"/>
              <a:ext cx="220663" cy="257175"/>
            </a:xfrm>
            <a:custGeom>
              <a:avLst/>
              <a:gdLst>
                <a:gd name="T0" fmla="*/ 368 w 697"/>
                <a:gd name="T1" fmla="*/ 780 h 812"/>
                <a:gd name="T2" fmla="*/ 313 w 697"/>
                <a:gd name="T3" fmla="*/ 770 h 812"/>
                <a:gd name="T4" fmla="*/ 260 w 697"/>
                <a:gd name="T5" fmla="*/ 752 h 812"/>
                <a:gd name="T6" fmla="*/ 212 w 697"/>
                <a:gd name="T7" fmla="*/ 727 h 812"/>
                <a:gd name="T8" fmla="*/ 167 w 697"/>
                <a:gd name="T9" fmla="*/ 695 h 812"/>
                <a:gd name="T10" fmla="*/ 129 w 697"/>
                <a:gd name="T11" fmla="*/ 659 h 812"/>
                <a:gd name="T12" fmla="*/ 95 w 697"/>
                <a:gd name="T13" fmla="*/ 616 h 812"/>
                <a:gd name="T14" fmla="*/ 67 w 697"/>
                <a:gd name="T15" fmla="*/ 569 h 812"/>
                <a:gd name="T16" fmla="*/ 47 w 697"/>
                <a:gd name="T17" fmla="*/ 518 h 812"/>
                <a:gd name="T18" fmla="*/ 35 w 697"/>
                <a:gd name="T19" fmla="*/ 463 h 812"/>
                <a:gd name="T20" fmla="*/ 31 w 697"/>
                <a:gd name="T21" fmla="*/ 406 h 812"/>
                <a:gd name="T22" fmla="*/ 34 w 697"/>
                <a:gd name="T23" fmla="*/ 350 h 812"/>
                <a:gd name="T24" fmla="*/ 47 w 697"/>
                <a:gd name="T25" fmla="*/ 297 h 812"/>
                <a:gd name="T26" fmla="*/ 66 w 697"/>
                <a:gd name="T27" fmla="*/ 247 h 812"/>
                <a:gd name="T28" fmla="*/ 92 w 697"/>
                <a:gd name="T29" fmla="*/ 200 h 812"/>
                <a:gd name="T30" fmla="*/ 124 w 697"/>
                <a:gd name="T31" fmla="*/ 159 h 812"/>
                <a:gd name="T32" fmla="*/ 162 w 697"/>
                <a:gd name="T33" fmla="*/ 121 h 812"/>
                <a:gd name="T34" fmla="*/ 204 w 697"/>
                <a:gd name="T35" fmla="*/ 89 h 812"/>
                <a:gd name="T36" fmla="*/ 251 w 697"/>
                <a:gd name="T37" fmla="*/ 64 h 812"/>
                <a:gd name="T38" fmla="*/ 301 w 697"/>
                <a:gd name="T39" fmla="*/ 45 h 812"/>
                <a:gd name="T40" fmla="*/ 355 w 697"/>
                <a:gd name="T41" fmla="*/ 33 h 812"/>
                <a:gd name="T42" fmla="*/ 391 w 697"/>
                <a:gd name="T43" fmla="*/ 406 h 812"/>
                <a:gd name="T44" fmla="*/ 394 w 697"/>
                <a:gd name="T45" fmla="*/ 415 h 812"/>
                <a:gd name="T46" fmla="*/ 648 w 697"/>
                <a:gd name="T47" fmla="*/ 694 h 812"/>
                <a:gd name="T48" fmla="*/ 605 w 697"/>
                <a:gd name="T49" fmla="*/ 724 h 812"/>
                <a:gd name="T50" fmla="*/ 559 w 697"/>
                <a:gd name="T51" fmla="*/ 749 h 812"/>
                <a:gd name="T52" fmla="*/ 511 w 697"/>
                <a:gd name="T53" fmla="*/ 767 h 812"/>
                <a:gd name="T54" fmla="*/ 460 w 697"/>
                <a:gd name="T55" fmla="*/ 778 h 812"/>
                <a:gd name="T56" fmla="*/ 406 w 697"/>
                <a:gd name="T57" fmla="*/ 782 h 812"/>
                <a:gd name="T58" fmla="*/ 421 w 697"/>
                <a:gd name="T59" fmla="*/ 15 h 812"/>
                <a:gd name="T60" fmla="*/ 419 w 697"/>
                <a:gd name="T61" fmla="*/ 7 h 812"/>
                <a:gd name="T62" fmla="*/ 412 w 697"/>
                <a:gd name="T63" fmla="*/ 1 h 812"/>
                <a:gd name="T64" fmla="*/ 386 w 697"/>
                <a:gd name="T65" fmla="*/ 0 h 812"/>
                <a:gd name="T66" fmla="*/ 325 w 697"/>
                <a:gd name="T67" fmla="*/ 9 h 812"/>
                <a:gd name="T68" fmla="*/ 267 w 697"/>
                <a:gd name="T69" fmla="*/ 25 h 812"/>
                <a:gd name="T70" fmla="*/ 213 w 697"/>
                <a:gd name="T71" fmla="*/ 49 h 812"/>
                <a:gd name="T72" fmla="*/ 164 w 697"/>
                <a:gd name="T73" fmla="*/ 80 h 812"/>
                <a:gd name="T74" fmla="*/ 120 w 697"/>
                <a:gd name="T75" fmla="*/ 119 h 812"/>
                <a:gd name="T76" fmla="*/ 81 w 697"/>
                <a:gd name="T77" fmla="*/ 163 h 812"/>
                <a:gd name="T78" fmla="*/ 49 w 697"/>
                <a:gd name="T79" fmla="*/ 212 h 812"/>
                <a:gd name="T80" fmla="*/ 26 w 697"/>
                <a:gd name="T81" fmla="*/ 267 h 812"/>
                <a:gd name="T82" fmla="*/ 9 w 697"/>
                <a:gd name="T83" fmla="*/ 325 h 812"/>
                <a:gd name="T84" fmla="*/ 1 w 697"/>
                <a:gd name="T85" fmla="*/ 385 h 812"/>
                <a:gd name="T86" fmla="*/ 2 w 697"/>
                <a:gd name="T87" fmla="*/ 448 h 812"/>
                <a:gd name="T88" fmla="*/ 13 w 697"/>
                <a:gd name="T89" fmla="*/ 507 h 812"/>
                <a:gd name="T90" fmla="*/ 32 w 697"/>
                <a:gd name="T91" fmla="*/ 564 h 812"/>
                <a:gd name="T92" fmla="*/ 59 w 697"/>
                <a:gd name="T93" fmla="*/ 616 h 812"/>
                <a:gd name="T94" fmla="*/ 93 w 697"/>
                <a:gd name="T95" fmla="*/ 664 h 812"/>
                <a:gd name="T96" fmla="*/ 134 w 697"/>
                <a:gd name="T97" fmla="*/ 706 h 812"/>
                <a:gd name="T98" fmla="*/ 180 w 697"/>
                <a:gd name="T99" fmla="*/ 742 h 812"/>
                <a:gd name="T100" fmla="*/ 230 w 697"/>
                <a:gd name="T101" fmla="*/ 771 h 812"/>
                <a:gd name="T102" fmla="*/ 286 w 697"/>
                <a:gd name="T103" fmla="*/ 794 h 812"/>
                <a:gd name="T104" fmla="*/ 345 w 697"/>
                <a:gd name="T105" fmla="*/ 807 h 812"/>
                <a:gd name="T106" fmla="*/ 406 w 697"/>
                <a:gd name="T107" fmla="*/ 812 h 812"/>
                <a:gd name="T108" fmla="*/ 467 w 697"/>
                <a:gd name="T109" fmla="*/ 808 h 812"/>
                <a:gd name="T110" fmla="*/ 525 w 697"/>
                <a:gd name="T111" fmla="*/ 794 h 812"/>
                <a:gd name="T112" fmla="*/ 580 w 697"/>
                <a:gd name="T113" fmla="*/ 774 h 812"/>
                <a:gd name="T114" fmla="*/ 632 w 697"/>
                <a:gd name="T115" fmla="*/ 744 h 812"/>
                <a:gd name="T116" fmla="*/ 679 w 697"/>
                <a:gd name="T117" fmla="*/ 707 h 812"/>
                <a:gd name="T118" fmla="*/ 696 w 697"/>
                <a:gd name="T119" fmla="*/ 688 h 812"/>
                <a:gd name="T120" fmla="*/ 697 w 697"/>
                <a:gd name="T121" fmla="*/ 679 h 812"/>
                <a:gd name="T122" fmla="*/ 693 w 697"/>
                <a:gd name="T123" fmla="*/ 672 h 8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97" h="812">
                  <a:moveTo>
                    <a:pt x="406" y="782"/>
                  </a:moveTo>
                  <a:lnTo>
                    <a:pt x="387" y="781"/>
                  </a:lnTo>
                  <a:lnTo>
                    <a:pt x="368" y="780"/>
                  </a:lnTo>
                  <a:lnTo>
                    <a:pt x="349" y="778"/>
                  </a:lnTo>
                  <a:lnTo>
                    <a:pt x="331" y="775"/>
                  </a:lnTo>
                  <a:lnTo>
                    <a:pt x="313" y="770"/>
                  </a:lnTo>
                  <a:lnTo>
                    <a:pt x="295" y="765"/>
                  </a:lnTo>
                  <a:lnTo>
                    <a:pt x="277" y="759"/>
                  </a:lnTo>
                  <a:lnTo>
                    <a:pt x="260" y="752"/>
                  </a:lnTo>
                  <a:lnTo>
                    <a:pt x="243" y="745"/>
                  </a:lnTo>
                  <a:lnTo>
                    <a:pt x="227" y="736"/>
                  </a:lnTo>
                  <a:lnTo>
                    <a:pt x="212" y="727"/>
                  </a:lnTo>
                  <a:lnTo>
                    <a:pt x="196" y="718"/>
                  </a:lnTo>
                  <a:lnTo>
                    <a:pt x="182" y="707"/>
                  </a:lnTo>
                  <a:lnTo>
                    <a:pt x="167" y="695"/>
                  </a:lnTo>
                  <a:lnTo>
                    <a:pt x="154" y="684"/>
                  </a:lnTo>
                  <a:lnTo>
                    <a:pt x="140" y="672"/>
                  </a:lnTo>
                  <a:lnTo>
                    <a:pt x="129" y="659"/>
                  </a:lnTo>
                  <a:lnTo>
                    <a:pt x="117" y="645"/>
                  </a:lnTo>
                  <a:lnTo>
                    <a:pt x="105" y="631"/>
                  </a:lnTo>
                  <a:lnTo>
                    <a:pt x="95" y="616"/>
                  </a:lnTo>
                  <a:lnTo>
                    <a:pt x="85" y="601"/>
                  </a:lnTo>
                  <a:lnTo>
                    <a:pt x="76" y="585"/>
                  </a:lnTo>
                  <a:lnTo>
                    <a:pt x="67" y="569"/>
                  </a:lnTo>
                  <a:lnTo>
                    <a:pt x="60" y="552"/>
                  </a:lnTo>
                  <a:lnTo>
                    <a:pt x="54" y="535"/>
                  </a:lnTo>
                  <a:lnTo>
                    <a:pt x="47" y="518"/>
                  </a:lnTo>
                  <a:lnTo>
                    <a:pt x="43" y="499"/>
                  </a:lnTo>
                  <a:lnTo>
                    <a:pt x="39" y="481"/>
                  </a:lnTo>
                  <a:lnTo>
                    <a:pt x="35" y="463"/>
                  </a:lnTo>
                  <a:lnTo>
                    <a:pt x="32" y="445"/>
                  </a:lnTo>
                  <a:lnTo>
                    <a:pt x="31" y="425"/>
                  </a:lnTo>
                  <a:lnTo>
                    <a:pt x="31" y="406"/>
                  </a:lnTo>
                  <a:lnTo>
                    <a:pt x="31" y="387"/>
                  </a:lnTo>
                  <a:lnTo>
                    <a:pt x="32" y="369"/>
                  </a:lnTo>
                  <a:lnTo>
                    <a:pt x="34" y="350"/>
                  </a:lnTo>
                  <a:lnTo>
                    <a:pt x="37" y="332"/>
                  </a:lnTo>
                  <a:lnTo>
                    <a:pt x="42" y="314"/>
                  </a:lnTo>
                  <a:lnTo>
                    <a:pt x="47" y="297"/>
                  </a:lnTo>
                  <a:lnTo>
                    <a:pt x="52" y="280"/>
                  </a:lnTo>
                  <a:lnTo>
                    <a:pt x="59" y="263"/>
                  </a:lnTo>
                  <a:lnTo>
                    <a:pt x="66" y="247"/>
                  </a:lnTo>
                  <a:lnTo>
                    <a:pt x="74" y="230"/>
                  </a:lnTo>
                  <a:lnTo>
                    <a:pt x="82" y="215"/>
                  </a:lnTo>
                  <a:lnTo>
                    <a:pt x="92" y="200"/>
                  </a:lnTo>
                  <a:lnTo>
                    <a:pt x="102" y="185"/>
                  </a:lnTo>
                  <a:lnTo>
                    <a:pt x="112" y="172"/>
                  </a:lnTo>
                  <a:lnTo>
                    <a:pt x="124" y="159"/>
                  </a:lnTo>
                  <a:lnTo>
                    <a:pt x="136" y="145"/>
                  </a:lnTo>
                  <a:lnTo>
                    <a:pt x="149" y="133"/>
                  </a:lnTo>
                  <a:lnTo>
                    <a:pt x="162" y="121"/>
                  </a:lnTo>
                  <a:lnTo>
                    <a:pt x="175" y="109"/>
                  </a:lnTo>
                  <a:lnTo>
                    <a:pt x="190" y="100"/>
                  </a:lnTo>
                  <a:lnTo>
                    <a:pt x="204" y="89"/>
                  </a:lnTo>
                  <a:lnTo>
                    <a:pt x="219" y="80"/>
                  </a:lnTo>
                  <a:lnTo>
                    <a:pt x="235" y="72"/>
                  </a:lnTo>
                  <a:lnTo>
                    <a:pt x="251" y="64"/>
                  </a:lnTo>
                  <a:lnTo>
                    <a:pt x="267" y="57"/>
                  </a:lnTo>
                  <a:lnTo>
                    <a:pt x="284" y="50"/>
                  </a:lnTo>
                  <a:lnTo>
                    <a:pt x="301" y="45"/>
                  </a:lnTo>
                  <a:lnTo>
                    <a:pt x="318" y="41"/>
                  </a:lnTo>
                  <a:lnTo>
                    <a:pt x="336" y="37"/>
                  </a:lnTo>
                  <a:lnTo>
                    <a:pt x="355" y="33"/>
                  </a:lnTo>
                  <a:lnTo>
                    <a:pt x="373" y="31"/>
                  </a:lnTo>
                  <a:lnTo>
                    <a:pt x="391" y="30"/>
                  </a:lnTo>
                  <a:lnTo>
                    <a:pt x="391" y="406"/>
                  </a:lnTo>
                  <a:lnTo>
                    <a:pt x="392" y="409"/>
                  </a:lnTo>
                  <a:lnTo>
                    <a:pt x="392" y="411"/>
                  </a:lnTo>
                  <a:lnTo>
                    <a:pt x="394" y="415"/>
                  </a:lnTo>
                  <a:lnTo>
                    <a:pt x="395" y="417"/>
                  </a:lnTo>
                  <a:lnTo>
                    <a:pt x="661" y="682"/>
                  </a:lnTo>
                  <a:lnTo>
                    <a:pt x="648" y="694"/>
                  </a:lnTo>
                  <a:lnTo>
                    <a:pt x="634" y="705"/>
                  </a:lnTo>
                  <a:lnTo>
                    <a:pt x="620" y="715"/>
                  </a:lnTo>
                  <a:lnTo>
                    <a:pt x="605" y="724"/>
                  </a:lnTo>
                  <a:lnTo>
                    <a:pt x="590" y="734"/>
                  </a:lnTo>
                  <a:lnTo>
                    <a:pt x="575" y="741"/>
                  </a:lnTo>
                  <a:lnTo>
                    <a:pt x="559" y="749"/>
                  </a:lnTo>
                  <a:lnTo>
                    <a:pt x="543" y="756"/>
                  </a:lnTo>
                  <a:lnTo>
                    <a:pt x="527" y="762"/>
                  </a:lnTo>
                  <a:lnTo>
                    <a:pt x="511" y="767"/>
                  </a:lnTo>
                  <a:lnTo>
                    <a:pt x="494" y="771"/>
                  </a:lnTo>
                  <a:lnTo>
                    <a:pt x="477" y="776"/>
                  </a:lnTo>
                  <a:lnTo>
                    <a:pt x="460" y="778"/>
                  </a:lnTo>
                  <a:lnTo>
                    <a:pt x="442" y="780"/>
                  </a:lnTo>
                  <a:lnTo>
                    <a:pt x="424" y="781"/>
                  </a:lnTo>
                  <a:lnTo>
                    <a:pt x="406" y="782"/>
                  </a:lnTo>
                  <a:lnTo>
                    <a:pt x="406" y="782"/>
                  </a:lnTo>
                  <a:close/>
                  <a:moveTo>
                    <a:pt x="421" y="400"/>
                  </a:moveTo>
                  <a:lnTo>
                    <a:pt x="421" y="15"/>
                  </a:lnTo>
                  <a:lnTo>
                    <a:pt x="421" y="12"/>
                  </a:lnTo>
                  <a:lnTo>
                    <a:pt x="420" y="9"/>
                  </a:lnTo>
                  <a:lnTo>
                    <a:pt x="419" y="7"/>
                  </a:lnTo>
                  <a:lnTo>
                    <a:pt x="417" y="4"/>
                  </a:lnTo>
                  <a:lnTo>
                    <a:pt x="415" y="2"/>
                  </a:lnTo>
                  <a:lnTo>
                    <a:pt x="412" y="1"/>
                  </a:lnTo>
                  <a:lnTo>
                    <a:pt x="409" y="0"/>
                  </a:lnTo>
                  <a:lnTo>
                    <a:pt x="406" y="0"/>
                  </a:lnTo>
                  <a:lnTo>
                    <a:pt x="386" y="0"/>
                  </a:lnTo>
                  <a:lnTo>
                    <a:pt x="365" y="2"/>
                  </a:lnTo>
                  <a:lnTo>
                    <a:pt x="345" y="4"/>
                  </a:lnTo>
                  <a:lnTo>
                    <a:pt x="325" y="9"/>
                  </a:lnTo>
                  <a:lnTo>
                    <a:pt x="305" y="13"/>
                  </a:lnTo>
                  <a:lnTo>
                    <a:pt x="286" y="18"/>
                  </a:lnTo>
                  <a:lnTo>
                    <a:pt x="267" y="25"/>
                  </a:lnTo>
                  <a:lnTo>
                    <a:pt x="248" y="32"/>
                  </a:lnTo>
                  <a:lnTo>
                    <a:pt x="230" y="40"/>
                  </a:lnTo>
                  <a:lnTo>
                    <a:pt x="213" y="49"/>
                  </a:lnTo>
                  <a:lnTo>
                    <a:pt x="196" y="59"/>
                  </a:lnTo>
                  <a:lnTo>
                    <a:pt x="180" y="70"/>
                  </a:lnTo>
                  <a:lnTo>
                    <a:pt x="164" y="80"/>
                  </a:lnTo>
                  <a:lnTo>
                    <a:pt x="149" y="92"/>
                  </a:lnTo>
                  <a:lnTo>
                    <a:pt x="134" y="105"/>
                  </a:lnTo>
                  <a:lnTo>
                    <a:pt x="120" y="119"/>
                  </a:lnTo>
                  <a:lnTo>
                    <a:pt x="106" y="133"/>
                  </a:lnTo>
                  <a:lnTo>
                    <a:pt x="93" y="148"/>
                  </a:lnTo>
                  <a:lnTo>
                    <a:pt x="81" y="163"/>
                  </a:lnTo>
                  <a:lnTo>
                    <a:pt x="70" y="179"/>
                  </a:lnTo>
                  <a:lnTo>
                    <a:pt x="59" y="195"/>
                  </a:lnTo>
                  <a:lnTo>
                    <a:pt x="49" y="212"/>
                  </a:lnTo>
                  <a:lnTo>
                    <a:pt x="41" y="230"/>
                  </a:lnTo>
                  <a:lnTo>
                    <a:pt x="32" y="248"/>
                  </a:lnTo>
                  <a:lnTo>
                    <a:pt x="26" y="267"/>
                  </a:lnTo>
                  <a:lnTo>
                    <a:pt x="19" y="285"/>
                  </a:lnTo>
                  <a:lnTo>
                    <a:pt x="13" y="304"/>
                  </a:lnTo>
                  <a:lnTo>
                    <a:pt x="9" y="325"/>
                  </a:lnTo>
                  <a:lnTo>
                    <a:pt x="5" y="344"/>
                  </a:lnTo>
                  <a:lnTo>
                    <a:pt x="2" y="364"/>
                  </a:lnTo>
                  <a:lnTo>
                    <a:pt x="1" y="385"/>
                  </a:lnTo>
                  <a:lnTo>
                    <a:pt x="0" y="406"/>
                  </a:lnTo>
                  <a:lnTo>
                    <a:pt x="1" y="426"/>
                  </a:lnTo>
                  <a:lnTo>
                    <a:pt x="2" y="448"/>
                  </a:lnTo>
                  <a:lnTo>
                    <a:pt x="5" y="467"/>
                  </a:lnTo>
                  <a:lnTo>
                    <a:pt x="9" y="488"/>
                  </a:lnTo>
                  <a:lnTo>
                    <a:pt x="13" y="507"/>
                  </a:lnTo>
                  <a:lnTo>
                    <a:pt x="19" y="526"/>
                  </a:lnTo>
                  <a:lnTo>
                    <a:pt x="26" y="545"/>
                  </a:lnTo>
                  <a:lnTo>
                    <a:pt x="32" y="564"/>
                  </a:lnTo>
                  <a:lnTo>
                    <a:pt x="41" y="582"/>
                  </a:lnTo>
                  <a:lnTo>
                    <a:pt x="49" y="599"/>
                  </a:lnTo>
                  <a:lnTo>
                    <a:pt x="59" y="616"/>
                  </a:lnTo>
                  <a:lnTo>
                    <a:pt x="70" y="633"/>
                  </a:lnTo>
                  <a:lnTo>
                    <a:pt x="81" y="648"/>
                  </a:lnTo>
                  <a:lnTo>
                    <a:pt x="93" y="664"/>
                  </a:lnTo>
                  <a:lnTo>
                    <a:pt x="106" y="678"/>
                  </a:lnTo>
                  <a:lnTo>
                    <a:pt x="120" y="693"/>
                  </a:lnTo>
                  <a:lnTo>
                    <a:pt x="134" y="706"/>
                  </a:lnTo>
                  <a:lnTo>
                    <a:pt x="149" y="719"/>
                  </a:lnTo>
                  <a:lnTo>
                    <a:pt x="164" y="731"/>
                  </a:lnTo>
                  <a:lnTo>
                    <a:pt x="180" y="742"/>
                  </a:lnTo>
                  <a:lnTo>
                    <a:pt x="196" y="753"/>
                  </a:lnTo>
                  <a:lnTo>
                    <a:pt x="213" y="763"/>
                  </a:lnTo>
                  <a:lnTo>
                    <a:pt x="230" y="771"/>
                  </a:lnTo>
                  <a:lnTo>
                    <a:pt x="248" y="780"/>
                  </a:lnTo>
                  <a:lnTo>
                    <a:pt x="267" y="787"/>
                  </a:lnTo>
                  <a:lnTo>
                    <a:pt x="286" y="794"/>
                  </a:lnTo>
                  <a:lnTo>
                    <a:pt x="305" y="799"/>
                  </a:lnTo>
                  <a:lnTo>
                    <a:pt x="325" y="804"/>
                  </a:lnTo>
                  <a:lnTo>
                    <a:pt x="345" y="807"/>
                  </a:lnTo>
                  <a:lnTo>
                    <a:pt x="365" y="810"/>
                  </a:lnTo>
                  <a:lnTo>
                    <a:pt x="386" y="811"/>
                  </a:lnTo>
                  <a:lnTo>
                    <a:pt x="406" y="812"/>
                  </a:lnTo>
                  <a:lnTo>
                    <a:pt x="426" y="811"/>
                  </a:lnTo>
                  <a:lnTo>
                    <a:pt x="447" y="810"/>
                  </a:lnTo>
                  <a:lnTo>
                    <a:pt x="467" y="808"/>
                  </a:lnTo>
                  <a:lnTo>
                    <a:pt x="486" y="804"/>
                  </a:lnTo>
                  <a:lnTo>
                    <a:pt x="506" y="799"/>
                  </a:lnTo>
                  <a:lnTo>
                    <a:pt x="525" y="794"/>
                  </a:lnTo>
                  <a:lnTo>
                    <a:pt x="543" y="789"/>
                  </a:lnTo>
                  <a:lnTo>
                    <a:pt x="561" y="781"/>
                  </a:lnTo>
                  <a:lnTo>
                    <a:pt x="580" y="774"/>
                  </a:lnTo>
                  <a:lnTo>
                    <a:pt x="598" y="764"/>
                  </a:lnTo>
                  <a:lnTo>
                    <a:pt x="615" y="754"/>
                  </a:lnTo>
                  <a:lnTo>
                    <a:pt x="632" y="744"/>
                  </a:lnTo>
                  <a:lnTo>
                    <a:pt x="648" y="733"/>
                  </a:lnTo>
                  <a:lnTo>
                    <a:pt x="663" y="720"/>
                  </a:lnTo>
                  <a:lnTo>
                    <a:pt x="679" y="707"/>
                  </a:lnTo>
                  <a:lnTo>
                    <a:pt x="693" y="693"/>
                  </a:lnTo>
                  <a:lnTo>
                    <a:pt x="695" y="691"/>
                  </a:lnTo>
                  <a:lnTo>
                    <a:pt x="696" y="688"/>
                  </a:lnTo>
                  <a:lnTo>
                    <a:pt x="697" y="686"/>
                  </a:lnTo>
                  <a:lnTo>
                    <a:pt x="697" y="682"/>
                  </a:lnTo>
                  <a:lnTo>
                    <a:pt x="697" y="679"/>
                  </a:lnTo>
                  <a:lnTo>
                    <a:pt x="696" y="676"/>
                  </a:lnTo>
                  <a:lnTo>
                    <a:pt x="695" y="674"/>
                  </a:lnTo>
                  <a:lnTo>
                    <a:pt x="693" y="672"/>
                  </a:lnTo>
                  <a:lnTo>
                    <a:pt x="421" y="4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43" name="Freeform 313"/>
            <p:cNvSpPr>
              <a:spLocks noEditPoints="1"/>
            </p:cNvSpPr>
            <p:nvPr/>
          </p:nvSpPr>
          <p:spPr bwMode="auto">
            <a:xfrm>
              <a:off x="10607675" y="4360863"/>
              <a:ext cx="133350" cy="96838"/>
            </a:xfrm>
            <a:custGeom>
              <a:avLst/>
              <a:gdLst>
                <a:gd name="T0" fmla="*/ 290 w 421"/>
                <a:gd name="T1" fmla="*/ 270 h 306"/>
                <a:gd name="T2" fmla="*/ 50 w 421"/>
                <a:gd name="T3" fmla="*/ 30 h 306"/>
                <a:gd name="T4" fmla="*/ 390 w 421"/>
                <a:gd name="T5" fmla="*/ 30 h 306"/>
                <a:gd name="T6" fmla="*/ 389 w 421"/>
                <a:gd name="T7" fmla="*/ 46 h 306"/>
                <a:gd name="T8" fmla="*/ 388 w 421"/>
                <a:gd name="T9" fmla="*/ 63 h 306"/>
                <a:gd name="T10" fmla="*/ 385 w 421"/>
                <a:gd name="T11" fmla="*/ 79 h 306"/>
                <a:gd name="T12" fmla="*/ 381 w 421"/>
                <a:gd name="T13" fmla="*/ 95 h 306"/>
                <a:gd name="T14" fmla="*/ 378 w 421"/>
                <a:gd name="T15" fmla="*/ 112 h 306"/>
                <a:gd name="T16" fmla="*/ 373 w 421"/>
                <a:gd name="T17" fmla="*/ 128 h 306"/>
                <a:gd name="T18" fmla="*/ 369 w 421"/>
                <a:gd name="T19" fmla="*/ 144 h 306"/>
                <a:gd name="T20" fmla="*/ 362 w 421"/>
                <a:gd name="T21" fmla="*/ 159 h 306"/>
                <a:gd name="T22" fmla="*/ 356 w 421"/>
                <a:gd name="T23" fmla="*/ 174 h 306"/>
                <a:gd name="T24" fmla="*/ 348 w 421"/>
                <a:gd name="T25" fmla="*/ 189 h 306"/>
                <a:gd name="T26" fmla="*/ 341 w 421"/>
                <a:gd name="T27" fmla="*/ 203 h 306"/>
                <a:gd name="T28" fmla="*/ 332 w 421"/>
                <a:gd name="T29" fmla="*/ 218 h 306"/>
                <a:gd name="T30" fmla="*/ 322 w 421"/>
                <a:gd name="T31" fmla="*/ 230 h 306"/>
                <a:gd name="T32" fmla="*/ 313 w 421"/>
                <a:gd name="T33" fmla="*/ 244 h 306"/>
                <a:gd name="T34" fmla="*/ 302 w 421"/>
                <a:gd name="T35" fmla="*/ 257 h 306"/>
                <a:gd name="T36" fmla="*/ 290 w 421"/>
                <a:gd name="T37" fmla="*/ 270 h 306"/>
                <a:gd name="T38" fmla="*/ 290 w 421"/>
                <a:gd name="T39" fmla="*/ 270 h 306"/>
                <a:gd name="T40" fmla="*/ 406 w 421"/>
                <a:gd name="T41" fmla="*/ 0 h 306"/>
                <a:gd name="T42" fmla="*/ 15 w 421"/>
                <a:gd name="T43" fmla="*/ 0 h 306"/>
                <a:gd name="T44" fmla="*/ 11 w 421"/>
                <a:gd name="T45" fmla="*/ 0 h 306"/>
                <a:gd name="T46" fmla="*/ 6 w 421"/>
                <a:gd name="T47" fmla="*/ 2 h 306"/>
                <a:gd name="T48" fmla="*/ 3 w 421"/>
                <a:gd name="T49" fmla="*/ 5 h 306"/>
                <a:gd name="T50" fmla="*/ 1 w 421"/>
                <a:gd name="T51" fmla="*/ 9 h 306"/>
                <a:gd name="T52" fmla="*/ 0 w 421"/>
                <a:gd name="T53" fmla="*/ 13 h 306"/>
                <a:gd name="T54" fmla="*/ 0 w 421"/>
                <a:gd name="T55" fmla="*/ 17 h 306"/>
                <a:gd name="T56" fmla="*/ 1 w 421"/>
                <a:gd name="T57" fmla="*/ 22 h 306"/>
                <a:gd name="T58" fmla="*/ 4 w 421"/>
                <a:gd name="T59" fmla="*/ 26 h 306"/>
                <a:gd name="T60" fmla="*/ 281 w 421"/>
                <a:gd name="T61" fmla="*/ 302 h 306"/>
                <a:gd name="T62" fmla="*/ 283 w 421"/>
                <a:gd name="T63" fmla="*/ 303 h 306"/>
                <a:gd name="T64" fmla="*/ 285 w 421"/>
                <a:gd name="T65" fmla="*/ 305 h 306"/>
                <a:gd name="T66" fmla="*/ 288 w 421"/>
                <a:gd name="T67" fmla="*/ 305 h 306"/>
                <a:gd name="T68" fmla="*/ 291 w 421"/>
                <a:gd name="T69" fmla="*/ 306 h 306"/>
                <a:gd name="T70" fmla="*/ 294 w 421"/>
                <a:gd name="T71" fmla="*/ 305 h 306"/>
                <a:gd name="T72" fmla="*/ 297 w 421"/>
                <a:gd name="T73" fmla="*/ 305 h 306"/>
                <a:gd name="T74" fmla="*/ 299 w 421"/>
                <a:gd name="T75" fmla="*/ 303 h 306"/>
                <a:gd name="T76" fmla="*/ 302 w 421"/>
                <a:gd name="T77" fmla="*/ 302 h 306"/>
                <a:gd name="T78" fmla="*/ 316 w 421"/>
                <a:gd name="T79" fmla="*/ 287 h 306"/>
                <a:gd name="T80" fmla="*/ 329 w 421"/>
                <a:gd name="T81" fmla="*/ 272 h 306"/>
                <a:gd name="T82" fmla="*/ 341 w 421"/>
                <a:gd name="T83" fmla="*/ 256 h 306"/>
                <a:gd name="T84" fmla="*/ 352 w 421"/>
                <a:gd name="T85" fmla="*/ 240 h 306"/>
                <a:gd name="T86" fmla="*/ 363 w 421"/>
                <a:gd name="T87" fmla="*/ 223 h 306"/>
                <a:gd name="T88" fmla="*/ 373 w 421"/>
                <a:gd name="T89" fmla="*/ 206 h 306"/>
                <a:gd name="T90" fmla="*/ 381 w 421"/>
                <a:gd name="T91" fmla="*/ 189 h 306"/>
                <a:gd name="T92" fmla="*/ 390 w 421"/>
                <a:gd name="T93" fmla="*/ 170 h 306"/>
                <a:gd name="T94" fmla="*/ 397 w 421"/>
                <a:gd name="T95" fmla="*/ 152 h 306"/>
                <a:gd name="T96" fmla="*/ 403 w 421"/>
                <a:gd name="T97" fmla="*/ 133 h 306"/>
                <a:gd name="T98" fmla="*/ 408 w 421"/>
                <a:gd name="T99" fmla="*/ 114 h 306"/>
                <a:gd name="T100" fmla="*/ 412 w 421"/>
                <a:gd name="T101" fmla="*/ 94 h 306"/>
                <a:gd name="T102" fmla="*/ 416 w 421"/>
                <a:gd name="T103" fmla="*/ 75 h 306"/>
                <a:gd name="T104" fmla="*/ 419 w 421"/>
                <a:gd name="T105" fmla="*/ 55 h 306"/>
                <a:gd name="T106" fmla="*/ 420 w 421"/>
                <a:gd name="T107" fmla="*/ 35 h 306"/>
                <a:gd name="T108" fmla="*/ 421 w 421"/>
                <a:gd name="T109" fmla="*/ 15 h 306"/>
                <a:gd name="T110" fmla="*/ 420 w 421"/>
                <a:gd name="T111" fmla="*/ 12 h 306"/>
                <a:gd name="T112" fmla="*/ 419 w 421"/>
                <a:gd name="T113" fmla="*/ 9 h 306"/>
                <a:gd name="T114" fmla="*/ 418 w 421"/>
                <a:gd name="T115" fmla="*/ 7 h 306"/>
                <a:gd name="T116" fmla="*/ 416 w 421"/>
                <a:gd name="T117" fmla="*/ 4 h 306"/>
                <a:gd name="T118" fmla="*/ 414 w 421"/>
                <a:gd name="T119" fmla="*/ 2 h 306"/>
                <a:gd name="T120" fmla="*/ 411 w 421"/>
                <a:gd name="T121" fmla="*/ 1 h 306"/>
                <a:gd name="T122" fmla="*/ 408 w 421"/>
                <a:gd name="T123" fmla="*/ 0 h 306"/>
                <a:gd name="T124" fmla="*/ 406 w 421"/>
                <a:gd name="T125" fmla="*/ 0 h 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21" h="306">
                  <a:moveTo>
                    <a:pt x="290" y="270"/>
                  </a:moveTo>
                  <a:lnTo>
                    <a:pt x="50" y="30"/>
                  </a:lnTo>
                  <a:lnTo>
                    <a:pt x="390" y="30"/>
                  </a:lnTo>
                  <a:lnTo>
                    <a:pt x="389" y="46"/>
                  </a:lnTo>
                  <a:lnTo>
                    <a:pt x="388" y="63"/>
                  </a:lnTo>
                  <a:lnTo>
                    <a:pt x="385" y="79"/>
                  </a:lnTo>
                  <a:lnTo>
                    <a:pt x="381" y="95"/>
                  </a:lnTo>
                  <a:lnTo>
                    <a:pt x="378" y="112"/>
                  </a:lnTo>
                  <a:lnTo>
                    <a:pt x="373" y="128"/>
                  </a:lnTo>
                  <a:lnTo>
                    <a:pt x="369" y="144"/>
                  </a:lnTo>
                  <a:lnTo>
                    <a:pt x="362" y="159"/>
                  </a:lnTo>
                  <a:lnTo>
                    <a:pt x="356" y="174"/>
                  </a:lnTo>
                  <a:lnTo>
                    <a:pt x="348" y="189"/>
                  </a:lnTo>
                  <a:lnTo>
                    <a:pt x="341" y="203"/>
                  </a:lnTo>
                  <a:lnTo>
                    <a:pt x="332" y="218"/>
                  </a:lnTo>
                  <a:lnTo>
                    <a:pt x="322" y="230"/>
                  </a:lnTo>
                  <a:lnTo>
                    <a:pt x="313" y="244"/>
                  </a:lnTo>
                  <a:lnTo>
                    <a:pt x="302" y="257"/>
                  </a:lnTo>
                  <a:lnTo>
                    <a:pt x="290" y="270"/>
                  </a:lnTo>
                  <a:lnTo>
                    <a:pt x="290" y="270"/>
                  </a:lnTo>
                  <a:close/>
                  <a:moveTo>
                    <a:pt x="406" y="0"/>
                  </a:moveTo>
                  <a:lnTo>
                    <a:pt x="15" y="0"/>
                  </a:lnTo>
                  <a:lnTo>
                    <a:pt x="11" y="0"/>
                  </a:lnTo>
                  <a:lnTo>
                    <a:pt x="6" y="2"/>
                  </a:lnTo>
                  <a:lnTo>
                    <a:pt x="3" y="5"/>
                  </a:lnTo>
                  <a:lnTo>
                    <a:pt x="1" y="9"/>
                  </a:lnTo>
                  <a:lnTo>
                    <a:pt x="0" y="13"/>
                  </a:lnTo>
                  <a:lnTo>
                    <a:pt x="0" y="17"/>
                  </a:lnTo>
                  <a:lnTo>
                    <a:pt x="1" y="22"/>
                  </a:lnTo>
                  <a:lnTo>
                    <a:pt x="4" y="26"/>
                  </a:lnTo>
                  <a:lnTo>
                    <a:pt x="281" y="302"/>
                  </a:lnTo>
                  <a:lnTo>
                    <a:pt x="283" y="303"/>
                  </a:lnTo>
                  <a:lnTo>
                    <a:pt x="285" y="305"/>
                  </a:lnTo>
                  <a:lnTo>
                    <a:pt x="288" y="305"/>
                  </a:lnTo>
                  <a:lnTo>
                    <a:pt x="291" y="306"/>
                  </a:lnTo>
                  <a:lnTo>
                    <a:pt x="294" y="305"/>
                  </a:lnTo>
                  <a:lnTo>
                    <a:pt x="297" y="305"/>
                  </a:lnTo>
                  <a:lnTo>
                    <a:pt x="299" y="303"/>
                  </a:lnTo>
                  <a:lnTo>
                    <a:pt x="302" y="302"/>
                  </a:lnTo>
                  <a:lnTo>
                    <a:pt x="316" y="287"/>
                  </a:lnTo>
                  <a:lnTo>
                    <a:pt x="329" y="272"/>
                  </a:lnTo>
                  <a:lnTo>
                    <a:pt x="341" y="256"/>
                  </a:lnTo>
                  <a:lnTo>
                    <a:pt x="352" y="240"/>
                  </a:lnTo>
                  <a:lnTo>
                    <a:pt x="363" y="223"/>
                  </a:lnTo>
                  <a:lnTo>
                    <a:pt x="373" y="206"/>
                  </a:lnTo>
                  <a:lnTo>
                    <a:pt x="381" y="189"/>
                  </a:lnTo>
                  <a:lnTo>
                    <a:pt x="390" y="170"/>
                  </a:lnTo>
                  <a:lnTo>
                    <a:pt x="397" y="152"/>
                  </a:lnTo>
                  <a:lnTo>
                    <a:pt x="403" y="133"/>
                  </a:lnTo>
                  <a:lnTo>
                    <a:pt x="408" y="114"/>
                  </a:lnTo>
                  <a:lnTo>
                    <a:pt x="412" y="94"/>
                  </a:lnTo>
                  <a:lnTo>
                    <a:pt x="416" y="75"/>
                  </a:lnTo>
                  <a:lnTo>
                    <a:pt x="419" y="55"/>
                  </a:lnTo>
                  <a:lnTo>
                    <a:pt x="420" y="35"/>
                  </a:lnTo>
                  <a:lnTo>
                    <a:pt x="421" y="15"/>
                  </a:lnTo>
                  <a:lnTo>
                    <a:pt x="420" y="12"/>
                  </a:lnTo>
                  <a:lnTo>
                    <a:pt x="419" y="9"/>
                  </a:lnTo>
                  <a:lnTo>
                    <a:pt x="418" y="7"/>
                  </a:lnTo>
                  <a:lnTo>
                    <a:pt x="416" y="4"/>
                  </a:lnTo>
                  <a:lnTo>
                    <a:pt x="414" y="2"/>
                  </a:lnTo>
                  <a:lnTo>
                    <a:pt x="411" y="1"/>
                  </a:lnTo>
                  <a:lnTo>
                    <a:pt x="408" y="0"/>
                  </a:lnTo>
                  <a:lnTo>
                    <a:pt x="40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  <p:sp>
        <p:nvSpPr>
          <p:cNvPr id="44" name="TextBox 43"/>
          <p:cNvSpPr txBox="1"/>
          <p:nvPr/>
        </p:nvSpPr>
        <p:spPr>
          <a:xfrm>
            <a:off x="2061330" y="1394314"/>
            <a:ext cx="3052888" cy="461665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Lorem Ipsum is simply dummy text of the printing and typesetting industry. Lorem Ipsum has been the industry's standard dummy text ever since the 1500s.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2061330" y="2252250"/>
            <a:ext cx="3052888" cy="461665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Lorem Ipsum is simply dummy text of the printing and typesetting industry. Lorem Ipsum has been the industry's standard dummy text ever since the 1500s.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2061330" y="2961817"/>
            <a:ext cx="534112" cy="493100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3B3939"/>
                </a:solidFill>
                <a:effectLst/>
                <a:uLnTx/>
                <a:uFillTx/>
                <a:ea typeface="+mn-ea"/>
                <a:cs typeface="+mn-cs"/>
              </a:rPr>
              <a:t>03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2061330" y="3110187"/>
            <a:ext cx="3052888" cy="461665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Lorem Ipsum is simply dummy text of the printing and typesetting industry. Lorem Ipsum has been the industry's standard dummy text ever since the 1500s.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2061330" y="3819753"/>
            <a:ext cx="534112" cy="493100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26A6C1"/>
                </a:solidFill>
                <a:effectLst/>
                <a:uLnTx/>
                <a:uFillTx/>
                <a:ea typeface="+mn-ea"/>
                <a:cs typeface="+mn-cs"/>
              </a:rPr>
              <a:t>04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2061330" y="3968123"/>
            <a:ext cx="3052888" cy="461665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Lorem Ipsum is simply dummy text of the printing and typesetting industry. Lorem Ipsum has been the industry's standard dummy text ever since the 1500s.</a:t>
            </a:r>
          </a:p>
        </p:txBody>
      </p:sp>
      <p:sp>
        <p:nvSpPr>
          <p:cNvPr id="50" name="Rectangle 49"/>
          <p:cNvSpPr/>
          <p:nvPr/>
        </p:nvSpPr>
        <p:spPr>
          <a:xfrm>
            <a:off x="2061330" y="4802787"/>
            <a:ext cx="1544432" cy="1423773"/>
          </a:xfrm>
          <a:prstGeom prst="rect">
            <a:avLst/>
          </a:prstGeom>
          <a:solidFill>
            <a:srgbClr val="AFAB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51" name="Rectangle 50"/>
          <p:cNvSpPr/>
          <p:nvPr/>
        </p:nvSpPr>
        <p:spPr>
          <a:xfrm>
            <a:off x="3658863" y="4802787"/>
            <a:ext cx="1544432" cy="1423773"/>
          </a:xfrm>
          <a:prstGeom prst="rect">
            <a:avLst/>
          </a:prstGeom>
          <a:solidFill>
            <a:srgbClr val="3B39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pSp>
        <p:nvGrpSpPr>
          <p:cNvPr id="52" name="Group 51"/>
          <p:cNvGrpSpPr/>
          <p:nvPr/>
        </p:nvGrpSpPr>
        <p:grpSpPr>
          <a:xfrm>
            <a:off x="2601482" y="4970852"/>
            <a:ext cx="464129" cy="466708"/>
            <a:chOff x="10455275" y="2498725"/>
            <a:chExt cx="285750" cy="287338"/>
          </a:xfrm>
          <a:solidFill>
            <a:schemeClr val="bg1"/>
          </a:solidFill>
        </p:grpSpPr>
        <p:sp>
          <p:nvSpPr>
            <p:cNvPr id="53" name="Freeform 214"/>
            <p:cNvSpPr>
              <a:spLocks noEditPoints="1"/>
            </p:cNvSpPr>
            <p:nvPr/>
          </p:nvSpPr>
          <p:spPr bwMode="auto">
            <a:xfrm>
              <a:off x="10455275" y="2593975"/>
              <a:ext cx="285750" cy="192088"/>
            </a:xfrm>
            <a:custGeom>
              <a:avLst/>
              <a:gdLst>
                <a:gd name="T0" fmla="*/ 812 w 903"/>
                <a:gd name="T1" fmla="*/ 30 h 601"/>
                <a:gd name="T2" fmla="*/ 512 w 903"/>
                <a:gd name="T3" fmla="*/ 571 h 601"/>
                <a:gd name="T4" fmla="*/ 602 w 903"/>
                <a:gd name="T5" fmla="*/ 571 h 601"/>
                <a:gd name="T6" fmla="*/ 301 w 903"/>
                <a:gd name="T7" fmla="*/ 210 h 601"/>
                <a:gd name="T8" fmla="*/ 301 w 903"/>
                <a:gd name="T9" fmla="*/ 571 h 601"/>
                <a:gd name="T10" fmla="*/ 181 w 903"/>
                <a:gd name="T11" fmla="*/ 421 h 601"/>
                <a:gd name="T12" fmla="*/ 888 w 903"/>
                <a:gd name="T13" fmla="*/ 571 h 601"/>
                <a:gd name="T14" fmla="*/ 842 w 903"/>
                <a:gd name="T15" fmla="*/ 12 h 601"/>
                <a:gd name="T16" fmla="*/ 838 w 903"/>
                <a:gd name="T17" fmla="*/ 5 h 601"/>
                <a:gd name="T18" fmla="*/ 830 w 903"/>
                <a:gd name="T19" fmla="*/ 0 h 601"/>
                <a:gd name="T20" fmla="*/ 704 w 903"/>
                <a:gd name="T21" fmla="*/ 0 h 601"/>
                <a:gd name="T22" fmla="*/ 696 w 903"/>
                <a:gd name="T23" fmla="*/ 5 h 601"/>
                <a:gd name="T24" fmla="*/ 692 w 903"/>
                <a:gd name="T25" fmla="*/ 12 h 601"/>
                <a:gd name="T26" fmla="*/ 632 w 903"/>
                <a:gd name="T27" fmla="*/ 571 h 601"/>
                <a:gd name="T28" fmla="*/ 631 w 903"/>
                <a:gd name="T29" fmla="*/ 280 h 601"/>
                <a:gd name="T30" fmla="*/ 626 w 903"/>
                <a:gd name="T31" fmla="*/ 274 h 601"/>
                <a:gd name="T32" fmla="*/ 617 w 903"/>
                <a:gd name="T33" fmla="*/ 270 h 601"/>
                <a:gd name="T34" fmla="*/ 491 w 903"/>
                <a:gd name="T35" fmla="*/ 271 h 601"/>
                <a:gd name="T36" fmla="*/ 484 w 903"/>
                <a:gd name="T37" fmla="*/ 278 h 601"/>
                <a:gd name="T38" fmla="*/ 482 w 903"/>
                <a:gd name="T39" fmla="*/ 285 h 601"/>
                <a:gd name="T40" fmla="*/ 421 w 903"/>
                <a:gd name="T41" fmla="*/ 195 h 601"/>
                <a:gd name="T42" fmla="*/ 419 w 903"/>
                <a:gd name="T43" fmla="*/ 187 h 601"/>
                <a:gd name="T44" fmla="*/ 412 w 903"/>
                <a:gd name="T45" fmla="*/ 181 h 601"/>
                <a:gd name="T46" fmla="*/ 286 w 903"/>
                <a:gd name="T47" fmla="*/ 180 h 601"/>
                <a:gd name="T48" fmla="*/ 277 w 903"/>
                <a:gd name="T49" fmla="*/ 184 h 601"/>
                <a:gd name="T50" fmla="*/ 272 w 903"/>
                <a:gd name="T51" fmla="*/ 190 h 601"/>
                <a:gd name="T52" fmla="*/ 271 w 903"/>
                <a:gd name="T53" fmla="*/ 571 h 601"/>
                <a:gd name="T54" fmla="*/ 211 w 903"/>
                <a:gd name="T55" fmla="*/ 403 h 601"/>
                <a:gd name="T56" fmla="*/ 207 w 903"/>
                <a:gd name="T57" fmla="*/ 396 h 601"/>
                <a:gd name="T58" fmla="*/ 199 w 903"/>
                <a:gd name="T59" fmla="*/ 391 h 601"/>
                <a:gd name="T60" fmla="*/ 73 w 903"/>
                <a:gd name="T61" fmla="*/ 391 h 601"/>
                <a:gd name="T62" fmla="*/ 65 w 903"/>
                <a:gd name="T63" fmla="*/ 396 h 601"/>
                <a:gd name="T64" fmla="*/ 61 w 903"/>
                <a:gd name="T65" fmla="*/ 403 h 601"/>
                <a:gd name="T66" fmla="*/ 16 w 903"/>
                <a:gd name="T67" fmla="*/ 571 h 601"/>
                <a:gd name="T68" fmla="*/ 7 w 903"/>
                <a:gd name="T69" fmla="*/ 573 h 601"/>
                <a:gd name="T70" fmla="*/ 2 w 903"/>
                <a:gd name="T71" fmla="*/ 581 h 601"/>
                <a:gd name="T72" fmla="*/ 1 w 903"/>
                <a:gd name="T73" fmla="*/ 590 h 601"/>
                <a:gd name="T74" fmla="*/ 5 w 903"/>
                <a:gd name="T75" fmla="*/ 597 h 601"/>
                <a:gd name="T76" fmla="*/ 13 w 903"/>
                <a:gd name="T77" fmla="*/ 601 h 601"/>
                <a:gd name="T78" fmla="*/ 196 w 903"/>
                <a:gd name="T79" fmla="*/ 601 h 601"/>
                <a:gd name="T80" fmla="*/ 497 w 903"/>
                <a:gd name="T81" fmla="*/ 601 h 601"/>
                <a:gd name="T82" fmla="*/ 827 w 903"/>
                <a:gd name="T83" fmla="*/ 601 h 601"/>
                <a:gd name="T84" fmla="*/ 893 w 903"/>
                <a:gd name="T85" fmla="*/ 600 h 601"/>
                <a:gd name="T86" fmla="*/ 900 w 903"/>
                <a:gd name="T87" fmla="*/ 595 h 601"/>
                <a:gd name="T88" fmla="*/ 903 w 903"/>
                <a:gd name="T89" fmla="*/ 586 h 601"/>
                <a:gd name="T90" fmla="*/ 900 w 903"/>
                <a:gd name="T91" fmla="*/ 578 h 601"/>
                <a:gd name="T92" fmla="*/ 893 w 903"/>
                <a:gd name="T93" fmla="*/ 572 h 6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903" h="601">
                  <a:moveTo>
                    <a:pt x="722" y="571"/>
                  </a:moveTo>
                  <a:lnTo>
                    <a:pt x="722" y="30"/>
                  </a:lnTo>
                  <a:lnTo>
                    <a:pt x="812" y="30"/>
                  </a:lnTo>
                  <a:lnTo>
                    <a:pt x="812" y="571"/>
                  </a:lnTo>
                  <a:lnTo>
                    <a:pt x="722" y="571"/>
                  </a:lnTo>
                  <a:close/>
                  <a:moveTo>
                    <a:pt x="512" y="571"/>
                  </a:moveTo>
                  <a:lnTo>
                    <a:pt x="512" y="300"/>
                  </a:lnTo>
                  <a:lnTo>
                    <a:pt x="602" y="300"/>
                  </a:lnTo>
                  <a:lnTo>
                    <a:pt x="602" y="571"/>
                  </a:lnTo>
                  <a:lnTo>
                    <a:pt x="512" y="571"/>
                  </a:lnTo>
                  <a:close/>
                  <a:moveTo>
                    <a:pt x="301" y="571"/>
                  </a:moveTo>
                  <a:lnTo>
                    <a:pt x="301" y="210"/>
                  </a:lnTo>
                  <a:lnTo>
                    <a:pt x="391" y="210"/>
                  </a:lnTo>
                  <a:lnTo>
                    <a:pt x="391" y="571"/>
                  </a:lnTo>
                  <a:lnTo>
                    <a:pt x="301" y="571"/>
                  </a:lnTo>
                  <a:close/>
                  <a:moveTo>
                    <a:pt x="91" y="571"/>
                  </a:moveTo>
                  <a:lnTo>
                    <a:pt x="91" y="421"/>
                  </a:lnTo>
                  <a:lnTo>
                    <a:pt x="181" y="421"/>
                  </a:lnTo>
                  <a:lnTo>
                    <a:pt x="181" y="571"/>
                  </a:lnTo>
                  <a:lnTo>
                    <a:pt x="91" y="571"/>
                  </a:lnTo>
                  <a:close/>
                  <a:moveTo>
                    <a:pt x="888" y="571"/>
                  </a:moveTo>
                  <a:lnTo>
                    <a:pt x="842" y="571"/>
                  </a:lnTo>
                  <a:lnTo>
                    <a:pt x="842" y="15"/>
                  </a:lnTo>
                  <a:lnTo>
                    <a:pt x="842" y="12"/>
                  </a:lnTo>
                  <a:lnTo>
                    <a:pt x="841" y="9"/>
                  </a:lnTo>
                  <a:lnTo>
                    <a:pt x="840" y="7"/>
                  </a:lnTo>
                  <a:lnTo>
                    <a:pt x="838" y="5"/>
                  </a:lnTo>
                  <a:lnTo>
                    <a:pt x="836" y="3"/>
                  </a:lnTo>
                  <a:lnTo>
                    <a:pt x="833" y="1"/>
                  </a:lnTo>
                  <a:lnTo>
                    <a:pt x="830" y="0"/>
                  </a:lnTo>
                  <a:lnTo>
                    <a:pt x="827" y="0"/>
                  </a:lnTo>
                  <a:lnTo>
                    <a:pt x="707" y="0"/>
                  </a:lnTo>
                  <a:lnTo>
                    <a:pt x="704" y="0"/>
                  </a:lnTo>
                  <a:lnTo>
                    <a:pt x="702" y="1"/>
                  </a:lnTo>
                  <a:lnTo>
                    <a:pt x="698" y="3"/>
                  </a:lnTo>
                  <a:lnTo>
                    <a:pt x="696" y="5"/>
                  </a:lnTo>
                  <a:lnTo>
                    <a:pt x="694" y="7"/>
                  </a:lnTo>
                  <a:lnTo>
                    <a:pt x="693" y="9"/>
                  </a:lnTo>
                  <a:lnTo>
                    <a:pt x="692" y="12"/>
                  </a:lnTo>
                  <a:lnTo>
                    <a:pt x="692" y="15"/>
                  </a:lnTo>
                  <a:lnTo>
                    <a:pt x="692" y="571"/>
                  </a:lnTo>
                  <a:lnTo>
                    <a:pt x="632" y="571"/>
                  </a:lnTo>
                  <a:lnTo>
                    <a:pt x="632" y="285"/>
                  </a:lnTo>
                  <a:lnTo>
                    <a:pt x="632" y="283"/>
                  </a:lnTo>
                  <a:lnTo>
                    <a:pt x="631" y="280"/>
                  </a:lnTo>
                  <a:lnTo>
                    <a:pt x="630" y="278"/>
                  </a:lnTo>
                  <a:lnTo>
                    <a:pt x="628" y="275"/>
                  </a:lnTo>
                  <a:lnTo>
                    <a:pt x="626" y="274"/>
                  </a:lnTo>
                  <a:lnTo>
                    <a:pt x="622" y="271"/>
                  </a:lnTo>
                  <a:lnTo>
                    <a:pt x="620" y="271"/>
                  </a:lnTo>
                  <a:lnTo>
                    <a:pt x="617" y="270"/>
                  </a:lnTo>
                  <a:lnTo>
                    <a:pt x="497" y="270"/>
                  </a:lnTo>
                  <a:lnTo>
                    <a:pt x="494" y="271"/>
                  </a:lnTo>
                  <a:lnTo>
                    <a:pt x="491" y="271"/>
                  </a:lnTo>
                  <a:lnTo>
                    <a:pt x="488" y="274"/>
                  </a:lnTo>
                  <a:lnTo>
                    <a:pt x="486" y="275"/>
                  </a:lnTo>
                  <a:lnTo>
                    <a:pt x="484" y="278"/>
                  </a:lnTo>
                  <a:lnTo>
                    <a:pt x="483" y="280"/>
                  </a:lnTo>
                  <a:lnTo>
                    <a:pt x="482" y="283"/>
                  </a:lnTo>
                  <a:lnTo>
                    <a:pt x="482" y="285"/>
                  </a:lnTo>
                  <a:lnTo>
                    <a:pt x="482" y="571"/>
                  </a:lnTo>
                  <a:lnTo>
                    <a:pt x="421" y="571"/>
                  </a:lnTo>
                  <a:lnTo>
                    <a:pt x="421" y="195"/>
                  </a:lnTo>
                  <a:lnTo>
                    <a:pt x="421" y="192"/>
                  </a:lnTo>
                  <a:lnTo>
                    <a:pt x="420" y="190"/>
                  </a:lnTo>
                  <a:lnTo>
                    <a:pt x="419" y="187"/>
                  </a:lnTo>
                  <a:lnTo>
                    <a:pt x="417" y="185"/>
                  </a:lnTo>
                  <a:lnTo>
                    <a:pt x="415" y="184"/>
                  </a:lnTo>
                  <a:lnTo>
                    <a:pt x="412" y="181"/>
                  </a:lnTo>
                  <a:lnTo>
                    <a:pt x="409" y="180"/>
                  </a:lnTo>
                  <a:lnTo>
                    <a:pt x="406" y="180"/>
                  </a:lnTo>
                  <a:lnTo>
                    <a:pt x="286" y="180"/>
                  </a:lnTo>
                  <a:lnTo>
                    <a:pt x="283" y="180"/>
                  </a:lnTo>
                  <a:lnTo>
                    <a:pt x="281" y="181"/>
                  </a:lnTo>
                  <a:lnTo>
                    <a:pt x="277" y="184"/>
                  </a:lnTo>
                  <a:lnTo>
                    <a:pt x="275" y="185"/>
                  </a:lnTo>
                  <a:lnTo>
                    <a:pt x="274" y="187"/>
                  </a:lnTo>
                  <a:lnTo>
                    <a:pt x="272" y="190"/>
                  </a:lnTo>
                  <a:lnTo>
                    <a:pt x="271" y="192"/>
                  </a:lnTo>
                  <a:lnTo>
                    <a:pt x="271" y="195"/>
                  </a:lnTo>
                  <a:lnTo>
                    <a:pt x="271" y="571"/>
                  </a:lnTo>
                  <a:lnTo>
                    <a:pt x="211" y="571"/>
                  </a:lnTo>
                  <a:lnTo>
                    <a:pt x="211" y="406"/>
                  </a:lnTo>
                  <a:lnTo>
                    <a:pt x="211" y="403"/>
                  </a:lnTo>
                  <a:lnTo>
                    <a:pt x="210" y="400"/>
                  </a:lnTo>
                  <a:lnTo>
                    <a:pt x="209" y="398"/>
                  </a:lnTo>
                  <a:lnTo>
                    <a:pt x="207" y="396"/>
                  </a:lnTo>
                  <a:lnTo>
                    <a:pt x="205" y="394"/>
                  </a:lnTo>
                  <a:lnTo>
                    <a:pt x="201" y="392"/>
                  </a:lnTo>
                  <a:lnTo>
                    <a:pt x="199" y="391"/>
                  </a:lnTo>
                  <a:lnTo>
                    <a:pt x="196" y="391"/>
                  </a:lnTo>
                  <a:lnTo>
                    <a:pt x="76" y="391"/>
                  </a:lnTo>
                  <a:lnTo>
                    <a:pt x="73" y="391"/>
                  </a:lnTo>
                  <a:lnTo>
                    <a:pt x="70" y="392"/>
                  </a:lnTo>
                  <a:lnTo>
                    <a:pt x="67" y="394"/>
                  </a:lnTo>
                  <a:lnTo>
                    <a:pt x="65" y="396"/>
                  </a:lnTo>
                  <a:lnTo>
                    <a:pt x="63" y="398"/>
                  </a:lnTo>
                  <a:lnTo>
                    <a:pt x="62" y="400"/>
                  </a:lnTo>
                  <a:lnTo>
                    <a:pt x="61" y="403"/>
                  </a:lnTo>
                  <a:lnTo>
                    <a:pt x="61" y="406"/>
                  </a:lnTo>
                  <a:lnTo>
                    <a:pt x="61" y="571"/>
                  </a:lnTo>
                  <a:lnTo>
                    <a:pt x="16" y="571"/>
                  </a:lnTo>
                  <a:lnTo>
                    <a:pt x="13" y="571"/>
                  </a:lnTo>
                  <a:lnTo>
                    <a:pt x="10" y="572"/>
                  </a:lnTo>
                  <a:lnTo>
                    <a:pt x="7" y="573"/>
                  </a:lnTo>
                  <a:lnTo>
                    <a:pt x="5" y="576"/>
                  </a:lnTo>
                  <a:lnTo>
                    <a:pt x="3" y="578"/>
                  </a:lnTo>
                  <a:lnTo>
                    <a:pt x="2" y="581"/>
                  </a:lnTo>
                  <a:lnTo>
                    <a:pt x="1" y="583"/>
                  </a:lnTo>
                  <a:lnTo>
                    <a:pt x="0" y="586"/>
                  </a:lnTo>
                  <a:lnTo>
                    <a:pt x="1" y="590"/>
                  </a:lnTo>
                  <a:lnTo>
                    <a:pt x="2" y="593"/>
                  </a:lnTo>
                  <a:lnTo>
                    <a:pt x="3" y="595"/>
                  </a:lnTo>
                  <a:lnTo>
                    <a:pt x="5" y="597"/>
                  </a:lnTo>
                  <a:lnTo>
                    <a:pt x="7" y="599"/>
                  </a:lnTo>
                  <a:lnTo>
                    <a:pt x="10" y="600"/>
                  </a:lnTo>
                  <a:lnTo>
                    <a:pt x="13" y="601"/>
                  </a:lnTo>
                  <a:lnTo>
                    <a:pt x="16" y="601"/>
                  </a:lnTo>
                  <a:lnTo>
                    <a:pt x="76" y="601"/>
                  </a:lnTo>
                  <a:lnTo>
                    <a:pt x="196" y="601"/>
                  </a:lnTo>
                  <a:lnTo>
                    <a:pt x="286" y="601"/>
                  </a:lnTo>
                  <a:lnTo>
                    <a:pt x="406" y="601"/>
                  </a:lnTo>
                  <a:lnTo>
                    <a:pt x="497" y="601"/>
                  </a:lnTo>
                  <a:lnTo>
                    <a:pt x="617" y="601"/>
                  </a:lnTo>
                  <a:lnTo>
                    <a:pt x="707" y="601"/>
                  </a:lnTo>
                  <a:lnTo>
                    <a:pt x="827" y="601"/>
                  </a:lnTo>
                  <a:lnTo>
                    <a:pt x="888" y="601"/>
                  </a:lnTo>
                  <a:lnTo>
                    <a:pt x="890" y="601"/>
                  </a:lnTo>
                  <a:lnTo>
                    <a:pt x="893" y="600"/>
                  </a:lnTo>
                  <a:lnTo>
                    <a:pt x="896" y="599"/>
                  </a:lnTo>
                  <a:lnTo>
                    <a:pt x="898" y="597"/>
                  </a:lnTo>
                  <a:lnTo>
                    <a:pt x="900" y="595"/>
                  </a:lnTo>
                  <a:lnTo>
                    <a:pt x="901" y="593"/>
                  </a:lnTo>
                  <a:lnTo>
                    <a:pt x="902" y="590"/>
                  </a:lnTo>
                  <a:lnTo>
                    <a:pt x="903" y="586"/>
                  </a:lnTo>
                  <a:lnTo>
                    <a:pt x="902" y="583"/>
                  </a:lnTo>
                  <a:lnTo>
                    <a:pt x="901" y="581"/>
                  </a:lnTo>
                  <a:lnTo>
                    <a:pt x="900" y="578"/>
                  </a:lnTo>
                  <a:lnTo>
                    <a:pt x="898" y="576"/>
                  </a:lnTo>
                  <a:lnTo>
                    <a:pt x="896" y="573"/>
                  </a:lnTo>
                  <a:lnTo>
                    <a:pt x="893" y="572"/>
                  </a:lnTo>
                  <a:lnTo>
                    <a:pt x="890" y="571"/>
                  </a:lnTo>
                  <a:lnTo>
                    <a:pt x="888" y="5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54" name="Freeform 215"/>
            <p:cNvSpPr>
              <a:spLocks noEditPoints="1"/>
            </p:cNvSpPr>
            <p:nvPr/>
          </p:nvSpPr>
          <p:spPr bwMode="auto">
            <a:xfrm>
              <a:off x="10474325" y="2498725"/>
              <a:ext cx="252413" cy="157163"/>
            </a:xfrm>
            <a:custGeom>
              <a:avLst/>
              <a:gdLst>
                <a:gd name="T0" fmla="*/ 83 w 796"/>
                <a:gd name="T1" fmla="*/ 417 h 496"/>
                <a:gd name="T2" fmla="*/ 89 w 796"/>
                <a:gd name="T3" fmla="*/ 431 h 496"/>
                <a:gd name="T4" fmla="*/ 76 w 796"/>
                <a:gd name="T5" fmla="*/ 461 h 496"/>
                <a:gd name="T6" fmla="*/ 43 w 796"/>
                <a:gd name="T7" fmla="*/ 461 h 496"/>
                <a:gd name="T8" fmla="*/ 30 w 796"/>
                <a:gd name="T9" fmla="*/ 430 h 496"/>
                <a:gd name="T10" fmla="*/ 54 w 796"/>
                <a:gd name="T11" fmla="*/ 407 h 496"/>
                <a:gd name="T12" fmla="*/ 302 w 796"/>
                <a:gd name="T13" fmla="*/ 216 h 496"/>
                <a:gd name="T14" fmla="*/ 315 w 796"/>
                <a:gd name="T15" fmla="*/ 247 h 496"/>
                <a:gd name="T16" fmla="*/ 291 w 796"/>
                <a:gd name="T17" fmla="*/ 270 h 496"/>
                <a:gd name="T18" fmla="*/ 260 w 796"/>
                <a:gd name="T19" fmla="*/ 257 h 496"/>
                <a:gd name="T20" fmla="*/ 260 w 796"/>
                <a:gd name="T21" fmla="*/ 224 h 496"/>
                <a:gd name="T22" fmla="*/ 511 w 796"/>
                <a:gd name="T23" fmla="*/ 301 h 496"/>
                <a:gd name="T24" fmla="*/ 530 w 796"/>
                <a:gd name="T25" fmla="*/ 308 h 496"/>
                <a:gd name="T26" fmla="*/ 541 w 796"/>
                <a:gd name="T27" fmla="*/ 331 h 496"/>
                <a:gd name="T28" fmla="*/ 523 w 796"/>
                <a:gd name="T29" fmla="*/ 359 h 496"/>
                <a:gd name="T30" fmla="*/ 490 w 796"/>
                <a:gd name="T31" fmla="*/ 353 h 496"/>
                <a:gd name="T32" fmla="*/ 483 w 796"/>
                <a:gd name="T33" fmla="*/ 320 h 496"/>
                <a:gd name="T34" fmla="*/ 511 w 796"/>
                <a:gd name="T35" fmla="*/ 301 h 496"/>
                <a:gd name="T36" fmla="*/ 757 w 796"/>
                <a:gd name="T37" fmla="*/ 39 h 496"/>
                <a:gd name="T38" fmla="*/ 764 w 796"/>
                <a:gd name="T39" fmla="*/ 72 h 496"/>
                <a:gd name="T40" fmla="*/ 736 w 796"/>
                <a:gd name="T41" fmla="*/ 90 h 496"/>
                <a:gd name="T42" fmla="*/ 708 w 796"/>
                <a:gd name="T43" fmla="*/ 72 h 496"/>
                <a:gd name="T44" fmla="*/ 716 w 796"/>
                <a:gd name="T45" fmla="*/ 39 h 496"/>
                <a:gd name="T46" fmla="*/ 60 w 796"/>
                <a:gd name="T47" fmla="*/ 496 h 496"/>
                <a:gd name="T48" fmla="*/ 93 w 796"/>
                <a:gd name="T49" fmla="*/ 487 h 496"/>
                <a:gd name="T50" fmla="*/ 115 w 796"/>
                <a:gd name="T51" fmla="*/ 460 h 496"/>
                <a:gd name="T52" fmla="*/ 118 w 796"/>
                <a:gd name="T53" fmla="*/ 422 h 496"/>
                <a:gd name="T54" fmla="*/ 276 w 796"/>
                <a:gd name="T55" fmla="*/ 300 h 496"/>
                <a:gd name="T56" fmla="*/ 318 w 796"/>
                <a:gd name="T57" fmla="*/ 291 h 496"/>
                <a:gd name="T58" fmla="*/ 451 w 796"/>
                <a:gd name="T59" fmla="*/ 331 h 496"/>
                <a:gd name="T60" fmla="*/ 461 w 796"/>
                <a:gd name="T61" fmla="*/ 365 h 496"/>
                <a:gd name="T62" fmla="*/ 487 w 796"/>
                <a:gd name="T63" fmla="*/ 387 h 496"/>
                <a:gd name="T64" fmla="*/ 523 w 796"/>
                <a:gd name="T65" fmla="*/ 390 h 496"/>
                <a:gd name="T66" fmla="*/ 554 w 796"/>
                <a:gd name="T67" fmla="*/ 373 h 496"/>
                <a:gd name="T68" fmla="*/ 570 w 796"/>
                <a:gd name="T69" fmla="*/ 343 h 496"/>
                <a:gd name="T70" fmla="*/ 559 w 796"/>
                <a:gd name="T71" fmla="*/ 296 h 496"/>
                <a:gd name="T72" fmla="*/ 742 w 796"/>
                <a:gd name="T73" fmla="*/ 120 h 496"/>
                <a:gd name="T74" fmla="*/ 775 w 796"/>
                <a:gd name="T75" fmla="*/ 106 h 496"/>
                <a:gd name="T76" fmla="*/ 794 w 796"/>
                <a:gd name="T77" fmla="*/ 79 h 496"/>
                <a:gd name="T78" fmla="*/ 794 w 796"/>
                <a:gd name="T79" fmla="*/ 43 h 496"/>
                <a:gd name="T80" fmla="*/ 775 w 796"/>
                <a:gd name="T81" fmla="*/ 14 h 496"/>
                <a:gd name="T82" fmla="*/ 742 w 796"/>
                <a:gd name="T83" fmla="*/ 0 h 496"/>
                <a:gd name="T84" fmla="*/ 708 w 796"/>
                <a:gd name="T85" fmla="*/ 8 h 496"/>
                <a:gd name="T86" fmla="*/ 683 w 796"/>
                <a:gd name="T87" fmla="*/ 31 h 496"/>
                <a:gd name="T88" fmla="*/ 677 w 796"/>
                <a:gd name="T89" fmla="*/ 70 h 496"/>
                <a:gd name="T90" fmla="*/ 524 w 796"/>
                <a:gd name="T91" fmla="*/ 272 h 496"/>
                <a:gd name="T92" fmla="*/ 483 w 796"/>
                <a:gd name="T93" fmla="*/ 278 h 496"/>
                <a:gd name="T94" fmla="*/ 345 w 796"/>
                <a:gd name="T95" fmla="*/ 245 h 496"/>
                <a:gd name="T96" fmla="*/ 339 w 796"/>
                <a:gd name="T97" fmla="*/ 212 h 496"/>
                <a:gd name="T98" fmla="*/ 314 w 796"/>
                <a:gd name="T99" fmla="*/ 188 h 496"/>
                <a:gd name="T100" fmla="*/ 280 w 796"/>
                <a:gd name="T101" fmla="*/ 181 h 496"/>
                <a:gd name="T102" fmla="*/ 247 w 796"/>
                <a:gd name="T103" fmla="*/ 194 h 496"/>
                <a:gd name="T104" fmla="*/ 228 w 796"/>
                <a:gd name="T105" fmla="*/ 223 h 496"/>
                <a:gd name="T106" fmla="*/ 229 w 796"/>
                <a:gd name="T107" fmla="*/ 262 h 496"/>
                <a:gd name="T108" fmla="*/ 60 w 796"/>
                <a:gd name="T109" fmla="*/ 376 h 496"/>
                <a:gd name="T110" fmla="*/ 26 w 796"/>
                <a:gd name="T111" fmla="*/ 387 h 496"/>
                <a:gd name="T112" fmla="*/ 4 w 796"/>
                <a:gd name="T113" fmla="*/ 413 h 496"/>
                <a:gd name="T114" fmla="*/ 1 w 796"/>
                <a:gd name="T115" fmla="*/ 448 h 496"/>
                <a:gd name="T116" fmla="*/ 17 w 796"/>
                <a:gd name="T117" fmla="*/ 479 h 496"/>
                <a:gd name="T118" fmla="*/ 47 w 796"/>
                <a:gd name="T119" fmla="*/ 495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96" h="496">
                  <a:moveTo>
                    <a:pt x="60" y="406"/>
                  </a:moveTo>
                  <a:lnTo>
                    <a:pt x="66" y="407"/>
                  </a:lnTo>
                  <a:lnTo>
                    <a:pt x="73" y="410"/>
                  </a:lnTo>
                  <a:lnTo>
                    <a:pt x="78" y="413"/>
                  </a:lnTo>
                  <a:lnTo>
                    <a:pt x="83" y="417"/>
                  </a:lnTo>
                  <a:lnTo>
                    <a:pt x="83" y="417"/>
                  </a:lnTo>
                  <a:lnTo>
                    <a:pt x="83" y="417"/>
                  </a:lnTo>
                  <a:lnTo>
                    <a:pt x="83" y="417"/>
                  </a:lnTo>
                  <a:lnTo>
                    <a:pt x="83" y="417"/>
                  </a:lnTo>
                  <a:lnTo>
                    <a:pt x="86" y="421"/>
                  </a:lnTo>
                  <a:lnTo>
                    <a:pt x="88" y="426"/>
                  </a:lnTo>
                  <a:lnTo>
                    <a:pt x="89" y="431"/>
                  </a:lnTo>
                  <a:lnTo>
                    <a:pt x="90" y="436"/>
                  </a:lnTo>
                  <a:lnTo>
                    <a:pt x="89" y="443"/>
                  </a:lnTo>
                  <a:lnTo>
                    <a:pt x="88" y="448"/>
                  </a:lnTo>
                  <a:lnTo>
                    <a:pt x="85" y="453"/>
                  </a:lnTo>
                  <a:lnTo>
                    <a:pt x="81" y="458"/>
                  </a:lnTo>
                  <a:lnTo>
                    <a:pt x="76" y="461"/>
                  </a:lnTo>
                  <a:lnTo>
                    <a:pt x="72" y="464"/>
                  </a:lnTo>
                  <a:lnTo>
                    <a:pt x="65" y="466"/>
                  </a:lnTo>
                  <a:lnTo>
                    <a:pt x="60" y="466"/>
                  </a:lnTo>
                  <a:lnTo>
                    <a:pt x="54" y="466"/>
                  </a:lnTo>
                  <a:lnTo>
                    <a:pt x="48" y="464"/>
                  </a:lnTo>
                  <a:lnTo>
                    <a:pt x="43" y="461"/>
                  </a:lnTo>
                  <a:lnTo>
                    <a:pt x="39" y="458"/>
                  </a:lnTo>
                  <a:lnTo>
                    <a:pt x="34" y="453"/>
                  </a:lnTo>
                  <a:lnTo>
                    <a:pt x="32" y="448"/>
                  </a:lnTo>
                  <a:lnTo>
                    <a:pt x="30" y="443"/>
                  </a:lnTo>
                  <a:lnTo>
                    <a:pt x="30" y="436"/>
                  </a:lnTo>
                  <a:lnTo>
                    <a:pt x="30" y="430"/>
                  </a:lnTo>
                  <a:lnTo>
                    <a:pt x="32" y="425"/>
                  </a:lnTo>
                  <a:lnTo>
                    <a:pt x="34" y="419"/>
                  </a:lnTo>
                  <a:lnTo>
                    <a:pt x="39" y="415"/>
                  </a:lnTo>
                  <a:lnTo>
                    <a:pt x="43" y="412"/>
                  </a:lnTo>
                  <a:lnTo>
                    <a:pt x="48" y="409"/>
                  </a:lnTo>
                  <a:lnTo>
                    <a:pt x="54" y="407"/>
                  </a:lnTo>
                  <a:lnTo>
                    <a:pt x="60" y="406"/>
                  </a:lnTo>
                  <a:lnTo>
                    <a:pt x="60" y="406"/>
                  </a:lnTo>
                  <a:close/>
                  <a:moveTo>
                    <a:pt x="285" y="211"/>
                  </a:moveTo>
                  <a:lnTo>
                    <a:pt x="291" y="211"/>
                  </a:lnTo>
                  <a:lnTo>
                    <a:pt x="297" y="214"/>
                  </a:lnTo>
                  <a:lnTo>
                    <a:pt x="302" y="216"/>
                  </a:lnTo>
                  <a:lnTo>
                    <a:pt x="306" y="220"/>
                  </a:lnTo>
                  <a:lnTo>
                    <a:pt x="311" y="224"/>
                  </a:lnTo>
                  <a:lnTo>
                    <a:pt x="313" y="230"/>
                  </a:lnTo>
                  <a:lnTo>
                    <a:pt x="315" y="235"/>
                  </a:lnTo>
                  <a:lnTo>
                    <a:pt x="315" y="241"/>
                  </a:lnTo>
                  <a:lnTo>
                    <a:pt x="315" y="247"/>
                  </a:lnTo>
                  <a:lnTo>
                    <a:pt x="313" y="253"/>
                  </a:lnTo>
                  <a:lnTo>
                    <a:pt x="311" y="257"/>
                  </a:lnTo>
                  <a:lnTo>
                    <a:pt x="306" y="262"/>
                  </a:lnTo>
                  <a:lnTo>
                    <a:pt x="302" y="266"/>
                  </a:lnTo>
                  <a:lnTo>
                    <a:pt x="297" y="268"/>
                  </a:lnTo>
                  <a:lnTo>
                    <a:pt x="291" y="270"/>
                  </a:lnTo>
                  <a:lnTo>
                    <a:pt x="285" y="271"/>
                  </a:lnTo>
                  <a:lnTo>
                    <a:pt x="280" y="270"/>
                  </a:lnTo>
                  <a:lnTo>
                    <a:pt x="273" y="268"/>
                  </a:lnTo>
                  <a:lnTo>
                    <a:pt x="269" y="266"/>
                  </a:lnTo>
                  <a:lnTo>
                    <a:pt x="264" y="262"/>
                  </a:lnTo>
                  <a:lnTo>
                    <a:pt x="260" y="257"/>
                  </a:lnTo>
                  <a:lnTo>
                    <a:pt x="257" y="253"/>
                  </a:lnTo>
                  <a:lnTo>
                    <a:pt x="256" y="247"/>
                  </a:lnTo>
                  <a:lnTo>
                    <a:pt x="255" y="241"/>
                  </a:lnTo>
                  <a:lnTo>
                    <a:pt x="256" y="235"/>
                  </a:lnTo>
                  <a:lnTo>
                    <a:pt x="257" y="230"/>
                  </a:lnTo>
                  <a:lnTo>
                    <a:pt x="260" y="224"/>
                  </a:lnTo>
                  <a:lnTo>
                    <a:pt x="264" y="220"/>
                  </a:lnTo>
                  <a:lnTo>
                    <a:pt x="269" y="216"/>
                  </a:lnTo>
                  <a:lnTo>
                    <a:pt x="273" y="214"/>
                  </a:lnTo>
                  <a:lnTo>
                    <a:pt x="280" y="211"/>
                  </a:lnTo>
                  <a:lnTo>
                    <a:pt x="285" y="211"/>
                  </a:lnTo>
                  <a:close/>
                  <a:moveTo>
                    <a:pt x="511" y="301"/>
                  </a:moveTo>
                  <a:lnTo>
                    <a:pt x="516" y="301"/>
                  </a:lnTo>
                  <a:lnTo>
                    <a:pt x="521" y="302"/>
                  </a:lnTo>
                  <a:lnTo>
                    <a:pt x="526" y="306"/>
                  </a:lnTo>
                  <a:lnTo>
                    <a:pt x="530" y="308"/>
                  </a:lnTo>
                  <a:lnTo>
                    <a:pt x="530" y="308"/>
                  </a:lnTo>
                  <a:lnTo>
                    <a:pt x="530" y="308"/>
                  </a:lnTo>
                  <a:lnTo>
                    <a:pt x="530" y="308"/>
                  </a:lnTo>
                  <a:lnTo>
                    <a:pt x="530" y="308"/>
                  </a:lnTo>
                  <a:lnTo>
                    <a:pt x="535" y="313"/>
                  </a:lnTo>
                  <a:lnTo>
                    <a:pt x="538" y="319"/>
                  </a:lnTo>
                  <a:lnTo>
                    <a:pt x="540" y="325"/>
                  </a:lnTo>
                  <a:lnTo>
                    <a:pt x="541" y="331"/>
                  </a:lnTo>
                  <a:lnTo>
                    <a:pt x="540" y="337"/>
                  </a:lnTo>
                  <a:lnTo>
                    <a:pt x="539" y="343"/>
                  </a:lnTo>
                  <a:lnTo>
                    <a:pt x="536" y="347"/>
                  </a:lnTo>
                  <a:lnTo>
                    <a:pt x="532" y="353"/>
                  </a:lnTo>
                  <a:lnTo>
                    <a:pt x="527" y="356"/>
                  </a:lnTo>
                  <a:lnTo>
                    <a:pt x="523" y="359"/>
                  </a:lnTo>
                  <a:lnTo>
                    <a:pt x="516" y="360"/>
                  </a:lnTo>
                  <a:lnTo>
                    <a:pt x="511" y="361"/>
                  </a:lnTo>
                  <a:lnTo>
                    <a:pt x="505" y="360"/>
                  </a:lnTo>
                  <a:lnTo>
                    <a:pt x="499" y="359"/>
                  </a:lnTo>
                  <a:lnTo>
                    <a:pt x="494" y="356"/>
                  </a:lnTo>
                  <a:lnTo>
                    <a:pt x="490" y="353"/>
                  </a:lnTo>
                  <a:lnTo>
                    <a:pt x="486" y="349"/>
                  </a:lnTo>
                  <a:lnTo>
                    <a:pt x="483" y="343"/>
                  </a:lnTo>
                  <a:lnTo>
                    <a:pt x="481" y="337"/>
                  </a:lnTo>
                  <a:lnTo>
                    <a:pt x="481" y="331"/>
                  </a:lnTo>
                  <a:lnTo>
                    <a:pt x="481" y="325"/>
                  </a:lnTo>
                  <a:lnTo>
                    <a:pt x="483" y="320"/>
                  </a:lnTo>
                  <a:lnTo>
                    <a:pt x="486" y="314"/>
                  </a:lnTo>
                  <a:lnTo>
                    <a:pt x="490" y="310"/>
                  </a:lnTo>
                  <a:lnTo>
                    <a:pt x="494" y="307"/>
                  </a:lnTo>
                  <a:lnTo>
                    <a:pt x="499" y="304"/>
                  </a:lnTo>
                  <a:lnTo>
                    <a:pt x="505" y="301"/>
                  </a:lnTo>
                  <a:lnTo>
                    <a:pt x="511" y="301"/>
                  </a:lnTo>
                  <a:lnTo>
                    <a:pt x="511" y="301"/>
                  </a:lnTo>
                  <a:close/>
                  <a:moveTo>
                    <a:pt x="736" y="30"/>
                  </a:moveTo>
                  <a:lnTo>
                    <a:pt x="742" y="31"/>
                  </a:lnTo>
                  <a:lnTo>
                    <a:pt x="748" y="33"/>
                  </a:lnTo>
                  <a:lnTo>
                    <a:pt x="753" y="36"/>
                  </a:lnTo>
                  <a:lnTo>
                    <a:pt x="757" y="39"/>
                  </a:lnTo>
                  <a:lnTo>
                    <a:pt x="762" y="43"/>
                  </a:lnTo>
                  <a:lnTo>
                    <a:pt x="764" y="49"/>
                  </a:lnTo>
                  <a:lnTo>
                    <a:pt x="766" y="55"/>
                  </a:lnTo>
                  <a:lnTo>
                    <a:pt x="766" y="60"/>
                  </a:lnTo>
                  <a:lnTo>
                    <a:pt x="766" y="67"/>
                  </a:lnTo>
                  <a:lnTo>
                    <a:pt x="764" y="72"/>
                  </a:lnTo>
                  <a:lnTo>
                    <a:pt x="762" y="78"/>
                  </a:lnTo>
                  <a:lnTo>
                    <a:pt x="757" y="82"/>
                  </a:lnTo>
                  <a:lnTo>
                    <a:pt x="753" y="85"/>
                  </a:lnTo>
                  <a:lnTo>
                    <a:pt x="748" y="88"/>
                  </a:lnTo>
                  <a:lnTo>
                    <a:pt x="742" y="90"/>
                  </a:lnTo>
                  <a:lnTo>
                    <a:pt x="736" y="90"/>
                  </a:lnTo>
                  <a:lnTo>
                    <a:pt x="731" y="90"/>
                  </a:lnTo>
                  <a:lnTo>
                    <a:pt x="724" y="88"/>
                  </a:lnTo>
                  <a:lnTo>
                    <a:pt x="720" y="85"/>
                  </a:lnTo>
                  <a:lnTo>
                    <a:pt x="716" y="82"/>
                  </a:lnTo>
                  <a:lnTo>
                    <a:pt x="711" y="78"/>
                  </a:lnTo>
                  <a:lnTo>
                    <a:pt x="708" y="72"/>
                  </a:lnTo>
                  <a:lnTo>
                    <a:pt x="707" y="67"/>
                  </a:lnTo>
                  <a:lnTo>
                    <a:pt x="706" y="60"/>
                  </a:lnTo>
                  <a:lnTo>
                    <a:pt x="707" y="55"/>
                  </a:lnTo>
                  <a:lnTo>
                    <a:pt x="708" y="49"/>
                  </a:lnTo>
                  <a:lnTo>
                    <a:pt x="711" y="43"/>
                  </a:lnTo>
                  <a:lnTo>
                    <a:pt x="716" y="39"/>
                  </a:lnTo>
                  <a:lnTo>
                    <a:pt x="720" y="36"/>
                  </a:lnTo>
                  <a:lnTo>
                    <a:pt x="724" y="33"/>
                  </a:lnTo>
                  <a:lnTo>
                    <a:pt x="731" y="31"/>
                  </a:lnTo>
                  <a:lnTo>
                    <a:pt x="736" y="30"/>
                  </a:lnTo>
                  <a:lnTo>
                    <a:pt x="736" y="30"/>
                  </a:lnTo>
                  <a:close/>
                  <a:moveTo>
                    <a:pt x="60" y="496"/>
                  </a:moveTo>
                  <a:lnTo>
                    <a:pt x="66" y="496"/>
                  </a:lnTo>
                  <a:lnTo>
                    <a:pt x="72" y="495"/>
                  </a:lnTo>
                  <a:lnTo>
                    <a:pt x="77" y="494"/>
                  </a:lnTo>
                  <a:lnTo>
                    <a:pt x="84" y="492"/>
                  </a:lnTo>
                  <a:lnTo>
                    <a:pt x="89" y="489"/>
                  </a:lnTo>
                  <a:lnTo>
                    <a:pt x="93" y="487"/>
                  </a:lnTo>
                  <a:lnTo>
                    <a:pt x="98" y="482"/>
                  </a:lnTo>
                  <a:lnTo>
                    <a:pt x="102" y="479"/>
                  </a:lnTo>
                  <a:lnTo>
                    <a:pt x="106" y="475"/>
                  </a:lnTo>
                  <a:lnTo>
                    <a:pt x="109" y="470"/>
                  </a:lnTo>
                  <a:lnTo>
                    <a:pt x="113" y="465"/>
                  </a:lnTo>
                  <a:lnTo>
                    <a:pt x="115" y="460"/>
                  </a:lnTo>
                  <a:lnTo>
                    <a:pt x="117" y="455"/>
                  </a:lnTo>
                  <a:lnTo>
                    <a:pt x="119" y="448"/>
                  </a:lnTo>
                  <a:lnTo>
                    <a:pt x="120" y="443"/>
                  </a:lnTo>
                  <a:lnTo>
                    <a:pt x="120" y="436"/>
                  </a:lnTo>
                  <a:lnTo>
                    <a:pt x="119" y="429"/>
                  </a:lnTo>
                  <a:lnTo>
                    <a:pt x="118" y="422"/>
                  </a:lnTo>
                  <a:lnTo>
                    <a:pt x="116" y="416"/>
                  </a:lnTo>
                  <a:lnTo>
                    <a:pt x="114" y="410"/>
                  </a:lnTo>
                  <a:lnTo>
                    <a:pt x="251" y="291"/>
                  </a:lnTo>
                  <a:lnTo>
                    <a:pt x="259" y="295"/>
                  </a:lnTo>
                  <a:lnTo>
                    <a:pt x="267" y="298"/>
                  </a:lnTo>
                  <a:lnTo>
                    <a:pt x="276" y="300"/>
                  </a:lnTo>
                  <a:lnTo>
                    <a:pt x="285" y="301"/>
                  </a:lnTo>
                  <a:lnTo>
                    <a:pt x="292" y="300"/>
                  </a:lnTo>
                  <a:lnTo>
                    <a:pt x="300" y="299"/>
                  </a:lnTo>
                  <a:lnTo>
                    <a:pt x="306" y="297"/>
                  </a:lnTo>
                  <a:lnTo>
                    <a:pt x="313" y="294"/>
                  </a:lnTo>
                  <a:lnTo>
                    <a:pt x="318" y="291"/>
                  </a:lnTo>
                  <a:lnTo>
                    <a:pt x="325" y="286"/>
                  </a:lnTo>
                  <a:lnTo>
                    <a:pt x="329" y="282"/>
                  </a:lnTo>
                  <a:lnTo>
                    <a:pt x="333" y="277"/>
                  </a:lnTo>
                  <a:lnTo>
                    <a:pt x="451" y="324"/>
                  </a:lnTo>
                  <a:lnTo>
                    <a:pt x="451" y="327"/>
                  </a:lnTo>
                  <a:lnTo>
                    <a:pt x="451" y="331"/>
                  </a:lnTo>
                  <a:lnTo>
                    <a:pt x="451" y="338"/>
                  </a:lnTo>
                  <a:lnTo>
                    <a:pt x="452" y="343"/>
                  </a:lnTo>
                  <a:lnTo>
                    <a:pt x="453" y="350"/>
                  </a:lnTo>
                  <a:lnTo>
                    <a:pt x="455" y="355"/>
                  </a:lnTo>
                  <a:lnTo>
                    <a:pt x="457" y="360"/>
                  </a:lnTo>
                  <a:lnTo>
                    <a:pt x="461" y="365"/>
                  </a:lnTo>
                  <a:lnTo>
                    <a:pt x="464" y="370"/>
                  </a:lnTo>
                  <a:lnTo>
                    <a:pt x="468" y="374"/>
                  </a:lnTo>
                  <a:lnTo>
                    <a:pt x="472" y="377"/>
                  </a:lnTo>
                  <a:lnTo>
                    <a:pt x="477" y="381"/>
                  </a:lnTo>
                  <a:lnTo>
                    <a:pt x="482" y="384"/>
                  </a:lnTo>
                  <a:lnTo>
                    <a:pt x="487" y="387"/>
                  </a:lnTo>
                  <a:lnTo>
                    <a:pt x="493" y="388"/>
                  </a:lnTo>
                  <a:lnTo>
                    <a:pt x="498" y="390"/>
                  </a:lnTo>
                  <a:lnTo>
                    <a:pt x="505" y="391"/>
                  </a:lnTo>
                  <a:lnTo>
                    <a:pt x="511" y="391"/>
                  </a:lnTo>
                  <a:lnTo>
                    <a:pt x="517" y="391"/>
                  </a:lnTo>
                  <a:lnTo>
                    <a:pt x="523" y="390"/>
                  </a:lnTo>
                  <a:lnTo>
                    <a:pt x="529" y="388"/>
                  </a:lnTo>
                  <a:lnTo>
                    <a:pt x="535" y="387"/>
                  </a:lnTo>
                  <a:lnTo>
                    <a:pt x="540" y="384"/>
                  </a:lnTo>
                  <a:lnTo>
                    <a:pt x="544" y="381"/>
                  </a:lnTo>
                  <a:lnTo>
                    <a:pt x="550" y="377"/>
                  </a:lnTo>
                  <a:lnTo>
                    <a:pt x="554" y="373"/>
                  </a:lnTo>
                  <a:lnTo>
                    <a:pt x="557" y="370"/>
                  </a:lnTo>
                  <a:lnTo>
                    <a:pt x="560" y="365"/>
                  </a:lnTo>
                  <a:lnTo>
                    <a:pt x="564" y="360"/>
                  </a:lnTo>
                  <a:lnTo>
                    <a:pt x="567" y="355"/>
                  </a:lnTo>
                  <a:lnTo>
                    <a:pt x="568" y="350"/>
                  </a:lnTo>
                  <a:lnTo>
                    <a:pt x="570" y="343"/>
                  </a:lnTo>
                  <a:lnTo>
                    <a:pt x="571" y="338"/>
                  </a:lnTo>
                  <a:lnTo>
                    <a:pt x="571" y="331"/>
                  </a:lnTo>
                  <a:lnTo>
                    <a:pt x="570" y="322"/>
                  </a:lnTo>
                  <a:lnTo>
                    <a:pt x="568" y="312"/>
                  </a:lnTo>
                  <a:lnTo>
                    <a:pt x="565" y="304"/>
                  </a:lnTo>
                  <a:lnTo>
                    <a:pt x="559" y="296"/>
                  </a:lnTo>
                  <a:lnTo>
                    <a:pt x="710" y="115"/>
                  </a:lnTo>
                  <a:lnTo>
                    <a:pt x="717" y="117"/>
                  </a:lnTo>
                  <a:lnTo>
                    <a:pt x="723" y="119"/>
                  </a:lnTo>
                  <a:lnTo>
                    <a:pt x="730" y="120"/>
                  </a:lnTo>
                  <a:lnTo>
                    <a:pt x="736" y="120"/>
                  </a:lnTo>
                  <a:lnTo>
                    <a:pt x="742" y="120"/>
                  </a:lnTo>
                  <a:lnTo>
                    <a:pt x="749" y="119"/>
                  </a:lnTo>
                  <a:lnTo>
                    <a:pt x="754" y="118"/>
                  </a:lnTo>
                  <a:lnTo>
                    <a:pt x="760" y="116"/>
                  </a:lnTo>
                  <a:lnTo>
                    <a:pt x="765" y="114"/>
                  </a:lnTo>
                  <a:lnTo>
                    <a:pt x="770" y="111"/>
                  </a:lnTo>
                  <a:lnTo>
                    <a:pt x="775" y="106"/>
                  </a:lnTo>
                  <a:lnTo>
                    <a:pt x="779" y="103"/>
                  </a:lnTo>
                  <a:lnTo>
                    <a:pt x="783" y="99"/>
                  </a:lnTo>
                  <a:lnTo>
                    <a:pt x="786" y="95"/>
                  </a:lnTo>
                  <a:lnTo>
                    <a:pt x="790" y="89"/>
                  </a:lnTo>
                  <a:lnTo>
                    <a:pt x="792" y="84"/>
                  </a:lnTo>
                  <a:lnTo>
                    <a:pt x="794" y="79"/>
                  </a:lnTo>
                  <a:lnTo>
                    <a:pt x="795" y="73"/>
                  </a:lnTo>
                  <a:lnTo>
                    <a:pt x="796" y="67"/>
                  </a:lnTo>
                  <a:lnTo>
                    <a:pt x="796" y="60"/>
                  </a:lnTo>
                  <a:lnTo>
                    <a:pt x="796" y="54"/>
                  </a:lnTo>
                  <a:lnTo>
                    <a:pt x="795" y="49"/>
                  </a:lnTo>
                  <a:lnTo>
                    <a:pt x="794" y="43"/>
                  </a:lnTo>
                  <a:lnTo>
                    <a:pt x="792" y="37"/>
                  </a:lnTo>
                  <a:lnTo>
                    <a:pt x="790" y="31"/>
                  </a:lnTo>
                  <a:lnTo>
                    <a:pt x="786" y="27"/>
                  </a:lnTo>
                  <a:lnTo>
                    <a:pt x="783" y="23"/>
                  </a:lnTo>
                  <a:lnTo>
                    <a:pt x="779" y="19"/>
                  </a:lnTo>
                  <a:lnTo>
                    <a:pt x="775" y="14"/>
                  </a:lnTo>
                  <a:lnTo>
                    <a:pt x="770" y="11"/>
                  </a:lnTo>
                  <a:lnTo>
                    <a:pt x="765" y="8"/>
                  </a:lnTo>
                  <a:lnTo>
                    <a:pt x="760" y="5"/>
                  </a:lnTo>
                  <a:lnTo>
                    <a:pt x="754" y="4"/>
                  </a:lnTo>
                  <a:lnTo>
                    <a:pt x="749" y="1"/>
                  </a:lnTo>
                  <a:lnTo>
                    <a:pt x="742" y="0"/>
                  </a:lnTo>
                  <a:lnTo>
                    <a:pt x="736" y="0"/>
                  </a:lnTo>
                  <a:lnTo>
                    <a:pt x="731" y="0"/>
                  </a:lnTo>
                  <a:lnTo>
                    <a:pt x="724" y="1"/>
                  </a:lnTo>
                  <a:lnTo>
                    <a:pt x="719" y="4"/>
                  </a:lnTo>
                  <a:lnTo>
                    <a:pt x="712" y="5"/>
                  </a:lnTo>
                  <a:lnTo>
                    <a:pt x="708" y="8"/>
                  </a:lnTo>
                  <a:lnTo>
                    <a:pt x="703" y="11"/>
                  </a:lnTo>
                  <a:lnTo>
                    <a:pt x="698" y="14"/>
                  </a:lnTo>
                  <a:lnTo>
                    <a:pt x="694" y="19"/>
                  </a:lnTo>
                  <a:lnTo>
                    <a:pt x="690" y="22"/>
                  </a:lnTo>
                  <a:lnTo>
                    <a:pt x="687" y="27"/>
                  </a:lnTo>
                  <a:lnTo>
                    <a:pt x="683" y="31"/>
                  </a:lnTo>
                  <a:lnTo>
                    <a:pt x="681" y="37"/>
                  </a:lnTo>
                  <a:lnTo>
                    <a:pt x="679" y="43"/>
                  </a:lnTo>
                  <a:lnTo>
                    <a:pt x="677" y="49"/>
                  </a:lnTo>
                  <a:lnTo>
                    <a:pt x="676" y="54"/>
                  </a:lnTo>
                  <a:lnTo>
                    <a:pt x="676" y="60"/>
                  </a:lnTo>
                  <a:lnTo>
                    <a:pt x="677" y="70"/>
                  </a:lnTo>
                  <a:lnTo>
                    <a:pt x="679" y="80"/>
                  </a:lnTo>
                  <a:lnTo>
                    <a:pt x="682" y="88"/>
                  </a:lnTo>
                  <a:lnTo>
                    <a:pt x="688" y="96"/>
                  </a:lnTo>
                  <a:lnTo>
                    <a:pt x="537" y="277"/>
                  </a:lnTo>
                  <a:lnTo>
                    <a:pt x="530" y="275"/>
                  </a:lnTo>
                  <a:lnTo>
                    <a:pt x="524" y="272"/>
                  </a:lnTo>
                  <a:lnTo>
                    <a:pt x="517" y="271"/>
                  </a:lnTo>
                  <a:lnTo>
                    <a:pt x="511" y="271"/>
                  </a:lnTo>
                  <a:lnTo>
                    <a:pt x="504" y="271"/>
                  </a:lnTo>
                  <a:lnTo>
                    <a:pt x="496" y="272"/>
                  </a:lnTo>
                  <a:lnTo>
                    <a:pt x="490" y="275"/>
                  </a:lnTo>
                  <a:lnTo>
                    <a:pt x="483" y="278"/>
                  </a:lnTo>
                  <a:lnTo>
                    <a:pt x="478" y="281"/>
                  </a:lnTo>
                  <a:lnTo>
                    <a:pt x="472" y="285"/>
                  </a:lnTo>
                  <a:lnTo>
                    <a:pt x="467" y="291"/>
                  </a:lnTo>
                  <a:lnTo>
                    <a:pt x="463" y="296"/>
                  </a:lnTo>
                  <a:lnTo>
                    <a:pt x="345" y="249"/>
                  </a:lnTo>
                  <a:lnTo>
                    <a:pt x="345" y="245"/>
                  </a:lnTo>
                  <a:lnTo>
                    <a:pt x="345" y="241"/>
                  </a:lnTo>
                  <a:lnTo>
                    <a:pt x="345" y="235"/>
                  </a:lnTo>
                  <a:lnTo>
                    <a:pt x="344" y="229"/>
                  </a:lnTo>
                  <a:lnTo>
                    <a:pt x="343" y="223"/>
                  </a:lnTo>
                  <a:lnTo>
                    <a:pt x="341" y="218"/>
                  </a:lnTo>
                  <a:lnTo>
                    <a:pt x="339" y="212"/>
                  </a:lnTo>
                  <a:lnTo>
                    <a:pt x="335" y="207"/>
                  </a:lnTo>
                  <a:lnTo>
                    <a:pt x="332" y="203"/>
                  </a:lnTo>
                  <a:lnTo>
                    <a:pt x="328" y="199"/>
                  </a:lnTo>
                  <a:lnTo>
                    <a:pt x="324" y="194"/>
                  </a:lnTo>
                  <a:lnTo>
                    <a:pt x="319" y="191"/>
                  </a:lnTo>
                  <a:lnTo>
                    <a:pt x="314" y="188"/>
                  </a:lnTo>
                  <a:lnTo>
                    <a:pt x="309" y="186"/>
                  </a:lnTo>
                  <a:lnTo>
                    <a:pt x="303" y="184"/>
                  </a:lnTo>
                  <a:lnTo>
                    <a:pt x="298" y="182"/>
                  </a:lnTo>
                  <a:lnTo>
                    <a:pt x="291" y="181"/>
                  </a:lnTo>
                  <a:lnTo>
                    <a:pt x="285" y="180"/>
                  </a:lnTo>
                  <a:lnTo>
                    <a:pt x="280" y="181"/>
                  </a:lnTo>
                  <a:lnTo>
                    <a:pt x="273" y="182"/>
                  </a:lnTo>
                  <a:lnTo>
                    <a:pt x="268" y="184"/>
                  </a:lnTo>
                  <a:lnTo>
                    <a:pt x="261" y="186"/>
                  </a:lnTo>
                  <a:lnTo>
                    <a:pt x="257" y="188"/>
                  </a:lnTo>
                  <a:lnTo>
                    <a:pt x="252" y="191"/>
                  </a:lnTo>
                  <a:lnTo>
                    <a:pt x="247" y="194"/>
                  </a:lnTo>
                  <a:lnTo>
                    <a:pt x="243" y="199"/>
                  </a:lnTo>
                  <a:lnTo>
                    <a:pt x="239" y="203"/>
                  </a:lnTo>
                  <a:lnTo>
                    <a:pt x="236" y="207"/>
                  </a:lnTo>
                  <a:lnTo>
                    <a:pt x="232" y="212"/>
                  </a:lnTo>
                  <a:lnTo>
                    <a:pt x="230" y="218"/>
                  </a:lnTo>
                  <a:lnTo>
                    <a:pt x="228" y="223"/>
                  </a:lnTo>
                  <a:lnTo>
                    <a:pt x="226" y="229"/>
                  </a:lnTo>
                  <a:lnTo>
                    <a:pt x="225" y="235"/>
                  </a:lnTo>
                  <a:lnTo>
                    <a:pt x="225" y="241"/>
                  </a:lnTo>
                  <a:lnTo>
                    <a:pt x="226" y="248"/>
                  </a:lnTo>
                  <a:lnTo>
                    <a:pt x="227" y="255"/>
                  </a:lnTo>
                  <a:lnTo>
                    <a:pt x="229" y="262"/>
                  </a:lnTo>
                  <a:lnTo>
                    <a:pt x="231" y="267"/>
                  </a:lnTo>
                  <a:lnTo>
                    <a:pt x="94" y="387"/>
                  </a:lnTo>
                  <a:lnTo>
                    <a:pt x="86" y="383"/>
                  </a:lnTo>
                  <a:lnTo>
                    <a:pt x="78" y="380"/>
                  </a:lnTo>
                  <a:lnTo>
                    <a:pt x="69" y="377"/>
                  </a:lnTo>
                  <a:lnTo>
                    <a:pt x="60" y="376"/>
                  </a:lnTo>
                  <a:lnTo>
                    <a:pt x="54" y="376"/>
                  </a:lnTo>
                  <a:lnTo>
                    <a:pt x="47" y="377"/>
                  </a:lnTo>
                  <a:lnTo>
                    <a:pt x="42" y="379"/>
                  </a:lnTo>
                  <a:lnTo>
                    <a:pt x="36" y="381"/>
                  </a:lnTo>
                  <a:lnTo>
                    <a:pt x="31" y="384"/>
                  </a:lnTo>
                  <a:lnTo>
                    <a:pt x="26" y="387"/>
                  </a:lnTo>
                  <a:lnTo>
                    <a:pt x="21" y="390"/>
                  </a:lnTo>
                  <a:lnTo>
                    <a:pt x="17" y="394"/>
                  </a:lnTo>
                  <a:lnTo>
                    <a:pt x="13" y="398"/>
                  </a:lnTo>
                  <a:lnTo>
                    <a:pt x="10" y="403"/>
                  </a:lnTo>
                  <a:lnTo>
                    <a:pt x="6" y="407"/>
                  </a:lnTo>
                  <a:lnTo>
                    <a:pt x="4" y="413"/>
                  </a:lnTo>
                  <a:lnTo>
                    <a:pt x="2" y="418"/>
                  </a:lnTo>
                  <a:lnTo>
                    <a:pt x="1" y="425"/>
                  </a:lnTo>
                  <a:lnTo>
                    <a:pt x="0" y="430"/>
                  </a:lnTo>
                  <a:lnTo>
                    <a:pt x="0" y="436"/>
                  </a:lnTo>
                  <a:lnTo>
                    <a:pt x="0" y="443"/>
                  </a:lnTo>
                  <a:lnTo>
                    <a:pt x="1" y="448"/>
                  </a:lnTo>
                  <a:lnTo>
                    <a:pt x="2" y="455"/>
                  </a:lnTo>
                  <a:lnTo>
                    <a:pt x="4" y="460"/>
                  </a:lnTo>
                  <a:lnTo>
                    <a:pt x="6" y="465"/>
                  </a:lnTo>
                  <a:lnTo>
                    <a:pt x="10" y="470"/>
                  </a:lnTo>
                  <a:lnTo>
                    <a:pt x="13" y="475"/>
                  </a:lnTo>
                  <a:lnTo>
                    <a:pt x="17" y="479"/>
                  </a:lnTo>
                  <a:lnTo>
                    <a:pt x="21" y="482"/>
                  </a:lnTo>
                  <a:lnTo>
                    <a:pt x="26" y="487"/>
                  </a:lnTo>
                  <a:lnTo>
                    <a:pt x="31" y="489"/>
                  </a:lnTo>
                  <a:lnTo>
                    <a:pt x="36" y="492"/>
                  </a:lnTo>
                  <a:lnTo>
                    <a:pt x="42" y="494"/>
                  </a:lnTo>
                  <a:lnTo>
                    <a:pt x="47" y="495"/>
                  </a:lnTo>
                  <a:lnTo>
                    <a:pt x="54" y="496"/>
                  </a:lnTo>
                  <a:lnTo>
                    <a:pt x="60" y="4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  <p:grpSp>
        <p:nvGrpSpPr>
          <p:cNvPr id="55" name="Group 54"/>
          <p:cNvGrpSpPr/>
          <p:nvPr/>
        </p:nvGrpSpPr>
        <p:grpSpPr>
          <a:xfrm>
            <a:off x="4204150" y="4976015"/>
            <a:ext cx="453859" cy="456380"/>
            <a:chOff x="9882188" y="1925638"/>
            <a:chExt cx="285750" cy="287338"/>
          </a:xfrm>
          <a:solidFill>
            <a:schemeClr val="bg1"/>
          </a:solidFill>
        </p:grpSpPr>
        <p:sp>
          <p:nvSpPr>
            <p:cNvPr id="56" name="Freeform 93"/>
            <p:cNvSpPr>
              <a:spLocks noEditPoints="1"/>
            </p:cNvSpPr>
            <p:nvPr/>
          </p:nvSpPr>
          <p:spPr bwMode="auto">
            <a:xfrm>
              <a:off x="9882188" y="1925638"/>
              <a:ext cx="285750" cy="287338"/>
            </a:xfrm>
            <a:custGeom>
              <a:avLst/>
              <a:gdLst>
                <a:gd name="T0" fmla="*/ 872 w 902"/>
                <a:gd name="T1" fmla="*/ 872 h 902"/>
                <a:gd name="T2" fmla="*/ 30 w 902"/>
                <a:gd name="T3" fmla="*/ 872 h 902"/>
                <a:gd name="T4" fmla="*/ 30 w 902"/>
                <a:gd name="T5" fmla="*/ 30 h 902"/>
                <a:gd name="T6" fmla="*/ 872 w 902"/>
                <a:gd name="T7" fmla="*/ 30 h 902"/>
                <a:gd name="T8" fmla="*/ 872 w 902"/>
                <a:gd name="T9" fmla="*/ 872 h 902"/>
                <a:gd name="T10" fmla="*/ 887 w 902"/>
                <a:gd name="T11" fmla="*/ 0 h 902"/>
                <a:gd name="T12" fmla="*/ 15 w 902"/>
                <a:gd name="T13" fmla="*/ 0 h 902"/>
                <a:gd name="T14" fmla="*/ 12 w 902"/>
                <a:gd name="T15" fmla="*/ 0 h 902"/>
                <a:gd name="T16" fmla="*/ 10 w 902"/>
                <a:gd name="T17" fmla="*/ 2 h 902"/>
                <a:gd name="T18" fmla="*/ 6 w 902"/>
                <a:gd name="T19" fmla="*/ 3 h 902"/>
                <a:gd name="T20" fmla="*/ 4 w 902"/>
                <a:gd name="T21" fmla="*/ 5 h 902"/>
                <a:gd name="T22" fmla="*/ 3 w 902"/>
                <a:gd name="T23" fmla="*/ 7 h 902"/>
                <a:gd name="T24" fmla="*/ 1 w 902"/>
                <a:gd name="T25" fmla="*/ 9 h 902"/>
                <a:gd name="T26" fmla="*/ 1 w 902"/>
                <a:gd name="T27" fmla="*/ 12 h 902"/>
                <a:gd name="T28" fmla="*/ 0 w 902"/>
                <a:gd name="T29" fmla="*/ 15 h 902"/>
                <a:gd name="T30" fmla="*/ 0 w 902"/>
                <a:gd name="T31" fmla="*/ 887 h 902"/>
                <a:gd name="T32" fmla="*/ 1 w 902"/>
                <a:gd name="T33" fmla="*/ 891 h 902"/>
                <a:gd name="T34" fmla="*/ 1 w 902"/>
                <a:gd name="T35" fmla="*/ 893 h 902"/>
                <a:gd name="T36" fmla="*/ 3 w 902"/>
                <a:gd name="T37" fmla="*/ 896 h 902"/>
                <a:gd name="T38" fmla="*/ 4 w 902"/>
                <a:gd name="T39" fmla="*/ 898 h 902"/>
                <a:gd name="T40" fmla="*/ 6 w 902"/>
                <a:gd name="T41" fmla="*/ 900 h 902"/>
                <a:gd name="T42" fmla="*/ 10 w 902"/>
                <a:gd name="T43" fmla="*/ 901 h 902"/>
                <a:gd name="T44" fmla="*/ 12 w 902"/>
                <a:gd name="T45" fmla="*/ 902 h 902"/>
                <a:gd name="T46" fmla="*/ 15 w 902"/>
                <a:gd name="T47" fmla="*/ 902 h 902"/>
                <a:gd name="T48" fmla="*/ 887 w 902"/>
                <a:gd name="T49" fmla="*/ 902 h 902"/>
                <a:gd name="T50" fmla="*/ 890 w 902"/>
                <a:gd name="T51" fmla="*/ 902 h 902"/>
                <a:gd name="T52" fmla="*/ 893 w 902"/>
                <a:gd name="T53" fmla="*/ 901 h 902"/>
                <a:gd name="T54" fmla="*/ 896 w 902"/>
                <a:gd name="T55" fmla="*/ 900 h 902"/>
                <a:gd name="T56" fmla="*/ 898 w 902"/>
                <a:gd name="T57" fmla="*/ 898 h 902"/>
                <a:gd name="T58" fmla="*/ 900 w 902"/>
                <a:gd name="T59" fmla="*/ 896 h 902"/>
                <a:gd name="T60" fmla="*/ 901 w 902"/>
                <a:gd name="T61" fmla="*/ 893 h 902"/>
                <a:gd name="T62" fmla="*/ 902 w 902"/>
                <a:gd name="T63" fmla="*/ 891 h 902"/>
                <a:gd name="T64" fmla="*/ 902 w 902"/>
                <a:gd name="T65" fmla="*/ 887 h 902"/>
                <a:gd name="T66" fmla="*/ 902 w 902"/>
                <a:gd name="T67" fmla="*/ 15 h 902"/>
                <a:gd name="T68" fmla="*/ 902 w 902"/>
                <a:gd name="T69" fmla="*/ 12 h 902"/>
                <a:gd name="T70" fmla="*/ 901 w 902"/>
                <a:gd name="T71" fmla="*/ 9 h 902"/>
                <a:gd name="T72" fmla="*/ 900 w 902"/>
                <a:gd name="T73" fmla="*/ 7 h 902"/>
                <a:gd name="T74" fmla="*/ 898 w 902"/>
                <a:gd name="T75" fmla="*/ 5 h 902"/>
                <a:gd name="T76" fmla="*/ 896 w 902"/>
                <a:gd name="T77" fmla="*/ 3 h 902"/>
                <a:gd name="T78" fmla="*/ 893 w 902"/>
                <a:gd name="T79" fmla="*/ 2 h 902"/>
                <a:gd name="T80" fmla="*/ 890 w 902"/>
                <a:gd name="T81" fmla="*/ 0 h 902"/>
                <a:gd name="T82" fmla="*/ 887 w 902"/>
                <a:gd name="T83" fmla="*/ 0 h 902"/>
                <a:gd name="T84" fmla="*/ 887 w 902"/>
                <a:gd name="T85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02" h="902">
                  <a:moveTo>
                    <a:pt x="872" y="872"/>
                  </a:moveTo>
                  <a:lnTo>
                    <a:pt x="30" y="872"/>
                  </a:lnTo>
                  <a:lnTo>
                    <a:pt x="30" y="30"/>
                  </a:lnTo>
                  <a:lnTo>
                    <a:pt x="872" y="30"/>
                  </a:lnTo>
                  <a:lnTo>
                    <a:pt x="872" y="872"/>
                  </a:lnTo>
                  <a:close/>
                  <a:moveTo>
                    <a:pt x="887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10" y="2"/>
                  </a:lnTo>
                  <a:lnTo>
                    <a:pt x="6" y="3"/>
                  </a:lnTo>
                  <a:lnTo>
                    <a:pt x="4" y="5"/>
                  </a:lnTo>
                  <a:lnTo>
                    <a:pt x="3" y="7"/>
                  </a:lnTo>
                  <a:lnTo>
                    <a:pt x="1" y="9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0" y="887"/>
                  </a:lnTo>
                  <a:lnTo>
                    <a:pt x="1" y="891"/>
                  </a:lnTo>
                  <a:lnTo>
                    <a:pt x="1" y="893"/>
                  </a:lnTo>
                  <a:lnTo>
                    <a:pt x="3" y="896"/>
                  </a:lnTo>
                  <a:lnTo>
                    <a:pt x="4" y="898"/>
                  </a:lnTo>
                  <a:lnTo>
                    <a:pt x="6" y="900"/>
                  </a:lnTo>
                  <a:lnTo>
                    <a:pt x="10" y="901"/>
                  </a:lnTo>
                  <a:lnTo>
                    <a:pt x="12" y="902"/>
                  </a:lnTo>
                  <a:lnTo>
                    <a:pt x="15" y="902"/>
                  </a:lnTo>
                  <a:lnTo>
                    <a:pt x="887" y="902"/>
                  </a:lnTo>
                  <a:lnTo>
                    <a:pt x="890" y="902"/>
                  </a:lnTo>
                  <a:lnTo>
                    <a:pt x="893" y="901"/>
                  </a:lnTo>
                  <a:lnTo>
                    <a:pt x="896" y="900"/>
                  </a:lnTo>
                  <a:lnTo>
                    <a:pt x="898" y="898"/>
                  </a:lnTo>
                  <a:lnTo>
                    <a:pt x="900" y="896"/>
                  </a:lnTo>
                  <a:lnTo>
                    <a:pt x="901" y="893"/>
                  </a:lnTo>
                  <a:lnTo>
                    <a:pt x="902" y="891"/>
                  </a:lnTo>
                  <a:lnTo>
                    <a:pt x="902" y="887"/>
                  </a:lnTo>
                  <a:lnTo>
                    <a:pt x="902" y="15"/>
                  </a:lnTo>
                  <a:lnTo>
                    <a:pt x="902" y="12"/>
                  </a:lnTo>
                  <a:lnTo>
                    <a:pt x="901" y="9"/>
                  </a:lnTo>
                  <a:lnTo>
                    <a:pt x="900" y="7"/>
                  </a:lnTo>
                  <a:lnTo>
                    <a:pt x="898" y="5"/>
                  </a:lnTo>
                  <a:lnTo>
                    <a:pt x="896" y="3"/>
                  </a:lnTo>
                  <a:lnTo>
                    <a:pt x="893" y="2"/>
                  </a:lnTo>
                  <a:lnTo>
                    <a:pt x="890" y="0"/>
                  </a:lnTo>
                  <a:lnTo>
                    <a:pt x="887" y="0"/>
                  </a:lnTo>
                  <a:lnTo>
                    <a:pt x="88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57" name="Freeform 94"/>
            <p:cNvSpPr>
              <a:spLocks/>
            </p:cNvSpPr>
            <p:nvPr/>
          </p:nvSpPr>
          <p:spPr bwMode="auto">
            <a:xfrm>
              <a:off x="9920288" y="2165350"/>
              <a:ext cx="209550" cy="9525"/>
            </a:xfrm>
            <a:custGeom>
              <a:avLst/>
              <a:gdLst>
                <a:gd name="T0" fmla="*/ 15 w 661"/>
                <a:gd name="T1" fmla="*/ 30 h 30"/>
                <a:gd name="T2" fmla="*/ 646 w 661"/>
                <a:gd name="T3" fmla="*/ 30 h 30"/>
                <a:gd name="T4" fmla="*/ 649 w 661"/>
                <a:gd name="T5" fmla="*/ 29 h 30"/>
                <a:gd name="T6" fmla="*/ 652 w 661"/>
                <a:gd name="T7" fmla="*/ 29 h 30"/>
                <a:gd name="T8" fmla="*/ 655 w 661"/>
                <a:gd name="T9" fmla="*/ 27 h 30"/>
                <a:gd name="T10" fmla="*/ 657 w 661"/>
                <a:gd name="T11" fmla="*/ 26 h 30"/>
                <a:gd name="T12" fmla="*/ 659 w 661"/>
                <a:gd name="T13" fmla="*/ 23 h 30"/>
                <a:gd name="T14" fmla="*/ 660 w 661"/>
                <a:gd name="T15" fmla="*/ 21 h 30"/>
                <a:gd name="T16" fmla="*/ 661 w 661"/>
                <a:gd name="T17" fmla="*/ 18 h 30"/>
                <a:gd name="T18" fmla="*/ 661 w 661"/>
                <a:gd name="T19" fmla="*/ 15 h 30"/>
                <a:gd name="T20" fmla="*/ 661 w 661"/>
                <a:gd name="T21" fmla="*/ 12 h 30"/>
                <a:gd name="T22" fmla="*/ 660 w 661"/>
                <a:gd name="T23" fmla="*/ 9 h 30"/>
                <a:gd name="T24" fmla="*/ 659 w 661"/>
                <a:gd name="T25" fmla="*/ 7 h 30"/>
                <a:gd name="T26" fmla="*/ 657 w 661"/>
                <a:gd name="T27" fmla="*/ 5 h 30"/>
                <a:gd name="T28" fmla="*/ 655 w 661"/>
                <a:gd name="T29" fmla="*/ 3 h 30"/>
                <a:gd name="T30" fmla="*/ 652 w 661"/>
                <a:gd name="T31" fmla="*/ 2 h 30"/>
                <a:gd name="T32" fmla="*/ 649 w 661"/>
                <a:gd name="T33" fmla="*/ 0 h 30"/>
                <a:gd name="T34" fmla="*/ 646 w 661"/>
                <a:gd name="T35" fmla="*/ 0 h 30"/>
                <a:gd name="T36" fmla="*/ 15 w 661"/>
                <a:gd name="T37" fmla="*/ 0 h 30"/>
                <a:gd name="T38" fmla="*/ 12 w 661"/>
                <a:gd name="T39" fmla="*/ 0 h 30"/>
                <a:gd name="T40" fmla="*/ 9 w 661"/>
                <a:gd name="T41" fmla="*/ 2 h 30"/>
                <a:gd name="T42" fmla="*/ 6 w 661"/>
                <a:gd name="T43" fmla="*/ 3 h 30"/>
                <a:gd name="T44" fmla="*/ 4 w 661"/>
                <a:gd name="T45" fmla="*/ 5 h 30"/>
                <a:gd name="T46" fmla="*/ 2 w 661"/>
                <a:gd name="T47" fmla="*/ 7 h 30"/>
                <a:gd name="T48" fmla="*/ 1 w 661"/>
                <a:gd name="T49" fmla="*/ 9 h 30"/>
                <a:gd name="T50" fmla="*/ 0 w 661"/>
                <a:gd name="T51" fmla="*/ 12 h 30"/>
                <a:gd name="T52" fmla="*/ 0 w 661"/>
                <a:gd name="T53" fmla="*/ 15 h 30"/>
                <a:gd name="T54" fmla="*/ 0 w 661"/>
                <a:gd name="T55" fmla="*/ 18 h 30"/>
                <a:gd name="T56" fmla="*/ 1 w 661"/>
                <a:gd name="T57" fmla="*/ 21 h 30"/>
                <a:gd name="T58" fmla="*/ 2 w 661"/>
                <a:gd name="T59" fmla="*/ 23 h 30"/>
                <a:gd name="T60" fmla="*/ 4 w 661"/>
                <a:gd name="T61" fmla="*/ 26 h 30"/>
                <a:gd name="T62" fmla="*/ 6 w 661"/>
                <a:gd name="T63" fmla="*/ 27 h 30"/>
                <a:gd name="T64" fmla="*/ 9 w 661"/>
                <a:gd name="T65" fmla="*/ 29 h 30"/>
                <a:gd name="T66" fmla="*/ 12 w 661"/>
                <a:gd name="T67" fmla="*/ 29 h 30"/>
                <a:gd name="T68" fmla="*/ 15 w 661"/>
                <a:gd name="T69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61" h="30">
                  <a:moveTo>
                    <a:pt x="15" y="30"/>
                  </a:moveTo>
                  <a:lnTo>
                    <a:pt x="646" y="30"/>
                  </a:lnTo>
                  <a:lnTo>
                    <a:pt x="649" y="29"/>
                  </a:lnTo>
                  <a:lnTo>
                    <a:pt x="652" y="29"/>
                  </a:lnTo>
                  <a:lnTo>
                    <a:pt x="655" y="27"/>
                  </a:lnTo>
                  <a:lnTo>
                    <a:pt x="657" y="26"/>
                  </a:lnTo>
                  <a:lnTo>
                    <a:pt x="659" y="23"/>
                  </a:lnTo>
                  <a:lnTo>
                    <a:pt x="660" y="21"/>
                  </a:lnTo>
                  <a:lnTo>
                    <a:pt x="661" y="18"/>
                  </a:lnTo>
                  <a:lnTo>
                    <a:pt x="661" y="15"/>
                  </a:lnTo>
                  <a:lnTo>
                    <a:pt x="661" y="12"/>
                  </a:lnTo>
                  <a:lnTo>
                    <a:pt x="660" y="9"/>
                  </a:lnTo>
                  <a:lnTo>
                    <a:pt x="659" y="7"/>
                  </a:lnTo>
                  <a:lnTo>
                    <a:pt x="657" y="5"/>
                  </a:lnTo>
                  <a:lnTo>
                    <a:pt x="655" y="3"/>
                  </a:lnTo>
                  <a:lnTo>
                    <a:pt x="652" y="2"/>
                  </a:lnTo>
                  <a:lnTo>
                    <a:pt x="649" y="0"/>
                  </a:lnTo>
                  <a:lnTo>
                    <a:pt x="646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9" y="2"/>
                  </a:lnTo>
                  <a:lnTo>
                    <a:pt x="6" y="3"/>
                  </a:lnTo>
                  <a:lnTo>
                    <a:pt x="4" y="5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1"/>
                  </a:lnTo>
                  <a:lnTo>
                    <a:pt x="2" y="23"/>
                  </a:lnTo>
                  <a:lnTo>
                    <a:pt x="4" y="26"/>
                  </a:lnTo>
                  <a:lnTo>
                    <a:pt x="6" y="27"/>
                  </a:lnTo>
                  <a:lnTo>
                    <a:pt x="9" y="29"/>
                  </a:lnTo>
                  <a:lnTo>
                    <a:pt x="12" y="29"/>
                  </a:lnTo>
                  <a:lnTo>
                    <a:pt x="15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58" name="Freeform 95"/>
            <p:cNvSpPr>
              <a:spLocks/>
            </p:cNvSpPr>
            <p:nvPr/>
          </p:nvSpPr>
          <p:spPr bwMode="auto">
            <a:xfrm>
              <a:off x="9929813" y="1973263"/>
              <a:ext cx="85725" cy="163513"/>
            </a:xfrm>
            <a:custGeom>
              <a:avLst/>
              <a:gdLst>
                <a:gd name="T0" fmla="*/ 120 w 270"/>
                <a:gd name="T1" fmla="*/ 52 h 511"/>
                <a:gd name="T2" fmla="*/ 120 w 270"/>
                <a:gd name="T3" fmla="*/ 500 h 511"/>
                <a:gd name="T4" fmla="*/ 122 w 270"/>
                <a:gd name="T5" fmla="*/ 505 h 511"/>
                <a:gd name="T6" fmla="*/ 126 w 270"/>
                <a:gd name="T7" fmla="*/ 509 h 511"/>
                <a:gd name="T8" fmla="*/ 132 w 270"/>
                <a:gd name="T9" fmla="*/ 511 h 511"/>
                <a:gd name="T10" fmla="*/ 138 w 270"/>
                <a:gd name="T11" fmla="*/ 511 h 511"/>
                <a:gd name="T12" fmla="*/ 144 w 270"/>
                <a:gd name="T13" fmla="*/ 509 h 511"/>
                <a:gd name="T14" fmla="*/ 148 w 270"/>
                <a:gd name="T15" fmla="*/ 505 h 511"/>
                <a:gd name="T16" fmla="*/ 150 w 270"/>
                <a:gd name="T17" fmla="*/ 500 h 511"/>
                <a:gd name="T18" fmla="*/ 150 w 270"/>
                <a:gd name="T19" fmla="*/ 52 h 511"/>
                <a:gd name="T20" fmla="*/ 246 w 270"/>
                <a:gd name="T21" fmla="*/ 148 h 511"/>
                <a:gd name="T22" fmla="*/ 253 w 270"/>
                <a:gd name="T23" fmla="*/ 150 h 511"/>
                <a:gd name="T24" fmla="*/ 258 w 270"/>
                <a:gd name="T25" fmla="*/ 150 h 511"/>
                <a:gd name="T26" fmla="*/ 264 w 270"/>
                <a:gd name="T27" fmla="*/ 148 h 511"/>
                <a:gd name="T28" fmla="*/ 268 w 270"/>
                <a:gd name="T29" fmla="*/ 144 h 511"/>
                <a:gd name="T30" fmla="*/ 270 w 270"/>
                <a:gd name="T31" fmla="*/ 139 h 511"/>
                <a:gd name="T32" fmla="*/ 270 w 270"/>
                <a:gd name="T33" fmla="*/ 133 h 511"/>
                <a:gd name="T34" fmla="*/ 268 w 270"/>
                <a:gd name="T35" fmla="*/ 128 h 511"/>
                <a:gd name="T36" fmla="*/ 146 w 270"/>
                <a:gd name="T37" fmla="*/ 5 h 511"/>
                <a:gd name="T38" fmla="*/ 140 w 270"/>
                <a:gd name="T39" fmla="*/ 2 h 511"/>
                <a:gd name="T40" fmla="*/ 135 w 270"/>
                <a:gd name="T41" fmla="*/ 0 h 511"/>
                <a:gd name="T42" fmla="*/ 135 w 270"/>
                <a:gd name="T43" fmla="*/ 0 h 511"/>
                <a:gd name="T44" fmla="*/ 135 w 270"/>
                <a:gd name="T45" fmla="*/ 0 h 511"/>
                <a:gd name="T46" fmla="*/ 130 w 270"/>
                <a:gd name="T47" fmla="*/ 2 h 511"/>
                <a:gd name="T48" fmla="*/ 124 w 270"/>
                <a:gd name="T49" fmla="*/ 5 h 511"/>
                <a:gd name="T50" fmla="*/ 2 w 270"/>
                <a:gd name="T51" fmla="*/ 128 h 511"/>
                <a:gd name="T52" fmla="*/ 0 w 270"/>
                <a:gd name="T53" fmla="*/ 133 h 511"/>
                <a:gd name="T54" fmla="*/ 0 w 270"/>
                <a:gd name="T55" fmla="*/ 139 h 511"/>
                <a:gd name="T56" fmla="*/ 2 w 270"/>
                <a:gd name="T57" fmla="*/ 144 h 511"/>
                <a:gd name="T58" fmla="*/ 6 w 270"/>
                <a:gd name="T59" fmla="*/ 148 h 511"/>
                <a:gd name="T60" fmla="*/ 12 w 270"/>
                <a:gd name="T61" fmla="*/ 150 h 511"/>
                <a:gd name="T62" fmla="*/ 17 w 270"/>
                <a:gd name="T63" fmla="*/ 150 h 511"/>
                <a:gd name="T64" fmla="*/ 23 w 270"/>
                <a:gd name="T65" fmla="*/ 148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70" h="511">
                  <a:moveTo>
                    <a:pt x="26" y="146"/>
                  </a:moveTo>
                  <a:lnTo>
                    <a:pt x="120" y="52"/>
                  </a:lnTo>
                  <a:lnTo>
                    <a:pt x="120" y="496"/>
                  </a:lnTo>
                  <a:lnTo>
                    <a:pt x="120" y="500"/>
                  </a:lnTo>
                  <a:lnTo>
                    <a:pt x="121" y="503"/>
                  </a:lnTo>
                  <a:lnTo>
                    <a:pt x="122" y="505"/>
                  </a:lnTo>
                  <a:lnTo>
                    <a:pt x="124" y="507"/>
                  </a:lnTo>
                  <a:lnTo>
                    <a:pt x="126" y="509"/>
                  </a:lnTo>
                  <a:lnTo>
                    <a:pt x="129" y="510"/>
                  </a:lnTo>
                  <a:lnTo>
                    <a:pt x="132" y="511"/>
                  </a:lnTo>
                  <a:lnTo>
                    <a:pt x="135" y="511"/>
                  </a:lnTo>
                  <a:lnTo>
                    <a:pt x="138" y="511"/>
                  </a:lnTo>
                  <a:lnTo>
                    <a:pt x="140" y="510"/>
                  </a:lnTo>
                  <a:lnTo>
                    <a:pt x="144" y="509"/>
                  </a:lnTo>
                  <a:lnTo>
                    <a:pt x="146" y="507"/>
                  </a:lnTo>
                  <a:lnTo>
                    <a:pt x="148" y="505"/>
                  </a:lnTo>
                  <a:lnTo>
                    <a:pt x="149" y="503"/>
                  </a:lnTo>
                  <a:lnTo>
                    <a:pt x="150" y="500"/>
                  </a:lnTo>
                  <a:lnTo>
                    <a:pt x="150" y="496"/>
                  </a:lnTo>
                  <a:lnTo>
                    <a:pt x="150" y="52"/>
                  </a:lnTo>
                  <a:lnTo>
                    <a:pt x="244" y="146"/>
                  </a:lnTo>
                  <a:lnTo>
                    <a:pt x="246" y="148"/>
                  </a:lnTo>
                  <a:lnTo>
                    <a:pt x="250" y="150"/>
                  </a:lnTo>
                  <a:lnTo>
                    <a:pt x="253" y="150"/>
                  </a:lnTo>
                  <a:lnTo>
                    <a:pt x="255" y="151"/>
                  </a:lnTo>
                  <a:lnTo>
                    <a:pt x="258" y="150"/>
                  </a:lnTo>
                  <a:lnTo>
                    <a:pt x="261" y="150"/>
                  </a:lnTo>
                  <a:lnTo>
                    <a:pt x="264" y="148"/>
                  </a:lnTo>
                  <a:lnTo>
                    <a:pt x="266" y="146"/>
                  </a:lnTo>
                  <a:lnTo>
                    <a:pt x="268" y="144"/>
                  </a:lnTo>
                  <a:lnTo>
                    <a:pt x="269" y="142"/>
                  </a:lnTo>
                  <a:lnTo>
                    <a:pt x="270" y="139"/>
                  </a:lnTo>
                  <a:lnTo>
                    <a:pt x="270" y="136"/>
                  </a:lnTo>
                  <a:lnTo>
                    <a:pt x="270" y="133"/>
                  </a:lnTo>
                  <a:lnTo>
                    <a:pt x="269" y="130"/>
                  </a:lnTo>
                  <a:lnTo>
                    <a:pt x="268" y="128"/>
                  </a:lnTo>
                  <a:lnTo>
                    <a:pt x="266" y="126"/>
                  </a:lnTo>
                  <a:lnTo>
                    <a:pt x="146" y="5"/>
                  </a:lnTo>
                  <a:lnTo>
                    <a:pt x="144" y="4"/>
                  </a:lnTo>
                  <a:lnTo>
                    <a:pt x="140" y="2"/>
                  </a:lnTo>
                  <a:lnTo>
                    <a:pt x="138" y="2"/>
                  </a:lnTo>
                  <a:lnTo>
                    <a:pt x="135" y="0"/>
                  </a:lnTo>
                  <a:lnTo>
                    <a:pt x="135" y="0"/>
                  </a:lnTo>
                  <a:lnTo>
                    <a:pt x="135" y="0"/>
                  </a:lnTo>
                  <a:lnTo>
                    <a:pt x="135" y="0"/>
                  </a:lnTo>
                  <a:lnTo>
                    <a:pt x="135" y="0"/>
                  </a:lnTo>
                  <a:lnTo>
                    <a:pt x="132" y="0"/>
                  </a:lnTo>
                  <a:lnTo>
                    <a:pt x="130" y="2"/>
                  </a:lnTo>
                  <a:lnTo>
                    <a:pt x="126" y="4"/>
                  </a:lnTo>
                  <a:lnTo>
                    <a:pt x="124" y="5"/>
                  </a:lnTo>
                  <a:lnTo>
                    <a:pt x="4" y="126"/>
                  </a:lnTo>
                  <a:lnTo>
                    <a:pt x="2" y="128"/>
                  </a:lnTo>
                  <a:lnTo>
                    <a:pt x="1" y="130"/>
                  </a:lnTo>
                  <a:lnTo>
                    <a:pt x="0" y="133"/>
                  </a:lnTo>
                  <a:lnTo>
                    <a:pt x="0" y="136"/>
                  </a:lnTo>
                  <a:lnTo>
                    <a:pt x="0" y="139"/>
                  </a:lnTo>
                  <a:lnTo>
                    <a:pt x="1" y="142"/>
                  </a:lnTo>
                  <a:lnTo>
                    <a:pt x="2" y="144"/>
                  </a:lnTo>
                  <a:lnTo>
                    <a:pt x="4" y="146"/>
                  </a:lnTo>
                  <a:lnTo>
                    <a:pt x="6" y="148"/>
                  </a:lnTo>
                  <a:lnTo>
                    <a:pt x="9" y="150"/>
                  </a:lnTo>
                  <a:lnTo>
                    <a:pt x="12" y="150"/>
                  </a:lnTo>
                  <a:lnTo>
                    <a:pt x="15" y="151"/>
                  </a:lnTo>
                  <a:lnTo>
                    <a:pt x="17" y="150"/>
                  </a:lnTo>
                  <a:lnTo>
                    <a:pt x="20" y="150"/>
                  </a:lnTo>
                  <a:lnTo>
                    <a:pt x="23" y="148"/>
                  </a:lnTo>
                  <a:lnTo>
                    <a:pt x="26" y="1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59" name="Freeform 96"/>
            <p:cNvSpPr>
              <a:spLocks/>
            </p:cNvSpPr>
            <p:nvPr/>
          </p:nvSpPr>
          <p:spPr bwMode="auto">
            <a:xfrm>
              <a:off x="10034588" y="1973263"/>
              <a:ext cx="85725" cy="163513"/>
            </a:xfrm>
            <a:custGeom>
              <a:avLst/>
              <a:gdLst>
                <a:gd name="T0" fmla="*/ 121 w 271"/>
                <a:gd name="T1" fmla="*/ 52 h 511"/>
                <a:gd name="T2" fmla="*/ 121 w 271"/>
                <a:gd name="T3" fmla="*/ 500 h 511"/>
                <a:gd name="T4" fmla="*/ 123 w 271"/>
                <a:gd name="T5" fmla="*/ 505 h 511"/>
                <a:gd name="T6" fmla="*/ 127 w 271"/>
                <a:gd name="T7" fmla="*/ 509 h 511"/>
                <a:gd name="T8" fmla="*/ 133 w 271"/>
                <a:gd name="T9" fmla="*/ 511 h 511"/>
                <a:gd name="T10" fmla="*/ 139 w 271"/>
                <a:gd name="T11" fmla="*/ 511 h 511"/>
                <a:gd name="T12" fmla="*/ 145 w 271"/>
                <a:gd name="T13" fmla="*/ 509 h 511"/>
                <a:gd name="T14" fmla="*/ 148 w 271"/>
                <a:gd name="T15" fmla="*/ 505 h 511"/>
                <a:gd name="T16" fmla="*/ 150 w 271"/>
                <a:gd name="T17" fmla="*/ 500 h 511"/>
                <a:gd name="T18" fmla="*/ 151 w 271"/>
                <a:gd name="T19" fmla="*/ 52 h 511"/>
                <a:gd name="T20" fmla="*/ 247 w 271"/>
                <a:gd name="T21" fmla="*/ 148 h 511"/>
                <a:gd name="T22" fmla="*/ 253 w 271"/>
                <a:gd name="T23" fmla="*/ 150 h 511"/>
                <a:gd name="T24" fmla="*/ 259 w 271"/>
                <a:gd name="T25" fmla="*/ 150 h 511"/>
                <a:gd name="T26" fmla="*/ 265 w 271"/>
                <a:gd name="T27" fmla="*/ 148 h 511"/>
                <a:gd name="T28" fmla="*/ 269 w 271"/>
                <a:gd name="T29" fmla="*/ 144 h 511"/>
                <a:gd name="T30" fmla="*/ 271 w 271"/>
                <a:gd name="T31" fmla="*/ 139 h 511"/>
                <a:gd name="T32" fmla="*/ 271 w 271"/>
                <a:gd name="T33" fmla="*/ 133 h 511"/>
                <a:gd name="T34" fmla="*/ 269 w 271"/>
                <a:gd name="T35" fmla="*/ 128 h 511"/>
                <a:gd name="T36" fmla="*/ 147 w 271"/>
                <a:gd name="T37" fmla="*/ 5 h 511"/>
                <a:gd name="T38" fmla="*/ 141 w 271"/>
                <a:gd name="T39" fmla="*/ 2 h 511"/>
                <a:gd name="T40" fmla="*/ 136 w 271"/>
                <a:gd name="T41" fmla="*/ 0 h 511"/>
                <a:gd name="T42" fmla="*/ 136 w 271"/>
                <a:gd name="T43" fmla="*/ 0 h 511"/>
                <a:gd name="T44" fmla="*/ 136 w 271"/>
                <a:gd name="T45" fmla="*/ 0 h 511"/>
                <a:gd name="T46" fmla="*/ 130 w 271"/>
                <a:gd name="T47" fmla="*/ 2 h 511"/>
                <a:gd name="T48" fmla="*/ 125 w 271"/>
                <a:gd name="T49" fmla="*/ 5 h 511"/>
                <a:gd name="T50" fmla="*/ 3 w 271"/>
                <a:gd name="T51" fmla="*/ 128 h 511"/>
                <a:gd name="T52" fmla="*/ 1 w 271"/>
                <a:gd name="T53" fmla="*/ 133 h 511"/>
                <a:gd name="T54" fmla="*/ 1 w 271"/>
                <a:gd name="T55" fmla="*/ 139 h 511"/>
                <a:gd name="T56" fmla="*/ 3 w 271"/>
                <a:gd name="T57" fmla="*/ 144 h 511"/>
                <a:gd name="T58" fmla="*/ 7 w 271"/>
                <a:gd name="T59" fmla="*/ 148 h 511"/>
                <a:gd name="T60" fmla="*/ 13 w 271"/>
                <a:gd name="T61" fmla="*/ 150 h 511"/>
                <a:gd name="T62" fmla="*/ 18 w 271"/>
                <a:gd name="T63" fmla="*/ 150 h 511"/>
                <a:gd name="T64" fmla="*/ 24 w 271"/>
                <a:gd name="T65" fmla="*/ 148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71" h="511">
                  <a:moveTo>
                    <a:pt x="26" y="146"/>
                  </a:moveTo>
                  <a:lnTo>
                    <a:pt x="121" y="52"/>
                  </a:lnTo>
                  <a:lnTo>
                    <a:pt x="121" y="496"/>
                  </a:lnTo>
                  <a:lnTo>
                    <a:pt x="121" y="500"/>
                  </a:lnTo>
                  <a:lnTo>
                    <a:pt x="122" y="503"/>
                  </a:lnTo>
                  <a:lnTo>
                    <a:pt x="123" y="505"/>
                  </a:lnTo>
                  <a:lnTo>
                    <a:pt x="125" y="507"/>
                  </a:lnTo>
                  <a:lnTo>
                    <a:pt x="127" y="509"/>
                  </a:lnTo>
                  <a:lnTo>
                    <a:pt x="130" y="510"/>
                  </a:lnTo>
                  <a:lnTo>
                    <a:pt x="133" y="511"/>
                  </a:lnTo>
                  <a:lnTo>
                    <a:pt x="136" y="511"/>
                  </a:lnTo>
                  <a:lnTo>
                    <a:pt x="139" y="511"/>
                  </a:lnTo>
                  <a:lnTo>
                    <a:pt x="141" y="510"/>
                  </a:lnTo>
                  <a:lnTo>
                    <a:pt x="145" y="509"/>
                  </a:lnTo>
                  <a:lnTo>
                    <a:pt x="147" y="507"/>
                  </a:lnTo>
                  <a:lnTo>
                    <a:pt x="148" y="505"/>
                  </a:lnTo>
                  <a:lnTo>
                    <a:pt x="150" y="503"/>
                  </a:lnTo>
                  <a:lnTo>
                    <a:pt x="150" y="500"/>
                  </a:lnTo>
                  <a:lnTo>
                    <a:pt x="151" y="496"/>
                  </a:lnTo>
                  <a:lnTo>
                    <a:pt x="151" y="52"/>
                  </a:lnTo>
                  <a:lnTo>
                    <a:pt x="245" y="146"/>
                  </a:lnTo>
                  <a:lnTo>
                    <a:pt x="247" y="148"/>
                  </a:lnTo>
                  <a:lnTo>
                    <a:pt x="251" y="150"/>
                  </a:lnTo>
                  <a:lnTo>
                    <a:pt x="253" y="150"/>
                  </a:lnTo>
                  <a:lnTo>
                    <a:pt x="256" y="151"/>
                  </a:lnTo>
                  <a:lnTo>
                    <a:pt x="259" y="150"/>
                  </a:lnTo>
                  <a:lnTo>
                    <a:pt x="261" y="150"/>
                  </a:lnTo>
                  <a:lnTo>
                    <a:pt x="265" y="148"/>
                  </a:lnTo>
                  <a:lnTo>
                    <a:pt x="267" y="146"/>
                  </a:lnTo>
                  <a:lnTo>
                    <a:pt x="269" y="144"/>
                  </a:lnTo>
                  <a:lnTo>
                    <a:pt x="270" y="142"/>
                  </a:lnTo>
                  <a:lnTo>
                    <a:pt x="271" y="139"/>
                  </a:lnTo>
                  <a:lnTo>
                    <a:pt x="271" y="136"/>
                  </a:lnTo>
                  <a:lnTo>
                    <a:pt x="271" y="133"/>
                  </a:lnTo>
                  <a:lnTo>
                    <a:pt x="270" y="130"/>
                  </a:lnTo>
                  <a:lnTo>
                    <a:pt x="269" y="128"/>
                  </a:lnTo>
                  <a:lnTo>
                    <a:pt x="267" y="126"/>
                  </a:lnTo>
                  <a:lnTo>
                    <a:pt x="147" y="5"/>
                  </a:lnTo>
                  <a:lnTo>
                    <a:pt x="144" y="4"/>
                  </a:lnTo>
                  <a:lnTo>
                    <a:pt x="141" y="2"/>
                  </a:lnTo>
                  <a:lnTo>
                    <a:pt x="138" y="2"/>
                  </a:lnTo>
                  <a:lnTo>
                    <a:pt x="136" y="0"/>
                  </a:lnTo>
                  <a:lnTo>
                    <a:pt x="136" y="0"/>
                  </a:lnTo>
                  <a:lnTo>
                    <a:pt x="136" y="0"/>
                  </a:lnTo>
                  <a:lnTo>
                    <a:pt x="136" y="0"/>
                  </a:lnTo>
                  <a:lnTo>
                    <a:pt x="136" y="0"/>
                  </a:lnTo>
                  <a:lnTo>
                    <a:pt x="133" y="0"/>
                  </a:lnTo>
                  <a:lnTo>
                    <a:pt x="130" y="2"/>
                  </a:lnTo>
                  <a:lnTo>
                    <a:pt x="127" y="4"/>
                  </a:lnTo>
                  <a:lnTo>
                    <a:pt x="125" y="5"/>
                  </a:lnTo>
                  <a:lnTo>
                    <a:pt x="4" y="126"/>
                  </a:lnTo>
                  <a:lnTo>
                    <a:pt x="3" y="128"/>
                  </a:lnTo>
                  <a:lnTo>
                    <a:pt x="1" y="130"/>
                  </a:lnTo>
                  <a:lnTo>
                    <a:pt x="1" y="133"/>
                  </a:lnTo>
                  <a:lnTo>
                    <a:pt x="0" y="136"/>
                  </a:lnTo>
                  <a:lnTo>
                    <a:pt x="1" y="139"/>
                  </a:lnTo>
                  <a:lnTo>
                    <a:pt x="1" y="142"/>
                  </a:lnTo>
                  <a:lnTo>
                    <a:pt x="3" y="144"/>
                  </a:lnTo>
                  <a:lnTo>
                    <a:pt x="4" y="146"/>
                  </a:lnTo>
                  <a:lnTo>
                    <a:pt x="7" y="148"/>
                  </a:lnTo>
                  <a:lnTo>
                    <a:pt x="10" y="150"/>
                  </a:lnTo>
                  <a:lnTo>
                    <a:pt x="13" y="150"/>
                  </a:lnTo>
                  <a:lnTo>
                    <a:pt x="15" y="151"/>
                  </a:lnTo>
                  <a:lnTo>
                    <a:pt x="18" y="150"/>
                  </a:lnTo>
                  <a:lnTo>
                    <a:pt x="21" y="150"/>
                  </a:lnTo>
                  <a:lnTo>
                    <a:pt x="24" y="148"/>
                  </a:lnTo>
                  <a:lnTo>
                    <a:pt x="26" y="1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  <p:sp>
        <p:nvSpPr>
          <p:cNvPr id="60" name="TextBox 59"/>
          <p:cNvSpPr txBox="1"/>
          <p:nvPr/>
        </p:nvSpPr>
        <p:spPr>
          <a:xfrm>
            <a:off x="2081342" y="5504286"/>
            <a:ext cx="1513338" cy="6471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37%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3674410" y="5504286"/>
            <a:ext cx="1513338" cy="6471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63%</a:t>
            </a:r>
          </a:p>
        </p:txBody>
      </p:sp>
      <p:grpSp>
        <p:nvGrpSpPr>
          <p:cNvPr id="62" name="Group 61"/>
          <p:cNvGrpSpPr/>
          <p:nvPr/>
        </p:nvGrpSpPr>
        <p:grpSpPr>
          <a:xfrm>
            <a:off x="7502299" y="3371103"/>
            <a:ext cx="649229" cy="649229"/>
            <a:chOff x="7023101" y="1917700"/>
            <a:chExt cx="287338" cy="287337"/>
          </a:xfrm>
          <a:solidFill>
            <a:srgbClr val="3B3939"/>
          </a:solidFill>
        </p:grpSpPr>
        <p:sp>
          <p:nvSpPr>
            <p:cNvPr id="63" name="Freeform 274"/>
            <p:cNvSpPr>
              <a:spLocks noEditPoints="1"/>
            </p:cNvSpPr>
            <p:nvPr/>
          </p:nvSpPr>
          <p:spPr bwMode="auto">
            <a:xfrm>
              <a:off x="7023101" y="1917700"/>
              <a:ext cx="287338" cy="287337"/>
            </a:xfrm>
            <a:custGeom>
              <a:avLst/>
              <a:gdLst>
                <a:gd name="T0" fmla="*/ 813 w 903"/>
                <a:gd name="T1" fmla="*/ 795 h 903"/>
                <a:gd name="T2" fmla="*/ 807 w 903"/>
                <a:gd name="T3" fmla="*/ 785 h 903"/>
                <a:gd name="T4" fmla="*/ 738 w 903"/>
                <a:gd name="T5" fmla="*/ 782 h 903"/>
                <a:gd name="T6" fmla="*/ 727 w 903"/>
                <a:gd name="T7" fmla="*/ 787 h 903"/>
                <a:gd name="T8" fmla="*/ 723 w 903"/>
                <a:gd name="T9" fmla="*/ 798 h 903"/>
                <a:gd name="T10" fmla="*/ 678 w 903"/>
                <a:gd name="T11" fmla="*/ 391 h 903"/>
                <a:gd name="T12" fmla="*/ 753 w 903"/>
                <a:gd name="T13" fmla="*/ 873 h 903"/>
                <a:gd name="T14" fmla="*/ 753 w 903"/>
                <a:gd name="T15" fmla="*/ 873 h 903"/>
                <a:gd name="T16" fmla="*/ 181 w 903"/>
                <a:gd name="T17" fmla="*/ 873 h 903"/>
                <a:gd name="T18" fmla="*/ 286 w 903"/>
                <a:gd name="T19" fmla="*/ 300 h 903"/>
                <a:gd name="T20" fmla="*/ 211 w 903"/>
                <a:gd name="T21" fmla="*/ 797 h 903"/>
                <a:gd name="T22" fmla="*/ 207 w 903"/>
                <a:gd name="T23" fmla="*/ 787 h 903"/>
                <a:gd name="T24" fmla="*/ 196 w 903"/>
                <a:gd name="T25" fmla="*/ 783 h 903"/>
                <a:gd name="T26" fmla="*/ 128 w 903"/>
                <a:gd name="T27" fmla="*/ 785 h 903"/>
                <a:gd name="T28" fmla="*/ 121 w 903"/>
                <a:gd name="T29" fmla="*/ 795 h 903"/>
                <a:gd name="T30" fmla="*/ 30 w 903"/>
                <a:gd name="T31" fmla="*/ 300 h 903"/>
                <a:gd name="T32" fmla="*/ 90 w 903"/>
                <a:gd name="T33" fmla="*/ 270 h 903"/>
                <a:gd name="T34" fmla="*/ 362 w 903"/>
                <a:gd name="T35" fmla="*/ 873 h 903"/>
                <a:gd name="T36" fmla="*/ 813 w 903"/>
                <a:gd name="T37" fmla="*/ 300 h 903"/>
                <a:gd name="T38" fmla="*/ 888 w 903"/>
                <a:gd name="T39" fmla="*/ 361 h 903"/>
                <a:gd name="T40" fmla="*/ 842 w 903"/>
                <a:gd name="T41" fmla="*/ 280 h 903"/>
                <a:gd name="T42" fmla="*/ 834 w 903"/>
                <a:gd name="T43" fmla="*/ 271 h 903"/>
                <a:gd name="T44" fmla="*/ 675 w 903"/>
                <a:gd name="T45" fmla="*/ 271 h 903"/>
                <a:gd name="T46" fmla="*/ 665 w 903"/>
                <a:gd name="T47" fmla="*/ 278 h 903"/>
                <a:gd name="T48" fmla="*/ 663 w 903"/>
                <a:gd name="T49" fmla="*/ 361 h 903"/>
                <a:gd name="T50" fmla="*/ 609 w 903"/>
                <a:gd name="T51" fmla="*/ 364 h 903"/>
                <a:gd name="T52" fmla="*/ 603 w 903"/>
                <a:gd name="T53" fmla="*/ 373 h 903"/>
                <a:gd name="T54" fmla="*/ 362 w 903"/>
                <a:gd name="T55" fmla="*/ 285 h 903"/>
                <a:gd name="T56" fmla="*/ 357 w 903"/>
                <a:gd name="T57" fmla="*/ 274 h 903"/>
                <a:gd name="T58" fmla="*/ 347 w 903"/>
                <a:gd name="T59" fmla="*/ 270 h 903"/>
                <a:gd name="T60" fmla="*/ 300 w 903"/>
                <a:gd name="T61" fmla="*/ 160 h 903"/>
                <a:gd name="T62" fmla="*/ 292 w 903"/>
                <a:gd name="T63" fmla="*/ 151 h 903"/>
                <a:gd name="T64" fmla="*/ 181 w 903"/>
                <a:gd name="T65" fmla="*/ 15 h 903"/>
                <a:gd name="T66" fmla="*/ 177 w 903"/>
                <a:gd name="T67" fmla="*/ 4 h 903"/>
                <a:gd name="T68" fmla="*/ 166 w 903"/>
                <a:gd name="T69" fmla="*/ 0 h 903"/>
                <a:gd name="T70" fmla="*/ 156 w 903"/>
                <a:gd name="T71" fmla="*/ 4 h 903"/>
                <a:gd name="T72" fmla="*/ 151 w 903"/>
                <a:gd name="T73" fmla="*/ 15 h 903"/>
                <a:gd name="T74" fmla="*/ 70 w 903"/>
                <a:gd name="T75" fmla="*/ 151 h 903"/>
                <a:gd name="T76" fmla="*/ 61 w 903"/>
                <a:gd name="T77" fmla="*/ 160 h 903"/>
                <a:gd name="T78" fmla="*/ 15 w 903"/>
                <a:gd name="T79" fmla="*/ 270 h 903"/>
                <a:gd name="T80" fmla="*/ 4 w 903"/>
                <a:gd name="T81" fmla="*/ 274 h 903"/>
                <a:gd name="T82" fmla="*/ 0 w 903"/>
                <a:gd name="T83" fmla="*/ 285 h 903"/>
                <a:gd name="T84" fmla="*/ 3 w 903"/>
                <a:gd name="T85" fmla="*/ 897 h 903"/>
                <a:gd name="T86" fmla="*/ 12 w 903"/>
                <a:gd name="T87" fmla="*/ 903 h 903"/>
                <a:gd name="T88" fmla="*/ 347 w 903"/>
                <a:gd name="T89" fmla="*/ 903 h 903"/>
                <a:gd name="T90" fmla="*/ 888 w 903"/>
                <a:gd name="T91" fmla="*/ 903 h 903"/>
                <a:gd name="T92" fmla="*/ 899 w 903"/>
                <a:gd name="T93" fmla="*/ 899 h 903"/>
                <a:gd name="T94" fmla="*/ 903 w 903"/>
                <a:gd name="T95" fmla="*/ 888 h 903"/>
                <a:gd name="T96" fmla="*/ 901 w 903"/>
                <a:gd name="T97" fmla="*/ 368 h 903"/>
                <a:gd name="T98" fmla="*/ 891 w 903"/>
                <a:gd name="T99" fmla="*/ 361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903" h="903">
                  <a:moveTo>
                    <a:pt x="873" y="873"/>
                  </a:moveTo>
                  <a:lnTo>
                    <a:pt x="813" y="873"/>
                  </a:lnTo>
                  <a:lnTo>
                    <a:pt x="813" y="797"/>
                  </a:lnTo>
                  <a:lnTo>
                    <a:pt x="813" y="795"/>
                  </a:lnTo>
                  <a:lnTo>
                    <a:pt x="812" y="792"/>
                  </a:lnTo>
                  <a:lnTo>
                    <a:pt x="811" y="789"/>
                  </a:lnTo>
                  <a:lnTo>
                    <a:pt x="809" y="787"/>
                  </a:lnTo>
                  <a:lnTo>
                    <a:pt x="807" y="785"/>
                  </a:lnTo>
                  <a:lnTo>
                    <a:pt x="804" y="784"/>
                  </a:lnTo>
                  <a:lnTo>
                    <a:pt x="801" y="783"/>
                  </a:lnTo>
                  <a:lnTo>
                    <a:pt x="798" y="783"/>
                  </a:lnTo>
                  <a:lnTo>
                    <a:pt x="738" y="782"/>
                  </a:lnTo>
                  <a:lnTo>
                    <a:pt x="735" y="783"/>
                  </a:lnTo>
                  <a:lnTo>
                    <a:pt x="733" y="784"/>
                  </a:lnTo>
                  <a:lnTo>
                    <a:pt x="729" y="785"/>
                  </a:lnTo>
                  <a:lnTo>
                    <a:pt x="727" y="787"/>
                  </a:lnTo>
                  <a:lnTo>
                    <a:pt x="725" y="789"/>
                  </a:lnTo>
                  <a:lnTo>
                    <a:pt x="724" y="792"/>
                  </a:lnTo>
                  <a:lnTo>
                    <a:pt x="723" y="795"/>
                  </a:lnTo>
                  <a:lnTo>
                    <a:pt x="723" y="798"/>
                  </a:lnTo>
                  <a:lnTo>
                    <a:pt x="723" y="873"/>
                  </a:lnTo>
                  <a:lnTo>
                    <a:pt x="633" y="873"/>
                  </a:lnTo>
                  <a:lnTo>
                    <a:pt x="633" y="391"/>
                  </a:lnTo>
                  <a:lnTo>
                    <a:pt x="678" y="391"/>
                  </a:lnTo>
                  <a:lnTo>
                    <a:pt x="828" y="391"/>
                  </a:lnTo>
                  <a:lnTo>
                    <a:pt x="873" y="391"/>
                  </a:lnTo>
                  <a:lnTo>
                    <a:pt x="873" y="873"/>
                  </a:lnTo>
                  <a:close/>
                  <a:moveTo>
                    <a:pt x="753" y="873"/>
                  </a:moveTo>
                  <a:lnTo>
                    <a:pt x="753" y="813"/>
                  </a:lnTo>
                  <a:lnTo>
                    <a:pt x="783" y="813"/>
                  </a:lnTo>
                  <a:lnTo>
                    <a:pt x="783" y="873"/>
                  </a:lnTo>
                  <a:lnTo>
                    <a:pt x="753" y="873"/>
                  </a:lnTo>
                  <a:close/>
                  <a:moveTo>
                    <a:pt x="151" y="873"/>
                  </a:moveTo>
                  <a:lnTo>
                    <a:pt x="151" y="813"/>
                  </a:lnTo>
                  <a:lnTo>
                    <a:pt x="181" y="813"/>
                  </a:lnTo>
                  <a:lnTo>
                    <a:pt x="181" y="873"/>
                  </a:lnTo>
                  <a:lnTo>
                    <a:pt x="151" y="873"/>
                  </a:lnTo>
                  <a:close/>
                  <a:moveTo>
                    <a:pt x="30" y="300"/>
                  </a:moveTo>
                  <a:lnTo>
                    <a:pt x="75" y="300"/>
                  </a:lnTo>
                  <a:lnTo>
                    <a:pt x="286" y="300"/>
                  </a:lnTo>
                  <a:lnTo>
                    <a:pt x="331" y="300"/>
                  </a:lnTo>
                  <a:lnTo>
                    <a:pt x="331" y="873"/>
                  </a:lnTo>
                  <a:lnTo>
                    <a:pt x="211" y="873"/>
                  </a:lnTo>
                  <a:lnTo>
                    <a:pt x="211" y="797"/>
                  </a:lnTo>
                  <a:lnTo>
                    <a:pt x="210" y="795"/>
                  </a:lnTo>
                  <a:lnTo>
                    <a:pt x="210" y="792"/>
                  </a:lnTo>
                  <a:lnTo>
                    <a:pt x="208" y="789"/>
                  </a:lnTo>
                  <a:lnTo>
                    <a:pt x="207" y="787"/>
                  </a:lnTo>
                  <a:lnTo>
                    <a:pt x="205" y="785"/>
                  </a:lnTo>
                  <a:lnTo>
                    <a:pt x="202" y="784"/>
                  </a:lnTo>
                  <a:lnTo>
                    <a:pt x="200" y="783"/>
                  </a:lnTo>
                  <a:lnTo>
                    <a:pt x="196" y="783"/>
                  </a:lnTo>
                  <a:lnTo>
                    <a:pt x="136" y="782"/>
                  </a:lnTo>
                  <a:lnTo>
                    <a:pt x="133" y="783"/>
                  </a:lnTo>
                  <a:lnTo>
                    <a:pt x="130" y="784"/>
                  </a:lnTo>
                  <a:lnTo>
                    <a:pt x="128" y="785"/>
                  </a:lnTo>
                  <a:lnTo>
                    <a:pt x="126" y="787"/>
                  </a:lnTo>
                  <a:lnTo>
                    <a:pt x="123" y="789"/>
                  </a:lnTo>
                  <a:lnTo>
                    <a:pt x="122" y="792"/>
                  </a:lnTo>
                  <a:lnTo>
                    <a:pt x="121" y="795"/>
                  </a:lnTo>
                  <a:lnTo>
                    <a:pt x="121" y="798"/>
                  </a:lnTo>
                  <a:lnTo>
                    <a:pt x="121" y="873"/>
                  </a:lnTo>
                  <a:lnTo>
                    <a:pt x="30" y="873"/>
                  </a:lnTo>
                  <a:lnTo>
                    <a:pt x="30" y="300"/>
                  </a:lnTo>
                  <a:close/>
                  <a:moveTo>
                    <a:pt x="90" y="180"/>
                  </a:moveTo>
                  <a:lnTo>
                    <a:pt x="271" y="180"/>
                  </a:lnTo>
                  <a:lnTo>
                    <a:pt x="271" y="270"/>
                  </a:lnTo>
                  <a:lnTo>
                    <a:pt x="90" y="270"/>
                  </a:lnTo>
                  <a:lnTo>
                    <a:pt x="90" y="180"/>
                  </a:lnTo>
                  <a:close/>
                  <a:moveTo>
                    <a:pt x="603" y="542"/>
                  </a:moveTo>
                  <a:lnTo>
                    <a:pt x="603" y="873"/>
                  </a:lnTo>
                  <a:lnTo>
                    <a:pt x="362" y="873"/>
                  </a:lnTo>
                  <a:lnTo>
                    <a:pt x="362" y="542"/>
                  </a:lnTo>
                  <a:lnTo>
                    <a:pt x="603" y="542"/>
                  </a:lnTo>
                  <a:close/>
                  <a:moveTo>
                    <a:pt x="693" y="300"/>
                  </a:moveTo>
                  <a:lnTo>
                    <a:pt x="813" y="300"/>
                  </a:lnTo>
                  <a:lnTo>
                    <a:pt x="813" y="361"/>
                  </a:lnTo>
                  <a:lnTo>
                    <a:pt x="693" y="361"/>
                  </a:lnTo>
                  <a:lnTo>
                    <a:pt x="693" y="300"/>
                  </a:lnTo>
                  <a:close/>
                  <a:moveTo>
                    <a:pt x="888" y="361"/>
                  </a:moveTo>
                  <a:lnTo>
                    <a:pt x="843" y="361"/>
                  </a:lnTo>
                  <a:lnTo>
                    <a:pt x="843" y="285"/>
                  </a:lnTo>
                  <a:lnTo>
                    <a:pt x="843" y="282"/>
                  </a:lnTo>
                  <a:lnTo>
                    <a:pt x="842" y="280"/>
                  </a:lnTo>
                  <a:lnTo>
                    <a:pt x="841" y="277"/>
                  </a:lnTo>
                  <a:lnTo>
                    <a:pt x="839" y="274"/>
                  </a:lnTo>
                  <a:lnTo>
                    <a:pt x="837" y="273"/>
                  </a:lnTo>
                  <a:lnTo>
                    <a:pt x="834" y="271"/>
                  </a:lnTo>
                  <a:lnTo>
                    <a:pt x="831" y="271"/>
                  </a:lnTo>
                  <a:lnTo>
                    <a:pt x="828" y="270"/>
                  </a:lnTo>
                  <a:lnTo>
                    <a:pt x="678" y="270"/>
                  </a:lnTo>
                  <a:lnTo>
                    <a:pt x="675" y="271"/>
                  </a:lnTo>
                  <a:lnTo>
                    <a:pt x="671" y="271"/>
                  </a:lnTo>
                  <a:lnTo>
                    <a:pt x="669" y="273"/>
                  </a:lnTo>
                  <a:lnTo>
                    <a:pt x="667" y="274"/>
                  </a:lnTo>
                  <a:lnTo>
                    <a:pt x="665" y="278"/>
                  </a:lnTo>
                  <a:lnTo>
                    <a:pt x="664" y="280"/>
                  </a:lnTo>
                  <a:lnTo>
                    <a:pt x="663" y="283"/>
                  </a:lnTo>
                  <a:lnTo>
                    <a:pt x="663" y="285"/>
                  </a:lnTo>
                  <a:lnTo>
                    <a:pt x="663" y="361"/>
                  </a:lnTo>
                  <a:lnTo>
                    <a:pt x="618" y="361"/>
                  </a:lnTo>
                  <a:lnTo>
                    <a:pt x="615" y="361"/>
                  </a:lnTo>
                  <a:lnTo>
                    <a:pt x="611" y="362"/>
                  </a:lnTo>
                  <a:lnTo>
                    <a:pt x="609" y="364"/>
                  </a:lnTo>
                  <a:lnTo>
                    <a:pt x="607" y="366"/>
                  </a:lnTo>
                  <a:lnTo>
                    <a:pt x="605" y="368"/>
                  </a:lnTo>
                  <a:lnTo>
                    <a:pt x="604" y="370"/>
                  </a:lnTo>
                  <a:lnTo>
                    <a:pt x="603" y="373"/>
                  </a:lnTo>
                  <a:lnTo>
                    <a:pt x="603" y="376"/>
                  </a:lnTo>
                  <a:lnTo>
                    <a:pt x="603" y="512"/>
                  </a:lnTo>
                  <a:lnTo>
                    <a:pt x="362" y="512"/>
                  </a:lnTo>
                  <a:lnTo>
                    <a:pt x="362" y="285"/>
                  </a:lnTo>
                  <a:lnTo>
                    <a:pt x="362" y="282"/>
                  </a:lnTo>
                  <a:lnTo>
                    <a:pt x="360" y="280"/>
                  </a:lnTo>
                  <a:lnTo>
                    <a:pt x="359" y="277"/>
                  </a:lnTo>
                  <a:lnTo>
                    <a:pt x="357" y="274"/>
                  </a:lnTo>
                  <a:lnTo>
                    <a:pt x="355" y="273"/>
                  </a:lnTo>
                  <a:lnTo>
                    <a:pt x="352" y="271"/>
                  </a:lnTo>
                  <a:lnTo>
                    <a:pt x="350" y="271"/>
                  </a:lnTo>
                  <a:lnTo>
                    <a:pt x="347" y="270"/>
                  </a:lnTo>
                  <a:lnTo>
                    <a:pt x="301" y="270"/>
                  </a:lnTo>
                  <a:lnTo>
                    <a:pt x="301" y="165"/>
                  </a:lnTo>
                  <a:lnTo>
                    <a:pt x="301" y="162"/>
                  </a:lnTo>
                  <a:lnTo>
                    <a:pt x="300" y="160"/>
                  </a:lnTo>
                  <a:lnTo>
                    <a:pt x="299" y="156"/>
                  </a:lnTo>
                  <a:lnTo>
                    <a:pt x="297" y="154"/>
                  </a:lnTo>
                  <a:lnTo>
                    <a:pt x="295" y="152"/>
                  </a:lnTo>
                  <a:lnTo>
                    <a:pt x="292" y="151"/>
                  </a:lnTo>
                  <a:lnTo>
                    <a:pt x="290" y="150"/>
                  </a:lnTo>
                  <a:lnTo>
                    <a:pt x="286" y="150"/>
                  </a:lnTo>
                  <a:lnTo>
                    <a:pt x="181" y="150"/>
                  </a:lnTo>
                  <a:lnTo>
                    <a:pt x="181" y="15"/>
                  </a:lnTo>
                  <a:lnTo>
                    <a:pt x="180" y="12"/>
                  </a:lnTo>
                  <a:lnTo>
                    <a:pt x="180" y="8"/>
                  </a:lnTo>
                  <a:lnTo>
                    <a:pt x="178" y="6"/>
                  </a:lnTo>
                  <a:lnTo>
                    <a:pt x="177" y="4"/>
                  </a:lnTo>
                  <a:lnTo>
                    <a:pt x="174" y="2"/>
                  </a:lnTo>
                  <a:lnTo>
                    <a:pt x="172" y="1"/>
                  </a:lnTo>
                  <a:lnTo>
                    <a:pt x="168" y="0"/>
                  </a:lnTo>
                  <a:lnTo>
                    <a:pt x="166" y="0"/>
                  </a:lnTo>
                  <a:lnTo>
                    <a:pt x="163" y="0"/>
                  </a:lnTo>
                  <a:lnTo>
                    <a:pt x="160" y="1"/>
                  </a:lnTo>
                  <a:lnTo>
                    <a:pt x="158" y="2"/>
                  </a:lnTo>
                  <a:lnTo>
                    <a:pt x="156" y="4"/>
                  </a:lnTo>
                  <a:lnTo>
                    <a:pt x="153" y="6"/>
                  </a:lnTo>
                  <a:lnTo>
                    <a:pt x="152" y="8"/>
                  </a:lnTo>
                  <a:lnTo>
                    <a:pt x="151" y="12"/>
                  </a:lnTo>
                  <a:lnTo>
                    <a:pt x="151" y="15"/>
                  </a:lnTo>
                  <a:lnTo>
                    <a:pt x="151" y="150"/>
                  </a:lnTo>
                  <a:lnTo>
                    <a:pt x="75" y="150"/>
                  </a:lnTo>
                  <a:lnTo>
                    <a:pt x="73" y="150"/>
                  </a:lnTo>
                  <a:lnTo>
                    <a:pt x="70" y="151"/>
                  </a:lnTo>
                  <a:lnTo>
                    <a:pt x="68" y="152"/>
                  </a:lnTo>
                  <a:lnTo>
                    <a:pt x="64" y="154"/>
                  </a:lnTo>
                  <a:lnTo>
                    <a:pt x="63" y="156"/>
                  </a:lnTo>
                  <a:lnTo>
                    <a:pt x="61" y="160"/>
                  </a:lnTo>
                  <a:lnTo>
                    <a:pt x="61" y="162"/>
                  </a:lnTo>
                  <a:lnTo>
                    <a:pt x="60" y="165"/>
                  </a:lnTo>
                  <a:lnTo>
                    <a:pt x="60" y="270"/>
                  </a:lnTo>
                  <a:lnTo>
                    <a:pt x="15" y="270"/>
                  </a:lnTo>
                  <a:lnTo>
                    <a:pt x="12" y="271"/>
                  </a:lnTo>
                  <a:lnTo>
                    <a:pt x="10" y="271"/>
                  </a:lnTo>
                  <a:lnTo>
                    <a:pt x="7" y="273"/>
                  </a:lnTo>
                  <a:lnTo>
                    <a:pt x="4" y="274"/>
                  </a:lnTo>
                  <a:lnTo>
                    <a:pt x="3" y="278"/>
                  </a:lnTo>
                  <a:lnTo>
                    <a:pt x="1" y="280"/>
                  </a:lnTo>
                  <a:lnTo>
                    <a:pt x="1" y="283"/>
                  </a:lnTo>
                  <a:lnTo>
                    <a:pt x="0" y="285"/>
                  </a:lnTo>
                  <a:lnTo>
                    <a:pt x="0" y="888"/>
                  </a:lnTo>
                  <a:lnTo>
                    <a:pt x="1" y="891"/>
                  </a:lnTo>
                  <a:lnTo>
                    <a:pt x="1" y="894"/>
                  </a:lnTo>
                  <a:lnTo>
                    <a:pt x="3" y="897"/>
                  </a:lnTo>
                  <a:lnTo>
                    <a:pt x="4" y="899"/>
                  </a:lnTo>
                  <a:lnTo>
                    <a:pt x="7" y="900"/>
                  </a:lnTo>
                  <a:lnTo>
                    <a:pt x="10" y="902"/>
                  </a:lnTo>
                  <a:lnTo>
                    <a:pt x="12" y="903"/>
                  </a:lnTo>
                  <a:lnTo>
                    <a:pt x="15" y="903"/>
                  </a:lnTo>
                  <a:lnTo>
                    <a:pt x="136" y="903"/>
                  </a:lnTo>
                  <a:lnTo>
                    <a:pt x="196" y="903"/>
                  </a:lnTo>
                  <a:lnTo>
                    <a:pt x="347" y="903"/>
                  </a:lnTo>
                  <a:lnTo>
                    <a:pt x="618" y="903"/>
                  </a:lnTo>
                  <a:lnTo>
                    <a:pt x="738" y="903"/>
                  </a:lnTo>
                  <a:lnTo>
                    <a:pt x="798" y="903"/>
                  </a:lnTo>
                  <a:lnTo>
                    <a:pt x="888" y="903"/>
                  </a:lnTo>
                  <a:lnTo>
                    <a:pt x="891" y="902"/>
                  </a:lnTo>
                  <a:lnTo>
                    <a:pt x="895" y="902"/>
                  </a:lnTo>
                  <a:lnTo>
                    <a:pt x="897" y="900"/>
                  </a:lnTo>
                  <a:lnTo>
                    <a:pt x="899" y="899"/>
                  </a:lnTo>
                  <a:lnTo>
                    <a:pt x="901" y="897"/>
                  </a:lnTo>
                  <a:lnTo>
                    <a:pt x="902" y="894"/>
                  </a:lnTo>
                  <a:lnTo>
                    <a:pt x="903" y="891"/>
                  </a:lnTo>
                  <a:lnTo>
                    <a:pt x="903" y="888"/>
                  </a:lnTo>
                  <a:lnTo>
                    <a:pt x="903" y="376"/>
                  </a:lnTo>
                  <a:lnTo>
                    <a:pt x="903" y="373"/>
                  </a:lnTo>
                  <a:lnTo>
                    <a:pt x="902" y="370"/>
                  </a:lnTo>
                  <a:lnTo>
                    <a:pt x="901" y="368"/>
                  </a:lnTo>
                  <a:lnTo>
                    <a:pt x="899" y="366"/>
                  </a:lnTo>
                  <a:lnTo>
                    <a:pt x="897" y="364"/>
                  </a:lnTo>
                  <a:lnTo>
                    <a:pt x="895" y="362"/>
                  </a:lnTo>
                  <a:lnTo>
                    <a:pt x="891" y="361"/>
                  </a:lnTo>
                  <a:lnTo>
                    <a:pt x="888" y="3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64" name="Freeform 275"/>
            <p:cNvSpPr>
              <a:spLocks/>
            </p:cNvSpPr>
            <p:nvPr/>
          </p:nvSpPr>
          <p:spPr bwMode="auto">
            <a:xfrm>
              <a:off x="7061201" y="1984375"/>
              <a:ext cx="38100" cy="9525"/>
            </a:xfrm>
            <a:custGeom>
              <a:avLst/>
              <a:gdLst>
                <a:gd name="T0" fmla="*/ 105 w 120"/>
                <a:gd name="T1" fmla="*/ 0 h 30"/>
                <a:gd name="T2" fmla="*/ 15 w 120"/>
                <a:gd name="T3" fmla="*/ 0 h 30"/>
                <a:gd name="T4" fmla="*/ 12 w 120"/>
                <a:gd name="T5" fmla="*/ 0 h 30"/>
                <a:gd name="T6" fmla="*/ 9 w 120"/>
                <a:gd name="T7" fmla="*/ 1 h 30"/>
                <a:gd name="T8" fmla="*/ 7 w 120"/>
                <a:gd name="T9" fmla="*/ 3 h 30"/>
                <a:gd name="T10" fmla="*/ 5 w 120"/>
                <a:gd name="T11" fmla="*/ 4 h 30"/>
                <a:gd name="T12" fmla="*/ 2 w 120"/>
                <a:gd name="T13" fmla="*/ 7 h 30"/>
                <a:gd name="T14" fmla="*/ 1 w 120"/>
                <a:gd name="T15" fmla="*/ 10 h 30"/>
                <a:gd name="T16" fmla="*/ 0 w 120"/>
                <a:gd name="T17" fmla="*/ 12 h 30"/>
                <a:gd name="T18" fmla="*/ 0 w 120"/>
                <a:gd name="T19" fmla="*/ 15 h 30"/>
                <a:gd name="T20" fmla="*/ 0 w 120"/>
                <a:gd name="T21" fmla="*/ 18 h 30"/>
                <a:gd name="T22" fmla="*/ 1 w 120"/>
                <a:gd name="T23" fmla="*/ 22 h 30"/>
                <a:gd name="T24" fmla="*/ 2 w 120"/>
                <a:gd name="T25" fmla="*/ 24 h 30"/>
                <a:gd name="T26" fmla="*/ 5 w 120"/>
                <a:gd name="T27" fmla="*/ 26 h 30"/>
                <a:gd name="T28" fmla="*/ 7 w 120"/>
                <a:gd name="T29" fmla="*/ 28 h 30"/>
                <a:gd name="T30" fmla="*/ 9 w 120"/>
                <a:gd name="T31" fmla="*/ 29 h 30"/>
                <a:gd name="T32" fmla="*/ 12 w 120"/>
                <a:gd name="T33" fmla="*/ 30 h 30"/>
                <a:gd name="T34" fmla="*/ 15 w 120"/>
                <a:gd name="T35" fmla="*/ 30 h 30"/>
                <a:gd name="T36" fmla="*/ 105 w 120"/>
                <a:gd name="T37" fmla="*/ 30 h 30"/>
                <a:gd name="T38" fmla="*/ 109 w 120"/>
                <a:gd name="T39" fmla="*/ 30 h 30"/>
                <a:gd name="T40" fmla="*/ 111 w 120"/>
                <a:gd name="T41" fmla="*/ 29 h 30"/>
                <a:gd name="T42" fmla="*/ 114 w 120"/>
                <a:gd name="T43" fmla="*/ 28 h 30"/>
                <a:gd name="T44" fmla="*/ 116 w 120"/>
                <a:gd name="T45" fmla="*/ 26 h 30"/>
                <a:gd name="T46" fmla="*/ 117 w 120"/>
                <a:gd name="T47" fmla="*/ 24 h 30"/>
                <a:gd name="T48" fmla="*/ 119 w 120"/>
                <a:gd name="T49" fmla="*/ 22 h 30"/>
                <a:gd name="T50" fmla="*/ 120 w 120"/>
                <a:gd name="T51" fmla="*/ 18 h 30"/>
                <a:gd name="T52" fmla="*/ 120 w 120"/>
                <a:gd name="T53" fmla="*/ 15 h 30"/>
                <a:gd name="T54" fmla="*/ 120 w 120"/>
                <a:gd name="T55" fmla="*/ 12 h 30"/>
                <a:gd name="T56" fmla="*/ 119 w 120"/>
                <a:gd name="T57" fmla="*/ 10 h 30"/>
                <a:gd name="T58" fmla="*/ 117 w 120"/>
                <a:gd name="T59" fmla="*/ 7 h 30"/>
                <a:gd name="T60" fmla="*/ 116 w 120"/>
                <a:gd name="T61" fmla="*/ 4 h 30"/>
                <a:gd name="T62" fmla="*/ 114 w 120"/>
                <a:gd name="T63" fmla="*/ 3 h 30"/>
                <a:gd name="T64" fmla="*/ 111 w 120"/>
                <a:gd name="T65" fmla="*/ 1 h 30"/>
                <a:gd name="T66" fmla="*/ 109 w 120"/>
                <a:gd name="T67" fmla="*/ 0 h 30"/>
                <a:gd name="T68" fmla="*/ 105 w 120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0" h="30">
                  <a:moveTo>
                    <a:pt x="105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9" y="1"/>
                  </a:lnTo>
                  <a:lnTo>
                    <a:pt x="7" y="3"/>
                  </a:lnTo>
                  <a:lnTo>
                    <a:pt x="5" y="4"/>
                  </a:lnTo>
                  <a:lnTo>
                    <a:pt x="2" y="7"/>
                  </a:lnTo>
                  <a:lnTo>
                    <a:pt x="1" y="10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2"/>
                  </a:lnTo>
                  <a:lnTo>
                    <a:pt x="2" y="24"/>
                  </a:lnTo>
                  <a:lnTo>
                    <a:pt x="5" y="26"/>
                  </a:lnTo>
                  <a:lnTo>
                    <a:pt x="7" y="28"/>
                  </a:lnTo>
                  <a:lnTo>
                    <a:pt x="9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105" y="30"/>
                  </a:lnTo>
                  <a:lnTo>
                    <a:pt x="109" y="30"/>
                  </a:lnTo>
                  <a:lnTo>
                    <a:pt x="111" y="29"/>
                  </a:lnTo>
                  <a:lnTo>
                    <a:pt x="114" y="28"/>
                  </a:lnTo>
                  <a:lnTo>
                    <a:pt x="116" y="26"/>
                  </a:lnTo>
                  <a:lnTo>
                    <a:pt x="117" y="24"/>
                  </a:lnTo>
                  <a:lnTo>
                    <a:pt x="119" y="22"/>
                  </a:lnTo>
                  <a:lnTo>
                    <a:pt x="120" y="18"/>
                  </a:lnTo>
                  <a:lnTo>
                    <a:pt x="120" y="15"/>
                  </a:lnTo>
                  <a:lnTo>
                    <a:pt x="120" y="12"/>
                  </a:lnTo>
                  <a:lnTo>
                    <a:pt x="119" y="10"/>
                  </a:lnTo>
                  <a:lnTo>
                    <a:pt x="117" y="7"/>
                  </a:lnTo>
                  <a:lnTo>
                    <a:pt x="116" y="4"/>
                  </a:lnTo>
                  <a:lnTo>
                    <a:pt x="114" y="3"/>
                  </a:lnTo>
                  <a:lnTo>
                    <a:pt x="111" y="1"/>
                  </a:lnTo>
                  <a:lnTo>
                    <a:pt x="109" y="0"/>
                  </a:lnTo>
                  <a:lnTo>
                    <a:pt x="10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65" name="Freeform 276"/>
            <p:cNvSpPr>
              <a:spLocks/>
            </p:cNvSpPr>
            <p:nvPr/>
          </p:nvSpPr>
          <p:spPr bwMode="auto">
            <a:xfrm>
              <a:off x="7042151" y="2041525"/>
              <a:ext cx="76200" cy="9525"/>
            </a:xfrm>
            <a:custGeom>
              <a:avLst/>
              <a:gdLst>
                <a:gd name="T0" fmla="*/ 15 w 241"/>
                <a:gd name="T1" fmla="*/ 30 h 30"/>
                <a:gd name="T2" fmla="*/ 226 w 241"/>
                <a:gd name="T3" fmla="*/ 30 h 30"/>
                <a:gd name="T4" fmla="*/ 230 w 241"/>
                <a:gd name="T5" fmla="*/ 29 h 30"/>
                <a:gd name="T6" fmla="*/ 232 w 241"/>
                <a:gd name="T7" fmla="*/ 29 h 30"/>
                <a:gd name="T8" fmla="*/ 235 w 241"/>
                <a:gd name="T9" fmla="*/ 27 h 30"/>
                <a:gd name="T10" fmla="*/ 237 w 241"/>
                <a:gd name="T11" fmla="*/ 26 h 30"/>
                <a:gd name="T12" fmla="*/ 239 w 241"/>
                <a:gd name="T13" fmla="*/ 23 h 30"/>
                <a:gd name="T14" fmla="*/ 240 w 241"/>
                <a:gd name="T15" fmla="*/ 21 h 30"/>
                <a:gd name="T16" fmla="*/ 241 w 241"/>
                <a:gd name="T17" fmla="*/ 18 h 30"/>
                <a:gd name="T18" fmla="*/ 241 w 241"/>
                <a:gd name="T19" fmla="*/ 15 h 30"/>
                <a:gd name="T20" fmla="*/ 241 w 241"/>
                <a:gd name="T21" fmla="*/ 12 h 30"/>
                <a:gd name="T22" fmla="*/ 240 w 241"/>
                <a:gd name="T23" fmla="*/ 9 h 30"/>
                <a:gd name="T24" fmla="*/ 239 w 241"/>
                <a:gd name="T25" fmla="*/ 7 h 30"/>
                <a:gd name="T26" fmla="*/ 237 w 241"/>
                <a:gd name="T27" fmla="*/ 5 h 30"/>
                <a:gd name="T28" fmla="*/ 235 w 241"/>
                <a:gd name="T29" fmla="*/ 3 h 30"/>
                <a:gd name="T30" fmla="*/ 232 w 241"/>
                <a:gd name="T31" fmla="*/ 1 h 30"/>
                <a:gd name="T32" fmla="*/ 230 w 241"/>
                <a:gd name="T33" fmla="*/ 0 h 30"/>
                <a:gd name="T34" fmla="*/ 226 w 241"/>
                <a:gd name="T35" fmla="*/ 0 h 30"/>
                <a:gd name="T36" fmla="*/ 15 w 241"/>
                <a:gd name="T37" fmla="*/ 0 h 30"/>
                <a:gd name="T38" fmla="*/ 13 w 241"/>
                <a:gd name="T39" fmla="*/ 0 h 30"/>
                <a:gd name="T40" fmla="*/ 10 w 241"/>
                <a:gd name="T41" fmla="*/ 1 h 30"/>
                <a:gd name="T42" fmla="*/ 8 w 241"/>
                <a:gd name="T43" fmla="*/ 3 h 30"/>
                <a:gd name="T44" fmla="*/ 4 w 241"/>
                <a:gd name="T45" fmla="*/ 5 h 30"/>
                <a:gd name="T46" fmla="*/ 3 w 241"/>
                <a:gd name="T47" fmla="*/ 7 h 30"/>
                <a:gd name="T48" fmla="*/ 1 w 241"/>
                <a:gd name="T49" fmla="*/ 9 h 30"/>
                <a:gd name="T50" fmla="*/ 1 w 241"/>
                <a:gd name="T51" fmla="*/ 12 h 30"/>
                <a:gd name="T52" fmla="*/ 0 w 241"/>
                <a:gd name="T53" fmla="*/ 15 h 30"/>
                <a:gd name="T54" fmla="*/ 1 w 241"/>
                <a:gd name="T55" fmla="*/ 18 h 30"/>
                <a:gd name="T56" fmla="*/ 1 w 241"/>
                <a:gd name="T57" fmla="*/ 21 h 30"/>
                <a:gd name="T58" fmla="*/ 3 w 241"/>
                <a:gd name="T59" fmla="*/ 23 h 30"/>
                <a:gd name="T60" fmla="*/ 4 w 241"/>
                <a:gd name="T61" fmla="*/ 26 h 30"/>
                <a:gd name="T62" fmla="*/ 8 w 241"/>
                <a:gd name="T63" fmla="*/ 27 h 30"/>
                <a:gd name="T64" fmla="*/ 10 w 241"/>
                <a:gd name="T65" fmla="*/ 29 h 30"/>
                <a:gd name="T66" fmla="*/ 13 w 241"/>
                <a:gd name="T67" fmla="*/ 29 h 30"/>
                <a:gd name="T68" fmla="*/ 15 w 241"/>
                <a:gd name="T69" fmla="*/ 30 h 30"/>
                <a:gd name="T70" fmla="*/ 15 w 241"/>
                <a:gd name="T7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41" h="30">
                  <a:moveTo>
                    <a:pt x="15" y="30"/>
                  </a:moveTo>
                  <a:lnTo>
                    <a:pt x="226" y="30"/>
                  </a:lnTo>
                  <a:lnTo>
                    <a:pt x="230" y="29"/>
                  </a:lnTo>
                  <a:lnTo>
                    <a:pt x="232" y="29"/>
                  </a:lnTo>
                  <a:lnTo>
                    <a:pt x="235" y="27"/>
                  </a:lnTo>
                  <a:lnTo>
                    <a:pt x="237" y="26"/>
                  </a:lnTo>
                  <a:lnTo>
                    <a:pt x="239" y="23"/>
                  </a:lnTo>
                  <a:lnTo>
                    <a:pt x="240" y="21"/>
                  </a:lnTo>
                  <a:lnTo>
                    <a:pt x="241" y="18"/>
                  </a:lnTo>
                  <a:lnTo>
                    <a:pt x="241" y="15"/>
                  </a:lnTo>
                  <a:lnTo>
                    <a:pt x="241" y="12"/>
                  </a:lnTo>
                  <a:lnTo>
                    <a:pt x="240" y="9"/>
                  </a:lnTo>
                  <a:lnTo>
                    <a:pt x="239" y="7"/>
                  </a:lnTo>
                  <a:lnTo>
                    <a:pt x="237" y="5"/>
                  </a:lnTo>
                  <a:lnTo>
                    <a:pt x="235" y="3"/>
                  </a:lnTo>
                  <a:lnTo>
                    <a:pt x="232" y="1"/>
                  </a:lnTo>
                  <a:lnTo>
                    <a:pt x="230" y="0"/>
                  </a:lnTo>
                  <a:lnTo>
                    <a:pt x="226" y="0"/>
                  </a:lnTo>
                  <a:lnTo>
                    <a:pt x="15" y="0"/>
                  </a:lnTo>
                  <a:lnTo>
                    <a:pt x="13" y="0"/>
                  </a:lnTo>
                  <a:lnTo>
                    <a:pt x="10" y="1"/>
                  </a:lnTo>
                  <a:lnTo>
                    <a:pt x="8" y="3"/>
                  </a:lnTo>
                  <a:lnTo>
                    <a:pt x="4" y="5"/>
                  </a:lnTo>
                  <a:lnTo>
                    <a:pt x="3" y="7"/>
                  </a:lnTo>
                  <a:lnTo>
                    <a:pt x="1" y="9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1" y="18"/>
                  </a:lnTo>
                  <a:lnTo>
                    <a:pt x="1" y="21"/>
                  </a:lnTo>
                  <a:lnTo>
                    <a:pt x="3" y="23"/>
                  </a:lnTo>
                  <a:lnTo>
                    <a:pt x="4" y="26"/>
                  </a:lnTo>
                  <a:lnTo>
                    <a:pt x="8" y="27"/>
                  </a:lnTo>
                  <a:lnTo>
                    <a:pt x="10" y="29"/>
                  </a:lnTo>
                  <a:lnTo>
                    <a:pt x="13" y="29"/>
                  </a:lnTo>
                  <a:lnTo>
                    <a:pt x="15" y="30"/>
                  </a:lnTo>
                  <a:lnTo>
                    <a:pt x="15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66" name="Freeform 277"/>
            <p:cNvSpPr>
              <a:spLocks/>
            </p:cNvSpPr>
            <p:nvPr/>
          </p:nvSpPr>
          <p:spPr bwMode="auto">
            <a:xfrm>
              <a:off x="7042151" y="2022475"/>
              <a:ext cx="76200" cy="9525"/>
            </a:xfrm>
            <a:custGeom>
              <a:avLst/>
              <a:gdLst>
                <a:gd name="T0" fmla="*/ 15 w 241"/>
                <a:gd name="T1" fmla="*/ 31 h 31"/>
                <a:gd name="T2" fmla="*/ 226 w 241"/>
                <a:gd name="T3" fmla="*/ 31 h 31"/>
                <a:gd name="T4" fmla="*/ 230 w 241"/>
                <a:gd name="T5" fmla="*/ 30 h 31"/>
                <a:gd name="T6" fmla="*/ 232 w 241"/>
                <a:gd name="T7" fmla="*/ 29 h 31"/>
                <a:gd name="T8" fmla="*/ 235 w 241"/>
                <a:gd name="T9" fmla="*/ 28 h 31"/>
                <a:gd name="T10" fmla="*/ 237 w 241"/>
                <a:gd name="T11" fmla="*/ 26 h 31"/>
                <a:gd name="T12" fmla="*/ 239 w 241"/>
                <a:gd name="T13" fmla="*/ 24 h 31"/>
                <a:gd name="T14" fmla="*/ 240 w 241"/>
                <a:gd name="T15" fmla="*/ 22 h 31"/>
                <a:gd name="T16" fmla="*/ 241 w 241"/>
                <a:gd name="T17" fmla="*/ 18 h 31"/>
                <a:gd name="T18" fmla="*/ 241 w 241"/>
                <a:gd name="T19" fmla="*/ 16 h 31"/>
                <a:gd name="T20" fmla="*/ 241 w 241"/>
                <a:gd name="T21" fmla="*/ 13 h 31"/>
                <a:gd name="T22" fmla="*/ 240 w 241"/>
                <a:gd name="T23" fmla="*/ 10 h 31"/>
                <a:gd name="T24" fmla="*/ 239 w 241"/>
                <a:gd name="T25" fmla="*/ 8 h 31"/>
                <a:gd name="T26" fmla="*/ 237 w 241"/>
                <a:gd name="T27" fmla="*/ 6 h 31"/>
                <a:gd name="T28" fmla="*/ 235 w 241"/>
                <a:gd name="T29" fmla="*/ 3 h 31"/>
                <a:gd name="T30" fmla="*/ 232 w 241"/>
                <a:gd name="T31" fmla="*/ 2 h 31"/>
                <a:gd name="T32" fmla="*/ 230 w 241"/>
                <a:gd name="T33" fmla="*/ 1 h 31"/>
                <a:gd name="T34" fmla="*/ 226 w 241"/>
                <a:gd name="T35" fmla="*/ 0 h 31"/>
                <a:gd name="T36" fmla="*/ 15 w 241"/>
                <a:gd name="T37" fmla="*/ 0 h 31"/>
                <a:gd name="T38" fmla="*/ 13 w 241"/>
                <a:gd name="T39" fmla="*/ 1 h 31"/>
                <a:gd name="T40" fmla="*/ 10 w 241"/>
                <a:gd name="T41" fmla="*/ 2 h 31"/>
                <a:gd name="T42" fmla="*/ 8 w 241"/>
                <a:gd name="T43" fmla="*/ 3 h 31"/>
                <a:gd name="T44" fmla="*/ 4 w 241"/>
                <a:gd name="T45" fmla="*/ 6 h 31"/>
                <a:gd name="T46" fmla="*/ 3 w 241"/>
                <a:gd name="T47" fmla="*/ 8 h 31"/>
                <a:gd name="T48" fmla="*/ 1 w 241"/>
                <a:gd name="T49" fmla="*/ 10 h 31"/>
                <a:gd name="T50" fmla="*/ 1 w 241"/>
                <a:gd name="T51" fmla="*/ 13 h 31"/>
                <a:gd name="T52" fmla="*/ 0 w 241"/>
                <a:gd name="T53" fmla="*/ 16 h 31"/>
                <a:gd name="T54" fmla="*/ 1 w 241"/>
                <a:gd name="T55" fmla="*/ 18 h 31"/>
                <a:gd name="T56" fmla="*/ 1 w 241"/>
                <a:gd name="T57" fmla="*/ 22 h 31"/>
                <a:gd name="T58" fmla="*/ 3 w 241"/>
                <a:gd name="T59" fmla="*/ 24 h 31"/>
                <a:gd name="T60" fmla="*/ 4 w 241"/>
                <a:gd name="T61" fmla="*/ 26 h 31"/>
                <a:gd name="T62" fmla="*/ 8 w 241"/>
                <a:gd name="T63" fmla="*/ 28 h 31"/>
                <a:gd name="T64" fmla="*/ 10 w 241"/>
                <a:gd name="T65" fmla="*/ 29 h 31"/>
                <a:gd name="T66" fmla="*/ 13 w 241"/>
                <a:gd name="T67" fmla="*/ 30 h 31"/>
                <a:gd name="T68" fmla="*/ 15 w 241"/>
                <a:gd name="T6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41" h="31">
                  <a:moveTo>
                    <a:pt x="15" y="31"/>
                  </a:moveTo>
                  <a:lnTo>
                    <a:pt x="226" y="31"/>
                  </a:lnTo>
                  <a:lnTo>
                    <a:pt x="230" y="30"/>
                  </a:lnTo>
                  <a:lnTo>
                    <a:pt x="232" y="29"/>
                  </a:lnTo>
                  <a:lnTo>
                    <a:pt x="235" y="28"/>
                  </a:lnTo>
                  <a:lnTo>
                    <a:pt x="237" y="26"/>
                  </a:lnTo>
                  <a:lnTo>
                    <a:pt x="239" y="24"/>
                  </a:lnTo>
                  <a:lnTo>
                    <a:pt x="240" y="22"/>
                  </a:lnTo>
                  <a:lnTo>
                    <a:pt x="241" y="18"/>
                  </a:lnTo>
                  <a:lnTo>
                    <a:pt x="241" y="16"/>
                  </a:lnTo>
                  <a:lnTo>
                    <a:pt x="241" y="13"/>
                  </a:lnTo>
                  <a:lnTo>
                    <a:pt x="240" y="10"/>
                  </a:lnTo>
                  <a:lnTo>
                    <a:pt x="239" y="8"/>
                  </a:lnTo>
                  <a:lnTo>
                    <a:pt x="237" y="6"/>
                  </a:lnTo>
                  <a:lnTo>
                    <a:pt x="235" y="3"/>
                  </a:lnTo>
                  <a:lnTo>
                    <a:pt x="232" y="2"/>
                  </a:lnTo>
                  <a:lnTo>
                    <a:pt x="230" y="1"/>
                  </a:lnTo>
                  <a:lnTo>
                    <a:pt x="226" y="0"/>
                  </a:lnTo>
                  <a:lnTo>
                    <a:pt x="15" y="0"/>
                  </a:lnTo>
                  <a:lnTo>
                    <a:pt x="13" y="1"/>
                  </a:lnTo>
                  <a:lnTo>
                    <a:pt x="10" y="2"/>
                  </a:lnTo>
                  <a:lnTo>
                    <a:pt x="8" y="3"/>
                  </a:lnTo>
                  <a:lnTo>
                    <a:pt x="4" y="6"/>
                  </a:lnTo>
                  <a:lnTo>
                    <a:pt x="3" y="8"/>
                  </a:lnTo>
                  <a:lnTo>
                    <a:pt x="1" y="10"/>
                  </a:lnTo>
                  <a:lnTo>
                    <a:pt x="1" y="13"/>
                  </a:lnTo>
                  <a:lnTo>
                    <a:pt x="0" y="16"/>
                  </a:lnTo>
                  <a:lnTo>
                    <a:pt x="1" y="18"/>
                  </a:lnTo>
                  <a:lnTo>
                    <a:pt x="1" y="22"/>
                  </a:lnTo>
                  <a:lnTo>
                    <a:pt x="3" y="24"/>
                  </a:lnTo>
                  <a:lnTo>
                    <a:pt x="4" y="26"/>
                  </a:lnTo>
                  <a:lnTo>
                    <a:pt x="8" y="28"/>
                  </a:lnTo>
                  <a:lnTo>
                    <a:pt x="10" y="29"/>
                  </a:lnTo>
                  <a:lnTo>
                    <a:pt x="13" y="30"/>
                  </a:lnTo>
                  <a:lnTo>
                    <a:pt x="15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67" name="Freeform 278"/>
            <p:cNvSpPr>
              <a:spLocks/>
            </p:cNvSpPr>
            <p:nvPr/>
          </p:nvSpPr>
          <p:spPr bwMode="auto">
            <a:xfrm>
              <a:off x="7042151" y="2060575"/>
              <a:ext cx="76200" cy="9525"/>
            </a:xfrm>
            <a:custGeom>
              <a:avLst/>
              <a:gdLst>
                <a:gd name="T0" fmla="*/ 15 w 241"/>
                <a:gd name="T1" fmla="*/ 31 h 31"/>
                <a:gd name="T2" fmla="*/ 226 w 241"/>
                <a:gd name="T3" fmla="*/ 31 h 31"/>
                <a:gd name="T4" fmla="*/ 230 w 241"/>
                <a:gd name="T5" fmla="*/ 31 h 31"/>
                <a:gd name="T6" fmla="*/ 232 w 241"/>
                <a:gd name="T7" fmla="*/ 29 h 31"/>
                <a:gd name="T8" fmla="*/ 235 w 241"/>
                <a:gd name="T9" fmla="*/ 27 h 31"/>
                <a:gd name="T10" fmla="*/ 237 w 241"/>
                <a:gd name="T11" fmla="*/ 26 h 31"/>
                <a:gd name="T12" fmla="*/ 239 w 241"/>
                <a:gd name="T13" fmla="*/ 24 h 31"/>
                <a:gd name="T14" fmla="*/ 240 w 241"/>
                <a:gd name="T15" fmla="*/ 21 h 31"/>
                <a:gd name="T16" fmla="*/ 241 w 241"/>
                <a:gd name="T17" fmla="*/ 19 h 31"/>
                <a:gd name="T18" fmla="*/ 241 w 241"/>
                <a:gd name="T19" fmla="*/ 16 h 31"/>
                <a:gd name="T20" fmla="*/ 241 w 241"/>
                <a:gd name="T21" fmla="*/ 12 h 31"/>
                <a:gd name="T22" fmla="*/ 240 w 241"/>
                <a:gd name="T23" fmla="*/ 9 h 31"/>
                <a:gd name="T24" fmla="*/ 239 w 241"/>
                <a:gd name="T25" fmla="*/ 7 h 31"/>
                <a:gd name="T26" fmla="*/ 237 w 241"/>
                <a:gd name="T27" fmla="*/ 5 h 31"/>
                <a:gd name="T28" fmla="*/ 235 w 241"/>
                <a:gd name="T29" fmla="*/ 3 h 31"/>
                <a:gd name="T30" fmla="*/ 232 w 241"/>
                <a:gd name="T31" fmla="*/ 2 h 31"/>
                <a:gd name="T32" fmla="*/ 230 w 241"/>
                <a:gd name="T33" fmla="*/ 0 h 31"/>
                <a:gd name="T34" fmla="*/ 226 w 241"/>
                <a:gd name="T35" fmla="*/ 0 h 31"/>
                <a:gd name="T36" fmla="*/ 15 w 241"/>
                <a:gd name="T37" fmla="*/ 0 h 31"/>
                <a:gd name="T38" fmla="*/ 13 w 241"/>
                <a:gd name="T39" fmla="*/ 0 h 31"/>
                <a:gd name="T40" fmla="*/ 10 w 241"/>
                <a:gd name="T41" fmla="*/ 2 h 31"/>
                <a:gd name="T42" fmla="*/ 8 w 241"/>
                <a:gd name="T43" fmla="*/ 3 h 31"/>
                <a:gd name="T44" fmla="*/ 4 w 241"/>
                <a:gd name="T45" fmla="*/ 5 h 31"/>
                <a:gd name="T46" fmla="*/ 3 w 241"/>
                <a:gd name="T47" fmla="*/ 7 h 31"/>
                <a:gd name="T48" fmla="*/ 1 w 241"/>
                <a:gd name="T49" fmla="*/ 9 h 31"/>
                <a:gd name="T50" fmla="*/ 1 w 241"/>
                <a:gd name="T51" fmla="*/ 12 h 31"/>
                <a:gd name="T52" fmla="*/ 0 w 241"/>
                <a:gd name="T53" fmla="*/ 16 h 31"/>
                <a:gd name="T54" fmla="*/ 1 w 241"/>
                <a:gd name="T55" fmla="*/ 19 h 31"/>
                <a:gd name="T56" fmla="*/ 1 w 241"/>
                <a:gd name="T57" fmla="*/ 21 h 31"/>
                <a:gd name="T58" fmla="*/ 3 w 241"/>
                <a:gd name="T59" fmla="*/ 24 h 31"/>
                <a:gd name="T60" fmla="*/ 4 w 241"/>
                <a:gd name="T61" fmla="*/ 26 h 31"/>
                <a:gd name="T62" fmla="*/ 8 w 241"/>
                <a:gd name="T63" fmla="*/ 27 h 31"/>
                <a:gd name="T64" fmla="*/ 10 w 241"/>
                <a:gd name="T65" fmla="*/ 29 h 31"/>
                <a:gd name="T66" fmla="*/ 13 w 241"/>
                <a:gd name="T67" fmla="*/ 31 h 31"/>
                <a:gd name="T68" fmla="*/ 15 w 241"/>
                <a:gd name="T6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41" h="31">
                  <a:moveTo>
                    <a:pt x="15" y="31"/>
                  </a:moveTo>
                  <a:lnTo>
                    <a:pt x="226" y="31"/>
                  </a:lnTo>
                  <a:lnTo>
                    <a:pt x="230" y="31"/>
                  </a:lnTo>
                  <a:lnTo>
                    <a:pt x="232" y="29"/>
                  </a:lnTo>
                  <a:lnTo>
                    <a:pt x="235" y="27"/>
                  </a:lnTo>
                  <a:lnTo>
                    <a:pt x="237" y="26"/>
                  </a:lnTo>
                  <a:lnTo>
                    <a:pt x="239" y="24"/>
                  </a:lnTo>
                  <a:lnTo>
                    <a:pt x="240" y="21"/>
                  </a:lnTo>
                  <a:lnTo>
                    <a:pt x="241" y="19"/>
                  </a:lnTo>
                  <a:lnTo>
                    <a:pt x="241" y="16"/>
                  </a:lnTo>
                  <a:lnTo>
                    <a:pt x="241" y="12"/>
                  </a:lnTo>
                  <a:lnTo>
                    <a:pt x="240" y="9"/>
                  </a:lnTo>
                  <a:lnTo>
                    <a:pt x="239" y="7"/>
                  </a:lnTo>
                  <a:lnTo>
                    <a:pt x="237" y="5"/>
                  </a:lnTo>
                  <a:lnTo>
                    <a:pt x="235" y="3"/>
                  </a:lnTo>
                  <a:lnTo>
                    <a:pt x="232" y="2"/>
                  </a:lnTo>
                  <a:lnTo>
                    <a:pt x="230" y="0"/>
                  </a:lnTo>
                  <a:lnTo>
                    <a:pt x="226" y="0"/>
                  </a:lnTo>
                  <a:lnTo>
                    <a:pt x="15" y="0"/>
                  </a:lnTo>
                  <a:lnTo>
                    <a:pt x="13" y="0"/>
                  </a:lnTo>
                  <a:lnTo>
                    <a:pt x="10" y="2"/>
                  </a:lnTo>
                  <a:lnTo>
                    <a:pt x="8" y="3"/>
                  </a:lnTo>
                  <a:lnTo>
                    <a:pt x="4" y="5"/>
                  </a:lnTo>
                  <a:lnTo>
                    <a:pt x="3" y="7"/>
                  </a:lnTo>
                  <a:lnTo>
                    <a:pt x="1" y="9"/>
                  </a:lnTo>
                  <a:lnTo>
                    <a:pt x="1" y="12"/>
                  </a:lnTo>
                  <a:lnTo>
                    <a:pt x="0" y="16"/>
                  </a:lnTo>
                  <a:lnTo>
                    <a:pt x="1" y="19"/>
                  </a:lnTo>
                  <a:lnTo>
                    <a:pt x="1" y="21"/>
                  </a:lnTo>
                  <a:lnTo>
                    <a:pt x="3" y="24"/>
                  </a:lnTo>
                  <a:lnTo>
                    <a:pt x="4" y="26"/>
                  </a:lnTo>
                  <a:lnTo>
                    <a:pt x="8" y="27"/>
                  </a:lnTo>
                  <a:lnTo>
                    <a:pt x="10" y="29"/>
                  </a:lnTo>
                  <a:lnTo>
                    <a:pt x="13" y="31"/>
                  </a:lnTo>
                  <a:lnTo>
                    <a:pt x="15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68" name="Freeform 279"/>
            <p:cNvSpPr>
              <a:spLocks/>
            </p:cNvSpPr>
            <p:nvPr/>
          </p:nvSpPr>
          <p:spPr bwMode="auto">
            <a:xfrm>
              <a:off x="7042151" y="2079625"/>
              <a:ext cx="76200" cy="9525"/>
            </a:xfrm>
            <a:custGeom>
              <a:avLst/>
              <a:gdLst>
                <a:gd name="T0" fmla="*/ 15 w 241"/>
                <a:gd name="T1" fmla="*/ 30 h 30"/>
                <a:gd name="T2" fmla="*/ 226 w 241"/>
                <a:gd name="T3" fmla="*/ 30 h 30"/>
                <a:gd name="T4" fmla="*/ 230 w 241"/>
                <a:gd name="T5" fmla="*/ 30 h 30"/>
                <a:gd name="T6" fmla="*/ 232 w 241"/>
                <a:gd name="T7" fmla="*/ 29 h 30"/>
                <a:gd name="T8" fmla="*/ 235 w 241"/>
                <a:gd name="T9" fmla="*/ 27 h 30"/>
                <a:gd name="T10" fmla="*/ 237 w 241"/>
                <a:gd name="T11" fmla="*/ 25 h 30"/>
                <a:gd name="T12" fmla="*/ 239 w 241"/>
                <a:gd name="T13" fmla="*/ 23 h 30"/>
                <a:gd name="T14" fmla="*/ 240 w 241"/>
                <a:gd name="T15" fmla="*/ 20 h 30"/>
                <a:gd name="T16" fmla="*/ 241 w 241"/>
                <a:gd name="T17" fmla="*/ 18 h 30"/>
                <a:gd name="T18" fmla="*/ 241 w 241"/>
                <a:gd name="T19" fmla="*/ 15 h 30"/>
                <a:gd name="T20" fmla="*/ 241 w 241"/>
                <a:gd name="T21" fmla="*/ 11 h 30"/>
                <a:gd name="T22" fmla="*/ 240 w 241"/>
                <a:gd name="T23" fmla="*/ 8 h 30"/>
                <a:gd name="T24" fmla="*/ 239 w 241"/>
                <a:gd name="T25" fmla="*/ 6 h 30"/>
                <a:gd name="T26" fmla="*/ 237 w 241"/>
                <a:gd name="T27" fmla="*/ 4 h 30"/>
                <a:gd name="T28" fmla="*/ 235 w 241"/>
                <a:gd name="T29" fmla="*/ 2 h 30"/>
                <a:gd name="T30" fmla="*/ 232 w 241"/>
                <a:gd name="T31" fmla="*/ 1 h 30"/>
                <a:gd name="T32" fmla="*/ 230 w 241"/>
                <a:gd name="T33" fmla="*/ 0 h 30"/>
                <a:gd name="T34" fmla="*/ 226 w 241"/>
                <a:gd name="T35" fmla="*/ 0 h 30"/>
                <a:gd name="T36" fmla="*/ 15 w 241"/>
                <a:gd name="T37" fmla="*/ 0 h 30"/>
                <a:gd name="T38" fmla="*/ 13 w 241"/>
                <a:gd name="T39" fmla="*/ 0 h 30"/>
                <a:gd name="T40" fmla="*/ 10 w 241"/>
                <a:gd name="T41" fmla="*/ 1 h 30"/>
                <a:gd name="T42" fmla="*/ 8 w 241"/>
                <a:gd name="T43" fmla="*/ 2 h 30"/>
                <a:gd name="T44" fmla="*/ 4 w 241"/>
                <a:gd name="T45" fmla="*/ 4 h 30"/>
                <a:gd name="T46" fmla="*/ 3 w 241"/>
                <a:gd name="T47" fmla="*/ 6 h 30"/>
                <a:gd name="T48" fmla="*/ 1 w 241"/>
                <a:gd name="T49" fmla="*/ 8 h 30"/>
                <a:gd name="T50" fmla="*/ 1 w 241"/>
                <a:gd name="T51" fmla="*/ 11 h 30"/>
                <a:gd name="T52" fmla="*/ 0 w 241"/>
                <a:gd name="T53" fmla="*/ 15 h 30"/>
                <a:gd name="T54" fmla="*/ 1 w 241"/>
                <a:gd name="T55" fmla="*/ 18 h 30"/>
                <a:gd name="T56" fmla="*/ 1 w 241"/>
                <a:gd name="T57" fmla="*/ 20 h 30"/>
                <a:gd name="T58" fmla="*/ 3 w 241"/>
                <a:gd name="T59" fmla="*/ 23 h 30"/>
                <a:gd name="T60" fmla="*/ 4 w 241"/>
                <a:gd name="T61" fmla="*/ 25 h 30"/>
                <a:gd name="T62" fmla="*/ 8 w 241"/>
                <a:gd name="T63" fmla="*/ 27 h 30"/>
                <a:gd name="T64" fmla="*/ 10 w 241"/>
                <a:gd name="T65" fmla="*/ 29 h 30"/>
                <a:gd name="T66" fmla="*/ 13 w 241"/>
                <a:gd name="T67" fmla="*/ 30 h 30"/>
                <a:gd name="T68" fmla="*/ 15 w 241"/>
                <a:gd name="T69" fmla="*/ 30 h 30"/>
                <a:gd name="T70" fmla="*/ 15 w 241"/>
                <a:gd name="T7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41" h="30">
                  <a:moveTo>
                    <a:pt x="15" y="30"/>
                  </a:moveTo>
                  <a:lnTo>
                    <a:pt x="226" y="30"/>
                  </a:lnTo>
                  <a:lnTo>
                    <a:pt x="230" y="30"/>
                  </a:lnTo>
                  <a:lnTo>
                    <a:pt x="232" y="29"/>
                  </a:lnTo>
                  <a:lnTo>
                    <a:pt x="235" y="27"/>
                  </a:lnTo>
                  <a:lnTo>
                    <a:pt x="237" y="25"/>
                  </a:lnTo>
                  <a:lnTo>
                    <a:pt x="239" y="23"/>
                  </a:lnTo>
                  <a:lnTo>
                    <a:pt x="240" y="20"/>
                  </a:lnTo>
                  <a:lnTo>
                    <a:pt x="241" y="18"/>
                  </a:lnTo>
                  <a:lnTo>
                    <a:pt x="241" y="15"/>
                  </a:lnTo>
                  <a:lnTo>
                    <a:pt x="241" y="11"/>
                  </a:lnTo>
                  <a:lnTo>
                    <a:pt x="240" y="8"/>
                  </a:lnTo>
                  <a:lnTo>
                    <a:pt x="239" y="6"/>
                  </a:lnTo>
                  <a:lnTo>
                    <a:pt x="237" y="4"/>
                  </a:lnTo>
                  <a:lnTo>
                    <a:pt x="235" y="2"/>
                  </a:lnTo>
                  <a:lnTo>
                    <a:pt x="232" y="1"/>
                  </a:lnTo>
                  <a:lnTo>
                    <a:pt x="230" y="0"/>
                  </a:lnTo>
                  <a:lnTo>
                    <a:pt x="226" y="0"/>
                  </a:lnTo>
                  <a:lnTo>
                    <a:pt x="15" y="0"/>
                  </a:lnTo>
                  <a:lnTo>
                    <a:pt x="13" y="0"/>
                  </a:lnTo>
                  <a:lnTo>
                    <a:pt x="10" y="1"/>
                  </a:lnTo>
                  <a:lnTo>
                    <a:pt x="8" y="2"/>
                  </a:lnTo>
                  <a:lnTo>
                    <a:pt x="4" y="4"/>
                  </a:lnTo>
                  <a:lnTo>
                    <a:pt x="3" y="6"/>
                  </a:lnTo>
                  <a:lnTo>
                    <a:pt x="1" y="8"/>
                  </a:lnTo>
                  <a:lnTo>
                    <a:pt x="1" y="11"/>
                  </a:lnTo>
                  <a:lnTo>
                    <a:pt x="0" y="15"/>
                  </a:lnTo>
                  <a:lnTo>
                    <a:pt x="1" y="18"/>
                  </a:lnTo>
                  <a:lnTo>
                    <a:pt x="1" y="20"/>
                  </a:lnTo>
                  <a:lnTo>
                    <a:pt x="3" y="23"/>
                  </a:lnTo>
                  <a:lnTo>
                    <a:pt x="4" y="25"/>
                  </a:lnTo>
                  <a:lnTo>
                    <a:pt x="8" y="27"/>
                  </a:lnTo>
                  <a:lnTo>
                    <a:pt x="10" y="29"/>
                  </a:lnTo>
                  <a:lnTo>
                    <a:pt x="13" y="30"/>
                  </a:lnTo>
                  <a:lnTo>
                    <a:pt x="15" y="30"/>
                  </a:lnTo>
                  <a:lnTo>
                    <a:pt x="15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69" name="Freeform 280"/>
            <p:cNvSpPr>
              <a:spLocks/>
            </p:cNvSpPr>
            <p:nvPr/>
          </p:nvSpPr>
          <p:spPr bwMode="auto">
            <a:xfrm>
              <a:off x="7042151" y="2098675"/>
              <a:ext cx="76200" cy="9525"/>
            </a:xfrm>
            <a:custGeom>
              <a:avLst/>
              <a:gdLst>
                <a:gd name="T0" fmla="*/ 15 w 241"/>
                <a:gd name="T1" fmla="*/ 30 h 30"/>
                <a:gd name="T2" fmla="*/ 226 w 241"/>
                <a:gd name="T3" fmla="*/ 30 h 30"/>
                <a:gd name="T4" fmla="*/ 230 w 241"/>
                <a:gd name="T5" fmla="*/ 30 h 30"/>
                <a:gd name="T6" fmla="*/ 232 w 241"/>
                <a:gd name="T7" fmla="*/ 29 h 30"/>
                <a:gd name="T8" fmla="*/ 235 w 241"/>
                <a:gd name="T9" fmla="*/ 28 h 30"/>
                <a:gd name="T10" fmla="*/ 237 w 241"/>
                <a:gd name="T11" fmla="*/ 25 h 30"/>
                <a:gd name="T12" fmla="*/ 239 w 241"/>
                <a:gd name="T13" fmla="*/ 23 h 30"/>
                <a:gd name="T14" fmla="*/ 240 w 241"/>
                <a:gd name="T15" fmla="*/ 21 h 30"/>
                <a:gd name="T16" fmla="*/ 241 w 241"/>
                <a:gd name="T17" fmla="*/ 18 h 30"/>
                <a:gd name="T18" fmla="*/ 241 w 241"/>
                <a:gd name="T19" fmla="*/ 15 h 30"/>
                <a:gd name="T20" fmla="*/ 241 w 241"/>
                <a:gd name="T21" fmla="*/ 11 h 30"/>
                <a:gd name="T22" fmla="*/ 240 w 241"/>
                <a:gd name="T23" fmla="*/ 9 h 30"/>
                <a:gd name="T24" fmla="*/ 239 w 241"/>
                <a:gd name="T25" fmla="*/ 6 h 30"/>
                <a:gd name="T26" fmla="*/ 237 w 241"/>
                <a:gd name="T27" fmla="*/ 4 h 30"/>
                <a:gd name="T28" fmla="*/ 235 w 241"/>
                <a:gd name="T29" fmla="*/ 2 h 30"/>
                <a:gd name="T30" fmla="*/ 232 w 241"/>
                <a:gd name="T31" fmla="*/ 1 h 30"/>
                <a:gd name="T32" fmla="*/ 230 w 241"/>
                <a:gd name="T33" fmla="*/ 0 h 30"/>
                <a:gd name="T34" fmla="*/ 226 w 241"/>
                <a:gd name="T35" fmla="*/ 0 h 30"/>
                <a:gd name="T36" fmla="*/ 15 w 241"/>
                <a:gd name="T37" fmla="*/ 0 h 30"/>
                <a:gd name="T38" fmla="*/ 13 w 241"/>
                <a:gd name="T39" fmla="*/ 0 h 30"/>
                <a:gd name="T40" fmla="*/ 10 w 241"/>
                <a:gd name="T41" fmla="*/ 1 h 30"/>
                <a:gd name="T42" fmla="*/ 8 w 241"/>
                <a:gd name="T43" fmla="*/ 2 h 30"/>
                <a:gd name="T44" fmla="*/ 4 w 241"/>
                <a:gd name="T45" fmla="*/ 4 h 30"/>
                <a:gd name="T46" fmla="*/ 3 w 241"/>
                <a:gd name="T47" fmla="*/ 6 h 30"/>
                <a:gd name="T48" fmla="*/ 1 w 241"/>
                <a:gd name="T49" fmla="*/ 9 h 30"/>
                <a:gd name="T50" fmla="*/ 1 w 241"/>
                <a:gd name="T51" fmla="*/ 11 h 30"/>
                <a:gd name="T52" fmla="*/ 0 w 241"/>
                <a:gd name="T53" fmla="*/ 15 h 30"/>
                <a:gd name="T54" fmla="*/ 1 w 241"/>
                <a:gd name="T55" fmla="*/ 18 h 30"/>
                <a:gd name="T56" fmla="*/ 1 w 241"/>
                <a:gd name="T57" fmla="*/ 21 h 30"/>
                <a:gd name="T58" fmla="*/ 3 w 241"/>
                <a:gd name="T59" fmla="*/ 23 h 30"/>
                <a:gd name="T60" fmla="*/ 4 w 241"/>
                <a:gd name="T61" fmla="*/ 25 h 30"/>
                <a:gd name="T62" fmla="*/ 8 w 241"/>
                <a:gd name="T63" fmla="*/ 28 h 30"/>
                <a:gd name="T64" fmla="*/ 10 w 241"/>
                <a:gd name="T65" fmla="*/ 29 h 30"/>
                <a:gd name="T66" fmla="*/ 13 w 241"/>
                <a:gd name="T67" fmla="*/ 30 h 30"/>
                <a:gd name="T68" fmla="*/ 15 w 241"/>
                <a:gd name="T69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41" h="30">
                  <a:moveTo>
                    <a:pt x="15" y="30"/>
                  </a:moveTo>
                  <a:lnTo>
                    <a:pt x="226" y="30"/>
                  </a:lnTo>
                  <a:lnTo>
                    <a:pt x="230" y="30"/>
                  </a:lnTo>
                  <a:lnTo>
                    <a:pt x="232" y="29"/>
                  </a:lnTo>
                  <a:lnTo>
                    <a:pt x="235" y="28"/>
                  </a:lnTo>
                  <a:lnTo>
                    <a:pt x="237" y="25"/>
                  </a:lnTo>
                  <a:lnTo>
                    <a:pt x="239" y="23"/>
                  </a:lnTo>
                  <a:lnTo>
                    <a:pt x="240" y="21"/>
                  </a:lnTo>
                  <a:lnTo>
                    <a:pt x="241" y="18"/>
                  </a:lnTo>
                  <a:lnTo>
                    <a:pt x="241" y="15"/>
                  </a:lnTo>
                  <a:lnTo>
                    <a:pt x="241" y="11"/>
                  </a:lnTo>
                  <a:lnTo>
                    <a:pt x="240" y="9"/>
                  </a:lnTo>
                  <a:lnTo>
                    <a:pt x="239" y="6"/>
                  </a:lnTo>
                  <a:lnTo>
                    <a:pt x="237" y="4"/>
                  </a:lnTo>
                  <a:lnTo>
                    <a:pt x="235" y="2"/>
                  </a:lnTo>
                  <a:lnTo>
                    <a:pt x="232" y="1"/>
                  </a:lnTo>
                  <a:lnTo>
                    <a:pt x="230" y="0"/>
                  </a:lnTo>
                  <a:lnTo>
                    <a:pt x="226" y="0"/>
                  </a:lnTo>
                  <a:lnTo>
                    <a:pt x="15" y="0"/>
                  </a:lnTo>
                  <a:lnTo>
                    <a:pt x="13" y="0"/>
                  </a:lnTo>
                  <a:lnTo>
                    <a:pt x="10" y="1"/>
                  </a:lnTo>
                  <a:lnTo>
                    <a:pt x="8" y="2"/>
                  </a:lnTo>
                  <a:lnTo>
                    <a:pt x="4" y="4"/>
                  </a:lnTo>
                  <a:lnTo>
                    <a:pt x="3" y="6"/>
                  </a:lnTo>
                  <a:lnTo>
                    <a:pt x="1" y="9"/>
                  </a:lnTo>
                  <a:lnTo>
                    <a:pt x="1" y="11"/>
                  </a:lnTo>
                  <a:lnTo>
                    <a:pt x="0" y="15"/>
                  </a:lnTo>
                  <a:lnTo>
                    <a:pt x="1" y="18"/>
                  </a:lnTo>
                  <a:lnTo>
                    <a:pt x="1" y="21"/>
                  </a:lnTo>
                  <a:lnTo>
                    <a:pt x="3" y="23"/>
                  </a:lnTo>
                  <a:lnTo>
                    <a:pt x="4" y="25"/>
                  </a:lnTo>
                  <a:lnTo>
                    <a:pt x="8" y="28"/>
                  </a:lnTo>
                  <a:lnTo>
                    <a:pt x="10" y="29"/>
                  </a:lnTo>
                  <a:lnTo>
                    <a:pt x="13" y="30"/>
                  </a:lnTo>
                  <a:lnTo>
                    <a:pt x="15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70" name="Freeform 281"/>
            <p:cNvSpPr>
              <a:spLocks/>
            </p:cNvSpPr>
            <p:nvPr/>
          </p:nvSpPr>
          <p:spPr bwMode="auto">
            <a:xfrm>
              <a:off x="7042151" y="2117725"/>
              <a:ext cx="76200" cy="9525"/>
            </a:xfrm>
            <a:custGeom>
              <a:avLst/>
              <a:gdLst>
                <a:gd name="T0" fmla="*/ 15 w 241"/>
                <a:gd name="T1" fmla="*/ 30 h 30"/>
                <a:gd name="T2" fmla="*/ 226 w 241"/>
                <a:gd name="T3" fmla="*/ 30 h 30"/>
                <a:gd name="T4" fmla="*/ 230 w 241"/>
                <a:gd name="T5" fmla="*/ 30 h 30"/>
                <a:gd name="T6" fmla="*/ 232 w 241"/>
                <a:gd name="T7" fmla="*/ 29 h 30"/>
                <a:gd name="T8" fmla="*/ 235 w 241"/>
                <a:gd name="T9" fmla="*/ 28 h 30"/>
                <a:gd name="T10" fmla="*/ 237 w 241"/>
                <a:gd name="T11" fmla="*/ 25 h 30"/>
                <a:gd name="T12" fmla="*/ 239 w 241"/>
                <a:gd name="T13" fmla="*/ 23 h 30"/>
                <a:gd name="T14" fmla="*/ 240 w 241"/>
                <a:gd name="T15" fmla="*/ 21 h 30"/>
                <a:gd name="T16" fmla="*/ 241 w 241"/>
                <a:gd name="T17" fmla="*/ 18 h 30"/>
                <a:gd name="T18" fmla="*/ 241 w 241"/>
                <a:gd name="T19" fmla="*/ 15 h 30"/>
                <a:gd name="T20" fmla="*/ 241 w 241"/>
                <a:gd name="T21" fmla="*/ 12 h 30"/>
                <a:gd name="T22" fmla="*/ 240 w 241"/>
                <a:gd name="T23" fmla="*/ 9 h 30"/>
                <a:gd name="T24" fmla="*/ 239 w 241"/>
                <a:gd name="T25" fmla="*/ 6 h 30"/>
                <a:gd name="T26" fmla="*/ 237 w 241"/>
                <a:gd name="T27" fmla="*/ 4 h 30"/>
                <a:gd name="T28" fmla="*/ 235 w 241"/>
                <a:gd name="T29" fmla="*/ 3 h 30"/>
                <a:gd name="T30" fmla="*/ 232 w 241"/>
                <a:gd name="T31" fmla="*/ 1 h 30"/>
                <a:gd name="T32" fmla="*/ 230 w 241"/>
                <a:gd name="T33" fmla="*/ 0 h 30"/>
                <a:gd name="T34" fmla="*/ 226 w 241"/>
                <a:gd name="T35" fmla="*/ 0 h 30"/>
                <a:gd name="T36" fmla="*/ 15 w 241"/>
                <a:gd name="T37" fmla="*/ 0 h 30"/>
                <a:gd name="T38" fmla="*/ 13 w 241"/>
                <a:gd name="T39" fmla="*/ 0 h 30"/>
                <a:gd name="T40" fmla="*/ 10 w 241"/>
                <a:gd name="T41" fmla="*/ 1 h 30"/>
                <a:gd name="T42" fmla="*/ 8 w 241"/>
                <a:gd name="T43" fmla="*/ 3 h 30"/>
                <a:gd name="T44" fmla="*/ 4 w 241"/>
                <a:gd name="T45" fmla="*/ 4 h 30"/>
                <a:gd name="T46" fmla="*/ 3 w 241"/>
                <a:gd name="T47" fmla="*/ 6 h 30"/>
                <a:gd name="T48" fmla="*/ 1 w 241"/>
                <a:gd name="T49" fmla="*/ 9 h 30"/>
                <a:gd name="T50" fmla="*/ 1 w 241"/>
                <a:gd name="T51" fmla="*/ 12 h 30"/>
                <a:gd name="T52" fmla="*/ 0 w 241"/>
                <a:gd name="T53" fmla="*/ 15 h 30"/>
                <a:gd name="T54" fmla="*/ 1 w 241"/>
                <a:gd name="T55" fmla="*/ 18 h 30"/>
                <a:gd name="T56" fmla="*/ 1 w 241"/>
                <a:gd name="T57" fmla="*/ 21 h 30"/>
                <a:gd name="T58" fmla="*/ 3 w 241"/>
                <a:gd name="T59" fmla="*/ 23 h 30"/>
                <a:gd name="T60" fmla="*/ 4 w 241"/>
                <a:gd name="T61" fmla="*/ 25 h 30"/>
                <a:gd name="T62" fmla="*/ 8 w 241"/>
                <a:gd name="T63" fmla="*/ 28 h 30"/>
                <a:gd name="T64" fmla="*/ 10 w 241"/>
                <a:gd name="T65" fmla="*/ 29 h 30"/>
                <a:gd name="T66" fmla="*/ 13 w 241"/>
                <a:gd name="T67" fmla="*/ 30 h 30"/>
                <a:gd name="T68" fmla="*/ 15 w 241"/>
                <a:gd name="T69" fmla="*/ 30 h 30"/>
                <a:gd name="T70" fmla="*/ 15 w 241"/>
                <a:gd name="T7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41" h="30">
                  <a:moveTo>
                    <a:pt x="15" y="30"/>
                  </a:moveTo>
                  <a:lnTo>
                    <a:pt x="226" y="30"/>
                  </a:lnTo>
                  <a:lnTo>
                    <a:pt x="230" y="30"/>
                  </a:lnTo>
                  <a:lnTo>
                    <a:pt x="232" y="29"/>
                  </a:lnTo>
                  <a:lnTo>
                    <a:pt x="235" y="28"/>
                  </a:lnTo>
                  <a:lnTo>
                    <a:pt x="237" y="25"/>
                  </a:lnTo>
                  <a:lnTo>
                    <a:pt x="239" y="23"/>
                  </a:lnTo>
                  <a:lnTo>
                    <a:pt x="240" y="21"/>
                  </a:lnTo>
                  <a:lnTo>
                    <a:pt x="241" y="18"/>
                  </a:lnTo>
                  <a:lnTo>
                    <a:pt x="241" y="15"/>
                  </a:lnTo>
                  <a:lnTo>
                    <a:pt x="241" y="12"/>
                  </a:lnTo>
                  <a:lnTo>
                    <a:pt x="240" y="9"/>
                  </a:lnTo>
                  <a:lnTo>
                    <a:pt x="239" y="6"/>
                  </a:lnTo>
                  <a:lnTo>
                    <a:pt x="237" y="4"/>
                  </a:lnTo>
                  <a:lnTo>
                    <a:pt x="235" y="3"/>
                  </a:lnTo>
                  <a:lnTo>
                    <a:pt x="232" y="1"/>
                  </a:lnTo>
                  <a:lnTo>
                    <a:pt x="230" y="0"/>
                  </a:lnTo>
                  <a:lnTo>
                    <a:pt x="226" y="0"/>
                  </a:lnTo>
                  <a:lnTo>
                    <a:pt x="15" y="0"/>
                  </a:lnTo>
                  <a:lnTo>
                    <a:pt x="13" y="0"/>
                  </a:lnTo>
                  <a:lnTo>
                    <a:pt x="10" y="1"/>
                  </a:lnTo>
                  <a:lnTo>
                    <a:pt x="8" y="3"/>
                  </a:lnTo>
                  <a:lnTo>
                    <a:pt x="4" y="4"/>
                  </a:lnTo>
                  <a:lnTo>
                    <a:pt x="3" y="6"/>
                  </a:lnTo>
                  <a:lnTo>
                    <a:pt x="1" y="9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1" y="18"/>
                  </a:lnTo>
                  <a:lnTo>
                    <a:pt x="1" y="21"/>
                  </a:lnTo>
                  <a:lnTo>
                    <a:pt x="3" y="23"/>
                  </a:lnTo>
                  <a:lnTo>
                    <a:pt x="4" y="25"/>
                  </a:lnTo>
                  <a:lnTo>
                    <a:pt x="8" y="28"/>
                  </a:lnTo>
                  <a:lnTo>
                    <a:pt x="10" y="29"/>
                  </a:lnTo>
                  <a:lnTo>
                    <a:pt x="13" y="30"/>
                  </a:lnTo>
                  <a:lnTo>
                    <a:pt x="15" y="30"/>
                  </a:lnTo>
                  <a:lnTo>
                    <a:pt x="15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71" name="Freeform 282"/>
            <p:cNvSpPr>
              <a:spLocks/>
            </p:cNvSpPr>
            <p:nvPr/>
          </p:nvSpPr>
          <p:spPr bwMode="auto">
            <a:xfrm>
              <a:off x="7042151" y="2136775"/>
              <a:ext cx="76200" cy="9525"/>
            </a:xfrm>
            <a:custGeom>
              <a:avLst/>
              <a:gdLst>
                <a:gd name="T0" fmla="*/ 226 w 241"/>
                <a:gd name="T1" fmla="*/ 30 h 30"/>
                <a:gd name="T2" fmla="*/ 230 w 241"/>
                <a:gd name="T3" fmla="*/ 30 h 30"/>
                <a:gd name="T4" fmla="*/ 232 w 241"/>
                <a:gd name="T5" fmla="*/ 29 h 30"/>
                <a:gd name="T6" fmla="*/ 235 w 241"/>
                <a:gd name="T7" fmla="*/ 28 h 30"/>
                <a:gd name="T8" fmla="*/ 237 w 241"/>
                <a:gd name="T9" fmla="*/ 26 h 30"/>
                <a:gd name="T10" fmla="*/ 239 w 241"/>
                <a:gd name="T11" fmla="*/ 23 h 30"/>
                <a:gd name="T12" fmla="*/ 240 w 241"/>
                <a:gd name="T13" fmla="*/ 21 h 30"/>
                <a:gd name="T14" fmla="*/ 241 w 241"/>
                <a:gd name="T15" fmla="*/ 18 h 30"/>
                <a:gd name="T16" fmla="*/ 241 w 241"/>
                <a:gd name="T17" fmla="*/ 15 h 30"/>
                <a:gd name="T18" fmla="*/ 241 w 241"/>
                <a:gd name="T19" fmla="*/ 13 h 30"/>
                <a:gd name="T20" fmla="*/ 240 w 241"/>
                <a:gd name="T21" fmla="*/ 9 h 30"/>
                <a:gd name="T22" fmla="*/ 239 w 241"/>
                <a:gd name="T23" fmla="*/ 6 h 30"/>
                <a:gd name="T24" fmla="*/ 237 w 241"/>
                <a:gd name="T25" fmla="*/ 4 h 30"/>
                <a:gd name="T26" fmla="*/ 235 w 241"/>
                <a:gd name="T27" fmla="*/ 3 h 30"/>
                <a:gd name="T28" fmla="*/ 232 w 241"/>
                <a:gd name="T29" fmla="*/ 1 h 30"/>
                <a:gd name="T30" fmla="*/ 230 w 241"/>
                <a:gd name="T31" fmla="*/ 1 h 30"/>
                <a:gd name="T32" fmla="*/ 226 w 241"/>
                <a:gd name="T33" fmla="*/ 0 h 30"/>
                <a:gd name="T34" fmla="*/ 15 w 241"/>
                <a:gd name="T35" fmla="*/ 0 h 30"/>
                <a:gd name="T36" fmla="*/ 13 w 241"/>
                <a:gd name="T37" fmla="*/ 1 h 30"/>
                <a:gd name="T38" fmla="*/ 10 w 241"/>
                <a:gd name="T39" fmla="*/ 1 h 30"/>
                <a:gd name="T40" fmla="*/ 8 w 241"/>
                <a:gd name="T41" fmla="*/ 3 h 30"/>
                <a:gd name="T42" fmla="*/ 4 w 241"/>
                <a:gd name="T43" fmla="*/ 4 h 30"/>
                <a:gd name="T44" fmla="*/ 3 w 241"/>
                <a:gd name="T45" fmla="*/ 6 h 30"/>
                <a:gd name="T46" fmla="*/ 1 w 241"/>
                <a:gd name="T47" fmla="*/ 9 h 30"/>
                <a:gd name="T48" fmla="*/ 1 w 241"/>
                <a:gd name="T49" fmla="*/ 13 h 30"/>
                <a:gd name="T50" fmla="*/ 0 w 241"/>
                <a:gd name="T51" fmla="*/ 15 h 30"/>
                <a:gd name="T52" fmla="*/ 1 w 241"/>
                <a:gd name="T53" fmla="*/ 18 h 30"/>
                <a:gd name="T54" fmla="*/ 1 w 241"/>
                <a:gd name="T55" fmla="*/ 21 h 30"/>
                <a:gd name="T56" fmla="*/ 3 w 241"/>
                <a:gd name="T57" fmla="*/ 23 h 30"/>
                <a:gd name="T58" fmla="*/ 4 w 241"/>
                <a:gd name="T59" fmla="*/ 26 h 30"/>
                <a:gd name="T60" fmla="*/ 8 w 241"/>
                <a:gd name="T61" fmla="*/ 28 h 30"/>
                <a:gd name="T62" fmla="*/ 10 w 241"/>
                <a:gd name="T63" fmla="*/ 29 h 30"/>
                <a:gd name="T64" fmla="*/ 13 w 241"/>
                <a:gd name="T65" fmla="*/ 30 h 30"/>
                <a:gd name="T66" fmla="*/ 15 w 241"/>
                <a:gd name="T67" fmla="*/ 30 h 30"/>
                <a:gd name="T68" fmla="*/ 226 w 241"/>
                <a:gd name="T69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41" h="30">
                  <a:moveTo>
                    <a:pt x="226" y="30"/>
                  </a:moveTo>
                  <a:lnTo>
                    <a:pt x="230" y="30"/>
                  </a:lnTo>
                  <a:lnTo>
                    <a:pt x="232" y="29"/>
                  </a:lnTo>
                  <a:lnTo>
                    <a:pt x="235" y="28"/>
                  </a:lnTo>
                  <a:lnTo>
                    <a:pt x="237" y="26"/>
                  </a:lnTo>
                  <a:lnTo>
                    <a:pt x="239" y="23"/>
                  </a:lnTo>
                  <a:lnTo>
                    <a:pt x="240" y="21"/>
                  </a:lnTo>
                  <a:lnTo>
                    <a:pt x="241" y="18"/>
                  </a:lnTo>
                  <a:lnTo>
                    <a:pt x="241" y="15"/>
                  </a:lnTo>
                  <a:lnTo>
                    <a:pt x="241" y="13"/>
                  </a:lnTo>
                  <a:lnTo>
                    <a:pt x="240" y="9"/>
                  </a:lnTo>
                  <a:lnTo>
                    <a:pt x="239" y="6"/>
                  </a:lnTo>
                  <a:lnTo>
                    <a:pt x="237" y="4"/>
                  </a:lnTo>
                  <a:lnTo>
                    <a:pt x="235" y="3"/>
                  </a:lnTo>
                  <a:lnTo>
                    <a:pt x="232" y="1"/>
                  </a:lnTo>
                  <a:lnTo>
                    <a:pt x="230" y="1"/>
                  </a:lnTo>
                  <a:lnTo>
                    <a:pt x="226" y="0"/>
                  </a:lnTo>
                  <a:lnTo>
                    <a:pt x="15" y="0"/>
                  </a:lnTo>
                  <a:lnTo>
                    <a:pt x="13" y="1"/>
                  </a:lnTo>
                  <a:lnTo>
                    <a:pt x="10" y="1"/>
                  </a:lnTo>
                  <a:lnTo>
                    <a:pt x="8" y="3"/>
                  </a:lnTo>
                  <a:lnTo>
                    <a:pt x="4" y="4"/>
                  </a:lnTo>
                  <a:lnTo>
                    <a:pt x="3" y="6"/>
                  </a:lnTo>
                  <a:lnTo>
                    <a:pt x="1" y="9"/>
                  </a:lnTo>
                  <a:lnTo>
                    <a:pt x="1" y="13"/>
                  </a:lnTo>
                  <a:lnTo>
                    <a:pt x="0" y="15"/>
                  </a:lnTo>
                  <a:lnTo>
                    <a:pt x="1" y="18"/>
                  </a:lnTo>
                  <a:lnTo>
                    <a:pt x="1" y="21"/>
                  </a:lnTo>
                  <a:lnTo>
                    <a:pt x="3" y="23"/>
                  </a:lnTo>
                  <a:lnTo>
                    <a:pt x="4" y="26"/>
                  </a:lnTo>
                  <a:lnTo>
                    <a:pt x="8" y="28"/>
                  </a:lnTo>
                  <a:lnTo>
                    <a:pt x="10" y="29"/>
                  </a:lnTo>
                  <a:lnTo>
                    <a:pt x="13" y="30"/>
                  </a:lnTo>
                  <a:lnTo>
                    <a:pt x="15" y="30"/>
                  </a:lnTo>
                  <a:lnTo>
                    <a:pt x="226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72" name="Freeform 283"/>
            <p:cNvSpPr>
              <a:spLocks/>
            </p:cNvSpPr>
            <p:nvPr/>
          </p:nvSpPr>
          <p:spPr bwMode="auto">
            <a:xfrm>
              <a:off x="7234238" y="2051050"/>
              <a:ext cx="57150" cy="9525"/>
            </a:xfrm>
            <a:custGeom>
              <a:avLst/>
              <a:gdLst>
                <a:gd name="T0" fmla="*/ 15 w 180"/>
                <a:gd name="T1" fmla="*/ 0 h 30"/>
                <a:gd name="T2" fmla="*/ 12 w 180"/>
                <a:gd name="T3" fmla="*/ 0 h 30"/>
                <a:gd name="T4" fmla="*/ 8 w 180"/>
                <a:gd name="T5" fmla="*/ 2 h 30"/>
                <a:gd name="T6" fmla="*/ 6 w 180"/>
                <a:gd name="T7" fmla="*/ 3 h 30"/>
                <a:gd name="T8" fmla="*/ 4 w 180"/>
                <a:gd name="T9" fmla="*/ 5 h 30"/>
                <a:gd name="T10" fmla="*/ 2 w 180"/>
                <a:gd name="T11" fmla="*/ 7 h 30"/>
                <a:gd name="T12" fmla="*/ 1 w 180"/>
                <a:gd name="T13" fmla="*/ 9 h 30"/>
                <a:gd name="T14" fmla="*/ 0 w 180"/>
                <a:gd name="T15" fmla="*/ 12 h 30"/>
                <a:gd name="T16" fmla="*/ 0 w 180"/>
                <a:gd name="T17" fmla="*/ 15 h 30"/>
                <a:gd name="T18" fmla="*/ 0 w 180"/>
                <a:gd name="T19" fmla="*/ 19 h 30"/>
                <a:gd name="T20" fmla="*/ 1 w 180"/>
                <a:gd name="T21" fmla="*/ 21 h 30"/>
                <a:gd name="T22" fmla="*/ 2 w 180"/>
                <a:gd name="T23" fmla="*/ 24 h 30"/>
                <a:gd name="T24" fmla="*/ 4 w 180"/>
                <a:gd name="T25" fmla="*/ 26 h 30"/>
                <a:gd name="T26" fmla="*/ 6 w 180"/>
                <a:gd name="T27" fmla="*/ 27 h 30"/>
                <a:gd name="T28" fmla="*/ 8 w 180"/>
                <a:gd name="T29" fmla="*/ 29 h 30"/>
                <a:gd name="T30" fmla="*/ 12 w 180"/>
                <a:gd name="T31" fmla="*/ 29 h 30"/>
                <a:gd name="T32" fmla="*/ 15 w 180"/>
                <a:gd name="T33" fmla="*/ 30 h 30"/>
                <a:gd name="T34" fmla="*/ 165 w 180"/>
                <a:gd name="T35" fmla="*/ 30 h 30"/>
                <a:gd name="T36" fmla="*/ 168 w 180"/>
                <a:gd name="T37" fmla="*/ 29 h 30"/>
                <a:gd name="T38" fmla="*/ 171 w 180"/>
                <a:gd name="T39" fmla="*/ 29 h 30"/>
                <a:gd name="T40" fmla="*/ 174 w 180"/>
                <a:gd name="T41" fmla="*/ 27 h 30"/>
                <a:gd name="T42" fmla="*/ 176 w 180"/>
                <a:gd name="T43" fmla="*/ 26 h 30"/>
                <a:gd name="T44" fmla="*/ 178 w 180"/>
                <a:gd name="T45" fmla="*/ 24 h 30"/>
                <a:gd name="T46" fmla="*/ 179 w 180"/>
                <a:gd name="T47" fmla="*/ 21 h 30"/>
                <a:gd name="T48" fmla="*/ 180 w 180"/>
                <a:gd name="T49" fmla="*/ 19 h 30"/>
                <a:gd name="T50" fmla="*/ 180 w 180"/>
                <a:gd name="T51" fmla="*/ 15 h 30"/>
                <a:gd name="T52" fmla="*/ 180 w 180"/>
                <a:gd name="T53" fmla="*/ 12 h 30"/>
                <a:gd name="T54" fmla="*/ 179 w 180"/>
                <a:gd name="T55" fmla="*/ 9 h 30"/>
                <a:gd name="T56" fmla="*/ 178 w 180"/>
                <a:gd name="T57" fmla="*/ 7 h 30"/>
                <a:gd name="T58" fmla="*/ 176 w 180"/>
                <a:gd name="T59" fmla="*/ 5 h 30"/>
                <a:gd name="T60" fmla="*/ 174 w 180"/>
                <a:gd name="T61" fmla="*/ 3 h 30"/>
                <a:gd name="T62" fmla="*/ 171 w 180"/>
                <a:gd name="T63" fmla="*/ 2 h 30"/>
                <a:gd name="T64" fmla="*/ 168 w 180"/>
                <a:gd name="T65" fmla="*/ 0 h 30"/>
                <a:gd name="T66" fmla="*/ 165 w 180"/>
                <a:gd name="T67" fmla="*/ 0 h 30"/>
                <a:gd name="T68" fmla="*/ 15 w 180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80" h="30">
                  <a:moveTo>
                    <a:pt x="15" y="0"/>
                  </a:moveTo>
                  <a:lnTo>
                    <a:pt x="12" y="0"/>
                  </a:lnTo>
                  <a:lnTo>
                    <a:pt x="8" y="2"/>
                  </a:lnTo>
                  <a:lnTo>
                    <a:pt x="6" y="3"/>
                  </a:lnTo>
                  <a:lnTo>
                    <a:pt x="4" y="5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9"/>
                  </a:lnTo>
                  <a:lnTo>
                    <a:pt x="1" y="21"/>
                  </a:lnTo>
                  <a:lnTo>
                    <a:pt x="2" y="24"/>
                  </a:lnTo>
                  <a:lnTo>
                    <a:pt x="4" y="26"/>
                  </a:lnTo>
                  <a:lnTo>
                    <a:pt x="6" y="27"/>
                  </a:lnTo>
                  <a:lnTo>
                    <a:pt x="8" y="29"/>
                  </a:lnTo>
                  <a:lnTo>
                    <a:pt x="12" y="29"/>
                  </a:lnTo>
                  <a:lnTo>
                    <a:pt x="15" y="30"/>
                  </a:lnTo>
                  <a:lnTo>
                    <a:pt x="165" y="30"/>
                  </a:lnTo>
                  <a:lnTo>
                    <a:pt x="168" y="29"/>
                  </a:lnTo>
                  <a:lnTo>
                    <a:pt x="171" y="29"/>
                  </a:lnTo>
                  <a:lnTo>
                    <a:pt x="174" y="27"/>
                  </a:lnTo>
                  <a:lnTo>
                    <a:pt x="176" y="26"/>
                  </a:lnTo>
                  <a:lnTo>
                    <a:pt x="178" y="24"/>
                  </a:lnTo>
                  <a:lnTo>
                    <a:pt x="179" y="21"/>
                  </a:lnTo>
                  <a:lnTo>
                    <a:pt x="180" y="19"/>
                  </a:lnTo>
                  <a:lnTo>
                    <a:pt x="180" y="15"/>
                  </a:lnTo>
                  <a:lnTo>
                    <a:pt x="180" y="12"/>
                  </a:lnTo>
                  <a:lnTo>
                    <a:pt x="179" y="9"/>
                  </a:lnTo>
                  <a:lnTo>
                    <a:pt x="178" y="7"/>
                  </a:lnTo>
                  <a:lnTo>
                    <a:pt x="176" y="5"/>
                  </a:lnTo>
                  <a:lnTo>
                    <a:pt x="174" y="3"/>
                  </a:lnTo>
                  <a:lnTo>
                    <a:pt x="171" y="2"/>
                  </a:lnTo>
                  <a:lnTo>
                    <a:pt x="168" y="0"/>
                  </a:lnTo>
                  <a:lnTo>
                    <a:pt x="165" y="0"/>
                  </a:ln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73" name="Freeform 284"/>
            <p:cNvSpPr>
              <a:spLocks/>
            </p:cNvSpPr>
            <p:nvPr/>
          </p:nvSpPr>
          <p:spPr bwMode="auto">
            <a:xfrm>
              <a:off x="7234238" y="2070100"/>
              <a:ext cx="57150" cy="9525"/>
            </a:xfrm>
            <a:custGeom>
              <a:avLst/>
              <a:gdLst>
                <a:gd name="T0" fmla="*/ 165 w 180"/>
                <a:gd name="T1" fmla="*/ 0 h 30"/>
                <a:gd name="T2" fmla="*/ 15 w 180"/>
                <a:gd name="T3" fmla="*/ 0 h 30"/>
                <a:gd name="T4" fmla="*/ 12 w 180"/>
                <a:gd name="T5" fmla="*/ 0 h 30"/>
                <a:gd name="T6" fmla="*/ 8 w 180"/>
                <a:gd name="T7" fmla="*/ 1 h 30"/>
                <a:gd name="T8" fmla="*/ 6 w 180"/>
                <a:gd name="T9" fmla="*/ 2 h 30"/>
                <a:gd name="T10" fmla="*/ 4 w 180"/>
                <a:gd name="T11" fmla="*/ 4 h 30"/>
                <a:gd name="T12" fmla="*/ 2 w 180"/>
                <a:gd name="T13" fmla="*/ 6 h 30"/>
                <a:gd name="T14" fmla="*/ 1 w 180"/>
                <a:gd name="T15" fmla="*/ 8 h 30"/>
                <a:gd name="T16" fmla="*/ 0 w 180"/>
                <a:gd name="T17" fmla="*/ 11 h 30"/>
                <a:gd name="T18" fmla="*/ 0 w 180"/>
                <a:gd name="T19" fmla="*/ 15 h 30"/>
                <a:gd name="T20" fmla="*/ 0 w 180"/>
                <a:gd name="T21" fmla="*/ 18 h 30"/>
                <a:gd name="T22" fmla="*/ 1 w 180"/>
                <a:gd name="T23" fmla="*/ 20 h 30"/>
                <a:gd name="T24" fmla="*/ 2 w 180"/>
                <a:gd name="T25" fmla="*/ 23 h 30"/>
                <a:gd name="T26" fmla="*/ 4 w 180"/>
                <a:gd name="T27" fmla="*/ 25 h 30"/>
                <a:gd name="T28" fmla="*/ 6 w 180"/>
                <a:gd name="T29" fmla="*/ 26 h 30"/>
                <a:gd name="T30" fmla="*/ 8 w 180"/>
                <a:gd name="T31" fmla="*/ 29 h 30"/>
                <a:gd name="T32" fmla="*/ 12 w 180"/>
                <a:gd name="T33" fmla="*/ 30 h 30"/>
                <a:gd name="T34" fmla="*/ 15 w 180"/>
                <a:gd name="T35" fmla="*/ 30 h 30"/>
                <a:gd name="T36" fmla="*/ 165 w 180"/>
                <a:gd name="T37" fmla="*/ 30 h 30"/>
                <a:gd name="T38" fmla="*/ 168 w 180"/>
                <a:gd name="T39" fmla="*/ 30 h 30"/>
                <a:gd name="T40" fmla="*/ 171 w 180"/>
                <a:gd name="T41" fmla="*/ 29 h 30"/>
                <a:gd name="T42" fmla="*/ 174 w 180"/>
                <a:gd name="T43" fmla="*/ 26 h 30"/>
                <a:gd name="T44" fmla="*/ 176 w 180"/>
                <a:gd name="T45" fmla="*/ 25 h 30"/>
                <a:gd name="T46" fmla="*/ 178 w 180"/>
                <a:gd name="T47" fmla="*/ 23 h 30"/>
                <a:gd name="T48" fmla="*/ 179 w 180"/>
                <a:gd name="T49" fmla="*/ 20 h 30"/>
                <a:gd name="T50" fmla="*/ 180 w 180"/>
                <a:gd name="T51" fmla="*/ 18 h 30"/>
                <a:gd name="T52" fmla="*/ 180 w 180"/>
                <a:gd name="T53" fmla="*/ 15 h 30"/>
                <a:gd name="T54" fmla="*/ 180 w 180"/>
                <a:gd name="T55" fmla="*/ 11 h 30"/>
                <a:gd name="T56" fmla="*/ 179 w 180"/>
                <a:gd name="T57" fmla="*/ 8 h 30"/>
                <a:gd name="T58" fmla="*/ 178 w 180"/>
                <a:gd name="T59" fmla="*/ 6 h 30"/>
                <a:gd name="T60" fmla="*/ 176 w 180"/>
                <a:gd name="T61" fmla="*/ 4 h 30"/>
                <a:gd name="T62" fmla="*/ 174 w 180"/>
                <a:gd name="T63" fmla="*/ 2 h 30"/>
                <a:gd name="T64" fmla="*/ 171 w 180"/>
                <a:gd name="T65" fmla="*/ 1 h 30"/>
                <a:gd name="T66" fmla="*/ 168 w 180"/>
                <a:gd name="T67" fmla="*/ 0 h 30"/>
                <a:gd name="T68" fmla="*/ 165 w 180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80" h="30">
                  <a:moveTo>
                    <a:pt x="165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8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8"/>
                  </a:lnTo>
                  <a:lnTo>
                    <a:pt x="0" y="11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0"/>
                  </a:lnTo>
                  <a:lnTo>
                    <a:pt x="2" y="23"/>
                  </a:lnTo>
                  <a:lnTo>
                    <a:pt x="4" y="25"/>
                  </a:lnTo>
                  <a:lnTo>
                    <a:pt x="6" y="26"/>
                  </a:lnTo>
                  <a:lnTo>
                    <a:pt x="8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165" y="30"/>
                  </a:lnTo>
                  <a:lnTo>
                    <a:pt x="168" y="30"/>
                  </a:lnTo>
                  <a:lnTo>
                    <a:pt x="171" y="29"/>
                  </a:lnTo>
                  <a:lnTo>
                    <a:pt x="174" y="26"/>
                  </a:lnTo>
                  <a:lnTo>
                    <a:pt x="176" y="25"/>
                  </a:lnTo>
                  <a:lnTo>
                    <a:pt x="178" y="23"/>
                  </a:lnTo>
                  <a:lnTo>
                    <a:pt x="179" y="20"/>
                  </a:lnTo>
                  <a:lnTo>
                    <a:pt x="180" y="18"/>
                  </a:lnTo>
                  <a:lnTo>
                    <a:pt x="180" y="15"/>
                  </a:lnTo>
                  <a:lnTo>
                    <a:pt x="180" y="11"/>
                  </a:lnTo>
                  <a:lnTo>
                    <a:pt x="179" y="8"/>
                  </a:lnTo>
                  <a:lnTo>
                    <a:pt x="178" y="6"/>
                  </a:lnTo>
                  <a:lnTo>
                    <a:pt x="176" y="4"/>
                  </a:lnTo>
                  <a:lnTo>
                    <a:pt x="174" y="2"/>
                  </a:lnTo>
                  <a:lnTo>
                    <a:pt x="171" y="1"/>
                  </a:lnTo>
                  <a:lnTo>
                    <a:pt x="168" y="0"/>
                  </a:lnTo>
                  <a:lnTo>
                    <a:pt x="1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74" name="Freeform 285"/>
            <p:cNvSpPr>
              <a:spLocks/>
            </p:cNvSpPr>
            <p:nvPr/>
          </p:nvSpPr>
          <p:spPr bwMode="auto">
            <a:xfrm>
              <a:off x="7234238" y="2089150"/>
              <a:ext cx="57150" cy="9525"/>
            </a:xfrm>
            <a:custGeom>
              <a:avLst/>
              <a:gdLst>
                <a:gd name="T0" fmla="*/ 165 w 180"/>
                <a:gd name="T1" fmla="*/ 0 h 30"/>
                <a:gd name="T2" fmla="*/ 15 w 180"/>
                <a:gd name="T3" fmla="*/ 0 h 30"/>
                <a:gd name="T4" fmla="*/ 12 w 180"/>
                <a:gd name="T5" fmla="*/ 0 h 30"/>
                <a:gd name="T6" fmla="*/ 8 w 180"/>
                <a:gd name="T7" fmla="*/ 1 h 30"/>
                <a:gd name="T8" fmla="*/ 6 w 180"/>
                <a:gd name="T9" fmla="*/ 2 h 30"/>
                <a:gd name="T10" fmla="*/ 4 w 180"/>
                <a:gd name="T11" fmla="*/ 4 h 30"/>
                <a:gd name="T12" fmla="*/ 2 w 180"/>
                <a:gd name="T13" fmla="*/ 6 h 30"/>
                <a:gd name="T14" fmla="*/ 1 w 180"/>
                <a:gd name="T15" fmla="*/ 9 h 30"/>
                <a:gd name="T16" fmla="*/ 0 w 180"/>
                <a:gd name="T17" fmla="*/ 11 h 30"/>
                <a:gd name="T18" fmla="*/ 0 w 180"/>
                <a:gd name="T19" fmla="*/ 15 h 30"/>
                <a:gd name="T20" fmla="*/ 0 w 180"/>
                <a:gd name="T21" fmla="*/ 18 h 30"/>
                <a:gd name="T22" fmla="*/ 1 w 180"/>
                <a:gd name="T23" fmla="*/ 20 h 30"/>
                <a:gd name="T24" fmla="*/ 2 w 180"/>
                <a:gd name="T25" fmla="*/ 23 h 30"/>
                <a:gd name="T26" fmla="*/ 4 w 180"/>
                <a:gd name="T27" fmla="*/ 25 h 30"/>
                <a:gd name="T28" fmla="*/ 6 w 180"/>
                <a:gd name="T29" fmla="*/ 28 h 30"/>
                <a:gd name="T30" fmla="*/ 8 w 180"/>
                <a:gd name="T31" fmla="*/ 29 h 30"/>
                <a:gd name="T32" fmla="*/ 12 w 180"/>
                <a:gd name="T33" fmla="*/ 30 h 30"/>
                <a:gd name="T34" fmla="*/ 15 w 180"/>
                <a:gd name="T35" fmla="*/ 30 h 30"/>
                <a:gd name="T36" fmla="*/ 165 w 180"/>
                <a:gd name="T37" fmla="*/ 30 h 30"/>
                <a:gd name="T38" fmla="*/ 168 w 180"/>
                <a:gd name="T39" fmla="*/ 30 h 30"/>
                <a:gd name="T40" fmla="*/ 171 w 180"/>
                <a:gd name="T41" fmla="*/ 29 h 30"/>
                <a:gd name="T42" fmla="*/ 174 w 180"/>
                <a:gd name="T43" fmla="*/ 28 h 30"/>
                <a:gd name="T44" fmla="*/ 176 w 180"/>
                <a:gd name="T45" fmla="*/ 25 h 30"/>
                <a:gd name="T46" fmla="*/ 178 w 180"/>
                <a:gd name="T47" fmla="*/ 23 h 30"/>
                <a:gd name="T48" fmla="*/ 179 w 180"/>
                <a:gd name="T49" fmla="*/ 20 h 30"/>
                <a:gd name="T50" fmla="*/ 180 w 180"/>
                <a:gd name="T51" fmla="*/ 18 h 30"/>
                <a:gd name="T52" fmla="*/ 180 w 180"/>
                <a:gd name="T53" fmla="*/ 15 h 30"/>
                <a:gd name="T54" fmla="*/ 180 w 180"/>
                <a:gd name="T55" fmla="*/ 11 h 30"/>
                <a:gd name="T56" fmla="*/ 179 w 180"/>
                <a:gd name="T57" fmla="*/ 9 h 30"/>
                <a:gd name="T58" fmla="*/ 178 w 180"/>
                <a:gd name="T59" fmla="*/ 6 h 30"/>
                <a:gd name="T60" fmla="*/ 176 w 180"/>
                <a:gd name="T61" fmla="*/ 4 h 30"/>
                <a:gd name="T62" fmla="*/ 174 w 180"/>
                <a:gd name="T63" fmla="*/ 2 h 30"/>
                <a:gd name="T64" fmla="*/ 171 w 180"/>
                <a:gd name="T65" fmla="*/ 1 h 30"/>
                <a:gd name="T66" fmla="*/ 168 w 180"/>
                <a:gd name="T67" fmla="*/ 0 h 30"/>
                <a:gd name="T68" fmla="*/ 165 w 180"/>
                <a:gd name="T69" fmla="*/ 0 h 30"/>
                <a:gd name="T70" fmla="*/ 165 w 180"/>
                <a:gd name="T7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80" h="30">
                  <a:moveTo>
                    <a:pt x="165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8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9"/>
                  </a:lnTo>
                  <a:lnTo>
                    <a:pt x="0" y="11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0"/>
                  </a:lnTo>
                  <a:lnTo>
                    <a:pt x="2" y="23"/>
                  </a:lnTo>
                  <a:lnTo>
                    <a:pt x="4" y="25"/>
                  </a:lnTo>
                  <a:lnTo>
                    <a:pt x="6" y="28"/>
                  </a:lnTo>
                  <a:lnTo>
                    <a:pt x="8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165" y="30"/>
                  </a:lnTo>
                  <a:lnTo>
                    <a:pt x="168" y="30"/>
                  </a:lnTo>
                  <a:lnTo>
                    <a:pt x="171" y="29"/>
                  </a:lnTo>
                  <a:lnTo>
                    <a:pt x="174" y="28"/>
                  </a:lnTo>
                  <a:lnTo>
                    <a:pt x="176" y="25"/>
                  </a:lnTo>
                  <a:lnTo>
                    <a:pt x="178" y="23"/>
                  </a:lnTo>
                  <a:lnTo>
                    <a:pt x="179" y="20"/>
                  </a:lnTo>
                  <a:lnTo>
                    <a:pt x="180" y="18"/>
                  </a:lnTo>
                  <a:lnTo>
                    <a:pt x="180" y="15"/>
                  </a:lnTo>
                  <a:lnTo>
                    <a:pt x="180" y="11"/>
                  </a:lnTo>
                  <a:lnTo>
                    <a:pt x="179" y="9"/>
                  </a:lnTo>
                  <a:lnTo>
                    <a:pt x="178" y="6"/>
                  </a:lnTo>
                  <a:lnTo>
                    <a:pt x="176" y="4"/>
                  </a:lnTo>
                  <a:lnTo>
                    <a:pt x="174" y="2"/>
                  </a:lnTo>
                  <a:lnTo>
                    <a:pt x="171" y="1"/>
                  </a:lnTo>
                  <a:lnTo>
                    <a:pt x="168" y="0"/>
                  </a:lnTo>
                  <a:lnTo>
                    <a:pt x="165" y="0"/>
                  </a:lnTo>
                  <a:lnTo>
                    <a:pt x="1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75" name="Freeform 286"/>
            <p:cNvSpPr>
              <a:spLocks/>
            </p:cNvSpPr>
            <p:nvPr/>
          </p:nvSpPr>
          <p:spPr bwMode="auto">
            <a:xfrm>
              <a:off x="7234238" y="2108200"/>
              <a:ext cx="57150" cy="9525"/>
            </a:xfrm>
            <a:custGeom>
              <a:avLst/>
              <a:gdLst>
                <a:gd name="T0" fmla="*/ 165 w 180"/>
                <a:gd name="T1" fmla="*/ 0 h 30"/>
                <a:gd name="T2" fmla="*/ 15 w 180"/>
                <a:gd name="T3" fmla="*/ 0 h 30"/>
                <a:gd name="T4" fmla="*/ 12 w 180"/>
                <a:gd name="T5" fmla="*/ 0 h 30"/>
                <a:gd name="T6" fmla="*/ 8 w 180"/>
                <a:gd name="T7" fmla="*/ 1 h 30"/>
                <a:gd name="T8" fmla="*/ 6 w 180"/>
                <a:gd name="T9" fmla="*/ 3 h 30"/>
                <a:gd name="T10" fmla="*/ 4 w 180"/>
                <a:gd name="T11" fmla="*/ 4 h 30"/>
                <a:gd name="T12" fmla="*/ 2 w 180"/>
                <a:gd name="T13" fmla="*/ 6 h 30"/>
                <a:gd name="T14" fmla="*/ 1 w 180"/>
                <a:gd name="T15" fmla="*/ 9 h 30"/>
                <a:gd name="T16" fmla="*/ 0 w 180"/>
                <a:gd name="T17" fmla="*/ 12 h 30"/>
                <a:gd name="T18" fmla="*/ 0 w 180"/>
                <a:gd name="T19" fmla="*/ 15 h 30"/>
                <a:gd name="T20" fmla="*/ 0 w 180"/>
                <a:gd name="T21" fmla="*/ 18 h 30"/>
                <a:gd name="T22" fmla="*/ 1 w 180"/>
                <a:gd name="T23" fmla="*/ 21 h 30"/>
                <a:gd name="T24" fmla="*/ 2 w 180"/>
                <a:gd name="T25" fmla="*/ 23 h 30"/>
                <a:gd name="T26" fmla="*/ 4 w 180"/>
                <a:gd name="T27" fmla="*/ 25 h 30"/>
                <a:gd name="T28" fmla="*/ 6 w 180"/>
                <a:gd name="T29" fmla="*/ 28 h 30"/>
                <a:gd name="T30" fmla="*/ 8 w 180"/>
                <a:gd name="T31" fmla="*/ 29 h 30"/>
                <a:gd name="T32" fmla="*/ 12 w 180"/>
                <a:gd name="T33" fmla="*/ 30 h 30"/>
                <a:gd name="T34" fmla="*/ 15 w 180"/>
                <a:gd name="T35" fmla="*/ 30 h 30"/>
                <a:gd name="T36" fmla="*/ 165 w 180"/>
                <a:gd name="T37" fmla="*/ 30 h 30"/>
                <a:gd name="T38" fmla="*/ 168 w 180"/>
                <a:gd name="T39" fmla="*/ 30 h 30"/>
                <a:gd name="T40" fmla="*/ 171 w 180"/>
                <a:gd name="T41" fmla="*/ 29 h 30"/>
                <a:gd name="T42" fmla="*/ 174 w 180"/>
                <a:gd name="T43" fmla="*/ 28 h 30"/>
                <a:gd name="T44" fmla="*/ 176 w 180"/>
                <a:gd name="T45" fmla="*/ 25 h 30"/>
                <a:gd name="T46" fmla="*/ 178 w 180"/>
                <a:gd name="T47" fmla="*/ 23 h 30"/>
                <a:gd name="T48" fmla="*/ 179 w 180"/>
                <a:gd name="T49" fmla="*/ 21 h 30"/>
                <a:gd name="T50" fmla="*/ 180 w 180"/>
                <a:gd name="T51" fmla="*/ 18 h 30"/>
                <a:gd name="T52" fmla="*/ 180 w 180"/>
                <a:gd name="T53" fmla="*/ 15 h 30"/>
                <a:gd name="T54" fmla="*/ 180 w 180"/>
                <a:gd name="T55" fmla="*/ 12 h 30"/>
                <a:gd name="T56" fmla="*/ 179 w 180"/>
                <a:gd name="T57" fmla="*/ 9 h 30"/>
                <a:gd name="T58" fmla="*/ 178 w 180"/>
                <a:gd name="T59" fmla="*/ 6 h 30"/>
                <a:gd name="T60" fmla="*/ 176 w 180"/>
                <a:gd name="T61" fmla="*/ 4 h 30"/>
                <a:gd name="T62" fmla="*/ 174 w 180"/>
                <a:gd name="T63" fmla="*/ 3 h 30"/>
                <a:gd name="T64" fmla="*/ 171 w 180"/>
                <a:gd name="T65" fmla="*/ 1 h 30"/>
                <a:gd name="T66" fmla="*/ 168 w 180"/>
                <a:gd name="T67" fmla="*/ 0 h 30"/>
                <a:gd name="T68" fmla="*/ 165 w 180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80" h="30">
                  <a:moveTo>
                    <a:pt x="165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8" y="1"/>
                  </a:lnTo>
                  <a:lnTo>
                    <a:pt x="6" y="3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1"/>
                  </a:lnTo>
                  <a:lnTo>
                    <a:pt x="2" y="23"/>
                  </a:lnTo>
                  <a:lnTo>
                    <a:pt x="4" y="25"/>
                  </a:lnTo>
                  <a:lnTo>
                    <a:pt x="6" y="28"/>
                  </a:lnTo>
                  <a:lnTo>
                    <a:pt x="8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165" y="30"/>
                  </a:lnTo>
                  <a:lnTo>
                    <a:pt x="168" y="30"/>
                  </a:lnTo>
                  <a:lnTo>
                    <a:pt x="171" y="29"/>
                  </a:lnTo>
                  <a:lnTo>
                    <a:pt x="174" y="28"/>
                  </a:lnTo>
                  <a:lnTo>
                    <a:pt x="176" y="25"/>
                  </a:lnTo>
                  <a:lnTo>
                    <a:pt x="178" y="23"/>
                  </a:lnTo>
                  <a:lnTo>
                    <a:pt x="179" y="21"/>
                  </a:lnTo>
                  <a:lnTo>
                    <a:pt x="180" y="18"/>
                  </a:lnTo>
                  <a:lnTo>
                    <a:pt x="180" y="15"/>
                  </a:lnTo>
                  <a:lnTo>
                    <a:pt x="180" y="12"/>
                  </a:lnTo>
                  <a:lnTo>
                    <a:pt x="179" y="9"/>
                  </a:lnTo>
                  <a:lnTo>
                    <a:pt x="178" y="6"/>
                  </a:lnTo>
                  <a:lnTo>
                    <a:pt x="176" y="4"/>
                  </a:lnTo>
                  <a:lnTo>
                    <a:pt x="174" y="3"/>
                  </a:lnTo>
                  <a:lnTo>
                    <a:pt x="171" y="1"/>
                  </a:lnTo>
                  <a:lnTo>
                    <a:pt x="168" y="0"/>
                  </a:lnTo>
                  <a:lnTo>
                    <a:pt x="1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76" name="Freeform 287"/>
            <p:cNvSpPr>
              <a:spLocks/>
            </p:cNvSpPr>
            <p:nvPr/>
          </p:nvSpPr>
          <p:spPr bwMode="auto">
            <a:xfrm>
              <a:off x="7234238" y="2146300"/>
              <a:ext cx="57150" cy="9525"/>
            </a:xfrm>
            <a:custGeom>
              <a:avLst/>
              <a:gdLst>
                <a:gd name="T0" fmla="*/ 165 w 180"/>
                <a:gd name="T1" fmla="*/ 0 h 30"/>
                <a:gd name="T2" fmla="*/ 15 w 180"/>
                <a:gd name="T3" fmla="*/ 0 h 30"/>
                <a:gd name="T4" fmla="*/ 12 w 180"/>
                <a:gd name="T5" fmla="*/ 1 h 30"/>
                <a:gd name="T6" fmla="*/ 8 w 180"/>
                <a:gd name="T7" fmla="*/ 1 h 30"/>
                <a:gd name="T8" fmla="*/ 6 w 180"/>
                <a:gd name="T9" fmla="*/ 3 h 30"/>
                <a:gd name="T10" fmla="*/ 4 w 180"/>
                <a:gd name="T11" fmla="*/ 4 h 30"/>
                <a:gd name="T12" fmla="*/ 2 w 180"/>
                <a:gd name="T13" fmla="*/ 7 h 30"/>
                <a:gd name="T14" fmla="*/ 1 w 180"/>
                <a:gd name="T15" fmla="*/ 10 h 30"/>
                <a:gd name="T16" fmla="*/ 0 w 180"/>
                <a:gd name="T17" fmla="*/ 13 h 30"/>
                <a:gd name="T18" fmla="*/ 0 w 180"/>
                <a:gd name="T19" fmla="*/ 15 h 30"/>
                <a:gd name="T20" fmla="*/ 0 w 180"/>
                <a:gd name="T21" fmla="*/ 18 h 30"/>
                <a:gd name="T22" fmla="*/ 1 w 180"/>
                <a:gd name="T23" fmla="*/ 21 h 30"/>
                <a:gd name="T24" fmla="*/ 2 w 180"/>
                <a:gd name="T25" fmla="*/ 23 h 30"/>
                <a:gd name="T26" fmla="*/ 4 w 180"/>
                <a:gd name="T27" fmla="*/ 26 h 30"/>
                <a:gd name="T28" fmla="*/ 6 w 180"/>
                <a:gd name="T29" fmla="*/ 28 h 30"/>
                <a:gd name="T30" fmla="*/ 8 w 180"/>
                <a:gd name="T31" fmla="*/ 29 h 30"/>
                <a:gd name="T32" fmla="*/ 12 w 180"/>
                <a:gd name="T33" fmla="*/ 30 h 30"/>
                <a:gd name="T34" fmla="*/ 15 w 180"/>
                <a:gd name="T35" fmla="*/ 30 h 30"/>
                <a:gd name="T36" fmla="*/ 165 w 180"/>
                <a:gd name="T37" fmla="*/ 30 h 30"/>
                <a:gd name="T38" fmla="*/ 168 w 180"/>
                <a:gd name="T39" fmla="*/ 30 h 30"/>
                <a:gd name="T40" fmla="*/ 171 w 180"/>
                <a:gd name="T41" fmla="*/ 29 h 30"/>
                <a:gd name="T42" fmla="*/ 174 w 180"/>
                <a:gd name="T43" fmla="*/ 28 h 30"/>
                <a:gd name="T44" fmla="*/ 176 w 180"/>
                <a:gd name="T45" fmla="*/ 26 h 30"/>
                <a:gd name="T46" fmla="*/ 178 w 180"/>
                <a:gd name="T47" fmla="*/ 23 h 30"/>
                <a:gd name="T48" fmla="*/ 179 w 180"/>
                <a:gd name="T49" fmla="*/ 21 h 30"/>
                <a:gd name="T50" fmla="*/ 180 w 180"/>
                <a:gd name="T51" fmla="*/ 18 h 30"/>
                <a:gd name="T52" fmla="*/ 180 w 180"/>
                <a:gd name="T53" fmla="*/ 15 h 30"/>
                <a:gd name="T54" fmla="*/ 180 w 180"/>
                <a:gd name="T55" fmla="*/ 13 h 30"/>
                <a:gd name="T56" fmla="*/ 179 w 180"/>
                <a:gd name="T57" fmla="*/ 10 h 30"/>
                <a:gd name="T58" fmla="*/ 178 w 180"/>
                <a:gd name="T59" fmla="*/ 7 h 30"/>
                <a:gd name="T60" fmla="*/ 176 w 180"/>
                <a:gd name="T61" fmla="*/ 4 h 30"/>
                <a:gd name="T62" fmla="*/ 174 w 180"/>
                <a:gd name="T63" fmla="*/ 3 h 30"/>
                <a:gd name="T64" fmla="*/ 171 w 180"/>
                <a:gd name="T65" fmla="*/ 1 h 30"/>
                <a:gd name="T66" fmla="*/ 168 w 180"/>
                <a:gd name="T67" fmla="*/ 1 h 30"/>
                <a:gd name="T68" fmla="*/ 165 w 180"/>
                <a:gd name="T69" fmla="*/ 0 h 30"/>
                <a:gd name="T70" fmla="*/ 165 w 180"/>
                <a:gd name="T7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80" h="30">
                  <a:moveTo>
                    <a:pt x="165" y="0"/>
                  </a:moveTo>
                  <a:lnTo>
                    <a:pt x="15" y="0"/>
                  </a:lnTo>
                  <a:lnTo>
                    <a:pt x="12" y="1"/>
                  </a:lnTo>
                  <a:lnTo>
                    <a:pt x="8" y="1"/>
                  </a:lnTo>
                  <a:lnTo>
                    <a:pt x="6" y="3"/>
                  </a:lnTo>
                  <a:lnTo>
                    <a:pt x="4" y="4"/>
                  </a:lnTo>
                  <a:lnTo>
                    <a:pt x="2" y="7"/>
                  </a:lnTo>
                  <a:lnTo>
                    <a:pt x="1" y="10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1"/>
                  </a:lnTo>
                  <a:lnTo>
                    <a:pt x="2" y="23"/>
                  </a:lnTo>
                  <a:lnTo>
                    <a:pt x="4" y="26"/>
                  </a:lnTo>
                  <a:lnTo>
                    <a:pt x="6" y="28"/>
                  </a:lnTo>
                  <a:lnTo>
                    <a:pt x="8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165" y="30"/>
                  </a:lnTo>
                  <a:lnTo>
                    <a:pt x="168" y="30"/>
                  </a:lnTo>
                  <a:lnTo>
                    <a:pt x="171" y="29"/>
                  </a:lnTo>
                  <a:lnTo>
                    <a:pt x="174" y="28"/>
                  </a:lnTo>
                  <a:lnTo>
                    <a:pt x="176" y="26"/>
                  </a:lnTo>
                  <a:lnTo>
                    <a:pt x="178" y="23"/>
                  </a:lnTo>
                  <a:lnTo>
                    <a:pt x="179" y="21"/>
                  </a:lnTo>
                  <a:lnTo>
                    <a:pt x="180" y="18"/>
                  </a:lnTo>
                  <a:lnTo>
                    <a:pt x="180" y="15"/>
                  </a:lnTo>
                  <a:lnTo>
                    <a:pt x="180" y="13"/>
                  </a:lnTo>
                  <a:lnTo>
                    <a:pt x="179" y="10"/>
                  </a:lnTo>
                  <a:lnTo>
                    <a:pt x="178" y="7"/>
                  </a:lnTo>
                  <a:lnTo>
                    <a:pt x="176" y="4"/>
                  </a:lnTo>
                  <a:lnTo>
                    <a:pt x="174" y="3"/>
                  </a:lnTo>
                  <a:lnTo>
                    <a:pt x="171" y="1"/>
                  </a:lnTo>
                  <a:lnTo>
                    <a:pt x="168" y="1"/>
                  </a:lnTo>
                  <a:lnTo>
                    <a:pt x="165" y="0"/>
                  </a:lnTo>
                  <a:lnTo>
                    <a:pt x="1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77" name="Freeform 288"/>
            <p:cNvSpPr>
              <a:spLocks/>
            </p:cNvSpPr>
            <p:nvPr/>
          </p:nvSpPr>
          <p:spPr bwMode="auto">
            <a:xfrm>
              <a:off x="7234238" y="2127250"/>
              <a:ext cx="57150" cy="9525"/>
            </a:xfrm>
            <a:custGeom>
              <a:avLst/>
              <a:gdLst>
                <a:gd name="T0" fmla="*/ 165 w 180"/>
                <a:gd name="T1" fmla="*/ 0 h 30"/>
                <a:gd name="T2" fmla="*/ 15 w 180"/>
                <a:gd name="T3" fmla="*/ 0 h 30"/>
                <a:gd name="T4" fmla="*/ 12 w 180"/>
                <a:gd name="T5" fmla="*/ 0 h 30"/>
                <a:gd name="T6" fmla="*/ 8 w 180"/>
                <a:gd name="T7" fmla="*/ 1 h 30"/>
                <a:gd name="T8" fmla="*/ 6 w 180"/>
                <a:gd name="T9" fmla="*/ 3 h 30"/>
                <a:gd name="T10" fmla="*/ 4 w 180"/>
                <a:gd name="T11" fmla="*/ 4 h 30"/>
                <a:gd name="T12" fmla="*/ 2 w 180"/>
                <a:gd name="T13" fmla="*/ 6 h 30"/>
                <a:gd name="T14" fmla="*/ 1 w 180"/>
                <a:gd name="T15" fmla="*/ 9 h 30"/>
                <a:gd name="T16" fmla="*/ 0 w 180"/>
                <a:gd name="T17" fmla="*/ 12 h 30"/>
                <a:gd name="T18" fmla="*/ 0 w 180"/>
                <a:gd name="T19" fmla="*/ 15 h 30"/>
                <a:gd name="T20" fmla="*/ 0 w 180"/>
                <a:gd name="T21" fmla="*/ 18 h 30"/>
                <a:gd name="T22" fmla="*/ 1 w 180"/>
                <a:gd name="T23" fmla="*/ 21 h 30"/>
                <a:gd name="T24" fmla="*/ 2 w 180"/>
                <a:gd name="T25" fmla="*/ 23 h 30"/>
                <a:gd name="T26" fmla="*/ 4 w 180"/>
                <a:gd name="T27" fmla="*/ 26 h 30"/>
                <a:gd name="T28" fmla="*/ 6 w 180"/>
                <a:gd name="T29" fmla="*/ 28 h 30"/>
                <a:gd name="T30" fmla="*/ 8 w 180"/>
                <a:gd name="T31" fmla="*/ 29 h 30"/>
                <a:gd name="T32" fmla="*/ 12 w 180"/>
                <a:gd name="T33" fmla="*/ 30 h 30"/>
                <a:gd name="T34" fmla="*/ 15 w 180"/>
                <a:gd name="T35" fmla="*/ 30 h 30"/>
                <a:gd name="T36" fmla="*/ 165 w 180"/>
                <a:gd name="T37" fmla="*/ 30 h 30"/>
                <a:gd name="T38" fmla="*/ 168 w 180"/>
                <a:gd name="T39" fmla="*/ 30 h 30"/>
                <a:gd name="T40" fmla="*/ 171 w 180"/>
                <a:gd name="T41" fmla="*/ 29 h 30"/>
                <a:gd name="T42" fmla="*/ 174 w 180"/>
                <a:gd name="T43" fmla="*/ 28 h 30"/>
                <a:gd name="T44" fmla="*/ 176 w 180"/>
                <a:gd name="T45" fmla="*/ 26 h 30"/>
                <a:gd name="T46" fmla="*/ 178 w 180"/>
                <a:gd name="T47" fmla="*/ 23 h 30"/>
                <a:gd name="T48" fmla="*/ 179 w 180"/>
                <a:gd name="T49" fmla="*/ 21 h 30"/>
                <a:gd name="T50" fmla="*/ 180 w 180"/>
                <a:gd name="T51" fmla="*/ 18 h 30"/>
                <a:gd name="T52" fmla="*/ 180 w 180"/>
                <a:gd name="T53" fmla="*/ 15 h 30"/>
                <a:gd name="T54" fmla="*/ 180 w 180"/>
                <a:gd name="T55" fmla="*/ 12 h 30"/>
                <a:gd name="T56" fmla="*/ 179 w 180"/>
                <a:gd name="T57" fmla="*/ 9 h 30"/>
                <a:gd name="T58" fmla="*/ 178 w 180"/>
                <a:gd name="T59" fmla="*/ 6 h 30"/>
                <a:gd name="T60" fmla="*/ 176 w 180"/>
                <a:gd name="T61" fmla="*/ 4 h 30"/>
                <a:gd name="T62" fmla="*/ 174 w 180"/>
                <a:gd name="T63" fmla="*/ 3 h 30"/>
                <a:gd name="T64" fmla="*/ 171 w 180"/>
                <a:gd name="T65" fmla="*/ 1 h 30"/>
                <a:gd name="T66" fmla="*/ 168 w 180"/>
                <a:gd name="T67" fmla="*/ 1 h 30"/>
                <a:gd name="T68" fmla="*/ 165 w 180"/>
                <a:gd name="T69" fmla="*/ 0 h 30"/>
                <a:gd name="T70" fmla="*/ 165 w 180"/>
                <a:gd name="T7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80" h="30">
                  <a:moveTo>
                    <a:pt x="165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8" y="1"/>
                  </a:lnTo>
                  <a:lnTo>
                    <a:pt x="6" y="3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1"/>
                  </a:lnTo>
                  <a:lnTo>
                    <a:pt x="2" y="23"/>
                  </a:lnTo>
                  <a:lnTo>
                    <a:pt x="4" y="26"/>
                  </a:lnTo>
                  <a:lnTo>
                    <a:pt x="6" y="28"/>
                  </a:lnTo>
                  <a:lnTo>
                    <a:pt x="8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165" y="30"/>
                  </a:lnTo>
                  <a:lnTo>
                    <a:pt x="168" y="30"/>
                  </a:lnTo>
                  <a:lnTo>
                    <a:pt x="171" y="29"/>
                  </a:lnTo>
                  <a:lnTo>
                    <a:pt x="174" y="28"/>
                  </a:lnTo>
                  <a:lnTo>
                    <a:pt x="176" y="26"/>
                  </a:lnTo>
                  <a:lnTo>
                    <a:pt x="178" y="23"/>
                  </a:lnTo>
                  <a:lnTo>
                    <a:pt x="179" y="21"/>
                  </a:lnTo>
                  <a:lnTo>
                    <a:pt x="180" y="18"/>
                  </a:lnTo>
                  <a:lnTo>
                    <a:pt x="180" y="15"/>
                  </a:lnTo>
                  <a:lnTo>
                    <a:pt x="180" y="12"/>
                  </a:lnTo>
                  <a:lnTo>
                    <a:pt x="179" y="9"/>
                  </a:lnTo>
                  <a:lnTo>
                    <a:pt x="178" y="6"/>
                  </a:lnTo>
                  <a:lnTo>
                    <a:pt x="176" y="4"/>
                  </a:lnTo>
                  <a:lnTo>
                    <a:pt x="174" y="3"/>
                  </a:lnTo>
                  <a:lnTo>
                    <a:pt x="171" y="1"/>
                  </a:lnTo>
                  <a:lnTo>
                    <a:pt x="168" y="1"/>
                  </a:lnTo>
                  <a:lnTo>
                    <a:pt x="165" y="0"/>
                  </a:lnTo>
                  <a:lnTo>
                    <a:pt x="1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78" name="Freeform 289"/>
            <p:cNvSpPr>
              <a:spLocks/>
            </p:cNvSpPr>
            <p:nvPr/>
          </p:nvSpPr>
          <p:spPr bwMode="auto">
            <a:xfrm>
              <a:off x="7148513" y="2108200"/>
              <a:ext cx="57150" cy="9525"/>
            </a:xfrm>
            <a:custGeom>
              <a:avLst/>
              <a:gdLst>
                <a:gd name="T0" fmla="*/ 15 w 181"/>
                <a:gd name="T1" fmla="*/ 30 h 30"/>
                <a:gd name="T2" fmla="*/ 166 w 181"/>
                <a:gd name="T3" fmla="*/ 30 h 30"/>
                <a:gd name="T4" fmla="*/ 168 w 181"/>
                <a:gd name="T5" fmla="*/ 30 h 30"/>
                <a:gd name="T6" fmla="*/ 171 w 181"/>
                <a:gd name="T7" fmla="*/ 29 h 30"/>
                <a:gd name="T8" fmla="*/ 173 w 181"/>
                <a:gd name="T9" fmla="*/ 28 h 30"/>
                <a:gd name="T10" fmla="*/ 175 w 181"/>
                <a:gd name="T11" fmla="*/ 25 h 30"/>
                <a:gd name="T12" fmla="*/ 178 w 181"/>
                <a:gd name="T13" fmla="*/ 23 h 30"/>
                <a:gd name="T14" fmla="*/ 179 w 181"/>
                <a:gd name="T15" fmla="*/ 21 h 30"/>
                <a:gd name="T16" fmla="*/ 180 w 181"/>
                <a:gd name="T17" fmla="*/ 18 h 30"/>
                <a:gd name="T18" fmla="*/ 181 w 181"/>
                <a:gd name="T19" fmla="*/ 15 h 30"/>
                <a:gd name="T20" fmla="*/ 180 w 181"/>
                <a:gd name="T21" fmla="*/ 12 h 30"/>
                <a:gd name="T22" fmla="*/ 179 w 181"/>
                <a:gd name="T23" fmla="*/ 9 h 30"/>
                <a:gd name="T24" fmla="*/ 178 w 181"/>
                <a:gd name="T25" fmla="*/ 6 h 30"/>
                <a:gd name="T26" fmla="*/ 175 w 181"/>
                <a:gd name="T27" fmla="*/ 4 h 30"/>
                <a:gd name="T28" fmla="*/ 173 w 181"/>
                <a:gd name="T29" fmla="*/ 3 h 30"/>
                <a:gd name="T30" fmla="*/ 171 w 181"/>
                <a:gd name="T31" fmla="*/ 1 h 30"/>
                <a:gd name="T32" fmla="*/ 168 w 181"/>
                <a:gd name="T33" fmla="*/ 0 h 30"/>
                <a:gd name="T34" fmla="*/ 166 w 181"/>
                <a:gd name="T35" fmla="*/ 0 h 30"/>
                <a:gd name="T36" fmla="*/ 15 w 181"/>
                <a:gd name="T37" fmla="*/ 0 h 30"/>
                <a:gd name="T38" fmla="*/ 11 w 181"/>
                <a:gd name="T39" fmla="*/ 0 h 30"/>
                <a:gd name="T40" fmla="*/ 9 w 181"/>
                <a:gd name="T41" fmla="*/ 1 h 30"/>
                <a:gd name="T42" fmla="*/ 6 w 181"/>
                <a:gd name="T43" fmla="*/ 3 h 30"/>
                <a:gd name="T44" fmla="*/ 4 w 181"/>
                <a:gd name="T45" fmla="*/ 4 h 30"/>
                <a:gd name="T46" fmla="*/ 3 w 181"/>
                <a:gd name="T47" fmla="*/ 6 h 30"/>
                <a:gd name="T48" fmla="*/ 1 w 181"/>
                <a:gd name="T49" fmla="*/ 9 h 30"/>
                <a:gd name="T50" fmla="*/ 0 w 181"/>
                <a:gd name="T51" fmla="*/ 12 h 30"/>
                <a:gd name="T52" fmla="*/ 0 w 181"/>
                <a:gd name="T53" fmla="*/ 15 h 30"/>
                <a:gd name="T54" fmla="*/ 0 w 181"/>
                <a:gd name="T55" fmla="*/ 18 h 30"/>
                <a:gd name="T56" fmla="*/ 1 w 181"/>
                <a:gd name="T57" fmla="*/ 21 h 30"/>
                <a:gd name="T58" fmla="*/ 3 w 181"/>
                <a:gd name="T59" fmla="*/ 23 h 30"/>
                <a:gd name="T60" fmla="*/ 4 w 181"/>
                <a:gd name="T61" fmla="*/ 25 h 30"/>
                <a:gd name="T62" fmla="*/ 6 w 181"/>
                <a:gd name="T63" fmla="*/ 28 h 30"/>
                <a:gd name="T64" fmla="*/ 9 w 181"/>
                <a:gd name="T65" fmla="*/ 29 h 30"/>
                <a:gd name="T66" fmla="*/ 11 w 181"/>
                <a:gd name="T67" fmla="*/ 30 h 30"/>
                <a:gd name="T68" fmla="*/ 15 w 181"/>
                <a:gd name="T69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81" h="30">
                  <a:moveTo>
                    <a:pt x="15" y="30"/>
                  </a:moveTo>
                  <a:lnTo>
                    <a:pt x="166" y="30"/>
                  </a:lnTo>
                  <a:lnTo>
                    <a:pt x="168" y="30"/>
                  </a:lnTo>
                  <a:lnTo>
                    <a:pt x="171" y="29"/>
                  </a:lnTo>
                  <a:lnTo>
                    <a:pt x="173" y="28"/>
                  </a:lnTo>
                  <a:lnTo>
                    <a:pt x="175" y="25"/>
                  </a:lnTo>
                  <a:lnTo>
                    <a:pt x="178" y="23"/>
                  </a:lnTo>
                  <a:lnTo>
                    <a:pt x="179" y="21"/>
                  </a:lnTo>
                  <a:lnTo>
                    <a:pt x="180" y="18"/>
                  </a:lnTo>
                  <a:lnTo>
                    <a:pt x="181" y="15"/>
                  </a:lnTo>
                  <a:lnTo>
                    <a:pt x="180" y="12"/>
                  </a:lnTo>
                  <a:lnTo>
                    <a:pt x="179" y="9"/>
                  </a:lnTo>
                  <a:lnTo>
                    <a:pt x="178" y="6"/>
                  </a:lnTo>
                  <a:lnTo>
                    <a:pt x="175" y="4"/>
                  </a:lnTo>
                  <a:lnTo>
                    <a:pt x="173" y="3"/>
                  </a:lnTo>
                  <a:lnTo>
                    <a:pt x="171" y="1"/>
                  </a:lnTo>
                  <a:lnTo>
                    <a:pt x="168" y="0"/>
                  </a:lnTo>
                  <a:lnTo>
                    <a:pt x="166" y="0"/>
                  </a:lnTo>
                  <a:lnTo>
                    <a:pt x="15" y="0"/>
                  </a:lnTo>
                  <a:lnTo>
                    <a:pt x="11" y="0"/>
                  </a:lnTo>
                  <a:lnTo>
                    <a:pt x="9" y="1"/>
                  </a:lnTo>
                  <a:lnTo>
                    <a:pt x="6" y="3"/>
                  </a:lnTo>
                  <a:lnTo>
                    <a:pt x="4" y="4"/>
                  </a:lnTo>
                  <a:lnTo>
                    <a:pt x="3" y="6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1"/>
                  </a:lnTo>
                  <a:lnTo>
                    <a:pt x="3" y="23"/>
                  </a:lnTo>
                  <a:lnTo>
                    <a:pt x="4" y="25"/>
                  </a:lnTo>
                  <a:lnTo>
                    <a:pt x="6" y="28"/>
                  </a:lnTo>
                  <a:lnTo>
                    <a:pt x="9" y="29"/>
                  </a:lnTo>
                  <a:lnTo>
                    <a:pt x="11" y="30"/>
                  </a:lnTo>
                  <a:lnTo>
                    <a:pt x="15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79" name="Freeform 290"/>
            <p:cNvSpPr>
              <a:spLocks/>
            </p:cNvSpPr>
            <p:nvPr/>
          </p:nvSpPr>
          <p:spPr bwMode="auto">
            <a:xfrm>
              <a:off x="7148513" y="2127250"/>
              <a:ext cx="57150" cy="9525"/>
            </a:xfrm>
            <a:custGeom>
              <a:avLst/>
              <a:gdLst>
                <a:gd name="T0" fmla="*/ 15 w 181"/>
                <a:gd name="T1" fmla="*/ 30 h 30"/>
                <a:gd name="T2" fmla="*/ 166 w 181"/>
                <a:gd name="T3" fmla="*/ 30 h 30"/>
                <a:gd name="T4" fmla="*/ 168 w 181"/>
                <a:gd name="T5" fmla="*/ 30 h 30"/>
                <a:gd name="T6" fmla="*/ 171 w 181"/>
                <a:gd name="T7" fmla="*/ 29 h 30"/>
                <a:gd name="T8" fmla="*/ 173 w 181"/>
                <a:gd name="T9" fmla="*/ 28 h 30"/>
                <a:gd name="T10" fmla="*/ 175 w 181"/>
                <a:gd name="T11" fmla="*/ 26 h 30"/>
                <a:gd name="T12" fmla="*/ 178 w 181"/>
                <a:gd name="T13" fmla="*/ 23 h 30"/>
                <a:gd name="T14" fmla="*/ 179 w 181"/>
                <a:gd name="T15" fmla="*/ 21 h 30"/>
                <a:gd name="T16" fmla="*/ 180 w 181"/>
                <a:gd name="T17" fmla="*/ 18 h 30"/>
                <a:gd name="T18" fmla="*/ 181 w 181"/>
                <a:gd name="T19" fmla="*/ 15 h 30"/>
                <a:gd name="T20" fmla="*/ 180 w 181"/>
                <a:gd name="T21" fmla="*/ 12 h 30"/>
                <a:gd name="T22" fmla="*/ 179 w 181"/>
                <a:gd name="T23" fmla="*/ 9 h 30"/>
                <a:gd name="T24" fmla="*/ 178 w 181"/>
                <a:gd name="T25" fmla="*/ 6 h 30"/>
                <a:gd name="T26" fmla="*/ 175 w 181"/>
                <a:gd name="T27" fmla="*/ 4 h 30"/>
                <a:gd name="T28" fmla="*/ 173 w 181"/>
                <a:gd name="T29" fmla="*/ 3 h 30"/>
                <a:gd name="T30" fmla="*/ 171 w 181"/>
                <a:gd name="T31" fmla="*/ 1 h 30"/>
                <a:gd name="T32" fmla="*/ 168 w 181"/>
                <a:gd name="T33" fmla="*/ 1 h 30"/>
                <a:gd name="T34" fmla="*/ 166 w 181"/>
                <a:gd name="T35" fmla="*/ 0 h 30"/>
                <a:gd name="T36" fmla="*/ 15 w 181"/>
                <a:gd name="T37" fmla="*/ 0 h 30"/>
                <a:gd name="T38" fmla="*/ 11 w 181"/>
                <a:gd name="T39" fmla="*/ 0 h 30"/>
                <a:gd name="T40" fmla="*/ 9 w 181"/>
                <a:gd name="T41" fmla="*/ 1 h 30"/>
                <a:gd name="T42" fmla="*/ 6 w 181"/>
                <a:gd name="T43" fmla="*/ 3 h 30"/>
                <a:gd name="T44" fmla="*/ 4 w 181"/>
                <a:gd name="T45" fmla="*/ 4 h 30"/>
                <a:gd name="T46" fmla="*/ 3 w 181"/>
                <a:gd name="T47" fmla="*/ 6 h 30"/>
                <a:gd name="T48" fmla="*/ 1 w 181"/>
                <a:gd name="T49" fmla="*/ 9 h 30"/>
                <a:gd name="T50" fmla="*/ 0 w 181"/>
                <a:gd name="T51" fmla="*/ 12 h 30"/>
                <a:gd name="T52" fmla="*/ 0 w 181"/>
                <a:gd name="T53" fmla="*/ 15 h 30"/>
                <a:gd name="T54" fmla="*/ 0 w 181"/>
                <a:gd name="T55" fmla="*/ 18 h 30"/>
                <a:gd name="T56" fmla="*/ 1 w 181"/>
                <a:gd name="T57" fmla="*/ 21 h 30"/>
                <a:gd name="T58" fmla="*/ 3 w 181"/>
                <a:gd name="T59" fmla="*/ 23 h 30"/>
                <a:gd name="T60" fmla="*/ 4 w 181"/>
                <a:gd name="T61" fmla="*/ 26 h 30"/>
                <a:gd name="T62" fmla="*/ 6 w 181"/>
                <a:gd name="T63" fmla="*/ 28 h 30"/>
                <a:gd name="T64" fmla="*/ 9 w 181"/>
                <a:gd name="T65" fmla="*/ 29 h 30"/>
                <a:gd name="T66" fmla="*/ 11 w 181"/>
                <a:gd name="T67" fmla="*/ 30 h 30"/>
                <a:gd name="T68" fmla="*/ 15 w 181"/>
                <a:gd name="T69" fmla="*/ 30 h 30"/>
                <a:gd name="T70" fmla="*/ 15 w 181"/>
                <a:gd name="T7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81" h="30">
                  <a:moveTo>
                    <a:pt x="15" y="30"/>
                  </a:moveTo>
                  <a:lnTo>
                    <a:pt x="166" y="30"/>
                  </a:lnTo>
                  <a:lnTo>
                    <a:pt x="168" y="30"/>
                  </a:lnTo>
                  <a:lnTo>
                    <a:pt x="171" y="29"/>
                  </a:lnTo>
                  <a:lnTo>
                    <a:pt x="173" y="28"/>
                  </a:lnTo>
                  <a:lnTo>
                    <a:pt x="175" y="26"/>
                  </a:lnTo>
                  <a:lnTo>
                    <a:pt x="178" y="23"/>
                  </a:lnTo>
                  <a:lnTo>
                    <a:pt x="179" y="21"/>
                  </a:lnTo>
                  <a:lnTo>
                    <a:pt x="180" y="18"/>
                  </a:lnTo>
                  <a:lnTo>
                    <a:pt x="181" y="15"/>
                  </a:lnTo>
                  <a:lnTo>
                    <a:pt x="180" y="12"/>
                  </a:lnTo>
                  <a:lnTo>
                    <a:pt x="179" y="9"/>
                  </a:lnTo>
                  <a:lnTo>
                    <a:pt x="178" y="6"/>
                  </a:lnTo>
                  <a:lnTo>
                    <a:pt x="175" y="4"/>
                  </a:lnTo>
                  <a:lnTo>
                    <a:pt x="173" y="3"/>
                  </a:lnTo>
                  <a:lnTo>
                    <a:pt x="171" y="1"/>
                  </a:lnTo>
                  <a:lnTo>
                    <a:pt x="168" y="1"/>
                  </a:lnTo>
                  <a:lnTo>
                    <a:pt x="166" y="0"/>
                  </a:lnTo>
                  <a:lnTo>
                    <a:pt x="15" y="0"/>
                  </a:lnTo>
                  <a:lnTo>
                    <a:pt x="11" y="0"/>
                  </a:lnTo>
                  <a:lnTo>
                    <a:pt x="9" y="1"/>
                  </a:lnTo>
                  <a:lnTo>
                    <a:pt x="6" y="3"/>
                  </a:lnTo>
                  <a:lnTo>
                    <a:pt x="4" y="4"/>
                  </a:lnTo>
                  <a:lnTo>
                    <a:pt x="3" y="6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1"/>
                  </a:lnTo>
                  <a:lnTo>
                    <a:pt x="3" y="23"/>
                  </a:lnTo>
                  <a:lnTo>
                    <a:pt x="4" y="26"/>
                  </a:lnTo>
                  <a:lnTo>
                    <a:pt x="6" y="28"/>
                  </a:lnTo>
                  <a:lnTo>
                    <a:pt x="9" y="29"/>
                  </a:lnTo>
                  <a:lnTo>
                    <a:pt x="11" y="30"/>
                  </a:lnTo>
                  <a:lnTo>
                    <a:pt x="15" y="30"/>
                  </a:lnTo>
                  <a:lnTo>
                    <a:pt x="15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80" name="Freeform 291"/>
            <p:cNvSpPr>
              <a:spLocks/>
            </p:cNvSpPr>
            <p:nvPr/>
          </p:nvSpPr>
          <p:spPr bwMode="auto">
            <a:xfrm>
              <a:off x="7148513" y="2146300"/>
              <a:ext cx="57150" cy="9525"/>
            </a:xfrm>
            <a:custGeom>
              <a:avLst/>
              <a:gdLst>
                <a:gd name="T0" fmla="*/ 166 w 181"/>
                <a:gd name="T1" fmla="*/ 0 h 30"/>
                <a:gd name="T2" fmla="*/ 15 w 181"/>
                <a:gd name="T3" fmla="*/ 0 h 30"/>
                <a:gd name="T4" fmla="*/ 11 w 181"/>
                <a:gd name="T5" fmla="*/ 1 h 30"/>
                <a:gd name="T6" fmla="*/ 9 w 181"/>
                <a:gd name="T7" fmla="*/ 1 h 30"/>
                <a:gd name="T8" fmla="*/ 6 w 181"/>
                <a:gd name="T9" fmla="*/ 3 h 30"/>
                <a:gd name="T10" fmla="*/ 4 w 181"/>
                <a:gd name="T11" fmla="*/ 4 h 30"/>
                <a:gd name="T12" fmla="*/ 3 w 181"/>
                <a:gd name="T13" fmla="*/ 7 h 30"/>
                <a:gd name="T14" fmla="*/ 1 w 181"/>
                <a:gd name="T15" fmla="*/ 10 h 30"/>
                <a:gd name="T16" fmla="*/ 0 w 181"/>
                <a:gd name="T17" fmla="*/ 13 h 30"/>
                <a:gd name="T18" fmla="*/ 0 w 181"/>
                <a:gd name="T19" fmla="*/ 15 h 30"/>
                <a:gd name="T20" fmla="*/ 0 w 181"/>
                <a:gd name="T21" fmla="*/ 18 h 30"/>
                <a:gd name="T22" fmla="*/ 1 w 181"/>
                <a:gd name="T23" fmla="*/ 21 h 30"/>
                <a:gd name="T24" fmla="*/ 3 w 181"/>
                <a:gd name="T25" fmla="*/ 23 h 30"/>
                <a:gd name="T26" fmla="*/ 4 w 181"/>
                <a:gd name="T27" fmla="*/ 26 h 30"/>
                <a:gd name="T28" fmla="*/ 6 w 181"/>
                <a:gd name="T29" fmla="*/ 28 h 30"/>
                <a:gd name="T30" fmla="*/ 9 w 181"/>
                <a:gd name="T31" fmla="*/ 29 h 30"/>
                <a:gd name="T32" fmla="*/ 11 w 181"/>
                <a:gd name="T33" fmla="*/ 30 h 30"/>
                <a:gd name="T34" fmla="*/ 15 w 181"/>
                <a:gd name="T35" fmla="*/ 30 h 30"/>
                <a:gd name="T36" fmla="*/ 166 w 181"/>
                <a:gd name="T37" fmla="*/ 30 h 30"/>
                <a:gd name="T38" fmla="*/ 168 w 181"/>
                <a:gd name="T39" fmla="*/ 30 h 30"/>
                <a:gd name="T40" fmla="*/ 171 w 181"/>
                <a:gd name="T41" fmla="*/ 29 h 30"/>
                <a:gd name="T42" fmla="*/ 173 w 181"/>
                <a:gd name="T43" fmla="*/ 28 h 30"/>
                <a:gd name="T44" fmla="*/ 175 w 181"/>
                <a:gd name="T45" fmla="*/ 26 h 30"/>
                <a:gd name="T46" fmla="*/ 178 w 181"/>
                <a:gd name="T47" fmla="*/ 23 h 30"/>
                <a:gd name="T48" fmla="*/ 179 w 181"/>
                <a:gd name="T49" fmla="*/ 21 h 30"/>
                <a:gd name="T50" fmla="*/ 180 w 181"/>
                <a:gd name="T51" fmla="*/ 18 h 30"/>
                <a:gd name="T52" fmla="*/ 181 w 181"/>
                <a:gd name="T53" fmla="*/ 15 h 30"/>
                <a:gd name="T54" fmla="*/ 180 w 181"/>
                <a:gd name="T55" fmla="*/ 13 h 30"/>
                <a:gd name="T56" fmla="*/ 179 w 181"/>
                <a:gd name="T57" fmla="*/ 10 h 30"/>
                <a:gd name="T58" fmla="*/ 178 w 181"/>
                <a:gd name="T59" fmla="*/ 7 h 30"/>
                <a:gd name="T60" fmla="*/ 175 w 181"/>
                <a:gd name="T61" fmla="*/ 4 h 30"/>
                <a:gd name="T62" fmla="*/ 173 w 181"/>
                <a:gd name="T63" fmla="*/ 3 h 30"/>
                <a:gd name="T64" fmla="*/ 171 w 181"/>
                <a:gd name="T65" fmla="*/ 1 h 30"/>
                <a:gd name="T66" fmla="*/ 168 w 181"/>
                <a:gd name="T67" fmla="*/ 1 h 30"/>
                <a:gd name="T68" fmla="*/ 166 w 181"/>
                <a:gd name="T69" fmla="*/ 0 h 30"/>
                <a:gd name="T70" fmla="*/ 166 w 181"/>
                <a:gd name="T7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81" h="30">
                  <a:moveTo>
                    <a:pt x="166" y="0"/>
                  </a:moveTo>
                  <a:lnTo>
                    <a:pt x="15" y="0"/>
                  </a:lnTo>
                  <a:lnTo>
                    <a:pt x="11" y="1"/>
                  </a:lnTo>
                  <a:lnTo>
                    <a:pt x="9" y="1"/>
                  </a:lnTo>
                  <a:lnTo>
                    <a:pt x="6" y="3"/>
                  </a:lnTo>
                  <a:lnTo>
                    <a:pt x="4" y="4"/>
                  </a:lnTo>
                  <a:lnTo>
                    <a:pt x="3" y="7"/>
                  </a:lnTo>
                  <a:lnTo>
                    <a:pt x="1" y="10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1"/>
                  </a:lnTo>
                  <a:lnTo>
                    <a:pt x="3" y="23"/>
                  </a:lnTo>
                  <a:lnTo>
                    <a:pt x="4" y="26"/>
                  </a:lnTo>
                  <a:lnTo>
                    <a:pt x="6" y="28"/>
                  </a:lnTo>
                  <a:lnTo>
                    <a:pt x="9" y="29"/>
                  </a:lnTo>
                  <a:lnTo>
                    <a:pt x="11" y="30"/>
                  </a:lnTo>
                  <a:lnTo>
                    <a:pt x="15" y="30"/>
                  </a:lnTo>
                  <a:lnTo>
                    <a:pt x="166" y="30"/>
                  </a:lnTo>
                  <a:lnTo>
                    <a:pt x="168" y="30"/>
                  </a:lnTo>
                  <a:lnTo>
                    <a:pt x="171" y="29"/>
                  </a:lnTo>
                  <a:lnTo>
                    <a:pt x="173" y="28"/>
                  </a:lnTo>
                  <a:lnTo>
                    <a:pt x="175" y="26"/>
                  </a:lnTo>
                  <a:lnTo>
                    <a:pt x="178" y="23"/>
                  </a:lnTo>
                  <a:lnTo>
                    <a:pt x="179" y="21"/>
                  </a:lnTo>
                  <a:lnTo>
                    <a:pt x="180" y="18"/>
                  </a:lnTo>
                  <a:lnTo>
                    <a:pt x="181" y="15"/>
                  </a:lnTo>
                  <a:lnTo>
                    <a:pt x="180" y="13"/>
                  </a:lnTo>
                  <a:lnTo>
                    <a:pt x="179" y="10"/>
                  </a:lnTo>
                  <a:lnTo>
                    <a:pt x="178" y="7"/>
                  </a:lnTo>
                  <a:lnTo>
                    <a:pt x="175" y="4"/>
                  </a:lnTo>
                  <a:lnTo>
                    <a:pt x="173" y="3"/>
                  </a:lnTo>
                  <a:lnTo>
                    <a:pt x="171" y="1"/>
                  </a:lnTo>
                  <a:lnTo>
                    <a:pt x="168" y="1"/>
                  </a:lnTo>
                  <a:lnTo>
                    <a:pt x="166" y="0"/>
                  </a:lnTo>
                  <a:lnTo>
                    <a:pt x="16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  <p:sp>
        <p:nvSpPr>
          <p:cNvPr id="82" name="Rectangle 81"/>
          <p:cNvSpPr/>
          <p:nvPr/>
        </p:nvSpPr>
        <p:spPr>
          <a:xfrm>
            <a:off x="12344400" y="0"/>
            <a:ext cx="469900" cy="469900"/>
          </a:xfrm>
          <a:prstGeom prst="rect">
            <a:avLst/>
          </a:pr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Rectangle 82"/>
          <p:cNvSpPr/>
          <p:nvPr/>
        </p:nvSpPr>
        <p:spPr>
          <a:xfrm>
            <a:off x="12344400" y="649557"/>
            <a:ext cx="469900" cy="469900"/>
          </a:xfrm>
          <a:prstGeom prst="rect">
            <a:avLst/>
          </a:prstGeom>
          <a:solidFill>
            <a:srgbClr val="AFAB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Rectangle 83"/>
          <p:cNvSpPr/>
          <p:nvPr/>
        </p:nvSpPr>
        <p:spPr>
          <a:xfrm>
            <a:off x="12344400" y="1299114"/>
            <a:ext cx="469900" cy="469900"/>
          </a:xfrm>
          <a:prstGeom prst="rect">
            <a:avLst/>
          </a:prstGeom>
          <a:solidFill>
            <a:srgbClr val="7671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5" name="Rectangle 84"/>
          <p:cNvSpPr/>
          <p:nvPr/>
        </p:nvSpPr>
        <p:spPr>
          <a:xfrm>
            <a:off x="12966699" y="0"/>
            <a:ext cx="469900" cy="469900"/>
          </a:xfrm>
          <a:prstGeom prst="rect">
            <a:avLst/>
          </a:prstGeom>
          <a:solidFill>
            <a:srgbClr val="E878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6" name="Rectangle 85"/>
          <p:cNvSpPr/>
          <p:nvPr/>
        </p:nvSpPr>
        <p:spPr>
          <a:xfrm>
            <a:off x="12966699" y="649557"/>
            <a:ext cx="469900" cy="469900"/>
          </a:xfrm>
          <a:prstGeom prst="rect">
            <a:avLst/>
          </a:prstGeom>
          <a:solidFill>
            <a:srgbClr val="E258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7" name="Rectangle 86"/>
          <p:cNvSpPr/>
          <p:nvPr/>
        </p:nvSpPr>
        <p:spPr>
          <a:xfrm>
            <a:off x="12966699" y="1299114"/>
            <a:ext cx="469900" cy="469900"/>
          </a:xfrm>
          <a:prstGeom prst="rect">
            <a:avLst/>
          </a:prstGeom>
          <a:solidFill>
            <a:srgbClr val="D63E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8" name="Rectangle 87"/>
          <p:cNvSpPr/>
          <p:nvPr/>
        </p:nvSpPr>
        <p:spPr>
          <a:xfrm>
            <a:off x="13588998" y="0"/>
            <a:ext cx="469900" cy="469900"/>
          </a:xfrm>
          <a:prstGeom prst="rect">
            <a:avLst/>
          </a:prstGeom>
          <a:solidFill>
            <a:srgbClr val="8EDC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9" name="Rectangle 88"/>
          <p:cNvSpPr/>
          <p:nvPr/>
        </p:nvSpPr>
        <p:spPr>
          <a:xfrm>
            <a:off x="13588998" y="649557"/>
            <a:ext cx="469900" cy="469900"/>
          </a:xfrm>
          <a:prstGeom prst="rect">
            <a:avLst/>
          </a:prstGeom>
          <a:solidFill>
            <a:srgbClr val="78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0" name="Rectangle 89"/>
          <p:cNvSpPr/>
          <p:nvPr/>
        </p:nvSpPr>
        <p:spPr>
          <a:xfrm>
            <a:off x="13588998" y="1299114"/>
            <a:ext cx="469900" cy="469900"/>
          </a:xfrm>
          <a:prstGeom prst="rect">
            <a:avLst/>
          </a:prstGeom>
          <a:solidFill>
            <a:srgbClr val="4CC7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1" name="Rectangle 90"/>
          <p:cNvSpPr/>
          <p:nvPr/>
        </p:nvSpPr>
        <p:spPr>
          <a:xfrm>
            <a:off x="14211297" y="0"/>
            <a:ext cx="469900" cy="469900"/>
          </a:xfrm>
          <a:prstGeom prst="rect">
            <a:avLst/>
          </a:prstGeom>
          <a:solidFill>
            <a:srgbClr val="5553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2" name="Rectangle 91"/>
          <p:cNvSpPr/>
          <p:nvPr/>
        </p:nvSpPr>
        <p:spPr>
          <a:xfrm>
            <a:off x="14211297" y="649557"/>
            <a:ext cx="469900" cy="469900"/>
          </a:xfrm>
          <a:prstGeom prst="rect">
            <a:avLst/>
          </a:prstGeom>
          <a:solidFill>
            <a:srgbClr val="3B39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3" name="Rectangle 92"/>
          <p:cNvSpPr/>
          <p:nvPr/>
        </p:nvSpPr>
        <p:spPr>
          <a:xfrm>
            <a:off x="14211297" y="1299114"/>
            <a:ext cx="469900" cy="469900"/>
          </a:xfrm>
          <a:prstGeom prst="rect">
            <a:avLst/>
          </a:prstGeom>
          <a:solidFill>
            <a:srgbClr val="2523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434806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6" name="Oval 245"/>
          <p:cNvSpPr/>
          <p:nvPr/>
        </p:nvSpPr>
        <p:spPr>
          <a:xfrm>
            <a:off x="9265427" y="4001085"/>
            <a:ext cx="456421" cy="456421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5" name="Oval 244"/>
          <p:cNvSpPr/>
          <p:nvPr/>
        </p:nvSpPr>
        <p:spPr>
          <a:xfrm>
            <a:off x="7975080" y="4001085"/>
            <a:ext cx="456421" cy="456421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4" name="Oval 243"/>
          <p:cNvSpPr/>
          <p:nvPr/>
        </p:nvSpPr>
        <p:spPr>
          <a:xfrm>
            <a:off x="6700884" y="4001085"/>
            <a:ext cx="456421" cy="456421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PowerPoint Templat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852138-FCC6-44DD-9FFC-1C789392E7AA}" type="datetime1">
              <a:rPr lang="en-US" smtClean="0"/>
              <a:t>11/15/2018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06E70-9524-410D-AE9B-78D656EAA14D}" type="slidenum">
              <a:rPr lang="en-US" smtClean="0"/>
              <a:pPr/>
              <a:t>12</a:t>
            </a:fld>
            <a:endParaRPr lang="en-US"/>
          </a:p>
        </p:txBody>
      </p:sp>
      <p:grpSp>
        <p:nvGrpSpPr>
          <p:cNvPr id="6" name="Group 5"/>
          <p:cNvGrpSpPr/>
          <p:nvPr/>
        </p:nvGrpSpPr>
        <p:grpSpPr>
          <a:xfrm>
            <a:off x="1829254" y="1305140"/>
            <a:ext cx="4664263" cy="2178613"/>
            <a:chOff x="1184235" y="2351481"/>
            <a:chExt cx="7140225" cy="3335101"/>
          </a:xfrm>
          <a:solidFill>
            <a:srgbClr val="AFABAB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23" name="USA (Alaska)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1184235" y="2574392"/>
              <a:ext cx="996995" cy="413978"/>
            </a:xfrm>
            <a:custGeom>
              <a:avLst/>
              <a:gdLst>
                <a:gd name="T0" fmla="*/ 2147483647 w 3072"/>
                <a:gd name="T1" fmla="*/ 2147483647 h 1332"/>
                <a:gd name="T2" fmla="*/ 2147483647 w 3072"/>
                <a:gd name="T3" fmla="*/ 2147483647 h 1332"/>
                <a:gd name="T4" fmla="*/ 2147483647 w 3072"/>
                <a:gd name="T5" fmla="*/ 2147483647 h 1332"/>
                <a:gd name="T6" fmla="*/ 2147483647 w 3072"/>
                <a:gd name="T7" fmla="*/ 2147483647 h 1332"/>
                <a:gd name="T8" fmla="*/ 2147483647 w 3072"/>
                <a:gd name="T9" fmla="*/ 2147483647 h 1332"/>
                <a:gd name="T10" fmla="*/ 2147483647 w 3072"/>
                <a:gd name="T11" fmla="*/ 2147483647 h 1332"/>
                <a:gd name="T12" fmla="*/ 2147483647 w 3072"/>
                <a:gd name="T13" fmla="*/ 2147483647 h 1332"/>
                <a:gd name="T14" fmla="*/ 2147483647 w 3072"/>
                <a:gd name="T15" fmla="*/ 2147483647 h 1332"/>
                <a:gd name="T16" fmla="*/ 2147483647 w 3072"/>
                <a:gd name="T17" fmla="*/ 2147483647 h 1332"/>
                <a:gd name="T18" fmla="*/ 2147483647 w 3072"/>
                <a:gd name="T19" fmla="*/ 2147483647 h 1332"/>
                <a:gd name="T20" fmla="*/ 2147483647 w 3072"/>
                <a:gd name="T21" fmla="*/ 2147483647 h 1332"/>
                <a:gd name="T22" fmla="*/ 2147483647 w 3072"/>
                <a:gd name="T23" fmla="*/ 0 h 1332"/>
                <a:gd name="T24" fmla="*/ 2147483647 w 3072"/>
                <a:gd name="T25" fmla="*/ 2147483647 h 1332"/>
                <a:gd name="T26" fmla="*/ 2147483647 w 3072"/>
                <a:gd name="T27" fmla="*/ 2147483647 h 1332"/>
                <a:gd name="T28" fmla="*/ 2147483647 w 3072"/>
                <a:gd name="T29" fmla="*/ 2147483647 h 1332"/>
                <a:gd name="T30" fmla="*/ 2147483647 w 3072"/>
                <a:gd name="T31" fmla="*/ 2147483647 h 1332"/>
                <a:gd name="T32" fmla="*/ 2147483647 w 3072"/>
                <a:gd name="T33" fmla="*/ 2147483647 h 1332"/>
                <a:gd name="T34" fmla="*/ 2147483647 w 3072"/>
                <a:gd name="T35" fmla="*/ 2147483647 h 1332"/>
                <a:gd name="T36" fmla="*/ 2147483647 w 3072"/>
                <a:gd name="T37" fmla="*/ 2147483647 h 1332"/>
                <a:gd name="T38" fmla="*/ 2147483647 w 3072"/>
                <a:gd name="T39" fmla="*/ 2147483647 h 1332"/>
                <a:gd name="T40" fmla="*/ 2147483647 w 3072"/>
                <a:gd name="T41" fmla="*/ 2147483647 h 1332"/>
                <a:gd name="T42" fmla="*/ 2147483647 w 3072"/>
                <a:gd name="T43" fmla="*/ 2147483647 h 1332"/>
                <a:gd name="T44" fmla="*/ 2147483647 w 3072"/>
                <a:gd name="T45" fmla="*/ 2147483647 h 1332"/>
                <a:gd name="T46" fmla="*/ 2147483647 w 3072"/>
                <a:gd name="T47" fmla="*/ 2147483647 h 1332"/>
                <a:gd name="T48" fmla="*/ 2147483647 w 3072"/>
                <a:gd name="T49" fmla="*/ 2147483647 h 1332"/>
                <a:gd name="T50" fmla="*/ 2147483647 w 3072"/>
                <a:gd name="T51" fmla="*/ 2147483647 h 1332"/>
                <a:gd name="T52" fmla="*/ 2147483647 w 3072"/>
                <a:gd name="T53" fmla="*/ 2147483647 h 1332"/>
                <a:gd name="T54" fmla="*/ 2147483647 w 3072"/>
                <a:gd name="T55" fmla="*/ 2147483647 h 1332"/>
                <a:gd name="T56" fmla="*/ 2147483647 w 3072"/>
                <a:gd name="T57" fmla="*/ 2147483647 h 1332"/>
                <a:gd name="T58" fmla="*/ 2147483647 w 3072"/>
                <a:gd name="T59" fmla="*/ 2147483647 h 1332"/>
                <a:gd name="T60" fmla="*/ 2147483647 w 3072"/>
                <a:gd name="T61" fmla="*/ 2147483647 h 1332"/>
                <a:gd name="T62" fmla="*/ 2147483647 w 3072"/>
                <a:gd name="T63" fmla="*/ 2147483647 h 1332"/>
                <a:gd name="T64" fmla="*/ 2147483647 w 3072"/>
                <a:gd name="T65" fmla="*/ 2147483647 h 1332"/>
                <a:gd name="T66" fmla="*/ 2147483647 w 3072"/>
                <a:gd name="T67" fmla="*/ 2147483647 h 1332"/>
                <a:gd name="T68" fmla="*/ 2147483647 w 3072"/>
                <a:gd name="T69" fmla="*/ 2147483647 h 1332"/>
                <a:gd name="T70" fmla="*/ 2147483647 w 3072"/>
                <a:gd name="T71" fmla="*/ 2147483647 h 1332"/>
                <a:gd name="T72" fmla="*/ 2147483647 w 3072"/>
                <a:gd name="T73" fmla="*/ 2147483647 h 1332"/>
                <a:gd name="T74" fmla="*/ 2147483647 w 3072"/>
                <a:gd name="T75" fmla="*/ 2147483647 h 1332"/>
                <a:gd name="T76" fmla="*/ 2147483647 w 3072"/>
                <a:gd name="T77" fmla="*/ 2147483647 h 1332"/>
                <a:gd name="T78" fmla="*/ 2147483647 w 3072"/>
                <a:gd name="T79" fmla="*/ 2147483647 h 1332"/>
                <a:gd name="T80" fmla="*/ 2147483647 w 3072"/>
                <a:gd name="T81" fmla="*/ 2147483647 h 1332"/>
                <a:gd name="T82" fmla="*/ 2147483647 w 3072"/>
                <a:gd name="T83" fmla="*/ 2147483647 h 1332"/>
                <a:gd name="T84" fmla="*/ 2147483647 w 3072"/>
                <a:gd name="T85" fmla="*/ 2147483647 h 1332"/>
                <a:gd name="T86" fmla="*/ 2147483647 w 3072"/>
                <a:gd name="T87" fmla="*/ 2147483647 h 1332"/>
                <a:gd name="T88" fmla="*/ 2147483647 w 3072"/>
                <a:gd name="T89" fmla="*/ 2147483647 h 1332"/>
                <a:gd name="T90" fmla="*/ 2147483647 w 3072"/>
                <a:gd name="T91" fmla="*/ 2147483647 h 1332"/>
                <a:gd name="T92" fmla="*/ 2147483647 w 3072"/>
                <a:gd name="T93" fmla="*/ 2147483647 h 1332"/>
                <a:gd name="T94" fmla="*/ 2147483647 w 3072"/>
                <a:gd name="T95" fmla="*/ 2147483647 h 1332"/>
                <a:gd name="T96" fmla="*/ 2147483647 w 3072"/>
                <a:gd name="T97" fmla="*/ 2147483647 h 1332"/>
                <a:gd name="T98" fmla="*/ 2147483647 w 3072"/>
                <a:gd name="T99" fmla="*/ 2147483647 h 1332"/>
                <a:gd name="T100" fmla="*/ 2147483647 w 3072"/>
                <a:gd name="T101" fmla="*/ 2147483647 h 1332"/>
                <a:gd name="T102" fmla="*/ 2147483647 w 3072"/>
                <a:gd name="T103" fmla="*/ 2147483647 h 1332"/>
                <a:gd name="T104" fmla="*/ 2147483647 w 3072"/>
                <a:gd name="T105" fmla="*/ 2147483647 h 1332"/>
                <a:gd name="T106" fmla="*/ 2147483647 w 3072"/>
                <a:gd name="T107" fmla="*/ 2147483647 h 1332"/>
                <a:gd name="T108" fmla="*/ 2147483647 w 3072"/>
                <a:gd name="T109" fmla="*/ 2147483647 h 1332"/>
                <a:gd name="T110" fmla="*/ 2147483647 w 3072"/>
                <a:gd name="T111" fmla="*/ 2147483647 h 1332"/>
                <a:gd name="T112" fmla="*/ 2147483647 w 3072"/>
                <a:gd name="T113" fmla="*/ 2147483647 h 1332"/>
                <a:gd name="T114" fmla="*/ 2147483647 w 3072"/>
                <a:gd name="T115" fmla="*/ 2147483647 h 1332"/>
                <a:gd name="T116" fmla="*/ 2147483647 w 3072"/>
                <a:gd name="T117" fmla="*/ 2147483647 h 1332"/>
                <a:gd name="T118" fmla="*/ 2147483647 w 3072"/>
                <a:gd name="T119" fmla="*/ 2147483647 h 1332"/>
                <a:gd name="T120" fmla="*/ 2147483647 w 3072"/>
                <a:gd name="T121" fmla="*/ 2147483647 h 133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72"/>
                <a:gd name="T184" fmla="*/ 0 h 1332"/>
                <a:gd name="T185" fmla="*/ 3072 w 3072"/>
                <a:gd name="T186" fmla="*/ 1332 h 133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72" h="1332">
                  <a:moveTo>
                    <a:pt x="2454" y="930"/>
                  </a:moveTo>
                  <a:lnTo>
                    <a:pt x="2418" y="966"/>
                  </a:lnTo>
                  <a:lnTo>
                    <a:pt x="2400" y="1002"/>
                  </a:lnTo>
                  <a:lnTo>
                    <a:pt x="2412" y="1002"/>
                  </a:lnTo>
                  <a:lnTo>
                    <a:pt x="2448" y="984"/>
                  </a:lnTo>
                  <a:lnTo>
                    <a:pt x="2460" y="972"/>
                  </a:lnTo>
                  <a:lnTo>
                    <a:pt x="2460" y="954"/>
                  </a:lnTo>
                  <a:lnTo>
                    <a:pt x="2472" y="942"/>
                  </a:lnTo>
                  <a:lnTo>
                    <a:pt x="2460" y="930"/>
                  </a:lnTo>
                  <a:lnTo>
                    <a:pt x="2454" y="930"/>
                  </a:lnTo>
                  <a:close/>
                  <a:moveTo>
                    <a:pt x="2400" y="930"/>
                  </a:moveTo>
                  <a:lnTo>
                    <a:pt x="2388" y="930"/>
                  </a:lnTo>
                  <a:lnTo>
                    <a:pt x="2376" y="936"/>
                  </a:lnTo>
                  <a:lnTo>
                    <a:pt x="2364" y="948"/>
                  </a:lnTo>
                  <a:lnTo>
                    <a:pt x="2364" y="954"/>
                  </a:lnTo>
                  <a:lnTo>
                    <a:pt x="2370" y="966"/>
                  </a:lnTo>
                  <a:lnTo>
                    <a:pt x="2376" y="972"/>
                  </a:lnTo>
                  <a:lnTo>
                    <a:pt x="2406" y="972"/>
                  </a:lnTo>
                  <a:lnTo>
                    <a:pt x="2412" y="960"/>
                  </a:lnTo>
                  <a:lnTo>
                    <a:pt x="2418" y="954"/>
                  </a:lnTo>
                  <a:lnTo>
                    <a:pt x="2418" y="942"/>
                  </a:lnTo>
                  <a:lnTo>
                    <a:pt x="2406" y="936"/>
                  </a:lnTo>
                  <a:lnTo>
                    <a:pt x="2400" y="930"/>
                  </a:lnTo>
                  <a:close/>
                  <a:moveTo>
                    <a:pt x="2316" y="1188"/>
                  </a:moveTo>
                  <a:lnTo>
                    <a:pt x="2328" y="1188"/>
                  </a:lnTo>
                  <a:lnTo>
                    <a:pt x="2340" y="1152"/>
                  </a:lnTo>
                  <a:lnTo>
                    <a:pt x="2322" y="1158"/>
                  </a:lnTo>
                  <a:lnTo>
                    <a:pt x="2316" y="1188"/>
                  </a:lnTo>
                  <a:close/>
                  <a:moveTo>
                    <a:pt x="2388" y="1074"/>
                  </a:moveTo>
                  <a:lnTo>
                    <a:pt x="2370" y="1086"/>
                  </a:lnTo>
                  <a:lnTo>
                    <a:pt x="2382" y="1098"/>
                  </a:lnTo>
                  <a:lnTo>
                    <a:pt x="2388" y="1098"/>
                  </a:lnTo>
                  <a:lnTo>
                    <a:pt x="2382" y="1104"/>
                  </a:lnTo>
                  <a:lnTo>
                    <a:pt x="2376" y="1104"/>
                  </a:lnTo>
                  <a:lnTo>
                    <a:pt x="2364" y="1116"/>
                  </a:lnTo>
                  <a:lnTo>
                    <a:pt x="2358" y="1116"/>
                  </a:lnTo>
                  <a:lnTo>
                    <a:pt x="2352" y="1122"/>
                  </a:lnTo>
                  <a:lnTo>
                    <a:pt x="2352" y="1152"/>
                  </a:lnTo>
                  <a:lnTo>
                    <a:pt x="2358" y="1164"/>
                  </a:lnTo>
                  <a:lnTo>
                    <a:pt x="2358" y="1188"/>
                  </a:lnTo>
                  <a:lnTo>
                    <a:pt x="2370" y="1182"/>
                  </a:lnTo>
                  <a:lnTo>
                    <a:pt x="2376" y="1170"/>
                  </a:lnTo>
                  <a:lnTo>
                    <a:pt x="2388" y="1164"/>
                  </a:lnTo>
                  <a:lnTo>
                    <a:pt x="2394" y="1158"/>
                  </a:lnTo>
                  <a:lnTo>
                    <a:pt x="2394" y="1146"/>
                  </a:lnTo>
                  <a:lnTo>
                    <a:pt x="2382" y="1134"/>
                  </a:lnTo>
                  <a:lnTo>
                    <a:pt x="2394" y="1134"/>
                  </a:lnTo>
                  <a:lnTo>
                    <a:pt x="2412" y="1116"/>
                  </a:lnTo>
                  <a:lnTo>
                    <a:pt x="2412" y="1098"/>
                  </a:lnTo>
                  <a:lnTo>
                    <a:pt x="2388" y="1074"/>
                  </a:lnTo>
                  <a:close/>
                  <a:moveTo>
                    <a:pt x="2562" y="1080"/>
                  </a:moveTo>
                  <a:lnTo>
                    <a:pt x="2550" y="1080"/>
                  </a:lnTo>
                  <a:lnTo>
                    <a:pt x="2550" y="1074"/>
                  </a:lnTo>
                  <a:lnTo>
                    <a:pt x="2544" y="1068"/>
                  </a:lnTo>
                  <a:lnTo>
                    <a:pt x="2538" y="1068"/>
                  </a:lnTo>
                  <a:lnTo>
                    <a:pt x="2532" y="1062"/>
                  </a:lnTo>
                  <a:lnTo>
                    <a:pt x="2520" y="1056"/>
                  </a:lnTo>
                  <a:lnTo>
                    <a:pt x="2514" y="1050"/>
                  </a:lnTo>
                  <a:lnTo>
                    <a:pt x="2514" y="1044"/>
                  </a:lnTo>
                  <a:lnTo>
                    <a:pt x="2520" y="1032"/>
                  </a:lnTo>
                  <a:lnTo>
                    <a:pt x="2520" y="1020"/>
                  </a:lnTo>
                  <a:lnTo>
                    <a:pt x="2526" y="1008"/>
                  </a:lnTo>
                  <a:lnTo>
                    <a:pt x="2532" y="1002"/>
                  </a:lnTo>
                  <a:lnTo>
                    <a:pt x="2532" y="960"/>
                  </a:lnTo>
                  <a:lnTo>
                    <a:pt x="2550" y="924"/>
                  </a:lnTo>
                  <a:lnTo>
                    <a:pt x="2550" y="906"/>
                  </a:lnTo>
                  <a:lnTo>
                    <a:pt x="2544" y="894"/>
                  </a:lnTo>
                  <a:lnTo>
                    <a:pt x="2526" y="876"/>
                  </a:lnTo>
                  <a:lnTo>
                    <a:pt x="2538" y="864"/>
                  </a:lnTo>
                  <a:lnTo>
                    <a:pt x="2538" y="834"/>
                  </a:lnTo>
                  <a:lnTo>
                    <a:pt x="2544" y="828"/>
                  </a:lnTo>
                  <a:lnTo>
                    <a:pt x="2550" y="828"/>
                  </a:lnTo>
                  <a:lnTo>
                    <a:pt x="2556" y="822"/>
                  </a:lnTo>
                  <a:lnTo>
                    <a:pt x="2550" y="816"/>
                  </a:lnTo>
                  <a:lnTo>
                    <a:pt x="2532" y="810"/>
                  </a:lnTo>
                  <a:lnTo>
                    <a:pt x="2520" y="810"/>
                  </a:lnTo>
                  <a:lnTo>
                    <a:pt x="2502" y="816"/>
                  </a:lnTo>
                  <a:lnTo>
                    <a:pt x="2490" y="816"/>
                  </a:lnTo>
                  <a:lnTo>
                    <a:pt x="2484" y="822"/>
                  </a:lnTo>
                  <a:lnTo>
                    <a:pt x="2478" y="822"/>
                  </a:lnTo>
                  <a:lnTo>
                    <a:pt x="2478" y="834"/>
                  </a:lnTo>
                  <a:lnTo>
                    <a:pt x="2460" y="834"/>
                  </a:lnTo>
                  <a:lnTo>
                    <a:pt x="2454" y="840"/>
                  </a:lnTo>
                  <a:lnTo>
                    <a:pt x="2442" y="846"/>
                  </a:lnTo>
                  <a:lnTo>
                    <a:pt x="2430" y="846"/>
                  </a:lnTo>
                  <a:lnTo>
                    <a:pt x="2418" y="852"/>
                  </a:lnTo>
                  <a:lnTo>
                    <a:pt x="2406" y="852"/>
                  </a:lnTo>
                  <a:lnTo>
                    <a:pt x="2400" y="858"/>
                  </a:lnTo>
                  <a:lnTo>
                    <a:pt x="2394" y="858"/>
                  </a:lnTo>
                  <a:lnTo>
                    <a:pt x="2388" y="864"/>
                  </a:lnTo>
                  <a:lnTo>
                    <a:pt x="2376" y="870"/>
                  </a:lnTo>
                  <a:lnTo>
                    <a:pt x="2370" y="876"/>
                  </a:lnTo>
                  <a:lnTo>
                    <a:pt x="2364" y="876"/>
                  </a:lnTo>
                  <a:lnTo>
                    <a:pt x="2364" y="864"/>
                  </a:lnTo>
                  <a:lnTo>
                    <a:pt x="2382" y="846"/>
                  </a:lnTo>
                  <a:lnTo>
                    <a:pt x="2376" y="840"/>
                  </a:lnTo>
                  <a:lnTo>
                    <a:pt x="2364" y="834"/>
                  </a:lnTo>
                  <a:lnTo>
                    <a:pt x="2358" y="828"/>
                  </a:lnTo>
                  <a:lnTo>
                    <a:pt x="2358" y="810"/>
                  </a:lnTo>
                  <a:lnTo>
                    <a:pt x="2352" y="798"/>
                  </a:lnTo>
                  <a:lnTo>
                    <a:pt x="2352" y="792"/>
                  </a:lnTo>
                  <a:lnTo>
                    <a:pt x="2376" y="768"/>
                  </a:lnTo>
                  <a:lnTo>
                    <a:pt x="2340" y="768"/>
                  </a:lnTo>
                  <a:lnTo>
                    <a:pt x="2328" y="780"/>
                  </a:lnTo>
                  <a:lnTo>
                    <a:pt x="2274" y="780"/>
                  </a:lnTo>
                  <a:lnTo>
                    <a:pt x="2274" y="768"/>
                  </a:lnTo>
                  <a:lnTo>
                    <a:pt x="2280" y="756"/>
                  </a:lnTo>
                  <a:lnTo>
                    <a:pt x="2292" y="750"/>
                  </a:lnTo>
                  <a:lnTo>
                    <a:pt x="2298" y="744"/>
                  </a:lnTo>
                  <a:lnTo>
                    <a:pt x="3072" y="108"/>
                  </a:lnTo>
                  <a:lnTo>
                    <a:pt x="3054" y="108"/>
                  </a:lnTo>
                  <a:lnTo>
                    <a:pt x="3054" y="102"/>
                  </a:lnTo>
                  <a:lnTo>
                    <a:pt x="3048" y="90"/>
                  </a:lnTo>
                  <a:lnTo>
                    <a:pt x="3036" y="84"/>
                  </a:lnTo>
                  <a:lnTo>
                    <a:pt x="3030" y="78"/>
                  </a:lnTo>
                  <a:lnTo>
                    <a:pt x="3012" y="78"/>
                  </a:lnTo>
                  <a:lnTo>
                    <a:pt x="2988" y="84"/>
                  </a:lnTo>
                  <a:lnTo>
                    <a:pt x="2964" y="84"/>
                  </a:lnTo>
                  <a:lnTo>
                    <a:pt x="2928" y="96"/>
                  </a:lnTo>
                  <a:lnTo>
                    <a:pt x="2916" y="96"/>
                  </a:lnTo>
                  <a:lnTo>
                    <a:pt x="2892" y="84"/>
                  </a:lnTo>
                  <a:lnTo>
                    <a:pt x="2886" y="78"/>
                  </a:lnTo>
                  <a:lnTo>
                    <a:pt x="2874" y="72"/>
                  </a:lnTo>
                  <a:lnTo>
                    <a:pt x="2784" y="72"/>
                  </a:lnTo>
                  <a:lnTo>
                    <a:pt x="2772" y="66"/>
                  </a:lnTo>
                  <a:lnTo>
                    <a:pt x="2766" y="60"/>
                  </a:lnTo>
                  <a:lnTo>
                    <a:pt x="2748" y="60"/>
                  </a:lnTo>
                  <a:lnTo>
                    <a:pt x="2736" y="54"/>
                  </a:lnTo>
                  <a:lnTo>
                    <a:pt x="2598" y="54"/>
                  </a:lnTo>
                  <a:lnTo>
                    <a:pt x="2598" y="42"/>
                  </a:lnTo>
                  <a:lnTo>
                    <a:pt x="2604" y="36"/>
                  </a:lnTo>
                  <a:lnTo>
                    <a:pt x="2592" y="36"/>
                  </a:lnTo>
                  <a:lnTo>
                    <a:pt x="2574" y="30"/>
                  </a:lnTo>
                  <a:lnTo>
                    <a:pt x="2562" y="30"/>
                  </a:lnTo>
                  <a:lnTo>
                    <a:pt x="2550" y="24"/>
                  </a:lnTo>
                  <a:lnTo>
                    <a:pt x="2532" y="24"/>
                  </a:lnTo>
                  <a:lnTo>
                    <a:pt x="2520" y="30"/>
                  </a:lnTo>
                  <a:lnTo>
                    <a:pt x="2496" y="30"/>
                  </a:lnTo>
                  <a:lnTo>
                    <a:pt x="2490" y="36"/>
                  </a:lnTo>
                  <a:lnTo>
                    <a:pt x="2484" y="36"/>
                  </a:lnTo>
                  <a:lnTo>
                    <a:pt x="2514" y="0"/>
                  </a:lnTo>
                  <a:lnTo>
                    <a:pt x="2430" y="36"/>
                  </a:lnTo>
                  <a:lnTo>
                    <a:pt x="2460" y="0"/>
                  </a:lnTo>
                  <a:lnTo>
                    <a:pt x="2430" y="0"/>
                  </a:lnTo>
                  <a:lnTo>
                    <a:pt x="2418" y="6"/>
                  </a:lnTo>
                  <a:lnTo>
                    <a:pt x="2412" y="12"/>
                  </a:lnTo>
                  <a:lnTo>
                    <a:pt x="2358" y="30"/>
                  </a:lnTo>
                  <a:lnTo>
                    <a:pt x="2232" y="30"/>
                  </a:lnTo>
                  <a:lnTo>
                    <a:pt x="2214" y="36"/>
                  </a:lnTo>
                  <a:lnTo>
                    <a:pt x="2208" y="42"/>
                  </a:lnTo>
                  <a:lnTo>
                    <a:pt x="2184" y="54"/>
                  </a:lnTo>
                  <a:lnTo>
                    <a:pt x="2172" y="54"/>
                  </a:lnTo>
                  <a:lnTo>
                    <a:pt x="2166" y="60"/>
                  </a:lnTo>
                  <a:lnTo>
                    <a:pt x="2046" y="60"/>
                  </a:lnTo>
                  <a:lnTo>
                    <a:pt x="2004" y="72"/>
                  </a:lnTo>
                  <a:lnTo>
                    <a:pt x="1956" y="102"/>
                  </a:lnTo>
                  <a:lnTo>
                    <a:pt x="1902" y="132"/>
                  </a:lnTo>
                  <a:lnTo>
                    <a:pt x="1854" y="144"/>
                  </a:lnTo>
                  <a:lnTo>
                    <a:pt x="1758" y="156"/>
                  </a:lnTo>
                  <a:lnTo>
                    <a:pt x="1722" y="162"/>
                  </a:lnTo>
                  <a:lnTo>
                    <a:pt x="1704" y="162"/>
                  </a:lnTo>
                  <a:lnTo>
                    <a:pt x="1698" y="168"/>
                  </a:lnTo>
                  <a:lnTo>
                    <a:pt x="1644" y="186"/>
                  </a:lnTo>
                  <a:lnTo>
                    <a:pt x="1632" y="192"/>
                  </a:lnTo>
                  <a:lnTo>
                    <a:pt x="1620" y="192"/>
                  </a:lnTo>
                  <a:lnTo>
                    <a:pt x="1620" y="198"/>
                  </a:lnTo>
                  <a:lnTo>
                    <a:pt x="1626" y="204"/>
                  </a:lnTo>
                  <a:lnTo>
                    <a:pt x="1638" y="210"/>
                  </a:lnTo>
                  <a:lnTo>
                    <a:pt x="1650" y="222"/>
                  </a:lnTo>
                  <a:lnTo>
                    <a:pt x="1656" y="222"/>
                  </a:lnTo>
                  <a:lnTo>
                    <a:pt x="1662" y="234"/>
                  </a:lnTo>
                  <a:lnTo>
                    <a:pt x="1662" y="240"/>
                  </a:lnTo>
                  <a:lnTo>
                    <a:pt x="1668" y="252"/>
                  </a:lnTo>
                  <a:lnTo>
                    <a:pt x="1668" y="264"/>
                  </a:lnTo>
                  <a:lnTo>
                    <a:pt x="1662" y="264"/>
                  </a:lnTo>
                  <a:lnTo>
                    <a:pt x="1650" y="270"/>
                  </a:lnTo>
                  <a:lnTo>
                    <a:pt x="1644" y="282"/>
                  </a:lnTo>
                  <a:lnTo>
                    <a:pt x="1734" y="282"/>
                  </a:lnTo>
                  <a:lnTo>
                    <a:pt x="1704" y="318"/>
                  </a:lnTo>
                  <a:lnTo>
                    <a:pt x="1770" y="318"/>
                  </a:lnTo>
                  <a:lnTo>
                    <a:pt x="1764" y="336"/>
                  </a:lnTo>
                  <a:lnTo>
                    <a:pt x="1710" y="336"/>
                  </a:lnTo>
                  <a:lnTo>
                    <a:pt x="1698" y="348"/>
                  </a:lnTo>
                  <a:lnTo>
                    <a:pt x="1632" y="348"/>
                  </a:lnTo>
                  <a:lnTo>
                    <a:pt x="1614" y="354"/>
                  </a:lnTo>
                  <a:lnTo>
                    <a:pt x="1560" y="354"/>
                  </a:lnTo>
                  <a:lnTo>
                    <a:pt x="1554" y="348"/>
                  </a:lnTo>
                  <a:lnTo>
                    <a:pt x="1548" y="348"/>
                  </a:lnTo>
                  <a:lnTo>
                    <a:pt x="1554" y="342"/>
                  </a:lnTo>
                  <a:lnTo>
                    <a:pt x="1560" y="342"/>
                  </a:lnTo>
                  <a:lnTo>
                    <a:pt x="1572" y="330"/>
                  </a:lnTo>
                  <a:lnTo>
                    <a:pt x="1566" y="324"/>
                  </a:lnTo>
                  <a:lnTo>
                    <a:pt x="1458" y="324"/>
                  </a:lnTo>
                  <a:lnTo>
                    <a:pt x="1452" y="330"/>
                  </a:lnTo>
                  <a:lnTo>
                    <a:pt x="1452" y="348"/>
                  </a:lnTo>
                  <a:lnTo>
                    <a:pt x="1434" y="348"/>
                  </a:lnTo>
                  <a:lnTo>
                    <a:pt x="1422" y="354"/>
                  </a:lnTo>
                  <a:lnTo>
                    <a:pt x="1404" y="354"/>
                  </a:lnTo>
                  <a:lnTo>
                    <a:pt x="1386" y="360"/>
                  </a:lnTo>
                  <a:lnTo>
                    <a:pt x="1338" y="360"/>
                  </a:lnTo>
                  <a:lnTo>
                    <a:pt x="1308" y="366"/>
                  </a:lnTo>
                  <a:lnTo>
                    <a:pt x="1254" y="384"/>
                  </a:lnTo>
                  <a:lnTo>
                    <a:pt x="1254" y="390"/>
                  </a:lnTo>
                  <a:lnTo>
                    <a:pt x="1272" y="396"/>
                  </a:lnTo>
                  <a:lnTo>
                    <a:pt x="1284" y="402"/>
                  </a:lnTo>
                  <a:lnTo>
                    <a:pt x="1314" y="402"/>
                  </a:lnTo>
                  <a:lnTo>
                    <a:pt x="1272" y="420"/>
                  </a:lnTo>
                  <a:lnTo>
                    <a:pt x="1260" y="462"/>
                  </a:lnTo>
                  <a:lnTo>
                    <a:pt x="1272" y="462"/>
                  </a:lnTo>
                  <a:lnTo>
                    <a:pt x="1290" y="468"/>
                  </a:lnTo>
                  <a:lnTo>
                    <a:pt x="1338" y="468"/>
                  </a:lnTo>
                  <a:lnTo>
                    <a:pt x="1350" y="462"/>
                  </a:lnTo>
                  <a:lnTo>
                    <a:pt x="1362" y="462"/>
                  </a:lnTo>
                  <a:lnTo>
                    <a:pt x="1410" y="474"/>
                  </a:lnTo>
                  <a:lnTo>
                    <a:pt x="1422" y="456"/>
                  </a:lnTo>
                  <a:lnTo>
                    <a:pt x="1434" y="474"/>
                  </a:lnTo>
                  <a:lnTo>
                    <a:pt x="1446" y="468"/>
                  </a:lnTo>
                  <a:lnTo>
                    <a:pt x="1452" y="462"/>
                  </a:lnTo>
                  <a:lnTo>
                    <a:pt x="1476" y="450"/>
                  </a:lnTo>
                  <a:lnTo>
                    <a:pt x="1482" y="444"/>
                  </a:lnTo>
                  <a:lnTo>
                    <a:pt x="1494" y="444"/>
                  </a:lnTo>
                  <a:lnTo>
                    <a:pt x="1506" y="450"/>
                  </a:lnTo>
                  <a:lnTo>
                    <a:pt x="1524" y="450"/>
                  </a:lnTo>
                  <a:lnTo>
                    <a:pt x="1536" y="444"/>
                  </a:lnTo>
                  <a:lnTo>
                    <a:pt x="1542" y="438"/>
                  </a:lnTo>
                  <a:lnTo>
                    <a:pt x="1554" y="432"/>
                  </a:lnTo>
                  <a:lnTo>
                    <a:pt x="1560" y="432"/>
                  </a:lnTo>
                  <a:lnTo>
                    <a:pt x="1566" y="426"/>
                  </a:lnTo>
                  <a:lnTo>
                    <a:pt x="1566" y="450"/>
                  </a:lnTo>
                  <a:lnTo>
                    <a:pt x="1560" y="462"/>
                  </a:lnTo>
                  <a:lnTo>
                    <a:pt x="1554" y="468"/>
                  </a:lnTo>
                  <a:lnTo>
                    <a:pt x="1500" y="468"/>
                  </a:lnTo>
                  <a:lnTo>
                    <a:pt x="1506" y="498"/>
                  </a:lnTo>
                  <a:lnTo>
                    <a:pt x="1494" y="504"/>
                  </a:lnTo>
                  <a:lnTo>
                    <a:pt x="1488" y="516"/>
                  </a:lnTo>
                  <a:lnTo>
                    <a:pt x="1476" y="522"/>
                  </a:lnTo>
                  <a:lnTo>
                    <a:pt x="1464" y="534"/>
                  </a:lnTo>
                  <a:lnTo>
                    <a:pt x="1446" y="540"/>
                  </a:lnTo>
                  <a:lnTo>
                    <a:pt x="1380" y="540"/>
                  </a:lnTo>
                  <a:lnTo>
                    <a:pt x="1362" y="522"/>
                  </a:lnTo>
                  <a:lnTo>
                    <a:pt x="1344" y="534"/>
                  </a:lnTo>
                  <a:lnTo>
                    <a:pt x="1344" y="546"/>
                  </a:lnTo>
                  <a:lnTo>
                    <a:pt x="1338" y="546"/>
                  </a:lnTo>
                  <a:lnTo>
                    <a:pt x="1332" y="552"/>
                  </a:lnTo>
                  <a:lnTo>
                    <a:pt x="1320" y="558"/>
                  </a:lnTo>
                  <a:lnTo>
                    <a:pt x="1302" y="564"/>
                  </a:lnTo>
                  <a:lnTo>
                    <a:pt x="1290" y="570"/>
                  </a:lnTo>
                  <a:lnTo>
                    <a:pt x="1266" y="570"/>
                  </a:lnTo>
                  <a:lnTo>
                    <a:pt x="1242" y="558"/>
                  </a:lnTo>
                  <a:lnTo>
                    <a:pt x="1236" y="558"/>
                  </a:lnTo>
                  <a:lnTo>
                    <a:pt x="1140" y="606"/>
                  </a:lnTo>
                  <a:lnTo>
                    <a:pt x="1122" y="624"/>
                  </a:lnTo>
                  <a:lnTo>
                    <a:pt x="1116" y="606"/>
                  </a:lnTo>
                  <a:lnTo>
                    <a:pt x="1080" y="624"/>
                  </a:lnTo>
                  <a:lnTo>
                    <a:pt x="1068" y="624"/>
                  </a:lnTo>
                  <a:lnTo>
                    <a:pt x="1044" y="636"/>
                  </a:lnTo>
                  <a:lnTo>
                    <a:pt x="1020" y="660"/>
                  </a:lnTo>
                  <a:lnTo>
                    <a:pt x="990" y="648"/>
                  </a:lnTo>
                  <a:lnTo>
                    <a:pt x="990" y="672"/>
                  </a:lnTo>
                  <a:lnTo>
                    <a:pt x="984" y="666"/>
                  </a:lnTo>
                  <a:lnTo>
                    <a:pt x="972" y="666"/>
                  </a:lnTo>
                  <a:lnTo>
                    <a:pt x="966" y="672"/>
                  </a:lnTo>
                  <a:lnTo>
                    <a:pt x="966" y="690"/>
                  </a:lnTo>
                  <a:lnTo>
                    <a:pt x="954" y="708"/>
                  </a:lnTo>
                  <a:lnTo>
                    <a:pt x="1014" y="684"/>
                  </a:lnTo>
                  <a:lnTo>
                    <a:pt x="990" y="702"/>
                  </a:lnTo>
                  <a:lnTo>
                    <a:pt x="990" y="714"/>
                  </a:lnTo>
                  <a:lnTo>
                    <a:pt x="972" y="726"/>
                  </a:lnTo>
                  <a:lnTo>
                    <a:pt x="1026" y="726"/>
                  </a:lnTo>
                  <a:lnTo>
                    <a:pt x="1032" y="732"/>
                  </a:lnTo>
                  <a:lnTo>
                    <a:pt x="1032" y="738"/>
                  </a:lnTo>
                  <a:lnTo>
                    <a:pt x="1020" y="744"/>
                  </a:lnTo>
                  <a:lnTo>
                    <a:pt x="984" y="744"/>
                  </a:lnTo>
                  <a:lnTo>
                    <a:pt x="960" y="750"/>
                  </a:lnTo>
                  <a:lnTo>
                    <a:pt x="972" y="738"/>
                  </a:lnTo>
                  <a:lnTo>
                    <a:pt x="960" y="732"/>
                  </a:lnTo>
                  <a:lnTo>
                    <a:pt x="954" y="732"/>
                  </a:lnTo>
                  <a:lnTo>
                    <a:pt x="948" y="738"/>
                  </a:lnTo>
                  <a:lnTo>
                    <a:pt x="936" y="744"/>
                  </a:lnTo>
                  <a:lnTo>
                    <a:pt x="930" y="750"/>
                  </a:lnTo>
                  <a:lnTo>
                    <a:pt x="924" y="750"/>
                  </a:lnTo>
                  <a:lnTo>
                    <a:pt x="918" y="756"/>
                  </a:lnTo>
                  <a:lnTo>
                    <a:pt x="924" y="756"/>
                  </a:lnTo>
                  <a:lnTo>
                    <a:pt x="930" y="762"/>
                  </a:lnTo>
                  <a:lnTo>
                    <a:pt x="930" y="768"/>
                  </a:lnTo>
                  <a:lnTo>
                    <a:pt x="924" y="774"/>
                  </a:lnTo>
                  <a:lnTo>
                    <a:pt x="924" y="780"/>
                  </a:lnTo>
                  <a:lnTo>
                    <a:pt x="918" y="792"/>
                  </a:lnTo>
                  <a:lnTo>
                    <a:pt x="918" y="804"/>
                  </a:lnTo>
                  <a:lnTo>
                    <a:pt x="990" y="804"/>
                  </a:lnTo>
                  <a:lnTo>
                    <a:pt x="1038" y="774"/>
                  </a:lnTo>
                  <a:lnTo>
                    <a:pt x="1104" y="750"/>
                  </a:lnTo>
                  <a:lnTo>
                    <a:pt x="1098" y="750"/>
                  </a:lnTo>
                  <a:lnTo>
                    <a:pt x="1092" y="756"/>
                  </a:lnTo>
                  <a:lnTo>
                    <a:pt x="1080" y="762"/>
                  </a:lnTo>
                  <a:lnTo>
                    <a:pt x="1062" y="768"/>
                  </a:lnTo>
                  <a:lnTo>
                    <a:pt x="1050" y="780"/>
                  </a:lnTo>
                  <a:lnTo>
                    <a:pt x="1038" y="786"/>
                  </a:lnTo>
                  <a:lnTo>
                    <a:pt x="1026" y="798"/>
                  </a:lnTo>
                  <a:lnTo>
                    <a:pt x="1026" y="816"/>
                  </a:lnTo>
                  <a:lnTo>
                    <a:pt x="1020" y="828"/>
                  </a:lnTo>
                  <a:lnTo>
                    <a:pt x="990" y="828"/>
                  </a:lnTo>
                  <a:lnTo>
                    <a:pt x="978" y="834"/>
                  </a:lnTo>
                  <a:lnTo>
                    <a:pt x="972" y="852"/>
                  </a:lnTo>
                  <a:lnTo>
                    <a:pt x="966" y="864"/>
                  </a:lnTo>
                  <a:lnTo>
                    <a:pt x="954" y="870"/>
                  </a:lnTo>
                  <a:lnTo>
                    <a:pt x="942" y="882"/>
                  </a:lnTo>
                  <a:lnTo>
                    <a:pt x="930" y="888"/>
                  </a:lnTo>
                  <a:lnTo>
                    <a:pt x="924" y="894"/>
                  </a:lnTo>
                  <a:lnTo>
                    <a:pt x="978" y="888"/>
                  </a:lnTo>
                  <a:lnTo>
                    <a:pt x="972" y="906"/>
                  </a:lnTo>
                  <a:lnTo>
                    <a:pt x="978" y="894"/>
                  </a:lnTo>
                  <a:lnTo>
                    <a:pt x="990" y="888"/>
                  </a:lnTo>
                  <a:lnTo>
                    <a:pt x="1002" y="876"/>
                  </a:lnTo>
                  <a:lnTo>
                    <a:pt x="1026" y="864"/>
                  </a:lnTo>
                  <a:lnTo>
                    <a:pt x="1038" y="864"/>
                  </a:lnTo>
                  <a:lnTo>
                    <a:pt x="1050" y="870"/>
                  </a:lnTo>
                  <a:lnTo>
                    <a:pt x="1056" y="870"/>
                  </a:lnTo>
                  <a:lnTo>
                    <a:pt x="1056" y="876"/>
                  </a:lnTo>
                  <a:lnTo>
                    <a:pt x="1050" y="876"/>
                  </a:lnTo>
                  <a:lnTo>
                    <a:pt x="1074" y="870"/>
                  </a:lnTo>
                  <a:lnTo>
                    <a:pt x="1068" y="876"/>
                  </a:lnTo>
                  <a:lnTo>
                    <a:pt x="1068" y="906"/>
                  </a:lnTo>
                  <a:lnTo>
                    <a:pt x="1074" y="912"/>
                  </a:lnTo>
                  <a:lnTo>
                    <a:pt x="1092" y="912"/>
                  </a:lnTo>
                  <a:lnTo>
                    <a:pt x="1098" y="900"/>
                  </a:lnTo>
                  <a:lnTo>
                    <a:pt x="1110" y="894"/>
                  </a:lnTo>
                  <a:lnTo>
                    <a:pt x="1116" y="888"/>
                  </a:lnTo>
                  <a:lnTo>
                    <a:pt x="1122" y="876"/>
                  </a:lnTo>
                  <a:lnTo>
                    <a:pt x="1164" y="858"/>
                  </a:lnTo>
                  <a:lnTo>
                    <a:pt x="1176" y="870"/>
                  </a:lnTo>
                  <a:lnTo>
                    <a:pt x="1146" y="870"/>
                  </a:lnTo>
                  <a:lnTo>
                    <a:pt x="1140" y="876"/>
                  </a:lnTo>
                  <a:lnTo>
                    <a:pt x="1140" y="882"/>
                  </a:lnTo>
                  <a:lnTo>
                    <a:pt x="1134" y="888"/>
                  </a:lnTo>
                  <a:lnTo>
                    <a:pt x="1134" y="894"/>
                  </a:lnTo>
                  <a:lnTo>
                    <a:pt x="1152" y="894"/>
                  </a:lnTo>
                  <a:lnTo>
                    <a:pt x="1164" y="888"/>
                  </a:lnTo>
                  <a:lnTo>
                    <a:pt x="1182" y="888"/>
                  </a:lnTo>
                  <a:lnTo>
                    <a:pt x="1200" y="882"/>
                  </a:lnTo>
                  <a:lnTo>
                    <a:pt x="1218" y="882"/>
                  </a:lnTo>
                  <a:lnTo>
                    <a:pt x="1224" y="876"/>
                  </a:lnTo>
                  <a:lnTo>
                    <a:pt x="1230" y="876"/>
                  </a:lnTo>
                  <a:lnTo>
                    <a:pt x="1272" y="858"/>
                  </a:lnTo>
                  <a:lnTo>
                    <a:pt x="1224" y="882"/>
                  </a:lnTo>
                  <a:lnTo>
                    <a:pt x="1224" y="894"/>
                  </a:lnTo>
                  <a:lnTo>
                    <a:pt x="1212" y="894"/>
                  </a:lnTo>
                  <a:lnTo>
                    <a:pt x="1200" y="900"/>
                  </a:lnTo>
                  <a:lnTo>
                    <a:pt x="1188" y="900"/>
                  </a:lnTo>
                  <a:lnTo>
                    <a:pt x="1176" y="906"/>
                  </a:lnTo>
                  <a:lnTo>
                    <a:pt x="1170" y="912"/>
                  </a:lnTo>
                  <a:lnTo>
                    <a:pt x="1158" y="918"/>
                  </a:lnTo>
                  <a:lnTo>
                    <a:pt x="1152" y="930"/>
                  </a:lnTo>
                  <a:lnTo>
                    <a:pt x="1122" y="930"/>
                  </a:lnTo>
                  <a:lnTo>
                    <a:pt x="1086" y="960"/>
                  </a:lnTo>
                  <a:lnTo>
                    <a:pt x="1086" y="978"/>
                  </a:lnTo>
                  <a:lnTo>
                    <a:pt x="1038" y="978"/>
                  </a:lnTo>
                  <a:lnTo>
                    <a:pt x="1032" y="984"/>
                  </a:lnTo>
                  <a:lnTo>
                    <a:pt x="1020" y="984"/>
                  </a:lnTo>
                  <a:lnTo>
                    <a:pt x="1002" y="990"/>
                  </a:lnTo>
                  <a:lnTo>
                    <a:pt x="990" y="996"/>
                  </a:lnTo>
                  <a:lnTo>
                    <a:pt x="978" y="996"/>
                  </a:lnTo>
                  <a:lnTo>
                    <a:pt x="966" y="1008"/>
                  </a:lnTo>
                  <a:lnTo>
                    <a:pt x="966" y="1020"/>
                  </a:lnTo>
                  <a:lnTo>
                    <a:pt x="960" y="1026"/>
                  </a:lnTo>
                  <a:lnTo>
                    <a:pt x="960" y="1038"/>
                  </a:lnTo>
                  <a:lnTo>
                    <a:pt x="876" y="1038"/>
                  </a:lnTo>
                  <a:lnTo>
                    <a:pt x="858" y="1044"/>
                  </a:lnTo>
                  <a:lnTo>
                    <a:pt x="828" y="1062"/>
                  </a:lnTo>
                  <a:lnTo>
                    <a:pt x="804" y="1080"/>
                  </a:lnTo>
                  <a:lnTo>
                    <a:pt x="780" y="1092"/>
                  </a:lnTo>
                  <a:lnTo>
                    <a:pt x="774" y="1098"/>
                  </a:lnTo>
                  <a:lnTo>
                    <a:pt x="750" y="1104"/>
                  </a:lnTo>
                  <a:lnTo>
                    <a:pt x="738" y="1122"/>
                  </a:lnTo>
                  <a:lnTo>
                    <a:pt x="732" y="1104"/>
                  </a:lnTo>
                  <a:lnTo>
                    <a:pt x="672" y="1104"/>
                  </a:lnTo>
                  <a:lnTo>
                    <a:pt x="648" y="1116"/>
                  </a:lnTo>
                  <a:lnTo>
                    <a:pt x="630" y="1122"/>
                  </a:lnTo>
                  <a:lnTo>
                    <a:pt x="624" y="1128"/>
                  </a:lnTo>
                  <a:lnTo>
                    <a:pt x="606" y="1128"/>
                  </a:lnTo>
                  <a:lnTo>
                    <a:pt x="606" y="1140"/>
                  </a:lnTo>
                  <a:lnTo>
                    <a:pt x="576" y="1146"/>
                  </a:lnTo>
                  <a:lnTo>
                    <a:pt x="564" y="1152"/>
                  </a:lnTo>
                  <a:lnTo>
                    <a:pt x="540" y="1152"/>
                  </a:lnTo>
                  <a:lnTo>
                    <a:pt x="516" y="1170"/>
                  </a:lnTo>
                  <a:lnTo>
                    <a:pt x="522" y="1182"/>
                  </a:lnTo>
                  <a:lnTo>
                    <a:pt x="540" y="1164"/>
                  </a:lnTo>
                  <a:lnTo>
                    <a:pt x="558" y="1176"/>
                  </a:lnTo>
                  <a:lnTo>
                    <a:pt x="582" y="1158"/>
                  </a:lnTo>
                  <a:lnTo>
                    <a:pt x="582" y="1170"/>
                  </a:lnTo>
                  <a:lnTo>
                    <a:pt x="594" y="1170"/>
                  </a:lnTo>
                  <a:lnTo>
                    <a:pt x="606" y="1164"/>
                  </a:lnTo>
                  <a:lnTo>
                    <a:pt x="618" y="1164"/>
                  </a:lnTo>
                  <a:lnTo>
                    <a:pt x="642" y="1140"/>
                  </a:lnTo>
                  <a:lnTo>
                    <a:pt x="654" y="1134"/>
                  </a:lnTo>
                  <a:lnTo>
                    <a:pt x="666" y="1122"/>
                  </a:lnTo>
                  <a:lnTo>
                    <a:pt x="684" y="1122"/>
                  </a:lnTo>
                  <a:lnTo>
                    <a:pt x="684" y="1134"/>
                  </a:lnTo>
                  <a:lnTo>
                    <a:pt x="690" y="1140"/>
                  </a:lnTo>
                  <a:lnTo>
                    <a:pt x="708" y="1140"/>
                  </a:lnTo>
                  <a:lnTo>
                    <a:pt x="732" y="1128"/>
                  </a:lnTo>
                  <a:lnTo>
                    <a:pt x="744" y="1128"/>
                  </a:lnTo>
                  <a:lnTo>
                    <a:pt x="756" y="1122"/>
                  </a:lnTo>
                  <a:lnTo>
                    <a:pt x="762" y="1116"/>
                  </a:lnTo>
                  <a:lnTo>
                    <a:pt x="768" y="1116"/>
                  </a:lnTo>
                  <a:lnTo>
                    <a:pt x="804" y="1128"/>
                  </a:lnTo>
                  <a:lnTo>
                    <a:pt x="822" y="1110"/>
                  </a:lnTo>
                  <a:lnTo>
                    <a:pt x="834" y="1110"/>
                  </a:lnTo>
                  <a:lnTo>
                    <a:pt x="852" y="1104"/>
                  </a:lnTo>
                  <a:lnTo>
                    <a:pt x="870" y="1104"/>
                  </a:lnTo>
                  <a:lnTo>
                    <a:pt x="894" y="1092"/>
                  </a:lnTo>
                  <a:lnTo>
                    <a:pt x="918" y="1068"/>
                  </a:lnTo>
                  <a:lnTo>
                    <a:pt x="942" y="1056"/>
                  </a:lnTo>
                  <a:lnTo>
                    <a:pt x="972" y="1056"/>
                  </a:lnTo>
                  <a:lnTo>
                    <a:pt x="978" y="1044"/>
                  </a:lnTo>
                  <a:lnTo>
                    <a:pt x="1014" y="1044"/>
                  </a:lnTo>
                  <a:lnTo>
                    <a:pt x="1026" y="1038"/>
                  </a:lnTo>
                  <a:lnTo>
                    <a:pt x="1032" y="1038"/>
                  </a:lnTo>
                  <a:lnTo>
                    <a:pt x="1038" y="1032"/>
                  </a:lnTo>
                  <a:lnTo>
                    <a:pt x="1050" y="1032"/>
                  </a:lnTo>
                  <a:lnTo>
                    <a:pt x="1086" y="1020"/>
                  </a:lnTo>
                  <a:lnTo>
                    <a:pt x="1110" y="1008"/>
                  </a:lnTo>
                  <a:lnTo>
                    <a:pt x="1122" y="996"/>
                  </a:lnTo>
                  <a:lnTo>
                    <a:pt x="1134" y="990"/>
                  </a:lnTo>
                  <a:lnTo>
                    <a:pt x="1140" y="984"/>
                  </a:lnTo>
                  <a:lnTo>
                    <a:pt x="1206" y="972"/>
                  </a:lnTo>
                  <a:lnTo>
                    <a:pt x="1260" y="942"/>
                  </a:lnTo>
                  <a:lnTo>
                    <a:pt x="1296" y="942"/>
                  </a:lnTo>
                  <a:lnTo>
                    <a:pt x="1314" y="936"/>
                  </a:lnTo>
                  <a:lnTo>
                    <a:pt x="1326" y="936"/>
                  </a:lnTo>
                  <a:lnTo>
                    <a:pt x="1338" y="930"/>
                  </a:lnTo>
                  <a:lnTo>
                    <a:pt x="1368" y="900"/>
                  </a:lnTo>
                  <a:lnTo>
                    <a:pt x="1380" y="900"/>
                  </a:lnTo>
                  <a:lnTo>
                    <a:pt x="1404" y="888"/>
                  </a:lnTo>
                  <a:lnTo>
                    <a:pt x="1416" y="888"/>
                  </a:lnTo>
                  <a:lnTo>
                    <a:pt x="1428" y="882"/>
                  </a:lnTo>
                  <a:lnTo>
                    <a:pt x="1434" y="876"/>
                  </a:lnTo>
                  <a:lnTo>
                    <a:pt x="1434" y="864"/>
                  </a:lnTo>
                  <a:lnTo>
                    <a:pt x="1422" y="864"/>
                  </a:lnTo>
                  <a:lnTo>
                    <a:pt x="1428" y="858"/>
                  </a:lnTo>
                  <a:lnTo>
                    <a:pt x="1452" y="846"/>
                  </a:lnTo>
                  <a:lnTo>
                    <a:pt x="1458" y="840"/>
                  </a:lnTo>
                  <a:lnTo>
                    <a:pt x="1470" y="834"/>
                  </a:lnTo>
                  <a:lnTo>
                    <a:pt x="1476" y="828"/>
                  </a:lnTo>
                  <a:lnTo>
                    <a:pt x="1488" y="828"/>
                  </a:lnTo>
                  <a:lnTo>
                    <a:pt x="1500" y="822"/>
                  </a:lnTo>
                  <a:lnTo>
                    <a:pt x="1512" y="822"/>
                  </a:lnTo>
                  <a:lnTo>
                    <a:pt x="1518" y="816"/>
                  </a:lnTo>
                  <a:lnTo>
                    <a:pt x="1524" y="816"/>
                  </a:lnTo>
                  <a:lnTo>
                    <a:pt x="1596" y="786"/>
                  </a:lnTo>
                  <a:lnTo>
                    <a:pt x="1590" y="768"/>
                  </a:lnTo>
                  <a:lnTo>
                    <a:pt x="1602" y="768"/>
                  </a:lnTo>
                  <a:lnTo>
                    <a:pt x="1608" y="774"/>
                  </a:lnTo>
                  <a:lnTo>
                    <a:pt x="1626" y="774"/>
                  </a:lnTo>
                  <a:lnTo>
                    <a:pt x="1638" y="762"/>
                  </a:lnTo>
                  <a:lnTo>
                    <a:pt x="1650" y="762"/>
                  </a:lnTo>
                  <a:lnTo>
                    <a:pt x="1674" y="750"/>
                  </a:lnTo>
                  <a:lnTo>
                    <a:pt x="1680" y="744"/>
                  </a:lnTo>
                  <a:lnTo>
                    <a:pt x="1704" y="732"/>
                  </a:lnTo>
                  <a:lnTo>
                    <a:pt x="1740" y="720"/>
                  </a:lnTo>
                  <a:lnTo>
                    <a:pt x="1770" y="708"/>
                  </a:lnTo>
                  <a:lnTo>
                    <a:pt x="1794" y="702"/>
                  </a:lnTo>
                  <a:lnTo>
                    <a:pt x="1812" y="702"/>
                  </a:lnTo>
                  <a:lnTo>
                    <a:pt x="1818" y="708"/>
                  </a:lnTo>
                  <a:lnTo>
                    <a:pt x="1842" y="720"/>
                  </a:lnTo>
                  <a:lnTo>
                    <a:pt x="1848" y="726"/>
                  </a:lnTo>
                  <a:lnTo>
                    <a:pt x="1812" y="726"/>
                  </a:lnTo>
                  <a:lnTo>
                    <a:pt x="1794" y="714"/>
                  </a:lnTo>
                  <a:lnTo>
                    <a:pt x="1758" y="738"/>
                  </a:lnTo>
                  <a:lnTo>
                    <a:pt x="1728" y="738"/>
                  </a:lnTo>
                  <a:lnTo>
                    <a:pt x="1722" y="744"/>
                  </a:lnTo>
                  <a:lnTo>
                    <a:pt x="1710" y="750"/>
                  </a:lnTo>
                  <a:lnTo>
                    <a:pt x="1704" y="762"/>
                  </a:lnTo>
                  <a:lnTo>
                    <a:pt x="1692" y="768"/>
                  </a:lnTo>
                  <a:lnTo>
                    <a:pt x="1686" y="774"/>
                  </a:lnTo>
                  <a:lnTo>
                    <a:pt x="1680" y="774"/>
                  </a:lnTo>
                  <a:lnTo>
                    <a:pt x="1668" y="780"/>
                  </a:lnTo>
                  <a:lnTo>
                    <a:pt x="1656" y="780"/>
                  </a:lnTo>
                  <a:lnTo>
                    <a:pt x="1638" y="786"/>
                  </a:lnTo>
                  <a:lnTo>
                    <a:pt x="1614" y="798"/>
                  </a:lnTo>
                  <a:lnTo>
                    <a:pt x="1614" y="804"/>
                  </a:lnTo>
                  <a:lnTo>
                    <a:pt x="1620" y="810"/>
                  </a:lnTo>
                  <a:lnTo>
                    <a:pt x="1632" y="816"/>
                  </a:lnTo>
                  <a:lnTo>
                    <a:pt x="1650" y="816"/>
                  </a:lnTo>
                  <a:lnTo>
                    <a:pt x="1644" y="816"/>
                  </a:lnTo>
                  <a:lnTo>
                    <a:pt x="1638" y="822"/>
                  </a:lnTo>
                  <a:lnTo>
                    <a:pt x="1632" y="822"/>
                  </a:lnTo>
                  <a:lnTo>
                    <a:pt x="1620" y="828"/>
                  </a:lnTo>
                  <a:lnTo>
                    <a:pt x="1572" y="828"/>
                  </a:lnTo>
                  <a:lnTo>
                    <a:pt x="1566" y="834"/>
                  </a:lnTo>
                  <a:lnTo>
                    <a:pt x="1560" y="834"/>
                  </a:lnTo>
                  <a:lnTo>
                    <a:pt x="1560" y="846"/>
                  </a:lnTo>
                  <a:lnTo>
                    <a:pt x="1572" y="858"/>
                  </a:lnTo>
                  <a:lnTo>
                    <a:pt x="1584" y="858"/>
                  </a:lnTo>
                  <a:lnTo>
                    <a:pt x="1596" y="852"/>
                  </a:lnTo>
                  <a:lnTo>
                    <a:pt x="1638" y="834"/>
                  </a:lnTo>
                  <a:lnTo>
                    <a:pt x="1680" y="810"/>
                  </a:lnTo>
                  <a:lnTo>
                    <a:pt x="1722" y="798"/>
                  </a:lnTo>
                  <a:lnTo>
                    <a:pt x="1788" y="798"/>
                  </a:lnTo>
                  <a:lnTo>
                    <a:pt x="1818" y="792"/>
                  </a:lnTo>
                  <a:lnTo>
                    <a:pt x="1824" y="786"/>
                  </a:lnTo>
                  <a:lnTo>
                    <a:pt x="1848" y="774"/>
                  </a:lnTo>
                  <a:lnTo>
                    <a:pt x="1854" y="762"/>
                  </a:lnTo>
                  <a:lnTo>
                    <a:pt x="1866" y="756"/>
                  </a:lnTo>
                  <a:lnTo>
                    <a:pt x="1872" y="750"/>
                  </a:lnTo>
                  <a:lnTo>
                    <a:pt x="1866" y="738"/>
                  </a:lnTo>
                  <a:lnTo>
                    <a:pt x="1878" y="732"/>
                  </a:lnTo>
                  <a:lnTo>
                    <a:pt x="1908" y="720"/>
                  </a:lnTo>
                  <a:lnTo>
                    <a:pt x="1944" y="714"/>
                  </a:lnTo>
                  <a:lnTo>
                    <a:pt x="1962" y="708"/>
                  </a:lnTo>
                  <a:lnTo>
                    <a:pt x="1968" y="708"/>
                  </a:lnTo>
                  <a:lnTo>
                    <a:pt x="1980" y="720"/>
                  </a:lnTo>
                  <a:lnTo>
                    <a:pt x="1980" y="726"/>
                  </a:lnTo>
                  <a:lnTo>
                    <a:pt x="2046" y="702"/>
                  </a:lnTo>
                  <a:lnTo>
                    <a:pt x="2004" y="738"/>
                  </a:lnTo>
                  <a:lnTo>
                    <a:pt x="2022" y="744"/>
                  </a:lnTo>
                  <a:lnTo>
                    <a:pt x="2022" y="762"/>
                  </a:lnTo>
                  <a:lnTo>
                    <a:pt x="2028" y="762"/>
                  </a:lnTo>
                  <a:lnTo>
                    <a:pt x="2034" y="756"/>
                  </a:lnTo>
                  <a:lnTo>
                    <a:pt x="2094" y="726"/>
                  </a:lnTo>
                  <a:lnTo>
                    <a:pt x="2082" y="732"/>
                  </a:lnTo>
                  <a:lnTo>
                    <a:pt x="2076" y="744"/>
                  </a:lnTo>
                  <a:lnTo>
                    <a:pt x="2064" y="750"/>
                  </a:lnTo>
                  <a:lnTo>
                    <a:pt x="2058" y="762"/>
                  </a:lnTo>
                  <a:lnTo>
                    <a:pt x="2046" y="774"/>
                  </a:lnTo>
                  <a:lnTo>
                    <a:pt x="2052" y="780"/>
                  </a:lnTo>
                  <a:lnTo>
                    <a:pt x="2064" y="780"/>
                  </a:lnTo>
                  <a:lnTo>
                    <a:pt x="2076" y="786"/>
                  </a:lnTo>
                  <a:lnTo>
                    <a:pt x="2106" y="786"/>
                  </a:lnTo>
                  <a:lnTo>
                    <a:pt x="2208" y="798"/>
                  </a:lnTo>
                  <a:lnTo>
                    <a:pt x="2238" y="780"/>
                  </a:lnTo>
                  <a:lnTo>
                    <a:pt x="2232" y="786"/>
                  </a:lnTo>
                  <a:lnTo>
                    <a:pt x="2232" y="810"/>
                  </a:lnTo>
                  <a:lnTo>
                    <a:pt x="2298" y="810"/>
                  </a:lnTo>
                  <a:lnTo>
                    <a:pt x="2334" y="804"/>
                  </a:lnTo>
                  <a:lnTo>
                    <a:pt x="2328" y="804"/>
                  </a:lnTo>
                  <a:lnTo>
                    <a:pt x="2322" y="810"/>
                  </a:lnTo>
                  <a:lnTo>
                    <a:pt x="2310" y="810"/>
                  </a:lnTo>
                  <a:lnTo>
                    <a:pt x="2286" y="822"/>
                  </a:lnTo>
                  <a:lnTo>
                    <a:pt x="2280" y="828"/>
                  </a:lnTo>
                  <a:lnTo>
                    <a:pt x="2280" y="834"/>
                  </a:lnTo>
                  <a:lnTo>
                    <a:pt x="2292" y="846"/>
                  </a:lnTo>
                  <a:lnTo>
                    <a:pt x="2304" y="852"/>
                  </a:lnTo>
                  <a:lnTo>
                    <a:pt x="2310" y="858"/>
                  </a:lnTo>
                  <a:lnTo>
                    <a:pt x="2310" y="882"/>
                  </a:lnTo>
                  <a:lnTo>
                    <a:pt x="2316" y="888"/>
                  </a:lnTo>
                  <a:lnTo>
                    <a:pt x="2316" y="900"/>
                  </a:lnTo>
                  <a:lnTo>
                    <a:pt x="2322" y="912"/>
                  </a:lnTo>
                  <a:lnTo>
                    <a:pt x="2358" y="912"/>
                  </a:lnTo>
                  <a:lnTo>
                    <a:pt x="2370" y="906"/>
                  </a:lnTo>
                  <a:lnTo>
                    <a:pt x="2388" y="906"/>
                  </a:lnTo>
                  <a:lnTo>
                    <a:pt x="2382" y="876"/>
                  </a:lnTo>
                  <a:lnTo>
                    <a:pt x="2400" y="870"/>
                  </a:lnTo>
                  <a:lnTo>
                    <a:pt x="2412" y="888"/>
                  </a:lnTo>
                  <a:lnTo>
                    <a:pt x="2442" y="876"/>
                  </a:lnTo>
                  <a:lnTo>
                    <a:pt x="2430" y="888"/>
                  </a:lnTo>
                  <a:lnTo>
                    <a:pt x="2430" y="900"/>
                  </a:lnTo>
                  <a:lnTo>
                    <a:pt x="2424" y="906"/>
                  </a:lnTo>
                  <a:lnTo>
                    <a:pt x="2424" y="912"/>
                  </a:lnTo>
                  <a:lnTo>
                    <a:pt x="2430" y="918"/>
                  </a:lnTo>
                  <a:lnTo>
                    <a:pt x="2436" y="918"/>
                  </a:lnTo>
                  <a:lnTo>
                    <a:pt x="2448" y="912"/>
                  </a:lnTo>
                  <a:lnTo>
                    <a:pt x="2454" y="906"/>
                  </a:lnTo>
                  <a:lnTo>
                    <a:pt x="2460" y="894"/>
                  </a:lnTo>
                  <a:lnTo>
                    <a:pt x="2466" y="888"/>
                  </a:lnTo>
                  <a:lnTo>
                    <a:pt x="2472" y="876"/>
                  </a:lnTo>
                  <a:lnTo>
                    <a:pt x="2502" y="834"/>
                  </a:lnTo>
                  <a:lnTo>
                    <a:pt x="2478" y="900"/>
                  </a:lnTo>
                  <a:lnTo>
                    <a:pt x="2484" y="924"/>
                  </a:lnTo>
                  <a:lnTo>
                    <a:pt x="2520" y="912"/>
                  </a:lnTo>
                  <a:lnTo>
                    <a:pt x="2496" y="936"/>
                  </a:lnTo>
                  <a:lnTo>
                    <a:pt x="2520" y="954"/>
                  </a:lnTo>
                  <a:lnTo>
                    <a:pt x="2502" y="954"/>
                  </a:lnTo>
                  <a:lnTo>
                    <a:pt x="2502" y="972"/>
                  </a:lnTo>
                  <a:lnTo>
                    <a:pt x="2472" y="990"/>
                  </a:lnTo>
                  <a:lnTo>
                    <a:pt x="2454" y="1002"/>
                  </a:lnTo>
                  <a:lnTo>
                    <a:pt x="2484" y="1020"/>
                  </a:lnTo>
                  <a:lnTo>
                    <a:pt x="2478" y="1050"/>
                  </a:lnTo>
                  <a:lnTo>
                    <a:pt x="2460" y="1068"/>
                  </a:lnTo>
                  <a:lnTo>
                    <a:pt x="2478" y="1080"/>
                  </a:lnTo>
                  <a:lnTo>
                    <a:pt x="2460" y="1098"/>
                  </a:lnTo>
                  <a:lnTo>
                    <a:pt x="2490" y="1098"/>
                  </a:lnTo>
                  <a:lnTo>
                    <a:pt x="2526" y="1086"/>
                  </a:lnTo>
                  <a:lnTo>
                    <a:pt x="2496" y="1122"/>
                  </a:lnTo>
                  <a:lnTo>
                    <a:pt x="2478" y="1140"/>
                  </a:lnTo>
                  <a:lnTo>
                    <a:pt x="2502" y="1146"/>
                  </a:lnTo>
                  <a:lnTo>
                    <a:pt x="2454" y="1164"/>
                  </a:lnTo>
                  <a:lnTo>
                    <a:pt x="2436" y="1176"/>
                  </a:lnTo>
                  <a:lnTo>
                    <a:pt x="2454" y="1188"/>
                  </a:lnTo>
                  <a:lnTo>
                    <a:pt x="2454" y="1200"/>
                  </a:lnTo>
                  <a:lnTo>
                    <a:pt x="2472" y="1188"/>
                  </a:lnTo>
                  <a:lnTo>
                    <a:pt x="2490" y="1182"/>
                  </a:lnTo>
                  <a:lnTo>
                    <a:pt x="2502" y="1170"/>
                  </a:lnTo>
                  <a:lnTo>
                    <a:pt x="2514" y="1164"/>
                  </a:lnTo>
                  <a:lnTo>
                    <a:pt x="2532" y="1146"/>
                  </a:lnTo>
                  <a:lnTo>
                    <a:pt x="2538" y="1134"/>
                  </a:lnTo>
                  <a:lnTo>
                    <a:pt x="2538" y="1122"/>
                  </a:lnTo>
                  <a:lnTo>
                    <a:pt x="2550" y="1116"/>
                  </a:lnTo>
                  <a:lnTo>
                    <a:pt x="2562" y="1104"/>
                  </a:lnTo>
                  <a:lnTo>
                    <a:pt x="2574" y="1098"/>
                  </a:lnTo>
                  <a:lnTo>
                    <a:pt x="2574" y="1086"/>
                  </a:lnTo>
                  <a:lnTo>
                    <a:pt x="2568" y="1080"/>
                  </a:lnTo>
                  <a:lnTo>
                    <a:pt x="2562" y="1080"/>
                  </a:lnTo>
                  <a:close/>
                  <a:moveTo>
                    <a:pt x="2394" y="1056"/>
                  </a:moveTo>
                  <a:lnTo>
                    <a:pt x="2400" y="1062"/>
                  </a:lnTo>
                  <a:lnTo>
                    <a:pt x="2418" y="1062"/>
                  </a:lnTo>
                  <a:lnTo>
                    <a:pt x="2436" y="1044"/>
                  </a:lnTo>
                  <a:lnTo>
                    <a:pt x="2460" y="1038"/>
                  </a:lnTo>
                  <a:lnTo>
                    <a:pt x="2454" y="1020"/>
                  </a:lnTo>
                  <a:lnTo>
                    <a:pt x="2430" y="1020"/>
                  </a:lnTo>
                  <a:lnTo>
                    <a:pt x="2418" y="1026"/>
                  </a:lnTo>
                  <a:lnTo>
                    <a:pt x="2412" y="1032"/>
                  </a:lnTo>
                  <a:lnTo>
                    <a:pt x="2406" y="1044"/>
                  </a:lnTo>
                  <a:lnTo>
                    <a:pt x="2394" y="1050"/>
                  </a:lnTo>
                  <a:lnTo>
                    <a:pt x="2394" y="1056"/>
                  </a:lnTo>
                  <a:close/>
                  <a:moveTo>
                    <a:pt x="2376" y="984"/>
                  </a:moveTo>
                  <a:lnTo>
                    <a:pt x="2358" y="984"/>
                  </a:lnTo>
                  <a:lnTo>
                    <a:pt x="2346" y="990"/>
                  </a:lnTo>
                  <a:lnTo>
                    <a:pt x="2334" y="1002"/>
                  </a:lnTo>
                  <a:lnTo>
                    <a:pt x="2334" y="1014"/>
                  </a:lnTo>
                  <a:lnTo>
                    <a:pt x="2322" y="1026"/>
                  </a:lnTo>
                  <a:lnTo>
                    <a:pt x="2322" y="1044"/>
                  </a:lnTo>
                  <a:lnTo>
                    <a:pt x="2310" y="1056"/>
                  </a:lnTo>
                  <a:lnTo>
                    <a:pt x="2310" y="1074"/>
                  </a:lnTo>
                  <a:lnTo>
                    <a:pt x="2316" y="1080"/>
                  </a:lnTo>
                  <a:lnTo>
                    <a:pt x="2322" y="1074"/>
                  </a:lnTo>
                  <a:lnTo>
                    <a:pt x="2328" y="1062"/>
                  </a:lnTo>
                  <a:lnTo>
                    <a:pt x="2340" y="1050"/>
                  </a:lnTo>
                  <a:lnTo>
                    <a:pt x="2352" y="1044"/>
                  </a:lnTo>
                  <a:lnTo>
                    <a:pt x="2376" y="1020"/>
                  </a:lnTo>
                  <a:lnTo>
                    <a:pt x="2382" y="1008"/>
                  </a:lnTo>
                  <a:lnTo>
                    <a:pt x="2382" y="990"/>
                  </a:lnTo>
                  <a:lnTo>
                    <a:pt x="2376" y="984"/>
                  </a:lnTo>
                  <a:close/>
                  <a:moveTo>
                    <a:pt x="786" y="810"/>
                  </a:moveTo>
                  <a:lnTo>
                    <a:pt x="798" y="810"/>
                  </a:lnTo>
                  <a:lnTo>
                    <a:pt x="834" y="798"/>
                  </a:lnTo>
                  <a:lnTo>
                    <a:pt x="858" y="786"/>
                  </a:lnTo>
                  <a:lnTo>
                    <a:pt x="864" y="780"/>
                  </a:lnTo>
                  <a:lnTo>
                    <a:pt x="870" y="780"/>
                  </a:lnTo>
                  <a:lnTo>
                    <a:pt x="864" y="774"/>
                  </a:lnTo>
                  <a:lnTo>
                    <a:pt x="828" y="762"/>
                  </a:lnTo>
                  <a:lnTo>
                    <a:pt x="810" y="762"/>
                  </a:lnTo>
                  <a:lnTo>
                    <a:pt x="798" y="768"/>
                  </a:lnTo>
                  <a:lnTo>
                    <a:pt x="792" y="774"/>
                  </a:lnTo>
                  <a:lnTo>
                    <a:pt x="786" y="768"/>
                  </a:lnTo>
                  <a:lnTo>
                    <a:pt x="774" y="768"/>
                  </a:lnTo>
                  <a:lnTo>
                    <a:pt x="768" y="774"/>
                  </a:lnTo>
                  <a:lnTo>
                    <a:pt x="768" y="804"/>
                  </a:lnTo>
                  <a:lnTo>
                    <a:pt x="774" y="810"/>
                  </a:lnTo>
                  <a:lnTo>
                    <a:pt x="786" y="810"/>
                  </a:lnTo>
                  <a:close/>
                  <a:moveTo>
                    <a:pt x="0" y="1332"/>
                  </a:moveTo>
                  <a:lnTo>
                    <a:pt x="60" y="1320"/>
                  </a:lnTo>
                  <a:lnTo>
                    <a:pt x="72" y="1302"/>
                  </a:lnTo>
                  <a:lnTo>
                    <a:pt x="132" y="1296"/>
                  </a:lnTo>
                  <a:lnTo>
                    <a:pt x="114" y="1272"/>
                  </a:lnTo>
                  <a:lnTo>
                    <a:pt x="0" y="1332"/>
                  </a:lnTo>
                  <a:close/>
                  <a:moveTo>
                    <a:pt x="1362" y="954"/>
                  </a:moveTo>
                  <a:lnTo>
                    <a:pt x="1350" y="954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14" y="954"/>
                  </a:lnTo>
                  <a:lnTo>
                    <a:pt x="1314" y="978"/>
                  </a:lnTo>
                  <a:lnTo>
                    <a:pt x="1290" y="996"/>
                  </a:lnTo>
                  <a:lnTo>
                    <a:pt x="1290" y="972"/>
                  </a:lnTo>
                  <a:lnTo>
                    <a:pt x="1278" y="966"/>
                  </a:lnTo>
                  <a:lnTo>
                    <a:pt x="1272" y="966"/>
                  </a:lnTo>
                  <a:lnTo>
                    <a:pt x="1248" y="978"/>
                  </a:lnTo>
                  <a:lnTo>
                    <a:pt x="1242" y="978"/>
                  </a:lnTo>
                  <a:lnTo>
                    <a:pt x="1230" y="990"/>
                  </a:lnTo>
                  <a:lnTo>
                    <a:pt x="1224" y="1002"/>
                  </a:lnTo>
                  <a:lnTo>
                    <a:pt x="1218" y="1008"/>
                  </a:lnTo>
                  <a:lnTo>
                    <a:pt x="1218" y="1014"/>
                  </a:lnTo>
                  <a:lnTo>
                    <a:pt x="1224" y="1014"/>
                  </a:lnTo>
                  <a:lnTo>
                    <a:pt x="1230" y="1020"/>
                  </a:lnTo>
                  <a:lnTo>
                    <a:pt x="1278" y="1020"/>
                  </a:lnTo>
                  <a:lnTo>
                    <a:pt x="1296" y="1014"/>
                  </a:lnTo>
                  <a:lnTo>
                    <a:pt x="1308" y="1014"/>
                  </a:lnTo>
                  <a:lnTo>
                    <a:pt x="1320" y="1008"/>
                  </a:lnTo>
                  <a:lnTo>
                    <a:pt x="1320" y="996"/>
                  </a:lnTo>
                  <a:lnTo>
                    <a:pt x="1350" y="990"/>
                  </a:lnTo>
                  <a:lnTo>
                    <a:pt x="1350" y="984"/>
                  </a:lnTo>
                  <a:lnTo>
                    <a:pt x="1386" y="978"/>
                  </a:lnTo>
                  <a:lnTo>
                    <a:pt x="1398" y="954"/>
                  </a:lnTo>
                  <a:lnTo>
                    <a:pt x="1380" y="960"/>
                  </a:lnTo>
                  <a:lnTo>
                    <a:pt x="1374" y="954"/>
                  </a:lnTo>
                  <a:lnTo>
                    <a:pt x="1362" y="954"/>
                  </a:lnTo>
                  <a:close/>
                  <a:moveTo>
                    <a:pt x="162" y="1290"/>
                  </a:moveTo>
                  <a:lnTo>
                    <a:pt x="204" y="1290"/>
                  </a:lnTo>
                  <a:lnTo>
                    <a:pt x="240" y="1260"/>
                  </a:lnTo>
                  <a:lnTo>
                    <a:pt x="228" y="1242"/>
                  </a:lnTo>
                  <a:lnTo>
                    <a:pt x="162" y="1290"/>
                  </a:lnTo>
                  <a:close/>
                  <a:moveTo>
                    <a:pt x="2466" y="1140"/>
                  </a:moveTo>
                  <a:lnTo>
                    <a:pt x="2472" y="1128"/>
                  </a:lnTo>
                  <a:lnTo>
                    <a:pt x="2454" y="1110"/>
                  </a:lnTo>
                  <a:lnTo>
                    <a:pt x="2448" y="1110"/>
                  </a:lnTo>
                  <a:lnTo>
                    <a:pt x="2436" y="1122"/>
                  </a:lnTo>
                  <a:lnTo>
                    <a:pt x="2430" y="1134"/>
                  </a:lnTo>
                  <a:lnTo>
                    <a:pt x="2424" y="1152"/>
                  </a:lnTo>
                  <a:lnTo>
                    <a:pt x="2418" y="1164"/>
                  </a:lnTo>
                  <a:lnTo>
                    <a:pt x="2418" y="1176"/>
                  </a:lnTo>
                  <a:lnTo>
                    <a:pt x="2436" y="1158"/>
                  </a:lnTo>
                  <a:lnTo>
                    <a:pt x="2454" y="1158"/>
                  </a:lnTo>
                  <a:lnTo>
                    <a:pt x="2460" y="1152"/>
                  </a:lnTo>
                  <a:lnTo>
                    <a:pt x="2466" y="1140"/>
                  </a:lnTo>
                  <a:close/>
                  <a:moveTo>
                    <a:pt x="1428" y="912"/>
                  </a:moveTo>
                  <a:lnTo>
                    <a:pt x="1404" y="924"/>
                  </a:lnTo>
                  <a:lnTo>
                    <a:pt x="1386" y="942"/>
                  </a:lnTo>
                  <a:lnTo>
                    <a:pt x="1386" y="948"/>
                  </a:lnTo>
                  <a:lnTo>
                    <a:pt x="1398" y="954"/>
                  </a:lnTo>
                  <a:lnTo>
                    <a:pt x="1410" y="954"/>
                  </a:lnTo>
                  <a:lnTo>
                    <a:pt x="1422" y="948"/>
                  </a:lnTo>
                  <a:lnTo>
                    <a:pt x="1428" y="948"/>
                  </a:lnTo>
                  <a:lnTo>
                    <a:pt x="1440" y="942"/>
                  </a:lnTo>
                  <a:lnTo>
                    <a:pt x="1446" y="930"/>
                  </a:lnTo>
                  <a:lnTo>
                    <a:pt x="1470" y="930"/>
                  </a:lnTo>
                  <a:lnTo>
                    <a:pt x="1470" y="924"/>
                  </a:lnTo>
                  <a:lnTo>
                    <a:pt x="1458" y="912"/>
                  </a:lnTo>
                  <a:lnTo>
                    <a:pt x="1452" y="912"/>
                  </a:lnTo>
                  <a:lnTo>
                    <a:pt x="1440" y="906"/>
                  </a:lnTo>
                  <a:lnTo>
                    <a:pt x="1428" y="912"/>
                  </a:lnTo>
                  <a:close/>
                  <a:moveTo>
                    <a:pt x="498" y="1164"/>
                  </a:moveTo>
                  <a:lnTo>
                    <a:pt x="486" y="1164"/>
                  </a:lnTo>
                  <a:lnTo>
                    <a:pt x="474" y="1170"/>
                  </a:lnTo>
                  <a:lnTo>
                    <a:pt x="462" y="1170"/>
                  </a:lnTo>
                  <a:lnTo>
                    <a:pt x="450" y="1176"/>
                  </a:lnTo>
                  <a:lnTo>
                    <a:pt x="444" y="1182"/>
                  </a:lnTo>
                  <a:lnTo>
                    <a:pt x="432" y="1182"/>
                  </a:lnTo>
                  <a:lnTo>
                    <a:pt x="426" y="1188"/>
                  </a:lnTo>
                  <a:lnTo>
                    <a:pt x="414" y="1188"/>
                  </a:lnTo>
                  <a:lnTo>
                    <a:pt x="390" y="1200"/>
                  </a:lnTo>
                  <a:lnTo>
                    <a:pt x="384" y="1206"/>
                  </a:lnTo>
                  <a:lnTo>
                    <a:pt x="384" y="1218"/>
                  </a:lnTo>
                  <a:lnTo>
                    <a:pt x="402" y="1218"/>
                  </a:lnTo>
                  <a:lnTo>
                    <a:pt x="420" y="1212"/>
                  </a:lnTo>
                  <a:lnTo>
                    <a:pt x="432" y="1206"/>
                  </a:lnTo>
                  <a:lnTo>
                    <a:pt x="504" y="1206"/>
                  </a:lnTo>
                  <a:lnTo>
                    <a:pt x="510" y="1200"/>
                  </a:lnTo>
                  <a:lnTo>
                    <a:pt x="510" y="1176"/>
                  </a:lnTo>
                  <a:lnTo>
                    <a:pt x="498" y="1164"/>
                  </a:lnTo>
                  <a:close/>
                  <a:moveTo>
                    <a:pt x="330" y="1242"/>
                  </a:moveTo>
                  <a:lnTo>
                    <a:pt x="330" y="1224"/>
                  </a:lnTo>
                  <a:lnTo>
                    <a:pt x="276" y="1242"/>
                  </a:lnTo>
                  <a:lnTo>
                    <a:pt x="330" y="124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24" name="Zimbabwe" descr="© INSCALE GmbH, 05.05.2010&#10;http://www.presentationload.com/"/>
            <p:cNvSpPr>
              <a:spLocks/>
            </p:cNvSpPr>
            <p:nvPr/>
          </p:nvSpPr>
          <p:spPr bwMode="gray">
            <a:xfrm>
              <a:off x="5045508" y="4695727"/>
              <a:ext cx="177898" cy="171471"/>
            </a:xfrm>
            <a:custGeom>
              <a:avLst/>
              <a:gdLst>
                <a:gd name="T0" fmla="*/ 2147483647 w 552"/>
                <a:gd name="T1" fmla="*/ 2147483647 h 552"/>
                <a:gd name="T2" fmla="*/ 2147483647 w 552"/>
                <a:gd name="T3" fmla="*/ 2147483647 h 552"/>
                <a:gd name="T4" fmla="*/ 2147483647 w 552"/>
                <a:gd name="T5" fmla="*/ 2147483647 h 552"/>
                <a:gd name="T6" fmla="*/ 2147483647 w 552"/>
                <a:gd name="T7" fmla="*/ 2147483647 h 552"/>
                <a:gd name="T8" fmla="*/ 2147483647 w 552"/>
                <a:gd name="T9" fmla="*/ 2147483647 h 552"/>
                <a:gd name="T10" fmla="*/ 2147483647 w 552"/>
                <a:gd name="T11" fmla="*/ 2147483647 h 552"/>
                <a:gd name="T12" fmla="*/ 2147483647 w 552"/>
                <a:gd name="T13" fmla="*/ 2147483647 h 552"/>
                <a:gd name="T14" fmla="*/ 2147483647 w 552"/>
                <a:gd name="T15" fmla="*/ 2147483647 h 552"/>
                <a:gd name="T16" fmla="*/ 2147483647 w 552"/>
                <a:gd name="T17" fmla="*/ 2147483647 h 552"/>
                <a:gd name="T18" fmla="*/ 2147483647 w 552"/>
                <a:gd name="T19" fmla="*/ 2147483647 h 552"/>
                <a:gd name="T20" fmla="*/ 2147483647 w 552"/>
                <a:gd name="T21" fmla="*/ 2147483647 h 552"/>
                <a:gd name="T22" fmla="*/ 2147483647 w 552"/>
                <a:gd name="T23" fmla="*/ 2147483647 h 552"/>
                <a:gd name="T24" fmla="*/ 2147483647 w 552"/>
                <a:gd name="T25" fmla="*/ 2147483647 h 552"/>
                <a:gd name="T26" fmla="*/ 2147483647 w 552"/>
                <a:gd name="T27" fmla="*/ 2147483647 h 552"/>
                <a:gd name="T28" fmla="*/ 2147483647 w 552"/>
                <a:gd name="T29" fmla="*/ 2147483647 h 552"/>
                <a:gd name="T30" fmla="*/ 2147483647 w 552"/>
                <a:gd name="T31" fmla="*/ 2147483647 h 552"/>
                <a:gd name="T32" fmla="*/ 2147483647 w 552"/>
                <a:gd name="T33" fmla="*/ 2147483647 h 552"/>
                <a:gd name="T34" fmla="*/ 2147483647 w 552"/>
                <a:gd name="T35" fmla="*/ 2147483647 h 552"/>
                <a:gd name="T36" fmla="*/ 2147483647 w 552"/>
                <a:gd name="T37" fmla="*/ 2147483647 h 552"/>
                <a:gd name="T38" fmla="*/ 2147483647 w 552"/>
                <a:gd name="T39" fmla="*/ 2147483647 h 552"/>
                <a:gd name="T40" fmla="*/ 2147483647 w 552"/>
                <a:gd name="T41" fmla="*/ 2147483647 h 552"/>
                <a:gd name="T42" fmla="*/ 2147483647 w 552"/>
                <a:gd name="T43" fmla="*/ 2147483647 h 552"/>
                <a:gd name="T44" fmla="*/ 2147483647 w 552"/>
                <a:gd name="T45" fmla="*/ 2147483647 h 552"/>
                <a:gd name="T46" fmla="*/ 2147483647 w 552"/>
                <a:gd name="T47" fmla="*/ 2147483647 h 552"/>
                <a:gd name="T48" fmla="*/ 2147483647 w 552"/>
                <a:gd name="T49" fmla="*/ 2147483647 h 552"/>
                <a:gd name="T50" fmla="*/ 2147483647 w 552"/>
                <a:gd name="T51" fmla="*/ 2147483647 h 552"/>
                <a:gd name="T52" fmla="*/ 2147483647 w 552"/>
                <a:gd name="T53" fmla="*/ 2147483647 h 552"/>
                <a:gd name="T54" fmla="*/ 2147483647 w 552"/>
                <a:gd name="T55" fmla="*/ 2147483647 h 552"/>
                <a:gd name="T56" fmla="*/ 2147483647 w 552"/>
                <a:gd name="T57" fmla="*/ 2147483647 h 552"/>
                <a:gd name="T58" fmla="*/ 2147483647 w 552"/>
                <a:gd name="T59" fmla="*/ 2147483647 h 552"/>
                <a:gd name="T60" fmla="*/ 2147483647 w 552"/>
                <a:gd name="T61" fmla="*/ 2147483647 h 552"/>
                <a:gd name="T62" fmla="*/ 2147483647 w 552"/>
                <a:gd name="T63" fmla="*/ 2147483647 h 552"/>
                <a:gd name="T64" fmla="*/ 2147483647 w 552"/>
                <a:gd name="T65" fmla="*/ 2147483647 h 552"/>
                <a:gd name="T66" fmla="*/ 2147483647 w 552"/>
                <a:gd name="T67" fmla="*/ 2147483647 h 552"/>
                <a:gd name="T68" fmla="*/ 2147483647 w 552"/>
                <a:gd name="T69" fmla="*/ 2147483647 h 552"/>
                <a:gd name="T70" fmla="*/ 2147483647 w 552"/>
                <a:gd name="T71" fmla="*/ 2147483647 h 552"/>
                <a:gd name="T72" fmla="*/ 2147483647 w 552"/>
                <a:gd name="T73" fmla="*/ 2147483647 h 552"/>
                <a:gd name="T74" fmla="*/ 2147483647 w 552"/>
                <a:gd name="T75" fmla="*/ 0 h 552"/>
                <a:gd name="T76" fmla="*/ 2147483647 w 552"/>
                <a:gd name="T77" fmla="*/ 2147483647 h 552"/>
                <a:gd name="T78" fmla="*/ 2147483647 w 552"/>
                <a:gd name="T79" fmla="*/ 2147483647 h 552"/>
                <a:gd name="T80" fmla="*/ 2147483647 w 552"/>
                <a:gd name="T81" fmla="*/ 2147483647 h 552"/>
                <a:gd name="T82" fmla="*/ 2147483647 w 552"/>
                <a:gd name="T83" fmla="*/ 2147483647 h 552"/>
                <a:gd name="T84" fmla="*/ 2147483647 w 552"/>
                <a:gd name="T85" fmla="*/ 2147483647 h 552"/>
                <a:gd name="T86" fmla="*/ 2147483647 w 552"/>
                <a:gd name="T87" fmla="*/ 2147483647 h 552"/>
                <a:gd name="T88" fmla="*/ 2147483647 w 552"/>
                <a:gd name="T89" fmla="*/ 2147483647 h 552"/>
                <a:gd name="T90" fmla="*/ 2147483647 w 552"/>
                <a:gd name="T91" fmla="*/ 2147483647 h 552"/>
                <a:gd name="T92" fmla="*/ 2147483647 w 552"/>
                <a:gd name="T93" fmla="*/ 2147483647 h 552"/>
                <a:gd name="T94" fmla="*/ 2147483647 w 552"/>
                <a:gd name="T95" fmla="*/ 2147483647 h 552"/>
                <a:gd name="T96" fmla="*/ 2147483647 w 552"/>
                <a:gd name="T97" fmla="*/ 2147483647 h 552"/>
                <a:gd name="T98" fmla="*/ 2147483647 w 552"/>
                <a:gd name="T99" fmla="*/ 2147483647 h 552"/>
                <a:gd name="T100" fmla="*/ 2147483647 w 552"/>
                <a:gd name="T101" fmla="*/ 2147483647 h 552"/>
                <a:gd name="T102" fmla="*/ 2147483647 w 552"/>
                <a:gd name="T103" fmla="*/ 2147483647 h 55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52"/>
                <a:gd name="T157" fmla="*/ 0 h 552"/>
                <a:gd name="T158" fmla="*/ 552 w 552"/>
                <a:gd name="T159" fmla="*/ 552 h 55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52" h="552">
                  <a:moveTo>
                    <a:pt x="18" y="204"/>
                  </a:moveTo>
                  <a:lnTo>
                    <a:pt x="18" y="234"/>
                  </a:lnTo>
                  <a:lnTo>
                    <a:pt x="30" y="234"/>
                  </a:lnTo>
                  <a:lnTo>
                    <a:pt x="36" y="240"/>
                  </a:lnTo>
                  <a:lnTo>
                    <a:pt x="48" y="264"/>
                  </a:lnTo>
                  <a:lnTo>
                    <a:pt x="54" y="270"/>
                  </a:lnTo>
                  <a:lnTo>
                    <a:pt x="54" y="294"/>
                  </a:lnTo>
                  <a:lnTo>
                    <a:pt x="72" y="330"/>
                  </a:lnTo>
                  <a:lnTo>
                    <a:pt x="84" y="336"/>
                  </a:lnTo>
                  <a:lnTo>
                    <a:pt x="102" y="354"/>
                  </a:lnTo>
                  <a:lnTo>
                    <a:pt x="132" y="354"/>
                  </a:lnTo>
                  <a:lnTo>
                    <a:pt x="138" y="360"/>
                  </a:lnTo>
                  <a:lnTo>
                    <a:pt x="138" y="390"/>
                  </a:lnTo>
                  <a:lnTo>
                    <a:pt x="168" y="390"/>
                  </a:lnTo>
                  <a:lnTo>
                    <a:pt x="174" y="414"/>
                  </a:lnTo>
                  <a:lnTo>
                    <a:pt x="168" y="420"/>
                  </a:lnTo>
                  <a:lnTo>
                    <a:pt x="168" y="450"/>
                  </a:lnTo>
                  <a:lnTo>
                    <a:pt x="186" y="450"/>
                  </a:lnTo>
                  <a:lnTo>
                    <a:pt x="186" y="480"/>
                  </a:lnTo>
                  <a:lnTo>
                    <a:pt x="198" y="480"/>
                  </a:lnTo>
                  <a:lnTo>
                    <a:pt x="216" y="486"/>
                  </a:lnTo>
                  <a:lnTo>
                    <a:pt x="228" y="486"/>
                  </a:lnTo>
                  <a:lnTo>
                    <a:pt x="246" y="492"/>
                  </a:lnTo>
                  <a:lnTo>
                    <a:pt x="264" y="510"/>
                  </a:lnTo>
                  <a:lnTo>
                    <a:pt x="270" y="522"/>
                  </a:lnTo>
                  <a:lnTo>
                    <a:pt x="270" y="528"/>
                  </a:lnTo>
                  <a:lnTo>
                    <a:pt x="252" y="528"/>
                  </a:lnTo>
                  <a:lnTo>
                    <a:pt x="312" y="528"/>
                  </a:lnTo>
                  <a:lnTo>
                    <a:pt x="324" y="534"/>
                  </a:lnTo>
                  <a:lnTo>
                    <a:pt x="330" y="534"/>
                  </a:lnTo>
                  <a:lnTo>
                    <a:pt x="342" y="540"/>
                  </a:lnTo>
                  <a:lnTo>
                    <a:pt x="402" y="540"/>
                  </a:lnTo>
                  <a:lnTo>
                    <a:pt x="420" y="552"/>
                  </a:lnTo>
                  <a:lnTo>
                    <a:pt x="486" y="468"/>
                  </a:lnTo>
                  <a:lnTo>
                    <a:pt x="504" y="462"/>
                  </a:lnTo>
                  <a:lnTo>
                    <a:pt x="492" y="444"/>
                  </a:lnTo>
                  <a:lnTo>
                    <a:pt x="504" y="432"/>
                  </a:lnTo>
                  <a:lnTo>
                    <a:pt x="504" y="402"/>
                  </a:lnTo>
                  <a:lnTo>
                    <a:pt x="516" y="396"/>
                  </a:lnTo>
                  <a:lnTo>
                    <a:pt x="528" y="384"/>
                  </a:lnTo>
                  <a:lnTo>
                    <a:pt x="528" y="372"/>
                  </a:lnTo>
                  <a:lnTo>
                    <a:pt x="540" y="360"/>
                  </a:lnTo>
                  <a:lnTo>
                    <a:pt x="546" y="348"/>
                  </a:lnTo>
                  <a:lnTo>
                    <a:pt x="546" y="342"/>
                  </a:lnTo>
                  <a:lnTo>
                    <a:pt x="522" y="318"/>
                  </a:lnTo>
                  <a:lnTo>
                    <a:pt x="522" y="306"/>
                  </a:lnTo>
                  <a:lnTo>
                    <a:pt x="540" y="288"/>
                  </a:lnTo>
                  <a:lnTo>
                    <a:pt x="522" y="264"/>
                  </a:lnTo>
                  <a:lnTo>
                    <a:pt x="540" y="252"/>
                  </a:lnTo>
                  <a:lnTo>
                    <a:pt x="540" y="240"/>
                  </a:lnTo>
                  <a:lnTo>
                    <a:pt x="546" y="240"/>
                  </a:lnTo>
                  <a:lnTo>
                    <a:pt x="546" y="234"/>
                  </a:lnTo>
                  <a:lnTo>
                    <a:pt x="552" y="228"/>
                  </a:lnTo>
                  <a:lnTo>
                    <a:pt x="552" y="216"/>
                  </a:lnTo>
                  <a:lnTo>
                    <a:pt x="540" y="192"/>
                  </a:lnTo>
                  <a:lnTo>
                    <a:pt x="540" y="180"/>
                  </a:lnTo>
                  <a:lnTo>
                    <a:pt x="546" y="174"/>
                  </a:lnTo>
                  <a:lnTo>
                    <a:pt x="546" y="168"/>
                  </a:lnTo>
                  <a:lnTo>
                    <a:pt x="552" y="162"/>
                  </a:lnTo>
                  <a:lnTo>
                    <a:pt x="540" y="150"/>
                  </a:lnTo>
                  <a:lnTo>
                    <a:pt x="552" y="138"/>
                  </a:lnTo>
                  <a:lnTo>
                    <a:pt x="540" y="120"/>
                  </a:lnTo>
                  <a:lnTo>
                    <a:pt x="546" y="114"/>
                  </a:lnTo>
                  <a:lnTo>
                    <a:pt x="552" y="102"/>
                  </a:lnTo>
                  <a:lnTo>
                    <a:pt x="552" y="96"/>
                  </a:lnTo>
                  <a:lnTo>
                    <a:pt x="540" y="84"/>
                  </a:lnTo>
                  <a:lnTo>
                    <a:pt x="528" y="84"/>
                  </a:lnTo>
                  <a:lnTo>
                    <a:pt x="510" y="66"/>
                  </a:lnTo>
                  <a:lnTo>
                    <a:pt x="498" y="66"/>
                  </a:lnTo>
                  <a:lnTo>
                    <a:pt x="486" y="72"/>
                  </a:lnTo>
                  <a:lnTo>
                    <a:pt x="480" y="72"/>
                  </a:lnTo>
                  <a:lnTo>
                    <a:pt x="462" y="48"/>
                  </a:lnTo>
                  <a:lnTo>
                    <a:pt x="444" y="48"/>
                  </a:lnTo>
                  <a:lnTo>
                    <a:pt x="432" y="30"/>
                  </a:lnTo>
                  <a:lnTo>
                    <a:pt x="372" y="30"/>
                  </a:lnTo>
                  <a:lnTo>
                    <a:pt x="366" y="0"/>
                  </a:lnTo>
                  <a:lnTo>
                    <a:pt x="330" y="0"/>
                  </a:lnTo>
                  <a:lnTo>
                    <a:pt x="294" y="12"/>
                  </a:lnTo>
                  <a:lnTo>
                    <a:pt x="282" y="24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52" y="78"/>
                  </a:lnTo>
                  <a:lnTo>
                    <a:pt x="240" y="78"/>
                  </a:lnTo>
                  <a:lnTo>
                    <a:pt x="228" y="84"/>
                  </a:lnTo>
                  <a:lnTo>
                    <a:pt x="210" y="90"/>
                  </a:lnTo>
                  <a:lnTo>
                    <a:pt x="198" y="96"/>
                  </a:lnTo>
                  <a:lnTo>
                    <a:pt x="192" y="102"/>
                  </a:lnTo>
                  <a:lnTo>
                    <a:pt x="180" y="126"/>
                  </a:lnTo>
                  <a:lnTo>
                    <a:pt x="174" y="132"/>
                  </a:lnTo>
                  <a:lnTo>
                    <a:pt x="174" y="138"/>
                  </a:lnTo>
                  <a:lnTo>
                    <a:pt x="168" y="144"/>
                  </a:lnTo>
                  <a:lnTo>
                    <a:pt x="162" y="156"/>
                  </a:lnTo>
                  <a:lnTo>
                    <a:pt x="132" y="186"/>
                  </a:lnTo>
                  <a:lnTo>
                    <a:pt x="108" y="198"/>
                  </a:lnTo>
                  <a:lnTo>
                    <a:pt x="90" y="198"/>
                  </a:lnTo>
                  <a:lnTo>
                    <a:pt x="90" y="192"/>
                  </a:lnTo>
                  <a:lnTo>
                    <a:pt x="78" y="180"/>
                  </a:lnTo>
                  <a:lnTo>
                    <a:pt x="66" y="180"/>
                  </a:lnTo>
                  <a:lnTo>
                    <a:pt x="66" y="192"/>
                  </a:lnTo>
                  <a:lnTo>
                    <a:pt x="54" y="192"/>
                  </a:lnTo>
                  <a:lnTo>
                    <a:pt x="42" y="180"/>
                  </a:lnTo>
                  <a:lnTo>
                    <a:pt x="42" y="174"/>
                  </a:lnTo>
                  <a:lnTo>
                    <a:pt x="0" y="174"/>
                  </a:lnTo>
                  <a:lnTo>
                    <a:pt x="6" y="192"/>
                  </a:lnTo>
                  <a:lnTo>
                    <a:pt x="18" y="20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25" name="Zambia" descr="© INSCALE GmbH, 05.05.2010&#10;http://www.presentationload.com/"/>
            <p:cNvSpPr>
              <a:spLocks/>
            </p:cNvSpPr>
            <p:nvPr/>
          </p:nvSpPr>
          <p:spPr bwMode="gray">
            <a:xfrm>
              <a:off x="4972557" y="4508335"/>
              <a:ext cx="270046" cy="247407"/>
            </a:xfrm>
            <a:custGeom>
              <a:avLst/>
              <a:gdLst>
                <a:gd name="T0" fmla="*/ 2147483647 w 834"/>
                <a:gd name="T1" fmla="*/ 2147483647 h 798"/>
                <a:gd name="T2" fmla="*/ 2147483647 w 834"/>
                <a:gd name="T3" fmla="*/ 2147483647 h 798"/>
                <a:gd name="T4" fmla="*/ 2147483647 w 834"/>
                <a:gd name="T5" fmla="*/ 2147483647 h 798"/>
                <a:gd name="T6" fmla="*/ 2147483647 w 834"/>
                <a:gd name="T7" fmla="*/ 2147483647 h 798"/>
                <a:gd name="T8" fmla="*/ 2147483647 w 834"/>
                <a:gd name="T9" fmla="*/ 2147483647 h 798"/>
                <a:gd name="T10" fmla="*/ 2147483647 w 834"/>
                <a:gd name="T11" fmla="*/ 2147483647 h 798"/>
                <a:gd name="T12" fmla="*/ 2147483647 w 834"/>
                <a:gd name="T13" fmla="*/ 2147483647 h 798"/>
                <a:gd name="T14" fmla="*/ 2147483647 w 834"/>
                <a:gd name="T15" fmla="*/ 2147483647 h 798"/>
                <a:gd name="T16" fmla="*/ 2147483647 w 834"/>
                <a:gd name="T17" fmla="*/ 2147483647 h 798"/>
                <a:gd name="T18" fmla="*/ 2147483647 w 834"/>
                <a:gd name="T19" fmla="*/ 2147483647 h 798"/>
                <a:gd name="T20" fmla="*/ 2147483647 w 834"/>
                <a:gd name="T21" fmla="*/ 2147483647 h 798"/>
                <a:gd name="T22" fmla="*/ 2147483647 w 834"/>
                <a:gd name="T23" fmla="*/ 2147483647 h 798"/>
                <a:gd name="T24" fmla="*/ 2147483647 w 834"/>
                <a:gd name="T25" fmla="*/ 2147483647 h 798"/>
                <a:gd name="T26" fmla="*/ 2147483647 w 834"/>
                <a:gd name="T27" fmla="*/ 2147483647 h 798"/>
                <a:gd name="T28" fmla="*/ 2147483647 w 834"/>
                <a:gd name="T29" fmla="*/ 2147483647 h 798"/>
                <a:gd name="T30" fmla="*/ 2147483647 w 834"/>
                <a:gd name="T31" fmla="*/ 2147483647 h 798"/>
                <a:gd name="T32" fmla="*/ 2147483647 w 834"/>
                <a:gd name="T33" fmla="*/ 2147483647 h 798"/>
                <a:gd name="T34" fmla="*/ 2147483647 w 834"/>
                <a:gd name="T35" fmla="*/ 2147483647 h 798"/>
                <a:gd name="T36" fmla="*/ 2147483647 w 834"/>
                <a:gd name="T37" fmla="*/ 2147483647 h 798"/>
                <a:gd name="T38" fmla="*/ 2147483647 w 834"/>
                <a:gd name="T39" fmla="*/ 2147483647 h 798"/>
                <a:gd name="T40" fmla="*/ 2147483647 w 834"/>
                <a:gd name="T41" fmla="*/ 2147483647 h 798"/>
                <a:gd name="T42" fmla="*/ 2147483647 w 834"/>
                <a:gd name="T43" fmla="*/ 2147483647 h 798"/>
                <a:gd name="T44" fmla="*/ 2147483647 w 834"/>
                <a:gd name="T45" fmla="*/ 2147483647 h 798"/>
                <a:gd name="T46" fmla="*/ 2147483647 w 834"/>
                <a:gd name="T47" fmla="*/ 2147483647 h 798"/>
                <a:gd name="T48" fmla="*/ 2147483647 w 834"/>
                <a:gd name="T49" fmla="*/ 2147483647 h 798"/>
                <a:gd name="T50" fmla="*/ 2147483647 w 834"/>
                <a:gd name="T51" fmla="*/ 2147483647 h 798"/>
                <a:gd name="T52" fmla="*/ 2147483647 w 834"/>
                <a:gd name="T53" fmla="*/ 2147483647 h 798"/>
                <a:gd name="T54" fmla="*/ 2147483647 w 834"/>
                <a:gd name="T55" fmla="*/ 2147483647 h 798"/>
                <a:gd name="T56" fmla="*/ 2147483647 w 834"/>
                <a:gd name="T57" fmla="*/ 2147483647 h 798"/>
                <a:gd name="T58" fmla="*/ 2147483647 w 834"/>
                <a:gd name="T59" fmla="*/ 2147483647 h 798"/>
                <a:gd name="T60" fmla="*/ 2147483647 w 834"/>
                <a:gd name="T61" fmla="*/ 2147483647 h 798"/>
                <a:gd name="T62" fmla="*/ 2147483647 w 834"/>
                <a:gd name="T63" fmla="*/ 2147483647 h 798"/>
                <a:gd name="T64" fmla="*/ 2147483647 w 834"/>
                <a:gd name="T65" fmla="*/ 2147483647 h 798"/>
                <a:gd name="T66" fmla="*/ 2147483647 w 834"/>
                <a:gd name="T67" fmla="*/ 2147483647 h 798"/>
                <a:gd name="T68" fmla="*/ 2147483647 w 834"/>
                <a:gd name="T69" fmla="*/ 2147483647 h 798"/>
                <a:gd name="T70" fmla="*/ 2147483647 w 834"/>
                <a:gd name="T71" fmla="*/ 2147483647 h 798"/>
                <a:gd name="T72" fmla="*/ 2147483647 w 834"/>
                <a:gd name="T73" fmla="*/ 2147483647 h 798"/>
                <a:gd name="T74" fmla="*/ 2147483647 w 834"/>
                <a:gd name="T75" fmla="*/ 2147483647 h 798"/>
                <a:gd name="T76" fmla="*/ 2147483647 w 834"/>
                <a:gd name="T77" fmla="*/ 2147483647 h 798"/>
                <a:gd name="T78" fmla="*/ 2147483647 w 834"/>
                <a:gd name="T79" fmla="*/ 2147483647 h 798"/>
                <a:gd name="T80" fmla="*/ 2147483647 w 834"/>
                <a:gd name="T81" fmla="*/ 2147483647 h 798"/>
                <a:gd name="T82" fmla="*/ 2147483647 w 834"/>
                <a:gd name="T83" fmla="*/ 2147483647 h 798"/>
                <a:gd name="T84" fmla="*/ 2147483647 w 834"/>
                <a:gd name="T85" fmla="*/ 2147483647 h 798"/>
                <a:gd name="T86" fmla="*/ 2147483647 w 834"/>
                <a:gd name="T87" fmla="*/ 2147483647 h 798"/>
                <a:gd name="T88" fmla="*/ 2147483647 w 834"/>
                <a:gd name="T89" fmla="*/ 2147483647 h 798"/>
                <a:gd name="T90" fmla="*/ 2147483647 w 834"/>
                <a:gd name="T91" fmla="*/ 2147483647 h 798"/>
                <a:gd name="T92" fmla="*/ 2147483647 w 834"/>
                <a:gd name="T93" fmla="*/ 2147483647 h 798"/>
                <a:gd name="T94" fmla="*/ 2147483647 w 834"/>
                <a:gd name="T95" fmla="*/ 2147483647 h 798"/>
                <a:gd name="T96" fmla="*/ 2147483647 w 834"/>
                <a:gd name="T97" fmla="*/ 2147483647 h 798"/>
                <a:gd name="T98" fmla="*/ 2147483647 w 834"/>
                <a:gd name="T99" fmla="*/ 2147483647 h 798"/>
                <a:gd name="T100" fmla="*/ 2147483647 w 834"/>
                <a:gd name="T101" fmla="*/ 2147483647 h 798"/>
                <a:gd name="T102" fmla="*/ 2147483647 w 834"/>
                <a:gd name="T103" fmla="*/ 2147483647 h 79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834"/>
                <a:gd name="T157" fmla="*/ 0 h 798"/>
                <a:gd name="T158" fmla="*/ 834 w 834"/>
                <a:gd name="T159" fmla="*/ 798 h 79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834" h="798">
                  <a:moveTo>
                    <a:pt x="822" y="186"/>
                  </a:moveTo>
                  <a:lnTo>
                    <a:pt x="822" y="162"/>
                  </a:lnTo>
                  <a:lnTo>
                    <a:pt x="816" y="168"/>
                  </a:lnTo>
                  <a:lnTo>
                    <a:pt x="810" y="168"/>
                  </a:lnTo>
                  <a:lnTo>
                    <a:pt x="810" y="126"/>
                  </a:lnTo>
                  <a:lnTo>
                    <a:pt x="798" y="114"/>
                  </a:lnTo>
                  <a:lnTo>
                    <a:pt x="786" y="114"/>
                  </a:lnTo>
                  <a:lnTo>
                    <a:pt x="786" y="102"/>
                  </a:lnTo>
                  <a:lnTo>
                    <a:pt x="768" y="90"/>
                  </a:lnTo>
                  <a:lnTo>
                    <a:pt x="750" y="90"/>
                  </a:lnTo>
                  <a:lnTo>
                    <a:pt x="750" y="72"/>
                  </a:lnTo>
                  <a:lnTo>
                    <a:pt x="738" y="78"/>
                  </a:lnTo>
                  <a:lnTo>
                    <a:pt x="726" y="78"/>
                  </a:lnTo>
                  <a:lnTo>
                    <a:pt x="708" y="60"/>
                  </a:lnTo>
                  <a:lnTo>
                    <a:pt x="690" y="60"/>
                  </a:lnTo>
                  <a:lnTo>
                    <a:pt x="684" y="54"/>
                  </a:lnTo>
                  <a:lnTo>
                    <a:pt x="684" y="36"/>
                  </a:lnTo>
                  <a:lnTo>
                    <a:pt x="672" y="42"/>
                  </a:lnTo>
                  <a:lnTo>
                    <a:pt x="654" y="42"/>
                  </a:lnTo>
                  <a:lnTo>
                    <a:pt x="648" y="54"/>
                  </a:lnTo>
                  <a:lnTo>
                    <a:pt x="642" y="60"/>
                  </a:lnTo>
                  <a:lnTo>
                    <a:pt x="636" y="60"/>
                  </a:lnTo>
                  <a:lnTo>
                    <a:pt x="624" y="48"/>
                  </a:lnTo>
                  <a:lnTo>
                    <a:pt x="624" y="36"/>
                  </a:lnTo>
                  <a:lnTo>
                    <a:pt x="618" y="30"/>
                  </a:lnTo>
                  <a:lnTo>
                    <a:pt x="606" y="30"/>
                  </a:lnTo>
                  <a:lnTo>
                    <a:pt x="600" y="24"/>
                  </a:lnTo>
                  <a:lnTo>
                    <a:pt x="594" y="24"/>
                  </a:lnTo>
                  <a:lnTo>
                    <a:pt x="594" y="6"/>
                  </a:lnTo>
                  <a:lnTo>
                    <a:pt x="600" y="0"/>
                  </a:lnTo>
                  <a:lnTo>
                    <a:pt x="576" y="12"/>
                  </a:lnTo>
                  <a:lnTo>
                    <a:pt x="558" y="12"/>
                  </a:lnTo>
                  <a:lnTo>
                    <a:pt x="546" y="18"/>
                  </a:lnTo>
                  <a:lnTo>
                    <a:pt x="528" y="18"/>
                  </a:lnTo>
                  <a:lnTo>
                    <a:pt x="510" y="24"/>
                  </a:lnTo>
                  <a:lnTo>
                    <a:pt x="498" y="24"/>
                  </a:lnTo>
                  <a:lnTo>
                    <a:pt x="498" y="54"/>
                  </a:lnTo>
                  <a:lnTo>
                    <a:pt x="480" y="72"/>
                  </a:lnTo>
                  <a:lnTo>
                    <a:pt x="468" y="78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68" y="96"/>
                  </a:lnTo>
                  <a:lnTo>
                    <a:pt x="468" y="102"/>
                  </a:lnTo>
                  <a:lnTo>
                    <a:pt x="474" y="108"/>
                  </a:lnTo>
                  <a:lnTo>
                    <a:pt x="474" y="114"/>
                  </a:lnTo>
                  <a:lnTo>
                    <a:pt x="480" y="120"/>
                  </a:lnTo>
                  <a:lnTo>
                    <a:pt x="480" y="144"/>
                  </a:lnTo>
                  <a:lnTo>
                    <a:pt x="486" y="162"/>
                  </a:lnTo>
                  <a:lnTo>
                    <a:pt x="486" y="216"/>
                  </a:lnTo>
                  <a:lnTo>
                    <a:pt x="474" y="228"/>
                  </a:lnTo>
                  <a:lnTo>
                    <a:pt x="468" y="240"/>
                  </a:lnTo>
                  <a:lnTo>
                    <a:pt x="462" y="258"/>
                  </a:lnTo>
                  <a:lnTo>
                    <a:pt x="456" y="270"/>
                  </a:lnTo>
                  <a:lnTo>
                    <a:pt x="456" y="294"/>
                  </a:lnTo>
                  <a:lnTo>
                    <a:pt x="468" y="306"/>
                  </a:lnTo>
                  <a:lnTo>
                    <a:pt x="474" y="306"/>
                  </a:lnTo>
                  <a:lnTo>
                    <a:pt x="474" y="312"/>
                  </a:lnTo>
                  <a:lnTo>
                    <a:pt x="480" y="312"/>
                  </a:lnTo>
                  <a:lnTo>
                    <a:pt x="510" y="342"/>
                  </a:lnTo>
                  <a:lnTo>
                    <a:pt x="522" y="348"/>
                  </a:lnTo>
                  <a:lnTo>
                    <a:pt x="528" y="348"/>
                  </a:lnTo>
                  <a:lnTo>
                    <a:pt x="534" y="342"/>
                  </a:lnTo>
                  <a:lnTo>
                    <a:pt x="534" y="324"/>
                  </a:lnTo>
                  <a:lnTo>
                    <a:pt x="558" y="324"/>
                  </a:lnTo>
                  <a:lnTo>
                    <a:pt x="558" y="372"/>
                  </a:lnTo>
                  <a:lnTo>
                    <a:pt x="552" y="408"/>
                  </a:lnTo>
                  <a:lnTo>
                    <a:pt x="546" y="426"/>
                  </a:lnTo>
                  <a:lnTo>
                    <a:pt x="540" y="426"/>
                  </a:lnTo>
                  <a:lnTo>
                    <a:pt x="540" y="420"/>
                  </a:lnTo>
                  <a:lnTo>
                    <a:pt x="534" y="408"/>
                  </a:lnTo>
                  <a:lnTo>
                    <a:pt x="516" y="420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92" y="396"/>
                  </a:lnTo>
                  <a:lnTo>
                    <a:pt x="492" y="384"/>
                  </a:lnTo>
                  <a:lnTo>
                    <a:pt x="480" y="372"/>
                  </a:lnTo>
                  <a:lnTo>
                    <a:pt x="468" y="372"/>
                  </a:lnTo>
                  <a:lnTo>
                    <a:pt x="462" y="360"/>
                  </a:lnTo>
                  <a:lnTo>
                    <a:pt x="462" y="354"/>
                  </a:lnTo>
                  <a:lnTo>
                    <a:pt x="456" y="342"/>
                  </a:lnTo>
                  <a:lnTo>
                    <a:pt x="450" y="336"/>
                  </a:lnTo>
                  <a:lnTo>
                    <a:pt x="444" y="336"/>
                  </a:lnTo>
                  <a:lnTo>
                    <a:pt x="438" y="342"/>
                  </a:lnTo>
                  <a:lnTo>
                    <a:pt x="426" y="342"/>
                  </a:lnTo>
                  <a:lnTo>
                    <a:pt x="426" y="330"/>
                  </a:lnTo>
                  <a:lnTo>
                    <a:pt x="420" y="324"/>
                  </a:lnTo>
                  <a:lnTo>
                    <a:pt x="390" y="324"/>
                  </a:lnTo>
                  <a:lnTo>
                    <a:pt x="390" y="312"/>
                  </a:lnTo>
                  <a:lnTo>
                    <a:pt x="396" y="312"/>
                  </a:lnTo>
                  <a:lnTo>
                    <a:pt x="396" y="300"/>
                  </a:lnTo>
                  <a:lnTo>
                    <a:pt x="384" y="300"/>
                  </a:lnTo>
                  <a:lnTo>
                    <a:pt x="378" y="294"/>
                  </a:lnTo>
                  <a:lnTo>
                    <a:pt x="378" y="282"/>
                  </a:lnTo>
                  <a:lnTo>
                    <a:pt x="366" y="270"/>
                  </a:lnTo>
                  <a:lnTo>
                    <a:pt x="360" y="270"/>
                  </a:lnTo>
                  <a:lnTo>
                    <a:pt x="354" y="276"/>
                  </a:lnTo>
                  <a:lnTo>
                    <a:pt x="354" y="294"/>
                  </a:lnTo>
                  <a:lnTo>
                    <a:pt x="348" y="300"/>
                  </a:lnTo>
                  <a:lnTo>
                    <a:pt x="348" y="306"/>
                  </a:lnTo>
                  <a:lnTo>
                    <a:pt x="330" y="306"/>
                  </a:lnTo>
                  <a:lnTo>
                    <a:pt x="300" y="300"/>
                  </a:lnTo>
                  <a:lnTo>
                    <a:pt x="264" y="294"/>
                  </a:lnTo>
                  <a:lnTo>
                    <a:pt x="246" y="282"/>
                  </a:lnTo>
                  <a:lnTo>
                    <a:pt x="240" y="276"/>
                  </a:lnTo>
                  <a:lnTo>
                    <a:pt x="234" y="264"/>
                  </a:lnTo>
                  <a:lnTo>
                    <a:pt x="234" y="246"/>
                  </a:lnTo>
                  <a:lnTo>
                    <a:pt x="192" y="252"/>
                  </a:lnTo>
                  <a:lnTo>
                    <a:pt x="198" y="258"/>
                  </a:lnTo>
                  <a:lnTo>
                    <a:pt x="198" y="264"/>
                  </a:lnTo>
                  <a:lnTo>
                    <a:pt x="180" y="264"/>
                  </a:lnTo>
                  <a:lnTo>
                    <a:pt x="174" y="258"/>
                  </a:lnTo>
                  <a:lnTo>
                    <a:pt x="174" y="228"/>
                  </a:lnTo>
                  <a:lnTo>
                    <a:pt x="156" y="228"/>
                  </a:lnTo>
                  <a:lnTo>
                    <a:pt x="150" y="216"/>
                  </a:lnTo>
                  <a:lnTo>
                    <a:pt x="144" y="234"/>
                  </a:lnTo>
                  <a:lnTo>
                    <a:pt x="144" y="240"/>
                  </a:lnTo>
                  <a:lnTo>
                    <a:pt x="156" y="252"/>
                  </a:lnTo>
                  <a:lnTo>
                    <a:pt x="156" y="270"/>
                  </a:lnTo>
                  <a:lnTo>
                    <a:pt x="150" y="276"/>
                  </a:lnTo>
                  <a:lnTo>
                    <a:pt x="144" y="276"/>
                  </a:lnTo>
                  <a:lnTo>
                    <a:pt x="144" y="330"/>
                  </a:lnTo>
                  <a:lnTo>
                    <a:pt x="156" y="342"/>
                  </a:lnTo>
                  <a:lnTo>
                    <a:pt x="138" y="348"/>
                  </a:lnTo>
                  <a:lnTo>
                    <a:pt x="138" y="354"/>
                  </a:lnTo>
                  <a:lnTo>
                    <a:pt x="144" y="360"/>
                  </a:lnTo>
                  <a:lnTo>
                    <a:pt x="144" y="384"/>
                  </a:lnTo>
                  <a:lnTo>
                    <a:pt x="132" y="396"/>
                  </a:lnTo>
                  <a:lnTo>
                    <a:pt x="126" y="396"/>
                  </a:lnTo>
                  <a:lnTo>
                    <a:pt x="0" y="390"/>
                  </a:lnTo>
                  <a:lnTo>
                    <a:pt x="0" y="642"/>
                  </a:lnTo>
                  <a:lnTo>
                    <a:pt x="6" y="654"/>
                  </a:lnTo>
                  <a:lnTo>
                    <a:pt x="6" y="672"/>
                  </a:lnTo>
                  <a:lnTo>
                    <a:pt x="96" y="762"/>
                  </a:lnTo>
                  <a:lnTo>
                    <a:pt x="114" y="768"/>
                  </a:lnTo>
                  <a:lnTo>
                    <a:pt x="138" y="756"/>
                  </a:lnTo>
                  <a:lnTo>
                    <a:pt x="144" y="756"/>
                  </a:lnTo>
                  <a:lnTo>
                    <a:pt x="150" y="750"/>
                  </a:lnTo>
                  <a:lnTo>
                    <a:pt x="168" y="750"/>
                  </a:lnTo>
                  <a:lnTo>
                    <a:pt x="174" y="756"/>
                  </a:lnTo>
                  <a:lnTo>
                    <a:pt x="174" y="762"/>
                  </a:lnTo>
                  <a:lnTo>
                    <a:pt x="204" y="756"/>
                  </a:lnTo>
                  <a:lnTo>
                    <a:pt x="222" y="774"/>
                  </a:lnTo>
                  <a:lnTo>
                    <a:pt x="264" y="774"/>
                  </a:lnTo>
                  <a:lnTo>
                    <a:pt x="264" y="780"/>
                  </a:lnTo>
                  <a:lnTo>
                    <a:pt x="276" y="792"/>
                  </a:lnTo>
                  <a:lnTo>
                    <a:pt x="288" y="792"/>
                  </a:lnTo>
                  <a:lnTo>
                    <a:pt x="288" y="780"/>
                  </a:lnTo>
                  <a:lnTo>
                    <a:pt x="300" y="780"/>
                  </a:lnTo>
                  <a:lnTo>
                    <a:pt x="312" y="792"/>
                  </a:lnTo>
                  <a:lnTo>
                    <a:pt x="312" y="798"/>
                  </a:lnTo>
                  <a:lnTo>
                    <a:pt x="330" y="798"/>
                  </a:lnTo>
                  <a:lnTo>
                    <a:pt x="354" y="786"/>
                  </a:lnTo>
                  <a:lnTo>
                    <a:pt x="384" y="756"/>
                  </a:lnTo>
                  <a:lnTo>
                    <a:pt x="390" y="744"/>
                  </a:lnTo>
                  <a:lnTo>
                    <a:pt x="396" y="738"/>
                  </a:lnTo>
                  <a:lnTo>
                    <a:pt x="396" y="732"/>
                  </a:lnTo>
                  <a:lnTo>
                    <a:pt x="402" y="726"/>
                  </a:lnTo>
                  <a:lnTo>
                    <a:pt x="414" y="702"/>
                  </a:lnTo>
                  <a:lnTo>
                    <a:pt x="420" y="696"/>
                  </a:lnTo>
                  <a:lnTo>
                    <a:pt x="432" y="690"/>
                  </a:lnTo>
                  <a:lnTo>
                    <a:pt x="450" y="684"/>
                  </a:lnTo>
                  <a:lnTo>
                    <a:pt x="462" y="678"/>
                  </a:lnTo>
                  <a:lnTo>
                    <a:pt x="474" y="678"/>
                  </a:lnTo>
                  <a:lnTo>
                    <a:pt x="480" y="672"/>
                  </a:lnTo>
                  <a:lnTo>
                    <a:pt x="480" y="636"/>
                  </a:lnTo>
                  <a:lnTo>
                    <a:pt x="504" y="624"/>
                  </a:lnTo>
                  <a:lnTo>
                    <a:pt x="516" y="612"/>
                  </a:lnTo>
                  <a:lnTo>
                    <a:pt x="552" y="600"/>
                  </a:lnTo>
                  <a:lnTo>
                    <a:pt x="588" y="600"/>
                  </a:lnTo>
                  <a:lnTo>
                    <a:pt x="588" y="576"/>
                  </a:lnTo>
                  <a:lnTo>
                    <a:pt x="570" y="558"/>
                  </a:lnTo>
                  <a:lnTo>
                    <a:pt x="582" y="546"/>
                  </a:lnTo>
                  <a:lnTo>
                    <a:pt x="612" y="546"/>
                  </a:lnTo>
                  <a:lnTo>
                    <a:pt x="630" y="528"/>
                  </a:lnTo>
                  <a:lnTo>
                    <a:pt x="642" y="528"/>
                  </a:lnTo>
                  <a:lnTo>
                    <a:pt x="654" y="522"/>
                  </a:lnTo>
                  <a:lnTo>
                    <a:pt x="672" y="522"/>
                  </a:lnTo>
                  <a:lnTo>
                    <a:pt x="690" y="516"/>
                  </a:lnTo>
                  <a:lnTo>
                    <a:pt x="702" y="510"/>
                  </a:lnTo>
                  <a:lnTo>
                    <a:pt x="708" y="510"/>
                  </a:lnTo>
                  <a:lnTo>
                    <a:pt x="732" y="498"/>
                  </a:lnTo>
                  <a:lnTo>
                    <a:pt x="750" y="486"/>
                  </a:lnTo>
                  <a:lnTo>
                    <a:pt x="762" y="480"/>
                  </a:lnTo>
                  <a:lnTo>
                    <a:pt x="780" y="474"/>
                  </a:lnTo>
                  <a:lnTo>
                    <a:pt x="786" y="468"/>
                  </a:lnTo>
                  <a:lnTo>
                    <a:pt x="792" y="468"/>
                  </a:lnTo>
                  <a:lnTo>
                    <a:pt x="780" y="462"/>
                  </a:lnTo>
                  <a:lnTo>
                    <a:pt x="768" y="450"/>
                  </a:lnTo>
                  <a:lnTo>
                    <a:pt x="756" y="444"/>
                  </a:lnTo>
                  <a:lnTo>
                    <a:pt x="756" y="438"/>
                  </a:lnTo>
                  <a:lnTo>
                    <a:pt x="762" y="432"/>
                  </a:lnTo>
                  <a:lnTo>
                    <a:pt x="768" y="420"/>
                  </a:lnTo>
                  <a:lnTo>
                    <a:pt x="774" y="414"/>
                  </a:lnTo>
                  <a:lnTo>
                    <a:pt x="780" y="402"/>
                  </a:lnTo>
                  <a:lnTo>
                    <a:pt x="774" y="366"/>
                  </a:lnTo>
                  <a:lnTo>
                    <a:pt x="780" y="366"/>
                  </a:lnTo>
                  <a:lnTo>
                    <a:pt x="786" y="360"/>
                  </a:lnTo>
                  <a:lnTo>
                    <a:pt x="798" y="354"/>
                  </a:lnTo>
                  <a:lnTo>
                    <a:pt x="816" y="336"/>
                  </a:lnTo>
                  <a:lnTo>
                    <a:pt x="816" y="330"/>
                  </a:lnTo>
                  <a:lnTo>
                    <a:pt x="804" y="330"/>
                  </a:lnTo>
                  <a:lnTo>
                    <a:pt x="804" y="258"/>
                  </a:lnTo>
                  <a:lnTo>
                    <a:pt x="810" y="240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804" y="216"/>
                  </a:lnTo>
                  <a:lnTo>
                    <a:pt x="810" y="210"/>
                  </a:lnTo>
                  <a:lnTo>
                    <a:pt x="834" y="198"/>
                  </a:lnTo>
                  <a:lnTo>
                    <a:pt x="834" y="186"/>
                  </a:lnTo>
                  <a:lnTo>
                    <a:pt x="822" y="18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26" name="Yemen" descr="© INSCALE GmbH, 05.05.2010&#10;http://www.presentationload.com/"/>
            <p:cNvSpPr>
              <a:spLocks/>
            </p:cNvSpPr>
            <p:nvPr/>
          </p:nvSpPr>
          <p:spPr bwMode="gray">
            <a:xfrm>
              <a:off x="5443538" y="3828576"/>
              <a:ext cx="236771" cy="155548"/>
            </a:xfrm>
            <a:custGeom>
              <a:avLst/>
              <a:gdLst>
                <a:gd name="T0" fmla="*/ 2147483647 w 732"/>
                <a:gd name="T1" fmla="*/ 2147483647 h 498"/>
                <a:gd name="T2" fmla="*/ 2147483647 w 732"/>
                <a:gd name="T3" fmla="*/ 2147483647 h 498"/>
                <a:gd name="T4" fmla="*/ 2147483647 w 732"/>
                <a:gd name="T5" fmla="*/ 2147483647 h 498"/>
                <a:gd name="T6" fmla="*/ 2147483647 w 732"/>
                <a:gd name="T7" fmla="*/ 2147483647 h 498"/>
                <a:gd name="T8" fmla="*/ 2147483647 w 732"/>
                <a:gd name="T9" fmla="*/ 2147483647 h 498"/>
                <a:gd name="T10" fmla="*/ 2147483647 w 732"/>
                <a:gd name="T11" fmla="*/ 2147483647 h 498"/>
                <a:gd name="T12" fmla="*/ 2147483647 w 732"/>
                <a:gd name="T13" fmla="*/ 2147483647 h 498"/>
                <a:gd name="T14" fmla="*/ 2147483647 w 732"/>
                <a:gd name="T15" fmla="*/ 2147483647 h 498"/>
                <a:gd name="T16" fmla="*/ 2147483647 w 732"/>
                <a:gd name="T17" fmla="*/ 2147483647 h 498"/>
                <a:gd name="T18" fmla="*/ 2147483647 w 732"/>
                <a:gd name="T19" fmla="*/ 2147483647 h 498"/>
                <a:gd name="T20" fmla="*/ 2147483647 w 732"/>
                <a:gd name="T21" fmla="*/ 2147483647 h 498"/>
                <a:gd name="T22" fmla="*/ 2147483647 w 732"/>
                <a:gd name="T23" fmla="*/ 2147483647 h 498"/>
                <a:gd name="T24" fmla="*/ 2147483647 w 732"/>
                <a:gd name="T25" fmla="*/ 2147483647 h 498"/>
                <a:gd name="T26" fmla="*/ 2147483647 w 732"/>
                <a:gd name="T27" fmla="*/ 2147483647 h 498"/>
                <a:gd name="T28" fmla="*/ 2147483647 w 732"/>
                <a:gd name="T29" fmla="*/ 2147483647 h 498"/>
                <a:gd name="T30" fmla="*/ 0 w 732"/>
                <a:gd name="T31" fmla="*/ 2147483647 h 498"/>
                <a:gd name="T32" fmla="*/ 2147483647 w 732"/>
                <a:gd name="T33" fmla="*/ 2147483647 h 498"/>
                <a:gd name="T34" fmla="*/ 2147483647 w 732"/>
                <a:gd name="T35" fmla="*/ 2147483647 h 498"/>
                <a:gd name="T36" fmla="*/ 2147483647 w 732"/>
                <a:gd name="T37" fmla="*/ 2147483647 h 498"/>
                <a:gd name="T38" fmla="*/ 2147483647 w 732"/>
                <a:gd name="T39" fmla="*/ 2147483647 h 498"/>
                <a:gd name="T40" fmla="*/ 2147483647 w 732"/>
                <a:gd name="T41" fmla="*/ 2147483647 h 498"/>
                <a:gd name="T42" fmla="*/ 2147483647 w 732"/>
                <a:gd name="T43" fmla="*/ 2147483647 h 498"/>
                <a:gd name="T44" fmla="*/ 2147483647 w 732"/>
                <a:gd name="T45" fmla="*/ 2147483647 h 498"/>
                <a:gd name="T46" fmla="*/ 2147483647 w 732"/>
                <a:gd name="T47" fmla="*/ 2147483647 h 498"/>
                <a:gd name="T48" fmla="*/ 2147483647 w 732"/>
                <a:gd name="T49" fmla="*/ 2147483647 h 498"/>
                <a:gd name="T50" fmla="*/ 2147483647 w 732"/>
                <a:gd name="T51" fmla="*/ 2147483647 h 498"/>
                <a:gd name="T52" fmla="*/ 2147483647 w 732"/>
                <a:gd name="T53" fmla="*/ 2147483647 h 498"/>
                <a:gd name="T54" fmla="*/ 2147483647 w 732"/>
                <a:gd name="T55" fmla="*/ 2147483647 h 498"/>
                <a:gd name="T56" fmla="*/ 2147483647 w 732"/>
                <a:gd name="T57" fmla="*/ 2147483647 h 498"/>
                <a:gd name="T58" fmla="*/ 2147483647 w 732"/>
                <a:gd name="T59" fmla="*/ 2147483647 h 498"/>
                <a:gd name="T60" fmla="*/ 2147483647 w 732"/>
                <a:gd name="T61" fmla="*/ 2147483647 h 498"/>
                <a:gd name="T62" fmla="*/ 2147483647 w 732"/>
                <a:gd name="T63" fmla="*/ 2147483647 h 498"/>
                <a:gd name="T64" fmla="*/ 2147483647 w 732"/>
                <a:gd name="T65" fmla="*/ 2147483647 h 498"/>
                <a:gd name="T66" fmla="*/ 2147483647 w 732"/>
                <a:gd name="T67" fmla="*/ 2147483647 h 498"/>
                <a:gd name="T68" fmla="*/ 2147483647 w 732"/>
                <a:gd name="T69" fmla="*/ 2147483647 h 498"/>
                <a:gd name="T70" fmla="*/ 2147483647 w 732"/>
                <a:gd name="T71" fmla="*/ 2147483647 h 498"/>
                <a:gd name="T72" fmla="*/ 2147483647 w 732"/>
                <a:gd name="T73" fmla="*/ 2147483647 h 498"/>
                <a:gd name="T74" fmla="*/ 2147483647 w 732"/>
                <a:gd name="T75" fmla="*/ 2147483647 h 498"/>
                <a:gd name="T76" fmla="*/ 2147483647 w 732"/>
                <a:gd name="T77" fmla="*/ 0 h 498"/>
                <a:gd name="T78" fmla="*/ 2147483647 w 732"/>
                <a:gd name="T79" fmla="*/ 2147483647 h 498"/>
                <a:gd name="T80" fmla="*/ 2147483647 w 732"/>
                <a:gd name="T81" fmla="*/ 2147483647 h 4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732"/>
                <a:gd name="T124" fmla="*/ 0 h 498"/>
                <a:gd name="T125" fmla="*/ 732 w 732"/>
                <a:gd name="T126" fmla="*/ 498 h 49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732" h="498">
                  <a:moveTo>
                    <a:pt x="468" y="24"/>
                  </a:moveTo>
                  <a:lnTo>
                    <a:pt x="450" y="30"/>
                  </a:lnTo>
                  <a:lnTo>
                    <a:pt x="420" y="36"/>
                  </a:lnTo>
                  <a:lnTo>
                    <a:pt x="390" y="54"/>
                  </a:lnTo>
                  <a:lnTo>
                    <a:pt x="372" y="72"/>
                  </a:lnTo>
                  <a:lnTo>
                    <a:pt x="366" y="84"/>
                  </a:lnTo>
                  <a:lnTo>
                    <a:pt x="354" y="96"/>
                  </a:lnTo>
                  <a:lnTo>
                    <a:pt x="348" y="108"/>
                  </a:lnTo>
                  <a:lnTo>
                    <a:pt x="342" y="114"/>
                  </a:lnTo>
                  <a:lnTo>
                    <a:pt x="336" y="126"/>
                  </a:lnTo>
                  <a:lnTo>
                    <a:pt x="336" y="144"/>
                  </a:lnTo>
                  <a:lnTo>
                    <a:pt x="330" y="150"/>
                  </a:lnTo>
                  <a:lnTo>
                    <a:pt x="324" y="162"/>
                  </a:lnTo>
                  <a:lnTo>
                    <a:pt x="312" y="162"/>
                  </a:lnTo>
                  <a:lnTo>
                    <a:pt x="300" y="156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2" y="126"/>
                  </a:lnTo>
                  <a:lnTo>
                    <a:pt x="102" y="126"/>
                  </a:lnTo>
                  <a:lnTo>
                    <a:pt x="96" y="132"/>
                  </a:lnTo>
                  <a:lnTo>
                    <a:pt x="72" y="138"/>
                  </a:lnTo>
                  <a:lnTo>
                    <a:pt x="54" y="120"/>
                  </a:lnTo>
                  <a:lnTo>
                    <a:pt x="48" y="120"/>
                  </a:lnTo>
                  <a:lnTo>
                    <a:pt x="42" y="126"/>
                  </a:lnTo>
                  <a:lnTo>
                    <a:pt x="36" y="138"/>
                  </a:lnTo>
                  <a:lnTo>
                    <a:pt x="36" y="186"/>
                  </a:lnTo>
                  <a:lnTo>
                    <a:pt x="30" y="192"/>
                  </a:lnTo>
                  <a:lnTo>
                    <a:pt x="24" y="204"/>
                  </a:lnTo>
                  <a:lnTo>
                    <a:pt x="12" y="216"/>
                  </a:lnTo>
                  <a:lnTo>
                    <a:pt x="0" y="252"/>
                  </a:lnTo>
                  <a:lnTo>
                    <a:pt x="0" y="258"/>
                  </a:lnTo>
                  <a:lnTo>
                    <a:pt x="18" y="276"/>
                  </a:lnTo>
                  <a:lnTo>
                    <a:pt x="24" y="288"/>
                  </a:lnTo>
                  <a:lnTo>
                    <a:pt x="36" y="294"/>
                  </a:lnTo>
                  <a:lnTo>
                    <a:pt x="24" y="408"/>
                  </a:lnTo>
                  <a:lnTo>
                    <a:pt x="54" y="444"/>
                  </a:lnTo>
                  <a:lnTo>
                    <a:pt x="54" y="456"/>
                  </a:lnTo>
                  <a:lnTo>
                    <a:pt x="60" y="468"/>
                  </a:lnTo>
                  <a:lnTo>
                    <a:pt x="78" y="486"/>
                  </a:lnTo>
                  <a:lnTo>
                    <a:pt x="90" y="492"/>
                  </a:lnTo>
                  <a:lnTo>
                    <a:pt x="114" y="498"/>
                  </a:lnTo>
                  <a:lnTo>
                    <a:pt x="132" y="498"/>
                  </a:lnTo>
                  <a:lnTo>
                    <a:pt x="150" y="492"/>
                  </a:lnTo>
                  <a:lnTo>
                    <a:pt x="162" y="486"/>
                  </a:lnTo>
                  <a:lnTo>
                    <a:pt x="168" y="480"/>
                  </a:lnTo>
                  <a:lnTo>
                    <a:pt x="186" y="444"/>
                  </a:lnTo>
                  <a:lnTo>
                    <a:pt x="198" y="432"/>
                  </a:lnTo>
                  <a:lnTo>
                    <a:pt x="210" y="432"/>
                  </a:lnTo>
                  <a:lnTo>
                    <a:pt x="228" y="438"/>
                  </a:lnTo>
                  <a:lnTo>
                    <a:pt x="270" y="438"/>
                  </a:lnTo>
                  <a:lnTo>
                    <a:pt x="324" y="432"/>
                  </a:lnTo>
                  <a:lnTo>
                    <a:pt x="366" y="426"/>
                  </a:lnTo>
                  <a:lnTo>
                    <a:pt x="390" y="414"/>
                  </a:lnTo>
                  <a:lnTo>
                    <a:pt x="402" y="402"/>
                  </a:lnTo>
                  <a:lnTo>
                    <a:pt x="414" y="384"/>
                  </a:lnTo>
                  <a:lnTo>
                    <a:pt x="426" y="372"/>
                  </a:lnTo>
                  <a:lnTo>
                    <a:pt x="450" y="360"/>
                  </a:lnTo>
                  <a:lnTo>
                    <a:pt x="462" y="348"/>
                  </a:lnTo>
                  <a:lnTo>
                    <a:pt x="474" y="342"/>
                  </a:lnTo>
                  <a:lnTo>
                    <a:pt x="486" y="330"/>
                  </a:lnTo>
                  <a:lnTo>
                    <a:pt x="504" y="324"/>
                  </a:lnTo>
                  <a:lnTo>
                    <a:pt x="528" y="312"/>
                  </a:lnTo>
                  <a:lnTo>
                    <a:pt x="546" y="306"/>
                  </a:lnTo>
                  <a:lnTo>
                    <a:pt x="558" y="294"/>
                  </a:lnTo>
                  <a:lnTo>
                    <a:pt x="594" y="276"/>
                  </a:lnTo>
                  <a:lnTo>
                    <a:pt x="666" y="276"/>
                  </a:lnTo>
                  <a:lnTo>
                    <a:pt x="666" y="270"/>
                  </a:lnTo>
                  <a:lnTo>
                    <a:pt x="672" y="264"/>
                  </a:lnTo>
                  <a:lnTo>
                    <a:pt x="684" y="240"/>
                  </a:lnTo>
                  <a:lnTo>
                    <a:pt x="690" y="222"/>
                  </a:lnTo>
                  <a:lnTo>
                    <a:pt x="702" y="210"/>
                  </a:lnTo>
                  <a:lnTo>
                    <a:pt x="708" y="198"/>
                  </a:lnTo>
                  <a:lnTo>
                    <a:pt x="720" y="192"/>
                  </a:lnTo>
                  <a:lnTo>
                    <a:pt x="720" y="186"/>
                  </a:lnTo>
                  <a:lnTo>
                    <a:pt x="732" y="186"/>
                  </a:lnTo>
                  <a:lnTo>
                    <a:pt x="648" y="0"/>
                  </a:lnTo>
                  <a:lnTo>
                    <a:pt x="630" y="0"/>
                  </a:lnTo>
                  <a:lnTo>
                    <a:pt x="588" y="6"/>
                  </a:lnTo>
                  <a:lnTo>
                    <a:pt x="540" y="18"/>
                  </a:lnTo>
                  <a:lnTo>
                    <a:pt x="492" y="24"/>
                  </a:lnTo>
                  <a:lnTo>
                    <a:pt x="468" y="2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27" name="Western Sahara" descr="© INSCALE GmbH, 05.05.2010&#10;http://www.presentationload.com/"/>
            <p:cNvSpPr>
              <a:spLocks/>
            </p:cNvSpPr>
            <p:nvPr/>
          </p:nvSpPr>
          <p:spPr bwMode="gray">
            <a:xfrm>
              <a:off x="4086907" y="3611789"/>
              <a:ext cx="194535" cy="159223"/>
            </a:xfrm>
            <a:custGeom>
              <a:avLst/>
              <a:gdLst>
                <a:gd name="T0" fmla="*/ 2147483647 w 600"/>
                <a:gd name="T1" fmla="*/ 0 h 510"/>
                <a:gd name="T2" fmla="*/ 2147483647 w 600"/>
                <a:gd name="T3" fmla="*/ 0 h 510"/>
                <a:gd name="T4" fmla="*/ 2147483647 w 600"/>
                <a:gd name="T5" fmla="*/ 2147483647 h 510"/>
                <a:gd name="T6" fmla="*/ 2147483647 w 600"/>
                <a:gd name="T7" fmla="*/ 2147483647 h 510"/>
                <a:gd name="T8" fmla="*/ 2147483647 w 600"/>
                <a:gd name="T9" fmla="*/ 2147483647 h 510"/>
                <a:gd name="T10" fmla="*/ 2147483647 w 600"/>
                <a:gd name="T11" fmla="*/ 2147483647 h 510"/>
                <a:gd name="T12" fmla="*/ 2147483647 w 600"/>
                <a:gd name="T13" fmla="*/ 2147483647 h 510"/>
                <a:gd name="T14" fmla="*/ 2147483647 w 600"/>
                <a:gd name="T15" fmla="*/ 2147483647 h 510"/>
                <a:gd name="T16" fmla="*/ 2147483647 w 600"/>
                <a:gd name="T17" fmla="*/ 2147483647 h 510"/>
                <a:gd name="T18" fmla="*/ 2147483647 w 600"/>
                <a:gd name="T19" fmla="*/ 2147483647 h 510"/>
                <a:gd name="T20" fmla="*/ 2147483647 w 600"/>
                <a:gd name="T21" fmla="*/ 2147483647 h 510"/>
                <a:gd name="T22" fmla="*/ 2147483647 w 600"/>
                <a:gd name="T23" fmla="*/ 2147483647 h 510"/>
                <a:gd name="T24" fmla="*/ 2147483647 w 600"/>
                <a:gd name="T25" fmla="*/ 2147483647 h 510"/>
                <a:gd name="T26" fmla="*/ 2147483647 w 600"/>
                <a:gd name="T27" fmla="*/ 2147483647 h 510"/>
                <a:gd name="T28" fmla="*/ 2147483647 w 600"/>
                <a:gd name="T29" fmla="*/ 2147483647 h 510"/>
                <a:gd name="T30" fmla="*/ 2147483647 w 600"/>
                <a:gd name="T31" fmla="*/ 2147483647 h 510"/>
                <a:gd name="T32" fmla="*/ 2147483647 w 600"/>
                <a:gd name="T33" fmla="*/ 2147483647 h 510"/>
                <a:gd name="T34" fmla="*/ 2147483647 w 600"/>
                <a:gd name="T35" fmla="*/ 2147483647 h 510"/>
                <a:gd name="T36" fmla="*/ 2147483647 w 600"/>
                <a:gd name="T37" fmla="*/ 2147483647 h 510"/>
                <a:gd name="T38" fmla="*/ 2147483647 w 600"/>
                <a:gd name="T39" fmla="*/ 2147483647 h 510"/>
                <a:gd name="T40" fmla="*/ 2147483647 w 600"/>
                <a:gd name="T41" fmla="*/ 2147483647 h 510"/>
                <a:gd name="T42" fmla="*/ 2147483647 w 600"/>
                <a:gd name="T43" fmla="*/ 2147483647 h 510"/>
                <a:gd name="T44" fmla="*/ 2147483647 w 600"/>
                <a:gd name="T45" fmla="*/ 2147483647 h 510"/>
                <a:gd name="T46" fmla="*/ 2147483647 w 600"/>
                <a:gd name="T47" fmla="*/ 2147483647 h 510"/>
                <a:gd name="T48" fmla="*/ 2147483647 w 600"/>
                <a:gd name="T49" fmla="*/ 2147483647 h 510"/>
                <a:gd name="T50" fmla="*/ 2147483647 w 600"/>
                <a:gd name="T51" fmla="*/ 2147483647 h 510"/>
                <a:gd name="T52" fmla="*/ 2147483647 w 600"/>
                <a:gd name="T53" fmla="*/ 2147483647 h 510"/>
                <a:gd name="T54" fmla="*/ 2147483647 w 600"/>
                <a:gd name="T55" fmla="*/ 2147483647 h 510"/>
                <a:gd name="T56" fmla="*/ 2147483647 w 600"/>
                <a:gd name="T57" fmla="*/ 2147483647 h 510"/>
                <a:gd name="T58" fmla="*/ 2147483647 w 600"/>
                <a:gd name="T59" fmla="*/ 2147483647 h 510"/>
                <a:gd name="T60" fmla="*/ 2147483647 w 600"/>
                <a:gd name="T61" fmla="*/ 2147483647 h 510"/>
                <a:gd name="T62" fmla="*/ 2147483647 w 600"/>
                <a:gd name="T63" fmla="*/ 2147483647 h 510"/>
                <a:gd name="T64" fmla="*/ 2147483647 w 600"/>
                <a:gd name="T65" fmla="*/ 2147483647 h 510"/>
                <a:gd name="T66" fmla="*/ 2147483647 w 600"/>
                <a:gd name="T67" fmla="*/ 2147483647 h 510"/>
                <a:gd name="T68" fmla="*/ 2147483647 w 600"/>
                <a:gd name="T69" fmla="*/ 2147483647 h 510"/>
                <a:gd name="T70" fmla="*/ 2147483647 w 600"/>
                <a:gd name="T71" fmla="*/ 2147483647 h 510"/>
                <a:gd name="T72" fmla="*/ 2147483647 w 600"/>
                <a:gd name="T73" fmla="*/ 2147483647 h 510"/>
                <a:gd name="T74" fmla="*/ 2147483647 w 600"/>
                <a:gd name="T75" fmla="*/ 2147483647 h 510"/>
                <a:gd name="T76" fmla="*/ 2147483647 w 600"/>
                <a:gd name="T77" fmla="*/ 2147483647 h 510"/>
                <a:gd name="T78" fmla="*/ 0 w 600"/>
                <a:gd name="T79" fmla="*/ 2147483647 h 510"/>
                <a:gd name="T80" fmla="*/ 0 w 600"/>
                <a:gd name="T81" fmla="*/ 2147483647 h 510"/>
                <a:gd name="T82" fmla="*/ 2147483647 w 600"/>
                <a:gd name="T83" fmla="*/ 2147483647 h 510"/>
                <a:gd name="T84" fmla="*/ 2147483647 w 600"/>
                <a:gd name="T85" fmla="*/ 2147483647 h 510"/>
                <a:gd name="T86" fmla="*/ 2147483647 w 600"/>
                <a:gd name="T87" fmla="*/ 2147483647 h 510"/>
                <a:gd name="T88" fmla="*/ 2147483647 w 600"/>
                <a:gd name="T89" fmla="*/ 2147483647 h 510"/>
                <a:gd name="T90" fmla="*/ 2147483647 w 600"/>
                <a:gd name="T91" fmla="*/ 2147483647 h 510"/>
                <a:gd name="T92" fmla="*/ 2147483647 w 600"/>
                <a:gd name="T93" fmla="*/ 2147483647 h 510"/>
                <a:gd name="T94" fmla="*/ 2147483647 w 600"/>
                <a:gd name="T95" fmla="*/ 2147483647 h 510"/>
                <a:gd name="T96" fmla="*/ 2147483647 w 600"/>
                <a:gd name="T97" fmla="*/ 2147483647 h 510"/>
                <a:gd name="T98" fmla="*/ 2147483647 w 600"/>
                <a:gd name="T99" fmla="*/ 2147483647 h 510"/>
                <a:gd name="T100" fmla="*/ 2147483647 w 600"/>
                <a:gd name="T101" fmla="*/ 2147483647 h 510"/>
                <a:gd name="T102" fmla="*/ 2147483647 w 600"/>
                <a:gd name="T103" fmla="*/ 2147483647 h 510"/>
                <a:gd name="T104" fmla="*/ 2147483647 w 600"/>
                <a:gd name="T105" fmla="*/ 2147483647 h 510"/>
                <a:gd name="T106" fmla="*/ 2147483647 w 600"/>
                <a:gd name="T107" fmla="*/ 2147483647 h 510"/>
                <a:gd name="T108" fmla="*/ 2147483647 w 600"/>
                <a:gd name="T109" fmla="*/ 2147483647 h 510"/>
                <a:gd name="T110" fmla="*/ 2147483647 w 600"/>
                <a:gd name="T111" fmla="*/ 2147483647 h 510"/>
                <a:gd name="T112" fmla="*/ 2147483647 w 600"/>
                <a:gd name="T113" fmla="*/ 0 h 510"/>
                <a:gd name="T114" fmla="*/ 2147483647 w 600"/>
                <a:gd name="T115" fmla="*/ 0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00"/>
                <a:gd name="T175" fmla="*/ 0 h 510"/>
                <a:gd name="T176" fmla="*/ 600 w 600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00" h="510">
                  <a:moveTo>
                    <a:pt x="546" y="0"/>
                  </a:moveTo>
                  <a:lnTo>
                    <a:pt x="288" y="0"/>
                  </a:lnTo>
                  <a:lnTo>
                    <a:pt x="282" y="6"/>
                  </a:lnTo>
                  <a:lnTo>
                    <a:pt x="270" y="30"/>
                  </a:lnTo>
                  <a:lnTo>
                    <a:pt x="270" y="42"/>
                  </a:lnTo>
                  <a:lnTo>
                    <a:pt x="264" y="54"/>
                  </a:lnTo>
                  <a:lnTo>
                    <a:pt x="264" y="66"/>
                  </a:lnTo>
                  <a:lnTo>
                    <a:pt x="234" y="96"/>
                  </a:lnTo>
                  <a:lnTo>
                    <a:pt x="198" y="96"/>
                  </a:lnTo>
                  <a:lnTo>
                    <a:pt x="186" y="108"/>
                  </a:lnTo>
                  <a:lnTo>
                    <a:pt x="186" y="144"/>
                  </a:lnTo>
                  <a:lnTo>
                    <a:pt x="156" y="174"/>
                  </a:lnTo>
                  <a:lnTo>
                    <a:pt x="156" y="186"/>
                  </a:lnTo>
                  <a:lnTo>
                    <a:pt x="168" y="210"/>
                  </a:lnTo>
                  <a:lnTo>
                    <a:pt x="168" y="222"/>
                  </a:lnTo>
                  <a:lnTo>
                    <a:pt x="156" y="246"/>
                  </a:lnTo>
                  <a:lnTo>
                    <a:pt x="144" y="252"/>
                  </a:lnTo>
                  <a:lnTo>
                    <a:pt x="138" y="252"/>
                  </a:lnTo>
                  <a:lnTo>
                    <a:pt x="132" y="258"/>
                  </a:lnTo>
                  <a:lnTo>
                    <a:pt x="126" y="270"/>
                  </a:lnTo>
                  <a:lnTo>
                    <a:pt x="114" y="282"/>
                  </a:lnTo>
                  <a:lnTo>
                    <a:pt x="102" y="288"/>
                  </a:lnTo>
                  <a:lnTo>
                    <a:pt x="96" y="294"/>
                  </a:lnTo>
                  <a:lnTo>
                    <a:pt x="84" y="300"/>
                  </a:lnTo>
                  <a:lnTo>
                    <a:pt x="78" y="306"/>
                  </a:lnTo>
                  <a:lnTo>
                    <a:pt x="78" y="318"/>
                  </a:lnTo>
                  <a:lnTo>
                    <a:pt x="90" y="324"/>
                  </a:lnTo>
                  <a:lnTo>
                    <a:pt x="78" y="330"/>
                  </a:lnTo>
                  <a:lnTo>
                    <a:pt x="60" y="366"/>
                  </a:lnTo>
                  <a:lnTo>
                    <a:pt x="60" y="384"/>
                  </a:lnTo>
                  <a:lnTo>
                    <a:pt x="48" y="384"/>
                  </a:lnTo>
                  <a:lnTo>
                    <a:pt x="48" y="390"/>
                  </a:lnTo>
                  <a:lnTo>
                    <a:pt x="54" y="396"/>
                  </a:lnTo>
                  <a:lnTo>
                    <a:pt x="54" y="408"/>
                  </a:lnTo>
                  <a:lnTo>
                    <a:pt x="48" y="420"/>
                  </a:lnTo>
                  <a:lnTo>
                    <a:pt x="36" y="426"/>
                  </a:lnTo>
                  <a:lnTo>
                    <a:pt x="24" y="426"/>
                  </a:lnTo>
                  <a:lnTo>
                    <a:pt x="18" y="432"/>
                  </a:lnTo>
                  <a:lnTo>
                    <a:pt x="6" y="456"/>
                  </a:lnTo>
                  <a:lnTo>
                    <a:pt x="0" y="462"/>
                  </a:lnTo>
                  <a:lnTo>
                    <a:pt x="0" y="510"/>
                  </a:lnTo>
                  <a:lnTo>
                    <a:pt x="276" y="510"/>
                  </a:lnTo>
                  <a:lnTo>
                    <a:pt x="282" y="408"/>
                  </a:lnTo>
                  <a:lnTo>
                    <a:pt x="276" y="396"/>
                  </a:lnTo>
                  <a:lnTo>
                    <a:pt x="276" y="378"/>
                  </a:lnTo>
                  <a:lnTo>
                    <a:pt x="282" y="366"/>
                  </a:lnTo>
                  <a:lnTo>
                    <a:pt x="306" y="354"/>
                  </a:lnTo>
                  <a:lnTo>
                    <a:pt x="336" y="354"/>
                  </a:lnTo>
                  <a:lnTo>
                    <a:pt x="348" y="348"/>
                  </a:lnTo>
                  <a:lnTo>
                    <a:pt x="354" y="342"/>
                  </a:lnTo>
                  <a:lnTo>
                    <a:pt x="354" y="150"/>
                  </a:lnTo>
                  <a:lnTo>
                    <a:pt x="366" y="144"/>
                  </a:lnTo>
                  <a:lnTo>
                    <a:pt x="366" y="132"/>
                  </a:lnTo>
                  <a:lnTo>
                    <a:pt x="588" y="126"/>
                  </a:lnTo>
                  <a:lnTo>
                    <a:pt x="588" y="90"/>
                  </a:lnTo>
                  <a:lnTo>
                    <a:pt x="594" y="84"/>
                  </a:lnTo>
                  <a:lnTo>
                    <a:pt x="600" y="0"/>
                  </a:lnTo>
                  <a:lnTo>
                    <a:pt x="546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28" name="West Bank" descr="© INSCALE GmbH, 05.05.2010&#10;http://www.presentationload.com/"/>
            <p:cNvSpPr>
              <a:spLocks/>
            </p:cNvSpPr>
            <p:nvPr/>
          </p:nvSpPr>
          <p:spPr bwMode="gray">
            <a:xfrm>
              <a:off x="5249003" y="3491760"/>
              <a:ext cx="14078" cy="29395"/>
            </a:xfrm>
            <a:custGeom>
              <a:avLst/>
              <a:gdLst>
                <a:gd name="T0" fmla="*/ 2147483647 w 42"/>
                <a:gd name="T1" fmla="*/ 2147483647 h 96"/>
                <a:gd name="T2" fmla="*/ 2147483647 w 42"/>
                <a:gd name="T3" fmla="*/ 2147483647 h 96"/>
                <a:gd name="T4" fmla="*/ 2147483647 w 42"/>
                <a:gd name="T5" fmla="*/ 2147483647 h 96"/>
                <a:gd name="T6" fmla="*/ 2147483647 w 42"/>
                <a:gd name="T7" fmla="*/ 0 h 96"/>
                <a:gd name="T8" fmla="*/ 2147483647 w 42"/>
                <a:gd name="T9" fmla="*/ 0 h 96"/>
                <a:gd name="T10" fmla="*/ 0 w 42"/>
                <a:gd name="T11" fmla="*/ 2147483647 h 96"/>
                <a:gd name="T12" fmla="*/ 0 w 42"/>
                <a:gd name="T13" fmla="*/ 2147483647 h 96"/>
                <a:gd name="T14" fmla="*/ 2147483647 w 42"/>
                <a:gd name="T15" fmla="*/ 2147483647 h 96"/>
                <a:gd name="T16" fmla="*/ 2147483647 w 42"/>
                <a:gd name="T17" fmla="*/ 2147483647 h 96"/>
                <a:gd name="T18" fmla="*/ 2147483647 w 42"/>
                <a:gd name="T19" fmla="*/ 2147483647 h 96"/>
                <a:gd name="T20" fmla="*/ 2147483647 w 42"/>
                <a:gd name="T21" fmla="*/ 2147483647 h 96"/>
                <a:gd name="T22" fmla="*/ 2147483647 w 42"/>
                <a:gd name="T23" fmla="*/ 2147483647 h 9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2"/>
                <a:gd name="T37" fmla="*/ 0 h 96"/>
                <a:gd name="T38" fmla="*/ 42 w 42"/>
                <a:gd name="T39" fmla="*/ 96 h 9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2" h="96">
                  <a:moveTo>
                    <a:pt x="24" y="78"/>
                  </a:moveTo>
                  <a:lnTo>
                    <a:pt x="30" y="84"/>
                  </a:lnTo>
                  <a:lnTo>
                    <a:pt x="42" y="72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18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2" y="90"/>
                  </a:lnTo>
                  <a:lnTo>
                    <a:pt x="18" y="90"/>
                  </a:lnTo>
                  <a:lnTo>
                    <a:pt x="18" y="84"/>
                  </a:lnTo>
                  <a:lnTo>
                    <a:pt x="24" y="7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29" name="Uzbekistan" descr="© INSCALE GmbH, 05.05.2010&#10;http://www.presentationload.com/"/>
            <p:cNvSpPr>
              <a:spLocks/>
            </p:cNvSpPr>
            <p:nvPr/>
          </p:nvSpPr>
          <p:spPr bwMode="gray">
            <a:xfrm>
              <a:off x="5650873" y="3167191"/>
              <a:ext cx="385232" cy="206989"/>
            </a:xfrm>
            <a:custGeom>
              <a:avLst/>
              <a:gdLst>
                <a:gd name="T0" fmla="*/ 2147483647 w 1182"/>
                <a:gd name="T1" fmla="*/ 2147483647 h 666"/>
                <a:gd name="T2" fmla="*/ 2147483647 w 1182"/>
                <a:gd name="T3" fmla="*/ 2147483647 h 666"/>
                <a:gd name="T4" fmla="*/ 2147483647 w 1182"/>
                <a:gd name="T5" fmla="*/ 2147483647 h 666"/>
                <a:gd name="T6" fmla="*/ 2147483647 w 1182"/>
                <a:gd name="T7" fmla="*/ 2147483647 h 666"/>
                <a:gd name="T8" fmla="*/ 2147483647 w 1182"/>
                <a:gd name="T9" fmla="*/ 2147483647 h 666"/>
                <a:gd name="T10" fmla="*/ 2147483647 w 1182"/>
                <a:gd name="T11" fmla="*/ 2147483647 h 666"/>
                <a:gd name="T12" fmla="*/ 2147483647 w 1182"/>
                <a:gd name="T13" fmla="*/ 2147483647 h 666"/>
                <a:gd name="T14" fmla="*/ 2147483647 w 1182"/>
                <a:gd name="T15" fmla="*/ 2147483647 h 666"/>
                <a:gd name="T16" fmla="*/ 2147483647 w 1182"/>
                <a:gd name="T17" fmla="*/ 2147483647 h 666"/>
                <a:gd name="T18" fmla="*/ 2147483647 w 1182"/>
                <a:gd name="T19" fmla="*/ 2147483647 h 666"/>
                <a:gd name="T20" fmla="*/ 2147483647 w 1182"/>
                <a:gd name="T21" fmla="*/ 2147483647 h 666"/>
                <a:gd name="T22" fmla="*/ 2147483647 w 1182"/>
                <a:gd name="T23" fmla="*/ 2147483647 h 666"/>
                <a:gd name="T24" fmla="*/ 2147483647 w 1182"/>
                <a:gd name="T25" fmla="*/ 2147483647 h 666"/>
                <a:gd name="T26" fmla="*/ 2147483647 w 1182"/>
                <a:gd name="T27" fmla="*/ 2147483647 h 666"/>
                <a:gd name="T28" fmla="*/ 2147483647 w 1182"/>
                <a:gd name="T29" fmla="*/ 2147483647 h 666"/>
                <a:gd name="T30" fmla="*/ 2147483647 w 1182"/>
                <a:gd name="T31" fmla="*/ 2147483647 h 666"/>
                <a:gd name="T32" fmla="*/ 2147483647 w 1182"/>
                <a:gd name="T33" fmla="*/ 2147483647 h 666"/>
                <a:gd name="T34" fmla="*/ 2147483647 w 1182"/>
                <a:gd name="T35" fmla="*/ 2147483647 h 666"/>
                <a:gd name="T36" fmla="*/ 2147483647 w 1182"/>
                <a:gd name="T37" fmla="*/ 2147483647 h 666"/>
                <a:gd name="T38" fmla="*/ 2147483647 w 1182"/>
                <a:gd name="T39" fmla="*/ 2147483647 h 666"/>
                <a:gd name="T40" fmla="*/ 2147483647 w 1182"/>
                <a:gd name="T41" fmla="*/ 2147483647 h 666"/>
                <a:gd name="T42" fmla="*/ 2147483647 w 1182"/>
                <a:gd name="T43" fmla="*/ 2147483647 h 666"/>
                <a:gd name="T44" fmla="*/ 2147483647 w 1182"/>
                <a:gd name="T45" fmla="*/ 2147483647 h 666"/>
                <a:gd name="T46" fmla="*/ 2147483647 w 1182"/>
                <a:gd name="T47" fmla="*/ 2147483647 h 666"/>
                <a:gd name="T48" fmla="*/ 2147483647 w 1182"/>
                <a:gd name="T49" fmla="*/ 2147483647 h 666"/>
                <a:gd name="T50" fmla="*/ 2147483647 w 1182"/>
                <a:gd name="T51" fmla="*/ 2147483647 h 666"/>
                <a:gd name="T52" fmla="*/ 2147483647 w 1182"/>
                <a:gd name="T53" fmla="*/ 2147483647 h 666"/>
                <a:gd name="T54" fmla="*/ 2147483647 w 1182"/>
                <a:gd name="T55" fmla="*/ 2147483647 h 666"/>
                <a:gd name="T56" fmla="*/ 2147483647 w 1182"/>
                <a:gd name="T57" fmla="*/ 2147483647 h 666"/>
                <a:gd name="T58" fmla="*/ 2147483647 w 1182"/>
                <a:gd name="T59" fmla="*/ 2147483647 h 666"/>
                <a:gd name="T60" fmla="*/ 2147483647 w 1182"/>
                <a:gd name="T61" fmla="*/ 2147483647 h 666"/>
                <a:gd name="T62" fmla="*/ 2147483647 w 1182"/>
                <a:gd name="T63" fmla="*/ 2147483647 h 666"/>
                <a:gd name="T64" fmla="*/ 2147483647 w 1182"/>
                <a:gd name="T65" fmla="*/ 2147483647 h 666"/>
                <a:gd name="T66" fmla="*/ 2147483647 w 1182"/>
                <a:gd name="T67" fmla="*/ 2147483647 h 666"/>
                <a:gd name="T68" fmla="*/ 2147483647 w 1182"/>
                <a:gd name="T69" fmla="*/ 2147483647 h 666"/>
                <a:gd name="T70" fmla="*/ 2147483647 w 1182"/>
                <a:gd name="T71" fmla="*/ 2147483647 h 666"/>
                <a:gd name="T72" fmla="*/ 2147483647 w 1182"/>
                <a:gd name="T73" fmla="*/ 2147483647 h 666"/>
                <a:gd name="T74" fmla="*/ 2147483647 w 1182"/>
                <a:gd name="T75" fmla="*/ 2147483647 h 666"/>
                <a:gd name="T76" fmla="*/ 2147483647 w 1182"/>
                <a:gd name="T77" fmla="*/ 2147483647 h 666"/>
                <a:gd name="T78" fmla="*/ 2147483647 w 1182"/>
                <a:gd name="T79" fmla="*/ 2147483647 h 666"/>
                <a:gd name="T80" fmla="*/ 2147483647 w 1182"/>
                <a:gd name="T81" fmla="*/ 2147483647 h 666"/>
                <a:gd name="T82" fmla="*/ 2147483647 w 1182"/>
                <a:gd name="T83" fmla="*/ 2147483647 h 666"/>
                <a:gd name="T84" fmla="*/ 2147483647 w 1182"/>
                <a:gd name="T85" fmla="*/ 2147483647 h 666"/>
                <a:gd name="T86" fmla="*/ 2147483647 w 1182"/>
                <a:gd name="T87" fmla="*/ 2147483647 h 666"/>
                <a:gd name="T88" fmla="*/ 2147483647 w 1182"/>
                <a:gd name="T89" fmla="*/ 2147483647 h 666"/>
                <a:gd name="T90" fmla="*/ 2147483647 w 1182"/>
                <a:gd name="T91" fmla="*/ 2147483647 h 666"/>
                <a:gd name="T92" fmla="*/ 2147483647 w 1182"/>
                <a:gd name="T93" fmla="*/ 2147483647 h 666"/>
                <a:gd name="T94" fmla="*/ 2147483647 w 1182"/>
                <a:gd name="T95" fmla="*/ 2147483647 h 666"/>
                <a:gd name="T96" fmla="*/ 2147483647 w 1182"/>
                <a:gd name="T97" fmla="*/ 2147483647 h 666"/>
                <a:gd name="T98" fmla="*/ 2147483647 w 1182"/>
                <a:gd name="T99" fmla="*/ 2147483647 h 666"/>
                <a:gd name="T100" fmla="*/ 2147483647 w 1182"/>
                <a:gd name="T101" fmla="*/ 2147483647 h 666"/>
                <a:gd name="T102" fmla="*/ 2147483647 w 1182"/>
                <a:gd name="T103" fmla="*/ 2147483647 h 666"/>
                <a:gd name="T104" fmla="*/ 2147483647 w 1182"/>
                <a:gd name="T105" fmla="*/ 2147483647 h 666"/>
                <a:gd name="T106" fmla="*/ 2147483647 w 1182"/>
                <a:gd name="T107" fmla="*/ 2147483647 h 666"/>
                <a:gd name="T108" fmla="*/ 2147483647 w 1182"/>
                <a:gd name="T109" fmla="*/ 2147483647 h 666"/>
                <a:gd name="T110" fmla="*/ 2147483647 w 1182"/>
                <a:gd name="T111" fmla="*/ 2147483647 h 666"/>
                <a:gd name="T112" fmla="*/ 2147483647 w 1182"/>
                <a:gd name="T113" fmla="*/ 2147483647 h 666"/>
                <a:gd name="T114" fmla="*/ 2147483647 w 1182"/>
                <a:gd name="T115" fmla="*/ 2147483647 h 66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182"/>
                <a:gd name="T175" fmla="*/ 0 h 666"/>
                <a:gd name="T176" fmla="*/ 1182 w 1182"/>
                <a:gd name="T177" fmla="*/ 666 h 66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182" h="666">
                  <a:moveTo>
                    <a:pt x="1152" y="372"/>
                  </a:moveTo>
                  <a:lnTo>
                    <a:pt x="1146" y="360"/>
                  </a:lnTo>
                  <a:lnTo>
                    <a:pt x="1122" y="360"/>
                  </a:lnTo>
                  <a:lnTo>
                    <a:pt x="1116" y="342"/>
                  </a:lnTo>
                  <a:lnTo>
                    <a:pt x="1098" y="342"/>
                  </a:lnTo>
                  <a:lnTo>
                    <a:pt x="1080" y="318"/>
                  </a:lnTo>
                  <a:lnTo>
                    <a:pt x="1080" y="330"/>
                  </a:lnTo>
                  <a:lnTo>
                    <a:pt x="1068" y="330"/>
                  </a:lnTo>
                  <a:lnTo>
                    <a:pt x="1068" y="342"/>
                  </a:lnTo>
                  <a:lnTo>
                    <a:pt x="1032" y="342"/>
                  </a:lnTo>
                  <a:lnTo>
                    <a:pt x="1020" y="330"/>
                  </a:lnTo>
                  <a:lnTo>
                    <a:pt x="990" y="318"/>
                  </a:lnTo>
                  <a:lnTo>
                    <a:pt x="1038" y="270"/>
                  </a:lnTo>
                  <a:lnTo>
                    <a:pt x="1038" y="264"/>
                  </a:lnTo>
                  <a:lnTo>
                    <a:pt x="1032" y="264"/>
                  </a:lnTo>
                  <a:lnTo>
                    <a:pt x="1032" y="258"/>
                  </a:lnTo>
                  <a:lnTo>
                    <a:pt x="1002" y="276"/>
                  </a:lnTo>
                  <a:lnTo>
                    <a:pt x="978" y="276"/>
                  </a:lnTo>
                  <a:lnTo>
                    <a:pt x="966" y="300"/>
                  </a:lnTo>
                  <a:lnTo>
                    <a:pt x="960" y="300"/>
                  </a:lnTo>
                  <a:lnTo>
                    <a:pt x="954" y="306"/>
                  </a:lnTo>
                  <a:lnTo>
                    <a:pt x="942" y="306"/>
                  </a:lnTo>
                  <a:lnTo>
                    <a:pt x="930" y="312"/>
                  </a:lnTo>
                  <a:lnTo>
                    <a:pt x="918" y="324"/>
                  </a:lnTo>
                  <a:lnTo>
                    <a:pt x="918" y="342"/>
                  </a:lnTo>
                  <a:lnTo>
                    <a:pt x="912" y="342"/>
                  </a:lnTo>
                  <a:lnTo>
                    <a:pt x="906" y="348"/>
                  </a:lnTo>
                  <a:lnTo>
                    <a:pt x="894" y="354"/>
                  </a:lnTo>
                  <a:lnTo>
                    <a:pt x="882" y="366"/>
                  </a:lnTo>
                  <a:lnTo>
                    <a:pt x="882" y="378"/>
                  </a:lnTo>
                  <a:lnTo>
                    <a:pt x="888" y="384"/>
                  </a:lnTo>
                  <a:lnTo>
                    <a:pt x="888" y="396"/>
                  </a:lnTo>
                  <a:lnTo>
                    <a:pt x="882" y="390"/>
                  </a:lnTo>
                  <a:lnTo>
                    <a:pt x="870" y="390"/>
                  </a:lnTo>
                  <a:lnTo>
                    <a:pt x="858" y="384"/>
                  </a:lnTo>
                  <a:lnTo>
                    <a:pt x="852" y="384"/>
                  </a:lnTo>
                  <a:lnTo>
                    <a:pt x="852" y="372"/>
                  </a:lnTo>
                  <a:lnTo>
                    <a:pt x="858" y="366"/>
                  </a:lnTo>
                  <a:lnTo>
                    <a:pt x="858" y="348"/>
                  </a:lnTo>
                  <a:lnTo>
                    <a:pt x="840" y="342"/>
                  </a:lnTo>
                  <a:lnTo>
                    <a:pt x="762" y="342"/>
                  </a:lnTo>
                  <a:lnTo>
                    <a:pt x="732" y="282"/>
                  </a:lnTo>
                  <a:lnTo>
                    <a:pt x="726" y="276"/>
                  </a:lnTo>
                  <a:lnTo>
                    <a:pt x="714" y="276"/>
                  </a:lnTo>
                  <a:lnTo>
                    <a:pt x="708" y="282"/>
                  </a:lnTo>
                  <a:lnTo>
                    <a:pt x="702" y="282"/>
                  </a:lnTo>
                  <a:lnTo>
                    <a:pt x="696" y="276"/>
                  </a:lnTo>
                  <a:lnTo>
                    <a:pt x="696" y="234"/>
                  </a:lnTo>
                  <a:lnTo>
                    <a:pt x="690" y="216"/>
                  </a:lnTo>
                  <a:lnTo>
                    <a:pt x="690" y="204"/>
                  </a:lnTo>
                  <a:lnTo>
                    <a:pt x="660" y="204"/>
                  </a:lnTo>
                  <a:lnTo>
                    <a:pt x="654" y="192"/>
                  </a:lnTo>
                  <a:lnTo>
                    <a:pt x="642" y="186"/>
                  </a:lnTo>
                  <a:lnTo>
                    <a:pt x="636" y="168"/>
                  </a:lnTo>
                  <a:lnTo>
                    <a:pt x="618" y="150"/>
                  </a:lnTo>
                  <a:lnTo>
                    <a:pt x="612" y="138"/>
                  </a:lnTo>
                  <a:lnTo>
                    <a:pt x="600" y="138"/>
                  </a:lnTo>
                  <a:lnTo>
                    <a:pt x="576" y="150"/>
                  </a:lnTo>
                  <a:lnTo>
                    <a:pt x="570" y="156"/>
                  </a:lnTo>
                  <a:lnTo>
                    <a:pt x="552" y="156"/>
                  </a:lnTo>
                  <a:lnTo>
                    <a:pt x="534" y="150"/>
                  </a:lnTo>
                  <a:lnTo>
                    <a:pt x="474" y="150"/>
                  </a:lnTo>
                  <a:lnTo>
                    <a:pt x="456" y="156"/>
                  </a:lnTo>
                  <a:lnTo>
                    <a:pt x="420" y="156"/>
                  </a:lnTo>
                  <a:lnTo>
                    <a:pt x="414" y="162"/>
                  </a:lnTo>
                  <a:lnTo>
                    <a:pt x="408" y="162"/>
                  </a:lnTo>
                  <a:lnTo>
                    <a:pt x="330" y="90"/>
                  </a:lnTo>
                  <a:lnTo>
                    <a:pt x="264" y="54"/>
                  </a:lnTo>
                  <a:lnTo>
                    <a:pt x="270" y="66"/>
                  </a:lnTo>
                  <a:lnTo>
                    <a:pt x="270" y="90"/>
                  </a:lnTo>
                  <a:lnTo>
                    <a:pt x="264" y="102"/>
                  </a:lnTo>
                  <a:lnTo>
                    <a:pt x="258" y="108"/>
                  </a:lnTo>
                  <a:lnTo>
                    <a:pt x="240" y="108"/>
                  </a:lnTo>
                  <a:lnTo>
                    <a:pt x="228" y="102"/>
                  </a:lnTo>
                  <a:lnTo>
                    <a:pt x="222" y="96"/>
                  </a:lnTo>
                  <a:lnTo>
                    <a:pt x="222" y="78"/>
                  </a:lnTo>
                  <a:lnTo>
                    <a:pt x="210" y="54"/>
                  </a:lnTo>
                  <a:lnTo>
                    <a:pt x="216" y="36"/>
                  </a:lnTo>
                  <a:lnTo>
                    <a:pt x="162" y="12"/>
                  </a:lnTo>
                  <a:lnTo>
                    <a:pt x="156" y="30"/>
                  </a:lnTo>
                  <a:lnTo>
                    <a:pt x="168" y="36"/>
                  </a:lnTo>
                  <a:lnTo>
                    <a:pt x="174" y="48"/>
                  </a:lnTo>
                  <a:lnTo>
                    <a:pt x="174" y="72"/>
                  </a:lnTo>
                  <a:lnTo>
                    <a:pt x="168" y="78"/>
                  </a:lnTo>
                  <a:lnTo>
                    <a:pt x="156" y="84"/>
                  </a:lnTo>
                  <a:lnTo>
                    <a:pt x="150" y="84"/>
                  </a:lnTo>
                  <a:lnTo>
                    <a:pt x="144" y="78"/>
                  </a:lnTo>
                  <a:lnTo>
                    <a:pt x="144" y="60"/>
                  </a:lnTo>
                  <a:lnTo>
                    <a:pt x="132" y="48"/>
                  </a:lnTo>
                  <a:lnTo>
                    <a:pt x="132" y="42"/>
                  </a:lnTo>
                  <a:lnTo>
                    <a:pt x="144" y="30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0" y="42"/>
                  </a:lnTo>
                  <a:lnTo>
                    <a:pt x="48" y="324"/>
                  </a:lnTo>
                  <a:lnTo>
                    <a:pt x="60" y="324"/>
                  </a:lnTo>
                  <a:lnTo>
                    <a:pt x="72" y="336"/>
                  </a:lnTo>
                  <a:lnTo>
                    <a:pt x="138" y="336"/>
                  </a:lnTo>
                  <a:lnTo>
                    <a:pt x="132" y="324"/>
                  </a:lnTo>
                  <a:lnTo>
                    <a:pt x="120" y="318"/>
                  </a:lnTo>
                  <a:lnTo>
                    <a:pt x="114" y="300"/>
                  </a:lnTo>
                  <a:lnTo>
                    <a:pt x="114" y="288"/>
                  </a:lnTo>
                  <a:lnTo>
                    <a:pt x="132" y="270"/>
                  </a:lnTo>
                  <a:lnTo>
                    <a:pt x="144" y="264"/>
                  </a:lnTo>
                  <a:lnTo>
                    <a:pt x="156" y="264"/>
                  </a:lnTo>
                  <a:lnTo>
                    <a:pt x="162" y="258"/>
                  </a:lnTo>
                  <a:lnTo>
                    <a:pt x="168" y="258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186" y="246"/>
                  </a:lnTo>
                  <a:lnTo>
                    <a:pt x="198" y="246"/>
                  </a:lnTo>
                  <a:lnTo>
                    <a:pt x="204" y="252"/>
                  </a:lnTo>
                  <a:lnTo>
                    <a:pt x="174" y="222"/>
                  </a:lnTo>
                  <a:lnTo>
                    <a:pt x="204" y="228"/>
                  </a:lnTo>
                  <a:lnTo>
                    <a:pt x="210" y="216"/>
                  </a:lnTo>
                  <a:lnTo>
                    <a:pt x="228" y="240"/>
                  </a:lnTo>
                  <a:lnTo>
                    <a:pt x="252" y="240"/>
                  </a:lnTo>
                  <a:lnTo>
                    <a:pt x="252" y="252"/>
                  </a:lnTo>
                  <a:lnTo>
                    <a:pt x="264" y="258"/>
                  </a:lnTo>
                  <a:lnTo>
                    <a:pt x="300" y="258"/>
                  </a:lnTo>
                  <a:lnTo>
                    <a:pt x="306" y="264"/>
                  </a:lnTo>
                  <a:lnTo>
                    <a:pt x="312" y="276"/>
                  </a:lnTo>
                  <a:lnTo>
                    <a:pt x="312" y="288"/>
                  </a:lnTo>
                  <a:lnTo>
                    <a:pt x="324" y="294"/>
                  </a:lnTo>
                  <a:lnTo>
                    <a:pt x="312" y="306"/>
                  </a:lnTo>
                  <a:lnTo>
                    <a:pt x="312" y="318"/>
                  </a:lnTo>
                  <a:lnTo>
                    <a:pt x="330" y="336"/>
                  </a:lnTo>
                  <a:lnTo>
                    <a:pt x="360" y="336"/>
                  </a:lnTo>
                  <a:lnTo>
                    <a:pt x="414" y="342"/>
                  </a:lnTo>
                  <a:lnTo>
                    <a:pt x="414" y="336"/>
                  </a:lnTo>
                  <a:lnTo>
                    <a:pt x="450" y="354"/>
                  </a:lnTo>
                  <a:lnTo>
                    <a:pt x="468" y="384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92" y="414"/>
                  </a:lnTo>
                  <a:lnTo>
                    <a:pt x="510" y="450"/>
                  </a:lnTo>
                  <a:lnTo>
                    <a:pt x="522" y="462"/>
                  </a:lnTo>
                  <a:lnTo>
                    <a:pt x="534" y="468"/>
                  </a:lnTo>
                  <a:lnTo>
                    <a:pt x="552" y="468"/>
                  </a:lnTo>
                  <a:lnTo>
                    <a:pt x="564" y="474"/>
                  </a:lnTo>
                  <a:lnTo>
                    <a:pt x="570" y="474"/>
                  </a:lnTo>
                  <a:lnTo>
                    <a:pt x="582" y="486"/>
                  </a:lnTo>
                  <a:lnTo>
                    <a:pt x="588" y="498"/>
                  </a:lnTo>
                  <a:lnTo>
                    <a:pt x="594" y="504"/>
                  </a:lnTo>
                  <a:lnTo>
                    <a:pt x="624" y="522"/>
                  </a:lnTo>
                  <a:lnTo>
                    <a:pt x="648" y="522"/>
                  </a:lnTo>
                  <a:lnTo>
                    <a:pt x="666" y="534"/>
                  </a:lnTo>
                  <a:lnTo>
                    <a:pt x="690" y="546"/>
                  </a:lnTo>
                  <a:lnTo>
                    <a:pt x="696" y="552"/>
                  </a:lnTo>
                  <a:lnTo>
                    <a:pt x="708" y="558"/>
                  </a:lnTo>
                  <a:lnTo>
                    <a:pt x="720" y="570"/>
                  </a:lnTo>
                  <a:lnTo>
                    <a:pt x="732" y="570"/>
                  </a:lnTo>
                  <a:lnTo>
                    <a:pt x="744" y="582"/>
                  </a:lnTo>
                  <a:lnTo>
                    <a:pt x="750" y="582"/>
                  </a:lnTo>
                  <a:lnTo>
                    <a:pt x="774" y="576"/>
                  </a:lnTo>
                  <a:lnTo>
                    <a:pt x="822" y="606"/>
                  </a:lnTo>
                  <a:lnTo>
                    <a:pt x="816" y="612"/>
                  </a:lnTo>
                  <a:lnTo>
                    <a:pt x="816" y="630"/>
                  </a:lnTo>
                  <a:lnTo>
                    <a:pt x="828" y="642"/>
                  </a:lnTo>
                  <a:lnTo>
                    <a:pt x="828" y="654"/>
                  </a:lnTo>
                  <a:lnTo>
                    <a:pt x="840" y="654"/>
                  </a:lnTo>
                  <a:lnTo>
                    <a:pt x="852" y="642"/>
                  </a:lnTo>
                  <a:lnTo>
                    <a:pt x="870" y="666"/>
                  </a:lnTo>
                  <a:lnTo>
                    <a:pt x="882" y="660"/>
                  </a:lnTo>
                  <a:lnTo>
                    <a:pt x="894" y="660"/>
                  </a:lnTo>
                  <a:lnTo>
                    <a:pt x="900" y="666"/>
                  </a:lnTo>
                  <a:lnTo>
                    <a:pt x="906" y="666"/>
                  </a:lnTo>
                  <a:lnTo>
                    <a:pt x="900" y="666"/>
                  </a:lnTo>
                  <a:lnTo>
                    <a:pt x="900" y="642"/>
                  </a:lnTo>
                  <a:lnTo>
                    <a:pt x="906" y="636"/>
                  </a:lnTo>
                  <a:lnTo>
                    <a:pt x="912" y="624"/>
                  </a:lnTo>
                  <a:lnTo>
                    <a:pt x="924" y="618"/>
                  </a:lnTo>
                  <a:lnTo>
                    <a:pt x="930" y="606"/>
                  </a:lnTo>
                  <a:lnTo>
                    <a:pt x="930" y="588"/>
                  </a:lnTo>
                  <a:lnTo>
                    <a:pt x="918" y="576"/>
                  </a:lnTo>
                  <a:lnTo>
                    <a:pt x="906" y="570"/>
                  </a:lnTo>
                  <a:lnTo>
                    <a:pt x="900" y="564"/>
                  </a:lnTo>
                  <a:lnTo>
                    <a:pt x="900" y="546"/>
                  </a:lnTo>
                  <a:lnTo>
                    <a:pt x="906" y="540"/>
                  </a:lnTo>
                  <a:lnTo>
                    <a:pt x="906" y="534"/>
                  </a:lnTo>
                  <a:lnTo>
                    <a:pt x="894" y="522"/>
                  </a:lnTo>
                  <a:lnTo>
                    <a:pt x="882" y="522"/>
                  </a:lnTo>
                  <a:lnTo>
                    <a:pt x="876" y="516"/>
                  </a:lnTo>
                  <a:lnTo>
                    <a:pt x="870" y="516"/>
                  </a:lnTo>
                  <a:lnTo>
                    <a:pt x="858" y="504"/>
                  </a:lnTo>
                  <a:lnTo>
                    <a:pt x="840" y="504"/>
                  </a:lnTo>
                  <a:lnTo>
                    <a:pt x="840" y="486"/>
                  </a:lnTo>
                  <a:lnTo>
                    <a:pt x="846" y="480"/>
                  </a:lnTo>
                  <a:lnTo>
                    <a:pt x="894" y="480"/>
                  </a:lnTo>
                  <a:lnTo>
                    <a:pt x="918" y="468"/>
                  </a:lnTo>
                  <a:lnTo>
                    <a:pt x="918" y="456"/>
                  </a:lnTo>
                  <a:lnTo>
                    <a:pt x="912" y="456"/>
                  </a:lnTo>
                  <a:lnTo>
                    <a:pt x="930" y="444"/>
                  </a:lnTo>
                  <a:lnTo>
                    <a:pt x="906" y="420"/>
                  </a:lnTo>
                  <a:lnTo>
                    <a:pt x="948" y="420"/>
                  </a:lnTo>
                  <a:lnTo>
                    <a:pt x="948" y="414"/>
                  </a:lnTo>
                  <a:lnTo>
                    <a:pt x="936" y="402"/>
                  </a:lnTo>
                  <a:lnTo>
                    <a:pt x="936" y="390"/>
                  </a:lnTo>
                  <a:lnTo>
                    <a:pt x="942" y="384"/>
                  </a:lnTo>
                  <a:lnTo>
                    <a:pt x="942" y="372"/>
                  </a:lnTo>
                  <a:lnTo>
                    <a:pt x="954" y="372"/>
                  </a:lnTo>
                  <a:lnTo>
                    <a:pt x="972" y="390"/>
                  </a:lnTo>
                  <a:lnTo>
                    <a:pt x="978" y="390"/>
                  </a:lnTo>
                  <a:lnTo>
                    <a:pt x="984" y="378"/>
                  </a:lnTo>
                  <a:lnTo>
                    <a:pt x="996" y="372"/>
                  </a:lnTo>
                  <a:lnTo>
                    <a:pt x="1002" y="360"/>
                  </a:lnTo>
                  <a:lnTo>
                    <a:pt x="1020" y="360"/>
                  </a:lnTo>
                  <a:lnTo>
                    <a:pt x="1032" y="366"/>
                  </a:lnTo>
                  <a:lnTo>
                    <a:pt x="1038" y="372"/>
                  </a:lnTo>
                  <a:lnTo>
                    <a:pt x="1014" y="408"/>
                  </a:lnTo>
                  <a:lnTo>
                    <a:pt x="1026" y="408"/>
                  </a:lnTo>
                  <a:lnTo>
                    <a:pt x="1032" y="414"/>
                  </a:lnTo>
                  <a:lnTo>
                    <a:pt x="1044" y="414"/>
                  </a:lnTo>
                  <a:lnTo>
                    <a:pt x="1050" y="420"/>
                  </a:lnTo>
                  <a:lnTo>
                    <a:pt x="1056" y="420"/>
                  </a:lnTo>
                  <a:lnTo>
                    <a:pt x="1068" y="414"/>
                  </a:lnTo>
                  <a:lnTo>
                    <a:pt x="1086" y="414"/>
                  </a:lnTo>
                  <a:lnTo>
                    <a:pt x="1092" y="420"/>
                  </a:lnTo>
                  <a:lnTo>
                    <a:pt x="1098" y="420"/>
                  </a:lnTo>
                  <a:lnTo>
                    <a:pt x="1104" y="426"/>
                  </a:lnTo>
                  <a:lnTo>
                    <a:pt x="1110" y="426"/>
                  </a:lnTo>
                  <a:lnTo>
                    <a:pt x="1128" y="408"/>
                  </a:lnTo>
                  <a:lnTo>
                    <a:pt x="1146" y="402"/>
                  </a:lnTo>
                  <a:lnTo>
                    <a:pt x="1146" y="396"/>
                  </a:lnTo>
                  <a:lnTo>
                    <a:pt x="1158" y="396"/>
                  </a:lnTo>
                  <a:lnTo>
                    <a:pt x="1170" y="390"/>
                  </a:lnTo>
                  <a:lnTo>
                    <a:pt x="1182" y="378"/>
                  </a:lnTo>
                  <a:lnTo>
                    <a:pt x="1182" y="366"/>
                  </a:lnTo>
                  <a:lnTo>
                    <a:pt x="1170" y="366"/>
                  </a:lnTo>
                  <a:lnTo>
                    <a:pt x="1158" y="372"/>
                  </a:lnTo>
                  <a:lnTo>
                    <a:pt x="1152" y="37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30" name="Vietnam" descr="© INSCALE GmbH, 05.05.2010&#10;http://www.presentationload.com/"/>
            <p:cNvSpPr>
              <a:spLocks/>
            </p:cNvSpPr>
            <p:nvPr/>
          </p:nvSpPr>
          <p:spPr bwMode="gray">
            <a:xfrm>
              <a:off x="6783532" y="3719570"/>
              <a:ext cx="195815" cy="369886"/>
            </a:xfrm>
            <a:custGeom>
              <a:avLst/>
              <a:gdLst>
                <a:gd name="T0" fmla="*/ 2147483647 w 606"/>
                <a:gd name="T1" fmla="*/ 2147483647 h 1194"/>
                <a:gd name="T2" fmla="*/ 2147483647 w 606"/>
                <a:gd name="T3" fmla="*/ 2147483647 h 1194"/>
                <a:gd name="T4" fmla="*/ 2147483647 w 606"/>
                <a:gd name="T5" fmla="*/ 2147483647 h 1194"/>
                <a:gd name="T6" fmla="*/ 2147483647 w 606"/>
                <a:gd name="T7" fmla="*/ 2147483647 h 1194"/>
                <a:gd name="T8" fmla="*/ 2147483647 w 606"/>
                <a:gd name="T9" fmla="*/ 2147483647 h 1194"/>
                <a:gd name="T10" fmla="*/ 2147483647 w 606"/>
                <a:gd name="T11" fmla="*/ 2147483647 h 1194"/>
                <a:gd name="T12" fmla="*/ 2147483647 w 606"/>
                <a:gd name="T13" fmla="*/ 2147483647 h 1194"/>
                <a:gd name="T14" fmla="*/ 2147483647 w 606"/>
                <a:gd name="T15" fmla="*/ 2147483647 h 1194"/>
                <a:gd name="T16" fmla="*/ 2147483647 w 606"/>
                <a:gd name="T17" fmla="*/ 2147483647 h 1194"/>
                <a:gd name="T18" fmla="*/ 2147483647 w 606"/>
                <a:gd name="T19" fmla="*/ 2147483647 h 1194"/>
                <a:gd name="T20" fmla="*/ 2147483647 w 606"/>
                <a:gd name="T21" fmla="*/ 2147483647 h 1194"/>
                <a:gd name="T22" fmla="*/ 2147483647 w 606"/>
                <a:gd name="T23" fmla="*/ 2147483647 h 1194"/>
                <a:gd name="T24" fmla="*/ 2147483647 w 606"/>
                <a:gd name="T25" fmla="*/ 2147483647 h 1194"/>
                <a:gd name="T26" fmla="*/ 2147483647 w 606"/>
                <a:gd name="T27" fmla="*/ 2147483647 h 1194"/>
                <a:gd name="T28" fmla="*/ 2147483647 w 606"/>
                <a:gd name="T29" fmla="*/ 2147483647 h 1194"/>
                <a:gd name="T30" fmla="*/ 2147483647 w 606"/>
                <a:gd name="T31" fmla="*/ 2147483647 h 1194"/>
                <a:gd name="T32" fmla="*/ 2147483647 w 606"/>
                <a:gd name="T33" fmla="*/ 2147483647 h 1194"/>
                <a:gd name="T34" fmla="*/ 2147483647 w 606"/>
                <a:gd name="T35" fmla="*/ 2147483647 h 1194"/>
                <a:gd name="T36" fmla="*/ 2147483647 w 606"/>
                <a:gd name="T37" fmla="*/ 2147483647 h 1194"/>
                <a:gd name="T38" fmla="*/ 2147483647 w 606"/>
                <a:gd name="T39" fmla="*/ 2147483647 h 1194"/>
                <a:gd name="T40" fmla="*/ 2147483647 w 606"/>
                <a:gd name="T41" fmla="*/ 2147483647 h 1194"/>
                <a:gd name="T42" fmla="*/ 2147483647 w 606"/>
                <a:gd name="T43" fmla="*/ 2147483647 h 1194"/>
                <a:gd name="T44" fmla="*/ 2147483647 w 606"/>
                <a:gd name="T45" fmla="*/ 2147483647 h 1194"/>
                <a:gd name="T46" fmla="*/ 2147483647 w 606"/>
                <a:gd name="T47" fmla="*/ 2147483647 h 1194"/>
                <a:gd name="T48" fmla="*/ 2147483647 w 606"/>
                <a:gd name="T49" fmla="*/ 2147483647 h 1194"/>
                <a:gd name="T50" fmla="*/ 2147483647 w 606"/>
                <a:gd name="T51" fmla="*/ 2147483647 h 1194"/>
                <a:gd name="T52" fmla="*/ 2147483647 w 606"/>
                <a:gd name="T53" fmla="*/ 2147483647 h 1194"/>
                <a:gd name="T54" fmla="*/ 2147483647 w 606"/>
                <a:gd name="T55" fmla="*/ 2147483647 h 1194"/>
                <a:gd name="T56" fmla="*/ 2147483647 w 606"/>
                <a:gd name="T57" fmla="*/ 2147483647 h 1194"/>
                <a:gd name="T58" fmla="*/ 2147483647 w 606"/>
                <a:gd name="T59" fmla="*/ 2147483647 h 1194"/>
                <a:gd name="T60" fmla="*/ 2147483647 w 606"/>
                <a:gd name="T61" fmla="*/ 2147483647 h 1194"/>
                <a:gd name="T62" fmla="*/ 2147483647 w 606"/>
                <a:gd name="T63" fmla="*/ 2147483647 h 1194"/>
                <a:gd name="T64" fmla="*/ 2147483647 w 606"/>
                <a:gd name="T65" fmla="*/ 2147483647 h 1194"/>
                <a:gd name="T66" fmla="*/ 2147483647 w 606"/>
                <a:gd name="T67" fmla="*/ 2147483647 h 1194"/>
                <a:gd name="T68" fmla="*/ 2147483647 w 606"/>
                <a:gd name="T69" fmla="*/ 2147483647 h 1194"/>
                <a:gd name="T70" fmla="*/ 2147483647 w 606"/>
                <a:gd name="T71" fmla="*/ 2147483647 h 1194"/>
                <a:gd name="T72" fmla="*/ 2147483647 w 606"/>
                <a:gd name="T73" fmla="*/ 2147483647 h 1194"/>
                <a:gd name="T74" fmla="*/ 2147483647 w 606"/>
                <a:gd name="T75" fmla="*/ 2147483647 h 1194"/>
                <a:gd name="T76" fmla="*/ 2147483647 w 606"/>
                <a:gd name="T77" fmla="*/ 2147483647 h 1194"/>
                <a:gd name="T78" fmla="*/ 2147483647 w 606"/>
                <a:gd name="T79" fmla="*/ 2147483647 h 1194"/>
                <a:gd name="T80" fmla="*/ 2147483647 w 606"/>
                <a:gd name="T81" fmla="*/ 2147483647 h 1194"/>
                <a:gd name="T82" fmla="*/ 2147483647 w 606"/>
                <a:gd name="T83" fmla="*/ 2147483647 h 1194"/>
                <a:gd name="T84" fmla="*/ 2147483647 w 606"/>
                <a:gd name="T85" fmla="*/ 2147483647 h 1194"/>
                <a:gd name="T86" fmla="*/ 2147483647 w 606"/>
                <a:gd name="T87" fmla="*/ 2147483647 h 1194"/>
                <a:gd name="T88" fmla="*/ 2147483647 w 606"/>
                <a:gd name="T89" fmla="*/ 2147483647 h 1194"/>
                <a:gd name="T90" fmla="*/ 2147483647 w 606"/>
                <a:gd name="T91" fmla="*/ 2147483647 h 1194"/>
                <a:gd name="T92" fmla="*/ 2147483647 w 606"/>
                <a:gd name="T93" fmla="*/ 2147483647 h 1194"/>
                <a:gd name="T94" fmla="*/ 2147483647 w 606"/>
                <a:gd name="T95" fmla="*/ 2147483647 h 1194"/>
                <a:gd name="T96" fmla="*/ 2147483647 w 606"/>
                <a:gd name="T97" fmla="*/ 2147483647 h 1194"/>
                <a:gd name="T98" fmla="*/ 2147483647 w 606"/>
                <a:gd name="T99" fmla="*/ 2147483647 h 1194"/>
                <a:gd name="T100" fmla="*/ 2147483647 w 606"/>
                <a:gd name="T101" fmla="*/ 2147483647 h 1194"/>
                <a:gd name="T102" fmla="*/ 2147483647 w 606"/>
                <a:gd name="T103" fmla="*/ 2147483647 h 1194"/>
                <a:gd name="T104" fmla="*/ 2147483647 w 606"/>
                <a:gd name="T105" fmla="*/ 2147483647 h 1194"/>
                <a:gd name="T106" fmla="*/ 2147483647 w 606"/>
                <a:gd name="T107" fmla="*/ 2147483647 h 1194"/>
                <a:gd name="T108" fmla="*/ 2147483647 w 606"/>
                <a:gd name="T109" fmla="*/ 2147483647 h 1194"/>
                <a:gd name="T110" fmla="*/ 2147483647 w 606"/>
                <a:gd name="T111" fmla="*/ 2147483647 h 1194"/>
                <a:gd name="T112" fmla="*/ 2147483647 w 606"/>
                <a:gd name="T113" fmla="*/ 2147483647 h 1194"/>
                <a:gd name="T114" fmla="*/ 2147483647 w 606"/>
                <a:gd name="T115" fmla="*/ 2147483647 h 1194"/>
                <a:gd name="T116" fmla="*/ 2147483647 w 606"/>
                <a:gd name="T117" fmla="*/ 2147483647 h 1194"/>
                <a:gd name="T118" fmla="*/ 2147483647 w 606"/>
                <a:gd name="T119" fmla="*/ 2147483647 h 1194"/>
                <a:gd name="T120" fmla="*/ 2147483647 w 606"/>
                <a:gd name="T121" fmla="*/ 2147483647 h 1194"/>
                <a:gd name="T122" fmla="*/ 2147483647 w 606"/>
                <a:gd name="T123" fmla="*/ 2147483647 h 119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06"/>
                <a:gd name="T187" fmla="*/ 0 h 1194"/>
                <a:gd name="T188" fmla="*/ 606 w 606"/>
                <a:gd name="T189" fmla="*/ 1194 h 119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06" h="1194">
                  <a:moveTo>
                    <a:pt x="6" y="48"/>
                  </a:moveTo>
                  <a:lnTo>
                    <a:pt x="0" y="60"/>
                  </a:lnTo>
                  <a:lnTo>
                    <a:pt x="0" y="72"/>
                  </a:lnTo>
                  <a:lnTo>
                    <a:pt x="12" y="96"/>
                  </a:lnTo>
                  <a:lnTo>
                    <a:pt x="18" y="102"/>
                  </a:lnTo>
                  <a:lnTo>
                    <a:pt x="24" y="114"/>
                  </a:lnTo>
                  <a:lnTo>
                    <a:pt x="36" y="120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26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84" y="198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08" y="216"/>
                  </a:lnTo>
                  <a:lnTo>
                    <a:pt x="120" y="228"/>
                  </a:lnTo>
                  <a:lnTo>
                    <a:pt x="126" y="222"/>
                  </a:lnTo>
                  <a:lnTo>
                    <a:pt x="132" y="210"/>
                  </a:lnTo>
                  <a:lnTo>
                    <a:pt x="132" y="204"/>
                  </a:lnTo>
                  <a:lnTo>
                    <a:pt x="138" y="192"/>
                  </a:lnTo>
                  <a:lnTo>
                    <a:pt x="150" y="192"/>
                  </a:lnTo>
                  <a:lnTo>
                    <a:pt x="162" y="198"/>
                  </a:lnTo>
                  <a:lnTo>
                    <a:pt x="186" y="222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74" y="234"/>
                  </a:lnTo>
                  <a:lnTo>
                    <a:pt x="198" y="246"/>
                  </a:lnTo>
                  <a:lnTo>
                    <a:pt x="216" y="252"/>
                  </a:lnTo>
                  <a:lnTo>
                    <a:pt x="228" y="258"/>
                  </a:lnTo>
                  <a:lnTo>
                    <a:pt x="228" y="270"/>
                  </a:lnTo>
                  <a:lnTo>
                    <a:pt x="222" y="282"/>
                  </a:lnTo>
                  <a:lnTo>
                    <a:pt x="210" y="288"/>
                  </a:lnTo>
                  <a:lnTo>
                    <a:pt x="204" y="300"/>
                  </a:lnTo>
                  <a:lnTo>
                    <a:pt x="198" y="306"/>
                  </a:lnTo>
                  <a:lnTo>
                    <a:pt x="180" y="306"/>
                  </a:lnTo>
                  <a:lnTo>
                    <a:pt x="174" y="300"/>
                  </a:lnTo>
                  <a:lnTo>
                    <a:pt x="150" y="300"/>
                  </a:lnTo>
                  <a:lnTo>
                    <a:pt x="156" y="306"/>
                  </a:lnTo>
                  <a:lnTo>
                    <a:pt x="156" y="324"/>
                  </a:lnTo>
                  <a:lnTo>
                    <a:pt x="168" y="330"/>
                  </a:lnTo>
                  <a:lnTo>
                    <a:pt x="174" y="336"/>
                  </a:lnTo>
                  <a:lnTo>
                    <a:pt x="210" y="354"/>
                  </a:lnTo>
                  <a:lnTo>
                    <a:pt x="222" y="366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52" y="378"/>
                  </a:lnTo>
                  <a:lnTo>
                    <a:pt x="252" y="408"/>
                  </a:lnTo>
                  <a:lnTo>
                    <a:pt x="258" y="414"/>
                  </a:lnTo>
                  <a:lnTo>
                    <a:pt x="270" y="414"/>
                  </a:lnTo>
                  <a:lnTo>
                    <a:pt x="282" y="420"/>
                  </a:lnTo>
                  <a:lnTo>
                    <a:pt x="288" y="426"/>
                  </a:lnTo>
                  <a:lnTo>
                    <a:pt x="294" y="426"/>
                  </a:lnTo>
                  <a:lnTo>
                    <a:pt x="294" y="450"/>
                  </a:lnTo>
                  <a:lnTo>
                    <a:pt x="306" y="474"/>
                  </a:lnTo>
                  <a:lnTo>
                    <a:pt x="324" y="486"/>
                  </a:lnTo>
                  <a:lnTo>
                    <a:pt x="342" y="504"/>
                  </a:lnTo>
                  <a:lnTo>
                    <a:pt x="348" y="522"/>
                  </a:lnTo>
                  <a:lnTo>
                    <a:pt x="366" y="522"/>
                  </a:lnTo>
                  <a:lnTo>
                    <a:pt x="366" y="528"/>
                  </a:lnTo>
                  <a:lnTo>
                    <a:pt x="372" y="534"/>
                  </a:lnTo>
                  <a:lnTo>
                    <a:pt x="384" y="558"/>
                  </a:lnTo>
                  <a:lnTo>
                    <a:pt x="396" y="570"/>
                  </a:lnTo>
                  <a:lnTo>
                    <a:pt x="408" y="570"/>
                  </a:lnTo>
                  <a:lnTo>
                    <a:pt x="414" y="576"/>
                  </a:lnTo>
                  <a:lnTo>
                    <a:pt x="426" y="582"/>
                  </a:lnTo>
                  <a:lnTo>
                    <a:pt x="432" y="588"/>
                  </a:lnTo>
                  <a:lnTo>
                    <a:pt x="432" y="600"/>
                  </a:lnTo>
                  <a:lnTo>
                    <a:pt x="426" y="606"/>
                  </a:lnTo>
                  <a:lnTo>
                    <a:pt x="420" y="606"/>
                  </a:lnTo>
                  <a:lnTo>
                    <a:pt x="414" y="612"/>
                  </a:lnTo>
                  <a:lnTo>
                    <a:pt x="408" y="612"/>
                  </a:lnTo>
                  <a:lnTo>
                    <a:pt x="432" y="636"/>
                  </a:lnTo>
                  <a:lnTo>
                    <a:pt x="456" y="648"/>
                  </a:lnTo>
                  <a:lnTo>
                    <a:pt x="462" y="654"/>
                  </a:lnTo>
                  <a:lnTo>
                    <a:pt x="468" y="654"/>
                  </a:lnTo>
                  <a:lnTo>
                    <a:pt x="450" y="690"/>
                  </a:lnTo>
                  <a:lnTo>
                    <a:pt x="456" y="690"/>
                  </a:lnTo>
                  <a:lnTo>
                    <a:pt x="468" y="702"/>
                  </a:lnTo>
                  <a:lnTo>
                    <a:pt x="468" y="708"/>
                  </a:lnTo>
                  <a:lnTo>
                    <a:pt x="456" y="720"/>
                  </a:lnTo>
                  <a:lnTo>
                    <a:pt x="450" y="720"/>
                  </a:lnTo>
                  <a:lnTo>
                    <a:pt x="450" y="762"/>
                  </a:lnTo>
                  <a:lnTo>
                    <a:pt x="456" y="762"/>
                  </a:lnTo>
                  <a:lnTo>
                    <a:pt x="468" y="774"/>
                  </a:lnTo>
                  <a:lnTo>
                    <a:pt x="480" y="798"/>
                  </a:lnTo>
                  <a:lnTo>
                    <a:pt x="480" y="804"/>
                  </a:lnTo>
                  <a:lnTo>
                    <a:pt x="468" y="816"/>
                  </a:lnTo>
                  <a:lnTo>
                    <a:pt x="462" y="816"/>
                  </a:lnTo>
                  <a:lnTo>
                    <a:pt x="462" y="828"/>
                  </a:lnTo>
                  <a:lnTo>
                    <a:pt x="468" y="834"/>
                  </a:lnTo>
                  <a:lnTo>
                    <a:pt x="468" y="864"/>
                  </a:lnTo>
                  <a:lnTo>
                    <a:pt x="474" y="870"/>
                  </a:lnTo>
                  <a:lnTo>
                    <a:pt x="474" y="900"/>
                  </a:lnTo>
                  <a:lnTo>
                    <a:pt x="462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18"/>
                  </a:lnTo>
                  <a:lnTo>
                    <a:pt x="408" y="918"/>
                  </a:lnTo>
                  <a:lnTo>
                    <a:pt x="408" y="942"/>
                  </a:lnTo>
                  <a:lnTo>
                    <a:pt x="366" y="942"/>
                  </a:lnTo>
                  <a:lnTo>
                    <a:pt x="366" y="966"/>
                  </a:lnTo>
                  <a:lnTo>
                    <a:pt x="378" y="990"/>
                  </a:lnTo>
                  <a:lnTo>
                    <a:pt x="396" y="1008"/>
                  </a:lnTo>
                  <a:lnTo>
                    <a:pt x="396" y="1020"/>
                  </a:lnTo>
                  <a:lnTo>
                    <a:pt x="390" y="1014"/>
                  </a:lnTo>
                  <a:lnTo>
                    <a:pt x="378" y="1008"/>
                  </a:lnTo>
                  <a:lnTo>
                    <a:pt x="372" y="1002"/>
                  </a:lnTo>
                  <a:lnTo>
                    <a:pt x="360" y="996"/>
                  </a:lnTo>
                  <a:lnTo>
                    <a:pt x="348" y="996"/>
                  </a:lnTo>
                  <a:lnTo>
                    <a:pt x="342" y="1002"/>
                  </a:lnTo>
                  <a:lnTo>
                    <a:pt x="342" y="1008"/>
                  </a:lnTo>
                  <a:lnTo>
                    <a:pt x="306" y="1008"/>
                  </a:lnTo>
                  <a:lnTo>
                    <a:pt x="312" y="1014"/>
                  </a:lnTo>
                  <a:lnTo>
                    <a:pt x="318" y="1014"/>
                  </a:lnTo>
                  <a:lnTo>
                    <a:pt x="324" y="1020"/>
                  </a:lnTo>
                  <a:lnTo>
                    <a:pt x="324" y="1026"/>
                  </a:lnTo>
                  <a:lnTo>
                    <a:pt x="312" y="1032"/>
                  </a:lnTo>
                  <a:lnTo>
                    <a:pt x="294" y="1032"/>
                  </a:lnTo>
                  <a:lnTo>
                    <a:pt x="276" y="1038"/>
                  </a:lnTo>
                  <a:lnTo>
                    <a:pt x="270" y="1050"/>
                  </a:lnTo>
                  <a:lnTo>
                    <a:pt x="270" y="1056"/>
                  </a:lnTo>
                  <a:lnTo>
                    <a:pt x="288" y="1074"/>
                  </a:lnTo>
                  <a:lnTo>
                    <a:pt x="300" y="1080"/>
                  </a:lnTo>
                  <a:lnTo>
                    <a:pt x="306" y="1086"/>
                  </a:lnTo>
                  <a:lnTo>
                    <a:pt x="312" y="1086"/>
                  </a:lnTo>
                  <a:lnTo>
                    <a:pt x="294" y="1104"/>
                  </a:lnTo>
                  <a:lnTo>
                    <a:pt x="294" y="1110"/>
                  </a:lnTo>
                  <a:lnTo>
                    <a:pt x="300" y="1116"/>
                  </a:lnTo>
                  <a:lnTo>
                    <a:pt x="300" y="1128"/>
                  </a:lnTo>
                  <a:lnTo>
                    <a:pt x="306" y="1140"/>
                  </a:lnTo>
                  <a:lnTo>
                    <a:pt x="306" y="1152"/>
                  </a:lnTo>
                  <a:lnTo>
                    <a:pt x="312" y="1158"/>
                  </a:lnTo>
                  <a:lnTo>
                    <a:pt x="294" y="1176"/>
                  </a:lnTo>
                  <a:lnTo>
                    <a:pt x="294" y="1188"/>
                  </a:lnTo>
                  <a:lnTo>
                    <a:pt x="306" y="1194"/>
                  </a:lnTo>
                  <a:lnTo>
                    <a:pt x="318" y="1194"/>
                  </a:lnTo>
                  <a:lnTo>
                    <a:pt x="330" y="1188"/>
                  </a:lnTo>
                  <a:lnTo>
                    <a:pt x="354" y="1164"/>
                  </a:lnTo>
                  <a:lnTo>
                    <a:pt x="366" y="1158"/>
                  </a:lnTo>
                  <a:lnTo>
                    <a:pt x="378" y="1158"/>
                  </a:lnTo>
                  <a:lnTo>
                    <a:pt x="384" y="1134"/>
                  </a:lnTo>
                  <a:lnTo>
                    <a:pt x="384" y="1110"/>
                  </a:lnTo>
                  <a:lnTo>
                    <a:pt x="396" y="1110"/>
                  </a:lnTo>
                  <a:lnTo>
                    <a:pt x="402" y="1116"/>
                  </a:lnTo>
                  <a:lnTo>
                    <a:pt x="414" y="1116"/>
                  </a:lnTo>
                  <a:lnTo>
                    <a:pt x="426" y="1104"/>
                  </a:lnTo>
                  <a:lnTo>
                    <a:pt x="426" y="1092"/>
                  </a:lnTo>
                  <a:lnTo>
                    <a:pt x="420" y="1086"/>
                  </a:lnTo>
                  <a:lnTo>
                    <a:pt x="414" y="1074"/>
                  </a:lnTo>
                  <a:lnTo>
                    <a:pt x="408" y="1068"/>
                  </a:lnTo>
                  <a:lnTo>
                    <a:pt x="408" y="1062"/>
                  </a:lnTo>
                  <a:lnTo>
                    <a:pt x="414" y="1056"/>
                  </a:lnTo>
                  <a:lnTo>
                    <a:pt x="426" y="1056"/>
                  </a:lnTo>
                  <a:lnTo>
                    <a:pt x="438" y="1050"/>
                  </a:lnTo>
                  <a:lnTo>
                    <a:pt x="444" y="1044"/>
                  </a:lnTo>
                  <a:lnTo>
                    <a:pt x="450" y="1044"/>
                  </a:lnTo>
                  <a:lnTo>
                    <a:pt x="456" y="1050"/>
                  </a:lnTo>
                  <a:lnTo>
                    <a:pt x="468" y="1050"/>
                  </a:lnTo>
                  <a:lnTo>
                    <a:pt x="480" y="1044"/>
                  </a:lnTo>
                  <a:lnTo>
                    <a:pt x="498" y="1038"/>
                  </a:lnTo>
                  <a:lnTo>
                    <a:pt x="546" y="1014"/>
                  </a:lnTo>
                  <a:lnTo>
                    <a:pt x="582" y="978"/>
                  </a:lnTo>
                  <a:lnTo>
                    <a:pt x="588" y="960"/>
                  </a:lnTo>
                  <a:lnTo>
                    <a:pt x="594" y="936"/>
                  </a:lnTo>
                  <a:lnTo>
                    <a:pt x="606" y="876"/>
                  </a:lnTo>
                  <a:lnTo>
                    <a:pt x="606" y="846"/>
                  </a:lnTo>
                  <a:lnTo>
                    <a:pt x="600" y="834"/>
                  </a:lnTo>
                  <a:lnTo>
                    <a:pt x="576" y="810"/>
                  </a:lnTo>
                  <a:lnTo>
                    <a:pt x="594" y="804"/>
                  </a:lnTo>
                  <a:lnTo>
                    <a:pt x="594" y="774"/>
                  </a:lnTo>
                  <a:lnTo>
                    <a:pt x="588" y="756"/>
                  </a:lnTo>
                  <a:lnTo>
                    <a:pt x="588" y="744"/>
                  </a:lnTo>
                  <a:lnTo>
                    <a:pt x="570" y="708"/>
                  </a:lnTo>
                  <a:lnTo>
                    <a:pt x="564" y="690"/>
                  </a:lnTo>
                  <a:lnTo>
                    <a:pt x="558" y="684"/>
                  </a:lnTo>
                  <a:lnTo>
                    <a:pt x="552" y="672"/>
                  </a:lnTo>
                  <a:lnTo>
                    <a:pt x="558" y="666"/>
                  </a:lnTo>
                  <a:lnTo>
                    <a:pt x="558" y="642"/>
                  </a:lnTo>
                  <a:lnTo>
                    <a:pt x="522" y="606"/>
                  </a:lnTo>
                  <a:lnTo>
                    <a:pt x="486" y="576"/>
                  </a:lnTo>
                  <a:lnTo>
                    <a:pt x="456" y="552"/>
                  </a:lnTo>
                  <a:lnTo>
                    <a:pt x="432" y="534"/>
                  </a:lnTo>
                  <a:lnTo>
                    <a:pt x="420" y="528"/>
                  </a:lnTo>
                  <a:lnTo>
                    <a:pt x="402" y="516"/>
                  </a:lnTo>
                  <a:lnTo>
                    <a:pt x="390" y="510"/>
                  </a:lnTo>
                  <a:lnTo>
                    <a:pt x="384" y="504"/>
                  </a:lnTo>
                  <a:lnTo>
                    <a:pt x="384" y="468"/>
                  </a:lnTo>
                  <a:lnTo>
                    <a:pt x="336" y="420"/>
                  </a:lnTo>
                  <a:lnTo>
                    <a:pt x="306" y="384"/>
                  </a:lnTo>
                  <a:lnTo>
                    <a:pt x="288" y="354"/>
                  </a:lnTo>
                  <a:lnTo>
                    <a:pt x="282" y="336"/>
                  </a:lnTo>
                  <a:lnTo>
                    <a:pt x="282" y="318"/>
                  </a:lnTo>
                  <a:lnTo>
                    <a:pt x="276" y="306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94" y="252"/>
                  </a:lnTo>
                  <a:lnTo>
                    <a:pt x="294" y="240"/>
                  </a:lnTo>
                  <a:lnTo>
                    <a:pt x="300" y="240"/>
                  </a:lnTo>
                  <a:lnTo>
                    <a:pt x="312" y="228"/>
                  </a:lnTo>
                  <a:lnTo>
                    <a:pt x="324" y="222"/>
                  </a:lnTo>
                  <a:lnTo>
                    <a:pt x="336" y="210"/>
                  </a:lnTo>
                  <a:lnTo>
                    <a:pt x="336" y="204"/>
                  </a:lnTo>
                  <a:lnTo>
                    <a:pt x="342" y="198"/>
                  </a:lnTo>
                  <a:lnTo>
                    <a:pt x="372" y="198"/>
                  </a:lnTo>
                  <a:lnTo>
                    <a:pt x="384" y="186"/>
                  </a:lnTo>
                  <a:lnTo>
                    <a:pt x="390" y="174"/>
                  </a:lnTo>
                  <a:lnTo>
                    <a:pt x="390" y="156"/>
                  </a:lnTo>
                  <a:lnTo>
                    <a:pt x="396" y="144"/>
                  </a:lnTo>
                  <a:lnTo>
                    <a:pt x="390" y="144"/>
                  </a:lnTo>
                  <a:lnTo>
                    <a:pt x="384" y="138"/>
                  </a:lnTo>
                  <a:lnTo>
                    <a:pt x="354" y="138"/>
                  </a:lnTo>
                  <a:lnTo>
                    <a:pt x="342" y="132"/>
                  </a:lnTo>
                  <a:lnTo>
                    <a:pt x="336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96"/>
                  </a:lnTo>
                  <a:lnTo>
                    <a:pt x="300" y="90"/>
                  </a:lnTo>
                  <a:lnTo>
                    <a:pt x="294" y="72"/>
                  </a:lnTo>
                  <a:lnTo>
                    <a:pt x="312" y="54"/>
                  </a:lnTo>
                  <a:lnTo>
                    <a:pt x="312" y="48"/>
                  </a:lnTo>
                  <a:lnTo>
                    <a:pt x="306" y="42"/>
                  </a:lnTo>
                  <a:lnTo>
                    <a:pt x="276" y="42"/>
                  </a:lnTo>
                  <a:lnTo>
                    <a:pt x="264" y="30"/>
                  </a:lnTo>
                  <a:lnTo>
                    <a:pt x="234" y="36"/>
                  </a:lnTo>
                  <a:lnTo>
                    <a:pt x="204" y="0"/>
                  </a:lnTo>
                  <a:lnTo>
                    <a:pt x="198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74" y="18"/>
                  </a:lnTo>
                  <a:lnTo>
                    <a:pt x="174" y="30"/>
                  </a:lnTo>
                  <a:lnTo>
                    <a:pt x="168" y="42"/>
                  </a:lnTo>
                  <a:lnTo>
                    <a:pt x="168" y="48"/>
                  </a:lnTo>
                  <a:lnTo>
                    <a:pt x="150" y="48"/>
                  </a:lnTo>
                  <a:lnTo>
                    <a:pt x="144" y="54"/>
                  </a:lnTo>
                  <a:lnTo>
                    <a:pt x="138" y="48"/>
                  </a:lnTo>
                  <a:lnTo>
                    <a:pt x="120" y="48"/>
                  </a:lnTo>
                  <a:lnTo>
                    <a:pt x="132" y="60"/>
                  </a:lnTo>
                  <a:lnTo>
                    <a:pt x="132" y="72"/>
                  </a:lnTo>
                  <a:lnTo>
                    <a:pt x="114" y="72"/>
                  </a:lnTo>
                  <a:lnTo>
                    <a:pt x="108" y="66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60" y="66"/>
                  </a:lnTo>
                  <a:lnTo>
                    <a:pt x="54" y="72"/>
                  </a:lnTo>
                  <a:lnTo>
                    <a:pt x="42" y="72"/>
                  </a:lnTo>
                  <a:lnTo>
                    <a:pt x="18" y="48"/>
                  </a:lnTo>
                  <a:lnTo>
                    <a:pt x="6" y="4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31" name="Venezuela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2780190" y="4000047"/>
              <a:ext cx="309722" cy="289050"/>
            </a:xfrm>
            <a:custGeom>
              <a:avLst/>
              <a:gdLst>
                <a:gd name="T0" fmla="*/ 2147483647 w 954"/>
                <a:gd name="T1" fmla="*/ 2147483647 h 930"/>
                <a:gd name="T2" fmla="*/ 2147483647 w 954"/>
                <a:gd name="T3" fmla="*/ 2147483647 h 930"/>
                <a:gd name="T4" fmla="*/ 2147483647 w 954"/>
                <a:gd name="T5" fmla="*/ 2147483647 h 930"/>
                <a:gd name="T6" fmla="*/ 2147483647 w 954"/>
                <a:gd name="T7" fmla="*/ 2147483647 h 930"/>
                <a:gd name="T8" fmla="*/ 2147483647 w 954"/>
                <a:gd name="T9" fmla="*/ 2147483647 h 930"/>
                <a:gd name="T10" fmla="*/ 2147483647 w 954"/>
                <a:gd name="T11" fmla="*/ 2147483647 h 930"/>
                <a:gd name="T12" fmla="*/ 2147483647 w 954"/>
                <a:gd name="T13" fmla="*/ 2147483647 h 930"/>
                <a:gd name="T14" fmla="*/ 2147483647 w 954"/>
                <a:gd name="T15" fmla="*/ 2147483647 h 930"/>
                <a:gd name="T16" fmla="*/ 2147483647 w 954"/>
                <a:gd name="T17" fmla="*/ 2147483647 h 930"/>
                <a:gd name="T18" fmla="*/ 2147483647 w 954"/>
                <a:gd name="T19" fmla="*/ 2147483647 h 930"/>
                <a:gd name="T20" fmla="*/ 2147483647 w 954"/>
                <a:gd name="T21" fmla="*/ 2147483647 h 930"/>
                <a:gd name="T22" fmla="*/ 2147483647 w 954"/>
                <a:gd name="T23" fmla="*/ 2147483647 h 930"/>
                <a:gd name="T24" fmla="*/ 2147483647 w 954"/>
                <a:gd name="T25" fmla="*/ 2147483647 h 930"/>
                <a:gd name="T26" fmla="*/ 2147483647 w 954"/>
                <a:gd name="T27" fmla="*/ 2147483647 h 930"/>
                <a:gd name="T28" fmla="*/ 2147483647 w 954"/>
                <a:gd name="T29" fmla="*/ 2147483647 h 930"/>
                <a:gd name="T30" fmla="*/ 2147483647 w 954"/>
                <a:gd name="T31" fmla="*/ 2147483647 h 930"/>
                <a:gd name="T32" fmla="*/ 2147483647 w 954"/>
                <a:gd name="T33" fmla="*/ 2147483647 h 930"/>
                <a:gd name="T34" fmla="*/ 2147483647 w 954"/>
                <a:gd name="T35" fmla="*/ 2147483647 h 930"/>
                <a:gd name="T36" fmla="*/ 2147483647 w 954"/>
                <a:gd name="T37" fmla="*/ 2147483647 h 930"/>
                <a:gd name="T38" fmla="*/ 2147483647 w 954"/>
                <a:gd name="T39" fmla="*/ 2147483647 h 930"/>
                <a:gd name="T40" fmla="*/ 2147483647 w 954"/>
                <a:gd name="T41" fmla="*/ 2147483647 h 930"/>
                <a:gd name="T42" fmla="*/ 2147483647 w 954"/>
                <a:gd name="T43" fmla="*/ 2147483647 h 930"/>
                <a:gd name="T44" fmla="*/ 2147483647 w 954"/>
                <a:gd name="T45" fmla="*/ 2147483647 h 930"/>
                <a:gd name="T46" fmla="*/ 2147483647 w 954"/>
                <a:gd name="T47" fmla="*/ 2147483647 h 930"/>
                <a:gd name="T48" fmla="*/ 2147483647 w 954"/>
                <a:gd name="T49" fmla="*/ 2147483647 h 930"/>
                <a:gd name="T50" fmla="*/ 0 w 954"/>
                <a:gd name="T51" fmla="*/ 2147483647 h 930"/>
                <a:gd name="T52" fmla="*/ 2147483647 w 954"/>
                <a:gd name="T53" fmla="*/ 2147483647 h 930"/>
                <a:gd name="T54" fmla="*/ 2147483647 w 954"/>
                <a:gd name="T55" fmla="*/ 2147483647 h 930"/>
                <a:gd name="T56" fmla="*/ 2147483647 w 954"/>
                <a:gd name="T57" fmla="*/ 2147483647 h 930"/>
                <a:gd name="T58" fmla="*/ 2147483647 w 954"/>
                <a:gd name="T59" fmla="*/ 2147483647 h 930"/>
                <a:gd name="T60" fmla="*/ 2147483647 w 954"/>
                <a:gd name="T61" fmla="*/ 2147483647 h 930"/>
                <a:gd name="T62" fmla="*/ 2147483647 w 954"/>
                <a:gd name="T63" fmla="*/ 2147483647 h 930"/>
                <a:gd name="T64" fmla="*/ 2147483647 w 954"/>
                <a:gd name="T65" fmla="*/ 2147483647 h 930"/>
                <a:gd name="T66" fmla="*/ 2147483647 w 954"/>
                <a:gd name="T67" fmla="*/ 2147483647 h 930"/>
                <a:gd name="T68" fmla="*/ 2147483647 w 954"/>
                <a:gd name="T69" fmla="*/ 2147483647 h 930"/>
                <a:gd name="T70" fmla="*/ 2147483647 w 954"/>
                <a:gd name="T71" fmla="*/ 2147483647 h 930"/>
                <a:gd name="T72" fmla="*/ 2147483647 w 954"/>
                <a:gd name="T73" fmla="*/ 2147483647 h 930"/>
                <a:gd name="T74" fmla="*/ 2147483647 w 954"/>
                <a:gd name="T75" fmla="*/ 2147483647 h 930"/>
                <a:gd name="T76" fmla="*/ 2147483647 w 954"/>
                <a:gd name="T77" fmla="*/ 2147483647 h 930"/>
                <a:gd name="T78" fmla="*/ 2147483647 w 954"/>
                <a:gd name="T79" fmla="*/ 2147483647 h 930"/>
                <a:gd name="T80" fmla="*/ 2147483647 w 954"/>
                <a:gd name="T81" fmla="*/ 2147483647 h 930"/>
                <a:gd name="T82" fmla="*/ 2147483647 w 954"/>
                <a:gd name="T83" fmla="*/ 2147483647 h 930"/>
                <a:gd name="T84" fmla="*/ 2147483647 w 954"/>
                <a:gd name="T85" fmla="*/ 2147483647 h 930"/>
                <a:gd name="T86" fmla="*/ 2147483647 w 954"/>
                <a:gd name="T87" fmla="*/ 2147483647 h 930"/>
                <a:gd name="T88" fmla="*/ 2147483647 w 954"/>
                <a:gd name="T89" fmla="*/ 2147483647 h 930"/>
                <a:gd name="T90" fmla="*/ 2147483647 w 954"/>
                <a:gd name="T91" fmla="*/ 2147483647 h 930"/>
                <a:gd name="T92" fmla="*/ 2147483647 w 954"/>
                <a:gd name="T93" fmla="*/ 2147483647 h 930"/>
                <a:gd name="T94" fmla="*/ 2147483647 w 954"/>
                <a:gd name="T95" fmla="*/ 2147483647 h 930"/>
                <a:gd name="T96" fmla="*/ 2147483647 w 954"/>
                <a:gd name="T97" fmla="*/ 2147483647 h 930"/>
                <a:gd name="T98" fmla="*/ 2147483647 w 954"/>
                <a:gd name="T99" fmla="*/ 2147483647 h 930"/>
                <a:gd name="T100" fmla="*/ 2147483647 w 954"/>
                <a:gd name="T101" fmla="*/ 2147483647 h 930"/>
                <a:gd name="T102" fmla="*/ 2147483647 w 954"/>
                <a:gd name="T103" fmla="*/ 2147483647 h 930"/>
                <a:gd name="T104" fmla="*/ 2147483647 w 954"/>
                <a:gd name="T105" fmla="*/ 2147483647 h 930"/>
                <a:gd name="T106" fmla="*/ 2147483647 w 954"/>
                <a:gd name="T107" fmla="*/ 2147483647 h 930"/>
                <a:gd name="T108" fmla="*/ 2147483647 w 954"/>
                <a:gd name="T109" fmla="*/ 2147483647 h 930"/>
                <a:gd name="T110" fmla="*/ 2147483647 w 954"/>
                <a:gd name="T111" fmla="*/ 2147483647 h 930"/>
                <a:gd name="T112" fmla="*/ 2147483647 w 954"/>
                <a:gd name="T113" fmla="*/ 2147483647 h 930"/>
                <a:gd name="T114" fmla="*/ 2147483647 w 954"/>
                <a:gd name="T115" fmla="*/ 2147483647 h 930"/>
                <a:gd name="T116" fmla="*/ 2147483647 w 954"/>
                <a:gd name="T117" fmla="*/ 2147483647 h 930"/>
                <a:gd name="T118" fmla="*/ 2147483647 w 954"/>
                <a:gd name="T119" fmla="*/ 2147483647 h 93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30"/>
                <a:gd name="T182" fmla="*/ 954 w 954"/>
                <a:gd name="T183" fmla="*/ 930 h 93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30">
                  <a:moveTo>
                    <a:pt x="264" y="42"/>
                  </a:moveTo>
                  <a:lnTo>
                    <a:pt x="264" y="12"/>
                  </a:lnTo>
                  <a:lnTo>
                    <a:pt x="252" y="0"/>
                  </a:lnTo>
                  <a:lnTo>
                    <a:pt x="234" y="0"/>
                  </a:lnTo>
                  <a:lnTo>
                    <a:pt x="228" y="6"/>
                  </a:lnTo>
                  <a:lnTo>
                    <a:pt x="228" y="18"/>
                  </a:lnTo>
                  <a:lnTo>
                    <a:pt x="234" y="24"/>
                  </a:lnTo>
                  <a:lnTo>
                    <a:pt x="234" y="36"/>
                  </a:lnTo>
                  <a:lnTo>
                    <a:pt x="240" y="42"/>
                  </a:lnTo>
                  <a:lnTo>
                    <a:pt x="264" y="42"/>
                  </a:lnTo>
                  <a:close/>
                  <a:moveTo>
                    <a:pt x="936" y="276"/>
                  </a:moveTo>
                  <a:lnTo>
                    <a:pt x="930" y="276"/>
                  </a:lnTo>
                  <a:lnTo>
                    <a:pt x="924" y="282"/>
                  </a:lnTo>
                  <a:lnTo>
                    <a:pt x="912" y="288"/>
                  </a:lnTo>
                  <a:lnTo>
                    <a:pt x="906" y="294"/>
                  </a:lnTo>
                  <a:lnTo>
                    <a:pt x="900" y="288"/>
                  </a:lnTo>
                  <a:lnTo>
                    <a:pt x="888" y="288"/>
                  </a:lnTo>
                  <a:lnTo>
                    <a:pt x="882" y="282"/>
                  </a:lnTo>
                  <a:lnTo>
                    <a:pt x="876" y="282"/>
                  </a:lnTo>
                  <a:lnTo>
                    <a:pt x="852" y="306"/>
                  </a:lnTo>
                  <a:lnTo>
                    <a:pt x="822" y="282"/>
                  </a:lnTo>
                  <a:lnTo>
                    <a:pt x="846" y="282"/>
                  </a:lnTo>
                  <a:lnTo>
                    <a:pt x="858" y="276"/>
                  </a:lnTo>
                  <a:lnTo>
                    <a:pt x="864" y="276"/>
                  </a:lnTo>
                  <a:lnTo>
                    <a:pt x="870" y="264"/>
                  </a:lnTo>
                  <a:lnTo>
                    <a:pt x="870" y="246"/>
                  </a:lnTo>
                  <a:lnTo>
                    <a:pt x="882" y="234"/>
                  </a:lnTo>
                  <a:lnTo>
                    <a:pt x="888" y="222"/>
                  </a:lnTo>
                  <a:lnTo>
                    <a:pt x="876" y="210"/>
                  </a:lnTo>
                  <a:lnTo>
                    <a:pt x="846" y="210"/>
                  </a:lnTo>
                  <a:lnTo>
                    <a:pt x="846" y="204"/>
                  </a:lnTo>
                  <a:lnTo>
                    <a:pt x="840" y="198"/>
                  </a:lnTo>
                  <a:lnTo>
                    <a:pt x="840" y="192"/>
                  </a:lnTo>
                  <a:lnTo>
                    <a:pt x="834" y="186"/>
                  </a:lnTo>
                  <a:lnTo>
                    <a:pt x="828" y="186"/>
                  </a:lnTo>
                  <a:lnTo>
                    <a:pt x="822" y="192"/>
                  </a:lnTo>
                  <a:lnTo>
                    <a:pt x="822" y="210"/>
                  </a:lnTo>
                  <a:lnTo>
                    <a:pt x="816" y="198"/>
                  </a:lnTo>
                  <a:lnTo>
                    <a:pt x="816" y="180"/>
                  </a:lnTo>
                  <a:lnTo>
                    <a:pt x="792" y="180"/>
                  </a:lnTo>
                  <a:lnTo>
                    <a:pt x="786" y="210"/>
                  </a:lnTo>
                  <a:lnTo>
                    <a:pt x="780" y="204"/>
                  </a:lnTo>
                  <a:lnTo>
                    <a:pt x="774" y="192"/>
                  </a:lnTo>
                  <a:lnTo>
                    <a:pt x="774" y="186"/>
                  </a:lnTo>
                  <a:lnTo>
                    <a:pt x="768" y="180"/>
                  </a:lnTo>
                  <a:lnTo>
                    <a:pt x="768" y="156"/>
                  </a:lnTo>
                  <a:lnTo>
                    <a:pt x="738" y="168"/>
                  </a:lnTo>
                  <a:lnTo>
                    <a:pt x="744" y="162"/>
                  </a:lnTo>
                  <a:lnTo>
                    <a:pt x="756" y="156"/>
                  </a:lnTo>
                  <a:lnTo>
                    <a:pt x="762" y="156"/>
                  </a:lnTo>
                  <a:lnTo>
                    <a:pt x="762" y="144"/>
                  </a:lnTo>
                  <a:lnTo>
                    <a:pt x="750" y="138"/>
                  </a:lnTo>
                  <a:lnTo>
                    <a:pt x="744" y="138"/>
                  </a:lnTo>
                  <a:lnTo>
                    <a:pt x="744" y="132"/>
                  </a:lnTo>
                  <a:lnTo>
                    <a:pt x="750" y="132"/>
                  </a:lnTo>
                  <a:lnTo>
                    <a:pt x="762" y="126"/>
                  </a:lnTo>
                  <a:lnTo>
                    <a:pt x="774" y="126"/>
                  </a:lnTo>
                  <a:lnTo>
                    <a:pt x="792" y="120"/>
                  </a:lnTo>
                  <a:lnTo>
                    <a:pt x="804" y="120"/>
                  </a:lnTo>
                  <a:lnTo>
                    <a:pt x="810" y="114"/>
                  </a:lnTo>
                  <a:lnTo>
                    <a:pt x="726" y="114"/>
                  </a:lnTo>
                  <a:lnTo>
                    <a:pt x="690" y="120"/>
                  </a:lnTo>
                  <a:lnTo>
                    <a:pt x="678" y="120"/>
                  </a:lnTo>
                  <a:lnTo>
                    <a:pt x="690" y="132"/>
                  </a:lnTo>
                  <a:lnTo>
                    <a:pt x="678" y="132"/>
                  </a:lnTo>
                  <a:lnTo>
                    <a:pt x="666" y="138"/>
                  </a:lnTo>
                  <a:lnTo>
                    <a:pt x="654" y="138"/>
                  </a:lnTo>
                  <a:lnTo>
                    <a:pt x="642" y="144"/>
                  </a:lnTo>
                  <a:lnTo>
                    <a:pt x="636" y="144"/>
                  </a:lnTo>
                  <a:lnTo>
                    <a:pt x="624" y="150"/>
                  </a:lnTo>
                  <a:lnTo>
                    <a:pt x="606" y="168"/>
                  </a:lnTo>
                  <a:lnTo>
                    <a:pt x="594" y="174"/>
                  </a:lnTo>
                  <a:lnTo>
                    <a:pt x="576" y="174"/>
                  </a:lnTo>
                  <a:lnTo>
                    <a:pt x="564" y="162"/>
                  </a:lnTo>
                  <a:lnTo>
                    <a:pt x="546" y="156"/>
                  </a:lnTo>
                  <a:lnTo>
                    <a:pt x="534" y="144"/>
                  </a:lnTo>
                  <a:lnTo>
                    <a:pt x="522" y="138"/>
                  </a:lnTo>
                  <a:lnTo>
                    <a:pt x="510" y="126"/>
                  </a:lnTo>
                  <a:lnTo>
                    <a:pt x="492" y="126"/>
                  </a:lnTo>
                  <a:lnTo>
                    <a:pt x="450" y="132"/>
                  </a:lnTo>
                  <a:lnTo>
                    <a:pt x="372" y="132"/>
                  </a:lnTo>
                  <a:lnTo>
                    <a:pt x="360" y="120"/>
                  </a:lnTo>
                  <a:lnTo>
                    <a:pt x="354" y="108"/>
                  </a:lnTo>
                  <a:lnTo>
                    <a:pt x="354" y="84"/>
                  </a:lnTo>
                  <a:lnTo>
                    <a:pt x="348" y="72"/>
                  </a:lnTo>
                  <a:lnTo>
                    <a:pt x="336" y="60"/>
                  </a:lnTo>
                  <a:lnTo>
                    <a:pt x="324" y="54"/>
                  </a:lnTo>
                  <a:lnTo>
                    <a:pt x="276" y="54"/>
                  </a:lnTo>
                  <a:lnTo>
                    <a:pt x="240" y="60"/>
                  </a:lnTo>
                  <a:lnTo>
                    <a:pt x="222" y="72"/>
                  </a:lnTo>
                  <a:lnTo>
                    <a:pt x="210" y="78"/>
                  </a:lnTo>
                  <a:lnTo>
                    <a:pt x="204" y="78"/>
                  </a:lnTo>
                  <a:lnTo>
                    <a:pt x="180" y="90"/>
                  </a:lnTo>
                  <a:lnTo>
                    <a:pt x="162" y="96"/>
                  </a:lnTo>
                  <a:lnTo>
                    <a:pt x="144" y="108"/>
                  </a:lnTo>
                  <a:lnTo>
                    <a:pt x="138" y="120"/>
                  </a:lnTo>
                  <a:lnTo>
                    <a:pt x="138" y="144"/>
                  </a:lnTo>
                  <a:lnTo>
                    <a:pt x="150" y="168"/>
                  </a:lnTo>
                  <a:lnTo>
                    <a:pt x="156" y="186"/>
                  </a:lnTo>
                  <a:lnTo>
                    <a:pt x="162" y="198"/>
                  </a:lnTo>
                  <a:lnTo>
                    <a:pt x="156" y="210"/>
                  </a:lnTo>
                  <a:lnTo>
                    <a:pt x="150" y="228"/>
                  </a:lnTo>
                  <a:lnTo>
                    <a:pt x="138" y="234"/>
                  </a:lnTo>
                  <a:lnTo>
                    <a:pt x="132" y="246"/>
                  </a:lnTo>
                  <a:lnTo>
                    <a:pt x="126" y="252"/>
                  </a:lnTo>
                  <a:lnTo>
                    <a:pt x="120" y="252"/>
                  </a:lnTo>
                  <a:lnTo>
                    <a:pt x="126" y="222"/>
                  </a:lnTo>
                  <a:lnTo>
                    <a:pt x="114" y="222"/>
                  </a:lnTo>
                  <a:lnTo>
                    <a:pt x="108" y="216"/>
                  </a:lnTo>
                  <a:lnTo>
                    <a:pt x="96" y="210"/>
                  </a:lnTo>
                  <a:lnTo>
                    <a:pt x="90" y="204"/>
                  </a:lnTo>
                  <a:lnTo>
                    <a:pt x="84" y="192"/>
                  </a:lnTo>
                  <a:lnTo>
                    <a:pt x="96" y="168"/>
                  </a:lnTo>
                  <a:lnTo>
                    <a:pt x="108" y="156"/>
                  </a:lnTo>
                  <a:lnTo>
                    <a:pt x="120" y="132"/>
                  </a:lnTo>
                  <a:lnTo>
                    <a:pt x="120" y="78"/>
                  </a:lnTo>
                  <a:lnTo>
                    <a:pt x="114" y="66"/>
                  </a:lnTo>
                  <a:lnTo>
                    <a:pt x="114" y="54"/>
                  </a:lnTo>
                  <a:lnTo>
                    <a:pt x="108" y="48"/>
                  </a:lnTo>
                  <a:lnTo>
                    <a:pt x="108" y="54"/>
                  </a:lnTo>
                  <a:lnTo>
                    <a:pt x="102" y="66"/>
                  </a:lnTo>
                  <a:lnTo>
                    <a:pt x="90" y="78"/>
                  </a:lnTo>
                  <a:lnTo>
                    <a:pt x="72" y="84"/>
                  </a:lnTo>
                  <a:lnTo>
                    <a:pt x="48" y="108"/>
                  </a:lnTo>
                  <a:lnTo>
                    <a:pt x="36" y="144"/>
                  </a:lnTo>
                  <a:lnTo>
                    <a:pt x="36" y="162"/>
                  </a:lnTo>
                  <a:lnTo>
                    <a:pt x="30" y="168"/>
                  </a:lnTo>
                  <a:lnTo>
                    <a:pt x="30" y="192"/>
                  </a:lnTo>
                  <a:lnTo>
                    <a:pt x="6" y="216"/>
                  </a:lnTo>
                  <a:lnTo>
                    <a:pt x="0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40"/>
                  </a:lnTo>
                  <a:lnTo>
                    <a:pt x="18" y="228"/>
                  </a:lnTo>
                  <a:lnTo>
                    <a:pt x="24" y="228"/>
                  </a:lnTo>
                  <a:lnTo>
                    <a:pt x="36" y="240"/>
                  </a:lnTo>
                  <a:lnTo>
                    <a:pt x="42" y="252"/>
                  </a:lnTo>
                  <a:lnTo>
                    <a:pt x="42" y="288"/>
                  </a:lnTo>
                  <a:lnTo>
                    <a:pt x="48" y="294"/>
                  </a:lnTo>
                  <a:lnTo>
                    <a:pt x="60" y="300"/>
                  </a:lnTo>
                  <a:lnTo>
                    <a:pt x="66" y="306"/>
                  </a:lnTo>
                  <a:lnTo>
                    <a:pt x="66" y="318"/>
                  </a:lnTo>
                  <a:lnTo>
                    <a:pt x="54" y="342"/>
                  </a:lnTo>
                  <a:lnTo>
                    <a:pt x="54" y="384"/>
                  </a:lnTo>
                  <a:lnTo>
                    <a:pt x="66" y="384"/>
                  </a:lnTo>
                  <a:lnTo>
                    <a:pt x="66" y="396"/>
                  </a:lnTo>
                  <a:lnTo>
                    <a:pt x="72" y="408"/>
                  </a:lnTo>
                  <a:lnTo>
                    <a:pt x="78" y="414"/>
                  </a:lnTo>
                  <a:lnTo>
                    <a:pt x="102" y="414"/>
                  </a:lnTo>
                  <a:lnTo>
                    <a:pt x="108" y="408"/>
                  </a:lnTo>
                  <a:lnTo>
                    <a:pt x="120" y="408"/>
                  </a:lnTo>
                  <a:lnTo>
                    <a:pt x="132" y="414"/>
                  </a:lnTo>
                  <a:lnTo>
                    <a:pt x="138" y="414"/>
                  </a:lnTo>
                  <a:lnTo>
                    <a:pt x="150" y="420"/>
                  </a:lnTo>
                  <a:lnTo>
                    <a:pt x="162" y="420"/>
                  </a:lnTo>
                  <a:lnTo>
                    <a:pt x="168" y="414"/>
                  </a:lnTo>
                  <a:lnTo>
                    <a:pt x="168" y="408"/>
                  </a:lnTo>
                  <a:lnTo>
                    <a:pt x="180" y="408"/>
                  </a:lnTo>
                  <a:lnTo>
                    <a:pt x="186" y="414"/>
                  </a:lnTo>
                  <a:lnTo>
                    <a:pt x="198" y="420"/>
                  </a:lnTo>
                  <a:lnTo>
                    <a:pt x="222" y="420"/>
                  </a:lnTo>
                  <a:lnTo>
                    <a:pt x="222" y="426"/>
                  </a:lnTo>
                  <a:lnTo>
                    <a:pt x="228" y="432"/>
                  </a:lnTo>
                  <a:lnTo>
                    <a:pt x="234" y="444"/>
                  </a:lnTo>
                  <a:lnTo>
                    <a:pt x="240" y="462"/>
                  </a:lnTo>
                  <a:lnTo>
                    <a:pt x="264" y="486"/>
                  </a:lnTo>
                  <a:lnTo>
                    <a:pt x="288" y="486"/>
                  </a:lnTo>
                  <a:lnTo>
                    <a:pt x="288" y="480"/>
                  </a:lnTo>
                  <a:lnTo>
                    <a:pt x="306" y="480"/>
                  </a:lnTo>
                  <a:lnTo>
                    <a:pt x="312" y="486"/>
                  </a:lnTo>
                  <a:lnTo>
                    <a:pt x="336" y="486"/>
                  </a:lnTo>
                  <a:lnTo>
                    <a:pt x="342" y="480"/>
                  </a:lnTo>
                  <a:lnTo>
                    <a:pt x="366" y="486"/>
                  </a:lnTo>
                  <a:lnTo>
                    <a:pt x="372" y="480"/>
                  </a:lnTo>
                  <a:lnTo>
                    <a:pt x="384" y="474"/>
                  </a:lnTo>
                  <a:lnTo>
                    <a:pt x="402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390" y="510"/>
                  </a:lnTo>
                  <a:lnTo>
                    <a:pt x="390" y="534"/>
                  </a:lnTo>
                  <a:lnTo>
                    <a:pt x="384" y="540"/>
                  </a:lnTo>
                  <a:lnTo>
                    <a:pt x="378" y="540"/>
                  </a:lnTo>
                  <a:lnTo>
                    <a:pt x="366" y="552"/>
                  </a:lnTo>
                  <a:lnTo>
                    <a:pt x="366" y="576"/>
                  </a:lnTo>
                  <a:lnTo>
                    <a:pt x="372" y="588"/>
                  </a:lnTo>
                  <a:lnTo>
                    <a:pt x="372" y="618"/>
                  </a:lnTo>
                  <a:lnTo>
                    <a:pt x="366" y="630"/>
                  </a:lnTo>
                  <a:lnTo>
                    <a:pt x="366" y="642"/>
                  </a:lnTo>
                  <a:lnTo>
                    <a:pt x="372" y="648"/>
                  </a:lnTo>
                  <a:lnTo>
                    <a:pt x="384" y="648"/>
                  </a:lnTo>
                  <a:lnTo>
                    <a:pt x="384" y="672"/>
                  </a:lnTo>
                  <a:lnTo>
                    <a:pt x="390" y="684"/>
                  </a:lnTo>
                  <a:lnTo>
                    <a:pt x="402" y="690"/>
                  </a:lnTo>
                  <a:lnTo>
                    <a:pt x="408" y="702"/>
                  </a:lnTo>
                  <a:lnTo>
                    <a:pt x="408" y="708"/>
                  </a:lnTo>
                  <a:lnTo>
                    <a:pt x="402" y="720"/>
                  </a:lnTo>
                  <a:lnTo>
                    <a:pt x="372" y="750"/>
                  </a:lnTo>
                  <a:lnTo>
                    <a:pt x="366" y="750"/>
                  </a:lnTo>
                  <a:lnTo>
                    <a:pt x="390" y="762"/>
                  </a:lnTo>
                  <a:lnTo>
                    <a:pt x="402" y="774"/>
                  </a:lnTo>
                  <a:lnTo>
                    <a:pt x="414" y="774"/>
                  </a:lnTo>
                  <a:lnTo>
                    <a:pt x="414" y="798"/>
                  </a:lnTo>
                  <a:lnTo>
                    <a:pt x="420" y="804"/>
                  </a:lnTo>
                  <a:lnTo>
                    <a:pt x="420" y="822"/>
                  </a:lnTo>
                  <a:lnTo>
                    <a:pt x="426" y="828"/>
                  </a:lnTo>
                  <a:lnTo>
                    <a:pt x="426" y="846"/>
                  </a:lnTo>
                  <a:lnTo>
                    <a:pt x="432" y="858"/>
                  </a:lnTo>
                  <a:lnTo>
                    <a:pt x="432" y="876"/>
                  </a:lnTo>
                  <a:lnTo>
                    <a:pt x="444" y="888"/>
                  </a:lnTo>
                  <a:lnTo>
                    <a:pt x="450" y="900"/>
                  </a:lnTo>
                  <a:lnTo>
                    <a:pt x="450" y="906"/>
                  </a:lnTo>
                  <a:lnTo>
                    <a:pt x="462" y="918"/>
                  </a:lnTo>
                  <a:lnTo>
                    <a:pt x="468" y="918"/>
                  </a:lnTo>
                  <a:lnTo>
                    <a:pt x="480" y="924"/>
                  </a:lnTo>
                  <a:lnTo>
                    <a:pt x="486" y="924"/>
                  </a:lnTo>
                  <a:lnTo>
                    <a:pt x="498" y="918"/>
                  </a:lnTo>
                  <a:lnTo>
                    <a:pt x="504" y="912"/>
                  </a:lnTo>
                  <a:lnTo>
                    <a:pt x="516" y="906"/>
                  </a:lnTo>
                  <a:lnTo>
                    <a:pt x="522" y="900"/>
                  </a:lnTo>
                  <a:lnTo>
                    <a:pt x="528" y="906"/>
                  </a:lnTo>
                  <a:lnTo>
                    <a:pt x="528" y="930"/>
                  </a:lnTo>
                  <a:lnTo>
                    <a:pt x="534" y="930"/>
                  </a:lnTo>
                  <a:lnTo>
                    <a:pt x="546" y="918"/>
                  </a:lnTo>
                  <a:lnTo>
                    <a:pt x="558" y="894"/>
                  </a:lnTo>
                  <a:lnTo>
                    <a:pt x="570" y="882"/>
                  </a:lnTo>
                  <a:lnTo>
                    <a:pt x="588" y="882"/>
                  </a:lnTo>
                  <a:lnTo>
                    <a:pt x="594" y="876"/>
                  </a:lnTo>
                  <a:lnTo>
                    <a:pt x="630" y="858"/>
                  </a:lnTo>
                  <a:lnTo>
                    <a:pt x="636" y="846"/>
                  </a:lnTo>
                  <a:lnTo>
                    <a:pt x="636" y="816"/>
                  </a:lnTo>
                  <a:lnTo>
                    <a:pt x="678" y="816"/>
                  </a:lnTo>
                  <a:lnTo>
                    <a:pt x="684" y="810"/>
                  </a:lnTo>
                  <a:lnTo>
                    <a:pt x="690" y="798"/>
                  </a:lnTo>
                  <a:lnTo>
                    <a:pt x="690" y="792"/>
                  </a:lnTo>
                  <a:lnTo>
                    <a:pt x="684" y="786"/>
                  </a:lnTo>
                  <a:lnTo>
                    <a:pt x="636" y="780"/>
                  </a:lnTo>
                  <a:lnTo>
                    <a:pt x="636" y="750"/>
                  </a:lnTo>
                  <a:lnTo>
                    <a:pt x="630" y="738"/>
                  </a:lnTo>
                  <a:lnTo>
                    <a:pt x="618" y="726"/>
                  </a:lnTo>
                  <a:lnTo>
                    <a:pt x="624" y="720"/>
                  </a:lnTo>
                  <a:lnTo>
                    <a:pt x="624" y="690"/>
                  </a:lnTo>
                  <a:lnTo>
                    <a:pt x="618" y="684"/>
                  </a:lnTo>
                  <a:lnTo>
                    <a:pt x="606" y="678"/>
                  </a:lnTo>
                  <a:lnTo>
                    <a:pt x="588" y="660"/>
                  </a:lnTo>
                  <a:lnTo>
                    <a:pt x="588" y="630"/>
                  </a:lnTo>
                  <a:lnTo>
                    <a:pt x="594" y="636"/>
                  </a:lnTo>
                  <a:lnTo>
                    <a:pt x="594" y="642"/>
                  </a:lnTo>
                  <a:lnTo>
                    <a:pt x="636" y="642"/>
                  </a:lnTo>
                  <a:lnTo>
                    <a:pt x="642" y="648"/>
                  </a:lnTo>
                  <a:lnTo>
                    <a:pt x="642" y="666"/>
                  </a:lnTo>
                  <a:lnTo>
                    <a:pt x="654" y="666"/>
                  </a:lnTo>
                  <a:lnTo>
                    <a:pt x="666" y="660"/>
                  </a:lnTo>
                  <a:lnTo>
                    <a:pt x="678" y="666"/>
                  </a:lnTo>
                  <a:lnTo>
                    <a:pt x="684" y="660"/>
                  </a:lnTo>
                  <a:lnTo>
                    <a:pt x="696" y="660"/>
                  </a:lnTo>
                  <a:lnTo>
                    <a:pt x="702" y="666"/>
                  </a:lnTo>
                  <a:lnTo>
                    <a:pt x="708" y="678"/>
                  </a:lnTo>
                  <a:lnTo>
                    <a:pt x="720" y="690"/>
                  </a:lnTo>
                  <a:lnTo>
                    <a:pt x="732" y="696"/>
                  </a:lnTo>
                  <a:lnTo>
                    <a:pt x="738" y="690"/>
                  </a:lnTo>
                  <a:lnTo>
                    <a:pt x="738" y="672"/>
                  </a:lnTo>
                  <a:lnTo>
                    <a:pt x="744" y="660"/>
                  </a:lnTo>
                  <a:lnTo>
                    <a:pt x="744" y="648"/>
                  </a:lnTo>
                  <a:lnTo>
                    <a:pt x="750" y="642"/>
                  </a:lnTo>
                  <a:lnTo>
                    <a:pt x="768" y="642"/>
                  </a:lnTo>
                  <a:lnTo>
                    <a:pt x="774" y="648"/>
                  </a:lnTo>
                  <a:lnTo>
                    <a:pt x="792" y="648"/>
                  </a:lnTo>
                  <a:lnTo>
                    <a:pt x="804" y="642"/>
                  </a:lnTo>
                  <a:lnTo>
                    <a:pt x="828" y="618"/>
                  </a:lnTo>
                  <a:lnTo>
                    <a:pt x="840" y="612"/>
                  </a:lnTo>
                  <a:lnTo>
                    <a:pt x="864" y="612"/>
                  </a:lnTo>
                  <a:lnTo>
                    <a:pt x="864" y="600"/>
                  </a:lnTo>
                  <a:lnTo>
                    <a:pt x="876" y="600"/>
                  </a:lnTo>
                  <a:lnTo>
                    <a:pt x="882" y="594"/>
                  </a:lnTo>
                  <a:lnTo>
                    <a:pt x="882" y="558"/>
                  </a:lnTo>
                  <a:lnTo>
                    <a:pt x="846" y="522"/>
                  </a:lnTo>
                  <a:lnTo>
                    <a:pt x="840" y="510"/>
                  </a:lnTo>
                  <a:lnTo>
                    <a:pt x="834" y="504"/>
                  </a:lnTo>
                  <a:lnTo>
                    <a:pt x="834" y="492"/>
                  </a:lnTo>
                  <a:lnTo>
                    <a:pt x="846" y="486"/>
                  </a:lnTo>
                  <a:lnTo>
                    <a:pt x="852" y="486"/>
                  </a:lnTo>
                  <a:lnTo>
                    <a:pt x="864" y="480"/>
                  </a:lnTo>
                  <a:lnTo>
                    <a:pt x="864" y="462"/>
                  </a:lnTo>
                  <a:lnTo>
                    <a:pt x="846" y="444"/>
                  </a:lnTo>
                  <a:lnTo>
                    <a:pt x="846" y="438"/>
                  </a:lnTo>
                  <a:lnTo>
                    <a:pt x="876" y="438"/>
                  </a:lnTo>
                  <a:lnTo>
                    <a:pt x="888" y="432"/>
                  </a:lnTo>
                  <a:lnTo>
                    <a:pt x="900" y="432"/>
                  </a:lnTo>
                  <a:lnTo>
                    <a:pt x="912" y="426"/>
                  </a:lnTo>
                  <a:lnTo>
                    <a:pt x="918" y="420"/>
                  </a:lnTo>
                  <a:lnTo>
                    <a:pt x="918" y="402"/>
                  </a:lnTo>
                  <a:lnTo>
                    <a:pt x="894" y="402"/>
                  </a:lnTo>
                  <a:lnTo>
                    <a:pt x="894" y="360"/>
                  </a:lnTo>
                  <a:lnTo>
                    <a:pt x="906" y="348"/>
                  </a:lnTo>
                  <a:lnTo>
                    <a:pt x="918" y="348"/>
                  </a:lnTo>
                  <a:lnTo>
                    <a:pt x="924" y="342"/>
                  </a:lnTo>
                  <a:lnTo>
                    <a:pt x="930" y="342"/>
                  </a:lnTo>
                  <a:lnTo>
                    <a:pt x="936" y="336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942" y="282"/>
                  </a:lnTo>
                  <a:lnTo>
                    <a:pt x="936" y="27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32" name="USA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1836947" y="3071657"/>
              <a:ext cx="1270882" cy="603821"/>
            </a:xfrm>
            <a:custGeom>
              <a:avLst/>
              <a:gdLst>
                <a:gd name="T0" fmla="*/ 2147483647 w 3918"/>
                <a:gd name="T1" fmla="*/ 2147483647 h 1944"/>
                <a:gd name="T2" fmla="*/ 2147483647 w 3918"/>
                <a:gd name="T3" fmla="*/ 2147483647 h 1944"/>
                <a:gd name="T4" fmla="*/ 2147483647 w 3918"/>
                <a:gd name="T5" fmla="*/ 2147483647 h 1944"/>
                <a:gd name="T6" fmla="*/ 2147483647 w 3918"/>
                <a:gd name="T7" fmla="*/ 2147483647 h 1944"/>
                <a:gd name="T8" fmla="*/ 2147483647 w 3918"/>
                <a:gd name="T9" fmla="*/ 2147483647 h 1944"/>
                <a:gd name="T10" fmla="*/ 2147483647 w 3918"/>
                <a:gd name="T11" fmla="*/ 2147483647 h 1944"/>
                <a:gd name="T12" fmla="*/ 2147483647 w 3918"/>
                <a:gd name="T13" fmla="*/ 2147483647 h 1944"/>
                <a:gd name="T14" fmla="*/ 2147483647 w 3918"/>
                <a:gd name="T15" fmla="*/ 2147483647 h 1944"/>
                <a:gd name="T16" fmla="*/ 2147483647 w 3918"/>
                <a:gd name="T17" fmla="*/ 2147483647 h 1944"/>
                <a:gd name="T18" fmla="*/ 2147483647 w 3918"/>
                <a:gd name="T19" fmla="*/ 2147483647 h 1944"/>
                <a:gd name="T20" fmla="*/ 2147483647 w 3918"/>
                <a:gd name="T21" fmla="*/ 2147483647 h 1944"/>
                <a:gd name="T22" fmla="*/ 2147483647 w 3918"/>
                <a:gd name="T23" fmla="*/ 2147483647 h 1944"/>
                <a:gd name="T24" fmla="*/ 2147483647 w 3918"/>
                <a:gd name="T25" fmla="*/ 2147483647 h 1944"/>
                <a:gd name="T26" fmla="*/ 2147483647 w 3918"/>
                <a:gd name="T27" fmla="*/ 2147483647 h 1944"/>
                <a:gd name="T28" fmla="*/ 2147483647 w 3918"/>
                <a:gd name="T29" fmla="*/ 2147483647 h 1944"/>
                <a:gd name="T30" fmla="*/ 2147483647 w 3918"/>
                <a:gd name="T31" fmla="*/ 2147483647 h 1944"/>
                <a:gd name="T32" fmla="*/ 2147483647 w 3918"/>
                <a:gd name="T33" fmla="*/ 2147483647 h 1944"/>
                <a:gd name="T34" fmla="*/ 2147483647 w 3918"/>
                <a:gd name="T35" fmla="*/ 2147483647 h 1944"/>
                <a:gd name="T36" fmla="*/ 2147483647 w 3918"/>
                <a:gd name="T37" fmla="*/ 2147483647 h 1944"/>
                <a:gd name="T38" fmla="*/ 2147483647 w 3918"/>
                <a:gd name="T39" fmla="*/ 2147483647 h 1944"/>
                <a:gd name="T40" fmla="*/ 2147483647 w 3918"/>
                <a:gd name="T41" fmla="*/ 2147483647 h 1944"/>
                <a:gd name="T42" fmla="*/ 2147483647 w 3918"/>
                <a:gd name="T43" fmla="*/ 2147483647 h 1944"/>
                <a:gd name="T44" fmla="*/ 2147483647 w 3918"/>
                <a:gd name="T45" fmla="*/ 2147483647 h 1944"/>
                <a:gd name="T46" fmla="*/ 2147483647 w 3918"/>
                <a:gd name="T47" fmla="*/ 2147483647 h 1944"/>
                <a:gd name="T48" fmla="*/ 2147483647 w 3918"/>
                <a:gd name="T49" fmla="*/ 2147483647 h 1944"/>
                <a:gd name="T50" fmla="*/ 2147483647 w 3918"/>
                <a:gd name="T51" fmla="*/ 2147483647 h 1944"/>
                <a:gd name="T52" fmla="*/ 2147483647 w 3918"/>
                <a:gd name="T53" fmla="*/ 2147483647 h 1944"/>
                <a:gd name="T54" fmla="*/ 2147483647 w 3918"/>
                <a:gd name="T55" fmla="*/ 2147483647 h 1944"/>
                <a:gd name="T56" fmla="*/ 2147483647 w 3918"/>
                <a:gd name="T57" fmla="*/ 2147483647 h 1944"/>
                <a:gd name="T58" fmla="*/ 2147483647 w 3918"/>
                <a:gd name="T59" fmla="*/ 2147483647 h 1944"/>
                <a:gd name="T60" fmla="*/ 2147483647 w 3918"/>
                <a:gd name="T61" fmla="*/ 2147483647 h 1944"/>
                <a:gd name="T62" fmla="*/ 2147483647 w 3918"/>
                <a:gd name="T63" fmla="*/ 2147483647 h 1944"/>
                <a:gd name="T64" fmla="*/ 2147483647 w 3918"/>
                <a:gd name="T65" fmla="*/ 2147483647 h 1944"/>
                <a:gd name="T66" fmla="*/ 2147483647 w 3918"/>
                <a:gd name="T67" fmla="*/ 2147483647 h 1944"/>
                <a:gd name="T68" fmla="*/ 2147483647 w 3918"/>
                <a:gd name="T69" fmla="*/ 2147483647 h 1944"/>
                <a:gd name="T70" fmla="*/ 2147483647 w 3918"/>
                <a:gd name="T71" fmla="*/ 2147483647 h 1944"/>
                <a:gd name="T72" fmla="*/ 2147483647 w 3918"/>
                <a:gd name="T73" fmla="*/ 2147483647 h 1944"/>
                <a:gd name="T74" fmla="*/ 2147483647 w 3918"/>
                <a:gd name="T75" fmla="*/ 2147483647 h 1944"/>
                <a:gd name="T76" fmla="*/ 2147483647 w 3918"/>
                <a:gd name="T77" fmla="*/ 2147483647 h 1944"/>
                <a:gd name="T78" fmla="*/ 2147483647 w 3918"/>
                <a:gd name="T79" fmla="*/ 2147483647 h 1944"/>
                <a:gd name="T80" fmla="*/ 2147483647 w 3918"/>
                <a:gd name="T81" fmla="*/ 2147483647 h 1944"/>
                <a:gd name="T82" fmla="*/ 2147483647 w 3918"/>
                <a:gd name="T83" fmla="*/ 2147483647 h 1944"/>
                <a:gd name="T84" fmla="*/ 2147483647 w 3918"/>
                <a:gd name="T85" fmla="*/ 2147483647 h 1944"/>
                <a:gd name="T86" fmla="*/ 2147483647 w 3918"/>
                <a:gd name="T87" fmla="*/ 2147483647 h 1944"/>
                <a:gd name="T88" fmla="*/ 2147483647 w 3918"/>
                <a:gd name="T89" fmla="*/ 2147483647 h 1944"/>
                <a:gd name="T90" fmla="*/ 2147483647 w 3918"/>
                <a:gd name="T91" fmla="*/ 2147483647 h 1944"/>
                <a:gd name="T92" fmla="*/ 2147483647 w 3918"/>
                <a:gd name="T93" fmla="*/ 2147483647 h 1944"/>
                <a:gd name="T94" fmla="*/ 2147483647 w 3918"/>
                <a:gd name="T95" fmla="*/ 2147483647 h 1944"/>
                <a:gd name="T96" fmla="*/ 2147483647 w 3918"/>
                <a:gd name="T97" fmla="*/ 2147483647 h 1944"/>
                <a:gd name="T98" fmla="*/ 2147483647 w 3918"/>
                <a:gd name="T99" fmla="*/ 2147483647 h 1944"/>
                <a:gd name="T100" fmla="*/ 2147483647 w 3918"/>
                <a:gd name="T101" fmla="*/ 2147483647 h 1944"/>
                <a:gd name="T102" fmla="*/ 2147483647 w 3918"/>
                <a:gd name="T103" fmla="*/ 2147483647 h 1944"/>
                <a:gd name="T104" fmla="*/ 2147483647 w 3918"/>
                <a:gd name="T105" fmla="*/ 2147483647 h 1944"/>
                <a:gd name="T106" fmla="*/ 2147483647 w 3918"/>
                <a:gd name="T107" fmla="*/ 2147483647 h 1944"/>
                <a:gd name="T108" fmla="*/ 2147483647 w 3918"/>
                <a:gd name="T109" fmla="*/ 2147483647 h 1944"/>
                <a:gd name="T110" fmla="*/ 2147483647 w 3918"/>
                <a:gd name="T111" fmla="*/ 2147483647 h 1944"/>
                <a:gd name="T112" fmla="*/ 2147483647 w 3918"/>
                <a:gd name="T113" fmla="*/ 2147483647 h 1944"/>
                <a:gd name="T114" fmla="*/ 2147483647 w 3918"/>
                <a:gd name="T115" fmla="*/ 2147483647 h 1944"/>
                <a:gd name="T116" fmla="*/ 2147483647 w 3918"/>
                <a:gd name="T117" fmla="*/ 2147483647 h 1944"/>
                <a:gd name="T118" fmla="*/ 2147483647 w 3918"/>
                <a:gd name="T119" fmla="*/ 2147483647 h 1944"/>
                <a:gd name="T120" fmla="*/ 2147483647 w 3918"/>
                <a:gd name="T121" fmla="*/ 2147483647 h 1944"/>
                <a:gd name="T122" fmla="*/ 2147483647 w 3918"/>
                <a:gd name="T123" fmla="*/ 2147483647 h 1944"/>
                <a:gd name="T124" fmla="*/ 2147483647 w 3918"/>
                <a:gd name="T125" fmla="*/ 2147483647 h 194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918"/>
                <a:gd name="T190" fmla="*/ 0 h 1944"/>
                <a:gd name="T191" fmla="*/ 3918 w 3918"/>
                <a:gd name="T192" fmla="*/ 1944 h 194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918" h="1944">
                  <a:moveTo>
                    <a:pt x="3858" y="168"/>
                  </a:moveTo>
                  <a:lnTo>
                    <a:pt x="3852" y="168"/>
                  </a:lnTo>
                  <a:lnTo>
                    <a:pt x="3846" y="162"/>
                  </a:lnTo>
                  <a:lnTo>
                    <a:pt x="3846" y="156"/>
                  </a:lnTo>
                  <a:lnTo>
                    <a:pt x="3840" y="150"/>
                  </a:lnTo>
                  <a:lnTo>
                    <a:pt x="3828" y="150"/>
                  </a:lnTo>
                  <a:lnTo>
                    <a:pt x="3804" y="174"/>
                  </a:lnTo>
                  <a:lnTo>
                    <a:pt x="3798" y="186"/>
                  </a:lnTo>
                  <a:lnTo>
                    <a:pt x="3756" y="210"/>
                  </a:lnTo>
                  <a:lnTo>
                    <a:pt x="3756" y="234"/>
                  </a:lnTo>
                  <a:lnTo>
                    <a:pt x="3744" y="246"/>
                  </a:lnTo>
                  <a:lnTo>
                    <a:pt x="3738" y="246"/>
                  </a:lnTo>
                  <a:lnTo>
                    <a:pt x="3726" y="258"/>
                  </a:lnTo>
                  <a:lnTo>
                    <a:pt x="3720" y="270"/>
                  </a:lnTo>
                  <a:lnTo>
                    <a:pt x="3720" y="294"/>
                  </a:lnTo>
                  <a:lnTo>
                    <a:pt x="3714" y="294"/>
                  </a:lnTo>
                  <a:lnTo>
                    <a:pt x="3708" y="288"/>
                  </a:lnTo>
                  <a:lnTo>
                    <a:pt x="3696" y="288"/>
                  </a:lnTo>
                  <a:lnTo>
                    <a:pt x="3690" y="294"/>
                  </a:lnTo>
                  <a:lnTo>
                    <a:pt x="3678" y="300"/>
                  </a:lnTo>
                  <a:lnTo>
                    <a:pt x="3666" y="312"/>
                  </a:lnTo>
                  <a:lnTo>
                    <a:pt x="3666" y="318"/>
                  </a:lnTo>
                  <a:lnTo>
                    <a:pt x="3660" y="318"/>
                  </a:lnTo>
                  <a:lnTo>
                    <a:pt x="3648" y="324"/>
                  </a:lnTo>
                  <a:lnTo>
                    <a:pt x="3630" y="324"/>
                  </a:lnTo>
                  <a:lnTo>
                    <a:pt x="3618" y="336"/>
                  </a:lnTo>
                  <a:lnTo>
                    <a:pt x="3618" y="342"/>
                  </a:lnTo>
                  <a:lnTo>
                    <a:pt x="3384" y="342"/>
                  </a:lnTo>
                  <a:lnTo>
                    <a:pt x="3372" y="354"/>
                  </a:lnTo>
                  <a:lnTo>
                    <a:pt x="3360" y="360"/>
                  </a:lnTo>
                  <a:lnTo>
                    <a:pt x="3336" y="384"/>
                  </a:lnTo>
                  <a:lnTo>
                    <a:pt x="3324" y="390"/>
                  </a:lnTo>
                  <a:lnTo>
                    <a:pt x="3312" y="402"/>
                  </a:lnTo>
                  <a:lnTo>
                    <a:pt x="3282" y="402"/>
                  </a:lnTo>
                  <a:lnTo>
                    <a:pt x="3282" y="408"/>
                  </a:lnTo>
                  <a:lnTo>
                    <a:pt x="3276" y="408"/>
                  </a:lnTo>
                  <a:lnTo>
                    <a:pt x="3282" y="414"/>
                  </a:lnTo>
                  <a:lnTo>
                    <a:pt x="3282" y="420"/>
                  </a:lnTo>
                  <a:lnTo>
                    <a:pt x="3288" y="426"/>
                  </a:lnTo>
                  <a:lnTo>
                    <a:pt x="3282" y="432"/>
                  </a:lnTo>
                  <a:lnTo>
                    <a:pt x="3282" y="438"/>
                  </a:lnTo>
                  <a:lnTo>
                    <a:pt x="3276" y="444"/>
                  </a:lnTo>
                  <a:lnTo>
                    <a:pt x="3270" y="456"/>
                  </a:lnTo>
                  <a:lnTo>
                    <a:pt x="3264" y="462"/>
                  </a:lnTo>
                  <a:lnTo>
                    <a:pt x="3264" y="468"/>
                  </a:lnTo>
                  <a:lnTo>
                    <a:pt x="3246" y="468"/>
                  </a:lnTo>
                  <a:lnTo>
                    <a:pt x="3246" y="474"/>
                  </a:lnTo>
                  <a:lnTo>
                    <a:pt x="3240" y="474"/>
                  </a:lnTo>
                  <a:lnTo>
                    <a:pt x="3228" y="480"/>
                  </a:lnTo>
                  <a:lnTo>
                    <a:pt x="3204" y="480"/>
                  </a:lnTo>
                  <a:lnTo>
                    <a:pt x="3198" y="474"/>
                  </a:lnTo>
                  <a:lnTo>
                    <a:pt x="3186" y="486"/>
                  </a:lnTo>
                  <a:lnTo>
                    <a:pt x="3162" y="486"/>
                  </a:lnTo>
                  <a:lnTo>
                    <a:pt x="3150" y="480"/>
                  </a:lnTo>
                  <a:lnTo>
                    <a:pt x="3144" y="474"/>
                  </a:lnTo>
                  <a:lnTo>
                    <a:pt x="3114" y="474"/>
                  </a:lnTo>
                  <a:lnTo>
                    <a:pt x="3096" y="486"/>
                  </a:lnTo>
                  <a:lnTo>
                    <a:pt x="3078" y="492"/>
                  </a:lnTo>
                  <a:lnTo>
                    <a:pt x="3072" y="492"/>
                  </a:lnTo>
                  <a:lnTo>
                    <a:pt x="3072" y="516"/>
                  </a:lnTo>
                  <a:lnTo>
                    <a:pt x="3066" y="522"/>
                  </a:lnTo>
                  <a:lnTo>
                    <a:pt x="3078" y="522"/>
                  </a:lnTo>
                  <a:lnTo>
                    <a:pt x="3066" y="528"/>
                  </a:lnTo>
                  <a:lnTo>
                    <a:pt x="3036" y="546"/>
                  </a:lnTo>
                  <a:lnTo>
                    <a:pt x="3000" y="564"/>
                  </a:lnTo>
                  <a:lnTo>
                    <a:pt x="2964" y="576"/>
                  </a:lnTo>
                  <a:lnTo>
                    <a:pt x="2946" y="588"/>
                  </a:lnTo>
                  <a:lnTo>
                    <a:pt x="2934" y="594"/>
                  </a:lnTo>
                  <a:lnTo>
                    <a:pt x="2928" y="594"/>
                  </a:lnTo>
                  <a:lnTo>
                    <a:pt x="2856" y="618"/>
                  </a:lnTo>
                  <a:lnTo>
                    <a:pt x="2850" y="624"/>
                  </a:lnTo>
                  <a:lnTo>
                    <a:pt x="2838" y="624"/>
                  </a:lnTo>
                  <a:lnTo>
                    <a:pt x="2826" y="630"/>
                  </a:lnTo>
                  <a:lnTo>
                    <a:pt x="2808" y="630"/>
                  </a:lnTo>
                  <a:lnTo>
                    <a:pt x="2802" y="636"/>
                  </a:lnTo>
                  <a:lnTo>
                    <a:pt x="2778" y="636"/>
                  </a:lnTo>
                  <a:lnTo>
                    <a:pt x="2772" y="630"/>
                  </a:lnTo>
                  <a:lnTo>
                    <a:pt x="2772" y="624"/>
                  </a:lnTo>
                  <a:lnTo>
                    <a:pt x="2760" y="624"/>
                  </a:lnTo>
                  <a:lnTo>
                    <a:pt x="2748" y="618"/>
                  </a:lnTo>
                  <a:lnTo>
                    <a:pt x="2736" y="606"/>
                  </a:lnTo>
                  <a:lnTo>
                    <a:pt x="2742" y="606"/>
                  </a:lnTo>
                  <a:lnTo>
                    <a:pt x="2748" y="600"/>
                  </a:lnTo>
                  <a:lnTo>
                    <a:pt x="2772" y="588"/>
                  </a:lnTo>
                  <a:lnTo>
                    <a:pt x="2772" y="582"/>
                  </a:lnTo>
                  <a:lnTo>
                    <a:pt x="2796" y="558"/>
                  </a:lnTo>
                  <a:lnTo>
                    <a:pt x="2832" y="540"/>
                  </a:lnTo>
                  <a:lnTo>
                    <a:pt x="2838" y="540"/>
                  </a:lnTo>
                  <a:lnTo>
                    <a:pt x="2844" y="534"/>
                  </a:lnTo>
                  <a:lnTo>
                    <a:pt x="2844" y="510"/>
                  </a:lnTo>
                  <a:lnTo>
                    <a:pt x="2850" y="504"/>
                  </a:lnTo>
                  <a:lnTo>
                    <a:pt x="2856" y="492"/>
                  </a:lnTo>
                  <a:lnTo>
                    <a:pt x="2850" y="486"/>
                  </a:lnTo>
                  <a:lnTo>
                    <a:pt x="2850" y="480"/>
                  </a:lnTo>
                  <a:lnTo>
                    <a:pt x="2856" y="468"/>
                  </a:lnTo>
                  <a:lnTo>
                    <a:pt x="2856" y="444"/>
                  </a:lnTo>
                  <a:lnTo>
                    <a:pt x="2862" y="432"/>
                  </a:lnTo>
                  <a:lnTo>
                    <a:pt x="2862" y="426"/>
                  </a:lnTo>
                  <a:lnTo>
                    <a:pt x="2856" y="420"/>
                  </a:lnTo>
                  <a:lnTo>
                    <a:pt x="2850" y="420"/>
                  </a:lnTo>
                  <a:lnTo>
                    <a:pt x="2844" y="426"/>
                  </a:lnTo>
                  <a:lnTo>
                    <a:pt x="2832" y="426"/>
                  </a:lnTo>
                  <a:lnTo>
                    <a:pt x="2814" y="444"/>
                  </a:lnTo>
                  <a:lnTo>
                    <a:pt x="2802" y="450"/>
                  </a:lnTo>
                  <a:lnTo>
                    <a:pt x="2796" y="456"/>
                  </a:lnTo>
                  <a:lnTo>
                    <a:pt x="2778" y="456"/>
                  </a:lnTo>
                  <a:lnTo>
                    <a:pt x="2772" y="450"/>
                  </a:lnTo>
                  <a:lnTo>
                    <a:pt x="2778" y="444"/>
                  </a:lnTo>
                  <a:lnTo>
                    <a:pt x="2784" y="432"/>
                  </a:lnTo>
                  <a:lnTo>
                    <a:pt x="2808" y="420"/>
                  </a:lnTo>
                  <a:lnTo>
                    <a:pt x="2826" y="402"/>
                  </a:lnTo>
                  <a:lnTo>
                    <a:pt x="2850" y="390"/>
                  </a:lnTo>
                  <a:lnTo>
                    <a:pt x="2856" y="384"/>
                  </a:lnTo>
                  <a:lnTo>
                    <a:pt x="2856" y="366"/>
                  </a:lnTo>
                  <a:lnTo>
                    <a:pt x="2850" y="360"/>
                  </a:lnTo>
                  <a:lnTo>
                    <a:pt x="2850" y="348"/>
                  </a:lnTo>
                  <a:lnTo>
                    <a:pt x="2856" y="348"/>
                  </a:lnTo>
                  <a:lnTo>
                    <a:pt x="2862" y="342"/>
                  </a:lnTo>
                  <a:lnTo>
                    <a:pt x="2868" y="330"/>
                  </a:lnTo>
                  <a:lnTo>
                    <a:pt x="2868" y="318"/>
                  </a:lnTo>
                  <a:lnTo>
                    <a:pt x="2862" y="312"/>
                  </a:lnTo>
                  <a:lnTo>
                    <a:pt x="2850" y="312"/>
                  </a:lnTo>
                  <a:lnTo>
                    <a:pt x="2838" y="306"/>
                  </a:lnTo>
                  <a:lnTo>
                    <a:pt x="2832" y="306"/>
                  </a:lnTo>
                  <a:lnTo>
                    <a:pt x="2826" y="294"/>
                  </a:lnTo>
                  <a:lnTo>
                    <a:pt x="2820" y="288"/>
                  </a:lnTo>
                  <a:lnTo>
                    <a:pt x="2820" y="282"/>
                  </a:lnTo>
                  <a:lnTo>
                    <a:pt x="2814" y="288"/>
                  </a:lnTo>
                  <a:lnTo>
                    <a:pt x="2808" y="288"/>
                  </a:lnTo>
                  <a:lnTo>
                    <a:pt x="2808" y="264"/>
                  </a:lnTo>
                  <a:lnTo>
                    <a:pt x="2844" y="270"/>
                  </a:lnTo>
                  <a:lnTo>
                    <a:pt x="2850" y="264"/>
                  </a:lnTo>
                  <a:lnTo>
                    <a:pt x="2850" y="246"/>
                  </a:lnTo>
                  <a:lnTo>
                    <a:pt x="2862" y="246"/>
                  </a:lnTo>
                  <a:lnTo>
                    <a:pt x="2868" y="228"/>
                  </a:lnTo>
                  <a:lnTo>
                    <a:pt x="2850" y="228"/>
                  </a:lnTo>
                  <a:lnTo>
                    <a:pt x="2844" y="240"/>
                  </a:lnTo>
                  <a:lnTo>
                    <a:pt x="2820" y="228"/>
                  </a:lnTo>
                  <a:lnTo>
                    <a:pt x="2820" y="210"/>
                  </a:lnTo>
                  <a:lnTo>
                    <a:pt x="2802" y="210"/>
                  </a:lnTo>
                  <a:lnTo>
                    <a:pt x="2790" y="216"/>
                  </a:lnTo>
                  <a:lnTo>
                    <a:pt x="2736" y="216"/>
                  </a:lnTo>
                  <a:lnTo>
                    <a:pt x="2724" y="222"/>
                  </a:lnTo>
                  <a:lnTo>
                    <a:pt x="2712" y="222"/>
                  </a:lnTo>
                  <a:lnTo>
                    <a:pt x="2700" y="228"/>
                  </a:lnTo>
                  <a:lnTo>
                    <a:pt x="2682" y="228"/>
                  </a:lnTo>
                  <a:lnTo>
                    <a:pt x="2658" y="216"/>
                  </a:lnTo>
                  <a:lnTo>
                    <a:pt x="2658" y="210"/>
                  </a:lnTo>
                  <a:lnTo>
                    <a:pt x="2652" y="204"/>
                  </a:lnTo>
                  <a:lnTo>
                    <a:pt x="2652" y="198"/>
                  </a:lnTo>
                  <a:lnTo>
                    <a:pt x="2646" y="192"/>
                  </a:lnTo>
                  <a:lnTo>
                    <a:pt x="2628" y="192"/>
                  </a:lnTo>
                  <a:lnTo>
                    <a:pt x="2622" y="198"/>
                  </a:lnTo>
                  <a:lnTo>
                    <a:pt x="2616" y="198"/>
                  </a:lnTo>
                  <a:lnTo>
                    <a:pt x="2610" y="192"/>
                  </a:lnTo>
                  <a:lnTo>
                    <a:pt x="2670" y="162"/>
                  </a:lnTo>
                  <a:lnTo>
                    <a:pt x="2658" y="150"/>
                  </a:lnTo>
                  <a:lnTo>
                    <a:pt x="2640" y="150"/>
                  </a:lnTo>
                  <a:lnTo>
                    <a:pt x="2628" y="162"/>
                  </a:lnTo>
                  <a:lnTo>
                    <a:pt x="2616" y="168"/>
                  </a:lnTo>
                  <a:lnTo>
                    <a:pt x="2610" y="174"/>
                  </a:lnTo>
                  <a:lnTo>
                    <a:pt x="2604" y="174"/>
                  </a:lnTo>
                  <a:lnTo>
                    <a:pt x="2580" y="186"/>
                  </a:lnTo>
                  <a:lnTo>
                    <a:pt x="2562" y="192"/>
                  </a:lnTo>
                  <a:lnTo>
                    <a:pt x="2538" y="204"/>
                  </a:lnTo>
                  <a:lnTo>
                    <a:pt x="2508" y="204"/>
                  </a:lnTo>
                  <a:lnTo>
                    <a:pt x="2496" y="216"/>
                  </a:lnTo>
                  <a:lnTo>
                    <a:pt x="2448" y="216"/>
                  </a:lnTo>
                  <a:lnTo>
                    <a:pt x="2448" y="210"/>
                  </a:lnTo>
                  <a:lnTo>
                    <a:pt x="2454" y="204"/>
                  </a:lnTo>
                  <a:lnTo>
                    <a:pt x="2460" y="204"/>
                  </a:lnTo>
                  <a:lnTo>
                    <a:pt x="2472" y="192"/>
                  </a:lnTo>
                  <a:lnTo>
                    <a:pt x="2460" y="192"/>
                  </a:lnTo>
                  <a:lnTo>
                    <a:pt x="2448" y="198"/>
                  </a:lnTo>
                  <a:lnTo>
                    <a:pt x="2412" y="198"/>
                  </a:lnTo>
                  <a:lnTo>
                    <a:pt x="2400" y="204"/>
                  </a:lnTo>
                  <a:lnTo>
                    <a:pt x="2394" y="210"/>
                  </a:lnTo>
                  <a:lnTo>
                    <a:pt x="2370" y="210"/>
                  </a:lnTo>
                  <a:lnTo>
                    <a:pt x="2370" y="198"/>
                  </a:lnTo>
                  <a:lnTo>
                    <a:pt x="2400" y="180"/>
                  </a:lnTo>
                  <a:lnTo>
                    <a:pt x="2442" y="168"/>
                  </a:lnTo>
                  <a:lnTo>
                    <a:pt x="2502" y="138"/>
                  </a:lnTo>
                  <a:lnTo>
                    <a:pt x="2520" y="126"/>
                  </a:lnTo>
                  <a:lnTo>
                    <a:pt x="2544" y="120"/>
                  </a:lnTo>
                  <a:lnTo>
                    <a:pt x="2574" y="114"/>
                  </a:lnTo>
                  <a:lnTo>
                    <a:pt x="2580" y="114"/>
                  </a:lnTo>
                  <a:lnTo>
                    <a:pt x="2592" y="108"/>
                  </a:lnTo>
                  <a:lnTo>
                    <a:pt x="2574" y="108"/>
                  </a:lnTo>
                  <a:lnTo>
                    <a:pt x="2562" y="102"/>
                  </a:lnTo>
                  <a:lnTo>
                    <a:pt x="2556" y="102"/>
                  </a:lnTo>
                  <a:lnTo>
                    <a:pt x="2556" y="96"/>
                  </a:lnTo>
                  <a:lnTo>
                    <a:pt x="2508" y="102"/>
                  </a:lnTo>
                  <a:lnTo>
                    <a:pt x="2508" y="84"/>
                  </a:lnTo>
                  <a:lnTo>
                    <a:pt x="2502" y="90"/>
                  </a:lnTo>
                  <a:lnTo>
                    <a:pt x="2490" y="96"/>
                  </a:lnTo>
                  <a:lnTo>
                    <a:pt x="2478" y="108"/>
                  </a:lnTo>
                  <a:lnTo>
                    <a:pt x="2466" y="108"/>
                  </a:lnTo>
                  <a:lnTo>
                    <a:pt x="2448" y="90"/>
                  </a:lnTo>
                  <a:lnTo>
                    <a:pt x="2418" y="90"/>
                  </a:lnTo>
                  <a:lnTo>
                    <a:pt x="2412" y="84"/>
                  </a:lnTo>
                  <a:lnTo>
                    <a:pt x="2412" y="78"/>
                  </a:lnTo>
                  <a:lnTo>
                    <a:pt x="2400" y="66"/>
                  </a:lnTo>
                  <a:lnTo>
                    <a:pt x="2388" y="60"/>
                  </a:lnTo>
                  <a:lnTo>
                    <a:pt x="2376" y="60"/>
                  </a:lnTo>
                  <a:lnTo>
                    <a:pt x="2364" y="72"/>
                  </a:lnTo>
                  <a:lnTo>
                    <a:pt x="2364" y="78"/>
                  </a:lnTo>
                  <a:lnTo>
                    <a:pt x="2352" y="78"/>
                  </a:lnTo>
                  <a:lnTo>
                    <a:pt x="2334" y="60"/>
                  </a:lnTo>
                  <a:lnTo>
                    <a:pt x="2322" y="60"/>
                  </a:lnTo>
                  <a:lnTo>
                    <a:pt x="2304" y="54"/>
                  </a:lnTo>
                  <a:lnTo>
                    <a:pt x="2292" y="48"/>
                  </a:lnTo>
                  <a:lnTo>
                    <a:pt x="2292" y="36"/>
                  </a:lnTo>
                  <a:lnTo>
                    <a:pt x="2298" y="24"/>
                  </a:lnTo>
                  <a:lnTo>
                    <a:pt x="2310" y="12"/>
                  </a:lnTo>
                  <a:lnTo>
                    <a:pt x="2298" y="0"/>
                  </a:lnTo>
                  <a:lnTo>
                    <a:pt x="2286" y="6"/>
                  </a:lnTo>
                  <a:lnTo>
                    <a:pt x="2280" y="12"/>
                  </a:lnTo>
                  <a:lnTo>
                    <a:pt x="2274" y="24"/>
                  </a:lnTo>
                  <a:lnTo>
                    <a:pt x="2274" y="30"/>
                  </a:lnTo>
                  <a:lnTo>
                    <a:pt x="2268" y="42"/>
                  </a:lnTo>
                  <a:lnTo>
                    <a:pt x="558" y="42"/>
                  </a:lnTo>
                  <a:lnTo>
                    <a:pt x="552" y="54"/>
                  </a:lnTo>
                  <a:lnTo>
                    <a:pt x="552" y="60"/>
                  </a:lnTo>
                  <a:lnTo>
                    <a:pt x="546" y="60"/>
                  </a:lnTo>
                  <a:lnTo>
                    <a:pt x="546" y="72"/>
                  </a:lnTo>
                  <a:lnTo>
                    <a:pt x="540" y="84"/>
                  </a:lnTo>
                  <a:lnTo>
                    <a:pt x="540" y="108"/>
                  </a:lnTo>
                  <a:lnTo>
                    <a:pt x="510" y="126"/>
                  </a:lnTo>
                  <a:lnTo>
                    <a:pt x="504" y="144"/>
                  </a:lnTo>
                  <a:lnTo>
                    <a:pt x="486" y="168"/>
                  </a:lnTo>
                  <a:lnTo>
                    <a:pt x="438" y="180"/>
                  </a:lnTo>
                  <a:lnTo>
                    <a:pt x="474" y="162"/>
                  </a:lnTo>
                  <a:lnTo>
                    <a:pt x="450" y="162"/>
                  </a:lnTo>
                  <a:lnTo>
                    <a:pt x="456" y="156"/>
                  </a:lnTo>
                  <a:lnTo>
                    <a:pt x="462" y="144"/>
                  </a:lnTo>
                  <a:lnTo>
                    <a:pt x="486" y="120"/>
                  </a:lnTo>
                  <a:lnTo>
                    <a:pt x="492" y="120"/>
                  </a:lnTo>
                  <a:lnTo>
                    <a:pt x="504" y="108"/>
                  </a:lnTo>
                  <a:lnTo>
                    <a:pt x="504" y="102"/>
                  </a:lnTo>
                  <a:lnTo>
                    <a:pt x="456" y="102"/>
                  </a:lnTo>
                  <a:lnTo>
                    <a:pt x="450" y="96"/>
                  </a:lnTo>
                  <a:lnTo>
                    <a:pt x="438" y="90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2" y="78"/>
                  </a:lnTo>
                  <a:lnTo>
                    <a:pt x="390" y="90"/>
                  </a:lnTo>
                  <a:lnTo>
                    <a:pt x="384" y="102"/>
                  </a:lnTo>
                  <a:lnTo>
                    <a:pt x="384" y="150"/>
                  </a:lnTo>
                  <a:lnTo>
                    <a:pt x="378" y="156"/>
                  </a:lnTo>
                  <a:lnTo>
                    <a:pt x="378" y="162"/>
                  </a:lnTo>
                  <a:lnTo>
                    <a:pt x="360" y="180"/>
                  </a:lnTo>
                  <a:lnTo>
                    <a:pt x="390" y="186"/>
                  </a:lnTo>
                  <a:lnTo>
                    <a:pt x="360" y="192"/>
                  </a:lnTo>
                  <a:lnTo>
                    <a:pt x="366" y="210"/>
                  </a:lnTo>
                  <a:lnTo>
                    <a:pt x="348" y="234"/>
                  </a:lnTo>
                  <a:lnTo>
                    <a:pt x="354" y="234"/>
                  </a:lnTo>
                  <a:lnTo>
                    <a:pt x="366" y="246"/>
                  </a:lnTo>
                  <a:lnTo>
                    <a:pt x="372" y="246"/>
                  </a:lnTo>
                  <a:lnTo>
                    <a:pt x="378" y="252"/>
                  </a:lnTo>
                  <a:lnTo>
                    <a:pt x="330" y="252"/>
                  </a:lnTo>
                  <a:lnTo>
                    <a:pt x="324" y="264"/>
                  </a:lnTo>
                  <a:lnTo>
                    <a:pt x="306" y="282"/>
                  </a:lnTo>
                  <a:lnTo>
                    <a:pt x="270" y="342"/>
                  </a:lnTo>
                  <a:lnTo>
                    <a:pt x="258" y="360"/>
                  </a:lnTo>
                  <a:lnTo>
                    <a:pt x="216" y="402"/>
                  </a:lnTo>
                  <a:lnTo>
                    <a:pt x="192" y="432"/>
                  </a:lnTo>
                  <a:lnTo>
                    <a:pt x="174" y="456"/>
                  </a:lnTo>
                  <a:lnTo>
                    <a:pt x="168" y="462"/>
                  </a:lnTo>
                  <a:lnTo>
                    <a:pt x="174" y="480"/>
                  </a:lnTo>
                  <a:lnTo>
                    <a:pt x="168" y="480"/>
                  </a:lnTo>
                  <a:lnTo>
                    <a:pt x="162" y="486"/>
                  </a:lnTo>
                  <a:lnTo>
                    <a:pt x="150" y="492"/>
                  </a:lnTo>
                  <a:lnTo>
                    <a:pt x="126" y="516"/>
                  </a:lnTo>
                  <a:lnTo>
                    <a:pt x="120" y="534"/>
                  </a:lnTo>
                  <a:lnTo>
                    <a:pt x="120" y="546"/>
                  </a:lnTo>
                  <a:lnTo>
                    <a:pt x="102" y="570"/>
                  </a:lnTo>
                  <a:lnTo>
                    <a:pt x="96" y="618"/>
                  </a:lnTo>
                  <a:lnTo>
                    <a:pt x="90" y="630"/>
                  </a:lnTo>
                  <a:lnTo>
                    <a:pt x="72" y="648"/>
                  </a:lnTo>
                  <a:lnTo>
                    <a:pt x="60" y="672"/>
                  </a:lnTo>
                  <a:lnTo>
                    <a:pt x="54" y="678"/>
                  </a:lnTo>
                  <a:lnTo>
                    <a:pt x="42" y="684"/>
                  </a:lnTo>
                  <a:lnTo>
                    <a:pt x="18" y="708"/>
                  </a:lnTo>
                  <a:lnTo>
                    <a:pt x="12" y="720"/>
                  </a:lnTo>
                  <a:lnTo>
                    <a:pt x="18" y="732"/>
                  </a:lnTo>
                  <a:lnTo>
                    <a:pt x="36" y="750"/>
                  </a:lnTo>
                  <a:lnTo>
                    <a:pt x="36" y="762"/>
                  </a:lnTo>
                  <a:lnTo>
                    <a:pt x="30" y="774"/>
                  </a:lnTo>
                  <a:lnTo>
                    <a:pt x="18" y="786"/>
                  </a:lnTo>
                  <a:lnTo>
                    <a:pt x="12" y="798"/>
                  </a:lnTo>
                  <a:lnTo>
                    <a:pt x="6" y="816"/>
                  </a:lnTo>
                  <a:lnTo>
                    <a:pt x="0" y="828"/>
                  </a:lnTo>
                  <a:lnTo>
                    <a:pt x="0" y="840"/>
                  </a:lnTo>
                  <a:lnTo>
                    <a:pt x="6" y="852"/>
                  </a:lnTo>
                  <a:lnTo>
                    <a:pt x="12" y="870"/>
                  </a:lnTo>
                  <a:lnTo>
                    <a:pt x="12" y="882"/>
                  </a:lnTo>
                  <a:lnTo>
                    <a:pt x="18" y="900"/>
                  </a:lnTo>
                  <a:lnTo>
                    <a:pt x="24" y="906"/>
                  </a:lnTo>
                  <a:lnTo>
                    <a:pt x="24" y="912"/>
                  </a:lnTo>
                  <a:lnTo>
                    <a:pt x="48" y="894"/>
                  </a:lnTo>
                  <a:lnTo>
                    <a:pt x="114" y="900"/>
                  </a:lnTo>
                  <a:lnTo>
                    <a:pt x="78" y="900"/>
                  </a:lnTo>
                  <a:lnTo>
                    <a:pt x="66" y="906"/>
                  </a:lnTo>
                  <a:lnTo>
                    <a:pt x="60" y="906"/>
                  </a:lnTo>
                  <a:lnTo>
                    <a:pt x="48" y="918"/>
                  </a:lnTo>
                  <a:lnTo>
                    <a:pt x="48" y="942"/>
                  </a:lnTo>
                  <a:lnTo>
                    <a:pt x="30" y="924"/>
                  </a:lnTo>
                  <a:lnTo>
                    <a:pt x="24" y="924"/>
                  </a:lnTo>
                  <a:lnTo>
                    <a:pt x="18" y="936"/>
                  </a:lnTo>
                  <a:lnTo>
                    <a:pt x="18" y="942"/>
                  </a:lnTo>
                  <a:lnTo>
                    <a:pt x="12" y="960"/>
                  </a:lnTo>
                  <a:lnTo>
                    <a:pt x="12" y="978"/>
                  </a:lnTo>
                  <a:lnTo>
                    <a:pt x="18" y="984"/>
                  </a:lnTo>
                  <a:lnTo>
                    <a:pt x="30" y="990"/>
                  </a:lnTo>
                  <a:lnTo>
                    <a:pt x="42" y="990"/>
                  </a:lnTo>
                  <a:lnTo>
                    <a:pt x="42" y="1002"/>
                  </a:lnTo>
                  <a:lnTo>
                    <a:pt x="36" y="1008"/>
                  </a:lnTo>
                  <a:lnTo>
                    <a:pt x="36" y="1014"/>
                  </a:lnTo>
                  <a:lnTo>
                    <a:pt x="18" y="1032"/>
                  </a:lnTo>
                  <a:lnTo>
                    <a:pt x="12" y="1044"/>
                  </a:lnTo>
                  <a:lnTo>
                    <a:pt x="12" y="1056"/>
                  </a:lnTo>
                  <a:lnTo>
                    <a:pt x="18" y="1068"/>
                  </a:lnTo>
                  <a:lnTo>
                    <a:pt x="24" y="1074"/>
                  </a:lnTo>
                  <a:lnTo>
                    <a:pt x="36" y="1098"/>
                  </a:lnTo>
                  <a:lnTo>
                    <a:pt x="42" y="1104"/>
                  </a:lnTo>
                  <a:lnTo>
                    <a:pt x="54" y="1128"/>
                  </a:lnTo>
                  <a:lnTo>
                    <a:pt x="60" y="1134"/>
                  </a:lnTo>
                  <a:lnTo>
                    <a:pt x="60" y="1146"/>
                  </a:lnTo>
                  <a:lnTo>
                    <a:pt x="54" y="1152"/>
                  </a:lnTo>
                  <a:lnTo>
                    <a:pt x="42" y="1176"/>
                  </a:lnTo>
                  <a:lnTo>
                    <a:pt x="36" y="1182"/>
                  </a:lnTo>
                  <a:lnTo>
                    <a:pt x="36" y="1188"/>
                  </a:lnTo>
                  <a:lnTo>
                    <a:pt x="42" y="1194"/>
                  </a:lnTo>
                  <a:lnTo>
                    <a:pt x="54" y="1194"/>
                  </a:lnTo>
                  <a:lnTo>
                    <a:pt x="72" y="1200"/>
                  </a:lnTo>
                  <a:lnTo>
                    <a:pt x="102" y="1200"/>
                  </a:lnTo>
                  <a:lnTo>
                    <a:pt x="102" y="1212"/>
                  </a:lnTo>
                  <a:lnTo>
                    <a:pt x="120" y="1230"/>
                  </a:lnTo>
                  <a:lnTo>
                    <a:pt x="132" y="1230"/>
                  </a:lnTo>
                  <a:lnTo>
                    <a:pt x="144" y="1224"/>
                  </a:lnTo>
                  <a:lnTo>
                    <a:pt x="150" y="1224"/>
                  </a:lnTo>
                  <a:lnTo>
                    <a:pt x="162" y="1218"/>
                  </a:lnTo>
                  <a:lnTo>
                    <a:pt x="168" y="1248"/>
                  </a:lnTo>
                  <a:lnTo>
                    <a:pt x="174" y="1248"/>
                  </a:lnTo>
                  <a:lnTo>
                    <a:pt x="180" y="1254"/>
                  </a:lnTo>
                  <a:lnTo>
                    <a:pt x="204" y="1266"/>
                  </a:lnTo>
                  <a:lnTo>
                    <a:pt x="216" y="1290"/>
                  </a:lnTo>
                  <a:lnTo>
                    <a:pt x="216" y="1314"/>
                  </a:lnTo>
                  <a:lnTo>
                    <a:pt x="210" y="1338"/>
                  </a:lnTo>
                  <a:lnTo>
                    <a:pt x="216" y="1344"/>
                  </a:lnTo>
                  <a:lnTo>
                    <a:pt x="360" y="1338"/>
                  </a:lnTo>
                  <a:lnTo>
                    <a:pt x="354" y="1344"/>
                  </a:lnTo>
                  <a:lnTo>
                    <a:pt x="354" y="1350"/>
                  </a:lnTo>
                  <a:lnTo>
                    <a:pt x="360" y="1350"/>
                  </a:lnTo>
                  <a:lnTo>
                    <a:pt x="570" y="1446"/>
                  </a:lnTo>
                  <a:lnTo>
                    <a:pt x="774" y="1446"/>
                  </a:lnTo>
                  <a:lnTo>
                    <a:pt x="774" y="1440"/>
                  </a:lnTo>
                  <a:lnTo>
                    <a:pt x="780" y="1428"/>
                  </a:lnTo>
                  <a:lnTo>
                    <a:pt x="780" y="1410"/>
                  </a:lnTo>
                  <a:lnTo>
                    <a:pt x="786" y="1404"/>
                  </a:lnTo>
                  <a:lnTo>
                    <a:pt x="900" y="1404"/>
                  </a:lnTo>
                  <a:lnTo>
                    <a:pt x="912" y="1416"/>
                  </a:lnTo>
                  <a:lnTo>
                    <a:pt x="912" y="1440"/>
                  </a:lnTo>
                  <a:lnTo>
                    <a:pt x="942" y="1452"/>
                  </a:lnTo>
                  <a:lnTo>
                    <a:pt x="948" y="1482"/>
                  </a:lnTo>
                  <a:lnTo>
                    <a:pt x="960" y="1482"/>
                  </a:lnTo>
                  <a:lnTo>
                    <a:pt x="972" y="1488"/>
                  </a:lnTo>
                  <a:lnTo>
                    <a:pt x="984" y="1500"/>
                  </a:lnTo>
                  <a:lnTo>
                    <a:pt x="990" y="1512"/>
                  </a:lnTo>
                  <a:lnTo>
                    <a:pt x="990" y="1554"/>
                  </a:lnTo>
                  <a:lnTo>
                    <a:pt x="984" y="1566"/>
                  </a:lnTo>
                  <a:lnTo>
                    <a:pt x="984" y="1578"/>
                  </a:lnTo>
                  <a:lnTo>
                    <a:pt x="1014" y="1608"/>
                  </a:lnTo>
                  <a:lnTo>
                    <a:pt x="1026" y="1614"/>
                  </a:lnTo>
                  <a:lnTo>
                    <a:pt x="1044" y="1626"/>
                  </a:lnTo>
                  <a:lnTo>
                    <a:pt x="1056" y="1626"/>
                  </a:lnTo>
                  <a:lnTo>
                    <a:pt x="1080" y="1614"/>
                  </a:lnTo>
                  <a:lnTo>
                    <a:pt x="1092" y="1602"/>
                  </a:lnTo>
                  <a:lnTo>
                    <a:pt x="1104" y="1578"/>
                  </a:lnTo>
                  <a:lnTo>
                    <a:pt x="1116" y="1566"/>
                  </a:lnTo>
                  <a:lnTo>
                    <a:pt x="1134" y="1566"/>
                  </a:lnTo>
                  <a:lnTo>
                    <a:pt x="1134" y="1560"/>
                  </a:lnTo>
                  <a:lnTo>
                    <a:pt x="1152" y="1566"/>
                  </a:lnTo>
                  <a:lnTo>
                    <a:pt x="1194" y="1566"/>
                  </a:lnTo>
                  <a:lnTo>
                    <a:pt x="1200" y="1578"/>
                  </a:lnTo>
                  <a:lnTo>
                    <a:pt x="1206" y="1584"/>
                  </a:lnTo>
                  <a:lnTo>
                    <a:pt x="1212" y="1596"/>
                  </a:lnTo>
                  <a:lnTo>
                    <a:pt x="1224" y="1608"/>
                  </a:lnTo>
                  <a:lnTo>
                    <a:pt x="1230" y="1620"/>
                  </a:lnTo>
                  <a:lnTo>
                    <a:pt x="1242" y="1632"/>
                  </a:lnTo>
                  <a:lnTo>
                    <a:pt x="1242" y="1656"/>
                  </a:lnTo>
                  <a:lnTo>
                    <a:pt x="1236" y="1668"/>
                  </a:lnTo>
                  <a:lnTo>
                    <a:pt x="1236" y="1680"/>
                  </a:lnTo>
                  <a:lnTo>
                    <a:pt x="1242" y="1692"/>
                  </a:lnTo>
                  <a:lnTo>
                    <a:pt x="1254" y="1698"/>
                  </a:lnTo>
                  <a:lnTo>
                    <a:pt x="1254" y="1722"/>
                  </a:lnTo>
                  <a:lnTo>
                    <a:pt x="1260" y="1728"/>
                  </a:lnTo>
                  <a:lnTo>
                    <a:pt x="1272" y="1734"/>
                  </a:lnTo>
                  <a:lnTo>
                    <a:pt x="1284" y="1746"/>
                  </a:lnTo>
                  <a:lnTo>
                    <a:pt x="1284" y="1752"/>
                  </a:lnTo>
                  <a:lnTo>
                    <a:pt x="1278" y="1758"/>
                  </a:lnTo>
                  <a:lnTo>
                    <a:pt x="1272" y="1758"/>
                  </a:lnTo>
                  <a:lnTo>
                    <a:pt x="1272" y="1794"/>
                  </a:lnTo>
                  <a:lnTo>
                    <a:pt x="1284" y="1806"/>
                  </a:lnTo>
                  <a:lnTo>
                    <a:pt x="1284" y="1836"/>
                  </a:lnTo>
                  <a:lnTo>
                    <a:pt x="1296" y="1848"/>
                  </a:lnTo>
                  <a:lnTo>
                    <a:pt x="1314" y="1854"/>
                  </a:lnTo>
                  <a:lnTo>
                    <a:pt x="1326" y="1854"/>
                  </a:lnTo>
                  <a:lnTo>
                    <a:pt x="1338" y="1866"/>
                  </a:lnTo>
                  <a:lnTo>
                    <a:pt x="1380" y="1866"/>
                  </a:lnTo>
                  <a:lnTo>
                    <a:pt x="1380" y="1872"/>
                  </a:lnTo>
                  <a:lnTo>
                    <a:pt x="1386" y="1884"/>
                  </a:lnTo>
                  <a:lnTo>
                    <a:pt x="1410" y="1884"/>
                  </a:lnTo>
                  <a:lnTo>
                    <a:pt x="1410" y="1878"/>
                  </a:lnTo>
                  <a:lnTo>
                    <a:pt x="1398" y="1806"/>
                  </a:lnTo>
                  <a:lnTo>
                    <a:pt x="1416" y="1788"/>
                  </a:lnTo>
                  <a:lnTo>
                    <a:pt x="1398" y="1776"/>
                  </a:lnTo>
                  <a:lnTo>
                    <a:pt x="1398" y="1758"/>
                  </a:lnTo>
                  <a:lnTo>
                    <a:pt x="1404" y="1764"/>
                  </a:lnTo>
                  <a:lnTo>
                    <a:pt x="1422" y="1764"/>
                  </a:lnTo>
                  <a:lnTo>
                    <a:pt x="1428" y="1758"/>
                  </a:lnTo>
                  <a:lnTo>
                    <a:pt x="1428" y="1728"/>
                  </a:lnTo>
                  <a:lnTo>
                    <a:pt x="1452" y="1722"/>
                  </a:lnTo>
                  <a:lnTo>
                    <a:pt x="1458" y="1698"/>
                  </a:lnTo>
                  <a:lnTo>
                    <a:pt x="1476" y="1704"/>
                  </a:lnTo>
                  <a:lnTo>
                    <a:pt x="1494" y="1692"/>
                  </a:lnTo>
                  <a:lnTo>
                    <a:pt x="1488" y="1668"/>
                  </a:lnTo>
                  <a:lnTo>
                    <a:pt x="1500" y="1680"/>
                  </a:lnTo>
                  <a:lnTo>
                    <a:pt x="1500" y="1668"/>
                  </a:lnTo>
                  <a:lnTo>
                    <a:pt x="1506" y="1656"/>
                  </a:lnTo>
                  <a:lnTo>
                    <a:pt x="1512" y="1650"/>
                  </a:lnTo>
                  <a:lnTo>
                    <a:pt x="1518" y="1650"/>
                  </a:lnTo>
                  <a:lnTo>
                    <a:pt x="1524" y="1656"/>
                  </a:lnTo>
                  <a:lnTo>
                    <a:pt x="1524" y="1668"/>
                  </a:lnTo>
                  <a:lnTo>
                    <a:pt x="1542" y="1668"/>
                  </a:lnTo>
                  <a:lnTo>
                    <a:pt x="1554" y="1662"/>
                  </a:lnTo>
                  <a:lnTo>
                    <a:pt x="1572" y="1656"/>
                  </a:lnTo>
                  <a:lnTo>
                    <a:pt x="1596" y="1644"/>
                  </a:lnTo>
                  <a:lnTo>
                    <a:pt x="1602" y="1638"/>
                  </a:lnTo>
                  <a:lnTo>
                    <a:pt x="1608" y="1626"/>
                  </a:lnTo>
                  <a:lnTo>
                    <a:pt x="1620" y="1620"/>
                  </a:lnTo>
                  <a:lnTo>
                    <a:pt x="1626" y="1608"/>
                  </a:lnTo>
                  <a:lnTo>
                    <a:pt x="1632" y="1602"/>
                  </a:lnTo>
                  <a:lnTo>
                    <a:pt x="1632" y="1590"/>
                  </a:lnTo>
                  <a:lnTo>
                    <a:pt x="1626" y="1584"/>
                  </a:lnTo>
                  <a:lnTo>
                    <a:pt x="1626" y="1566"/>
                  </a:lnTo>
                  <a:lnTo>
                    <a:pt x="1632" y="1566"/>
                  </a:lnTo>
                  <a:lnTo>
                    <a:pt x="1656" y="1578"/>
                  </a:lnTo>
                  <a:lnTo>
                    <a:pt x="1662" y="1584"/>
                  </a:lnTo>
                  <a:lnTo>
                    <a:pt x="1674" y="1590"/>
                  </a:lnTo>
                  <a:lnTo>
                    <a:pt x="1686" y="1590"/>
                  </a:lnTo>
                  <a:lnTo>
                    <a:pt x="1692" y="1584"/>
                  </a:lnTo>
                  <a:lnTo>
                    <a:pt x="1710" y="1548"/>
                  </a:lnTo>
                  <a:lnTo>
                    <a:pt x="1716" y="1548"/>
                  </a:lnTo>
                  <a:lnTo>
                    <a:pt x="1734" y="1566"/>
                  </a:lnTo>
                  <a:lnTo>
                    <a:pt x="1746" y="1566"/>
                  </a:lnTo>
                  <a:lnTo>
                    <a:pt x="1752" y="1560"/>
                  </a:lnTo>
                  <a:lnTo>
                    <a:pt x="1758" y="1548"/>
                  </a:lnTo>
                  <a:lnTo>
                    <a:pt x="1764" y="1542"/>
                  </a:lnTo>
                  <a:lnTo>
                    <a:pt x="1770" y="1554"/>
                  </a:lnTo>
                  <a:lnTo>
                    <a:pt x="1776" y="1560"/>
                  </a:lnTo>
                  <a:lnTo>
                    <a:pt x="1782" y="1572"/>
                  </a:lnTo>
                  <a:lnTo>
                    <a:pt x="1794" y="1578"/>
                  </a:lnTo>
                  <a:lnTo>
                    <a:pt x="1800" y="1584"/>
                  </a:lnTo>
                  <a:lnTo>
                    <a:pt x="1818" y="1584"/>
                  </a:lnTo>
                  <a:lnTo>
                    <a:pt x="1824" y="1578"/>
                  </a:lnTo>
                  <a:lnTo>
                    <a:pt x="1830" y="1566"/>
                  </a:lnTo>
                  <a:lnTo>
                    <a:pt x="1842" y="1554"/>
                  </a:lnTo>
                  <a:lnTo>
                    <a:pt x="1848" y="1554"/>
                  </a:lnTo>
                  <a:lnTo>
                    <a:pt x="1860" y="1560"/>
                  </a:lnTo>
                  <a:lnTo>
                    <a:pt x="1872" y="1572"/>
                  </a:lnTo>
                  <a:lnTo>
                    <a:pt x="1872" y="1584"/>
                  </a:lnTo>
                  <a:lnTo>
                    <a:pt x="1878" y="1596"/>
                  </a:lnTo>
                  <a:lnTo>
                    <a:pt x="1878" y="1614"/>
                  </a:lnTo>
                  <a:lnTo>
                    <a:pt x="1914" y="1614"/>
                  </a:lnTo>
                  <a:lnTo>
                    <a:pt x="1920" y="1620"/>
                  </a:lnTo>
                  <a:lnTo>
                    <a:pt x="1926" y="1620"/>
                  </a:lnTo>
                  <a:lnTo>
                    <a:pt x="1926" y="1608"/>
                  </a:lnTo>
                  <a:lnTo>
                    <a:pt x="1932" y="1602"/>
                  </a:lnTo>
                  <a:lnTo>
                    <a:pt x="1932" y="1608"/>
                  </a:lnTo>
                  <a:lnTo>
                    <a:pt x="1956" y="1632"/>
                  </a:lnTo>
                  <a:lnTo>
                    <a:pt x="1962" y="1626"/>
                  </a:lnTo>
                  <a:lnTo>
                    <a:pt x="1968" y="1614"/>
                  </a:lnTo>
                  <a:lnTo>
                    <a:pt x="1968" y="1596"/>
                  </a:lnTo>
                  <a:lnTo>
                    <a:pt x="1962" y="1584"/>
                  </a:lnTo>
                  <a:lnTo>
                    <a:pt x="1980" y="1590"/>
                  </a:lnTo>
                  <a:lnTo>
                    <a:pt x="1992" y="1608"/>
                  </a:lnTo>
                  <a:lnTo>
                    <a:pt x="2004" y="1614"/>
                  </a:lnTo>
                  <a:lnTo>
                    <a:pt x="2004" y="1626"/>
                  </a:lnTo>
                  <a:lnTo>
                    <a:pt x="2010" y="1626"/>
                  </a:lnTo>
                  <a:lnTo>
                    <a:pt x="2016" y="1632"/>
                  </a:lnTo>
                  <a:lnTo>
                    <a:pt x="2028" y="1632"/>
                  </a:lnTo>
                  <a:lnTo>
                    <a:pt x="2034" y="1626"/>
                  </a:lnTo>
                  <a:lnTo>
                    <a:pt x="2034" y="1620"/>
                  </a:lnTo>
                  <a:lnTo>
                    <a:pt x="2028" y="1608"/>
                  </a:lnTo>
                  <a:lnTo>
                    <a:pt x="2022" y="1602"/>
                  </a:lnTo>
                  <a:lnTo>
                    <a:pt x="2010" y="1596"/>
                  </a:lnTo>
                  <a:lnTo>
                    <a:pt x="2004" y="1590"/>
                  </a:lnTo>
                  <a:lnTo>
                    <a:pt x="1998" y="1578"/>
                  </a:lnTo>
                  <a:lnTo>
                    <a:pt x="2010" y="1578"/>
                  </a:lnTo>
                  <a:lnTo>
                    <a:pt x="2022" y="1566"/>
                  </a:lnTo>
                  <a:lnTo>
                    <a:pt x="2022" y="1554"/>
                  </a:lnTo>
                  <a:lnTo>
                    <a:pt x="2016" y="1548"/>
                  </a:lnTo>
                  <a:lnTo>
                    <a:pt x="1968" y="1548"/>
                  </a:lnTo>
                  <a:lnTo>
                    <a:pt x="1962" y="1542"/>
                  </a:lnTo>
                  <a:lnTo>
                    <a:pt x="1962" y="1530"/>
                  </a:lnTo>
                  <a:lnTo>
                    <a:pt x="1968" y="1524"/>
                  </a:lnTo>
                  <a:lnTo>
                    <a:pt x="1986" y="1524"/>
                  </a:lnTo>
                  <a:lnTo>
                    <a:pt x="1998" y="1530"/>
                  </a:lnTo>
                  <a:lnTo>
                    <a:pt x="2004" y="1530"/>
                  </a:lnTo>
                  <a:lnTo>
                    <a:pt x="2016" y="1536"/>
                  </a:lnTo>
                  <a:lnTo>
                    <a:pt x="2028" y="1536"/>
                  </a:lnTo>
                  <a:lnTo>
                    <a:pt x="2064" y="1518"/>
                  </a:lnTo>
                  <a:lnTo>
                    <a:pt x="2070" y="1512"/>
                  </a:lnTo>
                  <a:lnTo>
                    <a:pt x="2082" y="1512"/>
                  </a:lnTo>
                  <a:lnTo>
                    <a:pt x="2082" y="1518"/>
                  </a:lnTo>
                  <a:lnTo>
                    <a:pt x="2106" y="1518"/>
                  </a:lnTo>
                  <a:lnTo>
                    <a:pt x="2118" y="1512"/>
                  </a:lnTo>
                  <a:lnTo>
                    <a:pt x="2124" y="1512"/>
                  </a:lnTo>
                  <a:lnTo>
                    <a:pt x="2130" y="1506"/>
                  </a:lnTo>
                  <a:lnTo>
                    <a:pt x="2130" y="1500"/>
                  </a:lnTo>
                  <a:lnTo>
                    <a:pt x="2136" y="1488"/>
                  </a:lnTo>
                  <a:lnTo>
                    <a:pt x="2136" y="1482"/>
                  </a:lnTo>
                  <a:lnTo>
                    <a:pt x="2142" y="1482"/>
                  </a:lnTo>
                  <a:lnTo>
                    <a:pt x="2142" y="1488"/>
                  </a:lnTo>
                  <a:lnTo>
                    <a:pt x="2148" y="1500"/>
                  </a:lnTo>
                  <a:lnTo>
                    <a:pt x="2148" y="1524"/>
                  </a:lnTo>
                  <a:lnTo>
                    <a:pt x="2154" y="1524"/>
                  </a:lnTo>
                  <a:lnTo>
                    <a:pt x="2160" y="1518"/>
                  </a:lnTo>
                  <a:lnTo>
                    <a:pt x="2172" y="1512"/>
                  </a:lnTo>
                  <a:lnTo>
                    <a:pt x="2190" y="1512"/>
                  </a:lnTo>
                  <a:lnTo>
                    <a:pt x="2202" y="1506"/>
                  </a:lnTo>
                  <a:lnTo>
                    <a:pt x="2214" y="1506"/>
                  </a:lnTo>
                  <a:lnTo>
                    <a:pt x="2226" y="1512"/>
                  </a:lnTo>
                  <a:lnTo>
                    <a:pt x="2232" y="1524"/>
                  </a:lnTo>
                  <a:lnTo>
                    <a:pt x="2232" y="1506"/>
                  </a:lnTo>
                  <a:lnTo>
                    <a:pt x="2244" y="1506"/>
                  </a:lnTo>
                  <a:lnTo>
                    <a:pt x="2256" y="1518"/>
                  </a:lnTo>
                  <a:lnTo>
                    <a:pt x="2256" y="1530"/>
                  </a:lnTo>
                  <a:lnTo>
                    <a:pt x="2286" y="1524"/>
                  </a:lnTo>
                  <a:lnTo>
                    <a:pt x="2280" y="1536"/>
                  </a:lnTo>
                  <a:lnTo>
                    <a:pt x="2280" y="1548"/>
                  </a:lnTo>
                  <a:lnTo>
                    <a:pt x="2286" y="1554"/>
                  </a:lnTo>
                  <a:lnTo>
                    <a:pt x="2286" y="1566"/>
                  </a:lnTo>
                  <a:lnTo>
                    <a:pt x="2298" y="1578"/>
                  </a:lnTo>
                  <a:lnTo>
                    <a:pt x="2310" y="1578"/>
                  </a:lnTo>
                  <a:lnTo>
                    <a:pt x="2328" y="1572"/>
                  </a:lnTo>
                  <a:lnTo>
                    <a:pt x="2352" y="1548"/>
                  </a:lnTo>
                  <a:lnTo>
                    <a:pt x="2370" y="1542"/>
                  </a:lnTo>
                  <a:lnTo>
                    <a:pt x="2382" y="1542"/>
                  </a:lnTo>
                  <a:lnTo>
                    <a:pt x="2394" y="1548"/>
                  </a:lnTo>
                  <a:lnTo>
                    <a:pt x="2400" y="1554"/>
                  </a:lnTo>
                  <a:lnTo>
                    <a:pt x="2418" y="1590"/>
                  </a:lnTo>
                  <a:lnTo>
                    <a:pt x="2418" y="1602"/>
                  </a:lnTo>
                  <a:lnTo>
                    <a:pt x="2424" y="1608"/>
                  </a:lnTo>
                  <a:lnTo>
                    <a:pt x="2436" y="1614"/>
                  </a:lnTo>
                  <a:lnTo>
                    <a:pt x="2466" y="1614"/>
                  </a:lnTo>
                  <a:lnTo>
                    <a:pt x="2460" y="1656"/>
                  </a:lnTo>
                  <a:lnTo>
                    <a:pt x="2460" y="1662"/>
                  </a:lnTo>
                  <a:lnTo>
                    <a:pt x="2454" y="1668"/>
                  </a:lnTo>
                  <a:lnTo>
                    <a:pt x="2436" y="1704"/>
                  </a:lnTo>
                  <a:lnTo>
                    <a:pt x="2436" y="1710"/>
                  </a:lnTo>
                  <a:lnTo>
                    <a:pt x="2448" y="1722"/>
                  </a:lnTo>
                  <a:lnTo>
                    <a:pt x="2454" y="1722"/>
                  </a:lnTo>
                  <a:lnTo>
                    <a:pt x="2460" y="1734"/>
                  </a:lnTo>
                  <a:lnTo>
                    <a:pt x="2436" y="1758"/>
                  </a:lnTo>
                  <a:lnTo>
                    <a:pt x="2454" y="1806"/>
                  </a:lnTo>
                  <a:lnTo>
                    <a:pt x="2472" y="1788"/>
                  </a:lnTo>
                  <a:lnTo>
                    <a:pt x="2478" y="1788"/>
                  </a:lnTo>
                  <a:lnTo>
                    <a:pt x="2478" y="1794"/>
                  </a:lnTo>
                  <a:lnTo>
                    <a:pt x="2472" y="1800"/>
                  </a:lnTo>
                  <a:lnTo>
                    <a:pt x="2466" y="1812"/>
                  </a:lnTo>
                  <a:lnTo>
                    <a:pt x="2466" y="1818"/>
                  </a:lnTo>
                  <a:lnTo>
                    <a:pt x="2460" y="1830"/>
                  </a:lnTo>
                  <a:lnTo>
                    <a:pt x="2478" y="1830"/>
                  </a:lnTo>
                  <a:lnTo>
                    <a:pt x="2478" y="1878"/>
                  </a:lnTo>
                  <a:lnTo>
                    <a:pt x="2496" y="1878"/>
                  </a:lnTo>
                  <a:lnTo>
                    <a:pt x="2502" y="1884"/>
                  </a:lnTo>
                  <a:lnTo>
                    <a:pt x="2508" y="1884"/>
                  </a:lnTo>
                  <a:lnTo>
                    <a:pt x="2508" y="1896"/>
                  </a:lnTo>
                  <a:lnTo>
                    <a:pt x="2502" y="1908"/>
                  </a:lnTo>
                  <a:lnTo>
                    <a:pt x="2502" y="1920"/>
                  </a:lnTo>
                  <a:lnTo>
                    <a:pt x="2526" y="1944"/>
                  </a:lnTo>
                  <a:lnTo>
                    <a:pt x="2532" y="1944"/>
                  </a:lnTo>
                  <a:lnTo>
                    <a:pt x="2538" y="1938"/>
                  </a:lnTo>
                  <a:lnTo>
                    <a:pt x="2550" y="1932"/>
                  </a:lnTo>
                  <a:lnTo>
                    <a:pt x="2556" y="1932"/>
                  </a:lnTo>
                  <a:lnTo>
                    <a:pt x="2562" y="1926"/>
                  </a:lnTo>
                  <a:lnTo>
                    <a:pt x="2568" y="1914"/>
                  </a:lnTo>
                  <a:lnTo>
                    <a:pt x="2568" y="1896"/>
                  </a:lnTo>
                  <a:lnTo>
                    <a:pt x="2586" y="1896"/>
                  </a:lnTo>
                  <a:lnTo>
                    <a:pt x="2586" y="1872"/>
                  </a:lnTo>
                  <a:lnTo>
                    <a:pt x="2604" y="1836"/>
                  </a:lnTo>
                  <a:lnTo>
                    <a:pt x="2604" y="1818"/>
                  </a:lnTo>
                  <a:lnTo>
                    <a:pt x="2610" y="1806"/>
                  </a:lnTo>
                  <a:lnTo>
                    <a:pt x="2610" y="1794"/>
                  </a:lnTo>
                  <a:lnTo>
                    <a:pt x="2604" y="1782"/>
                  </a:lnTo>
                  <a:lnTo>
                    <a:pt x="2604" y="1770"/>
                  </a:lnTo>
                  <a:lnTo>
                    <a:pt x="2598" y="1752"/>
                  </a:lnTo>
                  <a:lnTo>
                    <a:pt x="2592" y="1740"/>
                  </a:lnTo>
                  <a:lnTo>
                    <a:pt x="2586" y="1722"/>
                  </a:lnTo>
                  <a:lnTo>
                    <a:pt x="2586" y="1704"/>
                  </a:lnTo>
                  <a:lnTo>
                    <a:pt x="2592" y="1686"/>
                  </a:lnTo>
                  <a:lnTo>
                    <a:pt x="2598" y="1674"/>
                  </a:lnTo>
                  <a:lnTo>
                    <a:pt x="2598" y="1644"/>
                  </a:lnTo>
                  <a:lnTo>
                    <a:pt x="2592" y="1626"/>
                  </a:lnTo>
                  <a:lnTo>
                    <a:pt x="2586" y="1614"/>
                  </a:lnTo>
                  <a:lnTo>
                    <a:pt x="2580" y="1596"/>
                  </a:lnTo>
                  <a:lnTo>
                    <a:pt x="2574" y="1584"/>
                  </a:lnTo>
                  <a:lnTo>
                    <a:pt x="2574" y="1518"/>
                  </a:lnTo>
                  <a:lnTo>
                    <a:pt x="2580" y="1488"/>
                  </a:lnTo>
                  <a:lnTo>
                    <a:pt x="2586" y="1470"/>
                  </a:lnTo>
                  <a:lnTo>
                    <a:pt x="2598" y="1452"/>
                  </a:lnTo>
                  <a:lnTo>
                    <a:pt x="2604" y="1440"/>
                  </a:lnTo>
                  <a:lnTo>
                    <a:pt x="2610" y="1422"/>
                  </a:lnTo>
                  <a:lnTo>
                    <a:pt x="2616" y="1416"/>
                  </a:lnTo>
                  <a:lnTo>
                    <a:pt x="2616" y="1410"/>
                  </a:lnTo>
                  <a:lnTo>
                    <a:pt x="2628" y="1398"/>
                  </a:lnTo>
                  <a:lnTo>
                    <a:pt x="2652" y="1380"/>
                  </a:lnTo>
                  <a:lnTo>
                    <a:pt x="2658" y="1356"/>
                  </a:lnTo>
                  <a:lnTo>
                    <a:pt x="2670" y="1368"/>
                  </a:lnTo>
                  <a:lnTo>
                    <a:pt x="2676" y="1344"/>
                  </a:lnTo>
                  <a:lnTo>
                    <a:pt x="2730" y="1344"/>
                  </a:lnTo>
                  <a:lnTo>
                    <a:pt x="2730" y="1314"/>
                  </a:lnTo>
                  <a:lnTo>
                    <a:pt x="2748" y="1320"/>
                  </a:lnTo>
                  <a:lnTo>
                    <a:pt x="2754" y="1308"/>
                  </a:lnTo>
                  <a:lnTo>
                    <a:pt x="2772" y="1308"/>
                  </a:lnTo>
                  <a:lnTo>
                    <a:pt x="2796" y="1278"/>
                  </a:lnTo>
                  <a:lnTo>
                    <a:pt x="2796" y="1272"/>
                  </a:lnTo>
                  <a:lnTo>
                    <a:pt x="2802" y="1266"/>
                  </a:lnTo>
                  <a:lnTo>
                    <a:pt x="2814" y="1242"/>
                  </a:lnTo>
                  <a:lnTo>
                    <a:pt x="2832" y="1236"/>
                  </a:lnTo>
                  <a:lnTo>
                    <a:pt x="2862" y="1236"/>
                  </a:lnTo>
                  <a:lnTo>
                    <a:pt x="2874" y="1242"/>
                  </a:lnTo>
                  <a:lnTo>
                    <a:pt x="2886" y="1242"/>
                  </a:lnTo>
                  <a:lnTo>
                    <a:pt x="2892" y="1236"/>
                  </a:lnTo>
                  <a:lnTo>
                    <a:pt x="2904" y="1212"/>
                  </a:lnTo>
                  <a:lnTo>
                    <a:pt x="2910" y="1206"/>
                  </a:lnTo>
                  <a:lnTo>
                    <a:pt x="2916" y="1194"/>
                  </a:lnTo>
                  <a:lnTo>
                    <a:pt x="2928" y="1200"/>
                  </a:lnTo>
                  <a:lnTo>
                    <a:pt x="2934" y="1176"/>
                  </a:lnTo>
                  <a:lnTo>
                    <a:pt x="3018" y="1170"/>
                  </a:lnTo>
                  <a:lnTo>
                    <a:pt x="3024" y="1146"/>
                  </a:lnTo>
                  <a:lnTo>
                    <a:pt x="2982" y="1152"/>
                  </a:lnTo>
                  <a:lnTo>
                    <a:pt x="2988" y="1146"/>
                  </a:lnTo>
                  <a:lnTo>
                    <a:pt x="3000" y="1140"/>
                  </a:lnTo>
                  <a:lnTo>
                    <a:pt x="3006" y="1140"/>
                  </a:lnTo>
                  <a:lnTo>
                    <a:pt x="3006" y="1134"/>
                  </a:lnTo>
                  <a:lnTo>
                    <a:pt x="3000" y="1128"/>
                  </a:lnTo>
                  <a:lnTo>
                    <a:pt x="2994" y="1116"/>
                  </a:lnTo>
                  <a:lnTo>
                    <a:pt x="2988" y="1110"/>
                  </a:lnTo>
                  <a:lnTo>
                    <a:pt x="3024" y="1104"/>
                  </a:lnTo>
                  <a:lnTo>
                    <a:pt x="3048" y="1116"/>
                  </a:lnTo>
                  <a:lnTo>
                    <a:pt x="3078" y="1080"/>
                  </a:lnTo>
                  <a:lnTo>
                    <a:pt x="3024" y="1074"/>
                  </a:lnTo>
                  <a:lnTo>
                    <a:pt x="3024" y="1050"/>
                  </a:lnTo>
                  <a:lnTo>
                    <a:pt x="3036" y="1062"/>
                  </a:lnTo>
                  <a:lnTo>
                    <a:pt x="3078" y="1050"/>
                  </a:lnTo>
                  <a:lnTo>
                    <a:pt x="3084" y="990"/>
                  </a:lnTo>
                  <a:lnTo>
                    <a:pt x="3054" y="1002"/>
                  </a:lnTo>
                  <a:lnTo>
                    <a:pt x="3048" y="972"/>
                  </a:lnTo>
                  <a:lnTo>
                    <a:pt x="3024" y="960"/>
                  </a:lnTo>
                  <a:lnTo>
                    <a:pt x="3072" y="978"/>
                  </a:lnTo>
                  <a:lnTo>
                    <a:pt x="3078" y="972"/>
                  </a:lnTo>
                  <a:lnTo>
                    <a:pt x="3060" y="954"/>
                  </a:lnTo>
                  <a:lnTo>
                    <a:pt x="3090" y="954"/>
                  </a:lnTo>
                  <a:lnTo>
                    <a:pt x="3084" y="948"/>
                  </a:lnTo>
                  <a:lnTo>
                    <a:pt x="3078" y="936"/>
                  </a:lnTo>
                  <a:lnTo>
                    <a:pt x="3060" y="918"/>
                  </a:lnTo>
                  <a:lnTo>
                    <a:pt x="3054" y="906"/>
                  </a:lnTo>
                  <a:lnTo>
                    <a:pt x="3054" y="894"/>
                  </a:lnTo>
                  <a:lnTo>
                    <a:pt x="3060" y="888"/>
                  </a:lnTo>
                  <a:lnTo>
                    <a:pt x="3042" y="870"/>
                  </a:lnTo>
                  <a:lnTo>
                    <a:pt x="3042" y="864"/>
                  </a:lnTo>
                  <a:lnTo>
                    <a:pt x="3048" y="864"/>
                  </a:lnTo>
                  <a:lnTo>
                    <a:pt x="3066" y="846"/>
                  </a:lnTo>
                  <a:lnTo>
                    <a:pt x="3072" y="846"/>
                  </a:lnTo>
                  <a:lnTo>
                    <a:pt x="3066" y="870"/>
                  </a:lnTo>
                  <a:lnTo>
                    <a:pt x="3096" y="894"/>
                  </a:lnTo>
                  <a:lnTo>
                    <a:pt x="3096" y="888"/>
                  </a:lnTo>
                  <a:lnTo>
                    <a:pt x="3102" y="882"/>
                  </a:lnTo>
                  <a:lnTo>
                    <a:pt x="3102" y="864"/>
                  </a:lnTo>
                  <a:lnTo>
                    <a:pt x="3108" y="852"/>
                  </a:lnTo>
                  <a:lnTo>
                    <a:pt x="3108" y="834"/>
                  </a:lnTo>
                  <a:lnTo>
                    <a:pt x="3114" y="822"/>
                  </a:lnTo>
                  <a:lnTo>
                    <a:pt x="3144" y="792"/>
                  </a:lnTo>
                  <a:lnTo>
                    <a:pt x="3156" y="786"/>
                  </a:lnTo>
                  <a:lnTo>
                    <a:pt x="3162" y="786"/>
                  </a:lnTo>
                  <a:lnTo>
                    <a:pt x="3162" y="792"/>
                  </a:lnTo>
                  <a:lnTo>
                    <a:pt x="3150" y="816"/>
                  </a:lnTo>
                  <a:lnTo>
                    <a:pt x="3132" y="834"/>
                  </a:lnTo>
                  <a:lnTo>
                    <a:pt x="3126" y="846"/>
                  </a:lnTo>
                  <a:lnTo>
                    <a:pt x="3120" y="882"/>
                  </a:lnTo>
                  <a:lnTo>
                    <a:pt x="3138" y="882"/>
                  </a:lnTo>
                  <a:lnTo>
                    <a:pt x="3138" y="894"/>
                  </a:lnTo>
                  <a:lnTo>
                    <a:pt x="3132" y="906"/>
                  </a:lnTo>
                  <a:lnTo>
                    <a:pt x="3132" y="918"/>
                  </a:lnTo>
                  <a:lnTo>
                    <a:pt x="3114" y="936"/>
                  </a:lnTo>
                  <a:lnTo>
                    <a:pt x="3102" y="960"/>
                  </a:lnTo>
                  <a:lnTo>
                    <a:pt x="3102" y="978"/>
                  </a:lnTo>
                  <a:lnTo>
                    <a:pt x="3126" y="954"/>
                  </a:lnTo>
                  <a:lnTo>
                    <a:pt x="3132" y="942"/>
                  </a:lnTo>
                  <a:lnTo>
                    <a:pt x="3144" y="930"/>
                  </a:lnTo>
                  <a:lnTo>
                    <a:pt x="3168" y="918"/>
                  </a:lnTo>
                  <a:lnTo>
                    <a:pt x="3180" y="906"/>
                  </a:lnTo>
                  <a:lnTo>
                    <a:pt x="3192" y="882"/>
                  </a:lnTo>
                  <a:lnTo>
                    <a:pt x="3192" y="798"/>
                  </a:lnTo>
                  <a:lnTo>
                    <a:pt x="3198" y="780"/>
                  </a:lnTo>
                  <a:lnTo>
                    <a:pt x="3198" y="768"/>
                  </a:lnTo>
                  <a:lnTo>
                    <a:pt x="3204" y="756"/>
                  </a:lnTo>
                  <a:lnTo>
                    <a:pt x="3210" y="756"/>
                  </a:lnTo>
                  <a:lnTo>
                    <a:pt x="3210" y="768"/>
                  </a:lnTo>
                  <a:lnTo>
                    <a:pt x="3204" y="780"/>
                  </a:lnTo>
                  <a:lnTo>
                    <a:pt x="3204" y="798"/>
                  </a:lnTo>
                  <a:lnTo>
                    <a:pt x="3210" y="798"/>
                  </a:lnTo>
                  <a:lnTo>
                    <a:pt x="3216" y="804"/>
                  </a:lnTo>
                  <a:lnTo>
                    <a:pt x="3216" y="840"/>
                  </a:lnTo>
                  <a:lnTo>
                    <a:pt x="3234" y="822"/>
                  </a:lnTo>
                  <a:lnTo>
                    <a:pt x="3240" y="810"/>
                  </a:lnTo>
                  <a:lnTo>
                    <a:pt x="3288" y="762"/>
                  </a:lnTo>
                  <a:lnTo>
                    <a:pt x="3300" y="756"/>
                  </a:lnTo>
                  <a:lnTo>
                    <a:pt x="3324" y="732"/>
                  </a:lnTo>
                  <a:lnTo>
                    <a:pt x="3324" y="726"/>
                  </a:lnTo>
                  <a:lnTo>
                    <a:pt x="3318" y="720"/>
                  </a:lnTo>
                  <a:lnTo>
                    <a:pt x="3312" y="720"/>
                  </a:lnTo>
                  <a:lnTo>
                    <a:pt x="3306" y="714"/>
                  </a:lnTo>
                  <a:lnTo>
                    <a:pt x="3306" y="702"/>
                  </a:lnTo>
                  <a:lnTo>
                    <a:pt x="3312" y="696"/>
                  </a:lnTo>
                  <a:lnTo>
                    <a:pt x="3324" y="696"/>
                  </a:lnTo>
                  <a:lnTo>
                    <a:pt x="3330" y="702"/>
                  </a:lnTo>
                  <a:lnTo>
                    <a:pt x="3360" y="702"/>
                  </a:lnTo>
                  <a:lnTo>
                    <a:pt x="3390" y="696"/>
                  </a:lnTo>
                  <a:lnTo>
                    <a:pt x="3450" y="672"/>
                  </a:lnTo>
                  <a:lnTo>
                    <a:pt x="3462" y="666"/>
                  </a:lnTo>
                  <a:lnTo>
                    <a:pt x="3444" y="660"/>
                  </a:lnTo>
                  <a:lnTo>
                    <a:pt x="3438" y="660"/>
                  </a:lnTo>
                  <a:lnTo>
                    <a:pt x="3432" y="666"/>
                  </a:lnTo>
                  <a:lnTo>
                    <a:pt x="3414" y="672"/>
                  </a:lnTo>
                  <a:lnTo>
                    <a:pt x="3402" y="672"/>
                  </a:lnTo>
                  <a:lnTo>
                    <a:pt x="3390" y="678"/>
                  </a:lnTo>
                  <a:lnTo>
                    <a:pt x="3372" y="678"/>
                  </a:lnTo>
                  <a:lnTo>
                    <a:pt x="3360" y="684"/>
                  </a:lnTo>
                  <a:lnTo>
                    <a:pt x="3348" y="684"/>
                  </a:lnTo>
                  <a:lnTo>
                    <a:pt x="3342" y="678"/>
                  </a:lnTo>
                  <a:lnTo>
                    <a:pt x="3342" y="672"/>
                  </a:lnTo>
                  <a:lnTo>
                    <a:pt x="3348" y="666"/>
                  </a:lnTo>
                  <a:lnTo>
                    <a:pt x="3354" y="654"/>
                  </a:lnTo>
                  <a:lnTo>
                    <a:pt x="3366" y="654"/>
                  </a:lnTo>
                  <a:lnTo>
                    <a:pt x="3378" y="648"/>
                  </a:lnTo>
                  <a:lnTo>
                    <a:pt x="3402" y="648"/>
                  </a:lnTo>
                  <a:lnTo>
                    <a:pt x="3492" y="642"/>
                  </a:lnTo>
                  <a:lnTo>
                    <a:pt x="3534" y="606"/>
                  </a:lnTo>
                  <a:lnTo>
                    <a:pt x="3546" y="618"/>
                  </a:lnTo>
                  <a:lnTo>
                    <a:pt x="3570" y="606"/>
                  </a:lnTo>
                  <a:lnTo>
                    <a:pt x="3570" y="642"/>
                  </a:lnTo>
                  <a:lnTo>
                    <a:pt x="3600" y="618"/>
                  </a:lnTo>
                  <a:lnTo>
                    <a:pt x="3624" y="612"/>
                  </a:lnTo>
                  <a:lnTo>
                    <a:pt x="3630" y="582"/>
                  </a:lnTo>
                  <a:lnTo>
                    <a:pt x="3618" y="570"/>
                  </a:lnTo>
                  <a:lnTo>
                    <a:pt x="3612" y="600"/>
                  </a:lnTo>
                  <a:lnTo>
                    <a:pt x="3588" y="600"/>
                  </a:lnTo>
                  <a:lnTo>
                    <a:pt x="3588" y="576"/>
                  </a:lnTo>
                  <a:lnTo>
                    <a:pt x="3570" y="552"/>
                  </a:lnTo>
                  <a:lnTo>
                    <a:pt x="3594" y="540"/>
                  </a:lnTo>
                  <a:lnTo>
                    <a:pt x="3600" y="504"/>
                  </a:lnTo>
                  <a:lnTo>
                    <a:pt x="3612" y="498"/>
                  </a:lnTo>
                  <a:lnTo>
                    <a:pt x="3618" y="486"/>
                  </a:lnTo>
                  <a:lnTo>
                    <a:pt x="3630" y="480"/>
                  </a:lnTo>
                  <a:lnTo>
                    <a:pt x="3636" y="474"/>
                  </a:lnTo>
                  <a:lnTo>
                    <a:pt x="3648" y="468"/>
                  </a:lnTo>
                  <a:lnTo>
                    <a:pt x="3654" y="456"/>
                  </a:lnTo>
                  <a:lnTo>
                    <a:pt x="3654" y="450"/>
                  </a:lnTo>
                  <a:lnTo>
                    <a:pt x="3660" y="444"/>
                  </a:lnTo>
                  <a:lnTo>
                    <a:pt x="3660" y="438"/>
                  </a:lnTo>
                  <a:lnTo>
                    <a:pt x="3690" y="444"/>
                  </a:lnTo>
                  <a:lnTo>
                    <a:pt x="3702" y="426"/>
                  </a:lnTo>
                  <a:lnTo>
                    <a:pt x="3708" y="432"/>
                  </a:lnTo>
                  <a:lnTo>
                    <a:pt x="3720" y="432"/>
                  </a:lnTo>
                  <a:lnTo>
                    <a:pt x="3726" y="426"/>
                  </a:lnTo>
                  <a:lnTo>
                    <a:pt x="3738" y="420"/>
                  </a:lnTo>
                  <a:lnTo>
                    <a:pt x="3744" y="408"/>
                  </a:lnTo>
                  <a:lnTo>
                    <a:pt x="3756" y="402"/>
                  </a:lnTo>
                  <a:lnTo>
                    <a:pt x="3774" y="384"/>
                  </a:lnTo>
                  <a:lnTo>
                    <a:pt x="3774" y="414"/>
                  </a:lnTo>
                  <a:lnTo>
                    <a:pt x="3786" y="408"/>
                  </a:lnTo>
                  <a:lnTo>
                    <a:pt x="3792" y="402"/>
                  </a:lnTo>
                  <a:lnTo>
                    <a:pt x="3828" y="384"/>
                  </a:lnTo>
                  <a:lnTo>
                    <a:pt x="3834" y="378"/>
                  </a:lnTo>
                  <a:lnTo>
                    <a:pt x="3846" y="378"/>
                  </a:lnTo>
                  <a:lnTo>
                    <a:pt x="3858" y="372"/>
                  </a:lnTo>
                  <a:lnTo>
                    <a:pt x="3876" y="372"/>
                  </a:lnTo>
                  <a:lnTo>
                    <a:pt x="3888" y="366"/>
                  </a:lnTo>
                  <a:lnTo>
                    <a:pt x="3900" y="366"/>
                  </a:lnTo>
                  <a:lnTo>
                    <a:pt x="3900" y="330"/>
                  </a:lnTo>
                  <a:lnTo>
                    <a:pt x="3876" y="330"/>
                  </a:lnTo>
                  <a:lnTo>
                    <a:pt x="3876" y="324"/>
                  </a:lnTo>
                  <a:lnTo>
                    <a:pt x="3882" y="312"/>
                  </a:lnTo>
                  <a:lnTo>
                    <a:pt x="3894" y="300"/>
                  </a:lnTo>
                  <a:lnTo>
                    <a:pt x="3888" y="294"/>
                  </a:lnTo>
                  <a:lnTo>
                    <a:pt x="3882" y="294"/>
                  </a:lnTo>
                  <a:lnTo>
                    <a:pt x="3876" y="288"/>
                  </a:lnTo>
                  <a:lnTo>
                    <a:pt x="3876" y="276"/>
                  </a:lnTo>
                  <a:lnTo>
                    <a:pt x="3888" y="252"/>
                  </a:lnTo>
                  <a:lnTo>
                    <a:pt x="3900" y="222"/>
                  </a:lnTo>
                  <a:lnTo>
                    <a:pt x="3912" y="198"/>
                  </a:lnTo>
                  <a:lnTo>
                    <a:pt x="3918" y="174"/>
                  </a:lnTo>
                  <a:lnTo>
                    <a:pt x="3918" y="168"/>
                  </a:lnTo>
                  <a:lnTo>
                    <a:pt x="3912" y="162"/>
                  </a:lnTo>
                  <a:lnTo>
                    <a:pt x="3876" y="162"/>
                  </a:lnTo>
                  <a:lnTo>
                    <a:pt x="3864" y="168"/>
                  </a:lnTo>
                  <a:lnTo>
                    <a:pt x="3858" y="168"/>
                  </a:lnTo>
                  <a:close/>
                  <a:moveTo>
                    <a:pt x="2718" y="366"/>
                  </a:moveTo>
                  <a:lnTo>
                    <a:pt x="2712" y="366"/>
                  </a:lnTo>
                  <a:lnTo>
                    <a:pt x="2712" y="354"/>
                  </a:lnTo>
                  <a:lnTo>
                    <a:pt x="2718" y="348"/>
                  </a:lnTo>
                  <a:lnTo>
                    <a:pt x="2718" y="336"/>
                  </a:lnTo>
                  <a:lnTo>
                    <a:pt x="2712" y="336"/>
                  </a:lnTo>
                  <a:lnTo>
                    <a:pt x="2700" y="342"/>
                  </a:lnTo>
                  <a:lnTo>
                    <a:pt x="2694" y="348"/>
                  </a:lnTo>
                  <a:lnTo>
                    <a:pt x="2682" y="354"/>
                  </a:lnTo>
                  <a:lnTo>
                    <a:pt x="2676" y="372"/>
                  </a:lnTo>
                  <a:lnTo>
                    <a:pt x="2664" y="366"/>
                  </a:lnTo>
                  <a:lnTo>
                    <a:pt x="2664" y="378"/>
                  </a:lnTo>
                  <a:lnTo>
                    <a:pt x="2652" y="402"/>
                  </a:lnTo>
                  <a:lnTo>
                    <a:pt x="2628" y="414"/>
                  </a:lnTo>
                  <a:lnTo>
                    <a:pt x="2628" y="426"/>
                  </a:lnTo>
                  <a:lnTo>
                    <a:pt x="2634" y="432"/>
                  </a:lnTo>
                  <a:lnTo>
                    <a:pt x="2628" y="432"/>
                  </a:lnTo>
                  <a:lnTo>
                    <a:pt x="2598" y="462"/>
                  </a:lnTo>
                  <a:lnTo>
                    <a:pt x="2598" y="468"/>
                  </a:lnTo>
                  <a:lnTo>
                    <a:pt x="2604" y="474"/>
                  </a:lnTo>
                  <a:lnTo>
                    <a:pt x="2610" y="474"/>
                  </a:lnTo>
                  <a:lnTo>
                    <a:pt x="2616" y="480"/>
                  </a:lnTo>
                  <a:lnTo>
                    <a:pt x="2616" y="492"/>
                  </a:lnTo>
                  <a:lnTo>
                    <a:pt x="2610" y="498"/>
                  </a:lnTo>
                  <a:lnTo>
                    <a:pt x="2604" y="498"/>
                  </a:lnTo>
                  <a:lnTo>
                    <a:pt x="2604" y="510"/>
                  </a:lnTo>
                  <a:lnTo>
                    <a:pt x="2592" y="534"/>
                  </a:lnTo>
                  <a:lnTo>
                    <a:pt x="2580" y="552"/>
                  </a:lnTo>
                  <a:lnTo>
                    <a:pt x="2550" y="582"/>
                  </a:lnTo>
                  <a:lnTo>
                    <a:pt x="2478" y="618"/>
                  </a:lnTo>
                  <a:lnTo>
                    <a:pt x="2484" y="588"/>
                  </a:lnTo>
                  <a:lnTo>
                    <a:pt x="2478" y="582"/>
                  </a:lnTo>
                  <a:lnTo>
                    <a:pt x="2478" y="576"/>
                  </a:lnTo>
                  <a:lnTo>
                    <a:pt x="2472" y="570"/>
                  </a:lnTo>
                  <a:lnTo>
                    <a:pt x="2472" y="564"/>
                  </a:lnTo>
                  <a:lnTo>
                    <a:pt x="2478" y="552"/>
                  </a:lnTo>
                  <a:lnTo>
                    <a:pt x="2496" y="534"/>
                  </a:lnTo>
                  <a:lnTo>
                    <a:pt x="2502" y="522"/>
                  </a:lnTo>
                  <a:lnTo>
                    <a:pt x="2502" y="516"/>
                  </a:lnTo>
                  <a:lnTo>
                    <a:pt x="2496" y="510"/>
                  </a:lnTo>
                  <a:lnTo>
                    <a:pt x="2496" y="492"/>
                  </a:lnTo>
                  <a:lnTo>
                    <a:pt x="2502" y="480"/>
                  </a:lnTo>
                  <a:lnTo>
                    <a:pt x="2508" y="474"/>
                  </a:lnTo>
                  <a:lnTo>
                    <a:pt x="2514" y="462"/>
                  </a:lnTo>
                  <a:lnTo>
                    <a:pt x="2526" y="456"/>
                  </a:lnTo>
                  <a:lnTo>
                    <a:pt x="2532" y="450"/>
                  </a:lnTo>
                  <a:lnTo>
                    <a:pt x="2532" y="432"/>
                  </a:lnTo>
                  <a:lnTo>
                    <a:pt x="2538" y="432"/>
                  </a:lnTo>
                  <a:lnTo>
                    <a:pt x="2622" y="348"/>
                  </a:lnTo>
                  <a:lnTo>
                    <a:pt x="2592" y="354"/>
                  </a:lnTo>
                  <a:lnTo>
                    <a:pt x="2580" y="360"/>
                  </a:lnTo>
                  <a:lnTo>
                    <a:pt x="2574" y="366"/>
                  </a:lnTo>
                  <a:lnTo>
                    <a:pt x="2562" y="372"/>
                  </a:lnTo>
                  <a:lnTo>
                    <a:pt x="2556" y="378"/>
                  </a:lnTo>
                  <a:lnTo>
                    <a:pt x="2550" y="378"/>
                  </a:lnTo>
                  <a:lnTo>
                    <a:pt x="2550" y="372"/>
                  </a:lnTo>
                  <a:lnTo>
                    <a:pt x="2556" y="366"/>
                  </a:lnTo>
                  <a:lnTo>
                    <a:pt x="2568" y="360"/>
                  </a:lnTo>
                  <a:lnTo>
                    <a:pt x="2592" y="336"/>
                  </a:lnTo>
                  <a:lnTo>
                    <a:pt x="2604" y="330"/>
                  </a:lnTo>
                  <a:lnTo>
                    <a:pt x="2658" y="276"/>
                  </a:lnTo>
                  <a:lnTo>
                    <a:pt x="2670" y="288"/>
                  </a:lnTo>
                  <a:lnTo>
                    <a:pt x="2682" y="276"/>
                  </a:lnTo>
                  <a:lnTo>
                    <a:pt x="2682" y="288"/>
                  </a:lnTo>
                  <a:lnTo>
                    <a:pt x="2694" y="288"/>
                  </a:lnTo>
                  <a:lnTo>
                    <a:pt x="2700" y="282"/>
                  </a:lnTo>
                  <a:lnTo>
                    <a:pt x="2700" y="270"/>
                  </a:lnTo>
                  <a:lnTo>
                    <a:pt x="2724" y="276"/>
                  </a:lnTo>
                  <a:lnTo>
                    <a:pt x="2736" y="270"/>
                  </a:lnTo>
                  <a:lnTo>
                    <a:pt x="2742" y="270"/>
                  </a:lnTo>
                  <a:lnTo>
                    <a:pt x="2754" y="264"/>
                  </a:lnTo>
                  <a:lnTo>
                    <a:pt x="2772" y="264"/>
                  </a:lnTo>
                  <a:lnTo>
                    <a:pt x="2784" y="270"/>
                  </a:lnTo>
                  <a:lnTo>
                    <a:pt x="2790" y="276"/>
                  </a:lnTo>
                  <a:lnTo>
                    <a:pt x="2796" y="288"/>
                  </a:lnTo>
                  <a:lnTo>
                    <a:pt x="2772" y="294"/>
                  </a:lnTo>
                  <a:lnTo>
                    <a:pt x="2772" y="318"/>
                  </a:lnTo>
                  <a:lnTo>
                    <a:pt x="2742" y="318"/>
                  </a:lnTo>
                  <a:lnTo>
                    <a:pt x="2736" y="324"/>
                  </a:lnTo>
                  <a:lnTo>
                    <a:pt x="2736" y="360"/>
                  </a:lnTo>
                  <a:lnTo>
                    <a:pt x="2730" y="366"/>
                  </a:lnTo>
                  <a:lnTo>
                    <a:pt x="2718" y="366"/>
                  </a:lnTo>
                  <a:close/>
                </a:path>
              </a:pathLst>
            </a:custGeom>
            <a:solidFill>
              <a:srgbClr val="E2583D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33" name="Uruguay" descr="© INSCALE GmbH, 05.05.2010&#10;http://www.presentationload.com/"/>
            <p:cNvSpPr>
              <a:spLocks/>
            </p:cNvSpPr>
            <p:nvPr/>
          </p:nvSpPr>
          <p:spPr bwMode="gray">
            <a:xfrm>
              <a:off x="3192298" y="5058265"/>
              <a:ext cx="119025" cy="120029"/>
            </a:xfrm>
            <a:custGeom>
              <a:avLst/>
              <a:gdLst>
                <a:gd name="T0" fmla="*/ 2147483647 w 366"/>
                <a:gd name="T1" fmla="*/ 2147483647 h 384"/>
                <a:gd name="T2" fmla="*/ 2147483647 w 366"/>
                <a:gd name="T3" fmla="*/ 2147483647 h 384"/>
                <a:gd name="T4" fmla="*/ 2147483647 w 366"/>
                <a:gd name="T5" fmla="*/ 2147483647 h 384"/>
                <a:gd name="T6" fmla="*/ 2147483647 w 366"/>
                <a:gd name="T7" fmla="*/ 2147483647 h 384"/>
                <a:gd name="T8" fmla="*/ 2147483647 w 366"/>
                <a:gd name="T9" fmla="*/ 2147483647 h 384"/>
                <a:gd name="T10" fmla="*/ 2147483647 w 366"/>
                <a:gd name="T11" fmla="*/ 2147483647 h 384"/>
                <a:gd name="T12" fmla="*/ 2147483647 w 366"/>
                <a:gd name="T13" fmla="*/ 2147483647 h 384"/>
                <a:gd name="T14" fmla="*/ 2147483647 w 366"/>
                <a:gd name="T15" fmla="*/ 2147483647 h 384"/>
                <a:gd name="T16" fmla="*/ 2147483647 w 366"/>
                <a:gd name="T17" fmla="*/ 2147483647 h 384"/>
                <a:gd name="T18" fmla="*/ 2147483647 w 366"/>
                <a:gd name="T19" fmla="*/ 2147483647 h 384"/>
                <a:gd name="T20" fmla="*/ 2147483647 w 366"/>
                <a:gd name="T21" fmla="*/ 2147483647 h 384"/>
                <a:gd name="T22" fmla="*/ 2147483647 w 366"/>
                <a:gd name="T23" fmla="*/ 2147483647 h 384"/>
                <a:gd name="T24" fmla="*/ 2147483647 w 366"/>
                <a:gd name="T25" fmla="*/ 2147483647 h 384"/>
                <a:gd name="T26" fmla="*/ 2147483647 w 366"/>
                <a:gd name="T27" fmla="*/ 2147483647 h 384"/>
                <a:gd name="T28" fmla="*/ 2147483647 w 366"/>
                <a:gd name="T29" fmla="*/ 2147483647 h 384"/>
                <a:gd name="T30" fmla="*/ 2147483647 w 366"/>
                <a:gd name="T31" fmla="*/ 2147483647 h 384"/>
                <a:gd name="T32" fmla="*/ 2147483647 w 366"/>
                <a:gd name="T33" fmla="*/ 2147483647 h 384"/>
                <a:gd name="T34" fmla="*/ 2147483647 w 366"/>
                <a:gd name="T35" fmla="*/ 2147483647 h 384"/>
                <a:gd name="T36" fmla="*/ 2147483647 w 366"/>
                <a:gd name="T37" fmla="*/ 2147483647 h 384"/>
                <a:gd name="T38" fmla="*/ 2147483647 w 366"/>
                <a:gd name="T39" fmla="*/ 2147483647 h 384"/>
                <a:gd name="T40" fmla="*/ 2147483647 w 366"/>
                <a:gd name="T41" fmla="*/ 2147483647 h 384"/>
                <a:gd name="T42" fmla="*/ 2147483647 w 366"/>
                <a:gd name="T43" fmla="*/ 2147483647 h 384"/>
                <a:gd name="T44" fmla="*/ 2147483647 w 366"/>
                <a:gd name="T45" fmla="*/ 0 h 384"/>
                <a:gd name="T46" fmla="*/ 2147483647 w 366"/>
                <a:gd name="T47" fmla="*/ 2147483647 h 384"/>
                <a:gd name="T48" fmla="*/ 2147483647 w 366"/>
                <a:gd name="T49" fmla="*/ 2147483647 h 384"/>
                <a:gd name="T50" fmla="*/ 0 w 366"/>
                <a:gd name="T51" fmla="*/ 2147483647 h 384"/>
                <a:gd name="T52" fmla="*/ 2147483647 w 366"/>
                <a:gd name="T53" fmla="*/ 2147483647 h 384"/>
                <a:gd name="T54" fmla="*/ 2147483647 w 366"/>
                <a:gd name="T55" fmla="*/ 2147483647 h 384"/>
                <a:gd name="T56" fmla="*/ 2147483647 w 366"/>
                <a:gd name="T57" fmla="*/ 2147483647 h 384"/>
                <a:gd name="T58" fmla="*/ 2147483647 w 366"/>
                <a:gd name="T59" fmla="*/ 2147483647 h 384"/>
                <a:gd name="T60" fmla="*/ 2147483647 w 366"/>
                <a:gd name="T61" fmla="*/ 2147483647 h 384"/>
                <a:gd name="T62" fmla="*/ 2147483647 w 366"/>
                <a:gd name="T63" fmla="*/ 2147483647 h 384"/>
                <a:gd name="T64" fmla="*/ 2147483647 w 366"/>
                <a:gd name="T65" fmla="*/ 2147483647 h 384"/>
                <a:gd name="T66" fmla="*/ 2147483647 w 366"/>
                <a:gd name="T67" fmla="*/ 2147483647 h 384"/>
                <a:gd name="T68" fmla="*/ 2147483647 w 366"/>
                <a:gd name="T69" fmla="*/ 2147483647 h 384"/>
                <a:gd name="T70" fmla="*/ 2147483647 w 366"/>
                <a:gd name="T71" fmla="*/ 2147483647 h 384"/>
                <a:gd name="T72" fmla="*/ 2147483647 w 366"/>
                <a:gd name="T73" fmla="*/ 2147483647 h 384"/>
                <a:gd name="T74" fmla="*/ 2147483647 w 366"/>
                <a:gd name="T75" fmla="*/ 2147483647 h 384"/>
                <a:gd name="T76" fmla="*/ 2147483647 w 366"/>
                <a:gd name="T77" fmla="*/ 2147483647 h 38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366"/>
                <a:gd name="T118" fmla="*/ 0 h 384"/>
                <a:gd name="T119" fmla="*/ 366 w 366"/>
                <a:gd name="T120" fmla="*/ 384 h 384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366" h="384">
                  <a:moveTo>
                    <a:pt x="138" y="372"/>
                  </a:moveTo>
                  <a:lnTo>
                    <a:pt x="174" y="372"/>
                  </a:lnTo>
                  <a:lnTo>
                    <a:pt x="198" y="378"/>
                  </a:lnTo>
                  <a:lnTo>
                    <a:pt x="228" y="378"/>
                  </a:lnTo>
                  <a:lnTo>
                    <a:pt x="288" y="384"/>
                  </a:lnTo>
                  <a:lnTo>
                    <a:pt x="330" y="366"/>
                  </a:lnTo>
                  <a:lnTo>
                    <a:pt x="342" y="354"/>
                  </a:lnTo>
                  <a:lnTo>
                    <a:pt x="360" y="300"/>
                  </a:lnTo>
                  <a:lnTo>
                    <a:pt x="366" y="294"/>
                  </a:lnTo>
                  <a:lnTo>
                    <a:pt x="348" y="294"/>
                  </a:lnTo>
                  <a:lnTo>
                    <a:pt x="348" y="264"/>
                  </a:lnTo>
                  <a:lnTo>
                    <a:pt x="342" y="264"/>
                  </a:lnTo>
                  <a:lnTo>
                    <a:pt x="342" y="240"/>
                  </a:lnTo>
                  <a:lnTo>
                    <a:pt x="348" y="234"/>
                  </a:lnTo>
                  <a:lnTo>
                    <a:pt x="360" y="210"/>
                  </a:lnTo>
                  <a:lnTo>
                    <a:pt x="360" y="198"/>
                  </a:lnTo>
                  <a:lnTo>
                    <a:pt x="354" y="198"/>
                  </a:lnTo>
                  <a:lnTo>
                    <a:pt x="342" y="192"/>
                  </a:lnTo>
                  <a:lnTo>
                    <a:pt x="336" y="192"/>
                  </a:lnTo>
                  <a:lnTo>
                    <a:pt x="318" y="174"/>
                  </a:lnTo>
                  <a:lnTo>
                    <a:pt x="312" y="162"/>
                  </a:lnTo>
                  <a:lnTo>
                    <a:pt x="306" y="156"/>
                  </a:lnTo>
                  <a:lnTo>
                    <a:pt x="300" y="144"/>
                  </a:lnTo>
                  <a:lnTo>
                    <a:pt x="288" y="144"/>
                  </a:lnTo>
                  <a:lnTo>
                    <a:pt x="270" y="138"/>
                  </a:lnTo>
                  <a:lnTo>
                    <a:pt x="258" y="132"/>
                  </a:lnTo>
                  <a:lnTo>
                    <a:pt x="252" y="126"/>
                  </a:lnTo>
                  <a:lnTo>
                    <a:pt x="252" y="114"/>
                  </a:lnTo>
                  <a:lnTo>
                    <a:pt x="246" y="11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74" y="60"/>
                  </a:lnTo>
                  <a:lnTo>
                    <a:pt x="168" y="60"/>
                  </a:lnTo>
                  <a:lnTo>
                    <a:pt x="156" y="72"/>
                  </a:lnTo>
                  <a:lnTo>
                    <a:pt x="156" y="78"/>
                  </a:lnTo>
                  <a:lnTo>
                    <a:pt x="144" y="78"/>
                  </a:lnTo>
                  <a:lnTo>
                    <a:pt x="144" y="66"/>
                  </a:lnTo>
                  <a:lnTo>
                    <a:pt x="132" y="54"/>
                  </a:lnTo>
                  <a:lnTo>
                    <a:pt x="126" y="42"/>
                  </a:lnTo>
                  <a:lnTo>
                    <a:pt x="120" y="36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78" y="6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48" y="6"/>
                  </a:lnTo>
                  <a:lnTo>
                    <a:pt x="42" y="12"/>
                  </a:lnTo>
                  <a:lnTo>
                    <a:pt x="18" y="12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24" y="60"/>
                  </a:lnTo>
                  <a:lnTo>
                    <a:pt x="30" y="60"/>
                  </a:lnTo>
                  <a:lnTo>
                    <a:pt x="6" y="72"/>
                  </a:lnTo>
                  <a:lnTo>
                    <a:pt x="6" y="108"/>
                  </a:lnTo>
                  <a:lnTo>
                    <a:pt x="30" y="126"/>
                  </a:lnTo>
                  <a:lnTo>
                    <a:pt x="12" y="126"/>
                  </a:lnTo>
                  <a:lnTo>
                    <a:pt x="0" y="138"/>
                  </a:lnTo>
                  <a:lnTo>
                    <a:pt x="6" y="144"/>
                  </a:lnTo>
                  <a:lnTo>
                    <a:pt x="12" y="156"/>
                  </a:lnTo>
                  <a:lnTo>
                    <a:pt x="24" y="168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36" y="228"/>
                  </a:lnTo>
                  <a:lnTo>
                    <a:pt x="30" y="234"/>
                  </a:lnTo>
                  <a:lnTo>
                    <a:pt x="6" y="234"/>
                  </a:lnTo>
                  <a:lnTo>
                    <a:pt x="6" y="282"/>
                  </a:lnTo>
                  <a:lnTo>
                    <a:pt x="36" y="318"/>
                  </a:lnTo>
                  <a:lnTo>
                    <a:pt x="42" y="318"/>
                  </a:lnTo>
                  <a:lnTo>
                    <a:pt x="54" y="324"/>
                  </a:lnTo>
                  <a:lnTo>
                    <a:pt x="78" y="348"/>
                  </a:lnTo>
                  <a:lnTo>
                    <a:pt x="90" y="354"/>
                  </a:lnTo>
                  <a:lnTo>
                    <a:pt x="126" y="354"/>
                  </a:lnTo>
                  <a:lnTo>
                    <a:pt x="138" y="37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34" name="United Kingdom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4346714" y="2803428"/>
              <a:ext cx="188136" cy="255981"/>
            </a:xfrm>
            <a:custGeom>
              <a:avLst/>
              <a:gdLst>
                <a:gd name="T0" fmla="*/ 2147483647 w 576"/>
                <a:gd name="T1" fmla="*/ 2147483647 h 822"/>
                <a:gd name="T2" fmla="*/ 2147483647 w 576"/>
                <a:gd name="T3" fmla="*/ 2147483647 h 822"/>
                <a:gd name="T4" fmla="*/ 2147483647 w 576"/>
                <a:gd name="T5" fmla="*/ 2147483647 h 822"/>
                <a:gd name="T6" fmla="*/ 2147483647 w 576"/>
                <a:gd name="T7" fmla="*/ 2147483647 h 822"/>
                <a:gd name="T8" fmla="*/ 2147483647 w 576"/>
                <a:gd name="T9" fmla="*/ 2147483647 h 822"/>
                <a:gd name="T10" fmla="*/ 2147483647 w 576"/>
                <a:gd name="T11" fmla="*/ 2147483647 h 822"/>
                <a:gd name="T12" fmla="*/ 2147483647 w 576"/>
                <a:gd name="T13" fmla="*/ 2147483647 h 822"/>
                <a:gd name="T14" fmla="*/ 2147483647 w 576"/>
                <a:gd name="T15" fmla="*/ 0 h 822"/>
                <a:gd name="T16" fmla="*/ 2147483647 w 576"/>
                <a:gd name="T17" fmla="*/ 0 h 822"/>
                <a:gd name="T18" fmla="*/ 2147483647 w 576"/>
                <a:gd name="T19" fmla="*/ 2147483647 h 822"/>
                <a:gd name="T20" fmla="*/ 2147483647 w 576"/>
                <a:gd name="T21" fmla="*/ 2147483647 h 822"/>
                <a:gd name="T22" fmla="*/ 2147483647 w 576"/>
                <a:gd name="T23" fmla="*/ 2147483647 h 822"/>
                <a:gd name="T24" fmla="*/ 2147483647 w 576"/>
                <a:gd name="T25" fmla="*/ 2147483647 h 822"/>
                <a:gd name="T26" fmla="*/ 2147483647 w 576"/>
                <a:gd name="T27" fmla="*/ 2147483647 h 822"/>
                <a:gd name="T28" fmla="*/ 2147483647 w 576"/>
                <a:gd name="T29" fmla="*/ 2147483647 h 822"/>
                <a:gd name="T30" fmla="*/ 2147483647 w 576"/>
                <a:gd name="T31" fmla="*/ 2147483647 h 822"/>
                <a:gd name="T32" fmla="*/ 2147483647 w 576"/>
                <a:gd name="T33" fmla="*/ 2147483647 h 822"/>
                <a:gd name="T34" fmla="*/ 2147483647 w 576"/>
                <a:gd name="T35" fmla="*/ 2147483647 h 822"/>
                <a:gd name="T36" fmla="*/ 2147483647 w 576"/>
                <a:gd name="T37" fmla="*/ 2147483647 h 822"/>
                <a:gd name="T38" fmla="*/ 2147483647 w 576"/>
                <a:gd name="T39" fmla="*/ 2147483647 h 822"/>
                <a:gd name="T40" fmla="*/ 2147483647 w 576"/>
                <a:gd name="T41" fmla="*/ 2147483647 h 822"/>
                <a:gd name="T42" fmla="*/ 2147483647 w 576"/>
                <a:gd name="T43" fmla="*/ 2147483647 h 822"/>
                <a:gd name="T44" fmla="*/ 2147483647 w 576"/>
                <a:gd name="T45" fmla="*/ 2147483647 h 822"/>
                <a:gd name="T46" fmla="*/ 2147483647 w 576"/>
                <a:gd name="T47" fmla="*/ 2147483647 h 822"/>
                <a:gd name="T48" fmla="*/ 2147483647 w 576"/>
                <a:gd name="T49" fmla="*/ 2147483647 h 822"/>
                <a:gd name="T50" fmla="*/ 2147483647 w 576"/>
                <a:gd name="T51" fmla="*/ 2147483647 h 822"/>
                <a:gd name="T52" fmla="*/ 2147483647 w 576"/>
                <a:gd name="T53" fmla="*/ 2147483647 h 822"/>
                <a:gd name="T54" fmla="*/ 2147483647 w 576"/>
                <a:gd name="T55" fmla="*/ 2147483647 h 822"/>
                <a:gd name="T56" fmla="*/ 2147483647 w 576"/>
                <a:gd name="T57" fmla="*/ 2147483647 h 822"/>
                <a:gd name="T58" fmla="*/ 2147483647 w 576"/>
                <a:gd name="T59" fmla="*/ 2147483647 h 822"/>
                <a:gd name="T60" fmla="*/ 2147483647 w 576"/>
                <a:gd name="T61" fmla="*/ 2147483647 h 822"/>
                <a:gd name="T62" fmla="*/ 2147483647 w 576"/>
                <a:gd name="T63" fmla="*/ 2147483647 h 822"/>
                <a:gd name="T64" fmla="*/ 2147483647 w 576"/>
                <a:gd name="T65" fmla="*/ 2147483647 h 822"/>
                <a:gd name="T66" fmla="*/ 2147483647 w 576"/>
                <a:gd name="T67" fmla="*/ 2147483647 h 822"/>
                <a:gd name="T68" fmla="*/ 2147483647 w 576"/>
                <a:gd name="T69" fmla="*/ 2147483647 h 822"/>
                <a:gd name="T70" fmla="*/ 2147483647 w 576"/>
                <a:gd name="T71" fmla="*/ 2147483647 h 822"/>
                <a:gd name="T72" fmla="*/ 2147483647 w 576"/>
                <a:gd name="T73" fmla="*/ 2147483647 h 822"/>
                <a:gd name="T74" fmla="*/ 2147483647 w 576"/>
                <a:gd name="T75" fmla="*/ 2147483647 h 822"/>
                <a:gd name="T76" fmla="*/ 2147483647 w 576"/>
                <a:gd name="T77" fmla="*/ 2147483647 h 822"/>
                <a:gd name="T78" fmla="*/ 2147483647 w 576"/>
                <a:gd name="T79" fmla="*/ 2147483647 h 822"/>
                <a:gd name="T80" fmla="*/ 2147483647 w 576"/>
                <a:gd name="T81" fmla="*/ 2147483647 h 822"/>
                <a:gd name="T82" fmla="*/ 2147483647 w 576"/>
                <a:gd name="T83" fmla="*/ 2147483647 h 822"/>
                <a:gd name="T84" fmla="*/ 2147483647 w 576"/>
                <a:gd name="T85" fmla="*/ 2147483647 h 822"/>
                <a:gd name="T86" fmla="*/ 2147483647 w 576"/>
                <a:gd name="T87" fmla="*/ 2147483647 h 822"/>
                <a:gd name="T88" fmla="*/ 2147483647 w 576"/>
                <a:gd name="T89" fmla="*/ 2147483647 h 822"/>
                <a:gd name="T90" fmla="*/ 2147483647 w 576"/>
                <a:gd name="T91" fmla="*/ 2147483647 h 822"/>
                <a:gd name="T92" fmla="*/ 2147483647 w 576"/>
                <a:gd name="T93" fmla="*/ 2147483647 h 822"/>
                <a:gd name="T94" fmla="*/ 2147483647 w 576"/>
                <a:gd name="T95" fmla="*/ 2147483647 h 822"/>
                <a:gd name="T96" fmla="*/ 2147483647 w 576"/>
                <a:gd name="T97" fmla="*/ 2147483647 h 822"/>
                <a:gd name="T98" fmla="*/ 2147483647 w 576"/>
                <a:gd name="T99" fmla="*/ 2147483647 h 822"/>
                <a:gd name="T100" fmla="*/ 2147483647 w 576"/>
                <a:gd name="T101" fmla="*/ 2147483647 h 822"/>
                <a:gd name="T102" fmla="*/ 2147483647 w 576"/>
                <a:gd name="T103" fmla="*/ 2147483647 h 822"/>
                <a:gd name="T104" fmla="*/ 2147483647 w 576"/>
                <a:gd name="T105" fmla="*/ 2147483647 h 822"/>
                <a:gd name="T106" fmla="*/ 2147483647 w 576"/>
                <a:gd name="T107" fmla="*/ 2147483647 h 822"/>
                <a:gd name="T108" fmla="*/ 2147483647 w 576"/>
                <a:gd name="T109" fmla="*/ 2147483647 h 822"/>
                <a:gd name="T110" fmla="*/ 2147483647 w 576"/>
                <a:gd name="T111" fmla="*/ 2147483647 h 822"/>
                <a:gd name="T112" fmla="*/ 2147483647 w 576"/>
                <a:gd name="T113" fmla="*/ 2147483647 h 822"/>
                <a:gd name="T114" fmla="*/ 2147483647 w 576"/>
                <a:gd name="T115" fmla="*/ 2147483647 h 822"/>
                <a:gd name="T116" fmla="*/ 2147483647 w 576"/>
                <a:gd name="T117" fmla="*/ 2147483647 h 822"/>
                <a:gd name="T118" fmla="*/ 2147483647 w 576"/>
                <a:gd name="T119" fmla="*/ 2147483647 h 822"/>
                <a:gd name="T120" fmla="*/ 2147483647 w 576"/>
                <a:gd name="T121" fmla="*/ 2147483647 h 822"/>
                <a:gd name="T122" fmla="*/ 2147483647 w 576"/>
                <a:gd name="T123" fmla="*/ 2147483647 h 82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576"/>
                <a:gd name="T187" fmla="*/ 0 h 822"/>
                <a:gd name="T188" fmla="*/ 576 w 576"/>
                <a:gd name="T189" fmla="*/ 822 h 82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576" h="822">
                  <a:moveTo>
                    <a:pt x="162" y="378"/>
                  </a:moveTo>
                  <a:lnTo>
                    <a:pt x="156" y="378"/>
                  </a:lnTo>
                  <a:lnTo>
                    <a:pt x="150" y="384"/>
                  </a:lnTo>
                  <a:lnTo>
                    <a:pt x="150" y="396"/>
                  </a:lnTo>
                  <a:lnTo>
                    <a:pt x="144" y="414"/>
                  </a:lnTo>
                  <a:lnTo>
                    <a:pt x="156" y="402"/>
                  </a:lnTo>
                  <a:lnTo>
                    <a:pt x="162" y="390"/>
                  </a:lnTo>
                  <a:lnTo>
                    <a:pt x="162" y="378"/>
                  </a:lnTo>
                  <a:close/>
                  <a:moveTo>
                    <a:pt x="132" y="312"/>
                  </a:moveTo>
                  <a:lnTo>
                    <a:pt x="126" y="312"/>
                  </a:lnTo>
                  <a:lnTo>
                    <a:pt x="126" y="336"/>
                  </a:lnTo>
                  <a:lnTo>
                    <a:pt x="132" y="336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44" y="318"/>
                  </a:lnTo>
                  <a:lnTo>
                    <a:pt x="138" y="312"/>
                  </a:lnTo>
                  <a:lnTo>
                    <a:pt x="132" y="312"/>
                  </a:lnTo>
                  <a:close/>
                  <a:moveTo>
                    <a:pt x="114" y="390"/>
                  </a:moveTo>
                  <a:lnTo>
                    <a:pt x="126" y="390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20" y="366"/>
                  </a:lnTo>
                  <a:lnTo>
                    <a:pt x="114" y="372"/>
                  </a:lnTo>
                  <a:lnTo>
                    <a:pt x="108" y="384"/>
                  </a:lnTo>
                  <a:lnTo>
                    <a:pt x="108" y="390"/>
                  </a:lnTo>
                  <a:lnTo>
                    <a:pt x="114" y="390"/>
                  </a:lnTo>
                  <a:close/>
                  <a:moveTo>
                    <a:pt x="330" y="120"/>
                  </a:moveTo>
                  <a:lnTo>
                    <a:pt x="324" y="120"/>
                  </a:lnTo>
                  <a:lnTo>
                    <a:pt x="318" y="126"/>
                  </a:lnTo>
                  <a:lnTo>
                    <a:pt x="318" y="138"/>
                  </a:lnTo>
                  <a:lnTo>
                    <a:pt x="330" y="138"/>
                  </a:lnTo>
                  <a:lnTo>
                    <a:pt x="336" y="126"/>
                  </a:lnTo>
                  <a:lnTo>
                    <a:pt x="330" y="120"/>
                  </a:lnTo>
                  <a:close/>
                  <a:moveTo>
                    <a:pt x="138" y="258"/>
                  </a:moveTo>
                  <a:lnTo>
                    <a:pt x="138" y="234"/>
                  </a:lnTo>
                  <a:lnTo>
                    <a:pt x="126" y="234"/>
                  </a:lnTo>
                  <a:lnTo>
                    <a:pt x="120" y="240"/>
                  </a:lnTo>
                  <a:lnTo>
                    <a:pt x="120" y="246"/>
                  </a:lnTo>
                  <a:lnTo>
                    <a:pt x="126" y="252"/>
                  </a:lnTo>
                  <a:lnTo>
                    <a:pt x="108" y="252"/>
                  </a:lnTo>
                  <a:lnTo>
                    <a:pt x="108" y="258"/>
                  </a:lnTo>
                  <a:lnTo>
                    <a:pt x="114" y="264"/>
                  </a:lnTo>
                  <a:lnTo>
                    <a:pt x="120" y="264"/>
                  </a:lnTo>
                  <a:lnTo>
                    <a:pt x="126" y="270"/>
                  </a:lnTo>
                  <a:lnTo>
                    <a:pt x="150" y="270"/>
                  </a:lnTo>
                  <a:lnTo>
                    <a:pt x="138" y="258"/>
                  </a:lnTo>
                  <a:close/>
                  <a:moveTo>
                    <a:pt x="474" y="0"/>
                  </a:moveTo>
                  <a:lnTo>
                    <a:pt x="468" y="0"/>
                  </a:lnTo>
                  <a:lnTo>
                    <a:pt x="456" y="12"/>
                  </a:lnTo>
                  <a:lnTo>
                    <a:pt x="474" y="12"/>
                  </a:lnTo>
                  <a:lnTo>
                    <a:pt x="474" y="6"/>
                  </a:lnTo>
                  <a:lnTo>
                    <a:pt x="480" y="0"/>
                  </a:lnTo>
                  <a:lnTo>
                    <a:pt x="474" y="0"/>
                  </a:lnTo>
                  <a:close/>
                  <a:moveTo>
                    <a:pt x="432" y="48"/>
                  </a:moveTo>
                  <a:lnTo>
                    <a:pt x="432" y="66"/>
                  </a:lnTo>
                  <a:lnTo>
                    <a:pt x="438" y="66"/>
                  </a:lnTo>
                  <a:lnTo>
                    <a:pt x="444" y="60"/>
                  </a:lnTo>
                  <a:lnTo>
                    <a:pt x="450" y="48"/>
                  </a:lnTo>
                  <a:lnTo>
                    <a:pt x="450" y="24"/>
                  </a:lnTo>
                  <a:lnTo>
                    <a:pt x="438" y="12"/>
                  </a:lnTo>
                  <a:lnTo>
                    <a:pt x="432" y="24"/>
                  </a:lnTo>
                  <a:lnTo>
                    <a:pt x="426" y="30"/>
                  </a:lnTo>
                  <a:lnTo>
                    <a:pt x="420" y="30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2" y="48"/>
                  </a:lnTo>
                  <a:close/>
                  <a:moveTo>
                    <a:pt x="342" y="138"/>
                  </a:moveTo>
                  <a:lnTo>
                    <a:pt x="342" y="150"/>
                  </a:lnTo>
                  <a:lnTo>
                    <a:pt x="354" y="138"/>
                  </a:lnTo>
                  <a:lnTo>
                    <a:pt x="342" y="138"/>
                  </a:lnTo>
                  <a:close/>
                  <a:moveTo>
                    <a:pt x="192" y="402"/>
                  </a:moveTo>
                  <a:lnTo>
                    <a:pt x="192" y="390"/>
                  </a:lnTo>
                  <a:lnTo>
                    <a:pt x="186" y="384"/>
                  </a:lnTo>
                  <a:lnTo>
                    <a:pt x="186" y="378"/>
                  </a:lnTo>
                  <a:lnTo>
                    <a:pt x="174" y="390"/>
                  </a:lnTo>
                  <a:lnTo>
                    <a:pt x="174" y="396"/>
                  </a:lnTo>
                  <a:lnTo>
                    <a:pt x="180" y="402"/>
                  </a:lnTo>
                  <a:lnTo>
                    <a:pt x="192" y="402"/>
                  </a:lnTo>
                  <a:close/>
                  <a:moveTo>
                    <a:pt x="504" y="588"/>
                  </a:moveTo>
                  <a:lnTo>
                    <a:pt x="498" y="594"/>
                  </a:lnTo>
                  <a:lnTo>
                    <a:pt x="498" y="600"/>
                  </a:lnTo>
                  <a:lnTo>
                    <a:pt x="480" y="600"/>
                  </a:lnTo>
                  <a:lnTo>
                    <a:pt x="480" y="588"/>
                  </a:lnTo>
                  <a:lnTo>
                    <a:pt x="486" y="576"/>
                  </a:lnTo>
                  <a:lnTo>
                    <a:pt x="498" y="564"/>
                  </a:lnTo>
                  <a:lnTo>
                    <a:pt x="492" y="558"/>
                  </a:lnTo>
                  <a:lnTo>
                    <a:pt x="456" y="540"/>
                  </a:lnTo>
                  <a:lnTo>
                    <a:pt x="450" y="540"/>
                  </a:lnTo>
                  <a:lnTo>
                    <a:pt x="444" y="534"/>
                  </a:lnTo>
                  <a:lnTo>
                    <a:pt x="450" y="534"/>
                  </a:lnTo>
                  <a:lnTo>
                    <a:pt x="456" y="528"/>
                  </a:lnTo>
                  <a:lnTo>
                    <a:pt x="480" y="528"/>
                  </a:lnTo>
                  <a:lnTo>
                    <a:pt x="468" y="516"/>
                  </a:lnTo>
                  <a:lnTo>
                    <a:pt x="468" y="510"/>
                  </a:lnTo>
                  <a:lnTo>
                    <a:pt x="456" y="498"/>
                  </a:lnTo>
                  <a:lnTo>
                    <a:pt x="450" y="486"/>
                  </a:lnTo>
                  <a:lnTo>
                    <a:pt x="432" y="468"/>
                  </a:lnTo>
                  <a:lnTo>
                    <a:pt x="420" y="468"/>
                  </a:lnTo>
                  <a:lnTo>
                    <a:pt x="414" y="456"/>
                  </a:lnTo>
                  <a:lnTo>
                    <a:pt x="402" y="450"/>
                  </a:lnTo>
                  <a:lnTo>
                    <a:pt x="390" y="438"/>
                  </a:lnTo>
                  <a:lnTo>
                    <a:pt x="390" y="414"/>
                  </a:lnTo>
                  <a:lnTo>
                    <a:pt x="396" y="402"/>
                  </a:lnTo>
                  <a:lnTo>
                    <a:pt x="396" y="390"/>
                  </a:lnTo>
                  <a:lnTo>
                    <a:pt x="384" y="390"/>
                  </a:lnTo>
                  <a:lnTo>
                    <a:pt x="378" y="384"/>
                  </a:lnTo>
                  <a:lnTo>
                    <a:pt x="372" y="372"/>
                  </a:lnTo>
                  <a:lnTo>
                    <a:pt x="360" y="360"/>
                  </a:lnTo>
                  <a:lnTo>
                    <a:pt x="342" y="354"/>
                  </a:lnTo>
                  <a:lnTo>
                    <a:pt x="324" y="354"/>
                  </a:lnTo>
                  <a:lnTo>
                    <a:pt x="306" y="360"/>
                  </a:lnTo>
                  <a:lnTo>
                    <a:pt x="294" y="366"/>
                  </a:lnTo>
                  <a:lnTo>
                    <a:pt x="288" y="366"/>
                  </a:lnTo>
                  <a:lnTo>
                    <a:pt x="270" y="348"/>
                  </a:lnTo>
                  <a:lnTo>
                    <a:pt x="282" y="348"/>
                  </a:lnTo>
                  <a:lnTo>
                    <a:pt x="294" y="354"/>
                  </a:lnTo>
                  <a:lnTo>
                    <a:pt x="306" y="354"/>
                  </a:lnTo>
                  <a:lnTo>
                    <a:pt x="330" y="342"/>
                  </a:lnTo>
                  <a:lnTo>
                    <a:pt x="336" y="336"/>
                  </a:lnTo>
                  <a:lnTo>
                    <a:pt x="330" y="336"/>
                  </a:lnTo>
                  <a:lnTo>
                    <a:pt x="324" y="330"/>
                  </a:lnTo>
                  <a:lnTo>
                    <a:pt x="306" y="330"/>
                  </a:lnTo>
                  <a:lnTo>
                    <a:pt x="330" y="324"/>
                  </a:lnTo>
                  <a:lnTo>
                    <a:pt x="336" y="318"/>
                  </a:lnTo>
                  <a:lnTo>
                    <a:pt x="348" y="312"/>
                  </a:lnTo>
                  <a:lnTo>
                    <a:pt x="360" y="300"/>
                  </a:lnTo>
                  <a:lnTo>
                    <a:pt x="360" y="288"/>
                  </a:lnTo>
                  <a:lnTo>
                    <a:pt x="366" y="276"/>
                  </a:lnTo>
                  <a:lnTo>
                    <a:pt x="372" y="270"/>
                  </a:lnTo>
                  <a:lnTo>
                    <a:pt x="378" y="258"/>
                  </a:lnTo>
                  <a:lnTo>
                    <a:pt x="384" y="252"/>
                  </a:lnTo>
                  <a:lnTo>
                    <a:pt x="396" y="246"/>
                  </a:lnTo>
                  <a:lnTo>
                    <a:pt x="402" y="246"/>
                  </a:lnTo>
                  <a:lnTo>
                    <a:pt x="402" y="240"/>
                  </a:lnTo>
                  <a:lnTo>
                    <a:pt x="396" y="234"/>
                  </a:lnTo>
                  <a:lnTo>
                    <a:pt x="318" y="234"/>
                  </a:lnTo>
                  <a:lnTo>
                    <a:pt x="318" y="228"/>
                  </a:lnTo>
                  <a:lnTo>
                    <a:pt x="288" y="228"/>
                  </a:lnTo>
                  <a:lnTo>
                    <a:pt x="276" y="234"/>
                  </a:lnTo>
                  <a:lnTo>
                    <a:pt x="264" y="234"/>
                  </a:lnTo>
                  <a:lnTo>
                    <a:pt x="258" y="240"/>
                  </a:lnTo>
                  <a:lnTo>
                    <a:pt x="252" y="240"/>
                  </a:lnTo>
                  <a:lnTo>
                    <a:pt x="264" y="228"/>
                  </a:lnTo>
                  <a:lnTo>
                    <a:pt x="252" y="216"/>
                  </a:lnTo>
                  <a:lnTo>
                    <a:pt x="270" y="210"/>
                  </a:lnTo>
                  <a:lnTo>
                    <a:pt x="300" y="192"/>
                  </a:lnTo>
                  <a:lnTo>
                    <a:pt x="312" y="186"/>
                  </a:lnTo>
                  <a:lnTo>
                    <a:pt x="324" y="162"/>
                  </a:lnTo>
                  <a:lnTo>
                    <a:pt x="318" y="156"/>
                  </a:lnTo>
                  <a:lnTo>
                    <a:pt x="288" y="156"/>
                  </a:lnTo>
                  <a:lnTo>
                    <a:pt x="276" y="162"/>
                  </a:lnTo>
                  <a:lnTo>
                    <a:pt x="258" y="168"/>
                  </a:lnTo>
                  <a:lnTo>
                    <a:pt x="240" y="168"/>
                  </a:lnTo>
                  <a:lnTo>
                    <a:pt x="228" y="162"/>
                  </a:lnTo>
                  <a:lnTo>
                    <a:pt x="216" y="162"/>
                  </a:lnTo>
                  <a:lnTo>
                    <a:pt x="210" y="168"/>
                  </a:lnTo>
                  <a:lnTo>
                    <a:pt x="210" y="174"/>
                  </a:lnTo>
                  <a:lnTo>
                    <a:pt x="216" y="180"/>
                  </a:lnTo>
                  <a:lnTo>
                    <a:pt x="204" y="180"/>
                  </a:lnTo>
                  <a:lnTo>
                    <a:pt x="192" y="192"/>
                  </a:lnTo>
                  <a:lnTo>
                    <a:pt x="192" y="210"/>
                  </a:lnTo>
                  <a:lnTo>
                    <a:pt x="198" y="216"/>
                  </a:lnTo>
                  <a:lnTo>
                    <a:pt x="156" y="222"/>
                  </a:lnTo>
                  <a:lnTo>
                    <a:pt x="156" y="234"/>
                  </a:lnTo>
                  <a:lnTo>
                    <a:pt x="168" y="240"/>
                  </a:lnTo>
                  <a:lnTo>
                    <a:pt x="180" y="264"/>
                  </a:lnTo>
                  <a:lnTo>
                    <a:pt x="162" y="282"/>
                  </a:lnTo>
                  <a:lnTo>
                    <a:pt x="162" y="294"/>
                  </a:lnTo>
                  <a:lnTo>
                    <a:pt x="144" y="300"/>
                  </a:lnTo>
                  <a:lnTo>
                    <a:pt x="156" y="312"/>
                  </a:lnTo>
                  <a:lnTo>
                    <a:pt x="168" y="312"/>
                  </a:lnTo>
                  <a:lnTo>
                    <a:pt x="180" y="306"/>
                  </a:lnTo>
                  <a:lnTo>
                    <a:pt x="186" y="300"/>
                  </a:lnTo>
                  <a:lnTo>
                    <a:pt x="186" y="318"/>
                  </a:lnTo>
                  <a:lnTo>
                    <a:pt x="180" y="318"/>
                  </a:lnTo>
                  <a:lnTo>
                    <a:pt x="168" y="330"/>
                  </a:lnTo>
                  <a:lnTo>
                    <a:pt x="156" y="336"/>
                  </a:lnTo>
                  <a:lnTo>
                    <a:pt x="156" y="360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98" y="366"/>
                  </a:lnTo>
                  <a:lnTo>
                    <a:pt x="210" y="360"/>
                  </a:lnTo>
                  <a:lnTo>
                    <a:pt x="216" y="354"/>
                  </a:lnTo>
                  <a:lnTo>
                    <a:pt x="198" y="372"/>
                  </a:lnTo>
                  <a:lnTo>
                    <a:pt x="210" y="402"/>
                  </a:lnTo>
                  <a:lnTo>
                    <a:pt x="204" y="408"/>
                  </a:lnTo>
                  <a:lnTo>
                    <a:pt x="198" y="420"/>
                  </a:lnTo>
                  <a:lnTo>
                    <a:pt x="186" y="426"/>
                  </a:ln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204" y="456"/>
                  </a:lnTo>
                  <a:lnTo>
                    <a:pt x="216" y="450"/>
                  </a:lnTo>
                  <a:lnTo>
                    <a:pt x="240" y="450"/>
                  </a:lnTo>
                  <a:lnTo>
                    <a:pt x="252" y="444"/>
                  </a:lnTo>
                  <a:lnTo>
                    <a:pt x="258" y="438"/>
                  </a:lnTo>
                  <a:lnTo>
                    <a:pt x="270" y="432"/>
                  </a:lnTo>
                  <a:lnTo>
                    <a:pt x="300" y="438"/>
                  </a:lnTo>
                  <a:lnTo>
                    <a:pt x="288" y="444"/>
                  </a:lnTo>
                  <a:lnTo>
                    <a:pt x="264" y="468"/>
                  </a:lnTo>
                  <a:lnTo>
                    <a:pt x="264" y="474"/>
                  </a:lnTo>
                  <a:lnTo>
                    <a:pt x="282" y="492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6" y="498"/>
                  </a:lnTo>
                  <a:lnTo>
                    <a:pt x="312" y="516"/>
                  </a:lnTo>
                  <a:lnTo>
                    <a:pt x="294" y="534"/>
                  </a:lnTo>
                  <a:lnTo>
                    <a:pt x="294" y="564"/>
                  </a:lnTo>
                  <a:lnTo>
                    <a:pt x="222" y="564"/>
                  </a:lnTo>
                  <a:lnTo>
                    <a:pt x="216" y="558"/>
                  </a:lnTo>
                  <a:lnTo>
                    <a:pt x="198" y="558"/>
                  </a:lnTo>
                  <a:lnTo>
                    <a:pt x="192" y="564"/>
                  </a:lnTo>
                  <a:lnTo>
                    <a:pt x="210" y="582"/>
                  </a:lnTo>
                  <a:lnTo>
                    <a:pt x="186" y="600"/>
                  </a:lnTo>
                  <a:lnTo>
                    <a:pt x="228" y="594"/>
                  </a:lnTo>
                  <a:lnTo>
                    <a:pt x="228" y="618"/>
                  </a:lnTo>
                  <a:lnTo>
                    <a:pt x="216" y="642"/>
                  </a:lnTo>
                  <a:lnTo>
                    <a:pt x="210" y="648"/>
                  </a:lnTo>
                  <a:lnTo>
                    <a:pt x="198" y="654"/>
                  </a:lnTo>
                  <a:lnTo>
                    <a:pt x="180" y="660"/>
                  </a:lnTo>
                  <a:lnTo>
                    <a:pt x="168" y="666"/>
                  </a:lnTo>
                  <a:lnTo>
                    <a:pt x="162" y="666"/>
                  </a:lnTo>
                  <a:lnTo>
                    <a:pt x="162" y="690"/>
                  </a:lnTo>
                  <a:lnTo>
                    <a:pt x="168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92" y="684"/>
                  </a:lnTo>
                  <a:lnTo>
                    <a:pt x="198" y="678"/>
                  </a:lnTo>
                  <a:lnTo>
                    <a:pt x="204" y="684"/>
                  </a:lnTo>
                  <a:lnTo>
                    <a:pt x="204" y="690"/>
                  </a:lnTo>
                  <a:lnTo>
                    <a:pt x="210" y="696"/>
                  </a:lnTo>
                  <a:lnTo>
                    <a:pt x="234" y="696"/>
                  </a:lnTo>
                  <a:lnTo>
                    <a:pt x="240" y="702"/>
                  </a:lnTo>
                  <a:lnTo>
                    <a:pt x="252" y="708"/>
                  </a:lnTo>
                  <a:lnTo>
                    <a:pt x="258" y="708"/>
                  </a:lnTo>
                  <a:lnTo>
                    <a:pt x="276" y="702"/>
                  </a:lnTo>
                  <a:lnTo>
                    <a:pt x="288" y="696"/>
                  </a:lnTo>
                  <a:lnTo>
                    <a:pt x="294" y="690"/>
                  </a:lnTo>
                  <a:lnTo>
                    <a:pt x="318" y="690"/>
                  </a:lnTo>
                  <a:lnTo>
                    <a:pt x="312" y="696"/>
                  </a:lnTo>
                  <a:lnTo>
                    <a:pt x="300" y="702"/>
                  </a:lnTo>
                  <a:lnTo>
                    <a:pt x="294" y="714"/>
                  </a:lnTo>
                  <a:lnTo>
                    <a:pt x="282" y="720"/>
                  </a:lnTo>
                  <a:lnTo>
                    <a:pt x="276" y="726"/>
                  </a:lnTo>
                  <a:lnTo>
                    <a:pt x="210" y="726"/>
                  </a:lnTo>
                  <a:lnTo>
                    <a:pt x="210" y="738"/>
                  </a:lnTo>
                  <a:lnTo>
                    <a:pt x="198" y="738"/>
                  </a:lnTo>
                  <a:lnTo>
                    <a:pt x="186" y="744"/>
                  </a:lnTo>
                  <a:lnTo>
                    <a:pt x="180" y="750"/>
                  </a:lnTo>
                  <a:lnTo>
                    <a:pt x="180" y="768"/>
                  </a:lnTo>
                  <a:lnTo>
                    <a:pt x="174" y="774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86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14" y="810"/>
                  </a:lnTo>
                  <a:lnTo>
                    <a:pt x="108" y="810"/>
                  </a:lnTo>
                  <a:lnTo>
                    <a:pt x="108" y="816"/>
                  </a:lnTo>
                  <a:lnTo>
                    <a:pt x="114" y="816"/>
                  </a:lnTo>
                  <a:lnTo>
                    <a:pt x="120" y="822"/>
                  </a:lnTo>
                  <a:lnTo>
                    <a:pt x="150" y="822"/>
                  </a:lnTo>
                  <a:lnTo>
                    <a:pt x="156" y="810"/>
                  </a:lnTo>
                  <a:lnTo>
                    <a:pt x="174" y="792"/>
                  </a:lnTo>
                  <a:lnTo>
                    <a:pt x="210" y="792"/>
                  </a:lnTo>
                  <a:lnTo>
                    <a:pt x="216" y="798"/>
                  </a:lnTo>
                  <a:lnTo>
                    <a:pt x="228" y="804"/>
                  </a:lnTo>
                  <a:lnTo>
                    <a:pt x="240" y="804"/>
                  </a:lnTo>
                  <a:lnTo>
                    <a:pt x="246" y="792"/>
                  </a:lnTo>
                  <a:lnTo>
                    <a:pt x="252" y="786"/>
                  </a:lnTo>
                  <a:lnTo>
                    <a:pt x="258" y="774"/>
                  </a:lnTo>
                  <a:lnTo>
                    <a:pt x="270" y="762"/>
                  </a:lnTo>
                  <a:lnTo>
                    <a:pt x="288" y="762"/>
                  </a:lnTo>
                  <a:lnTo>
                    <a:pt x="300" y="774"/>
                  </a:lnTo>
                  <a:lnTo>
                    <a:pt x="330" y="774"/>
                  </a:lnTo>
                  <a:lnTo>
                    <a:pt x="354" y="762"/>
                  </a:lnTo>
                  <a:lnTo>
                    <a:pt x="360" y="762"/>
                  </a:lnTo>
                  <a:lnTo>
                    <a:pt x="366" y="768"/>
                  </a:lnTo>
                  <a:lnTo>
                    <a:pt x="378" y="768"/>
                  </a:lnTo>
                  <a:lnTo>
                    <a:pt x="390" y="774"/>
                  </a:lnTo>
                  <a:lnTo>
                    <a:pt x="396" y="774"/>
                  </a:lnTo>
                  <a:lnTo>
                    <a:pt x="396" y="768"/>
                  </a:lnTo>
                  <a:lnTo>
                    <a:pt x="390" y="762"/>
                  </a:lnTo>
                  <a:lnTo>
                    <a:pt x="390" y="750"/>
                  </a:lnTo>
                  <a:lnTo>
                    <a:pt x="396" y="750"/>
                  </a:lnTo>
                  <a:lnTo>
                    <a:pt x="408" y="756"/>
                  </a:lnTo>
                  <a:lnTo>
                    <a:pt x="414" y="762"/>
                  </a:lnTo>
                  <a:lnTo>
                    <a:pt x="426" y="756"/>
                  </a:lnTo>
                  <a:lnTo>
                    <a:pt x="498" y="756"/>
                  </a:lnTo>
                  <a:lnTo>
                    <a:pt x="522" y="750"/>
                  </a:lnTo>
                  <a:lnTo>
                    <a:pt x="534" y="744"/>
                  </a:lnTo>
                  <a:lnTo>
                    <a:pt x="540" y="732"/>
                  </a:lnTo>
                  <a:lnTo>
                    <a:pt x="546" y="726"/>
                  </a:lnTo>
                  <a:lnTo>
                    <a:pt x="552" y="714"/>
                  </a:lnTo>
                  <a:lnTo>
                    <a:pt x="498" y="708"/>
                  </a:lnTo>
                  <a:lnTo>
                    <a:pt x="522" y="702"/>
                  </a:lnTo>
                  <a:lnTo>
                    <a:pt x="516" y="684"/>
                  </a:lnTo>
                  <a:lnTo>
                    <a:pt x="528" y="672"/>
                  </a:lnTo>
                  <a:lnTo>
                    <a:pt x="540" y="666"/>
                  </a:lnTo>
                  <a:lnTo>
                    <a:pt x="546" y="666"/>
                  </a:lnTo>
                  <a:lnTo>
                    <a:pt x="558" y="660"/>
                  </a:lnTo>
                  <a:lnTo>
                    <a:pt x="564" y="654"/>
                  </a:lnTo>
                  <a:lnTo>
                    <a:pt x="576" y="618"/>
                  </a:lnTo>
                  <a:lnTo>
                    <a:pt x="570" y="606"/>
                  </a:lnTo>
                  <a:lnTo>
                    <a:pt x="564" y="600"/>
                  </a:lnTo>
                  <a:lnTo>
                    <a:pt x="552" y="594"/>
                  </a:lnTo>
                  <a:lnTo>
                    <a:pt x="540" y="594"/>
                  </a:lnTo>
                  <a:lnTo>
                    <a:pt x="528" y="588"/>
                  </a:lnTo>
                  <a:lnTo>
                    <a:pt x="504" y="588"/>
                  </a:lnTo>
                  <a:close/>
                  <a:moveTo>
                    <a:pt x="222" y="486"/>
                  </a:moveTo>
                  <a:lnTo>
                    <a:pt x="216" y="480"/>
                  </a:lnTo>
                  <a:lnTo>
                    <a:pt x="204" y="480"/>
                  </a:lnTo>
                  <a:lnTo>
                    <a:pt x="204" y="486"/>
                  </a:lnTo>
                  <a:lnTo>
                    <a:pt x="198" y="498"/>
                  </a:lnTo>
                  <a:lnTo>
                    <a:pt x="192" y="504"/>
                  </a:lnTo>
                  <a:lnTo>
                    <a:pt x="210" y="504"/>
                  </a:lnTo>
                  <a:lnTo>
                    <a:pt x="222" y="492"/>
                  </a:lnTo>
                  <a:lnTo>
                    <a:pt x="222" y="486"/>
                  </a:lnTo>
                  <a:close/>
                  <a:moveTo>
                    <a:pt x="126" y="504"/>
                  </a:moveTo>
                  <a:lnTo>
                    <a:pt x="132" y="498"/>
                  </a:lnTo>
                  <a:lnTo>
                    <a:pt x="132" y="492"/>
                  </a:lnTo>
                  <a:lnTo>
                    <a:pt x="144" y="492"/>
                  </a:lnTo>
                  <a:lnTo>
                    <a:pt x="150" y="480"/>
                  </a:lnTo>
                  <a:lnTo>
                    <a:pt x="156" y="474"/>
                  </a:lnTo>
                  <a:lnTo>
                    <a:pt x="156" y="462"/>
                  </a:lnTo>
                  <a:lnTo>
                    <a:pt x="138" y="444"/>
                  </a:lnTo>
                  <a:lnTo>
                    <a:pt x="138" y="432"/>
                  </a:lnTo>
                  <a:lnTo>
                    <a:pt x="132" y="438"/>
                  </a:lnTo>
                  <a:lnTo>
                    <a:pt x="126" y="426"/>
                  </a:lnTo>
                  <a:lnTo>
                    <a:pt x="120" y="420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30" y="450"/>
                  </a:lnTo>
                  <a:lnTo>
                    <a:pt x="30" y="462"/>
                  </a:lnTo>
                  <a:lnTo>
                    <a:pt x="24" y="462"/>
                  </a:lnTo>
                  <a:lnTo>
                    <a:pt x="18" y="468"/>
                  </a:lnTo>
                  <a:lnTo>
                    <a:pt x="12" y="468"/>
                  </a:lnTo>
                  <a:lnTo>
                    <a:pt x="0" y="480"/>
                  </a:lnTo>
                  <a:lnTo>
                    <a:pt x="6" y="486"/>
                  </a:lnTo>
                  <a:lnTo>
                    <a:pt x="30" y="498"/>
                  </a:lnTo>
                  <a:lnTo>
                    <a:pt x="42" y="498"/>
                  </a:lnTo>
                  <a:lnTo>
                    <a:pt x="66" y="474"/>
                  </a:lnTo>
                  <a:lnTo>
                    <a:pt x="84" y="498"/>
                  </a:lnTo>
                  <a:lnTo>
                    <a:pt x="120" y="504"/>
                  </a:lnTo>
                  <a:lnTo>
                    <a:pt x="126" y="504"/>
                  </a:lnTo>
                  <a:close/>
                  <a:moveTo>
                    <a:pt x="78" y="228"/>
                  </a:moveTo>
                  <a:lnTo>
                    <a:pt x="72" y="228"/>
                  </a:lnTo>
                  <a:lnTo>
                    <a:pt x="66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84" y="228"/>
                  </a:lnTo>
                  <a:lnTo>
                    <a:pt x="78" y="228"/>
                  </a:lnTo>
                  <a:close/>
                  <a:moveTo>
                    <a:pt x="108" y="210"/>
                  </a:moveTo>
                  <a:lnTo>
                    <a:pt x="126" y="210"/>
                  </a:lnTo>
                  <a:lnTo>
                    <a:pt x="132" y="204"/>
                  </a:lnTo>
                  <a:lnTo>
                    <a:pt x="132" y="198"/>
                  </a:lnTo>
                  <a:lnTo>
                    <a:pt x="138" y="186"/>
                  </a:lnTo>
                  <a:lnTo>
                    <a:pt x="150" y="174"/>
                  </a:lnTo>
                  <a:lnTo>
                    <a:pt x="150" y="168"/>
                  </a:lnTo>
                  <a:lnTo>
                    <a:pt x="138" y="174"/>
                  </a:lnTo>
                  <a:lnTo>
                    <a:pt x="132" y="174"/>
                  </a:lnTo>
                  <a:lnTo>
                    <a:pt x="114" y="192"/>
                  </a:lnTo>
                  <a:lnTo>
                    <a:pt x="108" y="186"/>
                  </a:lnTo>
                  <a:lnTo>
                    <a:pt x="96" y="186"/>
                  </a:lnTo>
                  <a:lnTo>
                    <a:pt x="90" y="192"/>
                  </a:lnTo>
                  <a:lnTo>
                    <a:pt x="90" y="210"/>
                  </a:lnTo>
                  <a:lnTo>
                    <a:pt x="96" y="216"/>
                  </a:lnTo>
                  <a:lnTo>
                    <a:pt x="96" y="228"/>
                  </a:lnTo>
                  <a:lnTo>
                    <a:pt x="108" y="210"/>
                  </a:lnTo>
                  <a:close/>
                  <a:moveTo>
                    <a:pt x="72" y="252"/>
                  </a:moveTo>
                  <a:lnTo>
                    <a:pt x="60" y="282"/>
                  </a:lnTo>
                  <a:lnTo>
                    <a:pt x="78" y="258"/>
                  </a:lnTo>
                  <a:lnTo>
                    <a:pt x="72" y="25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35" name="United Arab Emirates" descr="© INSCALE GmbH, 05.05.2010&#10;http://www.presentationload.com/"/>
            <p:cNvSpPr>
              <a:spLocks/>
            </p:cNvSpPr>
            <p:nvPr/>
          </p:nvSpPr>
          <p:spPr bwMode="gray">
            <a:xfrm>
              <a:off x="5634234" y="3639959"/>
              <a:ext cx="110066" cy="99208"/>
            </a:xfrm>
            <a:custGeom>
              <a:avLst/>
              <a:gdLst>
                <a:gd name="T0" fmla="*/ 2147483647 w 336"/>
                <a:gd name="T1" fmla="*/ 2147483647 h 318"/>
                <a:gd name="T2" fmla="*/ 2147483647 w 336"/>
                <a:gd name="T3" fmla="*/ 2147483647 h 318"/>
                <a:gd name="T4" fmla="*/ 2147483647 w 336"/>
                <a:gd name="T5" fmla="*/ 2147483647 h 318"/>
                <a:gd name="T6" fmla="*/ 2147483647 w 336"/>
                <a:gd name="T7" fmla="*/ 2147483647 h 318"/>
                <a:gd name="T8" fmla="*/ 2147483647 w 336"/>
                <a:gd name="T9" fmla="*/ 2147483647 h 318"/>
                <a:gd name="T10" fmla="*/ 2147483647 w 336"/>
                <a:gd name="T11" fmla="*/ 0 h 318"/>
                <a:gd name="T12" fmla="*/ 2147483647 w 336"/>
                <a:gd name="T13" fmla="*/ 2147483647 h 318"/>
                <a:gd name="T14" fmla="*/ 2147483647 w 336"/>
                <a:gd name="T15" fmla="*/ 2147483647 h 318"/>
                <a:gd name="T16" fmla="*/ 2147483647 w 336"/>
                <a:gd name="T17" fmla="*/ 2147483647 h 318"/>
                <a:gd name="T18" fmla="*/ 2147483647 w 336"/>
                <a:gd name="T19" fmla="*/ 2147483647 h 318"/>
                <a:gd name="T20" fmla="*/ 2147483647 w 336"/>
                <a:gd name="T21" fmla="*/ 2147483647 h 318"/>
                <a:gd name="T22" fmla="*/ 2147483647 w 336"/>
                <a:gd name="T23" fmla="*/ 2147483647 h 318"/>
                <a:gd name="T24" fmla="*/ 2147483647 w 336"/>
                <a:gd name="T25" fmla="*/ 2147483647 h 318"/>
                <a:gd name="T26" fmla="*/ 2147483647 w 336"/>
                <a:gd name="T27" fmla="*/ 2147483647 h 318"/>
                <a:gd name="T28" fmla="*/ 2147483647 w 336"/>
                <a:gd name="T29" fmla="*/ 2147483647 h 318"/>
                <a:gd name="T30" fmla="*/ 2147483647 w 336"/>
                <a:gd name="T31" fmla="*/ 2147483647 h 318"/>
                <a:gd name="T32" fmla="*/ 2147483647 w 336"/>
                <a:gd name="T33" fmla="*/ 2147483647 h 318"/>
                <a:gd name="T34" fmla="*/ 2147483647 w 336"/>
                <a:gd name="T35" fmla="*/ 2147483647 h 318"/>
                <a:gd name="T36" fmla="*/ 0 w 336"/>
                <a:gd name="T37" fmla="*/ 2147483647 h 318"/>
                <a:gd name="T38" fmla="*/ 2147483647 w 336"/>
                <a:gd name="T39" fmla="*/ 2147483647 h 318"/>
                <a:gd name="T40" fmla="*/ 2147483647 w 336"/>
                <a:gd name="T41" fmla="*/ 2147483647 h 318"/>
                <a:gd name="T42" fmla="*/ 2147483647 w 336"/>
                <a:gd name="T43" fmla="*/ 2147483647 h 318"/>
                <a:gd name="T44" fmla="*/ 2147483647 w 336"/>
                <a:gd name="T45" fmla="*/ 2147483647 h 318"/>
                <a:gd name="T46" fmla="*/ 2147483647 w 336"/>
                <a:gd name="T47" fmla="*/ 2147483647 h 318"/>
                <a:gd name="T48" fmla="*/ 2147483647 w 336"/>
                <a:gd name="T49" fmla="*/ 2147483647 h 318"/>
                <a:gd name="T50" fmla="*/ 2147483647 w 336"/>
                <a:gd name="T51" fmla="*/ 2147483647 h 318"/>
                <a:gd name="T52" fmla="*/ 2147483647 w 336"/>
                <a:gd name="T53" fmla="*/ 2147483647 h 318"/>
                <a:gd name="T54" fmla="*/ 2147483647 w 336"/>
                <a:gd name="T55" fmla="*/ 2147483647 h 318"/>
                <a:gd name="T56" fmla="*/ 2147483647 w 336"/>
                <a:gd name="T57" fmla="*/ 2147483647 h 318"/>
                <a:gd name="T58" fmla="*/ 2147483647 w 336"/>
                <a:gd name="T59" fmla="*/ 2147483647 h 318"/>
                <a:gd name="T60" fmla="*/ 2147483647 w 336"/>
                <a:gd name="T61" fmla="*/ 2147483647 h 318"/>
                <a:gd name="T62" fmla="*/ 2147483647 w 336"/>
                <a:gd name="T63" fmla="*/ 2147483647 h 318"/>
                <a:gd name="T64" fmla="*/ 2147483647 w 336"/>
                <a:gd name="T65" fmla="*/ 2147483647 h 318"/>
                <a:gd name="T66" fmla="*/ 2147483647 w 336"/>
                <a:gd name="T67" fmla="*/ 2147483647 h 318"/>
                <a:gd name="T68" fmla="*/ 2147483647 w 336"/>
                <a:gd name="T69" fmla="*/ 2147483647 h 31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36"/>
                <a:gd name="T106" fmla="*/ 0 h 318"/>
                <a:gd name="T107" fmla="*/ 336 w 336"/>
                <a:gd name="T108" fmla="*/ 318 h 31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36" h="318">
                  <a:moveTo>
                    <a:pt x="300" y="120"/>
                  </a:moveTo>
                  <a:lnTo>
                    <a:pt x="306" y="120"/>
                  </a:lnTo>
                  <a:lnTo>
                    <a:pt x="306" y="126"/>
                  </a:lnTo>
                  <a:lnTo>
                    <a:pt x="312" y="138"/>
                  </a:lnTo>
                  <a:lnTo>
                    <a:pt x="336" y="132"/>
                  </a:lnTo>
                  <a:lnTo>
                    <a:pt x="330" y="120"/>
                  </a:lnTo>
                  <a:lnTo>
                    <a:pt x="324" y="102"/>
                  </a:lnTo>
                  <a:lnTo>
                    <a:pt x="324" y="60"/>
                  </a:lnTo>
                  <a:lnTo>
                    <a:pt x="330" y="42"/>
                  </a:lnTo>
                  <a:lnTo>
                    <a:pt x="330" y="6"/>
                  </a:lnTo>
                  <a:lnTo>
                    <a:pt x="324" y="0"/>
                  </a:lnTo>
                  <a:lnTo>
                    <a:pt x="318" y="0"/>
                  </a:lnTo>
                  <a:lnTo>
                    <a:pt x="312" y="6"/>
                  </a:lnTo>
                  <a:lnTo>
                    <a:pt x="306" y="18"/>
                  </a:lnTo>
                  <a:lnTo>
                    <a:pt x="300" y="36"/>
                  </a:lnTo>
                  <a:lnTo>
                    <a:pt x="288" y="60"/>
                  </a:lnTo>
                  <a:lnTo>
                    <a:pt x="282" y="66"/>
                  </a:lnTo>
                  <a:lnTo>
                    <a:pt x="282" y="72"/>
                  </a:lnTo>
                  <a:lnTo>
                    <a:pt x="276" y="72"/>
                  </a:lnTo>
                  <a:lnTo>
                    <a:pt x="264" y="78"/>
                  </a:lnTo>
                  <a:lnTo>
                    <a:pt x="234" y="108"/>
                  </a:lnTo>
                  <a:lnTo>
                    <a:pt x="228" y="120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68"/>
                  </a:lnTo>
                  <a:lnTo>
                    <a:pt x="192" y="180"/>
                  </a:lnTo>
                  <a:lnTo>
                    <a:pt x="192" y="186"/>
                  </a:lnTo>
                  <a:lnTo>
                    <a:pt x="186" y="192"/>
                  </a:lnTo>
                  <a:lnTo>
                    <a:pt x="150" y="192"/>
                  </a:lnTo>
                  <a:lnTo>
                    <a:pt x="132" y="186"/>
                  </a:lnTo>
                  <a:lnTo>
                    <a:pt x="90" y="186"/>
                  </a:lnTo>
                  <a:lnTo>
                    <a:pt x="72" y="192"/>
                  </a:lnTo>
                  <a:lnTo>
                    <a:pt x="48" y="204"/>
                  </a:lnTo>
                  <a:lnTo>
                    <a:pt x="24" y="204"/>
                  </a:lnTo>
                  <a:lnTo>
                    <a:pt x="12" y="192"/>
                  </a:lnTo>
                  <a:lnTo>
                    <a:pt x="0" y="186"/>
                  </a:lnTo>
                  <a:lnTo>
                    <a:pt x="0" y="198"/>
                  </a:lnTo>
                  <a:lnTo>
                    <a:pt x="18" y="216"/>
                  </a:lnTo>
                  <a:lnTo>
                    <a:pt x="30" y="240"/>
                  </a:lnTo>
                  <a:lnTo>
                    <a:pt x="54" y="264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94"/>
                  </a:lnTo>
                  <a:lnTo>
                    <a:pt x="96" y="294"/>
                  </a:lnTo>
                  <a:lnTo>
                    <a:pt x="132" y="300"/>
                  </a:lnTo>
                  <a:lnTo>
                    <a:pt x="228" y="312"/>
                  </a:lnTo>
                  <a:lnTo>
                    <a:pt x="270" y="318"/>
                  </a:lnTo>
                  <a:lnTo>
                    <a:pt x="264" y="306"/>
                  </a:lnTo>
                  <a:lnTo>
                    <a:pt x="258" y="300"/>
                  </a:lnTo>
                  <a:lnTo>
                    <a:pt x="252" y="288"/>
                  </a:lnTo>
                  <a:lnTo>
                    <a:pt x="252" y="276"/>
                  </a:lnTo>
                  <a:lnTo>
                    <a:pt x="258" y="270"/>
                  </a:lnTo>
                  <a:lnTo>
                    <a:pt x="264" y="258"/>
                  </a:lnTo>
                  <a:lnTo>
                    <a:pt x="270" y="252"/>
                  </a:lnTo>
                  <a:lnTo>
                    <a:pt x="276" y="240"/>
                  </a:lnTo>
                  <a:lnTo>
                    <a:pt x="276" y="228"/>
                  </a:lnTo>
                  <a:lnTo>
                    <a:pt x="282" y="216"/>
                  </a:lnTo>
                  <a:lnTo>
                    <a:pt x="282" y="204"/>
                  </a:lnTo>
                  <a:lnTo>
                    <a:pt x="288" y="198"/>
                  </a:lnTo>
                  <a:lnTo>
                    <a:pt x="288" y="192"/>
                  </a:lnTo>
                  <a:lnTo>
                    <a:pt x="300" y="192"/>
                  </a:lnTo>
                  <a:lnTo>
                    <a:pt x="300" y="198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288" y="174"/>
                  </a:lnTo>
                  <a:lnTo>
                    <a:pt x="288" y="144"/>
                  </a:lnTo>
                  <a:lnTo>
                    <a:pt x="294" y="132"/>
                  </a:lnTo>
                  <a:lnTo>
                    <a:pt x="294" y="126"/>
                  </a:lnTo>
                  <a:lnTo>
                    <a:pt x="300" y="12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36" name="Uganda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5151734" y="4199688"/>
              <a:ext cx="126705" cy="143300"/>
            </a:xfrm>
            <a:custGeom>
              <a:avLst/>
              <a:gdLst>
                <a:gd name="T0" fmla="*/ 2147483647 w 390"/>
                <a:gd name="T1" fmla="*/ 2147483647 h 462"/>
                <a:gd name="T2" fmla="*/ 2147483647 w 390"/>
                <a:gd name="T3" fmla="*/ 2147483647 h 462"/>
                <a:gd name="T4" fmla="*/ 2147483647 w 390"/>
                <a:gd name="T5" fmla="*/ 2147483647 h 462"/>
                <a:gd name="T6" fmla="*/ 2147483647 w 390"/>
                <a:gd name="T7" fmla="*/ 2147483647 h 462"/>
                <a:gd name="T8" fmla="*/ 2147483647 w 390"/>
                <a:gd name="T9" fmla="*/ 2147483647 h 462"/>
                <a:gd name="T10" fmla="*/ 2147483647 w 390"/>
                <a:gd name="T11" fmla="*/ 2147483647 h 462"/>
                <a:gd name="T12" fmla="*/ 2147483647 w 390"/>
                <a:gd name="T13" fmla="*/ 2147483647 h 462"/>
                <a:gd name="T14" fmla="*/ 2147483647 w 390"/>
                <a:gd name="T15" fmla="*/ 2147483647 h 462"/>
                <a:gd name="T16" fmla="*/ 2147483647 w 390"/>
                <a:gd name="T17" fmla="*/ 2147483647 h 462"/>
                <a:gd name="T18" fmla="*/ 2147483647 w 390"/>
                <a:gd name="T19" fmla="*/ 2147483647 h 462"/>
                <a:gd name="T20" fmla="*/ 2147483647 w 390"/>
                <a:gd name="T21" fmla="*/ 2147483647 h 462"/>
                <a:gd name="T22" fmla="*/ 2147483647 w 390"/>
                <a:gd name="T23" fmla="*/ 2147483647 h 462"/>
                <a:gd name="T24" fmla="*/ 2147483647 w 390"/>
                <a:gd name="T25" fmla="*/ 0 h 462"/>
                <a:gd name="T26" fmla="*/ 2147483647 w 390"/>
                <a:gd name="T27" fmla="*/ 2147483647 h 462"/>
                <a:gd name="T28" fmla="*/ 2147483647 w 390"/>
                <a:gd name="T29" fmla="*/ 2147483647 h 462"/>
                <a:gd name="T30" fmla="*/ 2147483647 w 390"/>
                <a:gd name="T31" fmla="*/ 2147483647 h 462"/>
                <a:gd name="T32" fmla="*/ 2147483647 w 390"/>
                <a:gd name="T33" fmla="*/ 2147483647 h 462"/>
                <a:gd name="T34" fmla="*/ 2147483647 w 390"/>
                <a:gd name="T35" fmla="*/ 2147483647 h 462"/>
                <a:gd name="T36" fmla="*/ 2147483647 w 390"/>
                <a:gd name="T37" fmla="*/ 2147483647 h 462"/>
                <a:gd name="T38" fmla="*/ 2147483647 w 390"/>
                <a:gd name="T39" fmla="*/ 2147483647 h 462"/>
                <a:gd name="T40" fmla="*/ 2147483647 w 390"/>
                <a:gd name="T41" fmla="*/ 2147483647 h 462"/>
                <a:gd name="T42" fmla="*/ 2147483647 w 390"/>
                <a:gd name="T43" fmla="*/ 2147483647 h 462"/>
                <a:gd name="T44" fmla="*/ 2147483647 w 390"/>
                <a:gd name="T45" fmla="*/ 2147483647 h 462"/>
                <a:gd name="T46" fmla="*/ 2147483647 w 390"/>
                <a:gd name="T47" fmla="*/ 2147483647 h 462"/>
                <a:gd name="T48" fmla="*/ 2147483647 w 390"/>
                <a:gd name="T49" fmla="*/ 2147483647 h 462"/>
                <a:gd name="T50" fmla="*/ 2147483647 w 390"/>
                <a:gd name="T51" fmla="*/ 2147483647 h 462"/>
                <a:gd name="T52" fmla="*/ 2147483647 w 390"/>
                <a:gd name="T53" fmla="*/ 2147483647 h 462"/>
                <a:gd name="T54" fmla="*/ 2147483647 w 390"/>
                <a:gd name="T55" fmla="*/ 2147483647 h 462"/>
                <a:gd name="T56" fmla="*/ 2147483647 w 390"/>
                <a:gd name="T57" fmla="*/ 2147483647 h 462"/>
                <a:gd name="T58" fmla="*/ 2147483647 w 390"/>
                <a:gd name="T59" fmla="*/ 2147483647 h 462"/>
                <a:gd name="T60" fmla="*/ 2147483647 w 390"/>
                <a:gd name="T61" fmla="*/ 2147483647 h 462"/>
                <a:gd name="T62" fmla="*/ 2147483647 w 390"/>
                <a:gd name="T63" fmla="*/ 2147483647 h 462"/>
                <a:gd name="T64" fmla="*/ 2147483647 w 390"/>
                <a:gd name="T65" fmla="*/ 2147483647 h 462"/>
                <a:gd name="T66" fmla="*/ 2147483647 w 390"/>
                <a:gd name="T67" fmla="*/ 2147483647 h 462"/>
                <a:gd name="T68" fmla="*/ 2147483647 w 390"/>
                <a:gd name="T69" fmla="*/ 2147483647 h 462"/>
                <a:gd name="T70" fmla="*/ 2147483647 w 390"/>
                <a:gd name="T71" fmla="*/ 2147483647 h 462"/>
                <a:gd name="T72" fmla="*/ 2147483647 w 390"/>
                <a:gd name="T73" fmla="*/ 2147483647 h 462"/>
                <a:gd name="T74" fmla="*/ 2147483647 w 390"/>
                <a:gd name="T75" fmla="*/ 2147483647 h 462"/>
                <a:gd name="T76" fmla="*/ 2147483647 w 390"/>
                <a:gd name="T77" fmla="*/ 2147483647 h 462"/>
                <a:gd name="T78" fmla="*/ 2147483647 w 390"/>
                <a:gd name="T79" fmla="*/ 2147483647 h 462"/>
                <a:gd name="T80" fmla="*/ 2147483647 w 390"/>
                <a:gd name="T81" fmla="*/ 2147483647 h 462"/>
                <a:gd name="T82" fmla="*/ 2147483647 w 390"/>
                <a:gd name="T83" fmla="*/ 2147483647 h 462"/>
                <a:gd name="T84" fmla="*/ 2147483647 w 390"/>
                <a:gd name="T85" fmla="*/ 2147483647 h 462"/>
                <a:gd name="T86" fmla="*/ 2147483647 w 390"/>
                <a:gd name="T87" fmla="*/ 2147483647 h 462"/>
                <a:gd name="T88" fmla="*/ 2147483647 w 390"/>
                <a:gd name="T89" fmla="*/ 2147483647 h 462"/>
                <a:gd name="T90" fmla="*/ 2147483647 w 390"/>
                <a:gd name="T91" fmla="*/ 2147483647 h 462"/>
                <a:gd name="T92" fmla="*/ 2147483647 w 390"/>
                <a:gd name="T93" fmla="*/ 2147483647 h 462"/>
                <a:gd name="T94" fmla="*/ 2147483647 w 390"/>
                <a:gd name="T95" fmla="*/ 2147483647 h 462"/>
                <a:gd name="T96" fmla="*/ 2147483647 w 390"/>
                <a:gd name="T97" fmla="*/ 2147483647 h 462"/>
                <a:gd name="T98" fmla="*/ 2147483647 w 390"/>
                <a:gd name="T99" fmla="*/ 2147483647 h 462"/>
                <a:gd name="T100" fmla="*/ 2147483647 w 390"/>
                <a:gd name="T101" fmla="*/ 2147483647 h 462"/>
                <a:gd name="T102" fmla="*/ 2147483647 w 390"/>
                <a:gd name="T103" fmla="*/ 2147483647 h 462"/>
                <a:gd name="T104" fmla="*/ 2147483647 w 390"/>
                <a:gd name="T105" fmla="*/ 2147483647 h 462"/>
                <a:gd name="T106" fmla="*/ 2147483647 w 390"/>
                <a:gd name="T107" fmla="*/ 2147483647 h 46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90"/>
                <a:gd name="T163" fmla="*/ 0 h 462"/>
                <a:gd name="T164" fmla="*/ 390 w 390"/>
                <a:gd name="T165" fmla="*/ 462 h 46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90" h="462">
                  <a:moveTo>
                    <a:pt x="306" y="426"/>
                  </a:moveTo>
                  <a:lnTo>
                    <a:pt x="318" y="426"/>
                  </a:lnTo>
                  <a:lnTo>
                    <a:pt x="318" y="420"/>
                  </a:lnTo>
                  <a:lnTo>
                    <a:pt x="306" y="420"/>
                  </a:lnTo>
                  <a:lnTo>
                    <a:pt x="306" y="426"/>
                  </a:lnTo>
                  <a:close/>
                  <a:moveTo>
                    <a:pt x="390" y="192"/>
                  </a:moveTo>
                  <a:lnTo>
                    <a:pt x="384" y="180"/>
                  </a:lnTo>
                  <a:lnTo>
                    <a:pt x="378" y="174"/>
                  </a:lnTo>
                  <a:lnTo>
                    <a:pt x="366" y="150"/>
                  </a:lnTo>
                  <a:lnTo>
                    <a:pt x="366" y="144"/>
                  </a:lnTo>
                  <a:lnTo>
                    <a:pt x="372" y="138"/>
                  </a:lnTo>
                  <a:lnTo>
                    <a:pt x="378" y="138"/>
                  </a:lnTo>
                  <a:lnTo>
                    <a:pt x="384" y="132"/>
                  </a:lnTo>
                  <a:lnTo>
                    <a:pt x="348" y="90"/>
                  </a:lnTo>
                  <a:lnTo>
                    <a:pt x="354" y="84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42" y="54"/>
                  </a:lnTo>
                  <a:lnTo>
                    <a:pt x="342" y="42"/>
                  </a:lnTo>
                  <a:lnTo>
                    <a:pt x="336" y="42"/>
                  </a:lnTo>
                  <a:lnTo>
                    <a:pt x="336" y="48"/>
                  </a:lnTo>
                  <a:lnTo>
                    <a:pt x="330" y="42"/>
                  </a:lnTo>
                  <a:lnTo>
                    <a:pt x="324" y="42"/>
                  </a:lnTo>
                  <a:lnTo>
                    <a:pt x="324" y="18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300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94" y="18"/>
                  </a:lnTo>
                  <a:lnTo>
                    <a:pt x="276" y="36"/>
                  </a:lnTo>
                  <a:lnTo>
                    <a:pt x="252" y="36"/>
                  </a:lnTo>
                  <a:lnTo>
                    <a:pt x="246" y="30"/>
                  </a:lnTo>
                  <a:lnTo>
                    <a:pt x="246" y="24"/>
                  </a:lnTo>
                  <a:lnTo>
                    <a:pt x="234" y="24"/>
                  </a:lnTo>
                  <a:lnTo>
                    <a:pt x="222" y="36"/>
                  </a:lnTo>
                  <a:lnTo>
                    <a:pt x="198" y="36"/>
                  </a:lnTo>
                  <a:lnTo>
                    <a:pt x="180" y="60"/>
                  </a:lnTo>
                  <a:lnTo>
                    <a:pt x="156" y="30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32" y="42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2" y="30"/>
                  </a:lnTo>
                  <a:lnTo>
                    <a:pt x="84" y="48"/>
                  </a:lnTo>
                  <a:lnTo>
                    <a:pt x="90" y="72"/>
                  </a:lnTo>
                  <a:lnTo>
                    <a:pt x="72" y="90"/>
                  </a:lnTo>
                  <a:lnTo>
                    <a:pt x="84" y="96"/>
                  </a:lnTo>
                  <a:lnTo>
                    <a:pt x="90" y="102"/>
                  </a:lnTo>
                  <a:lnTo>
                    <a:pt x="90" y="108"/>
                  </a:lnTo>
                  <a:lnTo>
                    <a:pt x="84" y="114"/>
                  </a:lnTo>
                  <a:lnTo>
                    <a:pt x="78" y="126"/>
                  </a:lnTo>
                  <a:lnTo>
                    <a:pt x="78" y="138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0"/>
                  </a:lnTo>
                  <a:lnTo>
                    <a:pt x="114" y="156"/>
                  </a:lnTo>
                  <a:lnTo>
                    <a:pt x="114" y="168"/>
                  </a:lnTo>
                  <a:lnTo>
                    <a:pt x="108" y="180"/>
                  </a:lnTo>
                  <a:lnTo>
                    <a:pt x="96" y="192"/>
                  </a:lnTo>
                  <a:lnTo>
                    <a:pt x="84" y="216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42" y="246"/>
                  </a:lnTo>
                  <a:lnTo>
                    <a:pt x="42" y="258"/>
                  </a:lnTo>
                  <a:lnTo>
                    <a:pt x="24" y="270"/>
                  </a:lnTo>
                  <a:lnTo>
                    <a:pt x="6" y="342"/>
                  </a:lnTo>
                  <a:lnTo>
                    <a:pt x="6" y="372"/>
                  </a:lnTo>
                  <a:lnTo>
                    <a:pt x="0" y="450"/>
                  </a:lnTo>
                  <a:lnTo>
                    <a:pt x="12" y="450"/>
                  </a:lnTo>
                  <a:lnTo>
                    <a:pt x="24" y="462"/>
                  </a:lnTo>
                  <a:lnTo>
                    <a:pt x="30" y="462"/>
                  </a:lnTo>
                  <a:lnTo>
                    <a:pt x="42" y="438"/>
                  </a:lnTo>
                  <a:lnTo>
                    <a:pt x="48" y="432"/>
                  </a:lnTo>
                  <a:lnTo>
                    <a:pt x="48" y="426"/>
                  </a:lnTo>
                  <a:lnTo>
                    <a:pt x="72" y="420"/>
                  </a:lnTo>
                  <a:lnTo>
                    <a:pt x="162" y="426"/>
                  </a:lnTo>
                  <a:lnTo>
                    <a:pt x="162" y="414"/>
                  </a:lnTo>
                  <a:lnTo>
                    <a:pt x="156" y="408"/>
                  </a:lnTo>
                  <a:lnTo>
                    <a:pt x="150" y="396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68" y="342"/>
                  </a:lnTo>
                  <a:lnTo>
                    <a:pt x="174" y="336"/>
                  </a:lnTo>
                  <a:lnTo>
                    <a:pt x="186" y="330"/>
                  </a:lnTo>
                  <a:lnTo>
                    <a:pt x="204" y="324"/>
                  </a:lnTo>
                  <a:lnTo>
                    <a:pt x="240" y="324"/>
                  </a:lnTo>
                  <a:lnTo>
                    <a:pt x="252" y="312"/>
                  </a:lnTo>
                  <a:lnTo>
                    <a:pt x="258" y="300"/>
                  </a:lnTo>
                  <a:lnTo>
                    <a:pt x="264" y="300"/>
                  </a:lnTo>
                  <a:lnTo>
                    <a:pt x="264" y="306"/>
                  </a:lnTo>
                  <a:lnTo>
                    <a:pt x="270" y="312"/>
                  </a:lnTo>
                  <a:lnTo>
                    <a:pt x="270" y="330"/>
                  </a:lnTo>
                  <a:lnTo>
                    <a:pt x="276" y="324"/>
                  </a:lnTo>
                  <a:lnTo>
                    <a:pt x="312" y="324"/>
                  </a:lnTo>
                  <a:lnTo>
                    <a:pt x="312" y="330"/>
                  </a:lnTo>
                  <a:lnTo>
                    <a:pt x="312" y="318"/>
                  </a:lnTo>
                  <a:lnTo>
                    <a:pt x="318" y="306"/>
                  </a:lnTo>
                  <a:lnTo>
                    <a:pt x="324" y="300"/>
                  </a:lnTo>
                  <a:lnTo>
                    <a:pt x="330" y="282"/>
                  </a:lnTo>
                  <a:lnTo>
                    <a:pt x="348" y="270"/>
                  </a:lnTo>
                  <a:lnTo>
                    <a:pt x="348" y="246"/>
                  </a:lnTo>
                  <a:lnTo>
                    <a:pt x="354" y="240"/>
                  </a:lnTo>
                  <a:lnTo>
                    <a:pt x="372" y="240"/>
                  </a:lnTo>
                  <a:lnTo>
                    <a:pt x="378" y="216"/>
                  </a:lnTo>
                  <a:lnTo>
                    <a:pt x="390" y="204"/>
                  </a:lnTo>
                  <a:lnTo>
                    <a:pt x="390" y="19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37" name="Turkmenistan" descr="© INSCALE GmbH, 05.05.2010&#10;http://www.presentationload.com/"/>
            <p:cNvSpPr>
              <a:spLocks/>
            </p:cNvSpPr>
            <p:nvPr/>
          </p:nvSpPr>
          <p:spPr bwMode="gray">
            <a:xfrm>
              <a:off x="5593280" y="3234554"/>
              <a:ext cx="326359" cy="188617"/>
            </a:xfrm>
            <a:custGeom>
              <a:avLst/>
              <a:gdLst>
                <a:gd name="T0" fmla="*/ 2147483647 w 1008"/>
                <a:gd name="T1" fmla="*/ 2147483647 h 606"/>
                <a:gd name="T2" fmla="*/ 2147483647 w 1008"/>
                <a:gd name="T3" fmla="*/ 2147483647 h 606"/>
                <a:gd name="T4" fmla="*/ 2147483647 w 1008"/>
                <a:gd name="T5" fmla="*/ 2147483647 h 606"/>
                <a:gd name="T6" fmla="*/ 2147483647 w 1008"/>
                <a:gd name="T7" fmla="*/ 2147483647 h 606"/>
                <a:gd name="T8" fmla="*/ 2147483647 w 1008"/>
                <a:gd name="T9" fmla="*/ 2147483647 h 606"/>
                <a:gd name="T10" fmla="*/ 2147483647 w 1008"/>
                <a:gd name="T11" fmla="*/ 2147483647 h 606"/>
                <a:gd name="T12" fmla="*/ 2147483647 w 1008"/>
                <a:gd name="T13" fmla="*/ 2147483647 h 606"/>
                <a:gd name="T14" fmla="*/ 2147483647 w 1008"/>
                <a:gd name="T15" fmla="*/ 2147483647 h 606"/>
                <a:gd name="T16" fmla="*/ 2147483647 w 1008"/>
                <a:gd name="T17" fmla="*/ 2147483647 h 606"/>
                <a:gd name="T18" fmla="*/ 2147483647 w 1008"/>
                <a:gd name="T19" fmla="*/ 2147483647 h 606"/>
                <a:gd name="T20" fmla="*/ 2147483647 w 1008"/>
                <a:gd name="T21" fmla="*/ 2147483647 h 606"/>
                <a:gd name="T22" fmla="*/ 2147483647 w 1008"/>
                <a:gd name="T23" fmla="*/ 2147483647 h 606"/>
                <a:gd name="T24" fmla="*/ 2147483647 w 1008"/>
                <a:gd name="T25" fmla="*/ 2147483647 h 606"/>
                <a:gd name="T26" fmla="*/ 2147483647 w 1008"/>
                <a:gd name="T27" fmla="*/ 2147483647 h 606"/>
                <a:gd name="T28" fmla="*/ 2147483647 w 1008"/>
                <a:gd name="T29" fmla="*/ 2147483647 h 606"/>
                <a:gd name="T30" fmla="*/ 2147483647 w 1008"/>
                <a:gd name="T31" fmla="*/ 2147483647 h 606"/>
                <a:gd name="T32" fmla="*/ 2147483647 w 1008"/>
                <a:gd name="T33" fmla="*/ 2147483647 h 606"/>
                <a:gd name="T34" fmla="*/ 2147483647 w 1008"/>
                <a:gd name="T35" fmla="*/ 2147483647 h 606"/>
                <a:gd name="T36" fmla="*/ 2147483647 w 1008"/>
                <a:gd name="T37" fmla="*/ 2147483647 h 606"/>
                <a:gd name="T38" fmla="*/ 2147483647 w 1008"/>
                <a:gd name="T39" fmla="*/ 2147483647 h 606"/>
                <a:gd name="T40" fmla="*/ 2147483647 w 1008"/>
                <a:gd name="T41" fmla="*/ 2147483647 h 606"/>
                <a:gd name="T42" fmla="*/ 2147483647 w 1008"/>
                <a:gd name="T43" fmla="*/ 2147483647 h 606"/>
                <a:gd name="T44" fmla="*/ 2147483647 w 1008"/>
                <a:gd name="T45" fmla="*/ 2147483647 h 606"/>
                <a:gd name="T46" fmla="*/ 2147483647 w 1008"/>
                <a:gd name="T47" fmla="*/ 2147483647 h 606"/>
                <a:gd name="T48" fmla="*/ 2147483647 w 1008"/>
                <a:gd name="T49" fmla="*/ 2147483647 h 606"/>
                <a:gd name="T50" fmla="*/ 2147483647 w 1008"/>
                <a:gd name="T51" fmla="*/ 2147483647 h 606"/>
                <a:gd name="T52" fmla="*/ 2147483647 w 1008"/>
                <a:gd name="T53" fmla="*/ 2147483647 h 606"/>
                <a:gd name="T54" fmla="*/ 2147483647 w 1008"/>
                <a:gd name="T55" fmla="*/ 2147483647 h 606"/>
                <a:gd name="T56" fmla="*/ 2147483647 w 1008"/>
                <a:gd name="T57" fmla="*/ 2147483647 h 606"/>
                <a:gd name="T58" fmla="*/ 2147483647 w 1008"/>
                <a:gd name="T59" fmla="*/ 2147483647 h 606"/>
                <a:gd name="T60" fmla="*/ 2147483647 w 1008"/>
                <a:gd name="T61" fmla="*/ 2147483647 h 606"/>
                <a:gd name="T62" fmla="*/ 2147483647 w 1008"/>
                <a:gd name="T63" fmla="*/ 2147483647 h 606"/>
                <a:gd name="T64" fmla="*/ 2147483647 w 1008"/>
                <a:gd name="T65" fmla="*/ 2147483647 h 606"/>
                <a:gd name="T66" fmla="*/ 2147483647 w 1008"/>
                <a:gd name="T67" fmla="*/ 2147483647 h 606"/>
                <a:gd name="T68" fmla="*/ 2147483647 w 1008"/>
                <a:gd name="T69" fmla="*/ 2147483647 h 606"/>
                <a:gd name="T70" fmla="*/ 2147483647 w 1008"/>
                <a:gd name="T71" fmla="*/ 2147483647 h 606"/>
                <a:gd name="T72" fmla="*/ 2147483647 w 1008"/>
                <a:gd name="T73" fmla="*/ 2147483647 h 606"/>
                <a:gd name="T74" fmla="*/ 2147483647 w 1008"/>
                <a:gd name="T75" fmla="*/ 2147483647 h 606"/>
                <a:gd name="T76" fmla="*/ 2147483647 w 1008"/>
                <a:gd name="T77" fmla="*/ 2147483647 h 606"/>
                <a:gd name="T78" fmla="*/ 2147483647 w 1008"/>
                <a:gd name="T79" fmla="*/ 2147483647 h 606"/>
                <a:gd name="T80" fmla="*/ 2147483647 w 1008"/>
                <a:gd name="T81" fmla="*/ 2147483647 h 606"/>
                <a:gd name="T82" fmla="*/ 2147483647 w 1008"/>
                <a:gd name="T83" fmla="*/ 2147483647 h 606"/>
                <a:gd name="T84" fmla="*/ 2147483647 w 1008"/>
                <a:gd name="T85" fmla="*/ 2147483647 h 606"/>
                <a:gd name="T86" fmla="*/ 2147483647 w 1008"/>
                <a:gd name="T87" fmla="*/ 2147483647 h 606"/>
                <a:gd name="T88" fmla="*/ 2147483647 w 1008"/>
                <a:gd name="T89" fmla="*/ 2147483647 h 606"/>
                <a:gd name="T90" fmla="*/ 2147483647 w 1008"/>
                <a:gd name="T91" fmla="*/ 2147483647 h 606"/>
                <a:gd name="T92" fmla="*/ 2147483647 w 1008"/>
                <a:gd name="T93" fmla="*/ 2147483647 h 606"/>
                <a:gd name="T94" fmla="*/ 2147483647 w 1008"/>
                <a:gd name="T95" fmla="*/ 2147483647 h 606"/>
                <a:gd name="T96" fmla="*/ 2147483647 w 1008"/>
                <a:gd name="T97" fmla="*/ 2147483647 h 606"/>
                <a:gd name="T98" fmla="*/ 2147483647 w 1008"/>
                <a:gd name="T99" fmla="*/ 2147483647 h 606"/>
                <a:gd name="T100" fmla="*/ 2147483647 w 1008"/>
                <a:gd name="T101" fmla="*/ 2147483647 h 606"/>
                <a:gd name="T102" fmla="*/ 2147483647 w 1008"/>
                <a:gd name="T103" fmla="*/ 2147483647 h 606"/>
                <a:gd name="T104" fmla="*/ 0 w 1008"/>
                <a:gd name="T105" fmla="*/ 2147483647 h 606"/>
                <a:gd name="T106" fmla="*/ 2147483647 w 1008"/>
                <a:gd name="T107" fmla="*/ 2147483647 h 606"/>
                <a:gd name="T108" fmla="*/ 2147483647 w 1008"/>
                <a:gd name="T109" fmla="*/ 2147483647 h 60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008"/>
                <a:gd name="T166" fmla="*/ 0 h 606"/>
                <a:gd name="T167" fmla="*/ 1008 w 1008"/>
                <a:gd name="T168" fmla="*/ 606 h 60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008" h="606">
                  <a:moveTo>
                    <a:pt x="48" y="150"/>
                  </a:moveTo>
                  <a:lnTo>
                    <a:pt x="48" y="156"/>
                  </a:lnTo>
                  <a:lnTo>
                    <a:pt x="42" y="162"/>
                  </a:lnTo>
                  <a:lnTo>
                    <a:pt x="36" y="174"/>
                  </a:lnTo>
                  <a:lnTo>
                    <a:pt x="36" y="186"/>
                  </a:lnTo>
                  <a:lnTo>
                    <a:pt x="42" y="198"/>
                  </a:lnTo>
                  <a:lnTo>
                    <a:pt x="48" y="204"/>
                  </a:lnTo>
                  <a:lnTo>
                    <a:pt x="54" y="216"/>
                  </a:lnTo>
                  <a:lnTo>
                    <a:pt x="60" y="222"/>
                  </a:lnTo>
                  <a:lnTo>
                    <a:pt x="60" y="228"/>
                  </a:lnTo>
                  <a:lnTo>
                    <a:pt x="90" y="222"/>
                  </a:lnTo>
                  <a:lnTo>
                    <a:pt x="90" y="246"/>
                  </a:lnTo>
                  <a:lnTo>
                    <a:pt x="114" y="258"/>
                  </a:lnTo>
                  <a:lnTo>
                    <a:pt x="90" y="258"/>
                  </a:lnTo>
                  <a:lnTo>
                    <a:pt x="78" y="264"/>
                  </a:lnTo>
                  <a:lnTo>
                    <a:pt x="72" y="264"/>
                  </a:lnTo>
                  <a:lnTo>
                    <a:pt x="72" y="270"/>
                  </a:lnTo>
                  <a:lnTo>
                    <a:pt x="78" y="276"/>
                  </a:lnTo>
                  <a:lnTo>
                    <a:pt x="90" y="276"/>
                  </a:lnTo>
                  <a:lnTo>
                    <a:pt x="96" y="282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26" y="300"/>
                  </a:lnTo>
                  <a:lnTo>
                    <a:pt x="132" y="306"/>
                  </a:lnTo>
                  <a:lnTo>
                    <a:pt x="138" y="354"/>
                  </a:lnTo>
                  <a:lnTo>
                    <a:pt x="150" y="360"/>
                  </a:lnTo>
                  <a:lnTo>
                    <a:pt x="150" y="372"/>
                  </a:lnTo>
                  <a:lnTo>
                    <a:pt x="144" y="378"/>
                  </a:lnTo>
                  <a:lnTo>
                    <a:pt x="144" y="402"/>
                  </a:lnTo>
                  <a:lnTo>
                    <a:pt x="150" y="414"/>
                  </a:lnTo>
                  <a:lnTo>
                    <a:pt x="150" y="426"/>
                  </a:lnTo>
                  <a:lnTo>
                    <a:pt x="156" y="432"/>
                  </a:lnTo>
                  <a:lnTo>
                    <a:pt x="156" y="438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210" y="420"/>
                  </a:lnTo>
                  <a:lnTo>
                    <a:pt x="210" y="408"/>
                  </a:lnTo>
                  <a:lnTo>
                    <a:pt x="216" y="402"/>
                  </a:lnTo>
                  <a:lnTo>
                    <a:pt x="228" y="396"/>
                  </a:lnTo>
                  <a:lnTo>
                    <a:pt x="246" y="378"/>
                  </a:lnTo>
                  <a:lnTo>
                    <a:pt x="258" y="372"/>
                  </a:lnTo>
                  <a:lnTo>
                    <a:pt x="294" y="372"/>
                  </a:lnTo>
                  <a:lnTo>
                    <a:pt x="306" y="378"/>
                  </a:lnTo>
                  <a:lnTo>
                    <a:pt x="312" y="372"/>
                  </a:lnTo>
                  <a:lnTo>
                    <a:pt x="312" y="366"/>
                  </a:lnTo>
                  <a:lnTo>
                    <a:pt x="372" y="366"/>
                  </a:lnTo>
                  <a:lnTo>
                    <a:pt x="384" y="378"/>
                  </a:lnTo>
                  <a:lnTo>
                    <a:pt x="384" y="390"/>
                  </a:lnTo>
                  <a:lnTo>
                    <a:pt x="414" y="390"/>
                  </a:lnTo>
                  <a:lnTo>
                    <a:pt x="420" y="396"/>
                  </a:lnTo>
                  <a:lnTo>
                    <a:pt x="432" y="402"/>
                  </a:lnTo>
                  <a:lnTo>
                    <a:pt x="438" y="408"/>
                  </a:lnTo>
                  <a:lnTo>
                    <a:pt x="450" y="414"/>
                  </a:lnTo>
                  <a:lnTo>
                    <a:pt x="450" y="408"/>
                  </a:lnTo>
                  <a:lnTo>
                    <a:pt x="468" y="408"/>
                  </a:lnTo>
                  <a:lnTo>
                    <a:pt x="480" y="414"/>
                  </a:lnTo>
                  <a:lnTo>
                    <a:pt x="498" y="414"/>
                  </a:lnTo>
                  <a:lnTo>
                    <a:pt x="510" y="420"/>
                  </a:lnTo>
                  <a:lnTo>
                    <a:pt x="516" y="420"/>
                  </a:lnTo>
                  <a:lnTo>
                    <a:pt x="522" y="426"/>
                  </a:lnTo>
                  <a:lnTo>
                    <a:pt x="522" y="432"/>
                  </a:lnTo>
                  <a:lnTo>
                    <a:pt x="528" y="444"/>
                  </a:lnTo>
                  <a:lnTo>
                    <a:pt x="534" y="450"/>
                  </a:lnTo>
                  <a:lnTo>
                    <a:pt x="540" y="450"/>
                  </a:lnTo>
                  <a:lnTo>
                    <a:pt x="546" y="456"/>
                  </a:lnTo>
                  <a:lnTo>
                    <a:pt x="558" y="456"/>
                  </a:lnTo>
                  <a:lnTo>
                    <a:pt x="570" y="468"/>
                  </a:lnTo>
                  <a:lnTo>
                    <a:pt x="582" y="474"/>
                  </a:lnTo>
                  <a:lnTo>
                    <a:pt x="588" y="486"/>
                  </a:lnTo>
                  <a:lnTo>
                    <a:pt x="594" y="492"/>
                  </a:lnTo>
                  <a:lnTo>
                    <a:pt x="660" y="486"/>
                  </a:lnTo>
                  <a:lnTo>
                    <a:pt x="660" y="522"/>
                  </a:lnTo>
                  <a:lnTo>
                    <a:pt x="672" y="522"/>
                  </a:lnTo>
                  <a:lnTo>
                    <a:pt x="666" y="546"/>
                  </a:lnTo>
                  <a:lnTo>
                    <a:pt x="678" y="576"/>
                  </a:lnTo>
                  <a:lnTo>
                    <a:pt x="684" y="582"/>
                  </a:lnTo>
                  <a:lnTo>
                    <a:pt x="696" y="582"/>
                  </a:lnTo>
                  <a:lnTo>
                    <a:pt x="702" y="588"/>
                  </a:lnTo>
                  <a:lnTo>
                    <a:pt x="714" y="588"/>
                  </a:lnTo>
                  <a:lnTo>
                    <a:pt x="720" y="582"/>
                  </a:lnTo>
                  <a:lnTo>
                    <a:pt x="726" y="582"/>
                  </a:lnTo>
                  <a:lnTo>
                    <a:pt x="750" y="606"/>
                  </a:lnTo>
                  <a:lnTo>
                    <a:pt x="774" y="606"/>
                  </a:lnTo>
                  <a:lnTo>
                    <a:pt x="786" y="600"/>
                  </a:lnTo>
                  <a:lnTo>
                    <a:pt x="792" y="594"/>
                  </a:lnTo>
                  <a:lnTo>
                    <a:pt x="804" y="570"/>
                  </a:lnTo>
                  <a:lnTo>
                    <a:pt x="804" y="558"/>
                  </a:lnTo>
                  <a:lnTo>
                    <a:pt x="816" y="558"/>
                  </a:lnTo>
                  <a:lnTo>
                    <a:pt x="852" y="540"/>
                  </a:lnTo>
                  <a:lnTo>
                    <a:pt x="858" y="528"/>
                  </a:lnTo>
                  <a:lnTo>
                    <a:pt x="870" y="522"/>
                  </a:lnTo>
                  <a:lnTo>
                    <a:pt x="882" y="522"/>
                  </a:lnTo>
                  <a:lnTo>
                    <a:pt x="882" y="462"/>
                  </a:lnTo>
                  <a:lnTo>
                    <a:pt x="888" y="450"/>
                  </a:lnTo>
                  <a:lnTo>
                    <a:pt x="900" y="444"/>
                  </a:lnTo>
                  <a:lnTo>
                    <a:pt x="936" y="444"/>
                  </a:lnTo>
                  <a:lnTo>
                    <a:pt x="936" y="420"/>
                  </a:lnTo>
                  <a:lnTo>
                    <a:pt x="948" y="420"/>
                  </a:lnTo>
                  <a:lnTo>
                    <a:pt x="960" y="426"/>
                  </a:lnTo>
                  <a:lnTo>
                    <a:pt x="966" y="432"/>
                  </a:lnTo>
                  <a:lnTo>
                    <a:pt x="978" y="438"/>
                  </a:lnTo>
                  <a:lnTo>
                    <a:pt x="1008" y="438"/>
                  </a:lnTo>
                  <a:lnTo>
                    <a:pt x="1008" y="426"/>
                  </a:lnTo>
                  <a:lnTo>
                    <a:pt x="996" y="414"/>
                  </a:lnTo>
                  <a:lnTo>
                    <a:pt x="996" y="396"/>
                  </a:lnTo>
                  <a:lnTo>
                    <a:pt x="1002" y="390"/>
                  </a:lnTo>
                  <a:lnTo>
                    <a:pt x="954" y="360"/>
                  </a:lnTo>
                  <a:lnTo>
                    <a:pt x="930" y="366"/>
                  </a:lnTo>
                  <a:lnTo>
                    <a:pt x="924" y="366"/>
                  </a:lnTo>
                  <a:lnTo>
                    <a:pt x="912" y="354"/>
                  </a:lnTo>
                  <a:lnTo>
                    <a:pt x="900" y="354"/>
                  </a:lnTo>
                  <a:lnTo>
                    <a:pt x="888" y="342"/>
                  </a:lnTo>
                  <a:lnTo>
                    <a:pt x="876" y="336"/>
                  </a:lnTo>
                  <a:lnTo>
                    <a:pt x="870" y="330"/>
                  </a:lnTo>
                  <a:lnTo>
                    <a:pt x="846" y="318"/>
                  </a:lnTo>
                  <a:lnTo>
                    <a:pt x="828" y="306"/>
                  </a:lnTo>
                  <a:lnTo>
                    <a:pt x="804" y="306"/>
                  </a:lnTo>
                  <a:lnTo>
                    <a:pt x="774" y="288"/>
                  </a:lnTo>
                  <a:lnTo>
                    <a:pt x="768" y="282"/>
                  </a:lnTo>
                  <a:lnTo>
                    <a:pt x="762" y="270"/>
                  </a:lnTo>
                  <a:lnTo>
                    <a:pt x="750" y="258"/>
                  </a:lnTo>
                  <a:lnTo>
                    <a:pt x="744" y="258"/>
                  </a:lnTo>
                  <a:lnTo>
                    <a:pt x="732" y="252"/>
                  </a:lnTo>
                  <a:lnTo>
                    <a:pt x="714" y="252"/>
                  </a:lnTo>
                  <a:lnTo>
                    <a:pt x="702" y="246"/>
                  </a:lnTo>
                  <a:lnTo>
                    <a:pt x="690" y="234"/>
                  </a:lnTo>
                  <a:lnTo>
                    <a:pt x="672" y="198"/>
                  </a:lnTo>
                  <a:lnTo>
                    <a:pt x="666" y="192"/>
                  </a:lnTo>
                  <a:lnTo>
                    <a:pt x="666" y="186"/>
                  </a:lnTo>
                  <a:lnTo>
                    <a:pt x="648" y="168"/>
                  </a:lnTo>
                  <a:lnTo>
                    <a:pt x="630" y="138"/>
                  </a:lnTo>
                  <a:lnTo>
                    <a:pt x="594" y="120"/>
                  </a:lnTo>
                  <a:lnTo>
                    <a:pt x="594" y="126"/>
                  </a:lnTo>
                  <a:lnTo>
                    <a:pt x="540" y="120"/>
                  </a:lnTo>
                  <a:lnTo>
                    <a:pt x="510" y="120"/>
                  </a:lnTo>
                  <a:lnTo>
                    <a:pt x="492" y="102"/>
                  </a:lnTo>
                  <a:lnTo>
                    <a:pt x="492" y="90"/>
                  </a:lnTo>
                  <a:lnTo>
                    <a:pt x="504" y="78"/>
                  </a:lnTo>
                  <a:lnTo>
                    <a:pt x="492" y="72"/>
                  </a:lnTo>
                  <a:lnTo>
                    <a:pt x="492" y="60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44" y="42"/>
                  </a:lnTo>
                  <a:lnTo>
                    <a:pt x="432" y="36"/>
                  </a:lnTo>
                  <a:lnTo>
                    <a:pt x="432" y="24"/>
                  </a:lnTo>
                  <a:lnTo>
                    <a:pt x="408" y="24"/>
                  </a:lnTo>
                  <a:lnTo>
                    <a:pt x="390" y="0"/>
                  </a:lnTo>
                  <a:lnTo>
                    <a:pt x="384" y="12"/>
                  </a:lnTo>
                  <a:lnTo>
                    <a:pt x="354" y="6"/>
                  </a:lnTo>
                  <a:lnTo>
                    <a:pt x="384" y="36"/>
                  </a:lnTo>
                  <a:lnTo>
                    <a:pt x="378" y="30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54" y="24"/>
                  </a:lnTo>
                  <a:lnTo>
                    <a:pt x="348" y="30"/>
                  </a:lnTo>
                  <a:lnTo>
                    <a:pt x="348" y="42"/>
                  </a:lnTo>
                  <a:lnTo>
                    <a:pt x="342" y="42"/>
                  </a:lnTo>
                  <a:lnTo>
                    <a:pt x="336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94" y="72"/>
                  </a:lnTo>
                  <a:lnTo>
                    <a:pt x="294" y="84"/>
                  </a:lnTo>
                  <a:lnTo>
                    <a:pt x="300" y="102"/>
                  </a:lnTo>
                  <a:lnTo>
                    <a:pt x="312" y="108"/>
                  </a:lnTo>
                  <a:lnTo>
                    <a:pt x="318" y="120"/>
                  </a:lnTo>
                  <a:lnTo>
                    <a:pt x="252" y="120"/>
                  </a:lnTo>
                  <a:lnTo>
                    <a:pt x="240" y="108"/>
                  </a:lnTo>
                  <a:lnTo>
                    <a:pt x="228" y="108"/>
                  </a:lnTo>
                  <a:lnTo>
                    <a:pt x="228" y="114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14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60"/>
                  </a:lnTo>
                  <a:lnTo>
                    <a:pt x="144" y="54"/>
                  </a:lnTo>
                  <a:lnTo>
                    <a:pt x="132" y="42"/>
                  </a:lnTo>
                  <a:lnTo>
                    <a:pt x="120" y="42"/>
                  </a:lnTo>
                  <a:lnTo>
                    <a:pt x="96" y="30"/>
                  </a:lnTo>
                  <a:lnTo>
                    <a:pt x="78" y="30"/>
                  </a:lnTo>
                  <a:lnTo>
                    <a:pt x="72" y="36"/>
                  </a:lnTo>
                  <a:lnTo>
                    <a:pt x="72" y="48"/>
                  </a:lnTo>
                  <a:lnTo>
                    <a:pt x="84" y="54"/>
                  </a:lnTo>
                  <a:lnTo>
                    <a:pt x="90" y="54"/>
                  </a:lnTo>
                  <a:lnTo>
                    <a:pt x="90" y="66"/>
                  </a:lnTo>
                  <a:lnTo>
                    <a:pt x="96" y="66"/>
                  </a:lnTo>
                  <a:lnTo>
                    <a:pt x="96" y="72"/>
                  </a:lnTo>
                  <a:lnTo>
                    <a:pt x="102" y="84"/>
                  </a:lnTo>
                  <a:lnTo>
                    <a:pt x="114" y="90"/>
                  </a:lnTo>
                  <a:lnTo>
                    <a:pt x="126" y="102"/>
                  </a:lnTo>
                  <a:lnTo>
                    <a:pt x="138" y="108"/>
                  </a:lnTo>
                  <a:lnTo>
                    <a:pt x="150" y="120"/>
                  </a:lnTo>
                  <a:lnTo>
                    <a:pt x="162" y="126"/>
                  </a:lnTo>
                  <a:lnTo>
                    <a:pt x="162" y="150"/>
                  </a:lnTo>
                  <a:lnTo>
                    <a:pt x="156" y="156"/>
                  </a:lnTo>
                  <a:lnTo>
                    <a:pt x="144" y="156"/>
                  </a:lnTo>
                  <a:lnTo>
                    <a:pt x="132" y="150"/>
                  </a:lnTo>
                  <a:lnTo>
                    <a:pt x="120" y="138"/>
                  </a:lnTo>
                  <a:lnTo>
                    <a:pt x="120" y="162"/>
                  </a:lnTo>
                  <a:lnTo>
                    <a:pt x="78" y="162"/>
                  </a:lnTo>
                  <a:lnTo>
                    <a:pt x="66" y="144"/>
                  </a:lnTo>
                  <a:lnTo>
                    <a:pt x="60" y="150"/>
                  </a:lnTo>
                  <a:lnTo>
                    <a:pt x="48" y="138"/>
                  </a:lnTo>
                  <a:lnTo>
                    <a:pt x="42" y="126"/>
                  </a:lnTo>
                  <a:lnTo>
                    <a:pt x="36" y="120"/>
                  </a:lnTo>
                  <a:lnTo>
                    <a:pt x="36" y="102"/>
                  </a:lnTo>
                  <a:lnTo>
                    <a:pt x="30" y="96"/>
                  </a:lnTo>
                  <a:lnTo>
                    <a:pt x="30" y="84"/>
                  </a:lnTo>
                  <a:lnTo>
                    <a:pt x="24" y="78"/>
                  </a:lnTo>
                  <a:lnTo>
                    <a:pt x="0" y="78"/>
                  </a:lnTo>
                  <a:lnTo>
                    <a:pt x="0" y="84"/>
                  </a:lnTo>
                  <a:lnTo>
                    <a:pt x="6" y="90"/>
                  </a:lnTo>
                  <a:lnTo>
                    <a:pt x="12" y="102"/>
                  </a:lnTo>
                  <a:lnTo>
                    <a:pt x="18" y="108"/>
                  </a:lnTo>
                  <a:lnTo>
                    <a:pt x="24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48" y="15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38" name="Turkey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5019911" y="3249252"/>
              <a:ext cx="431306" cy="157998"/>
            </a:xfrm>
            <a:custGeom>
              <a:avLst/>
              <a:gdLst>
                <a:gd name="T0" fmla="*/ 2147483647 w 1332"/>
                <a:gd name="T1" fmla="*/ 2147483647 h 510"/>
                <a:gd name="T2" fmla="*/ 2147483647 w 1332"/>
                <a:gd name="T3" fmla="*/ 2147483647 h 510"/>
                <a:gd name="T4" fmla="*/ 2147483647 w 1332"/>
                <a:gd name="T5" fmla="*/ 2147483647 h 510"/>
                <a:gd name="T6" fmla="*/ 2147483647 w 1332"/>
                <a:gd name="T7" fmla="*/ 2147483647 h 510"/>
                <a:gd name="T8" fmla="*/ 2147483647 w 1332"/>
                <a:gd name="T9" fmla="*/ 2147483647 h 510"/>
                <a:gd name="T10" fmla="*/ 2147483647 w 1332"/>
                <a:gd name="T11" fmla="*/ 2147483647 h 510"/>
                <a:gd name="T12" fmla="*/ 2147483647 w 1332"/>
                <a:gd name="T13" fmla="*/ 2147483647 h 510"/>
                <a:gd name="T14" fmla="*/ 2147483647 w 1332"/>
                <a:gd name="T15" fmla="*/ 2147483647 h 510"/>
                <a:gd name="T16" fmla="*/ 2147483647 w 1332"/>
                <a:gd name="T17" fmla="*/ 2147483647 h 510"/>
                <a:gd name="T18" fmla="*/ 2147483647 w 1332"/>
                <a:gd name="T19" fmla="*/ 2147483647 h 510"/>
                <a:gd name="T20" fmla="*/ 2147483647 w 1332"/>
                <a:gd name="T21" fmla="*/ 2147483647 h 510"/>
                <a:gd name="T22" fmla="*/ 2147483647 w 1332"/>
                <a:gd name="T23" fmla="*/ 2147483647 h 510"/>
                <a:gd name="T24" fmla="*/ 2147483647 w 1332"/>
                <a:gd name="T25" fmla="*/ 2147483647 h 510"/>
                <a:gd name="T26" fmla="*/ 2147483647 w 1332"/>
                <a:gd name="T27" fmla="*/ 2147483647 h 510"/>
                <a:gd name="T28" fmla="*/ 2147483647 w 1332"/>
                <a:gd name="T29" fmla="*/ 2147483647 h 510"/>
                <a:gd name="T30" fmla="*/ 2147483647 w 1332"/>
                <a:gd name="T31" fmla="*/ 2147483647 h 510"/>
                <a:gd name="T32" fmla="*/ 2147483647 w 1332"/>
                <a:gd name="T33" fmla="*/ 2147483647 h 510"/>
                <a:gd name="T34" fmla="*/ 2147483647 w 1332"/>
                <a:gd name="T35" fmla="*/ 2147483647 h 510"/>
                <a:gd name="T36" fmla="*/ 2147483647 w 1332"/>
                <a:gd name="T37" fmla="*/ 2147483647 h 510"/>
                <a:gd name="T38" fmla="*/ 2147483647 w 1332"/>
                <a:gd name="T39" fmla="*/ 2147483647 h 510"/>
                <a:gd name="T40" fmla="*/ 2147483647 w 1332"/>
                <a:gd name="T41" fmla="*/ 2147483647 h 510"/>
                <a:gd name="T42" fmla="*/ 2147483647 w 1332"/>
                <a:gd name="T43" fmla="*/ 2147483647 h 510"/>
                <a:gd name="T44" fmla="*/ 2147483647 w 1332"/>
                <a:gd name="T45" fmla="*/ 2147483647 h 510"/>
                <a:gd name="T46" fmla="*/ 2147483647 w 1332"/>
                <a:gd name="T47" fmla="*/ 2147483647 h 510"/>
                <a:gd name="T48" fmla="*/ 2147483647 w 1332"/>
                <a:gd name="T49" fmla="*/ 2147483647 h 510"/>
                <a:gd name="T50" fmla="*/ 2147483647 w 1332"/>
                <a:gd name="T51" fmla="*/ 2147483647 h 510"/>
                <a:gd name="T52" fmla="*/ 2147483647 w 1332"/>
                <a:gd name="T53" fmla="*/ 2147483647 h 510"/>
                <a:gd name="T54" fmla="*/ 2147483647 w 1332"/>
                <a:gd name="T55" fmla="*/ 2147483647 h 510"/>
                <a:gd name="T56" fmla="*/ 2147483647 w 1332"/>
                <a:gd name="T57" fmla="*/ 2147483647 h 510"/>
                <a:gd name="T58" fmla="*/ 2147483647 w 1332"/>
                <a:gd name="T59" fmla="*/ 2147483647 h 510"/>
                <a:gd name="T60" fmla="*/ 2147483647 w 1332"/>
                <a:gd name="T61" fmla="*/ 2147483647 h 510"/>
                <a:gd name="T62" fmla="*/ 2147483647 w 1332"/>
                <a:gd name="T63" fmla="*/ 2147483647 h 510"/>
                <a:gd name="T64" fmla="*/ 2147483647 w 1332"/>
                <a:gd name="T65" fmla="*/ 2147483647 h 510"/>
                <a:gd name="T66" fmla="*/ 2147483647 w 1332"/>
                <a:gd name="T67" fmla="*/ 2147483647 h 510"/>
                <a:gd name="T68" fmla="*/ 2147483647 w 1332"/>
                <a:gd name="T69" fmla="*/ 2147483647 h 510"/>
                <a:gd name="T70" fmla="*/ 2147483647 w 1332"/>
                <a:gd name="T71" fmla="*/ 2147483647 h 510"/>
                <a:gd name="T72" fmla="*/ 2147483647 w 1332"/>
                <a:gd name="T73" fmla="*/ 2147483647 h 510"/>
                <a:gd name="T74" fmla="*/ 2147483647 w 1332"/>
                <a:gd name="T75" fmla="*/ 2147483647 h 510"/>
                <a:gd name="T76" fmla="*/ 2147483647 w 1332"/>
                <a:gd name="T77" fmla="*/ 2147483647 h 510"/>
                <a:gd name="T78" fmla="*/ 2147483647 w 1332"/>
                <a:gd name="T79" fmla="*/ 2147483647 h 510"/>
                <a:gd name="T80" fmla="*/ 2147483647 w 1332"/>
                <a:gd name="T81" fmla="*/ 2147483647 h 510"/>
                <a:gd name="T82" fmla="*/ 2147483647 w 1332"/>
                <a:gd name="T83" fmla="*/ 2147483647 h 510"/>
                <a:gd name="T84" fmla="*/ 2147483647 w 1332"/>
                <a:gd name="T85" fmla="*/ 2147483647 h 510"/>
                <a:gd name="T86" fmla="*/ 2147483647 w 1332"/>
                <a:gd name="T87" fmla="*/ 2147483647 h 510"/>
                <a:gd name="T88" fmla="*/ 2147483647 w 1332"/>
                <a:gd name="T89" fmla="*/ 2147483647 h 510"/>
                <a:gd name="T90" fmla="*/ 2147483647 w 1332"/>
                <a:gd name="T91" fmla="*/ 2147483647 h 510"/>
                <a:gd name="T92" fmla="*/ 2147483647 w 1332"/>
                <a:gd name="T93" fmla="*/ 2147483647 h 510"/>
                <a:gd name="T94" fmla="*/ 2147483647 w 1332"/>
                <a:gd name="T95" fmla="*/ 2147483647 h 510"/>
                <a:gd name="T96" fmla="*/ 2147483647 w 1332"/>
                <a:gd name="T97" fmla="*/ 2147483647 h 510"/>
                <a:gd name="T98" fmla="*/ 2147483647 w 1332"/>
                <a:gd name="T99" fmla="*/ 2147483647 h 510"/>
                <a:gd name="T100" fmla="*/ 2147483647 w 1332"/>
                <a:gd name="T101" fmla="*/ 2147483647 h 510"/>
                <a:gd name="T102" fmla="*/ 2147483647 w 1332"/>
                <a:gd name="T103" fmla="*/ 2147483647 h 510"/>
                <a:gd name="T104" fmla="*/ 2147483647 w 1332"/>
                <a:gd name="T105" fmla="*/ 2147483647 h 510"/>
                <a:gd name="T106" fmla="*/ 2147483647 w 1332"/>
                <a:gd name="T107" fmla="*/ 2147483647 h 510"/>
                <a:gd name="T108" fmla="*/ 2147483647 w 1332"/>
                <a:gd name="T109" fmla="*/ 2147483647 h 510"/>
                <a:gd name="T110" fmla="*/ 2147483647 w 1332"/>
                <a:gd name="T111" fmla="*/ 2147483647 h 510"/>
                <a:gd name="T112" fmla="*/ 2147483647 w 1332"/>
                <a:gd name="T113" fmla="*/ 2147483647 h 510"/>
                <a:gd name="T114" fmla="*/ 2147483647 w 1332"/>
                <a:gd name="T115" fmla="*/ 2147483647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32"/>
                <a:gd name="T175" fmla="*/ 0 h 510"/>
                <a:gd name="T176" fmla="*/ 1332 w 1332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32" h="510">
                  <a:moveTo>
                    <a:pt x="6" y="192"/>
                  </a:moveTo>
                  <a:lnTo>
                    <a:pt x="24" y="186"/>
                  </a:lnTo>
                  <a:lnTo>
                    <a:pt x="30" y="174"/>
                  </a:lnTo>
                  <a:lnTo>
                    <a:pt x="0" y="174"/>
                  </a:lnTo>
                  <a:lnTo>
                    <a:pt x="6" y="192"/>
                  </a:lnTo>
                  <a:close/>
                  <a:moveTo>
                    <a:pt x="42" y="162"/>
                  </a:move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0" y="162"/>
                  </a:lnTo>
                  <a:lnTo>
                    <a:pt x="54" y="156"/>
                  </a:lnTo>
                  <a:lnTo>
                    <a:pt x="54" y="150"/>
                  </a:lnTo>
                  <a:lnTo>
                    <a:pt x="48" y="150"/>
                  </a:lnTo>
                  <a:lnTo>
                    <a:pt x="48" y="156"/>
                  </a:lnTo>
                  <a:lnTo>
                    <a:pt x="42" y="162"/>
                  </a:lnTo>
                  <a:close/>
                  <a:moveTo>
                    <a:pt x="96" y="138"/>
                  </a:moveTo>
                  <a:lnTo>
                    <a:pt x="66" y="138"/>
                  </a:lnTo>
                  <a:lnTo>
                    <a:pt x="66" y="174"/>
                  </a:lnTo>
                  <a:lnTo>
                    <a:pt x="78" y="150"/>
                  </a:lnTo>
                  <a:lnTo>
                    <a:pt x="96" y="138"/>
                  </a:lnTo>
                  <a:close/>
                  <a:moveTo>
                    <a:pt x="1332" y="402"/>
                  </a:moveTo>
                  <a:lnTo>
                    <a:pt x="1332" y="390"/>
                  </a:lnTo>
                  <a:lnTo>
                    <a:pt x="1308" y="384"/>
                  </a:lnTo>
                  <a:lnTo>
                    <a:pt x="1308" y="354"/>
                  </a:lnTo>
                  <a:lnTo>
                    <a:pt x="1272" y="336"/>
                  </a:lnTo>
                  <a:lnTo>
                    <a:pt x="1278" y="330"/>
                  </a:lnTo>
                  <a:lnTo>
                    <a:pt x="1284" y="318"/>
                  </a:lnTo>
                  <a:lnTo>
                    <a:pt x="1284" y="312"/>
                  </a:lnTo>
                  <a:lnTo>
                    <a:pt x="1290" y="306"/>
                  </a:lnTo>
                  <a:lnTo>
                    <a:pt x="1284" y="306"/>
                  </a:lnTo>
                  <a:lnTo>
                    <a:pt x="1278" y="300"/>
                  </a:lnTo>
                  <a:lnTo>
                    <a:pt x="1278" y="288"/>
                  </a:lnTo>
                  <a:lnTo>
                    <a:pt x="1266" y="276"/>
                  </a:lnTo>
                  <a:lnTo>
                    <a:pt x="1266" y="246"/>
                  </a:lnTo>
                  <a:lnTo>
                    <a:pt x="1248" y="222"/>
                  </a:lnTo>
                  <a:lnTo>
                    <a:pt x="1272" y="222"/>
                  </a:lnTo>
                  <a:lnTo>
                    <a:pt x="1272" y="216"/>
                  </a:lnTo>
                  <a:lnTo>
                    <a:pt x="1278" y="210"/>
                  </a:lnTo>
                  <a:lnTo>
                    <a:pt x="1272" y="198"/>
                  </a:lnTo>
                  <a:lnTo>
                    <a:pt x="1272" y="186"/>
                  </a:lnTo>
                  <a:lnTo>
                    <a:pt x="1266" y="180"/>
                  </a:lnTo>
                  <a:lnTo>
                    <a:pt x="1266" y="174"/>
                  </a:lnTo>
                  <a:lnTo>
                    <a:pt x="1260" y="174"/>
                  </a:lnTo>
                  <a:lnTo>
                    <a:pt x="1248" y="180"/>
                  </a:lnTo>
                  <a:lnTo>
                    <a:pt x="1236" y="180"/>
                  </a:lnTo>
                  <a:lnTo>
                    <a:pt x="1224" y="174"/>
                  </a:lnTo>
                  <a:lnTo>
                    <a:pt x="1218" y="168"/>
                  </a:lnTo>
                  <a:lnTo>
                    <a:pt x="1212" y="156"/>
                  </a:lnTo>
                  <a:lnTo>
                    <a:pt x="1212" y="144"/>
                  </a:lnTo>
                  <a:lnTo>
                    <a:pt x="1200" y="108"/>
                  </a:lnTo>
                  <a:lnTo>
                    <a:pt x="1194" y="96"/>
                  </a:lnTo>
                  <a:lnTo>
                    <a:pt x="1194" y="84"/>
                  </a:lnTo>
                  <a:lnTo>
                    <a:pt x="1188" y="78"/>
                  </a:lnTo>
                  <a:lnTo>
                    <a:pt x="1164" y="78"/>
                  </a:lnTo>
                  <a:lnTo>
                    <a:pt x="1164" y="72"/>
                  </a:lnTo>
                  <a:lnTo>
                    <a:pt x="1158" y="60"/>
                  </a:lnTo>
                  <a:lnTo>
                    <a:pt x="1152" y="54"/>
                  </a:lnTo>
                  <a:lnTo>
                    <a:pt x="1140" y="48"/>
                  </a:lnTo>
                  <a:lnTo>
                    <a:pt x="1128" y="48"/>
                  </a:lnTo>
                  <a:lnTo>
                    <a:pt x="1116" y="54"/>
                  </a:lnTo>
                  <a:lnTo>
                    <a:pt x="1110" y="60"/>
                  </a:lnTo>
                  <a:lnTo>
                    <a:pt x="1074" y="54"/>
                  </a:lnTo>
                  <a:lnTo>
                    <a:pt x="1062" y="66"/>
                  </a:lnTo>
                  <a:lnTo>
                    <a:pt x="1026" y="90"/>
                  </a:lnTo>
                  <a:lnTo>
                    <a:pt x="1014" y="96"/>
                  </a:lnTo>
                  <a:lnTo>
                    <a:pt x="930" y="96"/>
                  </a:lnTo>
                  <a:lnTo>
                    <a:pt x="876" y="108"/>
                  </a:lnTo>
                  <a:lnTo>
                    <a:pt x="810" y="84"/>
                  </a:lnTo>
                  <a:lnTo>
                    <a:pt x="786" y="96"/>
                  </a:lnTo>
                  <a:lnTo>
                    <a:pt x="786" y="90"/>
                  </a:lnTo>
                  <a:lnTo>
                    <a:pt x="780" y="84"/>
                  </a:lnTo>
                  <a:lnTo>
                    <a:pt x="774" y="72"/>
                  </a:lnTo>
                  <a:lnTo>
                    <a:pt x="768" y="66"/>
                  </a:lnTo>
                  <a:lnTo>
                    <a:pt x="756" y="66"/>
                  </a:lnTo>
                  <a:lnTo>
                    <a:pt x="744" y="72"/>
                  </a:lnTo>
                  <a:lnTo>
                    <a:pt x="738" y="78"/>
                  </a:lnTo>
                  <a:lnTo>
                    <a:pt x="708" y="60"/>
                  </a:lnTo>
                  <a:lnTo>
                    <a:pt x="708" y="36"/>
                  </a:lnTo>
                  <a:lnTo>
                    <a:pt x="660" y="48"/>
                  </a:lnTo>
                  <a:lnTo>
                    <a:pt x="636" y="30"/>
                  </a:lnTo>
                  <a:lnTo>
                    <a:pt x="630" y="12"/>
                  </a:lnTo>
                  <a:lnTo>
                    <a:pt x="624" y="12"/>
                  </a:lnTo>
                  <a:lnTo>
                    <a:pt x="618" y="18"/>
                  </a:lnTo>
                  <a:lnTo>
                    <a:pt x="600" y="18"/>
                  </a:lnTo>
                  <a:lnTo>
                    <a:pt x="588" y="24"/>
                  </a:lnTo>
                  <a:lnTo>
                    <a:pt x="558" y="24"/>
                  </a:lnTo>
                  <a:lnTo>
                    <a:pt x="534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56" y="36"/>
                  </a:lnTo>
                  <a:lnTo>
                    <a:pt x="444" y="42"/>
                  </a:lnTo>
                  <a:lnTo>
                    <a:pt x="438" y="48"/>
                  </a:lnTo>
                  <a:lnTo>
                    <a:pt x="426" y="54"/>
                  </a:lnTo>
                  <a:lnTo>
                    <a:pt x="414" y="66"/>
                  </a:lnTo>
                  <a:lnTo>
                    <a:pt x="408" y="66"/>
                  </a:lnTo>
                  <a:lnTo>
                    <a:pt x="396" y="90"/>
                  </a:lnTo>
                  <a:lnTo>
                    <a:pt x="378" y="90"/>
                  </a:lnTo>
                  <a:lnTo>
                    <a:pt x="354" y="84"/>
                  </a:lnTo>
                  <a:lnTo>
                    <a:pt x="294" y="84"/>
                  </a:lnTo>
                  <a:lnTo>
                    <a:pt x="282" y="78"/>
                  </a:lnTo>
                  <a:lnTo>
                    <a:pt x="264" y="78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34" y="66"/>
                  </a:lnTo>
                  <a:lnTo>
                    <a:pt x="198" y="66"/>
                  </a:lnTo>
                  <a:lnTo>
                    <a:pt x="186" y="54"/>
                  </a:lnTo>
                  <a:lnTo>
                    <a:pt x="180" y="36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56" y="18"/>
                  </a:lnTo>
                  <a:lnTo>
                    <a:pt x="144" y="18"/>
                  </a:lnTo>
                  <a:lnTo>
                    <a:pt x="132" y="0"/>
                  </a:lnTo>
                  <a:lnTo>
                    <a:pt x="120" y="18"/>
                  </a:lnTo>
                  <a:lnTo>
                    <a:pt x="90" y="12"/>
                  </a:lnTo>
                  <a:lnTo>
                    <a:pt x="72" y="36"/>
                  </a:lnTo>
                  <a:lnTo>
                    <a:pt x="78" y="42"/>
                  </a:lnTo>
                  <a:lnTo>
                    <a:pt x="90" y="42"/>
                  </a:lnTo>
                  <a:lnTo>
                    <a:pt x="90" y="48"/>
                  </a:lnTo>
                  <a:lnTo>
                    <a:pt x="96" y="54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66" y="120"/>
                  </a:lnTo>
                  <a:lnTo>
                    <a:pt x="66" y="132"/>
                  </a:lnTo>
                  <a:lnTo>
                    <a:pt x="72" y="132"/>
                  </a:lnTo>
                  <a:lnTo>
                    <a:pt x="90" y="126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14" y="120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8" y="120"/>
                  </a:lnTo>
                  <a:lnTo>
                    <a:pt x="162" y="96"/>
                  </a:lnTo>
                  <a:lnTo>
                    <a:pt x="168" y="96"/>
                  </a:lnTo>
                  <a:lnTo>
                    <a:pt x="174" y="90"/>
                  </a:lnTo>
                  <a:lnTo>
                    <a:pt x="186" y="90"/>
                  </a:lnTo>
                  <a:lnTo>
                    <a:pt x="204" y="84"/>
                  </a:lnTo>
                  <a:lnTo>
                    <a:pt x="216" y="84"/>
                  </a:lnTo>
                  <a:lnTo>
                    <a:pt x="252" y="102"/>
                  </a:lnTo>
                  <a:lnTo>
                    <a:pt x="270" y="108"/>
                  </a:lnTo>
                  <a:lnTo>
                    <a:pt x="282" y="108"/>
                  </a:lnTo>
                  <a:lnTo>
                    <a:pt x="288" y="114"/>
                  </a:lnTo>
                  <a:lnTo>
                    <a:pt x="294" y="114"/>
                  </a:lnTo>
                  <a:lnTo>
                    <a:pt x="270" y="114"/>
                  </a:lnTo>
                  <a:lnTo>
                    <a:pt x="258" y="120"/>
                  </a:lnTo>
                  <a:lnTo>
                    <a:pt x="246" y="120"/>
                  </a:lnTo>
                  <a:lnTo>
                    <a:pt x="246" y="132"/>
                  </a:lnTo>
                  <a:lnTo>
                    <a:pt x="240" y="138"/>
                  </a:lnTo>
                  <a:lnTo>
                    <a:pt x="186" y="144"/>
                  </a:lnTo>
                  <a:lnTo>
                    <a:pt x="138" y="138"/>
                  </a:lnTo>
                  <a:lnTo>
                    <a:pt x="120" y="138"/>
                  </a:lnTo>
                  <a:lnTo>
                    <a:pt x="96" y="150"/>
                  </a:lnTo>
                  <a:lnTo>
                    <a:pt x="84" y="162"/>
                  </a:lnTo>
                  <a:lnTo>
                    <a:pt x="84" y="174"/>
                  </a:lnTo>
                  <a:lnTo>
                    <a:pt x="78" y="192"/>
                  </a:lnTo>
                  <a:lnTo>
                    <a:pt x="78" y="204"/>
                  </a:lnTo>
                  <a:lnTo>
                    <a:pt x="72" y="210"/>
                  </a:lnTo>
                  <a:lnTo>
                    <a:pt x="72" y="216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20" y="246"/>
                  </a:lnTo>
                  <a:lnTo>
                    <a:pt x="126" y="258"/>
                  </a:lnTo>
                  <a:lnTo>
                    <a:pt x="132" y="264"/>
                  </a:lnTo>
                  <a:lnTo>
                    <a:pt x="126" y="282"/>
                  </a:lnTo>
                  <a:lnTo>
                    <a:pt x="138" y="300"/>
                  </a:lnTo>
                  <a:lnTo>
                    <a:pt x="126" y="318"/>
                  </a:lnTo>
                  <a:lnTo>
                    <a:pt x="162" y="354"/>
                  </a:lnTo>
                  <a:lnTo>
                    <a:pt x="156" y="390"/>
                  </a:lnTo>
                  <a:lnTo>
                    <a:pt x="210" y="414"/>
                  </a:lnTo>
                  <a:lnTo>
                    <a:pt x="216" y="444"/>
                  </a:lnTo>
                  <a:lnTo>
                    <a:pt x="216" y="438"/>
                  </a:lnTo>
                  <a:lnTo>
                    <a:pt x="222" y="438"/>
                  </a:lnTo>
                  <a:lnTo>
                    <a:pt x="222" y="432"/>
                  </a:lnTo>
                  <a:lnTo>
                    <a:pt x="228" y="432"/>
                  </a:lnTo>
                  <a:lnTo>
                    <a:pt x="252" y="444"/>
                  </a:lnTo>
                  <a:lnTo>
                    <a:pt x="258" y="444"/>
                  </a:lnTo>
                  <a:lnTo>
                    <a:pt x="264" y="450"/>
                  </a:lnTo>
                  <a:lnTo>
                    <a:pt x="270" y="462"/>
                  </a:lnTo>
                  <a:lnTo>
                    <a:pt x="282" y="468"/>
                  </a:lnTo>
                  <a:lnTo>
                    <a:pt x="294" y="468"/>
                  </a:lnTo>
                  <a:lnTo>
                    <a:pt x="312" y="474"/>
                  </a:lnTo>
                  <a:lnTo>
                    <a:pt x="372" y="474"/>
                  </a:lnTo>
                  <a:lnTo>
                    <a:pt x="372" y="450"/>
                  </a:lnTo>
                  <a:lnTo>
                    <a:pt x="378" y="438"/>
                  </a:lnTo>
                  <a:lnTo>
                    <a:pt x="390" y="426"/>
                  </a:lnTo>
                  <a:lnTo>
                    <a:pt x="408" y="426"/>
                  </a:lnTo>
                  <a:lnTo>
                    <a:pt x="432" y="432"/>
                  </a:lnTo>
                  <a:lnTo>
                    <a:pt x="468" y="444"/>
                  </a:lnTo>
                  <a:lnTo>
                    <a:pt x="474" y="450"/>
                  </a:lnTo>
                  <a:lnTo>
                    <a:pt x="480" y="450"/>
                  </a:lnTo>
                  <a:lnTo>
                    <a:pt x="480" y="456"/>
                  </a:lnTo>
                  <a:lnTo>
                    <a:pt x="486" y="468"/>
                  </a:lnTo>
                  <a:lnTo>
                    <a:pt x="486" y="474"/>
                  </a:lnTo>
                  <a:lnTo>
                    <a:pt x="492" y="480"/>
                  </a:lnTo>
                  <a:lnTo>
                    <a:pt x="504" y="486"/>
                  </a:lnTo>
                  <a:lnTo>
                    <a:pt x="564" y="486"/>
                  </a:lnTo>
                  <a:lnTo>
                    <a:pt x="576" y="480"/>
                  </a:lnTo>
                  <a:lnTo>
                    <a:pt x="594" y="474"/>
                  </a:lnTo>
                  <a:lnTo>
                    <a:pt x="606" y="462"/>
                  </a:lnTo>
                  <a:lnTo>
                    <a:pt x="618" y="456"/>
                  </a:lnTo>
                  <a:lnTo>
                    <a:pt x="630" y="444"/>
                  </a:lnTo>
                  <a:lnTo>
                    <a:pt x="648" y="438"/>
                  </a:lnTo>
                  <a:lnTo>
                    <a:pt x="660" y="432"/>
                  </a:lnTo>
                  <a:lnTo>
                    <a:pt x="672" y="432"/>
                  </a:lnTo>
                  <a:lnTo>
                    <a:pt x="684" y="438"/>
                  </a:lnTo>
                  <a:lnTo>
                    <a:pt x="690" y="444"/>
                  </a:lnTo>
                  <a:lnTo>
                    <a:pt x="696" y="444"/>
                  </a:lnTo>
                  <a:lnTo>
                    <a:pt x="702" y="450"/>
                  </a:lnTo>
                  <a:lnTo>
                    <a:pt x="714" y="450"/>
                  </a:lnTo>
                  <a:lnTo>
                    <a:pt x="726" y="444"/>
                  </a:lnTo>
                  <a:lnTo>
                    <a:pt x="732" y="432"/>
                  </a:lnTo>
                  <a:lnTo>
                    <a:pt x="744" y="420"/>
                  </a:lnTo>
                  <a:lnTo>
                    <a:pt x="756" y="432"/>
                  </a:lnTo>
                  <a:lnTo>
                    <a:pt x="756" y="444"/>
                  </a:lnTo>
                  <a:lnTo>
                    <a:pt x="750" y="450"/>
                  </a:lnTo>
                  <a:lnTo>
                    <a:pt x="744" y="462"/>
                  </a:lnTo>
                  <a:lnTo>
                    <a:pt x="744" y="468"/>
                  </a:lnTo>
                  <a:lnTo>
                    <a:pt x="738" y="474"/>
                  </a:lnTo>
                  <a:lnTo>
                    <a:pt x="738" y="486"/>
                  </a:lnTo>
                  <a:lnTo>
                    <a:pt x="744" y="492"/>
                  </a:lnTo>
                  <a:lnTo>
                    <a:pt x="744" y="498"/>
                  </a:lnTo>
                  <a:lnTo>
                    <a:pt x="756" y="510"/>
                  </a:lnTo>
                  <a:lnTo>
                    <a:pt x="768" y="510"/>
                  </a:lnTo>
                  <a:lnTo>
                    <a:pt x="768" y="504"/>
                  </a:lnTo>
                  <a:lnTo>
                    <a:pt x="774" y="498"/>
                  </a:lnTo>
                  <a:lnTo>
                    <a:pt x="774" y="480"/>
                  </a:lnTo>
                  <a:lnTo>
                    <a:pt x="780" y="486"/>
                  </a:lnTo>
                  <a:lnTo>
                    <a:pt x="792" y="486"/>
                  </a:lnTo>
                  <a:lnTo>
                    <a:pt x="792" y="462"/>
                  </a:lnTo>
                  <a:lnTo>
                    <a:pt x="786" y="462"/>
                  </a:lnTo>
                  <a:lnTo>
                    <a:pt x="786" y="432"/>
                  </a:lnTo>
                  <a:lnTo>
                    <a:pt x="810" y="432"/>
                  </a:lnTo>
                  <a:lnTo>
                    <a:pt x="804" y="438"/>
                  </a:lnTo>
                  <a:lnTo>
                    <a:pt x="804" y="444"/>
                  </a:lnTo>
                  <a:lnTo>
                    <a:pt x="840" y="444"/>
                  </a:lnTo>
                  <a:lnTo>
                    <a:pt x="858" y="438"/>
                  </a:lnTo>
                  <a:lnTo>
                    <a:pt x="864" y="432"/>
                  </a:lnTo>
                  <a:lnTo>
                    <a:pt x="870" y="432"/>
                  </a:lnTo>
                  <a:lnTo>
                    <a:pt x="888" y="414"/>
                  </a:lnTo>
                  <a:lnTo>
                    <a:pt x="894" y="414"/>
                  </a:lnTo>
                  <a:lnTo>
                    <a:pt x="900" y="420"/>
                  </a:lnTo>
                  <a:lnTo>
                    <a:pt x="912" y="426"/>
                  </a:lnTo>
                  <a:lnTo>
                    <a:pt x="924" y="438"/>
                  </a:lnTo>
                  <a:lnTo>
                    <a:pt x="942" y="438"/>
                  </a:lnTo>
                  <a:lnTo>
                    <a:pt x="954" y="444"/>
                  </a:lnTo>
                  <a:lnTo>
                    <a:pt x="966" y="444"/>
                  </a:lnTo>
                  <a:lnTo>
                    <a:pt x="978" y="438"/>
                  </a:lnTo>
                  <a:lnTo>
                    <a:pt x="996" y="438"/>
                  </a:lnTo>
                  <a:lnTo>
                    <a:pt x="1002" y="432"/>
                  </a:lnTo>
                  <a:lnTo>
                    <a:pt x="1014" y="426"/>
                  </a:lnTo>
                  <a:lnTo>
                    <a:pt x="1026" y="414"/>
                  </a:lnTo>
                  <a:lnTo>
                    <a:pt x="1038" y="408"/>
                  </a:lnTo>
                  <a:lnTo>
                    <a:pt x="1086" y="408"/>
                  </a:lnTo>
                  <a:lnTo>
                    <a:pt x="1092" y="414"/>
                  </a:lnTo>
                  <a:lnTo>
                    <a:pt x="1110" y="414"/>
                  </a:lnTo>
                  <a:lnTo>
                    <a:pt x="1122" y="402"/>
                  </a:lnTo>
                  <a:lnTo>
                    <a:pt x="1146" y="402"/>
                  </a:lnTo>
                  <a:lnTo>
                    <a:pt x="1152" y="390"/>
                  </a:lnTo>
                  <a:lnTo>
                    <a:pt x="1152" y="384"/>
                  </a:lnTo>
                  <a:lnTo>
                    <a:pt x="1158" y="384"/>
                  </a:lnTo>
                  <a:lnTo>
                    <a:pt x="1158" y="408"/>
                  </a:lnTo>
                  <a:lnTo>
                    <a:pt x="1164" y="414"/>
                  </a:lnTo>
                  <a:lnTo>
                    <a:pt x="1170" y="414"/>
                  </a:lnTo>
                  <a:lnTo>
                    <a:pt x="1182" y="408"/>
                  </a:lnTo>
                  <a:lnTo>
                    <a:pt x="1188" y="402"/>
                  </a:lnTo>
                  <a:lnTo>
                    <a:pt x="1188" y="390"/>
                  </a:lnTo>
                  <a:lnTo>
                    <a:pt x="1230" y="390"/>
                  </a:lnTo>
                  <a:lnTo>
                    <a:pt x="1242" y="402"/>
                  </a:lnTo>
                  <a:lnTo>
                    <a:pt x="1254" y="402"/>
                  </a:lnTo>
                  <a:lnTo>
                    <a:pt x="1260" y="396"/>
                  </a:lnTo>
                  <a:lnTo>
                    <a:pt x="1260" y="390"/>
                  </a:lnTo>
                  <a:lnTo>
                    <a:pt x="1284" y="390"/>
                  </a:lnTo>
                  <a:lnTo>
                    <a:pt x="1290" y="396"/>
                  </a:lnTo>
                  <a:lnTo>
                    <a:pt x="1290" y="414"/>
                  </a:lnTo>
                  <a:lnTo>
                    <a:pt x="1332" y="402"/>
                  </a:lnTo>
                  <a:close/>
                  <a:moveTo>
                    <a:pt x="102" y="282"/>
                  </a:moveTo>
                  <a:lnTo>
                    <a:pt x="96" y="282"/>
                  </a:lnTo>
                  <a:lnTo>
                    <a:pt x="96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14" y="324"/>
                  </a:lnTo>
                  <a:lnTo>
                    <a:pt x="114" y="318"/>
                  </a:lnTo>
                  <a:lnTo>
                    <a:pt x="120" y="312"/>
                  </a:lnTo>
                  <a:lnTo>
                    <a:pt x="120" y="300"/>
                  </a:lnTo>
                  <a:lnTo>
                    <a:pt x="102" y="28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39" name="Tunisia" descr="© INSCALE GmbH, 05.05.2010&#10;http://www.presentationload.com/"/>
            <p:cNvSpPr>
              <a:spLocks/>
            </p:cNvSpPr>
            <p:nvPr/>
          </p:nvSpPr>
          <p:spPr bwMode="gray">
            <a:xfrm>
              <a:off x="4643638" y="3370506"/>
              <a:ext cx="89589" cy="177595"/>
            </a:xfrm>
            <a:custGeom>
              <a:avLst/>
              <a:gdLst>
                <a:gd name="T0" fmla="*/ 2147483647 w 276"/>
                <a:gd name="T1" fmla="*/ 2147483647 h 570"/>
                <a:gd name="T2" fmla="*/ 2147483647 w 276"/>
                <a:gd name="T3" fmla="*/ 2147483647 h 570"/>
                <a:gd name="T4" fmla="*/ 2147483647 w 276"/>
                <a:gd name="T5" fmla="*/ 2147483647 h 570"/>
                <a:gd name="T6" fmla="*/ 2147483647 w 276"/>
                <a:gd name="T7" fmla="*/ 2147483647 h 570"/>
                <a:gd name="T8" fmla="*/ 2147483647 w 276"/>
                <a:gd name="T9" fmla="*/ 2147483647 h 570"/>
                <a:gd name="T10" fmla="*/ 2147483647 w 276"/>
                <a:gd name="T11" fmla="*/ 2147483647 h 570"/>
                <a:gd name="T12" fmla="*/ 0 w 276"/>
                <a:gd name="T13" fmla="*/ 2147483647 h 570"/>
                <a:gd name="T14" fmla="*/ 2147483647 w 276"/>
                <a:gd name="T15" fmla="*/ 2147483647 h 570"/>
                <a:gd name="T16" fmla="*/ 2147483647 w 276"/>
                <a:gd name="T17" fmla="*/ 2147483647 h 570"/>
                <a:gd name="T18" fmla="*/ 2147483647 w 276"/>
                <a:gd name="T19" fmla="*/ 2147483647 h 570"/>
                <a:gd name="T20" fmla="*/ 2147483647 w 276"/>
                <a:gd name="T21" fmla="*/ 2147483647 h 570"/>
                <a:gd name="T22" fmla="*/ 2147483647 w 276"/>
                <a:gd name="T23" fmla="*/ 2147483647 h 570"/>
                <a:gd name="T24" fmla="*/ 2147483647 w 276"/>
                <a:gd name="T25" fmla="*/ 2147483647 h 570"/>
                <a:gd name="T26" fmla="*/ 2147483647 w 276"/>
                <a:gd name="T27" fmla="*/ 2147483647 h 570"/>
                <a:gd name="T28" fmla="*/ 2147483647 w 276"/>
                <a:gd name="T29" fmla="*/ 2147483647 h 570"/>
                <a:gd name="T30" fmla="*/ 2147483647 w 276"/>
                <a:gd name="T31" fmla="*/ 2147483647 h 570"/>
                <a:gd name="T32" fmla="*/ 2147483647 w 276"/>
                <a:gd name="T33" fmla="*/ 2147483647 h 570"/>
                <a:gd name="T34" fmla="*/ 2147483647 w 276"/>
                <a:gd name="T35" fmla="*/ 2147483647 h 570"/>
                <a:gd name="T36" fmla="*/ 2147483647 w 276"/>
                <a:gd name="T37" fmla="*/ 2147483647 h 570"/>
                <a:gd name="T38" fmla="*/ 2147483647 w 276"/>
                <a:gd name="T39" fmla="*/ 2147483647 h 570"/>
                <a:gd name="T40" fmla="*/ 2147483647 w 276"/>
                <a:gd name="T41" fmla="*/ 2147483647 h 570"/>
                <a:gd name="T42" fmla="*/ 2147483647 w 276"/>
                <a:gd name="T43" fmla="*/ 2147483647 h 570"/>
                <a:gd name="T44" fmla="*/ 2147483647 w 276"/>
                <a:gd name="T45" fmla="*/ 2147483647 h 570"/>
                <a:gd name="T46" fmla="*/ 2147483647 w 276"/>
                <a:gd name="T47" fmla="*/ 2147483647 h 570"/>
                <a:gd name="T48" fmla="*/ 2147483647 w 276"/>
                <a:gd name="T49" fmla="*/ 2147483647 h 570"/>
                <a:gd name="T50" fmla="*/ 2147483647 w 276"/>
                <a:gd name="T51" fmla="*/ 2147483647 h 570"/>
                <a:gd name="T52" fmla="*/ 2147483647 w 276"/>
                <a:gd name="T53" fmla="*/ 2147483647 h 570"/>
                <a:gd name="T54" fmla="*/ 2147483647 w 276"/>
                <a:gd name="T55" fmla="*/ 2147483647 h 570"/>
                <a:gd name="T56" fmla="*/ 2147483647 w 276"/>
                <a:gd name="T57" fmla="*/ 2147483647 h 570"/>
                <a:gd name="T58" fmla="*/ 2147483647 w 276"/>
                <a:gd name="T59" fmla="*/ 2147483647 h 570"/>
                <a:gd name="T60" fmla="*/ 2147483647 w 276"/>
                <a:gd name="T61" fmla="*/ 2147483647 h 570"/>
                <a:gd name="T62" fmla="*/ 2147483647 w 276"/>
                <a:gd name="T63" fmla="*/ 2147483647 h 570"/>
                <a:gd name="T64" fmla="*/ 2147483647 w 276"/>
                <a:gd name="T65" fmla="*/ 2147483647 h 570"/>
                <a:gd name="T66" fmla="*/ 2147483647 w 276"/>
                <a:gd name="T67" fmla="*/ 2147483647 h 570"/>
                <a:gd name="T68" fmla="*/ 2147483647 w 276"/>
                <a:gd name="T69" fmla="*/ 2147483647 h 570"/>
                <a:gd name="T70" fmla="*/ 2147483647 w 276"/>
                <a:gd name="T71" fmla="*/ 2147483647 h 570"/>
                <a:gd name="T72" fmla="*/ 2147483647 w 276"/>
                <a:gd name="T73" fmla="*/ 2147483647 h 570"/>
                <a:gd name="T74" fmla="*/ 2147483647 w 276"/>
                <a:gd name="T75" fmla="*/ 2147483647 h 570"/>
                <a:gd name="T76" fmla="*/ 2147483647 w 276"/>
                <a:gd name="T77" fmla="*/ 2147483647 h 570"/>
                <a:gd name="T78" fmla="*/ 2147483647 w 276"/>
                <a:gd name="T79" fmla="*/ 2147483647 h 570"/>
                <a:gd name="T80" fmla="*/ 2147483647 w 276"/>
                <a:gd name="T81" fmla="*/ 2147483647 h 570"/>
                <a:gd name="T82" fmla="*/ 2147483647 w 276"/>
                <a:gd name="T83" fmla="*/ 2147483647 h 570"/>
                <a:gd name="T84" fmla="*/ 2147483647 w 276"/>
                <a:gd name="T85" fmla="*/ 2147483647 h 570"/>
                <a:gd name="T86" fmla="*/ 2147483647 w 276"/>
                <a:gd name="T87" fmla="*/ 2147483647 h 570"/>
                <a:gd name="T88" fmla="*/ 2147483647 w 276"/>
                <a:gd name="T89" fmla="*/ 0 h 570"/>
                <a:gd name="T90" fmla="*/ 2147483647 w 276"/>
                <a:gd name="T91" fmla="*/ 2147483647 h 570"/>
                <a:gd name="T92" fmla="*/ 2147483647 w 276"/>
                <a:gd name="T93" fmla="*/ 2147483647 h 570"/>
                <a:gd name="T94" fmla="*/ 2147483647 w 276"/>
                <a:gd name="T95" fmla="*/ 2147483647 h 5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76"/>
                <a:gd name="T145" fmla="*/ 0 h 570"/>
                <a:gd name="T146" fmla="*/ 276 w 276"/>
                <a:gd name="T147" fmla="*/ 570 h 57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76" h="570">
                  <a:moveTo>
                    <a:pt x="42" y="60"/>
                  </a:moveTo>
                  <a:lnTo>
                    <a:pt x="60" y="66"/>
                  </a:lnTo>
                  <a:lnTo>
                    <a:pt x="60" y="78"/>
                  </a:lnTo>
                  <a:lnTo>
                    <a:pt x="54" y="90"/>
                  </a:lnTo>
                  <a:lnTo>
                    <a:pt x="54" y="126"/>
                  </a:lnTo>
                  <a:lnTo>
                    <a:pt x="60" y="138"/>
                  </a:lnTo>
                  <a:lnTo>
                    <a:pt x="60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48" y="210"/>
                  </a:lnTo>
                  <a:lnTo>
                    <a:pt x="48" y="216"/>
                  </a:lnTo>
                  <a:lnTo>
                    <a:pt x="24" y="234"/>
                  </a:lnTo>
                  <a:lnTo>
                    <a:pt x="0" y="258"/>
                  </a:lnTo>
                  <a:lnTo>
                    <a:pt x="0" y="300"/>
                  </a:lnTo>
                  <a:lnTo>
                    <a:pt x="12" y="300"/>
                  </a:lnTo>
                  <a:lnTo>
                    <a:pt x="12" y="330"/>
                  </a:lnTo>
                  <a:lnTo>
                    <a:pt x="24" y="330"/>
                  </a:lnTo>
                  <a:lnTo>
                    <a:pt x="42" y="336"/>
                  </a:lnTo>
                  <a:lnTo>
                    <a:pt x="54" y="348"/>
                  </a:lnTo>
                  <a:lnTo>
                    <a:pt x="54" y="390"/>
                  </a:lnTo>
                  <a:lnTo>
                    <a:pt x="60" y="390"/>
                  </a:lnTo>
                  <a:lnTo>
                    <a:pt x="66" y="396"/>
                  </a:lnTo>
                  <a:lnTo>
                    <a:pt x="90" y="408"/>
                  </a:lnTo>
                  <a:lnTo>
                    <a:pt x="96" y="420"/>
                  </a:lnTo>
                  <a:lnTo>
                    <a:pt x="102" y="426"/>
                  </a:lnTo>
                  <a:lnTo>
                    <a:pt x="108" y="450"/>
                  </a:lnTo>
                  <a:lnTo>
                    <a:pt x="114" y="492"/>
                  </a:lnTo>
                  <a:lnTo>
                    <a:pt x="126" y="540"/>
                  </a:lnTo>
                  <a:lnTo>
                    <a:pt x="138" y="570"/>
                  </a:lnTo>
                  <a:lnTo>
                    <a:pt x="144" y="564"/>
                  </a:lnTo>
                  <a:lnTo>
                    <a:pt x="156" y="564"/>
                  </a:lnTo>
                  <a:lnTo>
                    <a:pt x="186" y="534"/>
                  </a:lnTo>
                  <a:lnTo>
                    <a:pt x="186" y="510"/>
                  </a:lnTo>
                  <a:lnTo>
                    <a:pt x="174" y="486"/>
                  </a:lnTo>
                  <a:lnTo>
                    <a:pt x="174" y="468"/>
                  </a:lnTo>
                  <a:lnTo>
                    <a:pt x="192" y="450"/>
                  </a:lnTo>
                  <a:lnTo>
                    <a:pt x="198" y="450"/>
                  </a:lnTo>
                  <a:lnTo>
                    <a:pt x="204" y="438"/>
                  </a:lnTo>
                  <a:lnTo>
                    <a:pt x="210" y="432"/>
                  </a:lnTo>
                  <a:lnTo>
                    <a:pt x="216" y="420"/>
                  </a:lnTo>
                  <a:lnTo>
                    <a:pt x="222" y="414"/>
                  </a:lnTo>
                  <a:lnTo>
                    <a:pt x="234" y="408"/>
                  </a:lnTo>
                  <a:lnTo>
                    <a:pt x="246" y="408"/>
                  </a:lnTo>
                  <a:lnTo>
                    <a:pt x="270" y="396"/>
                  </a:lnTo>
                  <a:lnTo>
                    <a:pt x="276" y="390"/>
                  </a:lnTo>
                  <a:lnTo>
                    <a:pt x="276" y="384"/>
                  </a:lnTo>
                  <a:lnTo>
                    <a:pt x="264" y="372"/>
                  </a:lnTo>
                  <a:lnTo>
                    <a:pt x="258" y="372"/>
                  </a:lnTo>
                  <a:lnTo>
                    <a:pt x="264" y="330"/>
                  </a:lnTo>
                  <a:lnTo>
                    <a:pt x="252" y="330"/>
                  </a:lnTo>
                  <a:lnTo>
                    <a:pt x="240" y="300"/>
                  </a:lnTo>
                  <a:lnTo>
                    <a:pt x="228" y="294"/>
                  </a:lnTo>
                  <a:lnTo>
                    <a:pt x="222" y="306"/>
                  </a:lnTo>
                  <a:lnTo>
                    <a:pt x="216" y="294"/>
                  </a:lnTo>
                  <a:lnTo>
                    <a:pt x="198" y="294"/>
                  </a:lnTo>
                  <a:lnTo>
                    <a:pt x="186" y="288"/>
                  </a:lnTo>
                  <a:lnTo>
                    <a:pt x="180" y="282"/>
                  </a:lnTo>
                  <a:lnTo>
                    <a:pt x="168" y="276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234" y="186"/>
                  </a:lnTo>
                  <a:lnTo>
                    <a:pt x="240" y="174"/>
                  </a:lnTo>
                  <a:lnTo>
                    <a:pt x="240" y="156"/>
                  </a:lnTo>
                  <a:lnTo>
                    <a:pt x="234" y="144"/>
                  </a:lnTo>
                  <a:lnTo>
                    <a:pt x="216" y="126"/>
                  </a:lnTo>
                  <a:lnTo>
                    <a:pt x="204" y="120"/>
                  </a:lnTo>
                  <a:lnTo>
                    <a:pt x="198" y="120"/>
                  </a:lnTo>
                  <a:lnTo>
                    <a:pt x="198" y="102"/>
                  </a:lnTo>
                  <a:lnTo>
                    <a:pt x="204" y="90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22" y="66"/>
                  </a:lnTo>
                  <a:lnTo>
                    <a:pt x="228" y="60"/>
                  </a:lnTo>
                  <a:lnTo>
                    <a:pt x="234" y="48"/>
                  </a:lnTo>
                  <a:lnTo>
                    <a:pt x="234" y="36"/>
                  </a:lnTo>
                  <a:lnTo>
                    <a:pt x="240" y="30"/>
                  </a:lnTo>
                  <a:lnTo>
                    <a:pt x="240" y="18"/>
                  </a:lnTo>
                  <a:lnTo>
                    <a:pt x="228" y="18"/>
                  </a:lnTo>
                  <a:lnTo>
                    <a:pt x="222" y="30"/>
                  </a:lnTo>
                  <a:lnTo>
                    <a:pt x="210" y="36"/>
                  </a:lnTo>
                  <a:lnTo>
                    <a:pt x="204" y="48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74" y="54"/>
                  </a:lnTo>
                  <a:lnTo>
                    <a:pt x="162" y="42"/>
                  </a:lnTo>
                  <a:lnTo>
                    <a:pt x="174" y="30"/>
                  </a:lnTo>
                  <a:lnTo>
                    <a:pt x="174" y="24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26" y="6"/>
                  </a:lnTo>
                  <a:lnTo>
                    <a:pt x="108" y="12"/>
                  </a:lnTo>
                  <a:lnTo>
                    <a:pt x="96" y="18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42" y="6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40" name="Togo" descr="© INSCALE GmbH, 05.05.2010&#10;http://www.presentationload.com/"/>
            <p:cNvSpPr>
              <a:spLocks/>
            </p:cNvSpPr>
            <p:nvPr/>
          </p:nvSpPr>
          <p:spPr bwMode="gray">
            <a:xfrm>
              <a:off x="4463181" y="4026993"/>
              <a:ext cx="46075" cy="126154"/>
            </a:xfrm>
            <a:custGeom>
              <a:avLst/>
              <a:gdLst>
                <a:gd name="T0" fmla="*/ 2147483647 w 138"/>
                <a:gd name="T1" fmla="*/ 2147483647 h 402"/>
                <a:gd name="T2" fmla="*/ 2147483647 w 138"/>
                <a:gd name="T3" fmla="*/ 2147483647 h 402"/>
                <a:gd name="T4" fmla="*/ 2147483647 w 138"/>
                <a:gd name="T5" fmla="*/ 2147483647 h 402"/>
                <a:gd name="T6" fmla="*/ 2147483647 w 138"/>
                <a:gd name="T7" fmla="*/ 2147483647 h 402"/>
                <a:gd name="T8" fmla="*/ 2147483647 w 138"/>
                <a:gd name="T9" fmla="*/ 2147483647 h 402"/>
                <a:gd name="T10" fmla="*/ 2147483647 w 138"/>
                <a:gd name="T11" fmla="*/ 2147483647 h 402"/>
                <a:gd name="T12" fmla="*/ 2147483647 w 138"/>
                <a:gd name="T13" fmla="*/ 2147483647 h 402"/>
                <a:gd name="T14" fmla="*/ 2147483647 w 138"/>
                <a:gd name="T15" fmla="*/ 2147483647 h 402"/>
                <a:gd name="T16" fmla="*/ 2147483647 w 138"/>
                <a:gd name="T17" fmla="*/ 2147483647 h 402"/>
                <a:gd name="T18" fmla="*/ 2147483647 w 138"/>
                <a:gd name="T19" fmla="*/ 2147483647 h 402"/>
                <a:gd name="T20" fmla="*/ 2147483647 w 138"/>
                <a:gd name="T21" fmla="*/ 2147483647 h 402"/>
                <a:gd name="T22" fmla="*/ 2147483647 w 138"/>
                <a:gd name="T23" fmla="*/ 2147483647 h 402"/>
                <a:gd name="T24" fmla="*/ 2147483647 w 138"/>
                <a:gd name="T25" fmla="*/ 2147483647 h 402"/>
                <a:gd name="T26" fmla="*/ 2147483647 w 138"/>
                <a:gd name="T27" fmla="*/ 2147483647 h 402"/>
                <a:gd name="T28" fmla="*/ 2147483647 w 138"/>
                <a:gd name="T29" fmla="*/ 2147483647 h 402"/>
                <a:gd name="T30" fmla="*/ 2147483647 w 138"/>
                <a:gd name="T31" fmla="*/ 2147483647 h 402"/>
                <a:gd name="T32" fmla="*/ 2147483647 w 138"/>
                <a:gd name="T33" fmla="*/ 0 h 402"/>
                <a:gd name="T34" fmla="*/ 2147483647 w 138"/>
                <a:gd name="T35" fmla="*/ 0 h 402"/>
                <a:gd name="T36" fmla="*/ 2147483647 w 138"/>
                <a:gd name="T37" fmla="*/ 2147483647 h 402"/>
                <a:gd name="T38" fmla="*/ 0 w 138"/>
                <a:gd name="T39" fmla="*/ 2147483647 h 402"/>
                <a:gd name="T40" fmla="*/ 2147483647 w 138"/>
                <a:gd name="T41" fmla="*/ 2147483647 h 402"/>
                <a:gd name="T42" fmla="*/ 2147483647 w 138"/>
                <a:gd name="T43" fmla="*/ 2147483647 h 402"/>
                <a:gd name="T44" fmla="*/ 2147483647 w 138"/>
                <a:gd name="T45" fmla="*/ 2147483647 h 402"/>
                <a:gd name="T46" fmla="*/ 2147483647 w 138"/>
                <a:gd name="T47" fmla="*/ 2147483647 h 402"/>
                <a:gd name="T48" fmla="*/ 2147483647 w 138"/>
                <a:gd name="T49" fmla="*/ 2147483647 h 402"/>
                <a:gd name="T50" fmla="*/ 2147483647 w 138"/>
                <a:gd name="T51" fmla="*/ 2147483647 h 402"/>
                <a:gd name="T52" fmla="*/ 2147483647 w 138"/>
                <a:gd name="T53" fmla="*/ 2147483647 h 402"/>
                <a:gd name="T54" fmla="*/ 2147483647 w 138"/>
                <a:gd name="T55" fmla="*/ 2147483647 h 402"/>
                <a:gd name="T56" fmla="*/ 2147483647 w 138"/>
                <a:gd name="T57" fmla="*/ 2147483647 h 402"/>
                <a:gd name="T58" fmla="*/ 2147483647 w 138"/>
                <a:gd name="T59" fmla="*/ 2147483647 h 402"/>
                <a:gd name="T60" fmla="*/ 2147483647 w 138"/>
                <a:gd name="T61" fmla="*/ 2147483647 h 402"/>
                <a:gd name="T62" fmla="*/ 2147483647 w 138"/>
                <a:gd name="T63" fmla="*/ 2147483647 h 402"/>
                <a:gd name="T64" fmla="*/ 2147483647 w 138"/>
                <a:gd name="T65" fmla="*/ 2147483647 h 402"/>
                <a:gd name="T66" fmla="*/ 2147483647 w 138"/>
                <a:gd name="T67" fmla="*/ 2147483647 h 402"/>
                <a:gd name="T68" fmla="*/ 2147483647 w 138"/>
                <a:gd name="T69" fmla="*/ 2147483647 h 402"/>
                <a:gd name="T70" fmla="*/ 2147483647 w 138"/>
                <a:gd name="T71" fmla="*/ 2147483647 h 402"/>
                <a:gd name="T72" fmla="*/ 2147483647 w 138"/>
                <a:gd name="T73" fmla="*/ 2147483647 h 402"/>
                <a:gd name="T74" fmla="*/ 2147483647 w 138"/>
                <a:gd name="T75" fmla="*/ 2147483647 h 402"/>
                <a:gd name="T76" fmla="*/ 2147483647 w 138"/>
                <a:gd name="T77" fmla="*/ 2147483647 h 402"/>
                <a:gd name="T78" fmla="*/ 2147483647 w 138"/>
                <a:gd name="T79" fmla="*/ 2147483647 h 402"/>
                <a:gd name="T80" fmla="*/ 2147483647 w 138"/>
                <a:gd name="T81" fmla="*/ 2147483647 h 402"/>
                <a:gd name="T82" fmla="*/ 2147483647 w 138"/>
                <a:gd name="T83" fmla="*/ 2147483647 h 402"/>
                <a:gd name="T84" fmla="*/ 2147483647 w 138"/>
                <a:gd name="T85" fmla="*/ 2147483647 h 402"/>
                <a:gd name="T86" fmla="*/ 2147483647 w 138"/>
                <a:gd name="T87" fmla="*/ 2147483647 h 402"/>
                <a:gd name="T88" fmla="*/ 2147483647 w 138"/>
                <a:gd name="T89" fmla="*/ 2147483647 h 402"/>
                <a:gd name="T90" fmla="*/ 2147483647 w 138"/>
                <a:gd name="T91" fmla="*/ 2147483647 h 402"/>
                <a:gd name="T92" fmla="*/ 2147483647 w 138"/>
                <a:gd name="T93" fmla="*/ 2147483647 h 402"/>
                <a:gd name="T94" fmla="*/ 2147483647 w 138"/>
                <a:gd name="T95" fmla="*/ 2147483647 h 402"/>
                <a:gd name="T96" fmla="*/ 2147483647 w 138"/>
                <a:gd name="T97" fmla="*/ 2147483647 h 402"/>
                <a:gd name="T98" fmla="*/ 2147483647 w 138"/>
                <a:gd name="T99" fmla="*/ 2147483647 h 402"/>
                <a:gd name="T100" fmla="*/ 2147483647 w 138"/>
                <a:gd name="T101" fmla="*/ 2147483647 h 402"/>
                <a:gd name="T102" fmla="*/ 2147483647 w 138"/>
                <a:gd name="T103" fmla="*/ 2147483647 h 4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38"/>
                <a:gd name="T157" fmla="*/ 0 h 402"/>
                <a:gd name="T158" fmla="*/ 138 w 138"/>
                <a:gd name="T159" fmla="*/ 402 h 4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38" h="402">
                  <a:moveTo>
                    <a:pt x="126" y="354"/>
                  </a:moveTo>
                  <a:lnTo>
                    <a:pt x="120" y="288"/>
                  </a:lnTo>
                  <a:lnTo>
                    <a:pt x="132" y="282"/>
                  </a:lnTo>
                  <a:lnTo>
                    <a:pt x="120" y="270"/>
                  </a:lnTo>
                  <a:lnTo>
                    <a:pt x="120" y="210"/>
                  </a:lnTo>
                  <a:lnTo>
                    <a:pt x="132" y="198"/>
                  </a:lnTo>
                  <a:lnTo>
                    <a:pt x="126" y="186"/>
                  </a:lnTo>
                  <a:lnTo>
                    <a:pt x="126" y="156"/>
                  </a:lnTo>
                  <a:lnTo>
                    <a:pt x="120" y="144"/>
                  </a:lnTo>
                  <a:lnTo>
                    <a:pt x="108" y="132"/>
                  </a:lnTo>
                  <a:lnTo>
                    <a:pt x="108" y="90"/>
                  </a:lnTo>
                  <a:lnTo>
                    <a:pt x="78" y="60"/>
                  </a:lnTo>
                  <a:lnTo>
                    <a:pt x="66" y="54"/>
                  </a:lnTo>
                  <a:lnTo>
                    <a:pt x="66" y="24"/>
                  </a:lnTo>
                  <a:lnTo>
                    <a:pt x="72" y="6"/>
                  </a:lnTo>
                  <a:lnTo>
                    <a:pt x="54" y="6"/>
                  </a:lnTo>
                  <a:lnTo>
                    <a:pt x="30" y="0"/>
                  </a:lnTo>
                  <a:lnTo>
                    <a:pt x="12" y="0"/>
                  </a:lnTo>
                  <a:lnTo>
                    <a:pt x="12" y="18"/>
                  </a:lnTo>
                  <a:lnTo>
                    <a:pt x="0" y="30"/>
                  </a:lnTo>
                  <a:lnTo>
                    <a:pt x="36" y="54"/>
                  </a:lnTo>
                  <a:lnTo>
                    <a:pt x="24" y="132"/>
                  </a:lnTo>
                  <a:lnTo>
                    <a:pt x="36" y="120"/>
                  </a:lnTo>
                  <a:lnTo>
                    <a:pt x="42" y="120"/>
                  </a:lnTo>
                  <a:lnTo>
                    <a:pt x="48" y="126"/>
                  </a:lnTo>
                  <a:lnTo>
                    <a:pt x="48" y="150"/>
                  </a:lnTo>
                  <a:lnTo>
                    <a:pt x="42" y="162"/>
                  </a:lnTo>
                  <a:lnTo>
                    <a:pt x="54" y="174"/>
                  </a:lnTo>
                  <a:lnTo>
                    <a:pt x="54" y="180"/>
                  </a:lnTo>
                  <a:lnTo>
                    <a:pt x="48" y="180"/>
                  </a:lnTo>
                  <a:lnTo>
                    <a:pt x="36" y="192"/>
                  </a:lnTo>
                  <a:lnTo>
                    <a:pt x="42" y="198"/>
                  </a:lnTo>
                  <a:lnTo>
                    <a:pt x="54" y="204"/>
                  </a:lnTo>
                  <a:lnTo>
                    <a:pt x="60" y="210"/>
                  </a:lnTo>
                  <a:lnTo>
                    <a:pt x="60" y="222"/>
                  </a:lnTo>
                  <a:lnTo>
                    <a:pt x="54" y="22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48" y="294"/>
                  </a:lnTo>
                  <a:lnTo>
                    <a:pt x="54" y="294"/>
                  </a:lnTo>
                  <a:lnTo>
                    <a:pt x="60" y="300"/>
                  </a:lnTo>
                  <a:lnTo>
                    <a:pt x="60" y="312"/>
                  </a:lnTo>
                  <a:lnTo>
                    <a:pt x="54" y="324"/>
                  </a:lnTo>
                  <a:lnTo>
                    <a:pt x="54" y="336"/>
                  </a:lnTo>
                  <a:lnTo>
                    <a:pt x="66" y="378"/>
                  </a:lnTo>
                  <a:lnTo>
                    <a:pt x="96" y="402"/>
                  </a:lnTo>
                  <a:lnTo>
                    <a:pt x="108" y="396"/>
                  </a:lnTo>
                  <a:lnTo>
                    <a:pt x="120" y="384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26" y="360"/>
                  </a:lnTo>
                  <a:lnTo>
                    <a:pt x="126" y="35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41" name="Thailand" descr="© INSCALE GmbH, 05.05.2010&#10;http://www.presentationload.com/"/>
            <p:cNvSpPr>
              <a:spLocks/>
            </p:cNvSpPr>
            <p:nvPr/>
          </p:nvSpPr>
          <p:spPr bwMode="gray">
            <a:xfrm>
              <a:off x="6687544" y="3793058"/>
              <a:ext cx="200935" cy="369886"/>
            </a:xfrm>
            <a:custGeom>
              <a:avLst/>
              <a:gdLst>
                <a:gd name="T0" fmla="*/ 2147483647 w 618"/>
                <a:gd name="T1" fmla="*/ 2147483647 h 1188"/>
                <a:gd name="T2" fmla="*/ 2147483647 w 618"/>
                <a:gd name="T3" fmla="*/ 2147483647 h 1188"/>
                <a:gd name="T4" fmla="*/ 2147483647 w 618"/>
                <a:gd name="T5" fmla="*/ 2147483647 h 1188"/>
                <a:gd name="T6" fmla="*/ 2147483647 w 618"/>
                <a:gd name="T7" fmla="*/ 2147483647 h 1188"/>
                <a:gd name="T8" fmla="*/ 2147483647 w 618"/>
                <a:gd name="T9" fmla="*/ 2147483647 h 1188"/>
                <a:gd name="T10" fmla="*/ 2147483647 w 618"/>
                <a:gd name="T11" fmla="*/ 2147483647 h 1188"/>
                <a:gd name="T12" fmla="*/ 2147483647 w 618"/>
                <a:gd name="T13" fmla="*/ 2147483647 h 1188"/>
                <a:gd name="T14" fmla="*/ 2147483647 w 618"/>
                <a:gd name="T15" fmla="*/ 2147483647 h 1188"/>
                <a:gd name="T16" fmla="*/ 2147483647 w 618"/>
                <a:gd name="T17" fmla="*/ 2147483647 h 1188"/>
                <a:gd name="T18" fmla="*/ 2147483647 w 618"/>
                <a:gd name="T19" fmla="*/ 2147483647 h 1188"/>
                <a:gd name="T20" fmla="*/ 2147483647 w 618"/>
                <a:gd name="T21" fmla="*/ 2147483647 h 1188"/>
                <a:gd name="T22" fmla="*/ 2147483647 w 618"/>
                <a:gd name="T23" fmla="*/ 2147483647 h 1188"/>
                <a:gd name="T24" fmla="*/ 2147483647 w 618"/>
                <a:gd name="T25" fmla="*/ 0 h 1188"/>
                <a:gd name="T26" fmla="*/ 2147483647 w 618"/>
                <a:gd name="T27" fmla="*/ 2147483647 h 1188"/>
                <a:gd name="T28" fmla="*/ 2147483647 w 618"/>
                <a:gd name="T29" fmla="*/ 2147483647 h 1188"/>
                <a:gd name="T30" fmla="*/ 2147483647 w 618"/>
                <a:gd name="T31" fmla="*/ 2147483647 h 1188"/>
                <a:gd name="T32" fmla="*/ 0 w 618"/>
                <a:gd name="T33" fmla="*/ 2147483647 h 1188"/>
                <a:gd name="T34" fmla="*/ 2147483647 w 618"/>
                <a:gd name="T35" fmla="*/ 2147483647 h 1188"/>
                <a:gd name="T36" fmla="*/ 2147483647 w 618"/>
                <a:gd name="T37" fmla="*/ 2147483647 h 1188"/>
                <a:gd name="T38" fmla="*/ 2147483647 w 618"/>
                <a:gd name="T39" fmla="*/ 2147483647 h 1188"/>
                <a:gd name="T40" fmla="*/ 2147483647 w 618"/>
                <a:gd name="T41" fmla="*/ 2147483647 h 1188"/>
                <a:gd name="T42" fmla="*/ 2147483647 w 618"/>
                <a:gd name="T43" fmla="*/ 2147483647 h 1188"/>
                <a:gd name="T44" fmla="*/ 2147483647 w 618"/>
                <a:gd name="T45" fmla="*/ 2147483647 h 1188"/>
                <a:gd name="T46" fmla="*/ 2147483647 w 618"/>
                <a:gd name="T47" fmla="*/ 2147483647 h 1188"/>
                <a:gd name="T48" fmla="*/ 2147483647 w 618"/>
                <a:gd name="T49" fmla="*/ 2147483647 h 1188"/>
                <a:gd name="T50" fmla="*/ 2147483647 w 618"/>
                <a:gd name="T51" fmla="*/ 2147483647 h 1188"/>
                <a:gd name="T52" fmla="*/ 2147483647 w 618"/>
                <a:gd name="T53" fmla="*/ 2147483647 h 1188"/>
                <a:gd name="T54" fmla="*/ 2147483647 w 618"/>
                <a:gd name="T55" fmla="*/ 2147483647 h 1188"/>
                <a:gd name="T56" fmla="*/ 2147483647 w 618"/>
                <a:gd name="T57" fmla="*/ 2147483647 h 1188"/>
                <a:gd name="T58" fmla="*/ 2147483647 w 618"/>
                <a:gd name="T59" fmla="*/ 2147483647 h 1188"/>
                <a:gd name="T60" fmla="*/ 2147483647 w 618"/>
                <a:gd name="T61" fmla="*/ 2147483647 h 1188"/>
                <a:gd name="T62" fmla="*/ 2147483647 w 618"/>
                <a:gd name="T63" fmla="*/ 2147483647 h 1188"/>
                <a:gd name="T64" fmla="*/ 2147483647 w 618"/>
                <a:gd name="T65" fmla="*/ 2147483647 h 1188"/>
                <a:gd name="T66" fmla="*/ 2147483647 w 618"/>
                <a:gd name="T67" fmla="*/ 2147483647 h 1188"/>
                <a:gd name="T68" fmla="*/ 2147483647 w 618"/>
                <a:gd name="T69" fmla="*/ 2147483647 h 1188"/>
                <a:gd name="T70" fmla="*/ 2147483647 w 618"/>
                <a:gd name="T71" fmla="*/ 2147483647 h 1188"/>
                <a:gd name="T72" fmla="*/ 2147483647 w 618"/>
                <a:gd name="T73" fmla="*/ 2147483647 h 1188"/>
                <a:gd name="T74" fmla="*/ 2147483647 w 618"/>
                <a:gd name="T75" fmla="*/ 2147483647 h 1188"/>
                <a:gd name="T76" fmla="*/ 2147483647 w 618"/>
                <a:gd name="T77" fmla="*/ 2147483647 h 1188"/>
                <a:gd name="T78" fmla="*/ 2147483647 w 618"/>
                <a:gd name="T79" fmla="*/ 2147483647 h 1188"/>
                <a:gd name="T80" fmla="*/ 2147483647 w 618"/>
                <a:gd name="T81" fmla="*/ 2147483647 h 1188"/>
                <a:gd name="T82" fmla="*/ 2147483647 w 618"/>
                <a:gd name="T83" fmla="*/ 2147483647 h 1188"/>
                <a:gd name="T84" fmla="*/ 2147483647 w 618"/>
                <a:gd name="T85" fmla="*/ 2147483647 h 1188"/>
                <a:gd name="T86" fmla="*/ 2147483647 w 618"/>
                <a:gd name="T87" fmla="*/ 2147483647 h 1188"/>
                <a:gd name="T88" fmla="*/ 2147483647 w 618"/>
                <a:gd name="T89" fmla="*/ 2147483647 h 1188"/>
                <a:gd name="T90" fmla="*/ 2147483647 w 618"/>
                <a:gd name="T91" fmla="*/ 2147483647 h 1188"/>
                <a:gd name="T92" fmla="*/ 2147483647 w 618"/>
                <a:gd name="T93" fmla="*/ 2147483647 h 1188"/>
                <a:gd name="T94" fmla="*/ 2147483647 w 618"/>
                <a:gd name="T95" fmla="*/ 2147483647 h 1188"/>
                <a:gd name="T96" fmla="*/ 2147483647 w 618"/>
                <a:gd name="T97" fmla="*/ 2147483647 h 1188"/>
                <a:gd name="T98" fmla="*/ 2147483647 w 618"/>
                <a:gd name="T99" fmla="*/ 2147483647 h 1188"/>
                <a:gd name="T100" fmla="*/ 2147483647 w 618"/>
                <a:gd name="T101" fmla="*/ 2147483647 h 1188"/>
                <a:gd name="T102" fmla="*/ 2147483647 w 618"/>
                <a:gd name="T103" fmla="*/ 2147483647 h 1188"/>
                <a:gd name="T104" fmla="*/ 2147483647 w 618"/>
                <a:gd name="T105" fmla="*/ 2147483647 h 1188"/>
                <a:gd name="T106" fmla="*/ 2147483647 w 618"/>
                <a:gd name="T107" fmla="*/ 2147483647 h 1188"/>
                <a:gd name="T108" fmla="*/ 2147483647 w 618"/>
                <a:gd name="T109" fmla="*/ 2147483647 h 1188"/>
                <a:gd name="T110" fmla="*/ 2147483647 w 618"/>
                <a:gd name="T111" fmla="*/ 2147483647 h 1188"/>
                <a:gd name="T112" fmla="*/ 2147483647 w 618"/>
                <a:gd name="T113" fmla="*/ 2147483647 h 1188"/>
                <a:gd name="T114" fmla="*/ 2147483647 w 618"/>
                <a:gd name="T115" fmla="*/ 2147483647 h 1188"/>
                <a:gd name="T116" fmla="*/ 2147483647 w 618"/>
                <a:gd name="T117" fmla="*/ 2147483647 h 118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18"/>
                <a:gd name="T178" fmla="*/ 0 h 1188"/>
                <a:gd name="T179" fmla="*/ 618 w 618"/>
                <a:gd name="T180" fmla="*/ 1188 h 118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18" h="1188">
                  <a:moveTo>
                    <a:pt x="588" y="426"/>
                  </a:moveTo>
                  <a:lnTo>
                    <a:pt x="588" y="420"/>
                  </a:lnTo>
                  <a:lnTo>
                    <a:pt x="594" y="414"/>
                  </a:lnTo>
                  <a:lnTo>
                    <a:pt x="606" y="390"/>
                  </a:lnTo>
                  <a:lnTo>
                    <a:pt x="594" y="378"/>
                  </a:lnTo>
                  <a:lnTo>
                    <a:pt x="594" y="372"/>
                  </a:lnTo>
                  <a:lnTo>
                    <a:pt x="588" y="378"/>
                  </a:lnTo>
                  <a:lnTo>
                    <a:pt x="588" y="366"/>
                  </a:lnTo>
                  <a:lnTo>
                    <a:pt x="582" y="360"/>
                  </a:lnTo>
                  <a:lnTo>
                    <a:pt x="582" y="354"/>
                  </a:lnTo>
                  <a:lnTo>
                    <a:pt x="546" y="31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28" y="240"/>
                  </a:lnTo>
                  <a:lnTo>
                    <a:pt x="510" y="222"/>
                  </a:lnTo>
                  <a:lnTo>
                    <a:pt x="498" y="216"/>
                  </a:lnTo>
                  <a:lnTo>
                    <a:pt x="480" y="204"/>
                  </a:lnTo>
                  <a:lnTo>
                    <a:pt x="468" y="192"/>
                  </a:lnTo>
                  <a:lnTo>
                    <a:pt x="468" y="180"/>
                  </a:lnTo>
                  <a:lnTo>
                    <a:pt x="462" y="174"/>
                  </a:lnTo>
                  <a:lnTo>
                    <a:pt x="438" y="174"/>
                  </a:lnTo>
                  <a:lnTo>
                    <a:pt x="426" y="168"/>
                  </a:lnTo>
                  <a:lnTo>
                    <a:pt x="420" y="162"/>
                  </a:lnTo>
                  <a:lnTo>
                    <a:pt x="402" y="162"/>
                  </a:lnTo>
                  <a:lnTo>
                    <a:pt x="396" y="168"/>
                  </a:lnTo>
                  <a:lnTo>
                    <a:pt x="396" y="180"/>
                  </a:lnTo>
                  <a:lnTo>
                    <a:pt x="378" y="198"/>
                  </a:lnTo>
                  <a:lnTo>
                    <a:pt x="360" y="198"/>
                  </a:lnTo>
                  <a:lnTo>
                    <a:pt x="336" y="186"/>
                  </a:lnTo>
                  <a:lnTo>
                    <a:pt x="330" y="180"/>
                  </a:lnTo>
                  <a:lnTo>
                    <a:pt x="318" y="180"/>
                  </a:lnTo>
                  <a:lnTo>
                    <a:pt x="312" y="186"/>
                  </a:lnTo>
                  <a:lnTo>
                    <a:pt x="306" y="198"/>
                  </a:lnTo>
                  <a:lnTo>
                    <a:pt x="294" y="210"/>
                  </a:lnTo>
                  <a:lnTo>
                    <a:pt x="294" y="216"/>
                  </a:lnTo>
                  <a:lnTo>
                    <a:pt x="288" y="222"/>
                  </a:lnTo>
                  <a:lnTo>
                    <a:pt x="264" y="234"/>
                  </a:lnTo>
                  <a:lnTo>
                    <a:pt x="246" y="234"/>
                  </a:lnTo>
                  <a:lnTo>
                    <a:pt x="246" y="222"/>
                  </a:lnTo>
                  <a:lnTo>
                    <a:pt x="270" y="174"/>
                  </a:lnTo>
                  <a:lnTo>
                    <a:pt x="270" y="162"/>
                  </a:lnTo>
                  <a:lnTo>
                    <a:pt x="264" y="156"/>
                  </a:lnTo>
                  <a:lnTo>
                    <a:pt x="252" y="156"/>
                  </a:lnTo>
                  <a:lnTo>
                    <a:pt x="264" y="144"/>
                  </a:lnTo>
                  <a:lnTo>
                    <a:pt x="270" y="132"/>
                  </a:lnTo>
                  <a:lnTo>
                    <a:pt x="270" y="120"/>
                  </a:lnTo>
                  <a:lnTo>
                    <a:pt x="264" y="108"/>
                  </a:lnTo>
                  <a:lnTo>
                    <a:pt x="258" y="102"/>
                  </a:lnTo>
                  <a:lnTo>
                    <a:pt x="264" y="96"/>
                  </a:lnTo>
                  <a:lnTo>
                    <a:pt x="264" y="66"/>
                  </a:lnTo>
                  <a:lnTo>
                    <a:pt x="252" y="60"/>
                  </a:lnTo>
                  <a:lnTo>
                    <a:pt x="246" y="60"/>
                  </a:lnTo>
                  <a:lnTo>
                    <a:pt x="240" y="66"/>
                  </a:lnTo>
                  <a:lnTo>
                    <a:pt x="228" y="66"/>
                  </a:lnTo>
                  <a:lnTo>
                    <a:pt x="228" y="78"/>
                  </a:lnTo>
                  <a:lnTo>
                    <a:pt x="210" y="78"/>
                  </a:lnTo>
                  <a:lnTo>
                    <a:pt x="204" y="72"/>
                  </a:lnTo>
                  <a:lnTo>
                    <a:pt x="198" y="60"/>
                  </a:lnTo>
                  <a:lnTo>
                    <a:pt x="198" y="36"/>
                  </a:lnTo>
                  <a:lnTo>
                    <a:pt x="204" y="30"/>
                  </a:lnTo>
                  <a:lnTo>
                    <a:pt x="204" y="18"/>
                  </a:lnTo>
                  <a:lnTo>
                    <a:pt x="198" y="12"/>
                  </a:lnTo>
                  <a:lnTo>
                    <a:pt x="186" y="12"/>
                  </a:lnTo>
                  <a:lnTo>
                    <a:pt x="174" y="6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32" y="6"/>
                  </a:lnTo>
                  <a:lnTo>
                    <a:pt x="126" y="6"/>
                  </a:lnTo>
                  <a:lnTo>
                    <a:pt x="120" y="30"/>
                  </a:lnTo>
                  <a:lnTo>
                    <a:pt x="96" y="30"/>
                  </a:lnTo>
                  <a:lnTo>
                    <a:pt x="96" y="36"/>
                  </a:lnTo>
                  <a:lnTo>
                    <a:pt x="90" y="42"/>
                  </a:lnTo>
                  <a:lnTo>
                    <a:pt x="84" y="54"/>
                  </a:lnTo>
                  <a:lnTo>
                    <a:pt x="78" y="60"/>
                  </a:lnTo>
                  <a:lnTo>
                    <a:pt x="66" y="60"/>
                  </a:lnTo>
                  <a:lnTo>
                    <a:pt x="54" y="54"/>
                  </a:lnTo>
                  <a:lnTo>
                    <a:pt x="24" y="54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12" y="108"/>
                  </a:lnTo>
                  <a:lnTo>
                    <a:pt x="6" y="114"/>
                  </a:lnTo>
                  <a:lnTo>
                    <a:pt x="6" y="120"/>
                  </a:lnTo>
                  <a:lnTo>
                    <a:pt x="24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0" y="162"/>
                  </a:lnTo>
                  <a:lnTo>
                    <a:pt x="24" y="186"/>
                  </a:lnTo>
                  <a:lnTo>
                    <a:pt x="36" y="192"/>
                  </a:lnTo>
                  <a:lnTo>
                    <a:pt x="30" y="216"/>
                  </a:lnTo>
                  <a:lnTo>
                    <a:pt x="36" y="216"/>
                  </a:lnTo>
                  <a:lnTo>
                    <a:pt x="36" y="222"/>
                  </a:lnTo>
                  <a:lnTo>
                    <a:pt x="42" y="234"/>
                  </a:lnTo>
                  <a:lnTo>
                    <a:pt x="60" y="252"/>
                  </a:lnTo>
                  <a:lnTo>
                    <a:pt x="72" y="258"/>
                  </a:lnTo>
                  <a:lnTo>
                    <a:pt x="84" y="270"/>
                  </a:lnTo>
                  <a:lnTo>
                    <a:pt x="96" y="276"/>
                  </a:lnTo>
                  <a:lnTo>
                    <a:pt x="102" y="282"/>
                  </a:lnTo>
                  <a:lnTo>
                    <a:pt x="102" y="288"/>
                  </a:lnTo>
                  <a:lnTo>
                    <a:pt x="96" y="288"/>
                  </a:lnTo>
                  <a:lnTo>
                    <a:pt x="96" y="306"/>
                  </a:lnTo>
                  <a:lnTo>
                    <a:pt x="102" y="318"/>
                  </a:lnTo>
                  <a:lnTo>
                    <a:pt x="108" y="324"/>
                  </a:lnTo>
                  <a:lnTo>
                    <a:pt x="114" y="324"/>
                  </a:lnTo>
                  <a:lnTo>
                    <a:pt x="120" y="318"/>
                  </a:lnTo>
                  <a:lnTo>
                    <a:pt x="126" y="324"/>
                  </a:lnTo>
                  <a:lnTo>
                    <a:pt x="126" y="342"/>
                  </a:lnTo>
                  <a:lnTo>
                    <a:pt x="120" y="348"/>
                  </a:lnTo>
                  <a:lnTo>
                    <a:pt x="108" y="348"/>
                  </a:lnTo>
                  <a:lnTo>
                    <a:pt x="114" y="360"/>
                  </a:lnTo>
                  <a:lnTo>
                    <a:pt x="114" y="384"/>
                  </a:lnTo>
                  <a:lnTo>
                    <a:pt x="108" y="396"/>
                  </a:lnTo>
                  <a:lnTo>
                    <a:pt x="102" y="402"/>
                  </a:lnTo>
                  <a:lnTo>
                    <a:pt x="84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96" y="456"/>
                  </a:lnTo>
                  <a:lnTo>
                    <a:pt x="102" y="468"/>
                  </a:lnTo>
                  <a:lnTo>
                    <a:pt x="108" y="474"/>
                  </a:lnTo>
                  <a:lnTo>
                    <a:pt x="114" y="486"/>
                  </a:lnTo>
                  <a:lnTo>
                    <a:pt x="156" y="528"/>
                  </a:lnTo>
                  <a:lnTo>
                    <a:pt x="162" y="540"/>
                  </a:lnTo>
                  <a:lnTo>
                    <a:pt x="162" y="570"/>
                  </a:lnTo>
                  <a:lnTo>
                    <a:pt x="168" y="588"/>
                  </a:lnTo>
                  <a:lnTo>
                    <a:pt x="168" y="612"/>
                  </a:lnTo>
                  <a:lnTo>
                    <a:pt x="192" y="636"/>
                  </a:lnTo>
                  <a:lnTo>
                    <a:pt x="192" y="660"/>
                  </a:lnTo>
                  <a:lnTo>
                    <a:pt x="198" y="672"/>
                  </a:lnTo>
                  <a:lnTo>
                    <a:pt x="198" y="702"/>
                  </a:lnTo>
                  <a:lnTo>
                    <a:pt x="192" y="714"/>
                  </a:lnTo>
                  <a:lnTo>
                    <a:pt x="192" y="732"/>
                  </a:lnTo>
                  <a:lnTo>
                    <a:pt x="174" y="768"/>
                  </a:lnTo>
                  <a:lnTo>
                    <a:pt x="156" y="786"/>
                  </a:lnTo>
                  <a:lnTo>
                    <a:pt x="156" y="798"/>
                  </a:lnTo>
                  <a:lnTo>
                    <a:pt x="162" y="804"/>
                  </a:lnTo>
                  <a:lnTo>
                    <a:pt x="162" y="816"/>
                  </a:lnTo>
                  <a:lnTo>
                    <a:pt x="156" y="828"/>
                  </a:lnTo>
                  <a:lnTo>
                    <a:pt x="150" y="834"/>
                  </a:lnTo>
                  <a:lnTo>
                    <a:pt x="144" y="846"/>
                  </a:lnTo>
                  <a:lnTo>
                    <a:pt x="144" y="852"/>
                  </a:lnTo>
                  <a:lnTo>
                    <a:pt x="138" y="858"/>
                  </a:lnTo>
                  <a:lnTo>
                    <a:pt x="132" y="876"/>
                  </a:lnTo>
                  <a:lnTo>
                    <a:pt x="126" y="888"/>
                  </a:lnTo>
                  <a:lnTo>
                    <a:pt x="126" y="906"/>
                  </a:lnTo>
                  <a:lnTo>
                    <a:pt x="120" y="918"/>
                  </a:lnTo>
                  <a:lnTo>
                    <a:pt x="120" y="966"/>
                  </a:lnTo>
                  <a:lnTo>
                    <a:pt x="126" y="978"/>
                  </a:lnTo>
                  <a:lnTo>
                    <a:pt x="126" y="1008"/>
                  </a:lnTo>
                  <a:lnTo>
                    <a:pt x="132" y="1014"/>
                  </a:lnTo>
                  <a:lnTo>
                    <a:pt x="132" y="1020"/>
                  </a:lnTo>
                  <a:lnTo>
                    <a:pt x="138" y="1020"/>
                  </a:lnTo>
                  <a:lnTo>
                    <a:pt x="138" y="1002"/>
                  </a:lnTo>
                  <a:lnTo>
                    <a:pt x="144" y="990"/>
                  </a:lnTo>
                  <a:lnTo>
                    <a:pt x="144" y="978"/>
                  </a:lnTo>
                  <a:lnTo>
                    <a:pt x="150" y="972"/>
                  </a:lnTo>
                  <a:lnTo>
                    <a:pt x="150" y="996"/>
                  </a:lnTo>
                  <a:lnTo>
                    <a:pt x="162" y="996"/>
                  </a:lnTo>
                  <a:lnTo>
                    <a:pt x="186" y="1020"/>
                  </a:lnTo>
                  <a:lnTo>
                    <a:pt x="192" y="1032"/>
                  </a:lnTo>
                  <a:lnTo>
                    <a:pt x="198" y="1038"/>
                  </a:lnTo>
                  <a:lnTo>
                    <a:pt x="198" y="1044"/>
                  </a:lnTo>
                  <a:lnTo>
                    <a:pt x="228" y="1074"/>
                  </a:lnTo>
                  <a:lnTo>
                    <a:pt x="228" y="1098"/>
                  </a:lnTo>
                  <a:lnTo>
                    <a:pt x="234" y="1110"/>
                  </a:lnTo>
                  <a:lnTo>
                    <a:pt x="246" y="1128"/>
                  </a:lnTo>
                  <a:lnTo>
                    <a:pt x="264" y="1146"/>
                  </a:lnTo>
                  <a:lnTo>
                    <a:pt x="270" y="1140"/>
                  </a:lnTo>
                  <a:lnTo>
                    <a:pt x="276" y="1128"/>
                  </a:lnTo>
                  <a:lnTo>
                    <a:pt x="270" y="1122"/>
                  </a:lnTo>
                  <a:lnTo>
                    <a:pt x="270" y="1110"/>
                  </a:lnTo>
                  <a:lnTo>
                    <a:pt x="276" y="1104"/>
                  </a:lnTo>
                  <a:lnTo>
                    <a:pt x="288" y="1104"/>
                  </a:lnTo>
                  <a:lnTo>
                    <a:pt x="294" y="1116"/>
                  </a:lnTo>
                  <a:lnTo>
                    <a:pt x="294" y="1122"/>
                  </a:lnTo>
                  <a:lnTo>
                    <a:pt x="312" y="1122"/>
                  </a:lnTo>
                  <a:lnTo>
                    <a:pt x="324" y="1128"/>
                  </a:lnTo>
                  <a:lnTo>
                    <a:pt x="330" y="1134"/>
                  </a:lnTo>
                  <a:lnTo>
                    <a:pt x="330" y="1146"/>
                  </a:lnTo>
                  <a:lnTo>
                    <a:pt x="342" y="1146"/>
                  </a:lnTo>
                  <a:lnTo>
                    <a:pt x="342" y="1158"/>
                  </a:lnTo>
                  <a:lnTo>
                    <a:pt x="330" y="1170"/>
                  </a:lnTo>
                  <a:lnTo>
                    <a:pt x="330" y="1176"/>
                  </a:lnTo>
                  <a:lnTo>
                    <a:pt x="336" y="1182"/>
                  </a:lnTo>
                  <a:lnTo>
                    <a:pt x="354" y="1182"/>
                  </a:lnTo>
                  <a:lnTo>
                    <a:pt x="354" y="1176"/>
                  </a:lnTo>
                  <a:lnTo>
                    <a:pt x="366" y="1176"/>
                  </a:lnTo>
                  <a:lnTo>
                    <a:pt x="372" y="1170"/>
                  </a:lnTo>
                  <a:lnTo>
                    <a:pt x="378" y="1170"/>
                  </a:lnTo>
                  <a:lnTo>
                    <a:pt x="396" y="1188"/>
                  </a:lnTo>
                  <a:lnTo>
                    <a:pt x="402" y="1182"/>
                  </a:lnTo>
                  <a:lnTo>
                    <a:pt x="402" y="1176"/>
                  </a:lnTo>
                  <a:lnTo>
                    <a:pt x="408" y="1164"/>
                  </a:lnTo>
                  <a:lnTo>
                    <a:pt x="414" y="1158"/>
                  </a:lnTo>
                  <a:lnTo>
                    <a:pt x="420" y="1146"/>
                  </a:lnTo>
                  <a:lnTo>
                    <a:pt x="396" y="1134"/>
                  </a:lnTo>
                  <a:lnTo>
                    <a:pt x="390" y="1128"/>
                  </a:lnTo>
                  <a:lnTo>
                    <a:pt x="390" y="1116"/>
                  </a:lnTo>
                  <a:lnTo>
                    <a:pt x="384" y="1104"/>
                  </a:lnTo>
                  <a:lnTo>
                    <a:pt x="384" y="1092"/>
                  </a:lnTo>
                  <a:lnTo>
                    <a:pt x="378" y="1080"/>
                  </a:lnTo>
                  <a:lnTo>
                    <a:pt x="372" y="1074"/>
                  </a:lnTo>
                  <a:lnTo>
                    <a:pt x="354" y="1074"/>
                  </a:lnTo>
                  <a:lnTo>
                    <a:pt x="342" y="1080"/>
                  </a:lnTo>
                  <a:lnTo>
                    <a:pt x="336" y="1086"/>
                  </a:lnTo>
                  <a:lnTo>
                    <a:pt x="318" y="1086"/>
                  </a:lnTo>
                  <a:lnTo>
                    <a:pt x="312" y="1080"/>
                  </a:lnTo>
                  <a:lnTo>
                    <a:pt x="306" y="1068"/>
                  </a:lnTo>
                  <a:lnTo>
                    <a:pt x="306" y="1056"/>
                  </a:lnTo>
                  <a:lnTo>
                    <a:pt x="294" y="1032"/>
                  </a:lnTo>
                  <a:lnTo>
                    <a:pt x="288" y="1032"/>
                  </a:lnTo>
                  <a:lnTo>
                    <a:pt x="288" y="1050"/>
                  </a:lnTo>
                  <a:lnTo>
                    <a:pt x="282" y="1056"/>
                  </a:lnTo>
                  <a:lnTo>
                    <a:pt x="276" y="1056"/>
                  </a:lnTo>
                  <a:lnTo>
                    <a:pt x="270" y="1044"/>
                  </a:lnTo>
                  <a:lnTo>
                    <a:pt x="264" y="1038"/>
                  </a:lnTo>
                  <a:lnTo>
                    <a:pt x="258" y="1026"/>
                  </a:lnTo>
                  <a:lnTo>
                    <a:pt x="258" y="1014"/>
                  </a:lnTo>
                  <a:lnTo>
                    <a:pt x="270" y="1002"/>
                  </a:lnTo>
                  <a:lnTo>
                    <a:pt x="270" y="1008"/>
                  </a:lnTo>
                  <a:lnTo>
                    <a:pt x="276" y="1008"/>
                  </a:lnTo>
                  <a:lnTo>
                    <a:pt x="276" y="1014"/>
                  </a:lnTo>
                  <a:lnTo>
                    <a:pt x="282" y="1014"/>
                  </a:lnTo>
                  <a:lnTo>
                    <a:pt x="288" y="1008"/>
                  </a:lnTo>
                  <a:lnTo>
                    <a:pt x="282" y="1002"/>
                  </a:lnTo>
                  <a:lnTo>
                    <a:pt x="282" y="990"/>
                  </a:lnTo>
                  <a:lnTo>
                    <a:pt x="276" y="978"/>
                  </a:lnTo>
                  <a:lnTo>
                    <a:pt x="270" y="972"/>
                  </a:lnTo>
                  <a:lnTo>
                    <a:pt x="270" y="960"/>
                  </a:lnTo>
                  <a:lnTo>
                    <a:pt x="258" y="948"/>
                  </a:lnTo>
                  <a:lnTo>
                    <a:pt x="246" y="948"/>
                  </a:lnTo>
                  <a:lnTo>
                    <a:pt x="246" y="894"/>
                  </a:lnTo>
                  <a:lnTo>
                    <a:pt x="192" y="906"/>
                  </a:lnTo>
                  <a:lnTo>
                    <a:pt x="192" y="864"/>
                  </a:lnTo>
                  <a:lnTo>
                    <a:pt x="186" y="828"/>
                  </a:lnTo>
                  <a:lnTo>
                    <a:pt x="186" y="804"/>
                  </a:lnTo>
                  <a:lnTo>
                    <a:pt x="180" y="792"/>
                  </a:lnTo>
                  <a:lnTo>
                    <a:pt x="174" y="786"/>
                  </a:lnTo>
                  <a:lnTo>
                    <a:pt x="180" y="786"/>
                  </a:lnTo>
                  <a:lnTo>
                    <a:pt x="192" y="774"/>
                  </a:lnTo>
                  <a:lnTo>
                    <a:pt x="198" y="762"/>
                  </a:lnTo>
                  <a:lnTo>
                    <a:pt x="204" y="744"/>
                  </a:lnTo>
                  <a:lnTo>
                    <a:pt x="204" y="678"/>
                  </a:lnTo>
                  <a:lnTo>
                    <a:pt x="210" y="678"/>
                  </a:lnTo>
                  <a:lnTo>
                    <a:pt x="216" y="672"/>
                  </a:lnTo>
                  <a:lnTo>
                    <a:pt x="222" y="660"/>
                  </a:lnTo>
                  <a:lnTo>
                    <a:pt x="228" y="654"/>
                  </a:lnTo>
                  <a:lnTo>
                    <a:pt x="228" y="612"/>
                  </a:lnTo>
                  <a:lnTo>
                    <a:pt x="222" y="600"/>
                  </a:lnTo>
                  <a:lnTo>
                    <a:pt x="222" y="594"/>
                  </a:lnTo>
                  <a:lnTo>
                    <a:pt x="216" y="588"/>
                  </a:lnTo>
                  <a:lnTo>
                    <a:pt x="222" y="558"/>
                  </a:lnTo>
                  <a:lnTo>
                    <a:pt x="234" y="558"/>
                  </a:lnTo>
                  <a:lnTo>
                    <a:pt x="234" y="552"/>
                  </a:lnTo>
                  <a:lnTo>
                    <a:pt x="240" y="546"/>
                  </a:lnTo>
                  <a:lnTo>
                    <a:pt x="264" y="546"/>
                  </a:lnTo>
                  <a:lnTo>
                    <a:pt x="270" y="552"/>
                  </a:lnTo>
                  <a:lnTo>
                    <a:pt x="294" y="564"/>
                  </a:lnTo>
                  <a:lnTo>
                    <a:pt x="300" y="570"/>
                  </a:lnTo>
                  <a:lnTo>
                    <a:pt x="288" y="576"/>
                  </a:lnTo>
                  <a:lnTo>
                    <a:pt x="288" y="588"/>
                  </a:lnTo>
                  <a:lnTo>
                    <a:pt x="282" y="594"/>
                  </a:lnTo>
                  <a:lnTo>
                    <a:pt x="282" y="612"/>
                  </a:lnTo>
                  <a:lnTo>
                    <a:pt x="288" y="624"/>
                  </a:lnTo>
                  <a:lnTo>
                    <a:pt x="306" y="624"/>
                  </a:lnTo>
                  <a:lnTo>
                    <a:pt x="330" y="612"/>
                  </a:lnTo>
                  <a:lnTo>
                    <a:pt x="342" y="612"/>
                  </a:lnTo>
                  <a:lnTo>
                    <a:pt x="354" y="606"/>
                  </a:lnTo>
                  <a:lnTo>
                    <a:pt x="360" y="600"/>
                  </a:lnTo>
                  <a:lnTo>
                    <a:pt x="366" y="600"/>
                  </a:lnTo>
                  <a:lnTo>
                    <a:pt x="396" y="684"/>
                  </a:lnTo>
                  <a:lnTo>
                    <a:pt x="402" y="678"/>
                  </a:lnTo>
                  <a:lnTo>
                    <a:pt x="414" y="672"/>
                  </a:lnTo>
                  <a:lnTo>
                    <a:pt x="426" y="672"/>
                  </a:lnTo>
                  <a:lnTo>
                    <a:pt x="426" y="642"/>
                  </a:lnTo>
                  <a:lnTo>
                    <a:pt x="414" y="630"/>
                  </a:lnTo>
                  <a:lnTo>
                    <a:pt x="414" y="600"/>
                  </a:lnTo>
                  <a:lnTo>
                    <a:pt x="402" y="588"/>
                  </a:lnTo>
                  <a:lnTo>
                    <a:pt x="396" y="552"/>
                  </a:lnTo>
                  <a:lnTo>
                    <a:pt x="426" y="522"/>
                  </a:lnTo>
                  <a:lnTo>
                    <a:pt x="426" y="516"/>
                  </a:lnTo>
                  <a:lnTo>
                    <a:pt x="432" y="504"/>
                  </a:lnTo>
                  <a:lnTo>
                    <a:pt x="438" y="498"/>
                  </a:lnTo>
                  <a:lnTo>
                    <a:pt x="450" y="492"/>
                  </a:lnTo>
                  <a:lnTo>
                    <a:pt x="468" y="486"/>
                  </a:lnTo>
                  <a:lnTo>
                    <a:pt x="504" y="486"/>
                  </a:lnTo>
                  <a:lnTo>
                    <a:pt x="510" y="492"/>
                  </a:lnTo>
                  <a:lnTo>
                    <a:pt x="522" y="492"/>
                  </a:lnTo>
                  <a:lnTo>
                    <a:pt x="534" y="486"/>
                  </a:lnTo>
                  <a:lnTo>
                    <a:pt x="564" y="486"/>
                  </a:lnTo>
                  <a:lnTo>
                    <a:pt x="576" y="492"/>
                  </a:lnTo>
                  <a:lnTo>
                    <a:pt x="582" y="498"/>
                  </a:lnTo>
                  <a:lnTo>
                    <a:pt x="588" y="498"/>
                  </a:lnTo>
                  <a:lnTo>
                    <a:pt x="594" y="492"/>
                  </a:lnTo>
                  <a:lnTo>
                    <a:pt x="600" y="480"/>
                  </a:lnTo>
                  <a:lnTo>
                    <a:pt x="618" y="462"/>
                  </a:lnTo>
                  <a:lnTo>
                    <a:pt x="618" y="450"/>
                  </a:lnTo>
                  <a:lnTo>
                    <a:pt x="612" y="444"/>
                  </a:lnTo>
                  <a:lnTo>
                    <a:pt x="600" y="438"/>
                  </a:lnTo>
                  <a:lnTo>
                    <a:pt x="588" y="42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42" name="Tanzania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5150454" y="4329516"/>
              <a:ext cx="248289" cy="269454"/>
            </a:xfrm>
            <a:custGeom>
              <a:avLst/>
              <a:gdLst>
                <a:gd name="T0" fmla="*/ 2147483647 w 768"/>
                <a:gd name="T1" fmla="*/ 2147483647 h 870"/>
                <a:gd name="T2" fmla="*/ 2147483647 w 768"/>
                <a:gd name="T3" fmla="*/ 2147483647 h 870"/>
                <a:gd name="T4" fmla="*/ 2147483647 w 768"/>
                <a:gd name="T5" fmla="*/ 2147483647 h 870"/>
                <a:gd name="T6" fmla="*/ 2147483647 w 768"/>
                <a:gd name="T7" fmla="*/ 2147483647 h 870"/>
                <a:gd name="T8" fmla="*/ 2147483647 w 768"/>
                <a:gd name="T9" fmla="*/ 2147483647 h 870"/>
                <a:gd name="T10" fmla="*/ 2147483647 w 768"/>
                <a:gd name="T11" fmla="*/ 2147483647 h 870"/>
                <a:gd name="T12" fmla="*/ 2147483647 w 768"/>
                <a:gd name="T13" fmla="*/ 2147483647 h 870"/>
                <a:gd name="T14" fmla="*/ 2147483647 w 768"/>
                <a:gd name="T15" fmla="*/ 2147483647 h 870"/>
                <a:gd name="T16" fmla="*/ 2147483647 w 768"/>
                <a:gd name="T17" fmla="*/ 2147483647 h 870"/>
                <a:gd name="T18" fmla="*/ 2147483647 w 768"/>
                <a:gd name="T19" fmla="*/ 2147483647 h 870"/>
                <a:gd name="T20" fmla="*/ 2147483647 w 768"/>
                <a:gd name="T21" fmla="*/ 2147483647 h 870"/>
                <a:gd name="T22" fmla="*/ 2147483647 w 768"/>
                <a:gd name="T23" fmla="*/ 2147483647 h 870"/>
                <a:gd name="T24" fmla="*/ 2147483647 w 768"/>
                <a:gd name="T25" fmla="*/ 2147483647 h 870"/>
                <a:gd name="T26" fmla="*/ 2147483647 w 768"/>
                <a:gd name="T27" fmla="*/ 2147483647 h 870"/>
                <a:gd name="T28" fmla="*/ 2147483647 w 768"/>
                <a:gd name="T29" fmla="*/ 2147483647 h 870"/>
                <a:gd name="T30" fmla="*/ 2147483647 w 768"/>
                <a:gd name="T31" fmla="*/ 2147483647 h 870"/>
                <a:gd name="T32" fmla="*/ 2147483647 w 768"/>
                <a:gd name="T33" fmla="*/ 2147483647 h 870"/>
                <a:gd name="T34" fmla="*/ 2147483647 w 768"/>
                <a:gd name="T35" fmla="*/ 2147483647 h 870"/>
                <a:gd name="T36" fmla="*/ 2147483647 w 768"/>
                <a:gd name="T37" fmla="*/ 2147483647 h 870"/>
                <a:gd name="T38" fmla="*/ 2147483647 w 768"/>
                <a:gd name="T39" fmla="*/ 2147483647 h 870"/>
                <a:gd name="T40" fmla="*/ 2147483647 w 768"/>
                <a:gd name="T41" fmla="*/ 2147483647 h 870"/>
                <a:gd name="T42" fmla="*/ 2147483647 w 768"/>
                <a:gd name="T43" fmla="*/ 2147483647 h 870"/>
                <a:gd name="T44" fmla="*/ 2147483647 w 768"/>
                <a:gd name="T45" fmla="*/ 2147483647 h 870"/>
                <a:gd name="T46" fmla="*/ 2147483647 w 768"/>
                <a:gd name="T47" fmla="*/ 2147483647 h 870"/>
                <a:gd name="T48" fmla="*/ 2147483647 w 768"/>
                <a:gd name="T49" fmla="*/ 2147483647 h 870"/>
                <a:gd name="T50" fmla="*/ 2147483647 w 768"/>
                <a:gd name="T51" fmla="*/ 2147483647 h 870"/>
                <a:gd name="T52" fmla="*/ 2147483647 w 768"/>
                <a:gd name="T53" fmla="*/ 2147483647 h 870"/>
                <a:gd name="T54" fmla="*/ 2147483647 w 768"/>
                <a:gd name="T55" fmla="*/ 2147483647 h 870"/>
                <a:gd name="T56" fmla="*/ 2147483647 w 768"/>
                <a:gd name="T57" fmla="*/ 2147483647 h 870"/>
                <a:gd name="T58" fmla="*/ 2147483647 w 768"/>
                <a:gd name="T59" fmla="*/ 2147483647 h 870"/>
                <a:gd name="T60" fmla="*/ 2147483647 w 768"/>
                <a:gd name="T61" fmla="*/ 2147483647 h 870"/>
                <a:gd name="T62" fmla="*/ 2147483647 w 768"/>
                <a:gd name="T63" fmla="*/ 2147483647 h 870"/>
                <a:gd name="T64" fmla="*/ 2147483647 w 768"/>
                <a:gd name="T65" fmla="*/ 2147483647 h 870"/>
                <a:gd name="T66" fmla="*/ 2147483647 w 768"/>
                <a:gd name="T67" fmla="*/ 2147483647 h 870"/>
                <a:gd name="T68" fmla="*/ 2147483647 w 768"/>
                <a:gd name="T69" fmla="*/ 2147483647 h 870"/>
                <a:gd name="T70" fmla="*/ 2147483647 w 768"/>
                <a:gd name="T71" fmla="*/ 2147483647 h 870"/>
                <a:gd name="T72" fmla="*/ 2147483647 w 768"/>
                <a:gd name="T73" fmla="*/ 2147483647 h 870"/>
                <a:gd name="T74" fmla="*/ 2147483647 w 768"/>
                <a:gd name="T75" fmla="*/ 2147483647 h 870"/>
                <a:gd name="T76" fmla="*/ 2147483647 w 768"/>
                <a:gd name="T77" fmla="*/ 2147483647 h 870"/>
                <a:gd name="T78" fmla="*/ 2147483647 w 768"/>
                <a:gd name="T79" fmla="*/ 2147483647 h 870"/>
                <a:gd name="T80" fmla="*/ 2147483647 w 768"/>
                <a:gd name="T81" fmla="*/ 2147483647 h 870"/>
                <a:gd name="T82" fmla="*/ 2147483647 w 768"/>
                <a:gd name="T83" fmla="*/ 2147483647 h 870"/>
                <a:gd name="T84" fmla="*/ 2147483647 w 768"/>
                <a:gd name="T85" fmla="*/ 2147483647 h 870"/>
                <a:gd name="T86" fmla="*/ 2147483647 w 768"/>
                <a:gd name="T87" fmla="*/ 2147483647 h 870"/>
                <a:gd name="T88" fmla="*/ 2147483647 w 768"/>
                <a:gd name="T89" fmla="*/ 2147483647 h 870"/>
                <a:gd name="T90" fmla="*/ 2147483647 w 768"/>
                <a:gd name="T91" fmla="*/ 2147483647 h 870"/>
                <a:gd name="T92" fmla="*/ 2147483647 w 768"/>
                <a:gd name="T93" fmla="*/ 2147483647 h 870"/>
                <a:gd name="T94" fmla="*/ 2147483647 w 768"/>
                <a:gd name="T95" fmla="*/ 2147483647 h 870"/>
                <a:gd name="T96" fmla="*/ 2147483647 w 768"/>
                <a:gd name="T97" fmla="*/ 2147483647 h 870"/>
                <a:gd name="T98" fmla="*/ 2147483647 w 768"/>
                <a:gd name="T99" fmla="*/ 2147483647 h 870"/>
                <a:gd name="T100" fmla="*/ 2147483647 w 768"/>
                <a:gd name="T101" fmla="*/ 2147483647 h 870"/>
                <a:gd name="T102" fmla="*/ 2147483647 w 768"/>
                <a:gd name="T103" fmla="*/ 2147483647 h 87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768"/>
                <a:gd name="T157" fmla="*/ 0 h 870"/>
                <a:gd name="T158" fmla="*/ 768 w 768"/>
                <a:gd name="T159" fmla="*/ 870 h 87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768" h="870">
                  <a:moveTo>
                    <a:pt x="762" y="744"/>
                  </a:moveTo>
                  <a:lnTo>
                    <a:pt x="750" y="744"/>
                  </a:lnTo>
                  <a:lnTo>
                    <a:pt x="744" y="738"/>
                  </a:lnTo>
                  <a:lnTo>
                    <a:pt x="732" y="732"/>
                  </a:lnTo>
                  <a:lnTo>
                    <a:pt x="720" y="720"/>
                  </a:lnTo>
                  <a:lnTo>
                    <a:pt x="720" y="708"/>
                  </a:lnTo>
                  <a:lnTo>
                    <a:pt x="714" y="690"/>
                  </a:lnTo>
                  <a:lnTo>
                    <a:pt x="714" y="654"/>
                  </a:lnTo>
                  <a:lnTo>
                    <a:pt x="690" y="612"/>
                  </a:lnTo>
                  <a:lnTo>
                    <a:pt x="702" y="564"/>
                  </a:lnTo>
                  <a:lnTo>
                    <a:pt x="684" y="540"/>
                  </a:lnTo>
                  <a:lnTo>
                    <a:pt x="690" y="528"/>
                  </a:lnTo>
                  <a:lnTo>
                    <a:pt x="696" y="522"/>
                  </a:lnTo>
                  <a:lnTo>
                    <a:pt x="708" y="498"/>
                  </a:lnTo>
                  <a:lnTo>
                    <a:pt x="708" y="480"/>
                  </a:lnTo>
                  <a:lnTo>
                    <a:pt x="702" y="474"/>
                  </a:lnTo>
                  <a:lnTo>
                    <a:pt x="690" y="468"/>
                  </a:lnTo>
                  <a:lnTo>
                    <a:pt x="672" y="456"/>
                  </a:lnTo>
                  <a:lnTo>
                    <a:pt x="660" y="450"/>
                  </a:lnTo>
                  <a:lnTo>
                    <a:pt x="654" y="438"/>
                  </a:lnTo>
                  <a:lnTo>
                    <a:pt x="654" y="426"/>
                  </a:lnTo>
                  <a:lnTo>
                    <a:pt x="660" y="414"/>
                  </a:lnTo>
                  <a:lnTo>
                    <a:pt x="666" y="396"/>
                  </a:lnTo>
                  <a:lnTo>
                    <a:pt x="666" y="384"/>
                  </a:lnTo>
                  <a:lnTo>
                    <a:pt x="672" y="366"/>
                  </a:lnTo>
                  <a:lnTo>
                    <a:pt x="678" y="354"/>
                  </a:lnTo>
                  <a:lnTo>
                    <a:pt x="678" y="330"/>
                  </a:lnTo>
                  <a:lnTo>
                    <a:pt x="684" y="318"/>
                  </a:lnTo>
                  <a:lnTo>
                    <a:pt x="684" y="300"/>
                  </a:lnTo>
                  <a:lnTo>
                    <a:pt x="570" y="192"/>
                  </a:lnTo>
                  <a:lnTo>
                    <a:pt x="576" y="186"/>
                  </a:lnTo>
                  <a:lnTo>
                    <a:pt x="582" y="186"/>
                  </a:lnTo>
                  <a:lnTo>
                    <a:pt x="588" y="180"/>
                  </a:lnTo>
                  <a:lnTo>
                    <a:pt x="588" y="174"/>
                  </a:lnTo>
                  <a:lnTo>
                    <a:pt x="576" y="162"/>
                  </a:lnTo>
                  <a:lnTo>
                    <a:pt x="324" y="6"/>
                  </a:lnTo>
                  <a:lnTo>
                    <a:pt x="312" y="6"/>
                  </a:lnTo>
                  <a:lnTo>
                    <a:pt x="312" y="18"/>
                  </a:lnTo>
                  <a:lnTo>
                    <a:pt x="318" y="24"/>
                  </a:lnTo>
                  <a:lnTo>
                    <a:pt x="318" y="36"/>
                  </a:lnTo>
                  <a:lnTo>
                    <a:pt x="294" y="48"/>
                  </a:lnTo>
                  <a:lnTo>
                    <a:pt x="276" y="66"/>
                  </a:lnTo>
                  <a:lnTo>
                    <a:pt x="264" y="84"/>
                  </a:lnTo>
                  <a:lnTo>
                    <a:pt x="264" y="90"/>
                  </a:lnTo>
                  <a:lnTo>
                    <a:pt x="270" y="96"/>
                  </a:lnTo>
                  <a:lnTo>
                    <a:pt x="294" y="96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06" y="96"/>
                  </a:lnTo>
                  <a:lnTo>
                    <a:pt x="294" y="102"/>
                  </a:lnTo>
                  <a:lnTo>
                    <a:pt x="276" y="120"/>
                  </a:lnTo>
                  <a:lnTo>
                    <a:pt x="270" y="120"/>
                  </a:lnTo>
                  <a:lnTo>
                    <a:pt x="264" y="114"/>
                  </a:lnTo>
                  <a:lnTo>
                    <a:pt x="252" y="108"/>
                  </a:lnTo>
                  <a:lnTo>
                    <a:pt x="246" y="108"/>
                  </a:lnTo>
                  <a:lnTo>
                    <a:pt x="234" y="120"/>
                  </a:lnTo>
                  <a:lnTo>
                    <a:pt x="234" y="138"/>
                  </a:lnTo>
                  <a:lnTo>
                    <a:pt x="246" y="150"/>
                  </a:lnTo>
                  <a:lnTo>
                    <a:pt x="216" y="150"/>
                  </a:lnTo>
                  <a:lnTo>
                    <a:pt x="216" y="138"/>
                  </a:lnTo>
                  <a:lnTo>
                    <a:pt x="222" y="132"/>
                  </a:lnTo>
                  <a:lnTo>
                    <a:pt x="222" y="126"/>
                  </a:lnTo>
                  <a:lnTo>
                    <a:pt x="228" y="114"/>
                  </a:lnTo>
                  <a:lnTo>
                    <a:pt x="210" y="120"/>
                  </a:lnTo>
                  <a:lnTo>
                    <a:pt x="192" y="102"/>
                  </a:lnTo>
                  <a:lnTo>
                    <a:pt x="186" y="102"/>
                  </a:lnTo>
                  <a:lnTo>
                    <a:pt x="174" y="114"/>
                  </a:lnTo>
                  <a:lnTo>
                    <a:pt x="174" y="132"/>
                  </a:lnTo>
                  <a:lnTo>
                    <a:pt x="168" y="138"/>
                  </a:lnTo>
                  <a:lnTo>
                    <a:pt x="162" y="138"/>
                  </a:lnTo>
                  <a:lnTo>
                    <a:pt x="156" y="132"/>
                  </a:lnTo>
                  <a:lnTo>
                    <a:pt x="156" y="48"/>
                  </a:lnTo>
                  <a:lnTo>
                    <a:pt x="162" y="36"/>
                  </a:lnTo>
                  <a:lnTo>
                    <a:pt x="162" y="24"/>
                  </a:lnTo>
                  <a:lnTo>
                    <a:pt x="168" y="12"/>
                  </a:lnTo>
                  <a:lnTo>
                    <a:pt x="168" y="6"/>
                  </a:lnTo>
                  <a:lnTo>
                    <a:pt x="78" y="0"/>
                  </a:lnTo>
                  <a:lnTo>
                    <a:pt x="72" y="24"/>
                  </a:lnTo>
                  <a:lnTo>
                    <a:pt x="78" y="30"/>
                  </a:lnTo>
                  <a:lnTo>
                    <a:pt x="84" y="42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96" y="72"/>
                  </a:lnTo>
                  <a:lnTo>
                    <a:pt x="96" y="96"/>
                  </a:lnTo>
                  <a:lnTo>
                    <a:pt x="78" y="114"/>
                  </a:lnTo>
                  <a:lnTo>
                    <a:pt x="66" y="114"/>
                  </a:lnTo>
                  <a:lnTo>
                    <a:pt x="66" y="126"/>
                  </a:lnTo>
                  <a:lnTo>
                    <a:pt x="60" y="138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72" y="162"/>
                  </a:lnTo>
                  <a:lnTo>
                    <a:pt x="90" y="162"/>
                  </a:lnTo>
                  <a:lnTo>
                    <a:pt x="90" y="180"/>
                  </a:lnTo>
                  <a:lnTo>
                    <a:pt x="78" y="186"/>
                  </a:lnTo>
                  <a:lnTo>
                    <a:pt x="84" y="198"/>
                  </a:lnTo>
                  <a:lnTo>
                    <a:pt x="72" y="198"/>
                  </a:lnTo>
                  <a:lnTo>
                    <a:pt x="54" y="216"/>
                  </a:lnTo>
                  <a:lnTo>
                    <a:pt x="48" y="228"/>
                  </a:lnTo>
                  <a:lnTo>
                    <a:pt x="48" y="246"/>
                  </a:lnTo>
                  <a:lnTo>
                    <a:pt x="42" y="258"/>
                  </a:lnTo>
                  <a:lnTo>
                    <a:pt x="30" y="270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6" y="306"/>
                  </a:lnTo>
                  <a:lnTo>
                    <a:pt x="18" y="318"/>
                  </a:lnTo>
                  <a:lnTo>
                    <a:pt x="18" y="330"/>
                  </a:lnTo>
                  <a:lnTo>
                    <a:pt x="12" y="342"/>
                  </a:lnTo>
                  <a:lnTo>
                    <a:pt x="12" y="348"/>
                  </a:lnTo>
                  <a:lnTo>
                    <a:pt x="18" y="354"/>
                  </a:lnTo>
                  <a:lnTo>
                    <a:pt x="18" y="366"/>
                  </a:lnTo>
                  <a:lnTo>
                    <a:pt x="24" y="378"/>
                  </a:lnTo>
                  <a:lnTo>
                    <a:pt x="24" y="396"/>
                  </a:lnTo>
                  <a:lnTo>
                    <a:pt x="18" y="402"/>
                  </a:lnTo>
                  <a:lnTo>
                    <a:pt x="18" y="432"/>
                  </a:lnTo>
                  <a:lnTo>
                    <a:pt x="30" y="444"/>
                  </a:lnTo>
                  <a:lnTo>
                    <a:pt x="36" y="444"/>
                  </a:lnTo>
                  <a:lnTo>
                    <a:pt x="48" y="450"/>
                  </a:lnTo>
                  <a:lnTo>
                    <a:pt x="72" y="474"/>
                  </a:lnTo>
                  <a:lnTo>
                    <a:pt x="78" y="486"/>
                  </a:lnTo>
                  <a:lnTo>
                    <a:pt x="78" y="546"/>
                  </a:lnTo>
                  <a:lnTo>
                    <a:pt x="84" y="558"/>
                  </a:lnTo>
                  <a:lnTo>
                    <a:pt x="114" y="594"/>
                  </a:lnTo>
                  <a:lnTo>
                    <a:pt x="114" y="600"/>
                  </a:lnTo>
                  <a:lnTo>
                    <a:pt x="108" y="612"/>
                  </a:lnTo>
                  <a:lnTo>
                    <a:pt x="108" y="618"/>
                  </a:lnTo>
                  <a:lnTo>
                    <a:pt x="126" y="618"/>
                  </a:lnTo>
                  <a:lnTo>
                    <a:pt x="138" y="612"/>
                  </a:lnTo>
                  <a:lnTo>
                    <a:pt x="138" y="630"/>
                  </a:lnTo>
                  <a:lnTo>
                    <a:pt x="144" y="636"/>
                  </a:lnTo>
                  <a:lnTo>
                    <a:pt x="162" y="636"/>
                  </a:lnTo>
                  <a:lnTo>
                    <a:pt x="180" y="654"/>
                  </a:lnTo>
                  <a:lnTo>
                    <a:pt x="192" y="654"/>
                  </a:lnTo>
                  <a:lnTo>
                    <a:pt x="204" y="648"/>
                  </a:lnTo>
                  <a:lnTo>
                    <a:pt x="204" y="666"/>
                  </a:lnTo>
                  <a:lnTo>
                    <a:pt x="222" y="666"/>
                  </a:lnTo>
                  <a:lnTo>
                    <a:pt x="240" y="678"/>
                  </a:lnTo>
                  <a:lnTo>
                    <a:pt x="264" y="678"/>
                  </a:lnTo>
                  <a:lnTo>
                    <a:pt x="270" y="696"/>
                  </a:lnTo>
                  <a:lnTo>
                    <a:pt x="300" y="696"/>
                  </a:lnTo>
                  <a:lnTo>
                    <a:pt x="300" y="690"/>
                  </a:lnTo>
                  <a:lnTo>
                    <a:pt x="312" y="678"/>
                  </a:lnTo>
                  <a:lnTo>
                    <a:pt x="318" y="684"/>
                  </a:lnTo>
                  <a:lnTo>
                    <a:pt x="330" y="690"/>
                  </a:lnTo>
                  <a:lnTo>
                    <a:pt x="336" y="702"/>
                  </a:lnTo>
                  <a:lnTo>
                    <a:pt x="348" y="714"/>
                  </a:lnTo>
                  <a:lnTo>
                    <a:pt x="348" y="774"/>
                  </a:lnTo>
                  <a:lnTo>
                    <a:pt x="354" y="774"/>
                  </a:lnTo>
                  <a:lnTo>
                    <a:pt x="360" y="780"/>
                  </a:lnTo>
                  <a:lnTo>
                    <a:pt x="360" y="792"/>
                  </a:lnTo>
                  <a:lnTo>
                    <a:pt x="354" y="798"/>
                  </a:lnTo>
                  <a:lnTo>
                    <a:pt x="354" y="804"/>
                  </a:lnTo>
                  <a:lnTo>
                    <a:pt x="348" y="810"/>
                  </a:lnTo>
                  <a:lnTo>
                    <a:pt x="348" y="816"/>
                  </a:lnTo>
                  <a:lnTo>
                    <a:pt x="366" y="834"/>
                  </a:lnTo>
                  <a:lnTo>
                    <a:pt x="378" y="840"/>
                  </a:lnTo>
                  <a:lnTo>
                    <a:pt x="372" y="858"/>
                  </a:lnTo>
                  <a:lnTo>
                    <a:pt x="408" y="858"/>
                  </a:lnTo>
                  <a:lnTo>
                    <a:pt x="414" y="852"/>
                  </a:lnTo>
                  <a:lnTo>
                    <a:pt x="420" y="852"/>
                  </a:lnTo>
                  <a:lnTo>
                    <a:pt x="432" y="840"/>
                  </a:lnTo>
                  <a:lnTo>
                    <a:pt x="444" y="840"/>
                  </a:lnTo>
                  <a:lnTo>
                    <a:pt x="456" y="846"/>
                  </a:lnTo>
                  <a:lnTo>
                    <a:pt x="462" y="858"/>
                  </a:lnTo>
                  <a:lnTo>
                    <a:pt x="474" y="864"/>
                  </a:lnTo>
                  <a:lnTo>
                    <a:pt x="480" y="870"/>
                  </a:lnTo>
                  <a:lnTo>
                    <a:pt x="492" y="870"/>
                  </a:lnTo>
                  <a:lnTo>
                    <a:pt x="510" y="852"/>
                  </a:lnTo>
                  <a:lnTo>
                    <a:pt x="516" y="852"/>
                  </a:lnTo>
                  <a:lnTo>
                    <a:pt x="522" y="858"/>
                  </a:lnTo>
                  <a:lnTo>
                    <a:pt x="534" y="864"/>
                  </a:lnTo>
                  <a:lnTo>
                    <a:pt x="552" y="864"/>
                  </a:lnTo>
                  <a:lnTo>
                    <a:pt x="564" y="852"/>
                  </a:lnTo>
                  <a:lnTo>
                    <a:pt x="576" y="846"/>
                  </a:lnTo>
                  <a:lnTo>
                    <a:pt x="582" y="834"/>
                  </a:lnTo>
                  <a:lnTo>
                    <a:pt x="588" y="828"/>
                  </a:lnTo>
                  <a:lnTo>
                    <a:pt x="612" y="828"/>
                  </a:lnTo>
                  <a:lnTo>
                    <a:pt x="618" y="834"/>
                  </a:lnTo>
                  <a:lnTo>
                    <a:pt x="618" y="840"/>
                  </a:lnTo>
                  <a:lnTo>
                    <a:pt x="630" y="840"/>
                  </a:lnTo>
                  <a:lnTo>
                    <a:pt x="642" y="834"/>
                  </a:lnTo>
                  <a:lnTo>
                    <a:pt x="654" y="822"/>
                  </a:lnTo>
                  <a:lnTo>
                    <a:pt x="660" y="822"/>
                  </a:lnTo>
                  <a:lnTo>
                    <a:pt x="690" y="816"/>
                  </a:lnTo>
                  <a:lnTo>
                    <a:pt x="768" y="762"/>
                  </a:lnTo>
                  <a:lnTo>
                    <a:pt x="762" y="744"/>
                  </a:lnTo>
                  <a:close/>
                  <a:moveTo>
                    <a:pt x="726" y="360"/>
                  </a:moveTo>
                  <a:lnTo>
                    <a:pt x="732" y="354"/>
                  </a:lnTo>
                  <a:lnTo>
                    <a:pt x="732" y="324"/>
                  </a:lnTo>
                  <a:lnTo>
                    <a:pt x="720" y="312"/>
                  </a:lnTo>
                  <a:lnTo>
                    <a:pt x="714" y="312"/>
                  </a:lnTo>
                  <a:lnTo>
                    <a:pt x="708" y="318"/>
                  </a:lnTo>
                  <a:lnTo>
                    <a:pt x="708" y="348"/>
                  </a:lnTo>
                  <a:lnTo>
                    <a:pt x="714" y="354"/>
                  </a:lnTo>
                  <a:lnTo>
                    <a:pt x="726" y="360"/>
                  </a:lnTo>
                  <a:close/>
                  <a:moveTo>
                    <a:pt x="678" y="420"/>
                  </a:moveTo>
                  <a:lnTo>
                    <a:pt x="690" y="426"/>
                  </a:lnTo>
                  <a:lnTo>
                    <a:pt x="696" y="438"/>
                  </a:lnTo>
                  <a:lnTo>
                    <a:pt x="708" y="444"/>
                  </a:lnTo>
                  <a:lnTo>
                    <a:pt x="720" y="444"/>
                  </a:lnTo>
                  <a:lnTo>
                    <a:pt x="726" y="438"/>
                  </a:lnTo>
                  <a:lnTo>
                    <a:pt x="720" y="432"/>
                  </a:lnTo>
                  <a:lnTo>
                    <a:pt x="720" y="426"/>
                  </a:lnTo>
                  <a:lnTo>
                    <a:pt x="708" y="414"/>
                  </a:lnTo>
                  <a:lnTo>
                    <a:pt x="708" y="390"/>
                  </a:lnTo>
                  <a:lnTo>
                    <a:pt x="702" y="378"/>
                  </a:lnTo>
                  <a:lnTo>
                    <a:pt x="684" y="378"/>
                  </a:lnTo>
                  <a:lnTo>
                    <a:pt x="678" y="384"/>
                  </a:lnTo>
                  <a:lnTo>
                    <a:pt x="678" y="42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43" name="Tajikistan" descr="© INSCALE GmbH, 05.05.2010&#10;http://www.presentationload.com/"/>
            <p:cNvSpPr>
              <a:spLocks/>
            </p:cNvSpPr>
            <p:nvPr/>
          </p:nvSpPr>
          <p:spPr bwMode="gray">
            <a:xfrm>
              <a:off x="5923479" y="3279871"/>
              <a:ext cx="179177" cy="107782"/>
            </a:xfrm>
            <a:custGeom>
              <a:avLst/>
              <a:gdLst>
                <a:gd name="T0" fmla="*/ 2147483647 w 552"/>
                <a:gd name="T1" fmla="*/ 2147483647 h 348"/>
                <a:gd name="T2" fmla="*/ 2147483647 w 552"/>
                <a:gd name="T3" fmla="*/ 2147483647 h 348"/>
                <a:gd name="T4" fmla="*/ 2147483647 w 552"/>
                <a:gd name="T5" fmla="*/ 2147483647 h 348"/>
                <a:gd name="T6" fmla="*/ 2147483647 w 552"/>
                <a:gd name="T7" fmla="*/ 2147483647 h 348"/>
                <a:gd name="T8" fmla="*/ 2147483647 w 552"/>
                <a:gd name="T9" fmla="*/ 2147483647 h 348"/>
                <a:gd name="T10" fmla="*/ 2147483647 w 552"/>
                <a:gd name="T11" fmla="*/ 2147483647 h 348"/>
                <a:gd name="T12" fmla="*/ 2147483647 w 552"/>
                <a:gd name="T13" fmla="*/ 2147483647 h 348"/>
                <a:gd name="T14" fmla="*/ 2147483647 w 552"/>
                <a:gd name="T15" fmla="*/ 2147483647 h 348"/>
                <a:gd name="T16" fmla="*/ 2147483647 w 552"/>
                <a:gd name="T17" fmla="*/ 2147483647 h 348"/>
                <a:gd name="T18" fmla="*/ 2147483647 w 552"/>
                <a:gd name="T19" fmla="*/ 2147483647 h 348"/>
                <a:gd name="T20" fmla="*/ 2147483647 w 552"/>
                <a:gd name="T21" fmla="*/ 2147483647 h 348"/>
                <a:gd name="T22" fmla="*/ 2147483647 w 552"/>
                <a:gd name="T23" fmla="*/ 2147483647 h 348"/>
                <a:gd name="T24" fmla="*/ 2147483647 w 552"/>
                <a:gd name="T25" fmla="*/ 2147483647 h 348"/>
                <a:gd name="T26" fmla="*/ 2147483647 w 552"/>
                <a:gd name="T27" fmla="*/ 2147483647 h 348"/>
                <a:gd name="T28" fmla="*/ 2147483647 w 552"/>
                <a:gd name="T29" fmla="*/ 2147483647 h 348"/>
                <a:gd name="T30" fmla="*/ 2147483647 w 552"/>
                <a:gd name="T31" fmla="*/ 2147483647 h 348"/>
                <a:gd name="T32" fmla="*/ 2147483647 w 552"/>
                <a:gd name="T33" fmla="*/ 2147483647 h 348"/>
                <a:gd name="T34" fmla="*/ 2147483647 w 552"/>
                <a:gd name="T35" fmla="*/ 2147483647 h 348"/>
                <a:gd name="T36" fmla="*/ 2147483647 w 552"/>
                <a:gd name="T37" fmla="*/ 2147483647 h 348"/>
                <a:gd name="T38" fmla="*/ 2147483647 w 552"/>
                <a:gd name="T39" fmla="*/ 0 h 348"/>
                <a:gd name="T40" fmla="*/ 2147483647 w 552"/>
                <a:gd name="T41" fmla="*/ 2147483647 h 348"/>
                <a:gd name="T42" fmla="*/ 2147483647 w 552"/>
                <a:gd name="T43" fmla="*/ 2147483647 h 348"/>
                <a:gd name="T44" fmla="*/ 2147483647 w 552"/>
                <a:gd name="T45" fmla="*/ 2147483647 h 348"/>
                <a:gd name="T46" fmla="*/ 2147483647 w 552"/>
                <a:gd name="T47" fmla="*/ 2147483647 h 348"/>
                <a:gd name="T48" fmla="*/ 2147483647 w 552"/>
                <a:gd name="T49" fmla="*/ 2147483647 h 348"/>
                <a:gd name="T50" fmla="*/ 2147483647 w 552"/>
                <a:gd name="T51" fmla="*/ 2147483647 h 348"/>
                <a:gd name="T52" fmla="*/ 2147483647 w 552"/>
                <a:gd name="T53" fmla="*/ 2147483647 h 348"/>
                <a:gd name="T54" fmla="*/ 2147483647 w 552"/>
                <a:gd name="T55" fmla="*/ 2147483647 h 348"/>
                <a:gd name="T56" fmla="*/ 2147483647 w 552"/>
                <a:gd name="T57" fmla="*/ 2147483647 h 348"/>
                <a:gd name="T58" fmla="*/ 2147483647 w 552"/>
                <a:gd name="T59" fmla="*/ 2147483647 h 348"/>
                <a:gd name="T60" fmla="*/ 2147483647 w 552"/>
                <a:gd name="T61" fmla="*/ 2147483647 h 348"/>
                <a:gd name="T62" fmla="*/ 2147483647 w 552"/>
                <a:gd name="T63" fmla="*/ 2147483647 h 348"/>
                <a:gd name="T64" fmla="*/ 2147483647 w 552"/>
                <a:gd name="T65" fmla="*/ 2147483647 h 348"/>
                <a:gd name="T66" fmla="*/ 2147483647 w 552"/>
                <a:gd name="T67" fmla="*/ 2147483647 h 348"/>
                <a:gd name="T68" fmla="*/ 2147483647 w 552"/>
                <a:gd name="T69" fmla="*/ 2147483647 h 348"/>
                <a:gd name="T70" fmla="*/ 2147483647 w 552"/>
                <a:gd name="T71" fmla="*/ 2147483647 h 348"/>
                <a:gd name="T72" fmla="*/ 2147483647 w 552"/>
                <a:gd name="T73" fmla="*/ 2147483647 h 348"/>
                <a:gd name="T74" fmla="*/ 2147483647 w 552"/>
                <a:gd name="T75" fmla="*/ 2147483647 h 348"/>
                <a:gd name="T76" fmla="*/ 2147483647 w 552"/>
                <a:gd name="T77" fmla="*/ 2147483647 h 348"/>
                <a:gd name="T78" fmla="*/ 2147483647 w 552"/>
                <a:gd name="T79" fmla="*/ 2147483647 h 348"/>
                <a:gd name="T80" fmla="*/ 2147483647 w 552"/>
                <a:gd name="T81" fmla="*/ 2147483647 h 348"/>
                <a:gd name="T82" fmla="*/ 2147483647 w 552"/>
                <a:gd name="T83" fmla="*/ 2147483647 h 348"/>
                <a:gd name="T84" fmla="*/ 2147483647 w 552"/>
                <a:gd name="T85" fmla="*/ 2147483647 h 348"/>
                <a:gd name="T86" fmla="*/ 2147483647 w 552"/>
                <a:gd name="T87" fmla="*/ 2147483647 h 348"/>
                <a:gd name="T88" fmla="*/ 2147483647 w 552"/>
                <a:gd name="T89" fmla="*/ 2147483647 h 348"/>
                <a:gd name="T90" fmla="*/ 2147483647 w 552"/>
                <a:gd name="T91" fmla="*/ 2147483647 h 348"/>
                <a:gd name="T92" fmla="*/ 2147483647 w 552"/>
                <a:gd name="T93" fmla="*/ 2147483647 h 348"/>
                <a:gd name="T94" fmla="*/ 2147483647 w 552"/>
                <a:gd name="T95" fmla="*/ 2147483647 h 348"/>
                <a:gd name="T96" fmla="*/ 2147483647 w 552"/>
                <a:gd name="T97" fmla="*/ 2147483647 h 348"/>
                <a:gd name="T98" fmla="*/ 2147483647 w 552"/>
                <a:gd name="T99" fmla="*/ 2147483647 h 34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552"/>
                <a:gd name="T151" fmla="*/ 0 h 348"/>
                <a:gd name="T152" fmla="*/ 552 w 552"/>
                <a:gd name="T153" fmla="*/ 348 h 348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552" h="348">
                  <a:moveTo>
                    <a:pt x="528" y="270"/>
                  </a:moveTo>
                  <a:lnTo>
                    <a:pt x="516" y="246"/>
                  </a:lnTo>
                  <a:lnTo>
                    <a:pt x="516" y="204"/>
                  </a:lnTo>
                  <a:lnTo>
                    <a:pt x="510" y="198"/>
                  </a:lnTo>
                  <a:lnTo>
                    <a:pt x="498" y="192"/>
                  </a:lnTo>
                  <a:lnTo>
                    <a:pt x="492" y="192"/>
                  </a:lnTo>
                  <a:lnTo>
                    <a:pt x="480" y="186"/>
                  </a:lnTo>
                  <a:lnTo>
                    <a:pt x="456" y="186"/>
                  </a:lnTo>
                  <a:lnTo>
                    <a:pt x="450" y="192"/>
                  </a:lnTo>
                  <a:lnTo>
                    <a:pt x="438" y="192"/>
                  </a:lnTo>
                  <a:lnTo>
                    <a:pt x="426" y="180"/>
                  </a:lnTo>
                  <a:lnTo>
                    <a:pt x="426" y="168"/>
                  </a:lnTo>
                  <a:lnTo>
                    <a:pt x="432" y="156"/>
                  </a:lnTo>
                  <a:lnTo>
                    <a:pt x="432" y="144"/>
                  </a:lnTo>
                  <a:lnTo>
                    <a:pt x="414" y="144"/>
                  </a:lnTo>
                  <a:lnTo>
                    <a:pt x="414" y="120"/>
                  </a:lnTo>
                  <a:lnTo>
                    <a:pt x="396" y="114"/>
                  </a:lnTo>
                  <a:lnTo>
                    <a:pt x="384" y="126"/>
                  </a:lnTo>
                  <a:lnTo>
                    <a:pt x="342" y="126"/>
                  </a:lnTo>
                  <a:lnTo>
                    <a:pt x="336" y="132"/>
                  </a:lnTo>
                  <a:lnTo>
                    <a:pt x="324" y="138"/>
                  </a:lnTo>
                  <a:lnTo>
                    <a:pt x="312" y="138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294" y="138"/>
                  </a:lnTo>
                  <a:lnTo>
                    <a:pt x="264" y="108"/>
                  </a:lnTo>
                  <a:lnTo>
                    <a:pt x="258" y="114"/>
                  </a:lnTo>
                  <a:lnTo>
                    <a:pt x="246" y="120"/>
                  </a:lnTo>
                  <a:lnTo>
                    <a:pt x="240" y="126"/>
                  </a:lnTo>
                  <a:lnTo>
                    <a:pt x="222" y="126"/>
                  </a:lnTo>
                  <a:lnTo>
                    <a:pt x="210" y="114"/>
                  </a:lnTo>
                  <a:lnTo>
                    <a:pt x="186" y="114"/>
                  </a:lnTo>
                  <a:lnTo>
                    <a:pt x="174" y="108"/>
                  </a:lnTo>
                  <a:lnTo>
                    <a:pt x="156" y="108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14"/>
                  </a:lnTo>
                  <a:lnTo>
                    <a:pt x="120" y="108"/>
                  </a:lnTo>
                  <a:lnTo>
                    <a:pt x="114" y="102"/>
                  </a:lnTo>
                  <a:lnTo>
                    <a:pt x="114" y="90"/>
                  </a:lnTo>
                  <a:lnTo>
                    <a:pt x="126" y="84"/>
                  </a:lnTo>
                  <a:lnTo>
                    <a:pt x="132" y="78"/>
                  </a:lnTo>
                  <a:lnTo>
                    <a:pt x="132" y="66"/>
                  </a:lnTo>
                  <a:lnTo>
                    <a:pt x="138" y="60"/>
                  </a:lnTo>
                  <a:lnTo>
                    <a:pt x="150" y="60"/>
                  </a:lnTo>
                  <a:lnTo>
                    <a:pt x="186" y="72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10" y="66"/>
                  </a:lnTo>
                  <a:lnTo>
                    <a:pt x="204" y="60"/>
                  </a:lnTo>
                  <a:lnTo>
                    <a:pt x="198" y="60"/>
                  </a:lnTo>
                  <a:lnTo>
                    <a:pt x="186" y="54"/>
                  </a:lnTo>
                  <a:lnTo>
                    <a:pt x="180" y="48"/>
                  </a:lnTo>
                  <a:lnTo>
                    <a:pt x="174" y="48"/>
                  </a:lnTo>
                  <a:lnTo>
                    <a:pt x="198" y="12"/>
                  </a:lnTo>
                  <a:lnTo>
                    <a:pt x="192" y="6"/>
                  </a:lnTo>
                  <a:lnTo>
                    <a:pt x="180" y="0"/>
                  </a:lnTo>
                  <a:lnTo>
                    <a:pt x="162" y="0"/>
                  </a:lnTo>
                  <a:lnTo>
                    <a:pt x="156" y="12"/>
                  </a:lnTo>
                  <a:lnTo>
                    <a:pt x="144" y="18"/>
                  </a:lnTo>
                  <a:lnTo>
                    <a:pt x="138" y="30"/>
                  </a:lnTo>
                  <a:lnTo>
                    <a:pt x="132" y="30"/>
                  </a:lnTo>
                  <a:lnTo>
                    <a:pt x="114" y="12"/>
                  </a:lnTo>
                  <a:lnTo>
                    <a:pt x="102" y="12"/>
                  </a:lnTo>
                  <a:lnTo>
                    <a:pt x="102" y="24"/>
                  </a:lnTo>
                  <a:lnTo>
                    <a:pt x="96" y="30"/>
                  </a:lnTo>
                  <a:lnTo>
                    <a:pt x="96" y="42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66" y="60"/>
                  </a:lnTo>
                  <a:lnTo>
                    <a:pt x="90" y="84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78" y="108"/>
                  </a:lnTo>
                  <a:lnTo>
                    <a:pt x="54" y="120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44"/>
                  </a:lnTo>
                  <a:lnTo>
                    <a:pt x="18" y="144"/>
                  </a:lnTo>
                  <a:lnTo>
                    <a:pt x="30" y="156"/>
                  </a:lnTo>
                  <a:lnTo>
                    <a:pt x="36" y="156"/>
                  </a:lnTo>
                  <a:lnTo>
                    <a:pt x="42" y="162"/>
                  </a:lnTo>
                  <a:lnTo>
                    <a:pt x="54" y="162"/>
                  </a:lnTo>
                  <a:lnTo>
                    <a:pt x="66" y="174"/>
                  </a:lnTo>
                  <a:lnTo>
                    <a:pt x="66" y="180"/>
                  </a:lnTo>
                  <a:lnTo>
                    <a:pt x="60" y="186"/>
                  </a:lnTo>
                  <a:lnTo>
                    <a:pt x="60" y="204"/>
                  </a:lnTo>
                  <a:lnTo>
                    <a:pt x="66" y="210"/>
                  </a:lnTo>
                  <a:lnTo>
                    <a:pt x="78" y="216"/>
                  </a:lnTo>
                  <a:lnTo>
                    <a:pt x="90" y="228"/>
                  </a:lnTo>
                  <a:lnTo>
                    <a:pt x="90" y="246"/>
                  </a:lnTo>
                  <a:lnTo>
                    <a:pt x="84" y="258"/>
                  </a:lnTo>
                  <a:lnTo>
                    <a:pt x="72" y="264"/>
                  </a:lnTo>
                  <a:lnTo>
                    <a:pt x="66" y="276"/>
                  </a:lnTo>
                  <a:lnTo>
                    <a:pt x="60" y="282"/>
                  </a:lnTo>
                  <a:lnTo>
                    <a:pt x="60" y="306"/>
                  </a:lnTo>
                  <a:lnTo>
                    <a:pt x="66" y="312"/>
                  </a:lnTo>
                  <a:lnTo>
                    <a:pt x="78" y="318"/>
                  </a:lnTo>
                  <a:lnTo>
                    <a:pt x="84" y="324"/>
                  </a:lnTo>
                  <a:lnTo>
                    <a:pt x="90" y="324"/>
                  </a:lnTo>
                  <a:lnTo>
                    <a:pt x="108" y="306"/>
                  </a:lnTo>
                  <a:lnTo>
                    <a:pt x="120" y="300"/>
                  </a:lnTo>
                  <a:lnTo>
                    <a:pt x="126" y="294"/>
                  </a:lnTo>
                  <a:lnTo>
                    <a:pt x="138" y="294"/>
                  </a:lnTo>
                  <a:lnTo>
                    <a:pt x="144" y="300"/>
                  </a:lnTo>
                  <a:lnTo>
                    <a:pt x="150" y="312"/>
                  </a:lnTo>
                  <a:lnTo>
                    <a:pt x="156" y="318"/>
                  </a:lnTo>
                  <a:lnTo>
                    <a:pt x="162" y="318"/>
                  </a:lnTo>
                  <a:lnTo>
                    <a:pt x="162" y="288"/>
                  </a:lnTo>
                  <a:lnTo>
                    <a:pt x="174" y="276"/>
                  </a:lnTo>
                  <a:lnTo>
                    <a:pt x="186" y="270"/>
                  </a:lnTo>
                  <a:lnTo>
                    <a:pt x="204" y="270"/>
                  </a:lnTo>
                  <a:lnTo>
                    <a:pt x="216" y="282"/>
                  </a:lnTo>
                  <a:lnTo>
                    <a:pt x="222" y="258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10" y="246"/>
                  </a:lnTo>
                  <a:lnTo>
                    <a:pt x="222" y="234"/>
                  </a:lnTo>
                  <a:lnTo>
                    <a:pt x="228" y="234"/>
                  </a:lnTo>
                  <a:lnTo>
                    <a:pt x="234" y="228"/>
                  </a:lnTo>
                  <a:lnTo>
                    <a:pt x="234" y="204"/>
                  </a:lnTo>
                  <a:lnTo>
                    <a:pt x="240" y="198"/>
                  </a:lnTo>
                  <a:lnTo>
                    <a:pt x="258" y="198"/>
                  </a:lnTo>
                  <a:lnTo>
                    <a:pt x="276" y="216"/>
                  </a:lnTo>
                  <a:lnTo>
                    <a:pt x="276" y="246"/>
                  </a:lnTo>
                  <a:lnTo>
                    <a:pt x="294" y="246"/>
                  </a:lnTo>
                  <a:lnTo>
                    <a:pt x="306" y="312"/>
                  </a:lnTo>
                  <a:lnTo>
                    <a:pt x="306" y="318"/>
                  </a:lnTo>
                  <a:lnTo>
                    <a:pt x="336" y="348"/>
                  </a:lnTo>
                  <a:lnTo>
                    <a:pt x="342" y="348"/>
                  </a:lnTo>
                  <a:lnTo>
                    <a:pt x="348" y="342"/>
                  </a:lnTo>
                  <a:lnTo>
                    <a:pt x="360" y="336"/>
                  </a:lnTo>
                  <a:lnTo>
                    <a:pt x="366" y="324"/>
                  </a:lnTo>
                  <a:lnTo>
                    <a:pt x="372" y="318"/>
                  </a:lnTo>
                  <a:lnTo>
                    <a:pt x="390" y="318"/>
                  </a:lnTo>
                  <a:lnTo>
                    <a:pt x="396" y="312"/>
                  </a:lnTo>
                  <a:lnTo>
                    <a:pt x="402" y="300"/>
                  </a:lnTo>
                  <a:lnTo>
                    <a:pt x="408" y="294"/>
                  </a:lnTo>
                  <a:lnTo>
                    <a:pt x="432" y="282"/>
                  </a:lnTo>
                  <a:lnTo>
                    <a:pt x="456" y="282"/>
                  </a:lnTo>
                  <a:lnTo>
                    <a:pt x="456" y="300"/>
                  </a:lnTo>
                  <a:lnTo>
                    <a:pt x="492" y="288"/>
                  </a:lnTo>
                  <a:lnTo>
                    <a:pt x="516" y="288"/>
                  </a:lnTo>
                  <a:lnTo>
                    <a:pt x="522" y="294"/>
                  </a:lnTo>
                  <a:lnTo>
                    <a:pt x="546" y="294"/>
                  </a:lnTo>
                  <a:lnTo>
                    <a:pt x="552" y="288"/>
                  </a:lnTo>
                  <a:lnTo>
                    <a:pt x="540" y="276"/>
                  </a:lnTo>
                  <a:lnTo>
                    <a:pt x="534" y="276"/>
                  </a:lnTo>
                  <a:lnTo>
                    <a:pt x="528" y="27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44" name="Taiwan" descr="© INSCALE GmbH, 05.05.2010&#10;http://www.presentationload.com/"/>
            <p:cNvSpPr>
              <a:spLocks/>
            </p:cNvSpPr>
            <p:nvPr/>
          </p:nvSpPr>
          <p:spPr bwMode="gray">
            <a:xfrm>
              <a:off x="7177723" y="3670579"/>
              <a:ext cx="39675" cy="83285"/>
            </a:xfrm>
            <a:custGeom>
              <a:avLst/>
              <a:gdLst>
                <a:gd name="T0" fmla="*/ 2147483647 w 120"/>
                <a:gd name="T1" fmla="*/ 2147483647 h 270"/>
                <a:gd name="T2" fmla="*/ 2147483647 w 120"/>
                <a:gd name="T3" fmla="*/ 2147483647 h 270"/>
                <a:gd name="T4" fmla="*/ 2147483647 w 120"/>
                <a:gd name="T5" fmla="*/ 2147483647 h 270"/>
                <a:gd name="T6" fmla="*/ 2147483647 w 120"/>
                <a:gd name="T7" fmla="*/ 2147483647 h 270"/>
                <a:gd name="T8" fmla="*/ 2147483647 w 120"/>
                <a:gd name="T9" fmla="*/ 2147483647 h 270"/>
                <a:gd name="T10" fmla="*/ 2147483647 w 120"/>
                <a:gd name="T11" fmla="*/ 2147483647 h 270"/>
                <a:gd name="T12" fmla="*/ 2147483647 w 120"/>
                <a:gd name="T13" fmla="*/ 2147483647 h 270"/>
                <a:gd name="T14" fmla="*/ 2147483647 w 120"/>
                <a:gd name="T15" fmla="*/ 2147483647 h 270"/>
                <a:gd name="T16" fmla="*/ 2147483647 w 120"/>
                <a:gd name="T17" fmla="*/ 2147483647 h 270"/>
                <a:gd name="T18" fmla="*/ 2147483647 w 120"/>
                <a:gd name="T19" fmla="*/ 2147483647 h 270"/>
                <a:gd name="T20" fmla="*/ 2147483647 w 120"/>
                <a:gd name="T21" fmla="*/ 0 h 270"/>
                <a:gd name="T22" fmla="*/ 2147483647 w 120"/>
                <a:gd name="T23" fmla="*/ 2147483647 h 270"/>
                <a:gd name="T24" fmla="*/ 2147483647 w 120"/>
                <a:gd name="T25" fmla="*/ 2147483647 h 270"/>
                <a:gd name="T26" fmla="*/ 2147483647 w 120"/>
                <a:gd name="T27" fmla="*/ 2147483647 h 270"/>
                <a:gd name="T28" fmla="*/ 2147483647 w 120"/>
                <a:gd name="T29" fmla="*/ 2147483647 h 270"/>
                <a:gd name="T30" fmla="*/ 0 w 120"/>
                <a:gd name="T31" fmla="*/ 2147483647 h 270"/>
                <a:gd name="T32" fmla="*/ 0 w 120"/>
                <a:gd name="T33" fmla="*/ 2147483647 h 270"/>
                <a:gd name="T34" fmla="*/ 2147483647 w 120"/>
                <a:gd name="T35" fmla="*/ 2147483647 h 270"/>
                <a:gd name="T36" fmla="*/ 2147483647 w 120"/>
                <a:gd name="T37" fmla="*/ 2147483647 h 270"/>
                <a:gd name="T38" fmla="*/ 2147483647 w 120"/>
                <a:gd name="T39" fmla="*/ 2147483647 h 270"/>
                <a:gd name="T40" fmla="*/ 2147483647 w 120"/>
                <a:gd name="T41" fmla="*/ 2147483647 h 270"/>
                <a:gd name="T42" fmla="*/ 2147483647 w 120"/>
                <a:gd name="T43" fmla="*/ 2147483647 h 270"/>
                <a:gd name="T44" fmla="*/ 2147483647 w 120"/>
                <a:gd name="T45" fmla="*/ 2147483647 h 270"/>
                <a:gd name="T46" fmla="*/ 2147483647 w 120"/>
                <a:gd name="T47" fmla="*/ 2147483647 h 270"/>
                <a:gd name="T48" fmla="*/ 2147483647 w 120"/>
                <a:gd name="T49" fmla="*/ 2147483647 h 270"/>
                <a:gd name="T50" fmla="*/ 2147483647 w 120"/>
                <a:gd name="T51" fmla="*/ 2147483647 h 27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20"/>
                <a:gd name="T79" fmla="*/ 0 h 270"/>
                <a:gd name="T80" fmla="*/ 120 w 120"/>
                <a:gd name="T81" fmla="*/ 270 h 27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20" h="270">
                  <a:moveTo>
                    <a:pt x="84" y="270"/>
                  </a:moveTo>
                  <a:lnTo>
                    <a:pt x="84" y="222"/>
                  </a:lnTo>
                  <a:lnTo>
                    <a:pt x="90" y="216"/>
                  </a:lnTo>
                  <a:lnTo>
                    <a:pt x="102" y="192"/>
                  </a:lnTo>
                  <a:lnTo>
                    <a:pt x="102" y="102"/>
                  </a:lnTo>
                  <a:lnTo>
                    <a:pt x="108" y="96"/>
                  </a:lnTo>
                  <a:lnTo>
                    <a:pt x="114" y="84"/>
                  </a:lnTo>
                  <a:lnTo>
                    <a:pt x="114" y="54"/>
                  </a:lnTo>
                  <a:lnTo>
                    <a:pt x="120" y="36"/>
                  </a:lnTo>
                  <a:lnTo>
                    <a:pt x="120" y="24"/>
                  </a:lnTo>
                  <a:lnTo>
                    <a:pt x="72" y="0"/>
                  </a:lnTo>
                  <a:lnTo>
                    <a:pt x="48" y="30"/>
                  </a:lnTo>
                  <a:lnTo>
                    <a:pt x="42" y="42"/>
                  </a:lnTo>
                  <a:lnTo>
                    <a:pt x="30" y="78"/>
                  </a:lnTo>
                  <a:lnTo>
                    <a:pt x="12" y="114"/>
                  </a:lnTo>
                  <a:lnTo>
                    <a:pt x="0" y="150"/>
                  </a:lnTo>
                  <a:lnTo>
                    <a:pt x="0" y="168"/>
                  </a:lnTo>
                  <a:lnTo>
                    <a:pt x="6" y="180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48" y="234"/>
                  </a:lnTo>
                  <a:lnTo>
                    <a:pt x="60" y="258"/>
                  </a:lnTo>
                  <a:lnTo>
                    <a:pt x="84" y="27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45" name="Syria" descr="© INSCALE GmbH, 05.05.2010&#10;http://www.presentationload.com/"/>
            <p:cNvSpPr>
              <a:spLocks/>
            </p:cNvSpPr>
            <p:nvPr/>
          </p:nvSpPr>
          <p:spPr bwMode="gray">
            <a:xfrm>
              <a:off x="5252842" y="3368056"/>
              <a:ext cx="145902" cy="128603"/>
            </a:xfrm>
            <a:custGeom>
              <a:avLst/>
              <a:gdLst>
                <a:gd name="T0" fmla="*/ 2147483647 w 450"/>
                <a:gd name="T1" fmla="*/ 2147483647 h 414"/>
                <a:gd name="T2" fmla="*/ 2147483647 w 450"/>
                <a:gd name="T3" fmla="*/ 2147483647 h 414"/>
                <a:gd name="T4" fmla="*/ 2147483647 w 450"/>
                <a:gd name="T5" fmla="*/ 2147483647 h 414"/>
                <a:gd name="T6" fmla="*/ 2147483647 w 450"/>
                <a:gd name="T7" fmla="*/ 0 h 414"/>
                <a:gd name="T8" fmla="*/ 2147483647 w 450"/>
                <a:gd name="T9" fmla="*/ 2147483647 h 414"/>
                <a:gd name="T10" fmla="*/ 2147483647 w 450"/>
                <a:gd name="T11" fmla="*/ 2147483647 h 414"/>
                <a:gd name="T12" fmla="*/ 2147483647 w 450"/>
                <a:gd name="T13" fmla="*/ 2147483647 h 414"/>
                <a:gd name="T14" fmla="*/ 2147483647 w 450"/>
                <a:gd name="T15" fmla="*/ 2147483647 h 414"/>
                <a:gd name="T16" fmla="*/ 2147483647 w 450"/>
                <a:gd name="T17" fmla="*/ 2147483647 h 414"/>
                <a:gd name="T18" fmla="*/ 2147483647 w 450"/>
                <a:gd name="T19" fmla="*/ 2147483647 h 414"/>
                <a:gd name="T20" fmla="*/ 2147483647 w 450"/>
                <a:gd name="T21" fmla="*/ 2147483647 h 414"/>
                <a:gd name="T22" fmla="*/ 2147483647 w 450"/>
                <a:gd name="T23" fmla="*/ 2147483647 h 414"/>
                <a:gd name="T24" fmla="*/ 2147483647 w 450"/>
                <a:gd name="T25" fmla="*/ 2147483647 h 414"/>
                <a:gd name="T26" fmla="*/ 2147483647 w 450"/>
                <a:gd name="T27" fmla="*/ 2147483647 h 414"/>
                <a:gd name="T28" fmla="*/ 2147483647 w 450"/>
                <a:gd name="T29" fmla="*/ 2147483647 h 414"/>
                <a:gd name="T30" fmla="*/ 2147483647 w 450"/>
                <a:gd name="T31" fmla="*/ 2147483647 h 414"/>
                <a:gd name="T32" fmla="*/ 2147483647 w 450"/>
                <a:gd name="T33" fmla="*/ 2147483647 h 414"/>
                <a:gd name="T34" fmla="*/ 2147483647 w 450"/>
                <a:gd name="T35" fmla="*/ 2147483647 h 414"/>
                <a:gd name="T36" fmla="*/ 2147483647 w 450"/>
                <a:gd name="T37" fmla="*/ 2147483647 h 414"/>
                <a:gd name="T38" fmla="*/ 2147483647 w 450"/>
                <a:gd name="T39" fmla="*/ 2147483647 h 414"/>
                <a:gd name="T40" fmla="*/ 2147483647 w 450"/>
                <a:gd name="T41" fmla="*/ 2147483647 h 414"/>
                <a:gd name="T42" fmla="*/ 2147483647 w 450"/>
                <a:gd name="T43" fmla="*/ 2147483647 h 414"/>
                <a:gd name="T44" fmla="*/ 2147483647 w 450"/>
                <a:gd name="T45" fmla="*/ 2147483647 h 414"/>
                <a:gd name="T46" fmla="*/ 2147483647 w 450"/>
                <a:gd name="T47" fmla="*/ 2147483647 h 414"/>
                <a:gd name="T48" fmla="*/ 2147483647 w 450"/>
                <a:gd name="T49" fmla="*/ 2147483647 h 414"/>
                <a:gd name="T50" fmla="*/ 2147483647 w 450"/>
                <a:gd name="T51" fmla="*/ 2147483647 h 414"/>
                <a:gd name="T52" fmla="*/ 2147483647 w 450"/>
                <a:gd name="T53" fmla="*/ 2147483647 h 414"/>
                <a:gd name="T54" fmla="*/ 2147483647 w 450"/>
                <a:gd name="T55" fmla="*/ 2147483647 h 414"/>
                <a:gd name="T56" fmla="*/ 2147483647 w 450"/>
                <a:gd name="T57" fmla="*/ 2147483647 h 414"/>
                <a:gd name="T58" fmla="*/ 2147483647 w 450"/>
                <a:gd name="T59" fmla="*/ 2147483647 h 414"/>
                <a:gd name="T60" fmla="*/ 2147483647 w 450"/>
                <a:gd name="T61" fmla="*/ 2147483647 h 414"/>
                <a:gd name="T62" fmla="*/ 2147483647 w 450"/>
                <a:gd name="T63" fmla="*/ 2147483647 h 414"/>
                <a:gd name="T64" fmla="*/ 2147483647 w 450"/>
                <a:gd name="T65" fmla="*/ 2147483647 h 414"/>
                <a:gd name="T66" fmla="*/ 2147483647 w 450"/>
                <a:gd name="T67" fmla="*/ 2147483647 h 414"/>
                <a:gd name="T68" fmla="*/ 2147483647 w 450"/>
                <a:gd name="T69" fmla="*/ 2147483647 h 414"/>
                <a:gd name="T70" fmla="*/ 2147483647 w 450"/>
                <a:gd name="T71" fmla="*/ 2147483647 h 414"/>
                <a:gd name="T72" fmla="*/ 2147483647 w 450"/>
                <a:gd name="T73" fmla="*/ 2147483647 h 414"/>
                <a:gd name="T74" fmla="*/ 2147483647 w 450"/>
                <a:gd name="T75" fmla="*/ 2147483647 h 414"/>
                <a:gd name="T76" fmla="*/ 2147483647 w 450"/>
                <a:gd name="T77" fmla="*/ 2147483647 h 414"/>
                <a:gd name="T78" fmla="*/ 2147483647 w 450"/>
                <a:gd name="T79" fmla="*/ 2147483647 h 414"/>
                <a:gd name="T80" fmla="*/ 2147483647 w 450"/>
                <a:gd name="T81" fmla="*/ 2147483647 h 414"/>
                <a:gd name="T82" fmla="*/ 2147483647 w 450"/>
                <a:gd name="T83" fmla="*/ 2147483647 h 414"/>
                <a:gd name="T84" fmla="*/ 2147483647 w 450"/>
                <a:gd name="T85" fmla="*/ 2147483647 h 414"/>
                <a:gd name="T86" fmla="*/ 2147483647 w 450"/>
                <a:gd name="T87" fmla="*/ 2147483647 h 414"/>
                <a:gd name="T88" fmla="*/ 2147483647 w 450"/>
                <a:gd name="T89" fmla="*/ 2147483647 h 414"/>
                <a:gd name="T90" fmla="*/ 2147483647 w 450"/>
                <a:gd name="T91" fmla="*/ 2147483647 h 414"/>
                <a:gd name="T92" fmla="*/ 2147483647 w 450"/>
                <a:gd name="T93" fmla="*/ 2147483647 h 414"/>
                <a:gd name="T94" fmla="*/ 2147483647 w 450"/>
                <a:gd name="T95" fmla="*/ 2147483647 h 414"/>
                <a:gd name="T96" fmla="*/ 2147483647 w 450"/>
                <a:gd name="T97" fmla="*/ 2147483647 h 41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50"/>
                <a:gd name="T148" fmla="*/ 0 h 414"/>
                <a:gd name="T149" fmla="*/ 450 w 450"/>
                <a:gd name="T150" fmla="*/ 414 h 41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50" h="414">
                  <a:moveTo>
                    <a:pt x="426" y="60"/>
                  </a:moveTo>
                  <a:lnTo>
                    <a:pt x="432" y="54"/>
                  </a:lnTo>
                  <a:lnTo>
                    <a:pt x="438" y="42"/>
                  </a:lnTo>
                  <a:lnTo>
                    <a:pt x="450" y="30"/>
                  </a:lnTo>
                  <a:lnTo>
                    <a:pt x="444" y="30"/>
                  </a:lnTo>
                  <a:lnTo>
                    <a:pt x="438" y="24"/>
                  </a:lnTo>
                  <a:lnTo>
                    <a:pt x="438" y="0"/>
                  </a:lnTo>
                  <a:lnTo>
                    <a:pt x="432" y="0"/>
                  </a:lnTo>
                  <a:lnTo>
                    <a:pt x="432" y="6"/>
                  </a:lnTo>
                  <a:lnTo>
                    <a:pt x="426" y="18"/>
                  </a:lnTo>
                  <a:lnTo>
                    <a:pt x="402" y="18"/>
                  </a:lnTo>
                  <a:lnTo>
                    <a:pt x="390" y="30"/>
                  </a:lnTo>
                  <a:lnTo>
                    <a:pt x="372" y="30"/>
                  </a:lnTo>
                  <a:lnTo>
                    <a:pt x="366" y="24"/>
                  </a:lnTo>
                  <a:lnTo>
                    <a:pt x="318" y="24"/>
                  </a:lnTo>
                  <a:lnTo>
                    <a:pt x="306" y="30"/>
                  </a:lnTo>
                  <a:lnTo>
                    <a:pt x="294" y="42"/>
                  </a:lnTo>
                  <a:lnTo>
                    <a:pt x="282" y="48"/>
                  </a:lnTo>
                  <a:lnTo>
                    <a:pt x="276" y="54"/>
                  </a:lnTo>
                  <a:lnTo>
                    <a:pt x="258" y="54"/>
                  </a:lnTo>
                  <a:lnTo>
                    <a:pt x="246" y="60"/>
                  </a:lnTo>
                  <a:lnTo>
                    <a:pt x="234" y="60"/>
                  </a:lnTo>
                  <a:lnTo>
                    <a:pt x="222" y="54"/>
                  </a:lnTo>
                  <a:lnTo>
                    <a:pt x="204" y="54"/>
                  </a:lnTo>
                  <a:lnTo>
                    <a:pt x="192" y="42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50" y="48"/>
                  </a:lnTo>
                  <a:lnTo>
                    <a:pt x="144" y="48"/>
                  </a:lnTo>
                  <a:lnTo>
                    <a:pt x="138" y="54"/>
                  </a:lnTo>
                  <a:lnTo>
                    <a:pt x="120" y="60"/>
                  </a:lnTo>
                  <a:lnTo>
                    <a:pt x="84" y="60"/>
                  </a:lnTo>
                  <a:lnTo>
                    <a:pt x="84" y="54"/>
                  </a:lnTo>
                  <a:lnTo>
                    <a:pt x="90" y="48"/>
                  </a:lnTo>
                  <a:lnTo>
                    <a:pt x="66" y="48"/>
                  </a:lnTo>
                  <a:lnTo>
                    <a:pt x="66" y="78"/>
                  </a:lnTo>
                  <a:lnTo>
                    <a:pt x="72" y="78"/>
                  </a:lnTo>
                  <a:lnTo>
                    <a:pt x="72" y="102"/>
                  </a:lnTo>
                  <a:lnTo>
                    <a:pt x="60" y="102"/>
                  </a:lnTo>
                  <a:lnTo>
                    <a:pt x="54" y="96"/>
                  </a:lnTo>
                  <a:lnTo>
                    <a:pt x="54" y="114"/>
                  </a:lnTo>
                  <a:lnTo>
                    <a:pt x="48" y="120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14"/>
                  </a:lnTo>
                  <a:lnTo>
                    <a:pt x="18" y="120"/>
                  </a:lnTo>
                  <a:lnTo>
                    <a:pt x="12" y="132"/>
                  </a:lnTo>
                  <a:lnTo>
                    <a:pt x="12" y="150"/>
                  </a:lnTo>
                  <a:lnTo>
                    <a:pt x="6" y="150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24" y="222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8" y="252"/>
                  </a:lnTo>
                  <a:lnTo>
                    <a:pt x="78" y="270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54" y="288"/>
                  </a:lnTo>
                  <a:lnTo>
                    <a:pt x="48" y="288"/>
                  </a:lnTo>
                  <a:lnTo>
                    <a:pt x="42" y="294"/>
                  </a:lnTo>
                  <a:lnTo>
                    <a:pt x="42" y="318"/>
                  </a:lnTo>
                  <a:lnTo>
                    <a:pt x="24" y="336"/>
                  </a:lnTo>
                  <a:lnTo>
                    <a:pt x="30" y="378"/>
                  </a:lnTo>
                  <a:lnTo>
                    <a:pt x="36" y="378"/>
                  </a:lnTo>
                  <a:lnTo>
                    <a:pt x="72" y="396"/>
                  </a:lnTo>
                  <a:lnTo>
                    <a:pt x="84" y="408"/>
                  </a:lnTo>
                  <a:lnTo>
                    <a:pt x="96" y="414"/>
                  </a:lnTo>
                  <a:lnTo>
                    <a:pt x="114" y="414"/>
                  </a:lnTo>
                  <a:lnTo>
                    <a:pt x="174" y="384"/>
                  </a:lnTo>
                  <a:lnTo>
                    <a:pt x="204" y="354"/>
                  </a:lnTo>
                  <a:lnTo>
                    <a:pt x="228" y="336"/>
                  </a:lnTo>
                  <a:lnTo>
                    <a:pt x="240" y="324"/>
                  </a:lnTo>
                  <a:lnTo>
                    <a:pt x="300" y="276"/>
                  </a:lnTo>
                  <a:lnTo>
                    <a:pt x="312" y="270"/>
                  </a:lnTo>
                  <a:lnTo>
                    <a:pt x="372" y="246"/>
                  </a:lnTo>
                  <a:lnTo>
                    <a:pt x="396" y="234"/>
                  </a:lnTo>
                  <a:lnTo>
                    <a:pt x="402" y="228"/>
                  </a:lnTo>
                  <a:lnTo>
                    <a:pt x="402" y="222"/>
                  </a:lnTo>
                  <a:lnTo>
                    <a:pt x="384" y="204"/>
                  </a:lnTo>
                  <a:lnTo>
                    <a:pt x="384" y="198"/>
                  </a:lnTo>
                  <a:lnTo>
                    <a:pt x="390" y="180"/>
                  </a:lnTo>
                  <a:lnTo>
                    <a:pt x="396" y="168"/>
                  </a:lnTo>
                  <a:lnTo>
                    <a:pt x="396" y="138"/>
                  </a:lnTo>
                  <a:lnTo>
                    <a:pt x="390" y="126"/>
                  </a:lnTo>
                  <a:lnTo>
                    <a:pt x="390" y="114"/>
                  </a:lnTo>
                  <a:lnTo>
                    <a:pt x="384" y="108"/>
                  </a:lnTo>
                  <a:lnTo>
                    <a:pt x="378" y="96"/>
                  </a:lnTo>
                  <a:lnTo>
                    <a:pt x="378" y="84"/>
                  </a:lnTo>
                  <a:lnTo>
                    <a:pt x="384" y="72"/>
                  </a:lnTo>
                  <a:lnTo>
                    <a:pt x="390" y="66"/>
                  </a:lnTo>
                  <a:lnTo>
                    <a:pt x="402" y="66"/>
                  </a:lnTo>
                  <a:lnTo>
                    <a:pt x="414" y="60"/>
                  </a:lnTo>
                  <a:lnTo>
                    <a:pt x="426" y="6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46" name="Switzerland" descr="© INSCALE GmbH, 05.05.2010&#10;http://www.presentationload.com/"/>
            <p:cNvSpPr>
              <a:spLocks/>
            </p:cNvSpPr>
            <p:nvPr/>
          </p:nvSpPr>
          <p:spPr bwMode="gray">
            <a:xfrm>
              <a:off x="4615482" y="3109626"/>
              <a:ext cx="94708" cy="48992"/>
            </a:xfrm>
            <a:custGeom>
              <a:avLst/>
              <a:gdLst>
                <a:gd name="T0" fmla="*/ 2147483647 w 288"/>
                <a:gd name="T1" fmla="*/ 2147483647 h 162"/>
                <a:gd name="T2" fmla="*/ 2147483647 w 288"/>
                <a:gd name="T3" fmla="*/ 2147483647 h 162"/>
                <a:gd name="T4" fmla="*/ 2147483647 w 288"/>
                <a:gd name="T5" fmla="*/ 2147483647 h 162"/>
                <a:gd name="T6" fmla="*/ 2147483647 w 288"/>
                <a:gd name="T7" fmla="*/ 2147483647 h 162"/>
                <a:gd name="T8" fmla="*/ 2147483647 w 288"/>
                <a:gd name="T9" fmla="*/ 2147483647 h 162"/>
                <a:gd name="T10" fmla="*/ 2147483647 w 288"/>
                <a:gd name="T11" fmla="*/ 2147483647 h 162"/>
                <a:gd name="T12" fmla="*/ 2147483647 w 288"/>
                <a:gd name="T13" fmla="*/ 2147483647 h 162"/>
                <a:gd name="T14" fmla="*/ 0 w 288"/>
                <a:gd name="T15" fmla="*/ 2147483647 h 162"/>
                <a:gd name="T16" fmla="*/ 2147483647 w 288"/>
                <a:gd name="T17" fmla="*/ 2147483647 h 162"/>
                <a:gd name="T18" fmla="*/ 2147483647 w 288"/>
                <a:gd name="T19" fmla="*/ 2147483647 h 162"/>
                <a:gd name="T20" fmla="*/ 2147483647 w 288"/>
                <a:gd name="T21" fmla="*/ 2147483647 h 162"/>
                <a:gd name="T22" fmla="*/ 2147483647 w 288"/>
                <a:gd name="T23" fmla="*/ 2147483647 h 162"/>
                <a:gd name="T24" fmla="*/ 2147483647 w 288"/>
                <a:gd name="T25" fmla="*/ 2147483647 h 162"/>
                <a:gd name="T26" fmla="*/ 2147483647 w 288"/>
                <a:gd name="T27" fmla="*/ 2147483647 h 162"/>
                <a:gd name="T28" fmla="*/ 2147483647 w 288"/>
                <a:gd name="T29" fmla="*/ 2147483647 h 162"/>
                <a:gd name="T30" fmla="*/ 2147483647 w 288"/>
                <a:gd name="T31" fmla="*/ 2147483647 h 162"/>
                <a:gd name="T32" fmla="*/ 2147483647 w 288"/>
                <a:gd name="T33" fmla="*/ 2147483647 h 162"/>
                <a:gd name="T34" fmla="*/ 2147483647 w 288"/>
                <a:gd name="T35" fmla="*/ 2147483647 h 162"/>
                <a:gd name="T36" fmla="*/ 2147483647 w 288"/>
                <a:gd name="T37" fmla="*/ 2147483647 h 162"/>
                <a:gd name="T38" fmla="*/ 2147483647 w 288"/>
                <a:gd name="T39" fmla="*/ 2147483647 h 162"/>
                <a:gd name="T40" fmla="*/ 2147483647 w 288"/>
                <a:gd name="T41" fmla="*/ 2147483647 h 162"/>
                <a:gd name="T42" fmla="*/ 2147483647 w 288"/>
                <a:gd name="T43" fmla="*/ 2147483647 h 162"/>
                <a:gd name="T44" fmla="*/ 2147483647 w 288"/>
                <a:gd name="T45" fmla="*/ 2147483647 h 162"/>
                <a:gd name="T46" fmla="*/ 2147483647 w 288"/>
                <a:gd name="T47" fmla="*/ 2147483647 h 162"/>
                <a:gd name="T48" fmla="*/ 2147483647 w 288"/>
                <a:gd name="T49" fmla="*/ 2147483647 h 162"/>
                <a:gd name="T50" fmla="*/ 2147483647 w 288"/>
                <a:gd name="T51" fmla="*/ 2147483647 h 162"/>
                <a:gd name="T52" fmla="*/ 2147483647 w 288"/>
                <a:gd name="T53" fmla="*/ 2147483647 h 162"/>
                <a:gd name="T54" fmla="*/ 2147483647 w 288"/>
                <a:gd name="T55" fmla="*/ 2147483647 h 162"/>
                <a:gd name="T56" fmla="*/ 2147483647 w 288"/>
                <a:gd name="T57" fmla="*/ 2147483647 h 162"/>
                <a:gd name="T58" fmla="*/ 2147483647 w 288"/>
                <a:gd name="T59" fmla="*/ 2147483647 h 162"/>
                <a:gd name="T60" fmla="*/ 2147483647 w 288"/>
                <a:gd name="T61" fmla="*/ 2147483647 h 162"/>
                <a:gd name="T62" fmla="*/ 2147483647 w 288"/>
                <a:gd name="T63" fmla="*/ 2147483647 h 162"/>
                <a:gd name="T64" fmla="*/ 2147483647 w 288"/>
                <a:gd name="T65" fmla="*/ 2147483647 h 162"/>
                <a:gd name="T66" fmla="*/ 2147483647 w 288"/>
                <a:gd name="T67" fmla="*/ 0 h 162"/>
                <a:gd name="T68" fmla="*/ 2147483647 w 288"/>
                <a:gd name="T69" fmla="*/ 2147483647 h 162"/>
                <a:gd name="T70" fmla="*/ 2147483647 w 288"/>
                <a:gd name="T71" fmla="*/ 2147483647 h 162"/>
                <a:gd name="T72" fmla="*/ 2147483647 w 288"/>
                <a:gd name="T73" fmla="*/ 2147483647 h 16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88"/>
                <a:gd name="T112" fmla="*/ 0 h 162"/>
                <a:gd name="T113" fmla="*/ 288 w 288"/>
                <a:gd name="T114" fmla="*/ 162 h 162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88" h="162">
                  <a:moveTo>
                    <a:pt x="132" y="24"/>
                  </a:moveTo>
                  <a:lnTo>
                    <a:pt x="96" y="24"/>
                  </a:lnTo>
                  <a:lnTo>
                    <a:pt x="90" y="42"/>
                  </a:lnTo>
                  <a:lnTo>
                    <a:pt x="72" y="30"/>
                  </a:lnTo>
                  <a:lnTo>
                    <a:pt x="66" y="42"/>
                  </a:lnTo>
                  <a:lnTo>
                    <a:pt x="60" y="48"/>
                  </a:lnTo>
                  <a:lnTo>
                    <a:pt x="54" y="60"/>
                  </a:lnTo>
                  <a:lnTo>
                    <a:pt x="48" y="66"/>
                  </a:lnTo>
                  <a:lnTo>
                    <a:pt x="30" y="66"/>
                  </a:lnTo>
                  <a:lnTo>
                    <a:pt x="30" y="78"/>
                  </a:lnTo>
                  <a:lnTo>
                    <a:pt x="18" y="90"/>
                  </a:lnTo>
                  <a:lnTo>
                    <a:pt x="12" y="102"/>
                  </a:lnTo>
                  <a:lnTo>
                    <a:pt x="0" y="108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30" y="108"/>
                  </a:lnTo>
                  <a:lnTo>
                    <a:pt x="48" y="108"/>
                  </a:lnTo>
                  <a:lnTo>
                    <a:pt x="54" y="114"/>
                  </a:lnTo>
                  <a:lnTo>
                    <a:pt x="48" y="138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6"/>
                  </a:lnTo>
                  <a:lnTo>
                    <a:pt x="114" y="156"/>
                  </a:lnTo>
                  <a:lnTo>
                    <a:pt x="132" y="138"/>
                  </a:lnTo>
                  <a:lnTo>
                    <a:pt x="132" y="120"/>
                  </a:lnTo>
                  <a:lnTo>
                    <a:pt x="138" y="114"/>
                  </a:lnTo>
                  <a:lnTo>
                    <a:pt x="150" y="114"/>
                  </a:lnTo>
                  <a:lnTo>
                    <a:pt x="156" y="120"/>
                  </a:lnTo>
                  <a:lnTo>
                    <a:pt x="156" y="126"/>
                  </a:lnTo>
                  <a:lnTo>
                    <a:pt x="162" y="132"/>
                  </a:lnTo>
                  <a:lnTo>
                    <a:pt x="162" y="138"/>
                  </a:lnTo>
                  <a:lnTo>
                    <a:pt x="168" y="138"/>
                  </a:lnTo>
                  <a:lnTo>
                    <a:pt x="192" y="162"/>
                  </a:lnTo>
                  <a:lnTo>
                    <a:pt x="192" y="144"/>
                  </a:lnTo>
                  <a:lnTo>
                    <a:pt x="204" y="132"/>
                  </a:lnTo>
                  <a:lnTo>
                    <a:pt x="210" y="108"/>
                  </a:lnTo>
                  <a:lnTo>
                    <a:pt x="222" y="126"/>
                  </a:lnTo>
                  <a:lnTo>
                    <a:pt x="240" y="120"/>
                  </a:lnTo>
                  <a:lnTo>
                    <a:pt x="258" y="132"/>
                  </a:lnTo>
                  <a:lnTo>
                    <a:pt x="264" y="120"/>
                  </a:lnTo>
                  <a:lnTo>
                    <a:pt x="252" y="108"/>
                  </a:lnTo>
                  <a:lnTo>
                    <a:pt x="252" y="102"/>
                  </a:lnTo>
                  <a:lnTo>
                    <a:pt x="276" y="102"/>
                  </a:lnTo>
                  <a:lnTo>
                    <a:pt x="282" y="84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6" y="66"/>
                  </a:lnTo>
                  <a:lnTo>
                    <a:pt x="270" y="66"/>
                  </a:lnTo>
                  <a:lnTo>
                    <a:pt x="252" y="84"/>
                  </a:lnTo>
                  <a:lnTo>
                    <a:pt x="246" y="84"/>
                  </a:lnTo>
                  <a:lnTo>
                    <a:pt x="246" y="66"/>
                  </a:lnTo>
                  <a:lnTo>
                    <a:pt x="210" y="66"/>
                  </a:lnTo>
                  <a:lnTo>
                    <a:pt x="210" y="60"/>
                  </a:lnTo>
                  <a:lnTo>
                    <a:pt x="216" y="48"/>
                  </a:lnTo>
                  <a:lnTo>
                    <a:pt x="222" y="42"/>
                  </a:lnTo>
                  <a:lnTo>
                    <a:pt x="228" y="42"/>
                  </a:lnTo>
                  <a:lnTo>
                    <a:pt x="228" y="30"/>
                  </a:lnTo>
                  <a:lnTo>
                    <a:pt x="216" y="30"/>
                  </a:lnTo>
                  <a:lnTo>
                    <a:pt x="210" y="18"/>
                  </a:lnTo>
                  <a:lnTo>
                    <a:pt x="192" y="12"/>
                  </a:lnTo>
                  <a:lnTo>
                    <a:pt x="180" y="12"/>
                  </a:lnTo>
                  <a:lnTo>
                    <a:pt x="174" y="6"/>
                  </a:lnTo>
                  <a:lnTo>
                    <a:pt x="162" y="0"/>
                  </a:lnTo>
                  <a:lnTo>
                    <a:pt x="156" y="0"/>
                  </a:lnTo>
                  <a:lnTo>
                    <a:pt x="150" y="6"/>
                  </a:lnTo>
                  <a:lnTo>
                    <a:pt x="150" y="18"/>
                  </a:lnTo>
                  <a:lnTo>
                    <a:pt x="156" y="24"/>
                  </a:lnTo>
                  <a:lnTo>
                    <a:pt x="150" y="18"/>
                  </a:lnTo>
                  <a:lnTo>
                    <a:pt x="132" y="2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47" name="Sweden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4722988" y="2620935"/>
              <a:ext cx="223972" cy="307422"/>
            </a:xfrm>
            <a:custGeom>
              <a:avLst/>
              <a:gdLst>
                <a:gd name="T0" fmla="*/ 2147483647 w 690"/>
                <a:gd name="T1" fmla="*/ 2147483647 h 990"/>
                <a:gd name="T2" fmla="*/ 2147483647 w 690"/>
                <a:gd name="T3" fmla="*/ 2147483647 h 990"/>
                <a:gd name="T4" fmla="*/ 2147483647 w 690"/>
                <a:gd name="T5" fmla="*/ 2147483647 h 990"/>
                <a:gd name="T6" fmla="*/ 2147483647 w 690"/>
                <a:gd name="T7" fmla="*/ 2147483647 h 990"/>
                <a:gd name="T8" fmla="*/ 2147483647 w 690"/>
                <a:gd name="T9" fmla="*/ 2147483647 h 990"/>
                <a:gd name="T10" fmla="*/ 2147483647 w 690"/>
                <a:gd name="T11" fmla="*/ 2147483647 h 990"/>
                <a:gd name="T12" fmla="*/ 2147483647 w 690"/>
                <a:gd name="T13" fmla="*/ 2147483647 h 990"/>
                <a:gd name="T14" fmla="*/ 2147483647 w 690"/>
                <a:gd name="T15" fmla="*/ 2147483647 h 990"/>
                <a:gd name="T16" fmla="*/ 2147483647 w 690"/>
                <a:gd name="T17" fmla="*/ 2147483647 h 990"/>
                <a:gd name="T18" fmla="*/ 2147483647 w 690"/>
                <a:gd name="T19" fmla="*/ 2147483647 h 990"/>
                <a:gd name="T20" fmla="*/ 2147483647 w 690"/>
                <a:gd name="T21" fmla="*/ 2147483647 h 990"/>
                <a:gd name="T22" fmla="*/ 2147483647 w 690"/>
                <a:gd name="T23" fmla="*/ 2147483647 h 990"/>
                <a:gd name="T24" fmla="*/ 2147483647 w 690"/>
                <a:gd name="T25" fmla="*/ 2147483647 h 990"/>
                <a:gd name="T26" fmla="*/ 2147483647 w 690"/>
                <a:gd name="T27" fmla="*/ 2147483647 h 990"/>
                <a:gd name="T28" fmla="*/ 2147483647 w 690"/>
                <a:gd name="T29" fmla="*/ 2147483647 h 990"/>
                <a:gd name="T30" fmla="*/ 2147483647 w 690"/>
                <a:gd name="T31" fmla="*/ 2147483647 h 990"/>
                <a:gd name="T32" fmla="*/ 2147483647 w 690"/>
                <a:gd name="T33" fmla="*/ 2147483647 h 990"/>
                <a:gd name="T34" fmla="*/ 2147483647 w 690"/>
                <a:gd name="T35" fmla="*/ 2147483647 h 990"/>
                <a:gd name="T36" fmla="*/ 2147483647 w 690"/>
                <a:gd name="T37" fmla="*/ 2147483647 h 990"/>
                <a:gd name="T38" fmla="*/ 2147483647 w 690"/>
                <a:gd name="T39" fmla="*/ 2147483647 h 990"/>
                <a:gd name="T40" fmla="*/ 2147483647 w 690"/>
                <a:gd name="T41" fmla="*/ 2147483647 h 990"/>
                <a:gd name="T42" fmla="*/ 2147483647 w 690"/>
                <a:gd name="T43" fmla="*/ 2147483647 h 990"/>
                <a:gd name="T44" fmla="*/ 2147483647 w 690"/>
                <a:gd name="T45" fmla="*/ 2147483647 h 990"/>
                <a:gd name="T46" fmla="*/ 0 w 690"/>
                <a:gd name="T47" fmla="*/ 2147483647 h 990"/>
                <a:gd name="T48" fmla="*/ 2147483647 w 690"/>
                <a:gd name="T49" fmla="*/ 2147483647 h 990"/>
                <a:gd name="T50" fmla="*/ 2147483647 w 690"/>
                <a:gd name="T51" fmla="*/ 2147483647 h 990"/>
                <a:gd name="T52" fmla="*/ 2147483647 w 690"/>
                <a:gd name="T53" fmla="*/ 2147483647 h 990"/>
                <a:gd name="T54" fmla="*/ 2147483647 w 690"/>
                <a:gd name="T55" fmla="*/ 2147483647 h 990"/>
                <a:gd name="T56" fmla="*/ 2147483647 w 690"/>
                <a:gd name="T57" fmla="*/ 2147483647 h 990"/>
                <a:gd name="T58" fmla="*/ 2147483647 w 690"/>
                <a:gd name="T59" fmla="*/ 2147483647 h 990"/>
                <a:gd name="T60" fmla="*/ 2147483647 w 690"/>
                <a:gd name="T61" fmla="*/ 2147483647 h 990"/>
                <a:gd name="T62" fmla="*/ 2147483647 w 690"/>
                <a:gd name="T63" fmla="*/ 2147483647 h 990"/>
                <a:gd name="T64" fmla="*/ 2147483647 w 690"/>
                <a:gd name="T65" fmla="*/ 2147483647 h 990"/>
                <a:gd name="T66" fmla="*/ 2147483647 w 690"/>
                <a:gd name="T67" fmla="*/ 2147483647 h 990"/>
                <a:gd name="T68" fmla="*/ 2147483647 w 690"/>
                <a:gd name="T69" fmla="*/ 2147483647 h 990"/>
                <a:gd name="T70" fmla="*/ 2147483647 w 690"/>
                <a:gd name="T71" fmla="*/ 2147483647 h 990"/>
                <a:gd name="T72" fmla="*/ 2147483647 w 690"/>
                <a:gd name="T73" fmla="*/ 2147483647 h 990"/>
                <a:gd name="T74" fmla="*/ 2147483647 w 690"/>
                <a:gd name="T75" fmla="*/ 2147483647 h 990"/>
                <a:gd name="T76" fmla="*/ 2147483647 w 690"/>
                <a:gd name="T77" fmla="*/ 2147483647 h 990"/>
                <a:gd name="T78" fmla="*/ 2147483647 w 690"/>
                <a:gd name="T79" fmla="*/ 2147483647 h 990"/>
                <a:gd name="T80" fmla="*/ 2147483647 w 690"/>
                <a:gd name="T81" fmla="*/ 2147483647 h 990"/>
                <a:gd name="T82" fmla="*/ 2147483647 w 690"/>
                <a:gd name="T83" fmla="*/ 2147483647 h 990"/>
                <a:gd name="T84" fmla="*/ 2147483647 w 690"/>
                <a:gd name="T85" fmla="*/ 2147483647 h 990"/>
                <a:gd name="T86" fmla="*/ 2147483647 w 690"/>
                <a:gd name="T87" fmla="*/ 2147483647 h 990"/>
                <a:gd name="T88" fmla="*/ 2147483647 w 690"/>
                <a:gd name="T89" fmla="*/ 2147483647 h 990"/>
                <a:gd name="T90" fmla="*/ 2147483647 w 690"/>
                <a:gd name="T91" fmla="*/ 2147483647 h 990"/>
                <a:gd name="T92" fmla="*/ 2147483647 w 690"/>
                <a:gd name="T93" fmla="*/ 2147483647 h 990"/>
                <a:gd name="T94" fmla="*/ 2147483647 w 690"/>
                <a:gd name="T95" fmla="*/ 2147483647 h 990"/>
                <a:gd name="T96" fmla="*/ 2147483647 w 690"/>
                <a:gd name="T97" fmla="*/ 2147483647 h 990"/>
                <a:gd name="T98" fmla="*/ 2147483647 w 690"/>
                <a:gd name="T99" fmla="*/ 2147483647 h 990"/>
                <a:gd name="T100" fmla="*/ 2147483647 w 690"/>
                <a:gd name="T101" fmla="*/ 2147483647 h 99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90"/>
                <a:gd name="T154" fmla="*/ 0 h 990"/>
                <a:gd name="T155" fmla="*/ 690 w 690"/>
                <a:gd name="T156" fmla="*/ 990 h 99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90" h="990">
                  <a:moveTo>
                    <a:pt x="678" y="204"/>
                  </a:moveTo>
                  <a:lnTo>
                    <a:pt x="672" y="198"/>
                  </a:lnTo>
                  <a:lnTo>
                    <a:pt x="660" y="192"/>
                  </a:lnTo>
                  <a:lnTo>
                    <a:pt x="648" y="180"/>
                  </a:lnTo>
                  <a:lnTo>
                    <a:pt x="648" y="174"/>
                  </a:lnTo>
                  <a:lnTo>
                    <a:pt x="654" y="162"/>
                  </a:lnTo>
                  <a:lnTo>
                    <a:pt x="660" y="156"/>
                  </a:lnTo>
                  <a:lnTo>
                    <a:pt x="666" y="144"/>
                  </a:lnTo>
                  <a:lnTo>
                    <a:pt x="642" y="132"/>
                  </a:lnTo>
                  <a:lnTo>
                    <a:pt x="648" y="108"/>
                  </a:lnTo>
                  <a:lnTo>
                    <a:pt x="636" y="102"/>
                  </a:lnTo>
                  <a:lnTo>
                    <a:pt x="636" y="96"/>
                  </a:lnTo>
                  <a:lnTo>
                    <a:pt x="642" y="90"/>
                  </a:lnTo>
                  <a:lnTo>
                    <a:pt x="642" y="66"/>
                  </a:lnTo>
                  <a:lnTo>
                    <a:pt x="636" y="66"/>
                  </a:lnTo>
                  <a:lnTo>
                    <a:pt x="630" y="60"/>
                  </a:lnTo>
                  <a:lnTo>
                    <a:pt x="618" y="60"/>
                  </a:lnTo>
                  <a:lnTo>
                    <a:pt x="588" y="42"/>
                  </a:lnTo>
                  <a:lnTo>
                    <a:pt x="552" y="42"/>
                  </a:lnTo>
                  <a:lnTo>
                    <a:pt x="540" y="30"/>
                  </a:lnTo>
                  <a:lnTo>
                    <a:pt x="534" y="30"/>
                  </a:lnTo>
                  <a:lnTo>
                    <a:pt x="528" y="24"/>
                  </a:lnTo>
                  <a:lnTo>
                    <a:pt x="516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56" y="0"/>
                  </a:lnTo>
                  <a:lnTo>
                    <a:pt x="456" y="24"/>
                  </a:lnTo>
                  <a:lnTo>
                    <a:pt x="444" y="24"/>
                  </a:lnTo>
                  <a:lnTo>
                    <a:pt x="444" y="30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56" y="48"/>
                  </a:lnTo>
                  <a:lnTo>
                    <a:pt x="444" y="48"/>
                  </a:lnTo>
                  <a:lnTo>
                    <a:pt x="438" y="42"/>
                  </a:lnTo>
                  <a:lnTo>
                    <a:pt x="414" y="42"/>
                  </a:lnTo>
                  <a:lnTo>
                    <a:pt x="390" y="36"/>
                  </a:lnTo>
                  <a:lnTo>
                    <a:pt x="366" y="42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48" y="36"/>
                  </a:lnTo>
                  <a:lnTo>
                    <a:pt x="348" y="66"/>
                  </a:lnTo>
                  <a:lnTo>
                    <a:pt x="342" y="72"/>
                  </a:lnTo>
                  <a:lnTo>
                    <a:pt x="324" y="72"/>
                  </a:lnTo>
                  <a:lnTo>
                    <a:pt x="282" y="78"/>
                  </a:lnTo>
                  <a:lnTo>
                    <a:pt x="264" y="96"/>
                  </a:lnTo>
                  <a:lnTo>
                    <a:pt x="252" y="102"/>
                  </a:lnTo>
                  <a:lnTo>
                    <a:pt x="246" y="102"/>
                  </a:lnTo>
                  <a:lnTo>
                    <a:pt x="246" y="114"/>
                  </a:lnTo>
                  <a:lnTo>
                    <a:pt x="258" y="120"/>
                  </a:lnTo>
                  <a:lnTo>
                    <a:pt x="264" y="126"/>
                  </a:lnTo>
                  <a:lnTo>
                    <a:pt x="258" y="144"/>
                  </a:lnTo>
                  <a:lnTo>
                    <a:pt x="252" y="144"/>
                  </a:lnTo>
                  <a:lnTo>
                    <a:pt x="240" y="150"/>
                  </a:lnTo>
                  <a:lnTo>
                    <a:pt x="234" y="156"/>
                  </a:lnTo>
                  <a:lnTo>
                    <a:pt x="234" y="162"/>
                  </a:lnTo>
                  <a:lnTo>
                    <a:pt x="228" y="168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16" y="180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0" y="198"/>
                  </a:lnTo>
                  <a:lnTo>
                    <a:pt x="204" y="198"/>
                  </a:lnTo>
                  <a:lnTo>
                    <a:pt x="192" y="204"/>
                  </a:lnTo>
                  <a:lnTo>
                    <a:pt x="174" y="192"/>
                  </a:lnTo>
                  <a:lnTo>
                    <a:pt x="174" y="228"/>
                  </a:lnTo>
                  <a:lnTo>
                    <a:pt x="168" y="270"/>
                  </a:lnTo>
                  <a:lnTo>
                    <a:pt x="138" y="300"/>
                  </a:lnTo>
                  <a:lnTo>
                    <a:pt x="132" y="300"/>
                  </a:lnTo>
                  <a:lnTo>
                    <a:pt x="120" y="306"/>
                  </a:lnTo>
                  <a:lnTo>
                    <a:pt x="132" y="312"/>
                  </a:lnTo>
                  <a:lnTo>
                    <a:pt x="150" y="330"/>
                  </a:lnTo>
                  <a:lnTo>
                    <a:pt x="150" y="336"/>
                  </a:lnTo>
                  <a:lnTo>
                    <a:pt x="144" y="342"/>
                  </a:lnTo>
                  <a:lnTo>
                    <a:pt x="102" y="342"/>
                  </a:lnTo>
                  <a:lnTo>
                    <a:pt x="90" y="348"/>
                  </a:lnTo>
                  <a:lnTo>
                    <a:pt x="84" y="354"/>
                  </a:lnTo>
                  <a:lnTo>
                    <a:pt x="72" y="360"/>
                  </a:lnTo>
                  <a:lnTo>
                    <a:pt x="30" y="402"/>
                  </a:lnTo>
                  <a:lnTo>
                    <a:pt x="36" y="408"/>
                  </a:lnTo>
                  <a:lnTo>
                    <a:pt x="42" y="408"/>
                  </a:lnTo>
                  <a:lnTo>
                    <a:pt x="48" y="414"/>
                  </a:lnTo>
                  <a:lnTo>
                    <a:pt x="48" y="420"/>
                  </a:lnTo>
                  <a:lnTo>
                    <a:pt x="42" y="426"/>
                  </a:lnTo>
                  <a:lnTo>
                    <a:pt x="36" y="426"/>
                  </a:lnTo>
                  <a:lnTo>
                    <a:pt x="30" y="432"/>
                  </a:lnTo>
                  <a:lnTo>
                    <a:pt x="30" y="444"/>
                  </a:lnTo>
                  <a:lnTo>
                    <a:pt x="54" y="468"/>
                  </a:lnTo>
                  <a:lnTo>
                    <a:pt x="54" y="480"/>
                  </a:lnTo>
                  <a:lnTo>
                    <a:pt x="48" y="492"/>
                  </a:lnTo>
                  <a:lnTo>
                    <a:pt x="48" y="510"/>
                  </a:lnTo>
                  <a:lnTo>
                    <a:pt x="60" y="522"/>
                  </a:lnTo>
                  <a:lnTo>
                    <a:pt x="66" y="522"/>
                  </a:lnTo>
                  <a:lnTo>
                    <a:pt x="84" y="540"/>
                  </a:lnTo>
                  <a:lnTo>
                    <a:pt x="84" y="552"/>
                  </a:lnTo>
                  <a:lnTo>
                    <a:pt x="72" y="564"/>
                  </a:lnTo>
                  <a:lnTo>
                    <a:pt x="48" y="570"/>
                  </a:lnTo>
                  <a:lnTo>
                    <a:pt x="54" y="576"/>
                  </a:lnTo>
                  <a:lnTo>
                    <a:pt x="60" y="588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66" y="606"/>
                  </a:lnTo>
                  <a:lnTo>
                    <a:pt x="72" y="618"/>
                  </a:lnTo>
                  <a:lnTo>
                    <a:pt x="66" y="618"/>
                  </a:lnTo>
                  <a:lnTo>
                    <a:pt x="66" y="642"/>
                  </a:lnTo>
                  <a:lnTo>
                    <a:pt x="60" y="648"/>
                  </a:lnTo>
                  <a:lnTo>
                    <a:pt x="24" y="648"/>
                  </a:lnTo>
                  <a:lnTo>
                    <a:pt x="30" y="660"/>
                  </a:lnTo>
                  <a:lnTo>
                    <a:pt x="30" y="666"/>
                  </a:lnTo>
                  <a:lnTo>
                    <a:pt x="24" y="666"/>
                  </a:lnTo>
                  <a:lnTo>
                    <a:pt x="18" y="672"/>
                  </a:lnTo>
                  <a:lnTo>
                    <a:pt x="18" y="678"/>
                  </a:lnTo>
                  <a:lnTo>
                    <a:pt x="30" y="690"/>
                  </a:lnTo>
                  <a:lnTo>
                    <a:pt x="30" y="708"/>
                  </a:lnTo>
                  <a:lnTo>
                    <a:pt x="24" y="714"/>
                  </a:lnTo>
                  <a:lnTo>
                    <a:pt x="18" y="726"/>
                  </a:lnTo>
                  <a:lnTo>
                    <a:pt x="0" y="708"/>
                  </a:lnTo>
                  <a:lnTo>
                    <a:pt x="0" y="768"/>
                  </a:lnTo>
                  <a:lnTo>
                    <a:pt x="6" y="762"/>
                  </a:lnTo>
                  <a:lnTo>
                    <a:pt x="24" y="762"/>
                  </a:lnTo>
                  <a:lnTo>
                    <a:pt x="36" y="774"/>
                  </a:lnTo>
                  <a:lnTo>
                    <a:pt x="36" y="780"/>
                  </a:lnTo>
                  <a:lnTo>
                    <a:pt x="30" y="780"/>
                  </a:lnTo>
                  <a:lnTo>
                    <a:pt x="30" y="774"/>
                  </a:lnTo>
                  <a:lnTo>
                    <a:pt x="24" y="774"/>
                  </a:lnTo>
                  <a:lnTo>
                    <a:pt x="24" y="834"/>
                  </a:lnTo>
                  <a:lnTo>
                    <a:pt x="30" y="840"/>
                  </a:lnTo>
                  <a:lnTo>
                    <a:pt x="36" y="840"/>
                  </a:lnTo>
                  <a:lnTo>
                    <a:pt x="48" y="846"/>
                  </a:lnTo>
                  <a:lnTo>
                    <a:pt x="54" y="858"/>
                  </a:lnTo>
                  <a:lnTo>
                    <a:pt x="60" y="864"/>
                  </a:lnTo>
                  <a:lnTo>
                    <a:pt x="66" y="876"/>
                  </a:lnTo>
                  <a:lnTo>
                    <a:pt x="90" y="900"/>
                  </a:lnTo>
                  <a:lnTo>
                    <a:pt x="96" y="900"/>
                  </a:lnTo>
                  <a:lnTo>
                    <a:pt x="96" y="912"/>
                  </a:lnTo>
                  <a:lnTo>
                    <a:pt x="78" y="912"/>
                  </a:lnTo>
                  <a:lnTo>
                    <a:pt x="78" y="942"/>
                  </a:lnTo>
                  <a:lnTo>
                    <a:pt x="90" y="954"/>
                  </a:lnTo>
                  <a:lnTo>
                    <a:pt x="102" y="960"/>
                  </a:lnTo>
                  <a:lnTo>
                    <a:pt x="96" y="966"/>
                  </a:lnTo>
                  <a:lnTo>
                    <a:pt x="96" y="984"/>
                  </a:lnTo>
                  <a:lnTo>
                    <a:pt x="102" y="984"/>
                  </a:lnTo>
                  <a:lnTo>
                    <a:pt x="108" y="990"/>
                  </a:lnTo>
                  <a:lnTo>
                    <a:pt x="174" y="990"/>
                  </a:lnTo>
                  <a:lnTo>
                    <a:pt x="180" y="984"/>
                  </a:lnTo>
                  <a:lnTo>
                    <a:pt x="180" y="948"/>
                  </a:lnTo>
                  <a:lnTo>
                    <a:pt x="198" y="942"/>
                  </a:lnTo>
                  <a:lnTo>
                    <a:pt x="198" y="924"/>
                  </a:lnTo>
                  <a:lnTo>
                    <a:pt x="264" y="930"/>
                  </a:lnTo>
                  <a:lnTo>
                    <a:pt x="276" y="936"/>
                  </a:lnTo>
                  <a:lnTo>
                    <a:pt x="300" y="876"/>
                  </a:lnTo>
                  <a:lnTo>
                    <a:pt x="300" y="864"/>
                  </a:lnTo>
                  <a:lnTo>
                    <a:pt x="306" y="852"/>
                  </a:lnTo>
                  <a:lnTo>
                    <a:pt x="306" y="816"/>
                  </a:lnTo>
                  <a:lnTo>
                    <a:pt x="300" y="810"/>
                  </a:lnTo>
                  <a:lnTo>
                    <a:pt x="294" y="798"/>
                  </a:lnTo>
                  <a:lnTo>
                    <a:pt x="312" y="798"/>
                  </a:lnTo>
                  <a:lnTo>
                    <a:pt x="324" y="786"/>
                  </a:lnTo>
                  <a:lnTo>
                    <a:pt x="324" y="780"/>
                  </a:lnTo>
                  <a:lnTo>
                    <a:pt x="306" y="762"/>
                  </a:lnTo>
                  <a:lnTo>
                    <a:pt x="294" y="762"/>
                  </a:lnTo>
                  <a:lnTo>
                    <a:pt x="312" y="756"/>
                  </a:lnTo>
                  <a:lnTo>
                    <a:pt x="300" y="750"/>
                  </a:lnTo>
                  <a:lnTo>
                    <a:pt x="324" y="750"/>
                  </a:lnTo>
                  <a:lnTo>
                    <a:pt x="336" y="744"/>
                  </a:lnTo>
                  <a:lnTo>
                    <a:pt x="348" y="744"/>
                  </a:lnTo>
                  <a:lnTo>
                    <a:pt x="354" y="738"/>
                  </a:lnTo>
                  <a:lnTo>
                    <a:pt x="360" y="726"/>
                  </a:lnTo>
                  <a:lnTo>
                    <a:pt x="360" y="714"/>
                  </a:lnTo>
                  <a:lnTo>
                    <a:pt x="366" y="708"/>
                  </a:lnTo>
                  <a:lnTo>
                    <a:pt x="384" y="726"/>
                  </a:lnTo>
                  <a:lnTo>
                    <a:pt x="390" y="726"/>
                  </a:lnTo>
                  <a:lnTo>
                    <a:pt x="396" y="720"/>
                  </a:lnTo>
                  <a:lnTo>
                    <a:pt x="408" y="696"/>
                  </a:lnTo>
                  <a:lnTo>
                    <a:pt x="402" y="690"/>
                  </a:lnTo>
                  <a:lnTo>
                    <a:pt x="402" y="684"/>
                  </a:lnTo>
                  <a:lnTo>
                    <a:pt x="414" y="684"/>
                  </a:lnTo>
                  <a:lnTo>
                    <a:pt x="420" y="678"/>
                  </a:lnTo>
                  <a:lnTo>
                    <a:pt x="432" y="672"/>
                  </a:lnTo>
                  <a:lnTo>
                    <a:pt x="432" y="660"/>
                  </a:lnTo>
                  <a:lnTo>
                    <a:pt x="420" y="636"/>
                  </a:lnTo>
                  <a:lnTo>
                    <a:pt x="408" y="630"/>
                  </a:lnTo>
                  <a:lnTo>
                    <a:pt x="408" y="618"/>
                  </a:lnTo>
                  <a:lnTo>
                    <a:pt x="372" y="600"/>
                  </a:lnTo>
                  <a:lnTo>
                    <a:pt x="360" y="606"/>
                  </a:lnTo>
                  <a:lnTo>
                    <a:pt x="354" y="606"/>
                  </a:lnTo>
                  <a:lnTo>
                    <a:pt x="342" y="600"/>
                  </a:lnTo>
                  <a:lnTo>
                    <a:pt x="330" y="576"/>
                  </a:lnTo>
                  <a:lnTo>
                    <a:pt x="330" y="558"/>
                  </a:lnTo>
                  <a:lnTo>
                    <a:pt x="324" y="546"/>
                  </a:lnTo>
                  <a:lnTo>
                    <a:pt x="324" y="528"/>
                  </a:lnTo>
                  <a:lnTo>
                    <a:pt x="336" y="516"/>
                  </a:lnTo>
                  <a:lnTo>
                    <a:pt x="342" y="504"/>
                  </a:lnTo>
                  <a:lnTo>
                    <a:pt x="342" y="486"/>
                  </a:lnTo>
                  <a:lnTo>
                    <a:pt x="336" y="474"/>
                  </a:lnTo>
                  <a:lnTo>
                    <a:pt x="330" y="468"/>
                  </a:lnTo>
                  <a:lnTo>
                    <a:pt x="330" y="462"/>
                  </a:lnTo>
                  <a:lnTo>
                    <a:pt x="348" y="462"/>
                  </a:lnTo>
                  <a:lnTo>
                    <a:pt x="354" y="456"/>
                  </a:lnTo>
                  <a:lnTo>
                    <a:pt x="354" y="438"/>
                  </a:lnTo>
                  <a:lnTo>
                    <a:pt x="348" y="426"/>
                  </a:lnTo>
                  <a:lnTo>
                    <a:pt x="354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96" y="420"/>
                  </a:lnTo>
                  <a:lnTo>
                    <a:pt x="408" y="408"/>
                  </a:lnTo>
                  <a:lnTo>
                    <a:pt x="438" y="414"/>
                  </a:lnTo>
                  <a:lnTo>
                    <a:pt x="450" y="390"/>
                  </a:lnTo>
                  <a:lnTo>
                    <a:pt x="480" y="390"/>
                  </a:lnTo>
                  <a:lnTo>
                    <a:pt x="498" y="384"/>
                  </a:lnTo>
                  <a:lnTo>
                    <a:pt x="510" y="378"/>
                  </a:lnTo>
                  <a:lnTo>
                    <a:pt x="522" y="354"/>
                  </a:lnTo>
                  <a:lnTo>
                    <a:pt x="540" y="336"/>
                  </a:lnTo>
                  <a:lnTo>
                    <a:pt x="546" y="324"/>
                  </a:lnTo>
                  <a:lnTo>
                    <a:pt x="528" y="300"/>
                  </a:lnTo>
                  <a:lnTo>
                    <a:pt x="558" y="264"/>
                  </a:lnTo>
                  <a:lnTo>
                    <a:pt x="540" y="246"/>
                  </a:lnTo>
                  <a:lnTo>
                    <a:pt x="576" y="234"/>
                  </a:lnTo>
                  <a:lnTo>
                    <a:pt x="594" y="216"/>
                  </a:lnTo>
                  <a:lnTo>
                    <a:pt x="672" y="222"/>
                  </a:lnTo>
                  <a:lnTo>
                    <a:pt x="684" y="240"/>
                  </a:lnTo>
                  <a:lnTo>
                    <a:pt x="690" y="240"/>
                  </a:lnTo>
                  <a:lnTo>
                    <a:pt x="678" y="204"/>
                  </a:lnTo>
                  <a:close/>
                  <a:moveTo>
                    <a:pt x="390" y="828"/>
                  </a:moveTo>
                  <a:lnTo>
                    <a:pt x="390" y="840"/>
                  </a:lnTo>
                  <a:lnTo>
                    <a:pt x="396" y="852"/>
                  </a:lnTo>
                  <a:lnTo>
                    <a:pt x="396" y="864"/>
                  </a:lnTo>
                  <a:lnTo>
                    <a:pt x="402" y="870"/>
                  </a:lnTo>
                  <a:lnTo>
                    <a:pt x="402" y="876"/>
                  </a:lnTo>
                  <a:lnTo>
                    <a:pt x="414" y="852"/>
                  </a:lnTo>
                  <a:lnTo>
                    <a:pt x="426" y="852"/>
                  </a:lnTo>
                  <a:lnTo>
                    <a:pt x="432" y="846"/>
                  </a:lnTo>
                  <a:lnTo>
                    <a:pt x="438" y="834"/>
                  </a:lnTo>
                  <a:lnTo>
                    <a:pt x="438" y="822"/>
                  </a:lnTo>
                  <a:lnTo>
                    <a:pt x="432" y="816"/>
                  </a:lnTo>
                  <a:lnTo>
                    <a:pt x="450" y="798"/>
                  </a:lnTo>
                  <a:lnTo>
                    <a:pt x="444" y="798"/>
                  </a:lnTo>
                  <a:lnTo>
                    <a:pt x="438" y="804"/>
                  </a:lnTo>
                  <a:lnTo>
                    <a:pt x="420" y="804"/>
                  </a:lnTo>
                  <a:lnTo>
                    <a:pt x="408" y="810"/>
                  </a:lnTo>
                  <a:lnTo>
                    <a:pt x="390" y="828"/>
                  </a:lnTo>
                  <a:close/>
                  <a:moveTo>
                    <a:pt x="300" y="900"/>
                  </a:moveTo>
                  <a:lnTo>
                    <a:pt x="300" y="912"/>
                  </a:lnTo>
                  <a:lnTo>
                    <a:pt x="294" y="924"/>
                  </a:lnTo>
                  <a:lnTo>
                    <a:pt x="300" y="918"/>
                  </a:lnTo>
                  <a:lnTo>
                    <a:pt x="312" y="912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24" y="888"/>
                  </a:lnTo>
                  <a:lnTo>
                    <a:pt x="324" y="882"/>
                  </a:lnTo>
                  <a:lnTo>
                    <a:pt x="342" y="858"/>
                  </a:lnTo>
                  <a:lnTo>
                    <a:pt x="336" y="840"/>
                  </a:lnTo>
                  <a:lnTo>
                    <a:pt x="330" y="852"/>
                  </a:lnTo>
                  <a:lnTo>
                    <a:pt x="312" y="870"/>
                  </a:lnTo>
                  <a:lnTo>
                    <a:pt x="300" y="894"/>
                  </a:lnTo>
                  <a:lnTo>
                    <a:pt x="300" y="90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48" name="Swaziland" descr="© INSCALE GmbH, 05.05.2010&#10;http://www.presentationload.com/"/>
            <p:cNvSpPr>
              <a:spLocks/>
            </p:cNvSpPr>
            <p:nvPr/>
          </p:nvSpPr>
          <p:spPr bwMode="gray">
            <a:xfrm>
              <a:off x="5165813" y="4948034"/>
              <a:ext cx="31996" cy="41643"/>
            </a:xfrm>
            <a:custGeom>
              <a:avLst/>
              <a:gdLst>
                <a:gd name="T0" fmla="*/ 2147483647 w 102"/>
                <a:gd name="T1" fmla="*/ 2147483647 h 132"/>
                <a:gd name="T2" fmla="*/ 2147483647 w 102"/>
                <a:gd name="T3" fmla="*/ 2147483647 h 132"/>
                <a:gd name="T4" fmla="*/ 2147483647 w 102"/>
                <a:gd name="T5" fmla="*/ 2147483647 h 132"/>
                <a:gd name="T6" fmla="*/ 2147483647 w 102"/>
                <a:gd name="T7" fmla="*/ 2147483647 h 132"/>
                <a:gd name="T8" fmla="*/ 2147483647 w 102"/>
                <a:gd name="T9" fmla="*/ 2147483647 h 132"/>
                <a:gd name="T10" fmla="*/ 2147483647 w 102"/>
                <a:gd name="T11" fmla="*/ 0 h 132"/>
                <a:gd name="T12" fmla="*/ 2147483647 w 102"/>
                <a:gd name="T13" fmla="*/ 0 h 132"/>
                <a:gd name="T14" fmla="*/ 2147483647 w 102"/>
                <a:gd name="T15" fmla="*/ 2147483647 h 132"/>
                <a:gd name="T16" fmla="*/ 2147483647 w 102"/>
                <a:gd name="T17" fmla="*/ 2147483647 h 132"/>
                <a:gd name="T18" fmla="*/ 2147483647 w 102"/>
                <a:gd name="T19" fmla="*/ 2147483647 h 132"/>
                <a:gd name="T20" fmla="*/ 2147483647 w 102"/>
                <a:gd name="T21" fmla="*/ 2147483647 h 132"/>
                <a:gd name="T22" fmla="*/ 0 w 102"/>
                <a:gd name="T23" fmla="*/ 2147483647 h 132"/>
                <a:gd name="T24" fmla="*/ 0 w 102"/>
                <a:gd name="T25" fmla="*/ 2147483647 h 132"/>
                <a:gd name="T26" fmla="*/ 2147483647 w 102"/>
                <a:gd name="T27" fmla="*/ 2147483647 h 132"/>
                <a:gd name="T28" fmla="*/ 2147483647 w 102"/>
                <a:gd name="T29" fmla="*/ 2147483647 h 132"/>
                <a:gd name="T30" fmla="*/ 2147483647 w 102"/>
                <a:gd name="T31" fmla="*/ 2147483647 h 132"/>
                <a:gd name="T32" fmla="*/ 2147483647 w 102"/>
                <a:gd name="T33" fmla="*/ 2147483647 h 132"/>
                <a:gd name="T34" fmla="*/ 2147483647 w 102"/>
                <a:gd name="T35" fmla="*/ 2147483647 h 132"/>
                <a:gd name="T36" fmla="*/ 2147483647 w 102"/>
                <a:gd name="T37" fmla="*/ 2147483647 h 132"/>
                <a:gd name="T38" fmla="*/ 2147483647 w 102"/>
                <a:gd name="T39" fmla="*/ 2147483647 h 132"/>
                <a:gd name="T40" fmla="*/ 2147483647 w 102"/>
                <a:gd name="T41" fmla="*/ 2147483647 h 132"/>
                <a:gd name="T42" fmla="*/ 2147483647 w 102"/>
                <a:gd name="T43" fmla="*/ 2147483647 h 132"/>
                <a:gd name="T44" fmla="*/ 2147483647 w 102"/>
                <a:gd name="T45" fmla="*/ 2147483647 h 132"/>
                <a:gd name="T46" fmla="*/ 2147483647 w 102"/>
                <a:gd name="T47" fmla="*/ 2147483647 h 132"/>
                <a:gd name="T48" fmla="*/ 2147483647 w 102"/>
                <a:gd name="T49" fmla="*/ 2147483647 h 1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02"/>
                <a:gd name="T76" fmla="*/ 0 h 132"/>
                <a:gd name="T77" fmla="*/ 102 w 102"/>
                <a:gd name="T78" fmla="*/ 132 h 13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02" h="132">
                  <a:moveTo>
                    <a:pt x="84" y="54"/>
                  </a:moveTo>
                  <a:lnTo>
                    <a:pt x="84" y="30"/>
                  </a:lnTo>
                  <a:lnTo>
                    <a:pt x="90" y="18"/>
                  </a:lnTo>
                  <a:lnTo>
                    <a:pt x="66" y="18"/>
                  </a:lnTo>
                  <a:lnTo>
                    <a:pt x="54" y="6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24" y="12"/>
                  </a:lnTo>
                  <a:lnTo>
                    <a:pt x="18" y="24"/>
                  </a:lnTo>
                  <a:lnTo>
                    <a:pt x="18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84"/>
                  </a:lnTo>
                  <a:lnTo>
                    <a:pt x="12" y="108"/>
                  </a:lnTo>
                  <a:lnTo>
                    <a:pt x="24" y="114"/>
                  </a:lnTo>
                  <a:lnTo>
                    <a:pt x="36" y="126"/>
                  </a:lnTo>
                  <a:lnTo>
                    <a:pt x="54" y="126"/>
                  </a:lnTo>
                  <a:lnTo>
                    <a:pt x="66" y="132"/>
                  </a:lnTo>
                  <a:lnTo>
                    <a:pt x="78" y="132"/>
                  </a:lnTo>
                  <a:lnTo>
                    <a:pt x="90" y="90"/>
                  </a:lnTo>
                  <a:lnTo>
                    <a:pt x="96" y="90"/>
                  </a:lnTo>
                  <a:lnTo>
                    <a:pt x="102" y="84"/>
                  </a:lnTo>
                  <a:lnTo>
                    <a:pt x="96" y="60"/>
                  </a:lnTo>
                  <a:lnTo>
                    <a:pt x="90" y="60"/>
                  </a:lnTo>
                  <a:lnTo>
                    <a:pt x="84" y="5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49" name="Suriname" descr="© INSCALE GmbH, 05.05.2010&#10;http://www.presentationload.com/"/>
            <p:cNvSpPr>
              <a:spLocks/>
            </p:cNvSpPr>
            <p:nvPr/>
          </p:nvSpPr>
          <p:spPr bwMode="gray">
            <a:xfrm>
              <a:off x="3127026" y="4155596"/>
              <a:ext cx="94708" cy="104107"/>
            </a:xfrm>
            <a:custGeom>
              <a:avLst/>
              <a:gdLst>
                <a:gd name="T0" fmla="*/ 2147483647 w 294"/>
                <a:gd name="T1" fmla="*/ 2147483647 h 336"/>
                <a:gd name="T2" fmla="*/ 2147483647 w 294"/>
                <a:gd name="T3" fmla="*/ 2147483647 h 336"/>
                <a:gd name="T4" fmla="*/ 2147483647 w 294"/>
                <a:gd name="T5" fmla="*/ 2147483647 h 336"/>
                <a:gd name="T6" fmla="*/ 0 w 294"/>
                <a:gd name="T7" fmla="*/ 2147483647 h 336"/>
                <a:gd name="T8" fmla="*/ 2147483647 w 294"/>
                <a:gd name="T9" fmla="*/ 2147483647 h 336"/>
                <a:gd name="T10" fmla="*/ 2147483647 w 294"/>
                <a:gd name="T11" fmla="*/ 2147483647 h 336"/>
                <a:gd name="T12" fmla="*/ 2147483647 w 294"/>
                <a:gd name="T13" fmla="*/ 2147483647 h 336"/>
                <a:gd name="T14" fmla="*/ 2147483647 w 294"/>
                <a:gd name="T15" fmla="*/ 2147483647 h 336"/>
                <a:gd name="T16" fmla="*/ 2147483647 w 294"/>
                <a:gd name="T17" fmla="*/ 2147483647 h 336"/>
                <a:gd name="T18" fmla="*/ 2147483647 w 294"/>
                <a:gd name="T19" fmla="*/ 2147483647 h 336"/>
                <a:gd name="T20" fmla="*/ 2147483647 w 294"/>
                <a:gd name="T21" fmla="*/ 2147483647 h 336"/>
                <a:gd name="T22" fmla="*/ 2147483647 w 294"/>
                <a:gd name="T23" fmla="*/ 2147483647 h 336"/>
                <a:gd name="T24" fmla="*/ 2147483647 w 294"/>
                <a:gd name="T25" fmla="*/ 2147483647 h 336"/>
                <a:gd name="T26" fmla="*/ 2147483647 w 294"/>
                <a:gd name="T27" fmla="*/ 2147483647 h 336"/>
                <a:gd name="T28" fmla="*/ 2147483647 w 294"/>
                <a:gd name="T29" fmla="*/ 2147483647 h 336"/>
                <a:gd name="T30" fmla="*/ 2147483647 w 294"/>
                <a:gd name="T31" fmla="*/ 2147483647 h 336"/>
                <a:gd name="T32" fmla="*/ 2147483647 w 294"/>
                <a:gd name="T33" fmla="*/ 2147483647 h 336"/>
                <a:gd name="T34" fmla="*/ 2147483647 w 294"/>
                <a:gd name="T35" fmla="*/ 2147483647 h 336"/>
                <a:gd name="T36" fmla="*/ 2147483647 w 294"/>
                <a:gd name="T37" fmla="*/ 2147483647 h 336"/>
                <a:gd name="T38" fmla="*/ 2147483647 w 294"/>
                <a:gd name="T39" fmla="*/ 2147483647 h 336"/>
                <a:gd name="T40" fmla="*/ 2147483647 w 294"/>
                <a:gd name="T41" fmla="*/ 2147483647 h 336"/>
                <a:gd name="T42" fmla="*/ 2147483647 w 294"/>
                <a:gd name="T43" fmla="*/ 2147483647 h 336"/>
                <a:gd name="T44" fmla="*/ 2147483647 w 294"/>
                <a:gd name="T45" fmla="*/ 2147483647 h 336"/>
                <a:gd name="T46" fmla="*/ 2147483647 w 294"/>
                <a:gd name="T47" fmla="*/ 2147483647 h 336"/>
                <a:gd name="T48" fmla="*/ 2147483647 w 294"/>
                <a:gd name="T49" fmla="*/ 2147483647 h 336"/>
                <a:gd name="T50" fmla="*/ 2147483647 w 294"/>
                <a:gd name="T51" fmla="*/ 2147483647 h 336"/>
                <a:gd name="T52" fmla="*/ 2147483647 w 294"/>
                <a:gd name="T53" fmla="*/ 2147483647 h 336"/>
                <a:gd name="T54" fmla="*/ 2147483647 w 294"/>
                <a:gd name="T55" fmla="*/ 2147483647 h 336"/>
                <a:gd name="T56" fmla="*/ 2147483647 w 294"/>
                <a:gd name="T57" fmla="*/ 2147483647 h 336"/>
                <a:gd name="T58" fmla="*/ 2147483647 w 294"/>
                <a:gd name="T59" fmla="*/ 2147483647 h 336"/>
                <a:gd name="T60" fmla="*/ 2147483647 w 294"/>
                <a:gd name="T61" fmla="*/ 2147483647 h 336"/>
                <a:gd name="T62" fmla="*/ 2147483647 w 294"/>
                <a:gd name="T63" fmla="*/ 2147483647 h 336"/>
                <a:gd name="T64" fmla="*/ 2147483647 w 294"/>
                <a:gd name="T65" fmla="*/ 2147483647 h 336"/>
                <a:gd name="T66" fmla="*/ 2147483647 w 294"/>
                <a:gd name="T67" fmla="*/ 2147483647 h 336"/>
                <a:gd name="T68" fmla="*/ 2147483647 w 294"/>
                <a:gd name="T69" fmla="*/ 2147483647 h 336"/>
                <a:gd name="T70" fmla="*/ 2147483647 w 294"/>
                <a:gd name="T71" fmla="*/ 0 h 336"/>
                <a:gd name="T72" fmla="*/ 2147483647 w 294"/>
                <a:gd name="T73" fmla="*/ 2147483647 h 336"/>
                <a:gd name="T74" fmla="*/ 2147483647 w 294"/>
                <a:gd name="T75" fmla="*/ 2147483647 h 336"/>
                <a:gd name="T76" fmla="*/ 2147483647 w 294"/>
                <a:gd name="T77" fmla="*/ 2147483647 h 336"/>
                <a:gd name="T78" fmla="*/ 2147483647 w 294"/>
                <a:gd name="T79" fmla="*/ 2147483647 h 336"/>
                <a:gd name="T80" fmla="*/ 2147483647 w 294"/>
                <a:gd name="T81" fmla="*/ 2147483647 h 336"/>
                <a:gd name="T82" fmla="*/ 2147483647 w 294"/>
                <a:gd name="T83" fmla="*/ 2147483647 h 3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94"/>
                <a:gd name="T127" fmla="*/ 0 h 336"/>
                <a:gd name="T128" fmla="*/ 294 w 294"/>
                <a:gd name="T129" fmla="*/ 336 h 3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94" h="336">
                  <a:moveTo>
                    <a:pt x="60" y="78"/>
                  </a:moveTo>
                  <a:lnTo>
                    <a:pt x="30" y="78"/>
                  </a:lnTo>
                  <a:lnTo>
                    <a:pt x="18" y="84"/>
                  </a:lnTo>
                  <a:lnTo>
                    <a:pt x="12" y="90"/>
                  </a:lnTo>
                  <a:lnTo>
                    <a:pt x="12" y="132"/>
                  </a:lnTo>
                  <a:lnTo>
                    <a:pt x="6" y="138"/>
                  </a:lnTo>
                  <a:lnTo>
                    <a:pt x="0" y="150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6" y="174"/>
                  </a:lnTo>
                  <a:lnTo>
                    <a:pt x="12" y="174"/>
                  </a:lnTo>
                  <a:lnTo>
                    <a:pt x="12" y="186"/>
                  </a:lnTo>
                  <a:lnTo>
                    <a:pt x="18" y="198"/>
                  </a:lnTo>
                  <a:lnTo>
                    <a:pt x="24" y="204"/>
                  </a:lnTo>
                  <a:lnTo>
                    <a:pt x="30" y="216"/>
                  </a:lnTo>
                  <a:lnTo>
                    <a:pt x="42" y="216"/>
                  </a:lnTo>
                  <a:lnTo>
                    <a:pt x="42" y="210"/>
                  </a:lnTo>
                  <a:lnTo>
                    <a:pt x="54" y="198"/>
                  </a:lnTo>
                  <a:lnTo>
                    <a:pt x="54" y="216"/>
                  </a:lnTo>
                  <a:lnTo>
                    <a:pt x="48" y="222"/>
                  </a:lnTo>
                  <a:lnTo>
                    <a:pt x="48" y="246"/>
                  </a:lnTo>
                  <a:lnTo>
                    <a:pt x="54" y="258"/>
                  </a:lnTo>
                  <a:lnTo>
                    <a:pt x="72" y="276"/>
                  </a:lnTo>
                  <a:lnTo>
                    <a:pt x="78" y="294"/>
                  </a:lnTo>
                  <a:lnTo>
                    <a:pt x="84" y="306"/>
                  </a:lnTo>
                  <a:lnTo>
                    <a:pt x="90" y="312"/>
                  </a:lnTo>
                  <a:lnTo>
                    <a:pt x="90" y="318"/>
                  </a:lnTo>
                  <a:lnTo>
                    <a:pt x="102" y="324"/>
                  </a:lnTo>
                  <a:lnTo>
                    <a:pt x="108" y="324"/>
                  </a:lnTo>
                  <a:lnTo>
                    <a:pt x="132" y="336"/>
                  </a:lnTo>
                  <a:lnTo>
                    <a:pt x="150" y="336"/>
                  </a:lnTo>
                  <a:lnTo>
                    <a:pt x="156" y="330"/>
                  </a:lnTo>
                  <a:lnTo>
                    <a:pt x="150" y="324"/>
                  </a:lnTo>
                  <a:lnTo>
                    <a:pt x="150" y="318"/>
                  </a:lnTo>
                  <a:lnTo>
                    <a:pt x="138" y="306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76"/>
                  </a:lnTo>
                  <a:lnTo>
                    <a:pt x="156" y="288"/>
                  </a:lnTo>
                  <a:lnTo>
                    <a:pt x="180" y="288"/>
                  </a:lnTo>
                  <a:lnTo>
                    <a:pt x="192" y="282"/>
                  </a:lnTo>
                  <a:lnTo>
                    <a:pt x="198" y="276"/>
                  </a:lnTo>
                  <a:lnTo>
                    <a:pt x="210" y="270"/>
                  </a:lnTo>
                  <a:lnTo>
                    <a:pt x="216" y="270"/>
                  </a:lnTo>
                  <a:lnTo>
                    <a:pt x="222" y="282"/>
                  </a:lnTo>
                  <a:lnTo>
                    <a:pt x="228" y="288"/>
                  </a:lnTo>
                  <a:lnTo>
                    <a:pt x="246" y="294"/>
                  </a:lnTo>
                  <a:lnTo>
                    <a:pt x="252" y="282"/>
                  </a:lnTo>
                  <a:lnTo>
                    <a:pt x="258" y="276"/>
                  </a:lnTo>
                  <a:lnTo>
                    <a:pt x="258" y="264"/>
                  </a:lnTo>
                  <a:lnTo>
                    <a:pt x="264" y="264"/>
                  </a:lnTo>
                  <a:lnTo>
                    <a:pt x="276" y="25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98"/>
                  </a:lnTo>
                  <a:lnTo>
                    <a:pt x="282" y="186"/>
                  </a:lnTo>
                  <a:lnTo>
                    <a:pt x="264" y="168"/>
                  </a:lnTo>
                  <a:lnTo>
                    <a:pt x="258" y="156"/>
                  </a:lnTo>
                  <a:lnTo>
                    <a:pt x="258" y="144"/>
                  </a:lnTo>
                  <a:lnTo>
                    <a:pt x="252" y="126"/>
                  </a:lnTo>
                  <a:lnTo>
                    <a:pt x="252" y="96"/>
                  </a:lnTo>
                  <a:lnTo>
                    <a:pt x="258" y="78"/>
                  </a:lnTo>
                  <a:lnTo>
                    <a:pt x="264" y="66"/>
                  </a:lnTo>
                  <a:lnTo>
                    <a:pt x="276" y="60"/>
                  </a:lnTo>
                  <a:lnTo>
                    <a:pt x="282" y="54"/>
                  </a:lnTo>
                  <a:lnTo>
                    <a:pt x="288" y="54"/>
                  </a:lnTo>
                  <a:lnTo>
                    <a:pt x="288" y="30"/>
                  </a:lnTo>
                  <a:lnTo>
                    <a:pt x="294" y="12"/>
                  </a:lnTo>
                  <a:lnTo>
                    <a:pt x="288" y="12"/>
                  </a:lnTo>
                  <a:lnTo>
                    <a:pt x="282" y="6"/>
                  </a:lnTo>
                  <a:lnTo>
                    <a:pt x="270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204" y="12"/>
                  </a:lnTo>
                  <a:lnTo>
                    <a:pt x="156" y="6"/>
                  </a:lnTo>
                  <a:lnTo>
                    <a:pt x="156" y="18"/>
                  </a:lnTo>
                  <a:lnTo>
                    <a:pt x="96" y="0"/>
                  </a:lnTo>
                  <a:lnTo>
                    <a:pt x="72" y="6"/>
                  </a:lnTo>
                  <a:lnTo>
                    <a:pt x="66" y="18"/>
                  </a:lnTo>
                  <a:lnTo>
                    <a:pt x="60" y="24"/>
                  </a:lnTo>
                  <a:lnTo>
                    <a:pt x="54" y="36"/>
                  </a:lnTo>
                  <a:lnTo>
                    <a:pt x="54" y="48"/>
                  </a:lnTo>
                  <a:lnTo>
                    <a:pt x="66" y="60"/>
                  </a:lnTo>
                  <a:lnTo>
                    <a:pt x="66" y="72"/>
                  </a:lnTo>
                  <a:lnTo>
                    <a:pt x="60" y="7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50" name="Sudan" descr="© INSCALE GmbH, 05.05.2010&#10;http://www.presentationload.com/"/>
            <p:cNvSpPr>
              <a:spLocks/>
            </p:cNvSpPr>
            <p:nvPr/>
          </p:nvSpPr>
          <p:spPr bwMode="gray">
            <a:xfrm>
              <a:off x="4969997" y="3726919"/>
              <a:ext cx="377553" cy="491141"/>
            </a:xfrm>
            <a:custGeom>
              <a:avLst/>
              <a:gdLst>
                <a:gd name="T0" fmla="*/ 2147483647 w 1164"/>
                <a:gd name="T1" fmla="*/ 2147483647 h 1584"/>
                <a:gd name="T2" fmla="*/ 2147483647 w 1164"/>
                <a:gd name="T3" fmla="*/ 2147483647 h 1584"/>
                <a:gd name="T4" fmla="*/ 2147483647 w 1164"/>
                <a:gd name="T5" fmla="*/ 2147483647 h 1584"/>
                <a:gd name="T6" fmla="*/ 2147483647 w 1164"/>
                <a:gd name="T7" fmla="*/ 2147483647 h 1584"/>
                <a:gd name="T8" fmla="*/ 2147483647 w 1164"/>
                <a:gd name="T9" fmla="*/ 2147483647 h 1584"/>
                <a:gd name="T10" fmla="*/ 2147483647 w 1164"/>
                <a:gd name="T11" fmla="*/ 2147483647 h 1584"/>
                <a:gd name="T12" fmla="*/ 2147483647 w 1164"/>
                <a:gd name="T13" fmla="*/ 2147483647 h 1584"/>
                <a:gd name="T14" fmla="*/ 2147483647 w 1164"/>
                <a:gd name="T15" fmla="*/ 2147483647 h 1584"/>
                <a:gd name="T16" fmla="*/ 0 w 1164"/>
                <a:gd name="T17" fmla="*/ 2147483647 h 1584"/>
                <a:gd name="T18" fmla="*/ 2147483647 w 1164"/>
                <a:gd name="T19" fmla="*/ 2147483647 h 1584"/>
                <a:gd name="T20" fmla="*/ 2147483647 w 1164"/>
                <a:gd name="T21" fmla="*/ 2147483647 h 1584"/>
                <a:gd name="T22" fmla="*/ 2147483647 w 1164"/>
                <a:gd name="T23" fmla="*/ 2147483647 h 1584"/>
                <a:gd name="T24" fmla="*/ 2147483647 w 1164"/>
                <a:gd name="T25" fmla="*/ 2147483647 h 1584"/>
                <a:gd name="T26" fmla="*/ 2147483647 w 1164"/>
                <a:gd name="T27" fmla="*/ 2147483647 h 1584"/>
                <a:gd name="T28" fmla="*/ 2147483647 w 1164"/>
                <a:gd name="T29" fmla="*/ 2147483647 h 1584"/>
                <a:gd name="T30" fmla="*/ 2147483647 w 1164"/>
                <a:gd name="T31" fmla="*/ 2147483647 h 1584"/>
                <a:gd name="T32" fmla="*/ 2147483647 w 1164"/>
                <a:gd name="T33" fmla="*/ 2147483647 h 1584"/>
                <a:gd name="T34" fmla="*/ 2147483647 w 1164"/>
                <a:gd name="T35" fmla="*/ 2147483647 h 1584"/>
                <a:gd name="T36" fmla="*/ 2147483647 w 1164"/>
                <a:gd name="T37" fmla="*/ 2147483647 h 1584"/>
                <a:gd name="T38" fmla="*/ 2147483647 w 1164"/>
                <a:gd name="T39" fmla="*/ 2147483647 h 1584"/>
                <a:gd name="T40" fmla="*/ 2147483647 w 1164"/>
                <a:gd name="T41" fmla="*/ 2147483647 h 1584"/>
                <a:gd name="T42" fmla="*/ 2147483647 w 1164"/>
                <a:gd name="T43" fmla="*/ 2147483647 h 1584"/>
                <a:gd name="T44" fmla="*/ 2147483647 w 1164"/>
                <a:gd name="T45" fmla="*/ 2147483647 h 1584"/>
                <a:gd name="T46" fmla="*/ 2147483647 w 1164"/>
                <a:gd name="T47" fmla="*/ 2147483647 h 1584"/>
                <a:gd name="T48" fmla="*/ 2147483647 w 1164"/>
                <a:gd name="T49" fmla="*/ 2147483647 h 1584"/>
                <a:gd name="T50" fmla="*/ 2147483647 w 1164"/>
                <a:gd name="T51" fmla="*/ 2147483647 h 1584"/>
                <a:gd name="T52" fmla="*/ 2147483647 w 1164"/>
                <a:gd name="T53" fmla="*/ 2147483647 h 1584"/>
                <a:gd name="T54" fmla="*/ 2147483647 w 1164"/>
                <a:gd name="T55" fmla="*/ 2147483647 h 1584"/>
                <a:gd name="T56" fmla="*/ 2147483647 w 1164"/>
                <a:gd name="T57" fmla="*/ 2147483647 h 1584"/>
                <a:gd name="T58" fmla="*/ 2147483647 w 1164"/>
                <a:gd name="T59" fmla="*/ 2147483647 h 1584"/>
                <a:gd name="T60" fmla="*/ 2147483647 w 1164"/>
                <a:gd name="T61" fmla="*/ 2147483647 h 1584"/>
                <a:gd name="T62" fmla="*/ 2147483647 w 1164"/>
                <a:gd name="T63" fmla="*/ 2147483647 h 1584"/>
                <a:gd name="T64" fmla="*/ 2147483647 w 1164"/>
                <a:gd name="T65" fmla="*/ 2147483647 h 1584"/>
                <a:gd name="T66" fmla="*/ 2147483647 w 1164"/>
                <a:gd name="T67" fmla="*/ 2147483647 h 1584"/>
                <a:gd name="T68" fmla="*/ 2147483647 w 1164"/>
                <a:gd name="T69" fmla="*/ 2147483647 h 1584"/>
                <a:gd name="T70" fmla="*/ 2147483647 w 1164"/>
                <a:gd name="T71" fmla="*/ 2147483647 h 1584"/>
                <a:gd name="T72" fmla="*/ 2147483647 w 1164"/>
                <a:gd name="T73" fmla="*/ 2147483647 h 1584"/>
                <a:gd name="T74" fmla="*/ 2147483647 w 1164"/>
                <a:gd name="T75" fmla="*/ 2147483647 h 1584"/>
                <a:gd name="T76" fmla="*/ 2147483647 w 1164"/>
                <a:gd name="T77" fmla="*/ 2147483647 h 1584"/>
                <a:gd name="T78" fmla="*/ 2147483647 w 1164"/>
                <a:gd name="T79" fmla="*/ 2147483647 h 1584"/>
                <a:gd name="T80" fmla="*/ 2147483647 w 1164"/>
                <a:gd name="T81" fmla="*/ 2147483647 h 1584"/>
                <a:gd name="T82" fmla="*/ 2147483647 w 1164"/>
                <a:gd name="T83" fmla="*/ 2147483647 h 1584"/>
                <a:gd name="T84" fmla="*/ 2147483647 w 1164"/>
                <a:gd name="T85" fmla="*/ 2147483647 h 1584"/>
                <a:gd name="T86" fmla="*/ 2147483647 w 1164"/>
                <a:gd name="T87" fmla="*/ 2147483647 h 1584"/>
                <a:gd name="T88" fmla="*/ 2147483647 w 1164"/>
                <a:gd name="T89" fmla="*/ 2147483647 h 1584"/>
                <a:gd name="T90" fmla="*/ 2147483647 w 1164"/>
                <a:gd name="T91" fmla="*/ 2147483647 h 1584"/>
                <a:gd name="T92" fmla="*/ 2147483647 w 1164"/>
                <a:gd name="T93" fmla="*/ 2147483647 h 1584"/>
                <a:gd name="T94" fmla="*/ 2147483647 w 1164"/>
                <a:gd name="T95" fmla="*/ 2147483647 h 1584"/>
                <a:gd name="T96" fmla="*/ 2147483647 w 1164"/>
                <a:gd name="T97" fmla="*/ 2147483647 h 1584"/>
                <a:gd name="T98" fmla="*/ 2147483647 w 1164"/>
                <a:gd name="T99" fmla="*/ 2147483647 h 1584"/>
                <a:gd name="T100" fmla="*/ 2147483647 w 1164"/>
                <a:gd name="T101" fmla="*/ 2147483647 h 1584"/>
                <a:gd name="T102" fmla="*/ 2147483647 w 1164"/>
                <a:gd name="T103" fmla="*/ 2147483647 h 1584"/>
                <a:gd name="T104" fmla="*/ 2147483647 w 1164"/>
                <a:gd name="T105" fmla="*/ 2147483647 h 1584"/>
                <a:gd name="T106" fmla="*/ 2147483647 w 1164"/>
                <a:gd name="T107" fmla="*/ 2147483647 h 1584"/>
                <a:gd name="T108" fmla="*/ 2147483647 w 1164"/>
                <a:gd name="T109" fmla="*/ 2147483647 h 1584"/>
                <a:gd name="T110" fmla="*/ 2147483647 w 1164"/>
                <a:gd name="T111" fmla="*/ 2147483647 h 158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164"/>
                <a:gd name="T169" fmla="*/ 0 h 1584"/>
                <a:gd name="T170" fmla="*/ 1164 w 1164"/>
                <a:gd name="T171" fmla="*/ 1584 h 1584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164" h="1584">
                  <a:moveTo>
                    <a:pt x="894" y="24"/>
                  </a:moveTo>
                  <a:lnTo>
                    <a:pt x="894" y="48"/>
                  </a:lnTo>
                  <a:lnTo>
                    <a:pt x="888" y="60"/>
                  </a:lnTo>
                  <a:lnTo>
                    <a:pt x="882" y="66"/>
                  </a:lnTo>
                  <a:lnTo>
                    <a:pt x="864" y="66"/>
                  </a:lnTo>
                  <a:lnTo>
                    <a:pt x="858" y="72"/>
                  </a:lnTo>
                  <a:lnTo>
                    <a:pt x="846" y="72"/>
                  </a:lnTo>
                  <a:lnTo>
                    <a:pt x="834" y="84"/>
                  </a:lnTo>
                  <a:lnTo>
                    <a:pt x="822" y="108"/>
                  </a:lnTo>
                  <a:lnTo>
                    <a:pt x="816" y="114"/>
                  </a:lnTo>
                  <a:lnTo>
                    <a:pt x="798" y="114"/>
                  </a:lnTo>
                  <a:lnTo>
                    <a:pt x="792" y="108"/>
                  </a:lnTo>
                  <a:lnTo>
                    <a:pt x="786" y="96"/>
                  </a:lnTo>
                  <a:lnTo>
                    <a:pt x="780" y="90"/>
                  </a:lnTo>
                  <a:lnTo>
                    <a:pt x="660" y="84"/>
                  </a:lnTo>
                  <a:lnTo>
                    <a:pt x="660" y="72"/>
                  </a:lnTo>
                  <a:lnTo>
                    <a:pt x="654" y="72"/>
                  </a:lnTo>
                  <a:lnTo>
                    <a:pt x="636" y="90"/>
                  </a:lnTo>
                  <a:lnTo>
                    <a:pt x="210" y="84"/>
                  </a:lnTo>
                  <a:lnTo>
                    <a:pt x="210" y="246"/>
                  </a:lnTo>
                  <a:lnTo>
                    <a:pt x="138" y="246"/>
                  </a:lnTo>
                  <a:lnTo>
                    <a:pt x="144" y="600"/>
                  </a:lnTo>
                  <a:lnTo>
                    <a:pt x="132" y="600"/>
                  </a:lnTo>
                  <a:lnTo>
                    <a:pt x="120" y="594"/>
                  </a:lnTo>
                  <a:lnTo>
                    <a:pt x="78" y="594"/>
                  </a:lnTo>
                  <a:lnTo>
                    <a:pt x="66" y="606"/>
                  </a:lnTo>
                  <a:lnTo>
                    <a:pt x="72" y="612"/>
                  </a:lnTo>
                  <a:lnTo>
                    <a:pt x="72" y="624"/>
                  </a:lnTo>
                  <a:lnTo>
                    <a:pt x="78" y="630"/>
                  </a:lnTo>
                  <a:lnTo>
                    <a:pt x="78" y="636"/>
                  </a:lnTo>
                  <a:lnTo>
                    <a:pt x="72" y="642"/>
                  </a:lnTo>
                  <a:lnTo>
                    <a:pt x="60" y="648"/>
                  </a:lnTo>
                  <a:lnTo>
                    <a:pt x="48" y="660"/>
                  </a:lnTo>
                  <a:lnTo>
                    <a:pt x="48" y="678"/>
                  </a:lnTo>
                  <a:lnTo>
                    <a:pt x="36" y="678"/>
                  </a:lnTo>
                  <a:lnTo>
                    <a:pt x="42" y="702"/>
                  </a:lnTo>
                  <a:lnTo>
                    <a:pt x="48" y="720"/>
                  </a:lnTo>
                  <a:lnTo>
                    <a:pt x="30" y="732"/>
                  </a:lnTo>
                  <a:lnTo>
                    <a:pt x="12" y="750"/>
                  </a:lnTo>
                  <a:lnTo>
                    <a:pt x="18" y="756"/>
                  </a:lnTo>
                  <a:lnTo>
                    <a:pt x="30" y="780"/>
                  </a:lnTo>
                  <a:lnTo>
                    <a:pt x="30" y="792"/>
                  </a:lnTo>
                  <a:lnTo>
                    <a:pt x="18" y="804"/>
                  </a:lnTo>
                  <a:lnTo>
                    <a:pt x="6" y="810"/>
                  </a:lnTo>
                  <a:lnTo>
                    <a:pt x="0" y="822"/>
                  </a:lnTo>
                  <a:lnTo>
                    <a:pt x="0" y="840"/>
                  </a:lnTo>
                  <a:lnTo>
                    <a:pt x="6" y="846"/>
                  </a:lnTo>
                  <a:lnTo>
                    <a:pt x="18" y="846"/>
                  </a:lnTo>
                  <a:lnTo>
                    <a:pt x="24" y="840"/>
                  </a:lnTo>
                  <a:lnTo>
                    <a:pt x="36" y="840"/>
                  </a:lnTo>
                  <a:lnTo>
                    <a:pt x="42" y="846"/>
                  </a:lnTo>
                  <a:lnTo>
                    <a:pt x="42" y="888"/>
                  </a:lnTo>
                  <a:lnTo>
                    <a:pt x="60" y="900"/>
                  </a:lnTo>
                  <a:lnTo>
                    <a:pt x="42" y="906"/>
                  </a:lnTo>
                  <a:lnTo>
                    <a:pt x="48" y="930"/>
                  </a:lnTo>
                  <a:lnTo>
                    <a:pt x="54" y="930"/>
                  </a:lnTo>
                  <a:lnTo>
                    <a:pt x="66" y="936"/>
                  </a:lnTo>
                  <a:lnTo>
                    <a:pt x="78" y="954"/>
                  </a:lnTo>
                  <a:lnTo>
                    <a:pt x="84" y="960"/>
                  </a:lnTo>
                  <a:lnTo>
                    <a:pt x="84" y="966"/>
                  </a:lnTo>
                  <a:lnTo>
                    <a:pt x="72" y="966"/>
                  </a:lnTo>
                  <a:lnTo>
                    <a:pt x="72" y="990"/>
                  </a:lnTo>
                  <a:lnTo>
                    <a:pt x="102" y="1020"/>
                  </a:lnTo>
                  <a:lnTo>
                    <a:pt x="108" y="1032"/>
                  </a:lnTo>
                  <a:lnTo>
                    <a:pt x="120" y="1044"/>
                  </a:lnTo>
                  <a:lnTo>
                    <a:pt x="126" y="1062"/>
                  </a:lnTo>
                  <a:lnTo>
                    <a:pt x="132" y="1074"/>
                  </a:lnTo>
                  <a:lnTo>
                    <a:pt x="132" y="1104"/>
                  </a:lnTo>
                  <a:lnTo>
                    <a:pt x="126" y="1110"/>
                  </a:lnTo>
                  <a:lnTo>
                    <a:pt x="120" y="1122"/>
                  </a:lnTo>
                  <a:lnTo>
                    <a:pt x="114" y="1128"/>
                  </a:lnTo>
                  <a:lnTo>
                    <a:pt x="114" y="1134"/>
                  </a:lnTo>
                  <a:lnTo>
                    <a:pt x="120" y="1140"/>
                  </a:lnTo>
                  <a:lnTo>
                    <a:pt x="126" y="1140"/>
                  </a:lnTo>
                  <a:lnTo>
                    <a:pt x="120" y="1158"/>
                  </a:lnTo>
                  <a:lnTo>
                    <a:pt x="168" y="1164"/>
                  </a:lnTo>
                  <a:lnTo>
                    <a:pt x="168" y="1194"/>
                  </a:lnTo>
                  <a:lnTo>
                    <a:pt x="192" y="1206"/>
                  </a:lnTo>
                  <a:lnTo>
                    <a:pt x="222" y="1206"/>
                  </a:lnTo>
                  <a:lnTo>
                    <a:pt x="222" y="1224"/>
                  </a:lnTo>
                  <a:lnTo>
                    <a:pt x="228" y="1224"/>
                  </a:lnTo>
                  <a:lnTo>
                    <a:pt x="240" y="1230"/>
                  </a:lnTo>
                  <a:lnTo>
                    <a:pt x="252" y="1242"/>
                  </a:lnTo>
                  <a:lnTo>
                    <a:pt x="252" y="1248"/>
                  </a:lnTo>
                  <a:lnTo>
                    <a:pt x="246" y="1248"/>
                  </a:lnTo>
                  <a:lnTo>
                    <a:pt x="246" y="1254"/>
                  </a:lnTo>
                  <a:lnTo>
                    <a:pt x="240" y="1254"/>
                  </a:lnTo>
                  <a:lnTo>
                    <a:pt x="240" y="1260"/>
                  </a:lnTo>
                  <a:lnTo>
                    <a:pt x="252" y="1272"/>
                  </a:lnTo>
                  <a:lnTo>
                    <a:pt x="264" y="1278"/>
                  </a:lnTo>
                  <a:lnTo>
                    <a:pt x="270" y="1278"/>
                  </a:lnTo>
                  <a:lnTo>
                    <a:pt x="282" y="1284"/>
                  </a:lnTo>
                  <a:lnTo>
                    <a:pt x="294" y="1296"/>
                  </a:lnTo>
                  <a:lnTo>
                    <a:pt x="300" y="1308"/>
                  </a:lnTo>
                  <a:lnTo>
                    <a:pt x="306" y="1314"/>
                  </a:lnTo>
                  <a:lnTo>
                    <a:pt x="306" y="1320"/>
                  </a:lnTo>
                  <a:lnTo>
                    <a:pt x="324" y="1320"/>
                  </a:lnTo>
                  <a:lnTo>
                    <a:pt x="330" y="1326"/>
                  </a:lnTo>
                  <a:lnTo>
                    <a:pt x="330" y="1338"/>
                  </a:lnTo>
                  <a:lnTo>
                    <a:pt x="318" y="1338"/>
                  </a:lnTo>
                  <a:lnTo>
                    <a:pt x="318" y="1344"/>
                  </a:lnTo>
                  <a:lnTo>
                    <a:pt x="330" y="1356"/>
                  </a:lnTo>
                  <a:lnTo>
                    <a:pt x="330" y="1374"/>
                  </a:lnTo>
                  <a:lnTo>
                    <a:pt x="354" y="1380"/>
                  </a:lnTo>
                  <a:lnTo>
                    <a:pt x="360" y="1386"/>
                  </a:lnTo>
                  <a:lnTo>
                    <a:pt x="372" y="1392"/>
                  </a:lnTo>
                  <a:lnTo>
                    <a:pt x="378" y="1398"/>
                  </a:lnTo>
                  <a:lnTo>
                    <a:pt x="384" y="1410"/>
                  </a:lnTo>
                  <a:lnTo>
                    <a:pt x="384" y="1434"/>
                  </a:lnTo>
                  <a:lnTo>
                    <a:pt x="390" y="1446"/>
                  </a:lnTo>
                  <a:lnTo>
                    <a:pt x="420" y="1470"/>
                  </a:lnTo>
                  <a:lnTo>
                    <a:pt x="420" y="1494"/>
                  </a:lnTo>
                  <a:lnTo>
                    <a:pt x="468" y="1518"/>
                  </a:lnTo>
                  <a:lnTo>
                    <a:pt x="474" y="1512"/>
                  </a:lnTo>
                  <a:lnTo>
                    <a:pt x="480" y="1500"/>
                  </a:lnTo>
                  <a:lnTo>
                    <a:pt x="486" y="1494"/>
                  </a:lnTo>
                  <a:lnTo>
                    <a:pt x="498" y="1494"/>
                  </a:lnTo>
                  <a:lnTo>
                    <a:pt x="510" y="1500"/>
                  </a:lnTo>
                  <a:lnTo>
                    <a:pt x="510" y="1506"/>
                  </a:lnTo>
                  <a:lnTo>
                    <a:pt x="522" y="1512"/>
                  </a:lnTo>
                  <a:lnTo>
                    <a:pt x="528" y="1512"/>
                  </a:lnTo>
                  <a:lnTo>
                    <a:pt x="540" y="1500"/>
                  </a:lnTo>
                  <a:lnTo>
                    <a:pt x="540" y="1494"/>
                  </a:lnTo>
                  <a:lnTo>
                    <a:pt x="552" y="1482"/>
                  </a:lnTo>
                  <a:lnTo>
                    <a:pt x="558" y="1488"/>
                  </a:lnTo>
                  <a:lnTo>
                    <a:pt x="570" y="1494"/>
                  </a:lnTo>
                  <a:lnTo>
                    <a:pt x="576" y="1512"/>
                  </a:lnTo>
                  <a:lnTo>
                    <a:pt x="582" y="1524"/>
                  </a:lnTo>
                  <a:lnTo>
                    <a:pt x="594" y="1536"/>
                  </a:lnTo>
                  <a:lnTo>
                    <a:pt x="606" y="1542"/>
                  </a:lnTo>
                  <a:lnTo>
                    <a:pt x="612" y="1548"/>
                  </a:lnTo>
                  <a:lnTo>
                    <a:pt x="618" y="1548"/>
                  </a:lnTo>
                  <a:lnTo>
                    <a:pt x="624" y="1572"/>
                  </a:lnTo>
                  <a:lnTo>
                    <a:pt x="642" y="1572"/>
                  </a:lnTo>
                  <a:lnTo>
                    <a:pt x="660" y="1554"/>
                  </a:lnTo>
                  <a:lnTo>
                    <a:pt x="672" y="1554"/>
                  </a:lnTo>
                  <a:lnTo>
                    <a:pt x="678" y="1560"/>
                  </a:lnTo>
                  <a:lnTo>
                    <a:pt x="690" y="1566"/>
                  </a:lnTo>
                  <a:lnTo>
                    <a:pt x="702" y="1566"/>
                  </a:lnTo>
                  <a:lnTo>
                    <a:pt x="702" y="1560"/>
                  </a:lnTo>
                  <a:lnTo>
                    <a:pt x="708" y="1554"/>
                  </a:lnTo>
                  <a:lnTo>
                    <a:pt x="714" y="1554"/>
                  </a:lnTo>
                  <a:lnTo>
                    <a:pt x="738" y="1584"/>
                  </a:lnTo>
                  <a:lnTo>
                    <a:pt x="756" y="1560"/>
                  </a:lnTo>
                  <a:lnTo>
                    <a:pt x="780" y="1560"/>
                  </a:lnTo>
                  <a:lnTo>
                    <a:pt x="792" y="1548"/>
                  </a:lnTo>
                  <a:lnTo>
                    <a:pt x="804" y="1548"/>
                  </a:lnTo>
                  <a:lnTo>
                    <a:pt x="804" y="1554"/>
                  </a:lnTo>
                  <a:lnTo>
                    <a:pt x="810" y="1560"/>
                  </a:lnTo>
                  <a:lnTo>
                    <a:pt x="834" y="1560"/>
                  </a:lnTo>
                  <a:lnTo>
                    <a:pt x="852" y="1542"/>
                  </a:lnTo>
                  <a:lnTo>
                    <a:pt x="852" y="1536"/>
                  </a:lnTo>
                  <a:lnTo>
                    <a:pt x="858" y="1530"/>
                  </a:lnTo>
                  <a:lnTo>
                    <a:pt x="858" y="1524"/>
                  </a:lnTo>
                  <a:lnTo>
                    <a:pt x="870" y="1524"/>
                  </a:lnTo>
                  <a:lnTo>
                    <a:pt x="888" y="1494"/>
                  </a:lnTo>
                  <a:lnTo>
                    <a:pt x="978" y="1494"/>
                  </a:lnTo>
                  <a:lnTo>
                    <a:pt x="1002" y="1482"/>
                  </a:lnTo>
                  <a:lnTo>
                    <a:pt x="996" y="1464"/>
                  </a:lnTo>
                  <a:lnTo>
                    <a:pt x="996" y="1446"/>
                  </a:lnTo>
                  <a:lnTo>
                    <a:pt x="990" y="1434"/>
                  </a:lnTo>
                  <a:lnTo>
                    <a:pt x="984" y="1428"/>
                  </a:lnTo>
                  <a:lnTo>
                    <a:pt x="966" y="1428"/>
                  </a:lnTo>
                  <a:lnTo>
                    <a:pt x="954" y="1422"/>
                  </a:lnTo>
                  <a:lnTo>
                    <a:pt x="936" y="1386"/>
                  </a:lnTo>
                  <a:lnTo>
                    <a:pt x="936" y="1368"/>
                  </a:lnTo>
                  <a:lnTo>
                    <a:pt x="924" y="1362"/>
                  </a:lnTo>
                  <a:lnTo>
                    <a:pt x="924" y="1326"/>
                  </a:lnTo>
                  <a:lnTo>
                    <a:pt x="912" y="1326"/>
                  </a:lnTo>
                  <a:lnTo>
                    <a:pt x="906" y="1302"/>
                  </a:lnTo>
                  <a:lnTo>
                    <a:pt x="882" y="1302"/>
                  </a:lnTo>
                  <a:lnTo>
                    <a:pt x="876" y="1290"/>
                  </a:lnTo>
                  <a:lnTo>
                    <a:pt x="876" y="1272"/>
                  </a:lnTo>
                  <a:lnTo>
                    <a:pt x="864" y="1266"/>
                  </a:lnTo>
                  <a:lnTo>
                    <a:pt x="858" y="1254"/>
                  </a:lnTo>
                  <a:lnTo>
                    <a:pt x="846" y="1248"/>
                  </a:lnTo>
                  <a:lnTo>
                    <a:pt x="840" y="1242"/>
                  </a:lnTo>
                  <a:lnTo>
                    <a:pt x="816" y="1242"/>
                  </a:lnTo>
                  <a:lnTo>
                    <a:pt x="804" y="1236"/>
                  </a:lnTo>
                  <a:lnTo>
                    <a:pt x="798" y="1236"/>
                  </a:lnTo>
                  <a:lnTo>
                    <a:pt x="798" y="1224"/>
                  </a:lnTo>
                  <a:lnTo>
                    <a:pt x="804" y="1212"/>
                  </a:lnTo>
                  <a:lnTo>
                    <a:pt x="810" y="1206"/>
                  </a:lnTo>
                  <a:lnTo>
                    <a:pt x="804" y="1182"/>
                  </a:lnTo>
                  <a:lnTo>
                    <a:pt x="840" y="1182"/>
                  </a:lnTo>
                  <a:lnTo>
                    <a:pt x="846" y="1188"/>
                  </a:lnTo>
                  <a:lnTo>
                    <a:pt x="852" y="1182"/>
                  </a:lnTo>
                  <a:lnTo>
                    <a:pt x="864" y="1182"/>
                  </a:lnTo>
                  <a:lnTo>
                    <a:pt x="870" y="1176"/>
                  </a:lnTo>
                  <a:lnTo>
                    <a:pt x="870" y="1164"/>
                  </a:lnTo>
                  <a:lnTo>
                    <a:pt x="876" y="1152"/>
                  </a:lnTo>
                  <a:lnTo>
                    <a:pt x="876" y="1116"/>
                  </a:lnTo>
                  <a:lnTo>
                    <a:pt x="870" y="1110"/>
                  </a:lnTo>
                  <a:lnTo>
                    <a:pt x="870" y="1098"/>
                  </a:lnTo>
                  <a:lnTo>
                    <a:pt x="864" y="1086"/>
                  </a:lnTo>
                  <a:lnTo>
                    <a:pt x="864" y="1074"/>
                  </a:lnTo>
                  <a:lnTo>
                    <a:pt x="870" y="1062"/>
                  </a:lnTo>
                  <a:lnTo>
                    <a:pt x="882" y="1056"/>
                  </a:lnTo>
                  <a:lnTo>
                    <a:pt x="888" y="1050"/>
                  </a:lnTo>
                  <a:lnTo>
                    <a:pt x="888" y="1032"/>
                  </a:lnTo>
                  <a:lnTo>
                    <a:pt x="882" y="1020"/>
                  </a:lnTo>
                  <a:lnTo>
                    <a:pt x="882" y="1002"/>
                  </a:lnTo>
                  <a:lnTo>
                    <a:pt x="900" y="984"/>
                  </a:lnTo>
                  <a:lnTo>
                    <a:pt x="906" y="984"/>
                  </a:lnTo>
                  <a:lnTo>
                    <a:pt x="906" y="996"/>
                  </a:lnTo>
                  <a:lnTo>
                    <a:pt x="912" y="1002"/>
                  </a:lnTo>
                  <a:lnTo>
                    <a:pt x="924" y="1002"/>
                  </a:lnTo>
                  <a:lnTo>
                    <a:pt x="930" y="996"/>
                  </a:lnTo>
                  <a:lnTo>
                    <a:pt x="930" y="960"/>
                  </a:lnTo>
                  <a:lnTo>
                    <a:pt x="924" y="954"/>
                  </a:lnTo>
                  <a:lnTo>
                    <a:pt x="924" y="948"/>
                  </a:lnTo>
                  <a:lnTo>
                    <a:pt x="936" y="930"/>
                  </a:lnTo>
                  <a:lnTo>
                    <a:pt x="936" y="906"/>
                  </a:lnTo>
                  <a:lnTo>
                    <a:pt x="942" y="900"/>
                  </a:lnTo>
                  <a:lnTo>
                    <a:pt x="954" y="900"/>
                  </a:lnTo>
                  <a:lnTo>
                    <a:pt x="960" y="894"/>
                  </a:lnTo>
                  <a:lnTo>
                    <a:pt x="960" y="858"/>
                  </a:lnTo>
                  <a:lnTo>
                    <a:pt x="966" y="852"/>
                  </a:lnTo>
                  <a:lnTo>
                    <a:pt x="972" y="840"/>
                  </a:lnTo>
                  <a:lnTo>
                    <a:pt x="978" y="834"/>
                  </a:lnTo>
                  <a:lnTo>
                    <a:pt x="1008" y="834"/>
                  </a:lnTo>
                  <a:lnTo>
                    <a:pt x="1008" y="786"/>
                  </a:lnTo>
                  <a:lnTo>
                    <a:pt x="1014" y="774"/>
                  </a:lnTo>
                  <a:lnTo>
                    <a:pt x="1020" y="768"/>
                  </a:lnTo>
                  <a:lnTo>
                    <a:pt x="1026" y="756"/>
                  </a:lnTo>
                  <a:lnTo>
                    <a:pt x="1032" y="750"/>
                  </a:lnTo>
                  <a:lnTo>
                    <a:pt x="1032" y="708"/>
                  </a:lnTo>
                  <a:lnTo>
                    <a:pt x="1026" y="660"/>
                  </a:lnTo>
                  <a:lnTo>
                    <a:pt x="1020" y="654"/>
                  </a:lnTo>
                  <a:lnTo>
                    <a:pt x="1020" y="636"/>
                  </a:lnTo>
                  <a:lnTo>
                    <a:pt x="1032" y="630"/>
                  </a:lnTo>
                  <a:lnTo>
                    <a:pt x="1038" y="630"/>
                  </a:lnTo>
                  <a:lnTo>
                    <a:pt x="1038" y="594"/>
                  </a:lnTo>
                  <a:lnTo>
                    <a:pt x="1044" y="594"/>
                  </a:lnTo>
                  <a:lnTo>
                    <a:pt x="1050" y="588"/>
                  </a:lnTo>
                  <a:lnTo>
                    <a:pt x="1056" y="576"/>
                  </a:lnTo>
                  <a:lnTo>
                    <a:pt x="1056" y="534"/>
                  </a:lnTo>
                  <a:lnTo>
                    <a:pt x="1050" y="528"/>
                  </a:lnTo>
                  <a:lnTo>
                    <a:pt x="1050" y="516"/>
                  </a:lnTo>
                  <a:lnTo>
                    <a:pt x="1062" y="516"/>
                  </a:lnTo>
                  <a:lnTo>
                    <a:pt x="1068" y="510"/>
                  </a:lnTo>
                  <a:lnTo>
                    <a:pt x="1068" y="492"/>
                  </a:lnTo>
                  <a:lnTo>
                    <a:pt x="1086" y="492"/>
                  </a:lnTo>
                  <a:lnTo>
                    <a:pt x="1092" y="486"/>
                  </a:lnTo>
                  <a:lnTo>
                    <a:pt x="1092" y="480"/>
                  </a:lnTo>
                  <a:lnTo>
                    <a:pt x="1098" y="474"/>
                  </a:lnTo>
                  <a:lnTo>
                    <a:pt x="1098" y="462"/>
                  </a:lnTo>
                  <a:lnTo>
                    <a:pt x="1110" y="462"/>
                  </a:lnTo>
                  <a:lnTo>
                    <a:pt x="1128" y="456"/>
                  </a:lnTo>
                  <a:lnTo>
                    <a:pt x="1152" y="444"/>
                  </a:lnTo>
                  <a:lnTo>
                    <a:pt x="1164" y="420"/>
                  </a:lnTo>
                  <a:lnTo>
                    <a:pt x="1164" y="408"/>
                  </a:lnTo>
                  <a:lnTo>
                    <a:pt x="1128" y="384"/>
                  </a:lnTo>
                  <a:lnTo>
                    <a:pt x="1128" y="378"/>
                  </a:lnTo>
                  <a:lnTo>
                    <a:pt x="1122" y="372"/>
                  </a:lnTo>
                  <a:lnTo>
                    <a:pt x="1122" y="360"/>
                  </a:lnTo>
                  <a:lnTo>
                    <a:pt x="1116" y="354"/>
                  </a:lnTo>
                  <a:lnTo>
                    <a:pt x="1092" y="354"/>
                  </a:lnTo>
                  <a:lnTo>
                    <a:pt x="1080" y="342"/>
                  </a:lnTo>
                  <a:lnTo>
                    <a:pt x="1080" y="330"/>
                  </a:lnTo>
                  <a:lnTo>
                    <a:pt x="1074" y="312"/>
                  </a:lnTo>
                  <a:lnTo>
                    <a:pt x="1074" y="294"/>
                  </a:lnTo>
                  <a:lnTo>
                    <a:pt x="1068" y="282"/>
                  </a:lnTo>
                  <a:lnTo>
                    <a:pt x="1068" y="264"/>
                  </a:lnTo>
                  <a:lnTo>
                    <a:pt x="1062" y="264"/>
                  </a:lnTo>
                  <a:lnTo>
                    <a:pt x="1062" y="240"/>
                  </a:lnTo>
                  <a:lnTo>
                    <a:pt x="1056" y="222"/>
                  </a:lnTo>
                  <a:lnTo>
                    <a:pt x="1056" y="180"/>
                  </a:lnTo>
                  <a:lnTo>
                    <a:pt x="1050" y="168"/>
                  </a:lnTo>
                  <a:lnTo>
                    <a:pt x="1068" y="162"/>
                  </a:lnTo>
                  <a:lnTo>
                    <a:pt x="1038" y="132"/>
                  </a:lnTo>
                  <a:lnTo>
                    <a:pt x="1038" y="90"/>
                  </a:lnTo>
                  <a:lnTo>
                    <a:pt x="1032" y="78"/>
                  </a:lnTo>
                  <a:lnTo>
                    <a:pt x="1026" y="72"/>
                  </a:lnTo>
                  <a:lnTo>
                    <a:pt x="1014" y="66"/>
                  </a:lnTo>
                  <a:lnTo>
                    <a:pt x="984" y="36"/>
                  </a:lnTo>
                  <a:lnTo>
                    <a:pt x="972" y="36"/>
                  </a:lnTo>
                  <a:lnTo>
                    <a:pt x="954" y="18"/>
                  </a:lnTo>
                  <a:lnTo>
                    <a:pt x="948" y="0"/>
                  </a:lnTo>
                  <a:lnTo>
                    <a:pt x="924" y="24"/>
                  </a:lnTo>
                  <a:lnTo>
                    <a:pt x="894" y="24"/>
                  </a:lnTo>
                  <a:close/>
                </a:path>
              </a:pathLst>
            </a:custGeom>
            <a:solidFill>
              <a:srgbClr val="78D2D2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51" name="Sri Lanka" descr="© INSCALE GmbH, 05.05.2010&#10;http://www.presentationload.com/"/>
            <p:cNvSpPr>
              <a:spLocks/>
            </p:cNvSpPr>
            <p:nvPr/>
          </p:nvSpPr>
          <p:spPr bwMode="gray">
            <a:xfrm>
              <a:off x="6302312" y="4063737"/>
              <a:ext cx="55033" cy="95534"/>
            </a:xfrm>
            <a:custGeom>
              <a:avLst/>
              <a:gdLst>
                <a:gd name="T0" fmla="*/ 2147483647 w 174"/>
                <a:gd name="T1" fmla="*/ 2147483647 h 306"/>
                <a:gd name="T2" fmla="*/ 2147483647 w 174"/>
                <a:gd name="T3" fmla="*/ 0 h 306"/>
                <a:gd name="T4" fmla="*/ 2147483647 w 174"/>
                <a:gd name="T5" fmla="*/ 0 h 306"/>
                <a:gd name="T6" fmla="*/ 2147483647 w 174"/>
                <a:gd name="T7" fmla="*/ 2147483647 h 306"/>
                <a:gd name="T8" fmla="*/ 2147483647 w 174"/>
                <a:gd name="T9" fmla="*/ 2147483647 h 306"/>
                <a:gd name="T10" fmla="*/ 2147483647 w 174"/>
                <a:gd name="T11" fmla="*/ 2147483647 h 306"/>
                <a:gd name="T12" fmla="*/ 2147483647 w 174"/>
                <a:gd name="T13" fmla="*/ 2147483647 h 306"/>
                <a:gd name="T14" fmla="*/ 2147483647 w 174"/>
                <a:gd name="T15" fmla="*/ 2147483647 h 306"/>
                <a:gd name="T16" fmla="*/ 2147483647 w 174"/>
                <a:gd name="T17" fmla="*/ 2147483647 h 306"/>
                <a:gd name="T18" fmla="*/ 2147483647 w 174"/>
                <a:gd name="T19" fmla="*/ 2147483647 h 306"/>
                <a:gd name="T20" fmla="*/ 2147483647 w 174"/>
                <a:gd name="T21" fmla="*/ 2147483647 h 306"/>
                <a:gd name="T22" fmla="*/ 2147483647 w 174"/>
                <a:gd name="T23" fmla="*/ 2147483647 h 306"/>
                <a:gd name="T24" fmla="*/ 2147483647 w 174"/>
                <a:gd name="T25" fmla="*/ 2147483647 h 306"/>
                <a:gd name="T26" fmla="*/ 2147483647 w 174"/>
                <a:gd name="T27" fmla="*/ 2147483647 h 306"/>
                <a:gd name="T28" fmla="*/ 2147483647 w 174"/>
                <a:gd name="T29" fmla="*/ 2147483647 h 306"/>
                <a:gd name="T30" fmla="*/ 2147483647 w 174"/>
                <a:gd name="T31" fmla="*/ 2147483647 h 306"/>
                <a:gd name="T32" fmla="*/ 2147483647 w 174"/>
                <a:gd name="T33" fmla="*/ 2147483647 h 306"/>
                <a:gd name="T34" fmla="*/ 2147483647 w 174"/>
                <a:gd name="T35" fmla="*/ 2147483647 h 306"/>
                <a:gd name="T36" fmla="*/ 2147483647 w 174"/>
                <a:gd name="T37" fmla="*/ 2147483647 h 306"/>
                <a:gd name="T38" fmla="*/ 2147483647 w 174"/>
                <a:gd name="T39" fmla="*/ 2147483647 h 306"/>
                <a:gd name="T40" fmla="*/ 0 w 174"/>
                <a:gd name="T41" fmla="*/ 2147483647 h 306"/>
                <a:gd name="T42" fmla="*/ 0 w 174"/>
                <a:gd name="T43" fmla="*/ 2147483647 h 306"/>
                <a:gd name="T44" fmla="*/ 2147483647 w 174"/>
                <a:gd name="T45" fmla="*/ 2147483647 h 306"/>
                <a:gd name="T46" fmla="*/ 2147483647 w 174"/>
                <a:gd name="T47" fmla="*/ 2147483647 h 306"/>
                <a:gd name="T48" fmla="*/ 2147483647 w 174"/>
                <a:gd name="T49" fmla="*/ 2147483647 h 306"/>
                <a:gd name="T50" fmla="*/ 2147483647 w 174"/>
                <a:gd name="T51" fmla="*/ 2147483647 h 306"/>
                <a:gd name="T52" fmla="*/ 2147483647 w 174"/>
                <a:gd name="T53" fmla="*/ 2147483647 h 306"/>
                <a:gd name="T54" fmla="*/ 0 w 174"/>
                <a:gd name="T55" fmla="*/ 2147483647 h 306"/>
                <a:gd name="T56" fmla="*/ 2147483647 w 174"/>
                <a:gd name="T57" fmla="*/ 2147483647 h 306"/>
                <a:gd name="T58" fmla="*/ 2147483647 w 174"/>
                <a:gd name="T59" fmla="*/ 2147483647 h 30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74"/>
                <a:gd name="T91" fmla="*/ 0 h 306"/>
                <a:gd name="T92" fmla="*/ 174 w 174"/>
                <a:gd name="T93" fmla="*/ 306 h 30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74" h="306">
                  <a:moveTo>
                    <a:pt x="24" y="6"/>
                  </a:moveTo>
                  <a:lnTo>
                    <a:pt x="36" y="0"/>
                  </a:lnTo>
                  <a:lnTo>
                    <a:pt x="48" y="0"/>
                  </a:lnTo>
                  <a:lnTo>
                    <a:pt x="66" y="6"/>
                  </a:lnTo>
                  <a:lnTo>
                    <a:pt x="78" y="12"/>
                  </a:lnTo>
                  <a:lnTo>
                    <a:pt x="114" y="66"/>
                  </a:lnTo>
                  <a:lnTo>
                    <a:pt x="132" y="84"/>
                  </a:lnTo>
                  <a:lnTo>
                    <a:pt x="126" y="120"/>
                  </a:lnTo>
                  <a:lnTo>
                    <a:pt x="150" y="114"/>
                  </a:lnTo>
                  <a:lnTo>
                    <a:pt x="156" y="168"/>
                  </a:lnTo>
                  <a:lnTo>
                    <a:pt x="162" y="174"/>
                  </a:lnTo>
                  <a:lnTo>
                    <a:pt x="168" y="198"/>
                  </a:lnTo>
                  <a:lnTo>
                    <a:pt x="174" y="228"/>
                  </a:lnTo>
                  <a:lnTo>
                    <a:pt x="174" y="258"/>
                  </a:lnTo>
                  <a:lnTo>
                    <a:pt x="156" y="276"/>
                  </a:lnTo>
                  <a:lnTo>
                    <a:pt x="120" y="294"/>
                  </a:lnTo>
                  <a:lnTo>
                    <a:pt x="84" y="306"/>
                  </a:lnTo>
                  <a:lnTo>
                    <a:pt x="48" y="306"/>
                  </a:lnTo>
                  <a:lnTo>
                    <a:pt x="24" y="282"/>
                  </a:lnTo>
                  <a:lnTo>
                    <a:pt x="12" y="240"/>
                  </a:lnTo>
                  <a:lnTo>
                    <a:pt x="0" y="192"/>
                  </a:lnTo>
                  <a:lnTo>
                    <a:pt x="0" y="156"/>
                  </a:lnTo>
                  <a:lnTo>
                    <a:pt x="12" y="138"/>
                  </a:lnTo>
                  <a:lnTo>
                    <a:pt x="18" y="132"/>
                  </a:lnTo>
                  <a:lnTo>
                    <a:pt x="24" y="120"/>
                  </a:lnTo>
                  <a:lnTo>
                    <a:pt x="30" y="102"/>
                  </a:lnTo>
                  <a:lnTo>
                    <a:pt x="30" y="78"/>
                  </a:lnTo>
                  <a:lnTo>
                    <a:pt x="0" y="36"/>
                  </a:lnTo>
                  <a:lnTo>
                    <a:pt x="24" y="36"/>
                  </a:lnTo>
                  <a:lnTo>
                    <a:pt x="24" y="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52" name="Spain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4292962" y="3210058"/>
              <a:ext cx="284125" cy="192292"/>
            </a:xfrm>
            <a:custGeom>
              <a:avLst/>
              <a:gdLst>
                <a:gd name="T0" fmla="*/ 2147483647 w 876"/>
                <a:gd name="T1" fmla="*/ 2147483647 h 618"/>
                <a:gd name="T2" fmla="*/ 2147483647 w 876"/>
                <a:gd name="T3" fmla="*/ 2147483647 h 618"/>
                <a:gd name="T4" fmla="*/ 2147483647 w 876"/>
                <a:gd name="T5" fmla="*/ 2147483647 h 618"/>
                <a:gd name="T6" fmla="*/ 2147483647 w 876"/>
                <a:gd name="T7" fmla="*/ 2147483647 h 618"/>
                <a:gd name="T8" fmla="*/ 2147483647 w 876"/>
                <a:gd name="T9" fmla="*/ 2147483647 h 618"/>
                <a:gd name="T10" fmla="*/ 2147483647 w 876"/>
                <a:gd name="T11" fmla="*/ 2147483647 h 618"/>
                <a:gd name="T12" fmla="*/ 2147483647 w 876"/>
                <a:gd name="T13" fmla="*/ 2147483647 h 618"/>
                <a:gd name="T14" fmla="*/ 2147483647 w 876"/>
                <a:gd name="T15" fmla="*/ 2147483647 h 618"/>
                <a:gd name="T16" fmla="*/ 2147483647 w 876"/>
                <a:gd name="T17" fmla="*/ 2147483647 h 618"/>
                <a:gd name="T18" fmla="*/ 2147483647 w 876"/>
                <a:gd name="T19" fmla="*/ 2147483647 h 618"/>
                <a:gd name="T20" fmla="*/ 2147483647 w 876"/>
                <a:gd name="T21" fmla="*/ 2147483647 h 618"/>
                <a:gd name="T22" fmla="*/ 2147483647 w 876"/>
                <a:gd name="T23" fmla="*/ 2147483647 h 618"/>
                <a:gd name="T24" fmla="*/ 2147483647 w 876"/>
                <a:gd name="T25" fmla="*/ 2147483647 h 618"/>
                <a:gd name="T26" fmla="*/ 2147483647 w 876"/>
                <a:gd name="T27" fmla="*/ 2147483647 h 618"/>
                <a:gd name="T28" fmla="*/ 2147483647 w 876"/>
                <a:gd name="T29" fmla="*/ 2147483647 h 618"/>
                <a:gd name="T30" fmla="*/ 2147483647 w 876"/>
                <a:gd name="T31" fmla="*/ 2147483647 h 618"/>
                <a:gd name="T32" fmla="*/ 2147483647 w 876"/>
                <a:gd name="T33" fmla="*/ 2147483647 h 618"/>
                <a:gd name="T34" fmla="*/ 2147483647 w 876"/>
                <a:gd name="T35" fmla="*/ 2147483647 h 618"/>
                <a:gd name="T36" fmla="*/ 2147483647 w 876"/>
                <a:gd name="T37" fmla="*/ 2147483647 h 618"/>
                <a:gd name="T38" fmla="*/ 2147483647 w 876"/>
                <a:gd name="T39" fmla="*/ 2147483647 h 618"/>
                <a:gd name="T40" fmla="*/ 2147483647 w 876"/>
                <a:gd name="T41" fmla="*/ 0 h 618"/>
                <a:gd name="T42" fmla="*/ 2147483647 w 876"/>
                <a:gd name="T43" fmla="*/ 2147483647 h 618"/>
                <a:gd name="T44" fmla="*/ 0 w 876"/>
                <a:gd name="T45" fmla="*/ 2147483647 h 618"/>
                <a:gd name="T46" fmla="*/ 2147483647 w 876"/>
                <a:gd name="T47" fmla="*/ 2147483647 h 618"/>
                <a:gd name="T48" fmla="*/ 2147483647 w 876"/>
                <a:gd name="T49" fmla="*/ 2147483647 h 618"/>
                <a:gd name="T50" fmla="*/ 2147483647 w 876"/>
                <a:gd name="T51" fmla="*/ 2147483647 h 618"/>
                <a:gd name="T52" fmla="*/ 2147483647 w 876"/>
                <a:gd name="T53" fmla="*/ 2147483647 h 618"/>
                <a:gd name="T54" fmla="*/ 2147483647 w 876"/>
                <a:gd name="T55" fmla="*/ 2147483647 h 618"/>
                <a:gd name="T56" fmla="*/ 2147483647 w 876"/>
                <a:gd name="T57" fmla="*/ 2147483647 h 618"/>
                <a:gd name="T58" fmla="*/ 2147483647 w 876"/>
                <a:gd name="T59" fmla="*/ 2147483647 h 618"/>
                <a:gd name="T60" fmla="*/ 2147483647 w 876"/>
                <a:gd name="T61" fmla="*/ 2147483647 h 618"/>
                <a:gd name="T62" fmla="*/ 2147483647 w 876"/>
                <a:gd name="T63" fmla="*/ 2147483647 h 618"/>
                <a:gd name="T64" fmla="*/ 2147483647 w 876"/>
                <a:gd name="T65" fmla="*/ 2147483647 h 618"/>
                <a:gd name="T66" fmla="*/ 2147483647 w 876"/>
                <a:gd name="T67" fmla="*/ 2147483647 h 618"/>
                <a:gd name="T68" fmla="*/ 2147483647 w 876"/>
                <a:gd name="T69" fmla="*/ 2147483647 h 618"/>
                <a:gd name="T70" fmla="*/ 2147483647 w 876"/>
                <a:gd name="T71" fmla="*/ 2147483647 h 618"/>
                <a:gd name="T72" fmla="*/ 2147483647 w 876"/>
                <a:gd name="T73" fmla="*/ 2147483647 h 618"/>
                <a:gd name="T74" fmla="*/ 2147483647 w 876"/>
                <a:gd name="T75" fmla="*/ 2147483647 h 618"/>
                <a:gd name="T76" fmla="*/ 2147483647 w 876"/>
                <a:gd name="T77" fmla="*/ 2147483647 h 618"/>
                <a:gd name="T78" fmla="*/ 2147483647 w 876"/>
                <a:gd name="T79" fmla="*/ 2147483647 h 618"/>
                <a:gd name="T80" fmla="*/ 2147483647 w 876"/>
                <a:gd name="T81" fmla="*/ 2147483647 h 618"/>
                <a:gd name="T82" fmla="*/ 2147483647 w 876"/>
                <a:gd name="T83" fmla="*/ 2147483647 h 618"/>
                <a:gd name="T84" fmla="*/ 2147483647 w 876"/>
                <a:gd name="T85" fmla="*/ 2147483647 h 618"/>
                <a:gd name="T86" fmla="*/ 2147483647 w 876"/>
                <a:gd name="T87" fmla="*/ 2147483647 h 618"/>
                <a:gd name="T88" fmla="*/ 2147483647 w 876"/>
                <a:gd name="T89" fmla="*/ 2147483647 h 618"/>
                <a:gd name="T90" fmla="*/ 2147483647 w 876"/>
                <a:gd name="T91" fmla="*/ 2147483647 h 618"/>
                <a:gd name="T92" fmla="*/ 2147483647 w 876"/>
                <a:gd name="T93" fmla="*/ 2147483647 h 618"/>
                <a:gd name="T94" fmla="*/ 2147483647 w 876"/>
                <a:gd name="T95" fmla="*/ 2147483647 h 618"/>
                <a:gd name="T96" fmla="*/ 2147483647 w 876"/>
                <a:gd name="T97" fmla="*/ 2147483647 h 618"/>
                <a:gd name="T98" fmla="*/ 2147483647 w 876"/>
                <a:gd name="T99" fmla="*/ 2147483647 h 618"/>
                <a:gd name="T100" fmla="*/ 2147483647 w 876"/>
                <a:gd name="T101" fmla="*/ 2147483647 h 618"/>
                <a:gd name="T102" fmla="*/ 2147483647 w 876"/>
                <a:gd name="T103" fmla="*/ 2147483647 h 618"/>
                <a:gd name="T104" fmla="*/ 2147483647 w 876"/>
                <a:gd name="T105" fmla="*/ 2147483647 h 618"/>
                <a:gd name="T106" fmla="*/ 2147483647 w 876"/>
                <a:gd name="T107" fmla="*/ 2147483647 h 618"/>
                <a:gd name="T108" fmla="*/ 2147483647 w 876"/>
                <a:gd name="T109" fmla="*/ 2147483647 h 61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876"/>
                <a:gd name="T166" fmla="*/ 0 h 618"/>
                <a:gd name="T167" fmla="*/ 876 w 876"/>
                <a:gd name="T168" fmla="*/ 618 h 61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876" h="618">
                  <a:moveTo>
                    <a:pt x="804" y="318"/>
                  </a:moveTo>
                  <a:lnTo>
                    <a:pt x="798" y="312"/>
                  </a:lnTo>
                  <a:lnTo>
                    <a:pt x="798" y="306"/>
                  </a:lnTo>
                  <a:lnTo>
                    <a:pt x="786" y="306"/>
                  </a:lnTo>
                  <a:lnTo>
                    <a:pt x="762" y="318"/>
                  </a:lnTo>
                  <a:lnTo>
                    <a:pt x="750" y="330"/>
                  </a:lnTo>
                  <a:lnTo>
                    <a:pt x="750" y="336"/>
                  </a:lnTo>
                  <a:lnTo>
                    <a:pt x="756" y="342"/>
                  </a:lnTo>
                  <a:lnTo>
                    <a:pt x="768" y="342"/>
                  </a:lnTo>
                  <a:lnTo>
                    <a:pt x="774" y="348"/>
                  </a:lnTo>
                  <a:lnTo>
                    <a:pt x="774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816" y="324"/>
                  </a:lnTo>
                  <a:lnTo>
                    <a:pt x="810" y="318"/>
                  </a:lnTo>
                  <a:lnTo>
                    <a:pt x="804" y="318"/>
                  </a:lnTo>
                  <a:close/>
                  <a:moveTo>
                    <a:pt x="672" y="390"/>
                  </a:moveTo>
                  <a:lnTo>
                    <a:pt x="678" y="396"/>
                  </a:lnTo>
                  <a:lnTo>
                    <a:pt x="684" y="396"/>
                  </a:lnTo>
                  <a:lnTo>
                    <a:pt x="690" y="390"/>
                  </a:lnTo>
                  <a:lnTo>
                    <a:pt x="690" y="372"/>
                  </a:lnTo>
                  <a:lnTo>
                    <a:pt x="684" y="372"/>
                  </a:lnTo>
                  <a:lnTo>
                    <a:pt x="672" y="384"/>
                  </a:lnTo>
                  <a:lnTo>
                    <a:pt x="672" y="390"/>
                  </a:lnTo>
                  <a:close/>
                  <a:moveTo>
                    <a:pt x="840" y="300"/>
                  </a:moveTo>
                  <a:lnTo>
                    <a:pt x="840" y="306"/>
                  </a:lnTo>
                  <a:lnTo>
                    <a:pt x="852" y="318"/>
                  </a:lnTo>
                  <a:lnTo>
                    <a:pt x="870" y="318"/>
                  </a:lnTo>
                  <a:lnTo>
                    <a:pt x="876" y="312"/>
                  </a:lnTo>
                  <a:lnTo>
                    <a:pt x="864" y="300"/>
                  </a:lnTo>
                  <a:lnTo>
                    <a:pt x="852" y="300"/>
                  </a:lnTo>
                  <a:lnTo>
                    <a:pt x="846" y="294"/>
                  </a:lnTo>
                  <a:lnTo>
                    <a:pt x="840" y="300"/>
                  </a:lnTo>
                  <a:close/>
                  <a:moveTo>
                    <a:pt x="804" y="150"/>
                  </a:moveTo>
                  <a:lnTo>
                    <a:pt x="798" y="138"/>
                  </a:lnTo>
                  <a:lnTo>
                    <a:pt x="798" y="132"/>
                  </a:lnTo>
                  <a:lnTo>
                    <a:pt x="810" y="120"/>
                  </a:lnTo>
                  <a:lnTo>
                    <a:pt x="798" y="114"/>
                  </a:lnTo>
                  <a:lnTo>
                    <a:pt x="792" y="108"/>
                  </a:lnTo>
                  <a:lnTo>
                    <a:pt x="792" y="102"/>
                  </a:lnTo>
                  <a:lnTo>
                    <a:pt x="780" y="102"/>
                  </a:lnTo>
                  <a:lnTo>
                    <a:pt x="780" y="108"/>
                  </a:lnTo>
                  <a:lnTo>
                    <a:pt x="774" y="114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26" y="108"/>
                  </a:lnTo>
                  <a:lnTo>
                    <a:pt x="726" y="102"/>
                  </a:lnTo>
                  <a:lnTo>
                    <a:pt x="708" y="102"/>
                  </a:lnTo>
                  <a:lnTo>
                    <a:pt x="696" y="108"/>
                  </a:lnTo>
                  <a:lnTo>
                    <a:pt x="690" y="84"/>
                  </a:lnTo>
                  <a:lnTo>
                    <a:pt x="672" y="84"/>
                  </a:lnTo>
                  <a:lnTo>
                    <a:pt x="672" y="78"/>
                  </a:lnTo>
                  <a:lnTo>
                    <a:pt x="666" y="72"/>
                  </a:lnTo>
                  <a:lnTo>
                    <a:pt x="648" y="72"/>
                  </a:lnTo>
                  <a:lnTo>
                    <a:pt x="642" y="78"/>
                  </a:lnTo>
                  <a:lnTo>
                    <a:pt x="642" y="90"/>
                  </a:lnTo>
                  <a:lnTo>
                    <a:pt x="624" y="96"/>
                  </a:lnTo>
                  <a:lnTo>
                    <a:pt x="624" y="84"/>
                  </a:lnTo>
                  <a:lnTo>
                    <a:pt x="594" y="84"/>
                  </a:lnTo>
                  <a:lnTo>
                    <a:pt x="582" y="72"/>
                  </a:lnTo>
                  <a:lnTo>
                    <a:pt x="570" y="72"/>
                  </a:lnTo>
                  <a:lnTo>
                    <a:pt x="564" y="78"/>
                  </a:lnTo>
                  <a:lnTo>
                    <a:pt x="546" y="60"/>
                  </a:lnTo>
                  <a:lnTo>
                    <a:pt x="510" y="60"/>
                  </a:lnTo>
                  <a:lnTo>
                    <a:pt x="516" y="54"/>
                  </a:lnTo>
                  <a:lnTo>
                    <a:pt x="516" y="48"/>
                  </a:lnTo>
                  <a:lnTo>
                    <a:pt x="504" y="36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36"/>
                  </a:lnTo>
                  <a:lnTo>
                    <a:pt x="450" y="36"/>
                  </a:lnTo>
                  <a:lnTo>
                    <a:pt x="390" y="24"/>
                  </a:lnTo>
                  <a:lnTo>
                    <a:pt x="378" y="24"/>
                  </a:lnTo>
                  <a:lnTo>
                    <a:pt x="348" y="36"/>
                  </a:lnTo>
                  <a:lnTo>
                    <a:pt x="294" y="30"/>
                  </a:lnTo>
                  <a:lnTo>
                    <a:pt x="258" y="12"/>
                  </a:lnTo>
                  <a:lnTo>
                    <a:pt x="234" y="12"/>
                  </a:lnTo>
                  <a:lnTo>
                    <a:pt x="216" y="18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6"/>
                  </a:lnTo>
                  <a:lnTo>
                    <a:pt x="72" y="30"/>
                  </a:lnTo>
                  <a:lnTo>
                    <a:pt x="60" y="30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2" y="90"/>
                  </a:lnTo>
                  <a:lnTo>
                    <a:pt x="24" y="96"/>
                  </a:lnTo>
                  <a:lnTo>
                    <a:pt x="30" y="102"/>
                  </a:lnTo>
                  <a:lnTo>
                    <a:pt x="18" y="138"/>
                  </a:lnTo>
                  <a:lnTo>
                    <a:pt x="24" y="144"/>
                  </a:lnTo>
                  <a:lnTo>
                    <a:pt x="24" y="150"/>
                  </a:lnTo>
                  <a:lnTo>
                    <a:pt x="30" y="144"/>
                  </a:lnTo>
                  <a:lnTo>
                    <a:pt x="54" y="132"/>
                  </a:lnTo>
                  <a:lnTo>
                    <a:pt x="78" y="132"/>
                  </a:lnTo>
                  <a:lnTo>
                    <a:pt x="78" y="138"/>
                  </a:lnTo>
                  <a:lnTo>
                    <a:pt x="66" y="150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78" y="15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14" y="156"/>
                  </a:lnTo>
                  <a:lnTo>
                    <a:pt x="120" y="150"/>
                  </a:lnTo>
                  <a:lnTo>
                    <a:pt x="120" y="144"/>
                  </a:lnTo>
                  <a:lnTo>
                    <a:pt x="174" y="144"/>
                  </a:lnTo>
                  <a:lnTo>
                    <a:pt x="174" y="162"/>
                  </a:lnTo>
                  <a:lnTo>
                    <a:pt x="180" y="162"/>
                  </a:lnTo>
                  <a:lnTo>
                    <a:pt x="192" y="168"/>
                  </a:lnTo>
                  <a:lnTo>
                    <a:pt x="192" y="174"/>
                  </a:lnTo>
                  <a:lnTo>
                    <a:pt x="168" y="198"/>
                  </a:lnTo>
                  <a:lnTo>
                    <a:pt x="144" y="210"/>
                  </a:lnTo>
                  <a:lnTo>
                    <a:pt x="138" y="216"/>
                  </a:lnTo>
                  <a:lnTo>
                    <a:pt x="138" y="222"/>
                  </a:lnTo>
                  <a:lnTo>
                    <a:pt x="144" y="222"/>
                  </a:lnTo>
                  <a:lnTo>
                    <a:pt x="150" y="228"/>
                  </a:lnTo>
                  <a:lnTo>
                    <a:pt x="150" y="240"/>
                  </a:lnTo>
                  <a:lnTo>
                    <a:pt x="144" y="258"/>
                  </a:lnTo>
                  <a:lnTo>
                    <a:pt x="144" y="276"/>
                  </a:lnTo>
                  <a:lnTo>
                    <a:pt x="138" y="276"/>
                  </a:lnTo>
                  <a:lnTo>
                    <a:pt x="132" y="282"/>
                  </a:lnTo>
                  <a:lnTo>
                    <a:pt x="132" y="294"/>
                  </a:lnTo>
                  <a:lnTo>
                    <a:pt x="138" y="300"/>
                  </a:lnTo>
                  <a:lnTo>
                    <a:pt x="138" y="312"/>
                  </a:lnTo>
                  <a:lnTo>
                    <a:pt x="126" y="324"/>
                  </a:lnTo>
                  <a:lnTo>
                    <a:pt x="90" y="324"/>
                  </a:lnTo>
                  <a:lnTo>
                    <a:pt x="114" y="348"/>
                  </a:lnTo>
                  <a:lnTo>
                    <a:pt x="114" y="360"/>
                  </a:lnTo>
                  <a:lnTo>
                    <a:pt x="120" y="366"/>
                  </a:lnTo>
                  <a:lnTo>
                    <a:pt x="132" y="372"/>
                  </a:lnTo>
                  <a:lnTo>
                    <a:pt x="132" y="378"/>
                  </a:lnTo>
                  <a:lnTo>
                    <a:pt x="120" y="390"/>
                  </a:lnTo>
                  <a:lnTo>
                    <a:pt x="108" y="396"/>
                  </a:lnTo>
                  <a:lnTo>
                    <a:pt x="96" y="408"/>
                  </a:lnTo>
                  <a:lnTo>
                    <a:pt x="96" y="414"/>
                  </a:lnTo>
                  <a:lnTo>
                    <a:pt x="102" y="420"/>
                  </a:lnTo>
                  <a:lnTo>
                    <a:pt x="102" y="426"/>
                  </a:lnTo>
                  <a:lnTo>
                    <a:pt x="108" y="438"/>
                  </a:lnTo>
                  <a:lnTo>
                    <a:pt x="114" y="444"/>
                  </a:lnTo>
                  <a:lnTo>
                    <a:pt x="126" y="444"/>
                  </a:lnTo>
                  <a:lnTo>
                    <a:pt x="126" y="450"/>
                  </a:lnTo>
                  <a:lnTo>
                    <a:pt x="114" y="462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90" y="480"/>
                  </a:lnTo>
                  <a:lnTo>
                    <a:pt x="90" y="528"/>
                  </a:lnTo>
                  <a:lnTo>
                    <a:pt x="120" y="528"/>
                  </a:lnTo>
                  <a:lnTo>
                    <a:pt x="144" y="546"/>
                  </a:lnTo>
                  <a:lnTo>
                    <a:pt x="162" y="546"/>
                  </a:lnTo>
                  <a:lnTo>
                    <a:pt x="156" y="576"/>
                  </a:lnTo>
                  <a:lnTo>
                    <a:pt x="162" y="576"/>
                  </a:lnTo>
                  <a:lnTo>
                    <a:pt x="162" y="594"/>
                  </a:lnTo>
                  <a:lnTo>
                    <a:pt x="168" y="606"/>
                  </a:lnTo>
                  <a:lnTo>
                    <a:pt x="174" y="612"/>
                  </a:lnTo>
                  <a:lnTo>
                    <a:pt x="192" y="612"/>
                  </a:lnTo>
                  <a:lnTo>
                    <a:pt x="198" y="618"/>
                  </a:lnTo>
                  <a:lnTo>
                    <a:pt x="204" y="618"/>
                  </a:lnTo>
                  <a:lnTo>
                    <a:pt x="210" y="612"/>
                  </a:lnTo>
                  <a:lnTo>
                    <a:pt x="222" y="606"/>
                  </a:lnTo>
                  <a:lnTo>
                    <a:pt x="240" y="588"/>
                  </a:lnTo>
                  <a:lnTo>
                    <a:pt x="252" y="582"/>
                  </a:lnTo>
                  <a:lnTo>
                    <a:pt x="264" y="582"/>
                  </a:lnTo>
                  <a:lnTo>
                    <a:pt x="294" y="564"/>
                  </a:lnTo>
                  <a:lnTo>
                    <a:pt x="360" y="564"/>
                  </a:lnTo>
                  <a:lnTo>
                    <a:pt x="366" y="558"/>
                  </a:lnTo>
                  <a:lnTo>
                    <a:pt x="378" y="558"/>
                  </a:lnTo>
                  <a:lnTo>
                    <a:pt x="390" y="570"/>
                  </a:lnTo>
                  <a:lnTo>
                    <a:pt x="396" y="570"/>
                  </a:lnTo>
                  <a:lnTo>
                    <a:pt x="408" y="564"/>
                  </a:lnTo>
                  <a:lnTo>
                    <a:pt x="420" y="564"/>
                  </a:lnTo>
                  <a:lnTo>
                    <a:pt x="426" y="558"/>
                  </a:lnTo>
                  <a:lnTo>
                    <a:pt x="432" y="558"/>
                  </a:lnTo>
                  <a:lnTo>
                    <a:pt x="432" y="570"/>
                  </a:lnTo>
                  <a:lnTo>
                    <a:pt x="438" y="570"/>
                  </a:lnTo>
                  <a:lnTo>
                    <a:pt x="450" y="558"/>
                  </a:lnTo>
                  <a:lnTo>
                    <a:pt x="462" y="534"/>
                  </a:lnTo>
                  <a:lnTo>
                    <a:pt x="462" y="522"/>
                  </a:lnTo>
                  <a:lnTo>
                    <a:pt x="498" y="492"/>
                  </a:lnTo>
                  <a:lnTo>
                    <a:pt x="528" y="492"/>
                  </a:lnTo>
                  <a:lnTo>
                    <a:pt x="534" y="474"/>
                  </a:lnTo>
                  <a:lnTo>
                    <a:pt x="534" y="468"/>
                  </a:lnTo>
                  <a:lnTo>
                    <a:pt x="540" y="462"/>
                  </a:lnTo>
                  <a:lnTo>
                    <a:pt x="540" y="450"/>
                  </a:lnTo>
                  <a:lnTo>
                    <a:pt x="546" y="444"/>
                  </a:lnTo>
                  <a:lnTo>
                    <a:pt x="552" y="432"/>
                  </a:lnTo>
                  <a:lnTo>
                    <a:pt x="552" y="426"/>
                  </a:lnTo>
                  <a:lnTo>
                    <a:pt x="570" y="426"/>
                  </a:lnTo>
                  <a:lnTo>
                    <a:pt x="594" y="414"/>
                  </a:lnTo>
                  <a:lnTo>
                    <a:pt x="600" y="408"/>
                  </a:lnTo>
                  <a:lnTo>
                    <a:pt x="594" y="396"/>
                  </a:lnTo>
                  <a:lnTo>
                    <a:pt x="588" y="390"/>
                  </a:lnTo>
                  <a:lnTo>
                    <a:pt x="582" y="378"/>
                  </a:lnTo>
                  <a:lnTo>
                    <a:pt x="576" y="372"/>
                  </a:lnTo>
                  <a:lnTo>
                    <a:pt x="570" y="372"/>
                  </a:lnTo>
                  <a:lnTo>
                    <a:pt x="570" y="336"/>
                  </a:lnTo>
                  <a:lnTo>
                    <a:pt x="582" y="312"/>
                  </a:lnTo>
                  <a:lnTo>
                    <a:pt x="594" y="306"/>
                  </a:lnTo>
                  <a:lnTo>
                    <a:pt x="600" y="294"/>
                  </a:lnTo>
                  <a:lnTo>
                    <a:pt x="612" y="282"/>
                  </a:lnTo>
                  <a:lnTo>
                    <a:pt x="618" y="270"/>
                  </a:lnTo>
                  <a:lnTo>
                    <a:pt x="630" y="258"/>
                  </a:lnTo>
                  <a:lnTo>
                    <a:pt x="642" y="258"/>
                  </a:lnTo>
                  <a:lnTo>
                    <a:pt x="654" y="246"/>
                  </a:lnTo>
                  <a:lnTo>
                    <a:pt x="654" y="240"/>
                  </a:lnTo>
                  <a:lnTo>
                    <a:pt x="648" y="240"/>
                  </a:lnTo>
                  <a:lnTo>
                    <a:pt x="648" y="228"/>
                  </a:lnTo>
                  <a:lnTo>
                    <a:pt x="654" y="222"/>
                  </a:lnTo>
                  <a:lnTo>
                    <a:pt x="726" y="198"/>
                  </a:lnTo>
                  <a:lnTo>
                    <a:pt x="750" y="186"/>
                  </a:lnTo>
                  <a:lnTo>
                    <a:pt x="756" y="174"/>
                  </a:lnTo>
                  <a:lnTo>
                    <a:pt x="768" y="168"/>
                  </a:lnTo>
                  <a:lnTo>
                    <a:pt x="774" y="168"/>
                  </a:lnTo>
                  <a:lnTo>
                    <a:pt x="786" y="156"/>
                  </a:lnTo>
                  <a:lnTo>
                    <a:pt x="798" y="156"/>
                  </a:lnTo>
                  <a:lnTo>
                    <a:pt x="804" y="15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53" name="Somalia" descr="© INSCALE GmbH, 05.05.2010&#10;http://www.presentationload.com/"/>
            <p:cNvSpPr>
              <a:spLocks/>
            </p:cNvSpPr>
            <p:nvPr/>
          </p:nvSpPr>
          <p:spPr bwMode="gray">
            <a:xfrm>
              <a:off x="5414102" y="4003722"/>
              <a:ext cx="231651" cy="342941"/>
            </a:xfrm>
            <a:custGeom>
              <a:avLst/>
              <a:gdLst>
                <a:gd name="T0" fmla="*/ 2147483647 w 714"/>
                <a:gd name="T1" fmla="*/ 2147483647 h 1104"/>
                <a:gd name="T2" fmla="*/ 2147483647 w 714"/>
                <a:gd name="T3" fmla="*/ 2147483647 h 1104"/>
                <a:gd name="T4" fmla="*/ 2147483647 w 714"/>
                <a:gd name="T5" fmla="*/ 2147483647 h 1104"/>
                <a:gd name="T6" fmla="*/ 2147483647 w 714"/>
                <a:gd name="T7" fmla="*/ 2147483647 h 1104"/>
                <a:gd name="T8" fmla="*/ 2147483647 w 714"/>
                <a:gd name="T9" fmla="*/ 2147483647 h 1104"/>
                <a:gd name="T10" fmla="*/ 2147483647 w 714"/>
                <a:gd name="T11" fmla="*/ 2147483647 h 1104"/>
                <a:gd name="T12" fmla="*/ 2147483647 w 714"/>
                <a:gd name="T13" fmla="*/ 2147483647 h 1104"/>
                <a:gd name="T14" fmla="*/ 2147483647 w 714"/>
                <a:gd name="T15" fmla="*/ 2147483647 h 1104"/>
                <a:gd name="T16" fmla="*/ 2147483647 w 714"/>
                <a:gd name="T17" fmla="*/ 2147483647 h 1104"/>
                <a:gd name="T18" fmla="*/ 2147483647 w 714"/>
                <a:gd name="T19" fmla="*/ 2147483647 h 1104"/>
                <a:gd name="T20" fmla="*/ 2147483647 w 714"/>
                <a:gd name="T21" fmla="*/ 2147483647 h 1104"/>
                <a:gd name="T22" fmla="*/ 2147483647 w 714"/>
                <a:gd name="T23" fmla="*/ 2147483647 h 1104"/>
                <a:gd name="T24" fmla="*/ 0 w 714"/>
                <a:gd name="T25" fmla="*/ 2147483647 h 1104"/>
                <a:gd name="T26" fmla="*/ 2147483647 w 714"/>
                <a:gd name="T27" fmla="*/ 2147483647 h 1104"/>
                <a:gd name="T28" fmla="*/ 2147483647 w 714"/>
                <a:gd name="T29" fmla="*/ 2147483647 h 1104"/>
                <a:gd name="T30" fmla="*/ 2147483647 w 714"/>
                <a:gd name="T31" fmla="*/ 2147483647 h 1104"/>
                <a:gd name="T32" fmla="*/ 2147483647 w 714"/>
                <a:gd name="T33" fmla="*/ 2147483647 h 1104"/>
                <a:gd name="T34" fmla="*/ 2147483647 w 714"/>
                <a:gd name="T35" fmla="*/ 2147483647 h 1104"/>
                <a:gd name="T36" fmla="*/ 2147483647 w 714"/>
                <a:gd name="T37" fmla="*/ 2147483647 h 1104"/>
                <a:gd name="T38" fmla="*/ 2147483647 w 714"/>
                <a:gd name="T39" fmla="*/ 2147483647 h 1104"/>
                <a:gd name="T40" fmla="*/ 2147483647 w 714"/>
                <a:gd name="T41" fmla="*/ 2147483647 h 1104"/>
                <a:gd name="T42" fmla="*/ 2147483647 w 714"/>
                <a:gd name="T43" fmla="*/ 2147483647 h 1104"/>
                <a:gd name="T44" fmla="*/ 2147483647 w 714"/>
                <a:gd name="T45" fmla="*/ 2147483647 h 1104"/>
                <a:gd name="T46" fmla="*/ 2147483647 w 714"/>
                <a:gd name="T47" fmla="*/ 2147483647 h 1104"/>
                <a:gd name="T48" fmla="*/ 2147483647 w 714"/>
                <a:gd name="T49" fmla="*/ 2147483647 h 1104"/>
                <a:gd name="T50" fmla="*/ 2147483647 w 714"/>
                <a:gd name="T51" fmla="*/ 2147483647 h 1104"/>
                <a:gd name="T52" fmla="*/ 2147483647 w 714"/>
                <a:gd name="T53" fmla="*/ 2147483647 h 1104"/>
                <a:gd name="T54" fmla="*/ 2147483647 w 714"/>
                <a:gd name="T55" fmla="*/ 2147483647 h 1104"/>
                <a:gd name="T56" fmla="*/ 2147483647 w 714"/>
                <a:gd name="T57" fmla="*/ 2147483647 h 1104"/>
                <a:gd name="T58" fmla="*/ 2147483647 w 714"/>
                <a:gd name="T59" fmla="*/ 2147483647 h 1104"/>
                <a:gd name="T60" fmla="*/ 2147483647 w 714"/>
                <a:gd name="T61" fmla="*/ 2147483647 h 1104"/>
                <a:gd name="T62" fmla="*/ 2147483647 w 714"/>
                <a:gd name="T63" fmla="*/ 2147483647 h 1104"/>
                <a:gd name="T64" fmla="*/ 2147483647 w 714"/>
                <a:gd name="T65" fmla="*/ 2147483647 h 1104"/>
                <a:gd name="T66" fmla="*/ 2147483647 w 714"/>
                <a:gd name="T67" fmla="*/ 2147483647 h 1104"/>
                <a:gd name="T68" fmla="*/ 2147483647 w 714"/>
                <a:gd name="T69" fmla="*/ 2147483647 h 1104"/>
                <a:gd name="T70" fmla="*/ 2147483647 w 714"/>
                <a:gd name="T71" fmla="*/ 2147483647 h 1104"/>
                <a:gd name="T72" fmla="*/ 2147483647 w 714"/>
                <a:gd name="T73" fmla="*/ 2147483647 h 1104"/>
                <a:gd name="T74" fmla="*/ 2147483647 w 714"/>
                <a:gd name="T75" fmla="*/ 2147483647 h 1104"/>
                <a:gd name="T76" fmla="*/ 2147483647 w 714"/>
                <a:gd name="T77" fmla="*/ 2147483647 h 1104"/>
                <a:gd name="T78" fmla="*/ 2147483647 w 714"/>
                <a:gd name="T79" fmla="*/ 2147483647 h 1104"/>
                <a:gd name="T80" fmla="*/ 2147483647 w 714"/>
                <a:gd name="T81" fmla="*/ 2147483647 h 1104"/>
                <a:gd name="T82" fmla="*/ 2147483647 w 714"/>
                <a:gd name="T83" fmla="*/ 2147483647 h 1104"/>
                <a:gd name="T84" fmla="*/ 2147483647 w 714"/>
                <a:gd name="T85" fmla="*/ 2147483647 h 1104"/>
                <a:gd name="T86" fmla="*/ 2147483647 w 714"/>
                <a:gd name="T87" fmla="*/ 2147483647 h 110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14"/>
                <a:gd name="T133" fmla="*/ 0 h 1104"/>
                <a:gd name="T134" fmla="*/ 714 w 714"/>
                <a:gd name="T135" fmla="*/ 1104 h 110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14" h="1104">
                  <a:moveTo>
                    <a:pt x="108" y="114"/>
                  </a:moveTo>
                  <a:lnTo>
                    <a:pt x="120" y="126"/>
                  </a:lnTo>
                  <a:lnTo>
                    <a:pt x="120" y="138"/>
                  </a:lnTo>
                  <a:lnTo>
                    <a:pt x="126" y="150"/>
                  </a:lnTo>
                  <a:lnTo>
                    <a:pt x="132" y="156"/>
                  </a:lnTo>
                  <a:lnTo>
                    <a:pt x="138" y="168"/>
                  </a:lnTo>
                  <a:lnTo>
                    <a:pt x="144" y="174"/>
                  </a:lnTo>
                  <a:lnTo>
                    <a:pt x="156" y="198"/>
                  </a:lnTo>
                  <a:lnTo>
                    <a:pt x="162" y="204"/>
                  </a:lnTo>
                  <a:lnTo>
                    <a:pt x="162" y="210"/>
                  </a:lnTo>
                  <a:lnTo>
                    <a:pt x="186" y="210"/>
                  </a:lnTo>
                  <a:lnTo>
                    <a:pt x="192" y="222"/>
                  </a:lnTo>
                  <a:lnTo>
                    <a:pt x="198" y="228"/>
                  </a:lnTo>
                  <a:lnTo>
                    <a:pt x="204" y="240"/>
                  </a:lnTo>
                  <a:lnTo>
                    <a:pt x="240" y="258"/>
                  </a:lnTo>
                  <a:lnTo>
                    <a:pt x="312" y="282"/>
                  </a:lnTo>
                  <a:lnTo>
                    <a:pt x="336" y="288"/>
                  </a:lnTo>
                  <a:lnTo>
                    <a:pt x="348" y="294"/>
                  </a:lnTo>
                  <a:lnTo>
                    <a:pt x="366" y="300"/>
                  </a:lnTo>
                  <a:lnTo>
                    <a:pt x="378" y="312"/>
                  </a:lnTo>
                  <a:lnTo>
                    <a:pt x="414" y="330"/>
                  </a:lnTo>
                  <a:lnTo>
                    <a:pt x="486" y="324"/>
                  </a:lnTo>
                  <a:lnTo>
                    <a:pt x="276" y="570"/>
                  </a:lnTo>
                  <a:lnTo>
                    <a:pt x="192" y="570"/>
                  </a:lnTo>
                  <a:lnTo>
                    <a:pt x="186" y="576"/>
                  </a:lnTo>
                  <a:lnTo>
                    <a:pt x="174" y="576"/>
                  </a:lnTo>
                  <a:lnTo>
                    <a:pt x="162" y="582"/>
                  </a:lnTo>
                  <a:lnTo>
                    <a:pt x="156" y="588"/>
                  </a:lnTo>
                  <a:lnTo>
                    <a:pt x="144" y="594"/>
                  </a:lnTo>
                  <a:lnTo>
                    <a:pt x="144" y="606"/>
                  </a:lnTo>
                  <a:lnTo>
                    <a:pt x="126" y="624"/>
                  </a:lnTo>
                  <a:lnTo>
                    <a:pt x="102" y="624"/>
                  </a:lnTo>
                  <a:lnTo>
                    <a:pt x="90" y="630"/>
                  </a:lnTo>
                  <a:lnTo>
                    <a:pt x="78" y="630"/>
                  </a:lnTo>
                  <a:lnTo>
                    <a:pt x="66" y="642"/>
                  </a:lnTo>
                  <a:lnTo>
                    <a:pt x="66" y="654"/>
                  </a:lnTo>
                  <a:lnTo>
                    <a:pt x="60" y="660"/>
                  </a:lnTo>
                  <a:lnTo>
                    <a:pt x="42" y="696"/>
                  </a:lnTo>
                  <a:lnTo>
                    <a:pt x="0" y="738"/>
                  </a:lnTo>
                  <a:lnTo>
                    <a:pt x="0" y="1038"/>
                  </a:lnTo>
                  <a:lnTo>
                    <a:pt x="42" y="1104"/>
                  </a:lnTo>
                  <a:lnTo>
                    <a:pt x="48" y="1086"/>
                  </a:lnTo>
                  <a:lnTo>
                    <a:pt x="84" y="1032"/>
                  </a:lnTo>
                  <a:lnTo>
                    <a:pt x="96" y="1008"/>
                  </a:lnTo>
                  <a:lnTo>
                    <a:pt x="114" y="996"/>
                  </a:lnTo>
                  <a:lnTo>
                    <a:pt x="144" y="966"/>
                  </a:lnTo>
                  <a:lnTo>
                    <a:pt x="150" y="954"/>
                  </a:lnTo>
                  <a:lnTo>
                    <a:pt x="162" y="936"/>
                  </a:lnTo>
                  <a:lnTo>
                    <a:pt x="192" y="906"/>
                  </a:lnTo>
                  <a:lnTo>
                    <a:pt x="216" y="876"/>
                  </a:lnTo>
                  <a:lnTo>
                    <a:pt x="246" y="846"/>
                  </a:lnTo>
                  <a:lnTo>
                    <a:pt x="264" y="840"/>
                  </a:lnTo>
                  <a:lnTo>
                    <a:pt x="276" y="828"/>
                  </a:lnTo>
                  <a:lnTo>
                    <a:pt x="294" y="816"/>
                  </a:lnTo>
                  <a:lnTo>
                    <a:pt x="318" y="804"/>
                  </a:lnTo>
                  <a:lnTo>
                    <a:pt x="336" y="786"/>
                  </a:lnTo>
                  <a:lnTo>
                    <a:pt x="372" y="756"/>
                  </a:lnTo>
                  <a:lnTo>
                    <a:pt x="420" y="708"/>
                  </a:lnTo>
                  <a:lnTo>
                    <a:pt x="438" y="684"/>
                  </a:lnTo>
                  <a:lnTo>
                    <a:pt x="462" y="654"/>
                  </a:lnTo>
                  <a:lnTo>
                    <a:pt x="492" y="618"/>
                  </a:lnTo>
                  <a:lnTo>
                    <a:pt x="516" y="570"/>
                  </a:lnTo>
                  <a:lnTo>
                    <a:pt x="528" y="540"/>
                  </a:lnTo>
                  <a:lnTo>
                    <a:pt x="546" y="516"/>
                  </a:lnTo>
                  <a:lnTo>
                    <a:pt x="558" y="498"/>
                  </a:lnTo>
                  <a:lnTo>
                    <a:pt x="564" y="492"/>
                  </a:lnTo>
                  <a:lnTo>
                    <a:pt x="570" y="480"/>
                  </a:lnTo>
                  <a:lnTo>
                    <a:pt x="576" y="474"/>
                  </a:lnTo>
                  <a:lnTo>
                    <a:pt x="576" y="450"/>
                  </a:lnTo>
                  <a:lnTo>
                    <a:pt x="582" y="432"/>
                  </a:lnTo>
                  <a:lnTo>
                    <a:pt x="588" y="420"/>
                  </a:lnTo>
                  <a:lnTo>
                    <a:pt x="588" y="402"/>
                  </a:lnTo>
                  <a:lnTo>
                    <a:pt x="594" y="390"/>
                  </a:lnTo>
                  <a:lnTo>
                    <a:pt x="606" y="378"/>
                  </a:lnTo>
                  <a:lnTo>
                    <a:pt x="612" y="366"/>
                  </a:lnTo>
                  <a:lnTo>
                    <a:pt x="624" y="354"/>
                  </a:lnTo>
                  <a:lnTo>
                    <a:pt x="624" y="324"/>
                  </a:lnTo>
                  <a:lnTo>
                    <a:pt x="636" y="318"/>
                  </a:lnTo>
                  <a:lnTo>
                    <a:pt x="642" y="306"/>
                  </a:lnTo>
                  <a:lnTo>
                    <a:pt x="660" y="252"/>
                  </a:lnTo>
                  <a:lnTo>
                    <a:pt x="672" y="252"/>
                  </a:lnTo>
                  <a:lnTo>
                    <a:pt x="672" y="246"/>
                  </a:lnTo>
                  <a:lnTo>
                    <a:pt x="684" y="234"/>
                  </a:lnTo>
                  <a:lnTo>
                    <a:pt x="684" y="138"/>
                  </a:lnTo>
                  <a:lnTo>
                    <a:pt x="708" y="126"/>
                  </a:lnTo>
                  <a:lnTo>
                    <a:pt x="702" y="54"/>
                  </a:lnTo>
                  <a:lnTo>
                    <a:pt x="708" y="42"/>
                  </a:lnTo>
                  <a:lnTo>
                    <a:pt x="708" y="36"/>
                  </a:lnTo>
                  <a:lnTo>
                    <a:pt x="714" y="24"/>
                  </a:lnTo>
                  <a:lnTo>
                    <a:pt x="714" y="12"/>
                  </a:lnTo>
                  <a:lnTo>
                    <a:pt x="690" y="0"/>
                  </a:lnTo>
                  <a:lnTo>
                    <a:pt x="672" y="0"/>
                  </a:lnTo>
                  <a:lnTo>
                    <a:pt x="666" y="12"/>
                  </a:lnTo>
                  <a:lnTo>
                    <a:pt x="654" y="18"/>
                  </a:lnTo>
                  <a:lnTo>
                    <a:pt x="648" y="30"/>
                  </a:lnTo>
                  <a:lnTo>
                    <a:pt x="624" y="42"/>
                  </a:lnTo>
                  <a:lnTo>
                    <a:pt x="612" y="42"/>
                  </a:lnTo>
                  <a:lnTo>
                    <a:pt x="594" y="48"/>
                  </a:lnTo>
                  <a:lnTo>
                    <a:pt x="582" y="54"/>
                  </a:lnTo>
                  <a:lnTo>
                    <a:pt x="564" y="54"/>
                  </a:lnTo>
                  <a:lnTo>
                    <a:pt x="546" y="48"/>
                  </a:lnTo>
                  <a:lnTo>
                    <a:pt x="534" y="42"/>
                  </a:lnTo>
                  <a:lnTo>
                    <a:pt x="516" y="48"/>
                  </a:lnTo>
                  <a:lnTo>
                    <a:pt x="510" y="54"/>
                  </a:lnTo>
                  <a:lnTo>
                    <a:pt x="498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74" y="78"/>
                  </a:lnTo>
                  <a:lnTo>
                    <a:pt x="462" y="72"/>
                  </a:lnTo>
                  <a:lnTo>
                    <a:pt x="456" y="60"/>
                  </a:lnTo>
                  <a:lnTo>
                    <a:pt x="444" y="60"/>
                  </a:lnTo>
                  <a:lnTo>
                    <a:pt x="438" y="66"/>
                  </a:lnTo>
                  <a:lnTo>
                    <a:pt x="426" y="72"/>
                  </a:lnTo>
                  <a:lnTo>
                    <a:pt x="396" y="102"/>
                  </a:lnTo>
                  <a:lnTo>
                    <a:pt x="384" y="108"/>
                  </a:lnTo>
                  <a:lnTo>
                    <a:pt x="372" y="108"/>
                  </a:lnTo>
                  <a:lnTo>
                    <a:pt x="360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0" y="90"/>
                  </a:lnTo>
                  <a:lnTo>
                    <a:pt x="306" y="102"/>
                  </a:lnTo>
                  <a:lnTo>
                    <a:pt x="294" y="114"/>
                  </a:lnTo>
                  <a:lnTo>
                    <a:pt x="270" y="126"/>
                  </a:lnTo>
                  <a:lnTo>
                    <a:pt x="210" y="126"/>
                  </a:lnTo>
                  <a:lnTo>
                    <a:pt x="192" y="108"/>
                  </a:lnTo>
                  <a:lnTo>
                    <a:pt x="186" y="96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8" y="66"/>
                  </a:lnTo>
                  <a:lnTo>
                    <a:pt x="156" y="54"/>
                  </a:lnTo>
                  <a:lnTo>
                    <a:pt x="150" y="54"/>
                  </a:lnTo>
                  <a:lnTo>
                    <a:pt x="126" y="78"/>
                  </a:lnTo>
                  <a:lnTo>
                    <a:pt x="108" y="11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54" name="Solomon Islands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8077451" y="4471591"/>
              <a:ext cx="120305" cy="109006"/>
            </a:xfrm>
            <a:custGeom>
              <a:avLst/>
              <a:gdLst>
                <a:gd name="T0" fmla="*/ 2147483647 w 372"/>
                <a:gd name="T1" fmla="*/ 0 h 348"/>
                <a:gd name="T2" fmla="*/ 2147483647 w 372"/>
                <a:gd name="T3" fmla="*/ 2147483647 h 348"/>
                <a:gd name="T4" fmla="*/ 0 w 372"/>
                <a:gd name="T5" fmla="*/ 2147483647 h 348"/>
                <a:gd name="T6" fmla="*/ 2147483647 w 372"/>
                <a:gd name="T7" fmla="*/ 2147483647 h 348"/>
                <a:gd name="T8" fmla="*/ 0 w 372"/>
                <a:gd name="T9" fmla="*/ 2147483647 h 348"/>
                <a:gd name="T10" fmla="*/ 2147483647 w 372"/>
                <a:gd name="T11" fmla="*/ 2147483647 h 348"/>
                <a:gd name="T12" fmla="*/ 2147483647 w 372"/>
                <a:gd name="T13" fmla="*/ 2147483647 h 348"/>
                <a:gd name="T14" fmla="*/ 2147483647 w 372"/>
                <a:gd name="T15" fmla="*/ 2147483647 h 348"/>
                <a:gd name="T16" fmla="*/ 2147483647 w 372"/>
                <a:gd name="T17" fmla="*/ 2147483647 h 348"/>
                <a:gd name="T18" fmla="*/ 2147483647 w 372"/>
                <a:gd name="T19" fmla="*/ 2147483647 h 348"/>
                <a:gd name="T20" fmla="*/ 2147483647 w 372"/>
                <a:gd name="T21" fmla="*/ 2147483647 h 348"/>
                <a:gd name="T22" fmla="*/ 2147483647 w 372"/>
                <a:gd name="T23" fmla="*/ 2147483647 h 348"/>
                <a:gd name="T24" fmla="*/ 2147483647 w 372"/>
                <a:gd name="T25" fmla="*/ 2147483647 h 348"/>
                <a:gd name="T26" fmla="*/ 2147483647 w 372"/>
                <a:gd name="T27" fmla="*/ 2147483647 h 348"/>
                <a:gd name="T28" fmla="*/ 2147483647 w 372"/>
                <a:gd name="T29" fmla="*/ 2147483647 h 348"/>
                <a:gd name="T30" fmla="*/ 2147483647 w 372"/>
                <a:gd name="T31" fmla="*/ 2147483647 h 348"/>
                <a:gd name="T32" fmla="*/ 2147483647 w 372"/>
                <a:gd name="T33" fmla="*/ 2147483647 h 348"/>
                <a:gd name="T34" fmla="*/ 2147483647 w 372"/>
                <a:gd name="T35" fmla="*/ 2147483647 h 348"/>
                <a:gd name="T36" fmla="*/ 2147483647 w 372"/>
                <a:gd name="T37" fmla="*/ 2147483647 h 348"/>
                <a:gd name="T38" fmla="*/ 2147483647 w 372"/>
                <a:gd name="T39" fmla="*/ 2147483647 h 348"/>
                <a:gd name="T40" fmla="*/ 2147483647 w 372"/>
                <a:gd name="T41" fmla="*/ 2147483647 h 348"/>
                <a:gd name="T42" fmla="*/ 2147483647 w 372"/>
                <a:gd name="T43" fmla="*/ 2147483647 h 348"/>
                <a:gd name="T44" fmla="*/ 2147483647 w 372"/>
                <a:gd name="T45" fmla="*/ 2147483647 h 348"/>
                <a:gd name="T46" fmla="*/ 2147483647 w 372"/>
                <a:gd name="T47" fmla="*/ 2147483647 h 348"/>
                <a:gd name="T48" fmla="*/ 2147483647 w 372"/>
                <a:gd name="T49" fmla="*/ 2147483647 h 348"/>
                <a:gd name="T50" fmla="*/ 2147483647 w 372"/>
                <a:gd name="T51" fmla="*/ 2147483647 h 348"/>
                <a:gd name="T52" fmla="*/ 2147483647 w 372"/>
                <a:gd name="T53" fmla="*/ 2147483647 h 348"/>
                <a:gd name="T54" fmla="*/ 2147483647 w 372"/>
                <a:gd name="T55" fmla="*/ 2147483647 h 348"/>
                <a:gd name="T56" fmla="*/ 2147483647 w 372"/>
                <a:gd name="T57" fmla="*/ 2147483647 h 348"/>
                <a:gd name="T58" fmla="*/ 2147483647 w 372"/>
                <a:gd name="T59" fmla="*/ 2147483647 h 348"/>
                <a:gd name="T60" fmla="*/ 2147483647 w 372"/>
                <a:gd name="T61" fmla="*/ 2147483647 h 348"/>
                <a:gd name="T62" fmla="*/ 2147483647 w 372"/>
                <a:gd name="T63" fmla="*/ 2147483647 h 34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372"/>
                <a:gd name="T97" fmla="*/ 0 h 348"/>
                <a:gd name="T98" fmla="*/ 372 w 372"/>
                <a:gd name="T99" fmla="*/ 348 h 348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372" h="348">
                  <a:moveTo>
                    <a:pt x="30" y="18"/>
                  </a:moveTo>
                  <a:lnTo>
                    <a:pt x="12" y="0"/>
                  </a:lnTo>
                  <a:lnTo>
                    <a:pt x="6" y="24"/>
                  </a:lnTo>
                  <a:lnTo>
                    <a:pt x="24" y="48"/>
                  </a:lnTo>
                  <a:lnTo>
                    <a:pt x="30" y="18"/>
                  </a:lnTo>
                  <a:close/>
                  <a:moveTo>
                    <a:pt x="0" y="126"/>
                  </a:moveTo>
                  <a:lnTo>
                    <a:pt x="18" y="132"/>
                  </a:lnTo>
                  <a:lnTo>
                    <a:pt x="36" y="102"/>
                  </a:lnTo>
                  <a:lnTo>
                    <a:pt x="0" y="102"/>
                  </a:lnTo>
                  <a:lnTo>
                    <a:pt x="0" y="126"/>
                  </a:lnTo>
                  <a:close/>
                  <a:moveTo>
                    <a:pt x="78" y="120"/>
                  </a:moveTo>
                  <a:lnTo>
                    <a:pt x="36" y="120"/>
                  </a:lnTo>
                  <a:lnTo>
                    <a:pt x="42" y="144"/>
                  </a:lnTo>
                  <a:lnTo>
                    <a:pt x="78" y="132"/>
                  </a:lnTo>
                  <a:lnTo>
                    <a:pt x="78" y="120"/>
                  </a:lnTo>
                  <a:close/>
                  <a:moveTo>
                    <a:pt x="60" y="186"/>
                  </a:moveTo>
                  <a:lnTo>
                    <a:pt x="96" y="186"/>
                  </a:lnTo>
                  <a:lnTo>
                    <a:pt x="48" y="150"/>
                  </a:lnTo>
                  <a:lnTo>
                    <a:pt x="60" y="186"/>
                  </a:lnTo>
                  <a:close/>
                  <a:moveTo>
                    <a:pt x="246" y="222"/>
                  </a:moveTo>
                  <a:lnTo>
                    <a:pt x="222" y="210"/>
                  </a:lnTo>
                  <a:lnTo>
                    <a:pt x="192" y="210"/>
                  </a:lnTo>
                  <a:lnTo>
                    <a:pt x="192" y="228"/>
                  </a:lnTo>
                  <a:lnTo>
                    <a:pt x="198" y="234"/>
                  </a:lnTo>
                  <a:lnTo>
                    <a:pt x="204" y="246"/>
                  </a:lnTo>
                  <a:lnTo>
                    <a:pt x="216" y="252"/>
                  </a:lnTo>
                  <a:lnTo>
                    <a:pt x="252" y="264"/>
                  </a:lnTo>
                  <a:lnTo>
                    <a:pt x="264" y="264"/>
                  </a:lnTo>
                  <a:lnTo>
                    <a:pt x="276" y="258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64" y="234"/>
                  </a:lnTo>
                  <a:lnTo>
                    <a:pt x="246" y="222"/>
                  </a:lnTo>
                  <a:close/>
                  <a:moveTo>
                    <a:pt x="312" y="288"/>
                  </a:moveTo>
                  <a:lnTo>
                    <a:pt x="360" y="348"/>
                  </a:lnTo>
                  <a:lnTo>
                    <a:pt x="372" y="318"/>
                  </a:lnTo>
                  <a:lnTo>
                    <a:pt x="312" y="288"/>
                  </a:lnTo>
                  <a:close/>
                  <a:moveTo>
                    <a:pt x="288" y="126"/>
                  </a:moveTo>
                  <a:lnTo>
                    <a:pt x="288" y="132"/>
                  </a:lnTo>
                  <a:lnTo>
                    <a:pt x="282" y="138"/>
                  </a:lnTo>
                  <a:lnTo>
                    <a:pt x="282" y="150"/>
                  </a:lnTo>
                  <a:lnTo>
                    <a:pt x="276" y="162"/>
                  </a:lnTo>
                  <a:lnTo>
                    <a:pt x="276" y="192"/>
                  </a:lnTo>
                  <a:lnTo>
                    <a:pt x="312" y="228"/>
                  </a:lnTo>
                  <a:lnTo>
                    <a:pt x="324" y="234"/>
                  </a:lnTo>
                  <a:lnTo>
                    <a:pt x="330" y="240"/>
                  </a:lnTo>
                  <a:lnTo>
                    <a:pt x="288" y="126"/>
                  </a:lnTo>
                  <a:close/>
                  <a:moveTo>
                    <a:pt x="120" y="60"/>
                  </a:moveTo>
                  <a:lnTo>
                    <a:pt x="120" y="66"/>
                  </a:lnTo>
                  <a:lnTo>
                    <a:pt x="126" y="78"/>
                  </a:lnTo>
                  <a:lnTo>
                    <a:pt x="138" y="90"/>
                  </a:lnTo>
                  <a:lnTo>
                    <a:pt x="150" y="108"/>
                  </a:lnTo>
                  <a:lnTo>
                    <a:pt x="168" y="120"/>
                  </a:lnTo>
                  <a:lnTo>
                    <a:pt x="192" y="144"/>
                  </a:lnTo>
                  <a:lnTo>
                    <a:pt x="204" y="150"/>
                  </a:lnTo>
                  <a:lnTo>
                    <a:pt x="216" y="150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8" y="120"/>
                  </a:lnTo>
                  <a:lnTo>
                    <a:pt x="186" y="108"/>
                  </a:lnTo>
                  <a:lnTo>
                    <a:pt x="174" y="90"/>
                  </a:lnTo>
                  <a:lnTo>
                    <a:pt x="156" y="78"/>
                  </a:lnTo>
                  <a:lnTo>
                    <a:pt x="144" y="66"/>
                  </a:lnTo>
                  <a:lnTo>
                    <a:pt x="132" y="60"/>
                  </a:lnTo>
                  <a:lnTo>
                    <a:pt x="120" y="6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55" name="Slovenia" descr="© INSCALE GmbH, 05.05.2010&#10;http://www.presentationload.com/"/>
            <p:cNvSpPr>
              <a:spLocks/>
            </p:cNvSpPr>
            <p:nvPr/>
          </p:nvSpPr>
          <p:spPr bwMode="gray">
            <a:xfrm>
              <a:off x="4765223" y="3131672"/>
              <a:ext cx="69112" cy="36744"/>
            </a:xfrm>
            <a:custGeom>
              <a:avLst/>
              <a:gdLst>
                <a:gd name="T0" fmla="*/ 2147483647 w 210"/>
                <a:gd name="T1" fmla="*/ 2147483647 h 120"/>
                <a:gd name="T2" fmla="*/ 2147483647 w 210"/>
                <a:gd name="T3" fmla="*/ 2147483647 h 120"/>
                <a:gd name="T4" fmla="*/ 2147483647 w 210"/>
                <a:gd name="T5" fmla="*/ 2147483647 h 120"/>
                <a:gd name="T6" fmla="*/ 2147483647 w 210"/>
                <a:gd name="T7" fmla="*/ 2147483647 h 120"/>
                <a:gd name="T8" fmla="*/ 2147483647 w 210"/>
                <a:gd name="T9" fmla="*/ 2147483647 h 120"/>
                <a:gd name="T10" fmla="*/ 2147483647 w 210"/>
                <a:gd name="T11" fmla="*/ 2147483647 h 120"/>
                <a:gd name="T12" fmla="*/ 2147483647 w 210"/>
                <a:gd name="T13" fmla="*/ 2147483647 h 120"/>
                <a:gd name="T14" fmla="*/ 2147483647 w 210"/>
                <a:gd name="T15" fmla="*/ 2147483647 h 120"/>
                <a:gd name="T16" fmla="*/ 2147483647 w 210"/>
                <a:gd name="T17" fmla="*/ 2147483647 h 120"/>
                <a:gd name="T18" fmla="*/ 2147483647 w 210"/>
                <a:gd name="T19" fmla="*/ 2147483647 h 120"/>
                <a:gd name="T20" fmla="*/ 2147483647 w 210"/>
                <a:gd name="T21" fmla="*/ 2147483647 h 120"/>
                <a:gd name="T22" fmla="*/ 2147483647 w 210"/>
                <a:gd name="T23" fmla="*/ 2147483647 h 120"/>
                <a:gd name="T24" fmla="*/ 2147483647 w 210"/>
                <a:gd name="T25" fmla="*/ 2147483647 h 120"/>
                <a:gd name="T26" fmla="*/ 2147483647 w 210"/>
                <a:gd name="T27" fmla="*/ 2147483647 h 120"/>
                <a:gd name="T28" fmla="*/ 2147483647 w 210"/>
                <a:gd name="T29" fmla="*/ 2147483647 h 120"/>
                <a:gd name="T30" fmla="*/ 2147483647 w 210"/>
                <a:gd name="T31" fmla="*/ 2147483647 h 120"/>
                <a:gd name="T32" fmla="*/ 2147483647 w 210"/>
                <a:gd name="T33" fmla="*/ 2147483647 h 120"/>
                <a:gd name="T34" fmla="*/ 2147483647 w 210"/>
                <a:gd name="T35" fmla="*/ 2147483647 h 120"/>
                <a:gd name="T36" fmla="*/ 2147483647 w 210"/>
                <a:gd name="T37" fmla="*/ 2147483647 h 120"/>
                <a:gd name="T38" fmla="*/ 2147483647 w 210"/>
                <a:gd name="T39" fmla="*/ 2147483647 h 120"/>
                <a:gd name="T40" fmla="*/ 2147483647 w 210"/>
                <a:gd name="T41" fmla="*/ 2147483647 h 120"/>
                <a:gd name="T42" fmla="*/ 2147483647 w 210"/>
                <a:gd name="T43" fmla="*/ 0 h 120"/>
                <a:gd name="T44" fmla="*/ 2147483647 w 210"/>
                <a:gd name="T45" fmla="*/ 2147483647 h 120"/>
                <a:gd name="T46" fmla="*/ 2147483647 w 210"/>
                <a:gd name="T47" fmla="*/ 2147483647 h 120"/>
                <a:gd name="T48" fmla="*/ 2147483647 w 210"/>
                <a:gd name="T49" fmla="*/ 2147483647 h 120"/>
                <a:gd name="T50" fmla="*/ 2147483647 w 210"/>
                <a:gd name="T51" fmla="*/ 2147483647 h 120"/>
                <a:gd name="T52" fmla="*/ 2147483647 w 210"/>
                <a:gd name="T53" fmla="*/ 2147483647 h 120"/>
                <a:gd name="T54" fmla="*/ 2147483647 w 210"/>
                <a:gd name="T55" fmla="*/ 2147483647 h 120"/>
                <a:gd name="T56" fmla="*/ 2147483647 w 210"/>
                <a:gd name="T57" fmla="*/ 2147483647 h 120"/>
                <a:gd name="T58" fmla="*/ 2147483647 w 210"/>
                <a:gd name="T59" fmla="*/ 2147483647 h 120"/>
                <a:gd name="T60" fmla="*/ 2147483647 w 210"/>
                <a:gd name="T61" fmla="*/ 2147483647 h 120"/>
                <a:gd name="T62" fmla="*/ 2147483647 w 210"/>
                <a:gd name="T63" fmla="*/ 2147483647 h 120"/>
                <a:gd name="T64" fmla="*/ 2147483647 w 210"/>
                <a:gd name="T65" fmla="*/ 2147483647 h 120"/>
                <a:gd name="T66" fmla="*/ 2147483647 w 210"/>
                <a:gd name="T67" fmla="*/ 2147483647 h 120"/>
                <a:gd name="T68" fmla="*/ 0 w 210"/>
                <a:gd name="T69" fmla="*/ 2147483647 h 120"/>
                <a:gd name="T70" fmla="*/ 2147483647 w 210"/>
                <a:gd name="T71" fmla="*/ 2147483647 h 120"/>
                <a:gd name="T72" fmla="*/ 2147483647 w 210"/>
                <a:gd name="T73" fmla="*/ 2147483647 h 120"/>
                <a:gd name="T74" fmla="*/ 2147483647 w 210"/>
                <a:gd name="T75" fmla="*/ 2147483647 h 120"/>
                <a:gd name="T76" fmla="*/ 2147483647 w 210"/>
                <a:gd name="T77" fmla="*/ 2147483647 h 120"/>
                <a:gd name="T78" fmla="*/ 2147483647 w 210"/>
                <a:gd name="T79" fmla="*/ 2147483647 h 120"/>
                <a:gd name="T80" fmla="*/ 2147483647 w 210"/>
                <a:gd name="T81" fmla="*/ 2147483647 h 120"/>
                <a:gd name="T82" fmla="*/ 2147483647 w 210"/>
                <a:gd name="T83" fmla="*/ 2147483647 h 120"/>
                <a:gd name="T84" fmla="*/ 2147483647 w 210"/>
                <a:gd name="T85" fmla="*/ 2147483647 h 120"/>
                <a:gd name="T86" fmla="*/ 2147483647 w 210"/>
                <a:gd name="T87" fmla="*/ 2147483647 h 12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120"/>
                <a:gd name="T134" fmla="*/ 210 w 210"/>
                <a:gd name="T135" fmla="*/ 120 h 12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120">
                  <a:moveTo>
                    <a:pt x="24" y="120"/>
                  </a:moveTo>
                  <a:lnTo>
                    <a:pt x="42" y="120"/>
                  </a:lnTo>
                  <a:lnTo>
                    <a:pt x="42" y="108"/>
                  </a:lnTo>
                  <a:lnTo>
                    <a:pt x="54" y="114"/>
                  </a:lnTo>
                  <a:lnTo>
                    <a:pt x="72" y="114"/>
                  </a:lnTo>
                  <a:lnTo>
                    <a:pt x="78" y="102"/>
                  </a:lnTo>
                  <a:lnTo>
                    <a:pt x="78" y="108"/>
                  </a:lnTo>
                  <a:lnTo>
                    <a:pt x="84" y="114"/>
                  </a:lnTo>
                  <a:lnTo>
                    <a:pt x="126" y="114"/>
                  </a:lnTo>
                  <a:lnTo>
                    <a:pt x="126" y="96"/>
                  </a:lnTo>
                  <a:lnTo>
                    <a:pt x="138" y="90"/>
                  </a:lnTo>
                  <a:lnTo>
                    <a:pt x="150" y="78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54"/>
                  </a:lnTo>
                  <a:lnTo>
                    <a:pt x="174" y="54"/>
                  </a:lnTo>
                  <a:lnTo>
                    <a:pt x="186" y="48"/>
                  </a:lnTo>
                  <a:lnTo>
                    <a:pt x="186" y="36"/>
                  </a:lnTo>
                  <a:lnTo>
                    <a:pt x="210" y="36"/>
                  </a:lnTo>
                  <a:lnTo>
                    <a:pt x="192" y="24"/>
                  </a:lnTo>
                  <a:lnTo>
                    <a:pt x="186" y="6"/>
                  </a:lnTo>
                  <a:lnTo>
                    <a:pt x="180" y="0"/>
                  </a:lnTo>
                  <a:lnTo>
                    <a:pt x="174" y="12"/>
                  </a:lnTo>
                  <a:lnTo>
                    <a:pt x="168" y="30"/>
                  </a:lnTo>
                  <a:lnTo>
                    <a:pt x="144" y="24"/>
                  </a:lnTo>
                  <a:lnTo>
                    <a:pt x="132" y="30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54" y="42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12" y="60"/>
                  </a:lnTo>
                  <a:lnTo>
                    <a:pt x="6" y="96"/>
                  </a:lnTo>
                  <a:lnTo>
                    <a:pt x="18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30" y="108"/>
                  </a:lnTo>
                  <a:lnTo>
                    <a:pt x="30" y="114"/>
                  </a:lnTo>
                  <a:lnTo>
                    <a:pt x="24" y="12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56" name="Slovakia" descr="© INSCALE GmbH, 05.05.2010&#10;http://www.presentationload.com/"/>
            <p:cNvSpPr>
              <a:spLocks/>
            </p:cNvSpPr>
            <p:nvPr/>
          </p:nvSpPr>
          <p:spPr bwMode="gray">
            <a:xfrm>
              <a:off x="4835614" y="3067983"/>
              <a:ext cx="115185" cy="45317"/>
            </a:xfrm>
            <a:custGeom>
              <a:avLst/>
              <a:gdLst>
                <a:gd name="T0" fmla="*/ 2147483647 w 354"/>
                <a:gd name="T1" fmla="*/ 2147483647 h 144"/>
                <a:gd name="T2" fmla="*/ 2147483647 w 354"/>
                <a:gd name="T3" fmla="*/ 2147483647 h 144"/>
                <a:gd name="T4" fmla="*/ 2147483647 w 354"/>
                <a:gd name="T5" fmla="*/ 2147483647 h 144"/>
                <a:gd name="T6" fmla="*/ 2147483647 w 354"/>
                <a:gd name="T7" fmla="*/ 2147483647 h 144"/>
                <a:gd name="T8" fmla="*/ 2147483647 w 354"/>
                <a:gd name="T9" fmla="*/ 2147483647 h 144"/>
                <a:gd name="T10" fmla="*/ 2147483647 w 354"/>
                <a:gd name="T11" fmla="*/ 2147483647 h 144"/>
                <a:gd name="T12" fmla="*/ 2147483647 w 354"/>
                <a:gd name="T13" fmla="*/ 2147483647 h 144"/>
                <a:gd name="T14" fmla="*/ 2147483647 w 354"/>
                <a:gd name="T15" fmla="*/ 0 h 144"/>
                <a:gd name="T16" fmla="*/ 2147483647 w 354"/>
                <a:gd name="T17" fmla="*/ 2147483647 h 144"/>
                <a:gd name="T18" fmla="*/ 2147483647 w 354"/>
                <a:gd name="T19" fmla="*/ 0 h 144"/>
                <a:gd name="T20" fmla="*/ 2147483647 w 354"/>
                <a:gd name="T21" fmla="*/ 2147483647 h 144"/>
                <a:gd name="T22" fmla="*/ 2147483647 w 354"/>
                <a:gd name="T23" fmla="*/ 2147483647 h 144"/>
                <a:gd name="T24" fmla="*/ 2147483647 w 354"/>
                <a:gd name="T25" fmla="*/ 2147483647 h 144"/>
                <a:gd name="T26" fmla="*/ 2147483647 w 354"/>
                <a:gd name="T27" fmla="*/ 2147483647 h 144"/>
                <a:gd name="T28" fmla="*/ 2147483647 w 354"/>
                <a:gd name="T29" fmla="*/ 2147483647 h 144"/>
                <a:gd name="T30" fmla="*/ 0 w 354"/>
                <a:gd name="T31" fmla="*/ 2147483647 h 144"/>
                <a:gd name="T32" fmla="*/ 2147483647 w 354"/>
                <a:gd name="T33" fmla="*/ 2147483647 h 144"/>
                <a:gd name="T34" fmla="*/ 2147483647 w 354"/>
                <a:gd name="T35" fmla="*/ 2147483647 h 144"/>
                <a:gd name="T36" fmla="*/ 2147483647 w 354"/>
                <a:gd name="T37" fmla="*/ 2147483647 h 144"/>
                <a:gd name="T38" fmla="*/ 2147483647 w 354"/>
                <a:gd name="T39" fmla="*/ 2147483647 h 144"/>
                <a:gd name="T40" fmla="*/ 2147483647 w 354"/>
                <a:gd name="T41" fmla="*/ 2147483647 h 144"/>
                <a:gd name="T42" fmla="*/ 2147483647 w 354"/>
                <a:gd name="T43" fmla="*/ 2147483647 h 144"/>
                <a:gd name="T44" fmla="*/ 2147483647 w 354"/>
                <a:gd name="T45" fmla="*/ 2147483647 h 144"/>
                <a:gd name="T46" fmla="*/ 2147483647 w 354"/>
                <a:gd name="T47" fmla="*/ 2147483647 h 144"/>
                <a:gd name="T48" fmla="*/ 2147483647 w 354"/>
                <a:gd name="T49" fmla="*/ 2147483647 h 144"/>
                <a:gd name="T50" fmla="*/ 2147483647 w 354"/>
                <a:gd name="T51" fmla="*/ 2147483647 h 144"/>
                <a:gd name="T52" fmla="*/ 2147483647 w 354"/>
                <a:gd name="T53" fmla="*/ 2147483647 h 144"/>
                <a:gd name="T54" fmla="*/ 2147483647 w 354"/>
                <a:gd name="T55" fmla="*/ 2147483647 h 144"/>
                <a:gd name="T56" fmla="*/ 2147483647 w 354"/>
                <a:gd name="T57" fmla="*/ 2147483647 h 144"/>
                <a:gd name="T58" fmla="*/ 2147483647 w 354"/>
                <a:gd name="T59" fmla="*/ 2147483647 h 144"/>
                <a:gd name="T60" fmla="*/ 2147483647 w 354"/>
                <a:gd name="T61" fmla="*/ 2147483647 h 144"/>
                <a:gd name="T62" fmla="*/ 2147483647 w 354"/>
                <a:gd name="T63" fmla="*/ 2147483647 h 144"/>
                <a:gd name="T64" fmla="*/ 2147483647 w 354"/>
                <a:gd name="T65" fmla="*/ 2147483647 h 144"/>
                <a:gd name="T66" fmla="*/ 2147483647 w 354"/>
                <a:gd name="T67" fmla="*/ 2147483647 h 144"/>
                <a:gd name="T68" fmla="*/ 2147483647 w 354"/>
                <a:gd name="T69" fmla="*/ 2147483647 h 14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54"/>
                <a:gd name="T106" fmla="*/ 0 h 144"/>
                <a:gd name="T107" fmla="*/ 354 w 354"/>
                <a:gd name="T108" fmla="*/ 144 h 14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54" h="144">
                  <a:moveTo>
                    <a:pt x="348" y="30"/>
                  </a:moveTo>
                  <a:lnTo>
                    <a:pt x="324" y="30"/>
                  </a:lnTo>
                  <a:lnTo>
                    <a:pt x="300" y="6"/>
                  </a:lnTo>
                  <a:lnTo>
                    <a:pt x="276" y="6"/>
                  </a:lnTo>
                  <a:lnTo>
                    <a:pt x="270" y="12"/>
                  </a:lnTo>
                  <a:lnTo>
                    <a:pt x="258" y="18"/>
                  </a:lnTo>
                  <a:lnTo>
                    <a:pt x="246" y="18"/>
                  </a:lnTo>
                  <a:lnTo>
                    <a:pt x="240" y="12"/>
                  </a:lnTo>
                  <a:lnTo>
                    <a:pt x="210" y="12"/>
                  </a:lnTo>
                  <a:lnTo>
                    <a:pt x="210" y="18"/>
                  </a:lnTo>
                  <a:lnTo>
                    <a:pt x="204" y="24"/>
                  </a:lnTo>
                  <a:lnTo>
                    <a:pt x="192" y="24"/>
                  </a:lnTo>
                  <a:lnTo>
                    <a:pt x="186" y="18"/>
                  </a:lnTo>
                  <a:lnTo>
                    <a:pt x="186" y="12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56" y="0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0"/>
                  </a:lnTo>
                  <a:lnTo>
                    <a:pt x="108" y="12"/>
                  </a:lnTo>
                  <a:lnTo>
                    <a:pt x="84" y="18"/>
                  </a:lnTo>
                  <a:lnTo>
                    <a:pt x="84" y="42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54" y="60"/>
                  </a:lnTo>
                  <a:lnTo>
                    <a:pt x="36" y="60"/>
                  </a:lnTo>
                  <a:lnTo>
                    <a:pt x="36" y="54"/>
                  </a:lnTo>
                  <a:lnTo>
                    <a:pt x="30" y="60"/>
                  </a:lnTo>
                  <a:lnTo>
                    <a:pt x="12" y="60"/>
                  </a:lnTo>
                  <a:lnTo>
                    <a:pt x="6" y="66"/>
                  </a:lnTo>
                  <a:lnTo>
                    <a:pt x="0" y="90"/>
                  </a:lnTo>
                  <a:lnTo>
                    <a:pt x="0" y="102"/>
                  </a:lnTo>
                  <a:lnTo>
                    <a:pt x="6" y="102"/>
                  </a:lnTo>
                  <a:lnTo>
                    <a:pt x="6" y="114"/>
                  </a:lnTo>
                  <a:lnTo>
                    <a:pt x="12" y="114"/>
                  </a:lnTo>
                  <a:lnTo>
                    <a:pt x="12" y="126"/>
                  </a:lnTo>
                  <a:lnTo>
                    <a:pt x="6" y="132"/>
                  </a:lnTo>
                  <a:lnTo>
                    <a:pt x="18" y="13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90" y="144"/>
                  </a:lnTo>
                  <a:lnTo>
                    <a:pt x="108" y="138"/>
                  </a:lnTo>
                  <a:lnTo>
                    <a:pt x="120" y="138"/>
                  </a:lnTo>
                  <a:lnTo>
                    <a:pt x="132" y="114"/>
                  </a:lnTo>
                  <a:lnTo>
                    <a:pt x="168" y="120"/>
                  </a:lnTo>
                  <a:lnTo>
                    <a:pt x="174" y="108"/>
                  </a:lnTo>
                  <a:lnTo>
                    <a:pt x="198" y="108"/>
                  </a:lnTo>
                  <a:lnTo>
                    <a:pt x="210" y="102"/>
                  </a:lnTo>
                  <a:lnTo>
                    <a:pt x="216" y="102"/>
                  </a:lnTo>
                  <a:lnTo>
                    <a:pt x="228" y="90"/>
                  </a:lnTo>
                  <a:lnTo>
                    <a:pt x="234" y="78"/>
                  </a:lnTo>
                  <a:lnTo>
                    <a:pt x="258" y="78"/>
                  </a:lnTo>
                  <a:lnTo>
                    <a:pt x="258" y="90"/>
                  </a:lnTo>
                  <a:lnTo>
                    <a:pt x="276" y="96"/>
                  </a:lnTo>
                  <a:lnTo>
                    <a:pt x="276" y="78"/>
                  </a:lnTo>
                  <a:lnTo>
                    <a:pt x="288" y="78"/>
                  </a:lnTo>
                  <a:lnTo>
                    <a:pt x="288" y="90"/>
                  </a:lnTo>
                  <a:lnTo>
                    <a:pt x="300" y="90"/>
                  </a:lnTo>
                  <a:lnTo>
                    <a:pt x="312" y="84"/>
                  </a:lnTo>
                  <a:lnTo>
                    <a:pt x="336" y="84"/>
                  </a:lnTo>
                  <a:lnTo>
                    <a:pt x="336" y="90"/>
                  </a:lnTo>
                  <a:lnTo>
                    <a:pt x="336" y="72"/>
                  </a:lnTo>
                  <a:lnTo>
                    <a:pt x="342" y="72"/>
                  </a:lnTo>
                  <a:lnTo>
                    <a:pt x="348" y="66"/>
                  </a:lnTo>
                  <a:lnTo>
                    <a:pt x="348" y="60"/>
                  </a:lnTo>
                  <a:lnTo>
                    <a:pt x="354" y="54"/>
                  </a:lnTo>
                  <a:lnTo>
                    <a:pt x="354" y="30"/>
                  </a:lnTo>
                  <a:lnTo>
                    <a:pt x="348" y="3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57" name="Sierra Leone" descr="© INSCALE GmbH, 05.05.2010&#10;http://www.presentationload.com/"/>
            <p:cNvSpPr>
              <a:spLocks/>
            </p:cNvSpPr>
            <p:nvPr/>
          </p:nvSpPr>
          <p:spPr bwMode="gray">
            <a:xfrm>
              <a:off x="4163698" y="4051488"/>
              <a:ext cx="66552" cy="84510"/>
            </a:xfrm>
            <a:custGeom>
              <a:avLst/>
              <a:gdLst>
                <a:gd name="T0" fmla="*/ 2147483647 w 210"/>
                <a:gd name="T1" fmla="*/ 2147483647 h 270"/>
                <a:gd name="T2" fmla="*/ 2147483647 w 210"/>
                <a:gd name="T3" fmla="*/ 2147483647 h 270"/>
                <a:gd name="T4" fmla="*/ 2147483647 w 210"/>
                <a:gd name="T5" fmla="*/ 2147483647 h 270"/>
                <a:gd name="T6" fmla="*/ 2147483647 w 210"/>
                <a:gd name="T7" fmla="*/ 2147483647 h 270"/>
                <a:gd name="T8" fmla="*/ 2147483647 w 210"/>
                <a:gd name="T9" fmla="*/ 2147483647 h 270"/>
                <a:gd name="T10" fmla="*/ 2147483647 w 210"/>
                <a:gd name="T11" fmla="*/ 2147483647 h 270"/>
                <a:gd name="T12" fmla="*/ 2147483647 w 210"/>
                <a:gd name="T13" fmla="*/ 2147483647 h 270"/>
                <a:gd name="T14" fmla="*/ 2147483647 w 210"/>
                <a:gd name="T15" fmla="*/ 2147483647 h 270"/>
                <a:gd name="T16" fmla="*/ 2147483647 w 210"/>
                <a:gd name="T17" fmla="*/ 2147483647 h 270"/>
                <a:gd name="T18" fmla="*/ 2147483647 w 210"/>
                <a:gd name="T19" fmla="*/ 2147483647 h 270"/>
                <a:gd name="T20" fmla="*/ 2147483647 w 210"/>
                <a:gd name="T21" fmla="*/ 2147483647 h 270"/>
                <a:gd name="T22" fmla="*/ 2147483647 w 210"/>
                <a:gd name="T23" fmla="*/ 0 h 270"/>
                <a:gd name="T24" fmla="*/ 2147483647 w 210"/>
                <a:gd name="T25" fmla="*/ 0 h 270"/>
                <a:gd name="T26" fmla="*/ 2147483647 w 210"/>
                <a:gd name="T27" fmla="*/ 2147483647 h 270"/>
                <a:gd name="T28" fmla="*/ 2147483647 w 210"/>
                <a:gd name="T29" fmla="*/ 2147483647 h 270"/>
                <a:gd name="T30" fmla="*/ 2147483647 w 210"/>
                <a:gd name="T31" fmla="*/ 2147483647 h 270"/>
                <a:gd name="T32" fmla="*/ 2147483647 w 210"/>
                <a:gd name="T33" fmla="*/ 2147483647 h 270"/>
                <a:gd name="T34" fmla="*/ 2147483647 w 210"/>
                <a:gd name="T35" fmla="*/ 2147483647 h 270"/>
                <a:gd name="T36" fmla="*/ 2147483647 w 210"/>
                <a:gd name="T37" fmla="*/ 2147483647 h 270"/>
                <a:gd name="T38" fmla="*/ 2147483647 w 210"/>
                <a:gd name="T39" fmla="*/ 2147483647 h 270"/>
                <a:gd name="T40" fmla="*/ 2147483647 w 210"/>
                <a:gd name="T41" fmla="*/ 2147483647 h 270"/>
                <a:gd name="T42" fmla="*/ 2147483647 w 210"/>
                <a:gd name="T43" fmla="*/ 2147483647 h 270"/>
                <a:gd name="T44" fmla="*/ 0 w 210"/>
                <a:gd name="T45" fmla="*/ 2147483647 h 270"/>
                <a:gd name="T46" fmla="*/ 2147483647 w 210"/>
                <a:gd name="T47" fmla="*/ 2147483647 h 270"/>
                <a:gd name="T48" fmla="*/ 2147483647 w 210"/>
                <a:gd name="T49" fmla="*/ 2147483647 h 270"/>
                <a:gd name="T50" fmla="*/ 0 w 210"/>
                <a:gd name="T51" fmla="*/ 2147483647 h 270"/>
                <a:gd name="T52" fmla="*/ 0 w 210"/>
                <a:gd name="T53" fmla="*/ 2147483647 h 270"/>
                <a:gd name="T54" fmla="*/ 2147483647 w 210"/>
                <a:gd name="T55" fmla="*/ 2147483647 h 270"/>
                <a:gd name="T56" fmla="*/ 2147483647 w 210"/>
                <a:gd name="T57" fmla="*/ 2147483647 h 270"/>
                <a:gd name="T58" fmla="*/ 2147483647 w 210"/>
                <a:gd name="T59" fmla="*/ 2147483647 h 270"/>
                <a:gd name="T60" fmla="*/ 2147483647 w 210"/>
                <a:gd name="T61" fmla="*/ 2147483647 h 270"/>
                <a:gd name="T62" fmla="*/ 2147483647 w 210"/>
                <a:gd name="T63" fmla="*/ 2147483647 h 270"/>
                <a:gd name="T64" fmla="*/ 2147483647 w 210"/>
                <a:gd name="T65" fmla="*/ 2147483647 h 270"/>
                <a:gd name="T66" fmla="*/ 2147483647 w 210"/>
                <a:gd name="T67" fmla="*/ 2147483647 h 270"/>
                <a:gd name="T68" fmla="*/ 2147483647 w 210"/>
                <a:gd name="T69" fmla="*/ 2147483647 h 270"/>
                <a:gd name="T70" fmla="*/ 2147483647 w 210"/>
                <a:gd name="T71" fmla="*/ 2147483647 h 270"/>
                <a:gd name="T72" fmla="*/ 2147483647 w 210"/>
                <a:gd name="T73" fmla="*/ 2147483647 h 270"/>
                <a:gd name="T74" fmla="*/ 2147483647 w 210"/>
                <a:gd name="T75" fmla="*/ 2147483647 h 270"/>
                <a:gd name="T76" fmla="*/ 2147483647 w 210"/>
                <a:gd name="T77" fmla="*/ 2147483647 h 270"/>
                <a:gd name="T78" fmla="*/ 2147483647 w 210"/>
                <a:gd name="T79" fmla="*/ 2147483647 h 270"/>
                <a:gd name="T80" fmla="*/ 2147483647 w 210"/>
                <a:gd name="T81" fmla="*/ 2147483647 h 270"/>
                <a:gd name="T82" fmla="*/ 2147483647 w 210"/>
                <a:gd name="T83" fmla="*/ 2147483647 h 270"/>
                <a:gd name="T84" fmla="*/ 2147483647 w 210"/>
                <a:gd name="T85" fmla="*/ 2147483647 h 270"/>
                <a:gd name="T86" fmla="*/ 2147483647 w 210"/>
                <a:gd name="T87" fmla="*/ 2147483647 h 27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270"/>
                <a:gd name="T134" fmla="*/ 210 w 210"/>
                <a:gd name="T135" fmla="*/ 270 h 27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270">
                  <a:moveTo>
                    <a:pt x="186" y="180"/>
                  </a:moveTo>
                  <a:lnTo>
                    <a:pt x="186" y="162"/>
                  </a:lnTo>
                  <a:lnTo>
                    <a:pt x="210" y="156"/>
                  </a:lnTo>
                  <a:lnTo>
                    <a:pt x="204" y="132"/>
                  </a:lnTo>
                  <a:lnTo>
                    <a:pt x="174" y="144"/>
                  </a:lnTo>
                  <a:lnTo>
                    <a:pt x="180" y="126"/>
                  </a:lnTo>
                  <a:lnTo>
                    <a:pt x="186" y="120"/>
                  </a:lnTo>
                  <a:lnTo>
                    <a:pt x="192" y="108"/>
                  </a:lnTo>
                  <a:lnTo>
                    <a:pt x="192" y="90"/>
                  </a:lnTo>
                  <a:lnTo>
                    <a:pt x="180" y="78"/>
                  </a:lnTo>
                  <a:lnTo>
                    <a:pt x="180" y="60"/>
                  </a:lnTo>
                  <a:lnTo>
                    <a:pt x="138" y="0"/>
                  </a:lnTo>
                  <a:lnTo>
                    <a:pt x="102" y="0"/>
                  </a:lnTo>
                  <a:lnTo>
                    <a:pt x="96" y="18"/>
                  </a:lnTo>
                  <a:lnTo>
                    <a:pt x="60" y="18"/>
                  </a:lnTo>
                  <a:lnTo>
                    <a:pt x="60" y="24"/>
                  </a:lnTo>
                  <a:lnTo>
                    <a:pt x="54" y="30"/>
                  </a:lnTo>
                  <a:lnTo>
                    <a:pt x="48" y="42"/>
                  </a:lnTo>
                  <a:lnTo>
                    <a:pt x="36" y="54"/>
                  </a:lnTo>
                  <a:lnTo>
                    <a:pt x="30" y="66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0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32"/>
                  </a:lnTo>
                  <a:lnTo>
                    <a:pt x="6" y="138"/>
                  </a:lnTo>
                  <a:lnTo>
                    <a:pt x="18" y="144"/>
                  </a:lnTo>
                  <a:lnTo>
                    <a:pt x="24" y="150"/>
                  </a:lnTo>
                  <a:lnTo>
                    <a:pt x="18" y="180"/>
                  </a:lnTo>
                  <a:lnTo>
                    <a:pt x="42" y="198"/>
                  </a:lnTo>
                  <a:lnTo>
                    <a:pt x="42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78" y="234"/>
                  </a:lnTo>
                  <a:lnTo>
                    <a:pt x="96" y="234"/>
                  </a:lnTo>
                  <a:lnTo>
                    <a:pt x="126" y="270"/>
                  </a:lnTo>
                  <a:lnTo>
                    <a:pt x="126" y="234"/>
                  </a:lnTo>
                  <a:lnTo>
                    <a:pt x="144" y="216"/>
                  </a:lnTo>
                  <a:lnTo>
                    <a:pt x="156" y="210"/>
                  </a:lnTo>
                  <a:lnTo>
                    <a:pt x="168" y="198"/>
                  </a:lnTo>
                  <a:lnTo>
                    <a:pt x="180" y="192"/>
                  </a:lnTo>
                  <a:lnTo>
                    <a:pt x="186" y="18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58" name="Senegal" descr="© INSCALE GmbH, 05.05.2010&#10;http://www.presentationload.com/"/>
            <p:cNvSpPr>
              <a:spLocks/>
            </p:cNvSpPr>
            <p:nvPr/>
          </p:nvSpPr>
          <p:spPr bwMode="gray">
            <a:xfrm>
              <a:off x="4095866" y="3882467"/>
              <a:ext cx="134384" cy="115130"/>
            </a:xfrm>
            <a:custGeom>
              <a:avLst/>
              <a:gdLst>
                <a:gd name="T0" fmla="*/ 2147483647 w 414"/>
                <a:gd name="T1" fmla="*/ 2147483647 h 366"/>
                <a:gd name="T2" fmla="*/ 2147483647 w 414"/>
                <a:gd name="T3" fmla="*/ 2147483647 h 366"/>
                <a:gd name="T4" fmla="*/ 2147483647 w 414"/>
                <a:gd name="T5" fmla="*/ 2147483647 h 366"/>
                <a:gd name="T6" fmla="*/ 2147483647 w 414"/>
                <a:gd name="T7" fmla="*/ 2147483647 h 366"/>
                <a:gd name="T8" fmla="*/ 2147483647 w 414"/>
                <a:gd name="T9" fmla="*/ 2147483647 h 366"/>
                <a:gd name="T10" fmla="*/ 2147483647 w 414"/>
                <a:gd name="T11" fmla="*/ 2147483647 h 366"/>
                <a:gd name="T12" fmla="*/ 2147483647 w 414"/>
                <a:gd name="T13" fmla="*/ 2147483647 h 366"/>
                <a:gd name="T14" fmla="*/ 2147483647 w 414"/>
                <a:gd name="T15" fmla="*/ 2147483647 h 366"/>
                <a:gd name="T16" fmla="*/ 2147483647 w 414"/>
                <a:gd name="T17" fmla="*/ 2147483647 h 366"/>
                <a:gd name="T18" fmla="*/ 2147483647 w 414"/>
                <a:gd name="T19" fmla="*/ 2147483647 h 366"/>
                <a:gd name="T20" fmla="*/ 2147483647 w 414"/>
                <a:gd name="T21" fmla="*/ 2147483647 h 366"/>
                <a:gd name="T22" fmla="*/ 2147483647 w 414"/>
                <a:gd name="T23" fmla="*/ 2147483647 h 366"/>
                <a:gd name="T24" fmla="*/ 2147483647 w 414"/>
                <a:gd name="T25" fmla="*/ 2147483647 h 366"/>
                <a:gd name="T26" fmla="*/ 2147483647 w 414"/>
                <a:gd name="T27" fmla="*/ 2147483647 h 366"/>
                <a:gd name="T28" fmla="*/ 2147483647 w 414"/>
                <a:gd name="T29" fmla="*/ 0 h 366"/>
                <a:gd name="T30" fmla="*/ 2147483647 w 414"/>
                <a:gd name="T31" fmla="*/ 2147483647 h 366"/>
                <a:gd name="T32" fmla="*/ 2147483647 w 414"/>
                <a:gd name="T33" fmla="*/ 2147483647 h 366"/>
                <a:gd name="T34" fmla="*/ 2147483647 w 414"/>
                <a:gd name="T35" fmla="*/ 2147483647 h 366"/>
                <a:gd name="T36" fmla="*/ 2147483647 w 414"/>
                <a:gd name="T37" fmla="*/ 2147483647 h 366"/>
                <a:gd name="T38" fmla="*/ 2147483647 w 414"/>
                <a:gd name="T39" fmla="*/ 2147483647 h 366"/>
                <a:gd name="T40" fmla="*/ 2147483647 w 414"/>
                <a:gd name="T41" fmla="*/ 2147483647 h 366"/>
                <a:gd name="T42" fmla="*/ 0 w 414"/>
                <a:gd name="T43" fmla="*/ 2147483647 h 366"/>
                <a:gd name="T44" fmla="*/ 2147483647 w 414"/>
                <a:gd name="T45" fmla="*/ 2147483647 h 366"/>
                <a:gd name="T46" fmla="*/ 2147483647 w 414"/>
                <a:gd name="T47" fmla="*/ 2147483647 h 366"/>
                <a:gd name="T48" fmla="*/ 2147483647 w 414"/>
                <a:gd name="T49" fmla="*/ 2147483647 h 366"/>
                <a:gd name="T50" fmla="*/ 2147483647 w 414"/>
                <a:gd name="T51" fmla="*/ 2147483647 h 366"/>
                <a:gd name="T52" fmla="*/ 2147483647 w 414"/>
                <a:gd name="T53" fmla="*/ 2147483647 h 366"/>
                <a:gd name="T54" fmla="*/ 2147483647 w 414"/>
                <a:gd name="T55" fmla="*/ 2147483647 h 366"/>
                <a:gd name="T56" fmla="*/ 2147483647 w 414"/>
                <a:gd name="T57" fmla="*/ 2147483647 h 366"/>
                <a:gd name="T58" fmla="*/ 2147483647 w 414"/>
                <a:gd name="T59" fmla="*/ 2147483647 h 366"/>
                <a:gd name="T60" fmla="*/ 2147483647 w 414"/>
                <a:gd name="T61" fmla="*/ 2147483647 h 366"/>
                <a:gd name="T62" fmla="*/ 2147483647 w 414"/>
                <a:gd name="T63" fmla="*/ 2147483647 h 366"/>
                <a:gd name="T64" fmla="*/ 2147483647 w 414"/>
                <a:gd name="T65" fmla="*/ 2147483647 h 366"/>
                <a:gd name="T66" fmla="*/ 2147483647 w 414"/>
                <a:gd name="T67" fmla="*/ 2147483647 h 366"/>
                <a:gd name="T68" fmla="*/ 2147483647 w 414"/>
                <a:gd name="T69" fmla="*/ 2147483647 h 366"/>
                <a:gd name="T70" fmla="*/ 2147483647 w 414"/>
                <a:gd name="T71" fmla="*/ 2147483647 h 366"/>
                <a:gd name="T72" fmla="*/ 2147483647 w 414"/>
                <a:gd name="T73" fmla="*/ 2147483647 h 366"/>
                <a:gd name="T74" fmla="*/ 2147483647 w 414"/>
                <a:gd name="T75" fmla="*/ 2147483647 h 366"/>
                <a:gd name="T76" fmla="*/ 2147483647 w 414"/>
                <a:gd name="T77" fmla="*/ 2147483647 h 366"/>
                <a:gd name="T78" fmla="*/ 2147483647 w 414"/>
                <a:gd name="T79" fmla="*/ 2147483647 h 366"/>
                <a:gd name="T80" fmla="*/ 2147483647 w 414"/>
                <a:gd name="T81" fmla="*/ 2147483647 h 366"/>
                <a:gd name="T82" fmla="*/ 2147483647 w 414"/>
                <a:gd name="T83" fmla="*/ 2147483647 h 366"/>
                <a:gd name="T84" fmla="*/ 2147483647 w 414"/>
                <a:gd name="T85" fmla="*/ 2147483647 h 366"/>
                <a:gd name="T86" fmla="*/ 2147483647 w 414"/>
                <a:gd name="T87" fmla="*/ 2147483647 h 366"/>
                <a:gd name="T88" fmla="*/ 2147483647 w 414"/>
                <a:gd name="T89" fmla="*/ 2147483647 h 366"/>
                <a:gd name="T90" fmla="*/ 2147483647 w 414"/>
                <a:gd name="T91" fmla="*/ 2147483647 h 366"/>
                <a:gd name="T92" fmla="*/ 2147483647 w 414"/>
                <a:gd name="T93" fmla="*/ 2147483647 h 366"/>
                <a:gd name="T94" fmla="*/ 2147483647 w 414"/>
                <a:gd name="T95" fmla="*/ 2147483647 h 366"/>
                <a:gd name="T96" fmla="*/ 2147483647 w 414"/>
                <a:gd name="T97" fmla="*/ 2147483647 h 366"/>
                <a:gd name="T98" fmla="*/ 2147483647 w 414"/>
                <a:gd name="T99" fmla="*/ 2147483647 h 366"/>
                <a:gd name="T100" fmla="*/ 2147483647 w 414"/>
                <a:gd name="T101" fmla="*/ 2147483647 h 366"/>
                <a:gd name="T102" fmla="*/ 2147483647 w 414"/>
                <a:gd name="T103" fmla="*/ 2147483647 h 366"/>
                <a:gd name="T104" fmla="*/ 2147483647 w 414"/>
                <a:gd name="T105" fmla="*/ 2147483647 h 36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14"/>
                <a:gd name="T160" fmla="*/ 0 h 366"/>
                <a:gd name="T161" fmla="*/ 414 w 414"/>
                <a:gd name="T162" fmla="*/ 366 h 36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14" h="366">
                  <a:moveTo>
                    <a:pt x="402" y="270"/>
                  </a:moveTo>
                  <a:lnTo>
                    <a:pt x="396" y="270"/>
                  </a:lnTo>
                  <a:lnTo>
                    <a:pt x="396" y="276"/>
                  </a:lnTo>
                  <a:lnTo>
                    <a:pt x="384" y="276"/>
                  </a:lnTo>
                  <a:lnTo>
                    <a:pt x="378" y="270"/>
                  </a:lnTo>
                  <a:lnTo>
                    <a:pt x="378" y="246"/>
                  </a:lnTo>
                  <a:lnTo>
                    <a:pt x="384" y="240"/>
                  </a:lnTo>
                  <a:lnTo>
                    <a:pt x="384" y="222"/>
                  </a:lnTo>
                  <a:lnTo>
                    <a:pt x="372" y="210"/>
                  </a:lnTo>
                  <a:lnTo>
                    <a:pt x="372" y="204"/>
                  </a:lnTo>
                  <a:lnTo>
                    <a:pt x="360" y="186"/>
                  </a:lnTo>
                  <a:lnTo>
                    <a:pt x="360" y="162"/>
                  </a:lnTo>
                  <a:lnTo>
                    <a:pt x="348" y="138"/>
                  </a:lnTo>
                  <a:lnTo>
                    <a:pt x="318" y="132"/>
                  </a:lnTo>
                  <a:lnTo>
                    <a:pt x="318" y="108"/>
                  </a:lnTo>
                  <a:lnTo>
                    <a:pt x="312" y="102"/>
                  </a:lnTo>
                  <a:lnTo>
                    <a:pt x="294" y="102"/>
                  </a:lnTo>
                  <a:lnTo>
                    <a:pt x="294" y="72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64" y="48"/>
                  </a:lnTo>
                  <a:lnTo>
                    <a:pt x="252" y="54"/>
                  </a:lnTo>
                  <a:lnTo>
                    <a:pt x="246" y="42"/>
                  </a:lnTo>
                  <a:lnTo>
                    <a:pt x="234" y="30"/>
                  </a:lnTo>
                  <a:lnTo>
                    <a:pt x="228" y="18"/>
                  </a:lnTo>
                  <a:lnTo>
                    <a:pt x="222" y="18"/>
                  </a:lnTo>
                  <a:lnTo>
                    <a:pt x="210" y="12"/>
                  </a:lnTo>
                  <a:lnTo>
                    <a:pt x="186" y="12"/>
                  </a:lnTo>
                  <a:lnTo>
                    <a:pt x="162" y="0"/>
                  </a:lnTo>
                  <a:lnTo>
                    <a:pt x="162" y="18"/>
                  </a:lnTo>
                  <a:lnTo>
                    <a:pt x="132" y="12"/>
                  </a:lnTo>
                  <a:lnTo>
                    <a:pt x="120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102" y="12"/>
                  </a:lnTo>
                  <a:lnTo>
                    <a:pt x="90" y="18"/>
                  </a:lnTo>
                  <a:lnTo>
                    <a:pt x="84" y="24"/>
                  </a:lnTo>
                  <a:lnTo>
                    <a:pt x="66" y="60"/>
                  </a:lnTo>
                  <a:lnTo>
                    <a:pt x="60" y="66"/>
                  </a:lnTo>
                  <a:lnTo>
                    <a:pt x="60" y="90"/>
                  </a:lnTo>
                  <a:lnTo>
                    <a:pt x="48" y="96"/>
                  </a:lnTo>
                  <a:lnTo>
                    <a:pt x="30" y="132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12" y="168"/>
                  </a:lnTo>
                  <a:lnTo>
                    <a:pt x="18" y="174"/>
                  </a:lnTo>
                  <a:lnTo>
                    <a:pt x="24" y="186"/>
                  </a:lnTo>
                  <a:lnTo>
                    <a:pt x="24" y="204"/>
                  </a:lnTo>
                  <a:lnTo>
                    <a:pt x="42" y="222"/>
                  </a:lnTo>
                  <a:lnTo>
                    <a:pt x="42" y="246"/>
                  </a:lnTo>
                  <a:lnTo>
                    <a:pt x="48" y="252"/>
                  </a:lnTo>
                  <a:lnTo>
                    <a:pt x="126" y="252"/>
                  </a:lnTo>
                  <a:lnTo>
                    <a:pt x="126" y="240"/>
                  </a:lnTo>
                  <a:lnTo>
                    <a:pt x="180" y="240"/>
                  </a:lnTo>
                  <a:lnTo>
                    <a:pt x="180" y="252"/>
                  </a:lnTo>
                  <a:lnTo>
                    <a:pt x="192" y="246"/>
                  </a:lnTo>
                  <a:lnTo>
                    <a:pt x="198" y="252"/>
                  </a:lnTo>
                  <a:lnTo>
                    <a:pt x="204" y="264"/>
                  </a:lnTo>
                  <a:lnTo>
                    <a:pt x="216" y="264"/>
                  </a:lnTo>
                  <a:lnTo>
                    <a:pt x="222" y="258"/>
                  </a:lnTo>
                  <a:lnTo>
                    <a:pt x="246" y="258"/>
                  </a:lnTo>
                  <a:lnTo>
                    <a:pt x="252" y="264"/>
                  </a:lnTo>
                  <a:lnTo>
                    <a:pt x="252" y="270"/>
                  </a:lnTo>
                  <a:lnTo>
                    <a:pt x="246" y="276"/>
                  </a:lnTo>
                  <a:lnTo>
                    <a:pt x="234" y="282"/>
                  </a:lnTo>
                  <a:lnTo>
                    <a:pt x="228" y="288"/>
                  </a:lnTo>
                  <a:lnTo>
                    <a:pt x="204" y="288"/>
                  </a:lnTo>
                  <a:lnTo>
                    <a:pt x="186" y="282"/>
                  </a:lnTo>
                  <a:lnTo>
                    <a:pt x="180" y="270"/>
                  </a:lnTo>
                  <a:lnTo>
                    <a:pt x="168" y="264"/>
                  </a:lnTo>
                  <a:lnTo>
                    <a:pt x="162" y="258"/>
                  </a:lnTo>
                  <a:lnTo>
                    <a:pt x="156" y="264"/>
                  </a:lnTo>
                  <a:lnTo>
                    <a:pt x="150" y="276"/>
                  </a:lnTo>
                  <a:lnTo>
                    <a:pt x="126" y="276"/>
                  </a:lnTo>
                  <a:lnTo>
                    <a:pt x="120" y="282"/>
                  </a:lnTo>
                  <a:lnTo>
                    <a:pt x="108" y="282"/>
                  </a:lnTo>
                  <a:lnTo>
                    <a:pt x="108" y="294"/>
                  </a:lnTo>
                  <a:lnTo>
                    <a:pt x="36" y="294"/>
                  </a:lnTo>
                  <a:lnTo>
                    <a:pt x="36" y="318"/>
                  </a:lnTo>
                  <a:lnTo>
                    <a:pt x="30" y="324"/>
                  </a:lnTo>
                  <a:lnTo>
                    <a:pt x="30" y="336"/>
                  </a:lnTo>
                  <a:lnTo>
                    <a:pt x="36" y="342"/>
                  </a:lnTo>
                  <a:lnTo>
                    <a:pt x="42" y="354"/>
                  </a:lnTo>
                  <a:lnTo>
                    <a:pt x="48" y="360"/>
                  </a:lnTo>
                  <a:lnTo>
                    <a:pt x="60" y="366"/>
                  </a:lnTo>
                  <a:lnTo>
                    <a:pt x="66" y="366"/>
                  </a:lnTo>
                  <a:lnTo>
                    <a:pt x="72" y="360"/>
                  </a:lnTo>
                  <a:lnTo>
                    <a:pt x="78" y="360"/>
                  </a:lnTo>
                  <a:lnTo>
                    <a:pt x="90" y="348"/>
                  </a:lnTo>
                  <a:lnTo>
                    <a:pt x="126" y="348"/>
                  </a:lnTo>
                  <a:lnTo>
                    <a:pt x="156" y="324"/>
                  </a:lnTo>
                  <a:lnTo>
                    <a:pt x="294" y="330"/>
                  </a:lnTo>
                  <a:lnTo>
                    <a:pt x="294" y="336"/>
                  </a:lnTo>
                  <a:lnTo>
                    <a:pt x="300" y="348"/>
                  </a:lnTo>
                  <a:lnTo>
                    <a:pt x="318" y="348"/>
                  </a:lnTo>
                  <a:lnTo>
                    <a:pt x="324" y="342"/>
                  </a:lnTo>
                  <a:lnTo>
                    <a:pt x="330" y="348"/>
                  </a:lnTo>
                  <a:lnTo>
                    <a:pt x="336" y="360"/>
                  </a:lnTo>
                  <a:lnTo>
                    <a:pt x="342" y="366"/>
                  </a:lnTo>
                  <a:lnTo>
                    <a:pt x="354" y="366"/>
                  </a:lnTo>
                  <a:lnTo>
                    <a:pt x="366" y="360"/>
                  </a:lnTo>
                  <a:lnTo>
                    <a:pt x="372" y="354"/>
                  </a:lnTo>
                  <a:lnTo>
                    <a:pt x="414" y="354"/>
                  </a:lnTo>
                  <a:lnTo>
                    <a:pt x="414" y="288"/>
                  </a:lnTo>
                  <a:lnTo>
                    <a:pt x="408" y="276"/>
                  </a:lnTo>
                  <a:lnTo>
                    <a:pt x="402" y="27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59" name="Saudi Arabia" descr="© INSCALE GmbH, 05.05.2010&#10;http://www.presentationload.com/"/>
            <p:cNvSpPr>
              <a:spLocks/>
            </p:cNvSpPr>
            <p:nvPr/>
          </p:nvSpPr>
          <p:spPr bwMode="gray">
            <a:xfrm>
              <a:off x="5249003" y="3499108"/>
              <a:ext cx="482500" cy="395607"/>
            </a:xfrm>
            <a:custGeom>
              <a:avLst/>
              <a:gdLst>
                <a:gd name="T0" fmla="*/ 2147483647 w 1488"/>
                <a:gd name="T1" fmla="*/ 2147483647 h 1278"/>
                <a:gd name="T2" fmla="*/ 2147483647 w 1488"/>
                <a:gd name="T3" fmla="*/ 2147483647 h 1278"/>
                <a:gd name="T4" fmla="*/ 2147483647 w 1488"/>
                <a:gd name="T5" fmla="*/ 2147483647 h 1278"/>
                <a:gd name="T6" fmla="*/ 2147483647 w 1488"/>
                <a:gd name="T7" fmla="*/ 2147483647 h 1278"/>
                <a:gd name="T8" fmla="*/ 2147483647 w 1488"/>
                <a:gd name="T9" fmla="*/ 2147483647 h 1278"/>
                <a:gd name="T10" fmla="*/ 2147483647 w 1488"/>
                <a:gd name="T11" fmla="*/ 2147483647 h 1278"/>
                <a:gd name="T12" fmla="*/ 2147483647 w 1488"/>
                <a:gd name="T13" fmla="*/ 2147483647 h 1278"/>
                <a:gd name="T14" fmla="*/ 2147483647 w 1488"/>
                <a:gd name="T15" fmla="*/ 2147483647 h 1278"/>
                <a:gd name="T16" fmla="*/ 2147483647 w 1488"/>
                <a:gd name="T17" fmla="*/ 2147483647 h 1278"/>
                <a:gd name="T18" fmla="*/ 2147483647 w 1488"/>
                <a:gd name="T19" fmla="*/ 2147483647 h 1278"/>
                <a:gd name="T20" fmla="*/ 2147483647 w 1488"/>
                <a:gd name="T21" fmla="*/ 2147483647 h 1278"/>
                <a:gd name="T22" fmla="*/ 2147483647 w 1488"/>
                <a:gd name="T23" fmla="*/ 2147483647 h 1278"/>
                <a:gd name="T24" fmla="*/ 2147483647 w 1488"/>
                <a:gd name="T25" fmla="*/ 2147483647 h 1278"/>
                <a:gd name="T26" fmla="*/ 2147483647 w 1488"/>
                <a:gd name="T27" fmla="*/ 2147483647 h 1278"/>
                <a:gd name="T28" fmla="*/ 2147483647 w 1488"/>
                <a:gd name="T29" fmla="*/ 2147483647 h 1278"/>
                <a:gd name="T30" fmla="*/ 2147483647 w 1488"/>
                <a:gd name="T31" fmla="*/ 2147483647 h 1278"/>
                <a:gd name="T32" fmla="*/ 2147483647 w 1488"/>
                <a:gd name="T33" fmla="*/ 2147483647 h 1278"/>
                <a:gd name="T34" fmla="*/ 2147483647 w 1488"/>
                <a:gd name="T35" fmla="*/ 2147483647 h 1278"/>
                <a:gd name="T36" fmla="*/ 2147483647 w 1488"/>
                <a:gd name="T37" fmla="*/ 2147483647 h 1278"/>
                <a:gd name="T38" fmla="*/ 2147483647 w 1488"/>
                <a:gd name="T39" fmla="*/ 0 h 1278"/>
                <a:gd name="T40" fmla="*/ 2147483647 w 1488"/>
                <a:gd name="T41" fmla="*/ 2147483647 h 1278"/>
                <a:gd name="T42" fmla="*/ 2147483647 w 1488"/>
                <a:gd name="T43" fmla="*/ 2147483647 h 1278"/>
                <a:gd name="T44" fmla="*/ 2147483647 w 1488"/>
                <a:gd name="T45" fmla="*/ 2147483647 h 1278"/>
                <a:gd name="T46" fmla="*/ 2147483647 w 1488"/>
                <a:gd name="T47" fmla="*/ 2147483647 h 1278"/>
                <a:gd name="T48" fmla="*/ 2147483647 w 1488"/>
                <a:gd name="T49" fmla="*/ 2147483647 h 1278"/>
                <a:gd name="T50" fmla="*/ 2147483647 w 1488"/>
                <a:gd name="T51" fmla="*/ 2147483647 h 1278"/>
                <a:gd name="T52" fmla="*/ 2147483647 w 1488"/>
                <a:gd name="T53" fmla="*/ 2147483647 h 1278"/>
                <a:gd name="T54" fmla="*/ 2147483647 w 1488"/>
                <a:gd name="T55" fmla="*/ 2147483647 h 1278"/>
                <a:gd name="T56" fmla="*/ 2147483647 w 1488"/>
                <a:gd name="T57" fmla="*/ 2147483647 h 1278"/>
                <a:gd name="T58" fmla="*/ 2147483647 w 1488"/>
                <a:gd name="T59" fmla="*/ 2147483647 h 1278"/>
                <a:gd name="T60" fmla="*/ 2147483647 w 1488"/>
                <a:gd name="T61" fmla="*/ 2147483647 h 1278"/>
                <a:gd name="T62" fmla="*/ 0 w 1488"/>
                <a:gd name="T63" fmla="*/ 2147483647 h 1278"/>
                <a:gd name="T64" fmla="*/ 2147483647 w 1488"/>
                <a:gd name="T65" fmla="*/ 2147483647 h 1278"/>
                <a:gd name="T66" fmla="*/ 2147483647 w 1488"/>
                <a:gd name="T67" fmla="*/ 2147483647 h 1278"/>
                <a:gd name="T68" fmla="*/ 2147483647 w 1488"/>
                <a:gd name="T69" fmla="*/ 2147483647 h 1278"/>
                <a:gd name="T70" fmla="*/ 2147483647 w 1488"/>
                <a:gd name="T71" fmla="*/ 2147483647 h 1278"/>
                <a:gd name="T72" fmla="*/ 2147483647 w 1488"/>
                <a:gd name="T73" fmla="*/ 2147483647 h 1278"/>
                <a:gd name="T74" fmla="*/ 2147483647 w 1488"/>
                <a:gd name="T75" fmla="*/ 2147483647 h 1278"/>
                <a:gd name="T76" fmla="*/ 2147483647 w 1488"/>
                <a:gd name="T77" fmla="*/ 2147483647 h 1278"/>
                <a:gd name="T78" fmla="*/ 2147483647 w 1488"/>
                <a:gd name="T79" fmla="*/ 2147483647 h 1278"/>
                <a:gd name="T80" fmla="*/ 2147483647 w 1488"/>
                <a:gd name="T81" fmla="*/ 2147483647 h 1278"/>
                <a:gd name="T82" fmla="*/ 2147483647 w 1488"/>
                <a:gd name="T83" fmla="*/ 2147483647 h 1278"/>
                <a:gd name="T84" fmla="*/ 2147483647 w 1488"/>
                <a:gd name="T85" fmla="*/ 2147483647 h 1278"/>
                <a:gd name="T86" fmla="*/ 2147483647 w 1488"/>
                <a:gd name="T87" fmla="*/ 2147483647 h 1278"/>
                <a:gd name="T88" fmla="*/ 2147483647 w 1488"/>
                <a:gd name="T89" fmla="*/ 2147483647 h 1278"/>
                <a:gd name="T90" fmla="*/ 2147483647 w 1488"/>
                <a:gd name="T91" fmla="*/ 2147483647 h 1278"/>
                <a:gd name="T92" fmla="*/ 2147483647 w 1488"/>
                <a:gd name="T93" fmla="*/ 2147483647 h 1278"/>
                <a:gd name="T94" fmla="*/ 2147483647 w 1488"/>
                <a:gd name="T95" fmla="*/ 2147483647 h 1278"/>
                <a:gd name="T96" fmla="*/ 2147483647 w 1488"/>
                <a:gd name="T97" fmla="*/ 2147483647 h 1278"/>
                <a:gd name="T98" fmla="*/ 2147483647 w 1488"/>
                <a:gd name="T99" fmla="*/ 2147483647 h 1278"/>
                <a:gd name="T100" fmla="*/ 2147483647 w 1488"/>
                <a:gd name="T101" fmla="*/ 2147483647 h 1278"/>
                <a:gd name="T102" fmla="*/ 2147483647 w 1488"/>
                <a:gd name="T103" fmla="*/ 2147483647 h 1278"/>
                <a:gd name="T104" fmla="*/ 2147483647 w 1488"/>
                <a:gd name="T105" fmla="*/ 2147483647 h 1278"/>
                <a:gd name="T106" fmla="*/ 2147483647 w 1488"/>
                <a:gd name="T107" fmla="*/ 2147483647 h 1278"/>
                <a:gd name="T108" fmla="*/ 2147483647 w 1488"/>
                <a:gd name="T109" fmla="*/ 2147483647 h 1278"/>
                <a:gd name="T110" fmla="*/ 2147483647 w 1488"/>
                <a:gd name="T111" fmla="*/ 2147483647 h 1278"/>
                <a:gd name="T112" fmla="*/ 2147483647 w 1488"/>
                <a:gd name="T113" fmla="*/ 2147483647 h 1278"/>
                <a:gd name="T114" fmla="*/ 2147483647 w 1488"/>
                <a:gd name="T115" fmla="*/ 2147483647 h 1278"/>
                <a:gd name="T116" fmla="*/ 2147483647 w 1488"/>
                <a:gd name="T117" fmla="*/ 2147483647 h 127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488"/>
                <a:gd name="T178" fmla="*/ 0 h 1278"/>
                <a:gd name="T179" fmla="*/ 1488 w 1488"/>
                <a:gd name="T180" fmla="*/ 1278 h 127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488" h="1278">
                  <a:moveTo>
                    <a:pt x="1464" y="792"/>
                  </a:moveTo>
                  <a:lnTo>
                    <a:pt x="1464" y="780"/>
                  </a:lnTo>
                  <a:lnTo>
                    <a:pt x="1458" y="774"/>
                  </a:lnTo>
                  <a:lnTo>
                    <a:pt x="1416" y="768"/>
                  </a:lnTo>
                  <a:lnTo>
                    <a:pt x="1320" y="756"/>
                  </a:lnTo>
                  <a:lnTo>
                    <a:pt x="1284" y="750"/>
                  </a:lnTo>
                  <a:lnTo>
                    <a:pt x="1266" y="750"/>
                  </a:lnTo>
                  <a:lnTo>
                    <a:pt x="1260" y="738"/>
                  </a:lnTo>
                  <a:lnTo>
                    <a:pt x="1248" y="732"/>
                  </a:lnTo>
                  <a:lnTo>
                    <a:pt x="1242" y="720"/>
                  </a:lnTo>
                  <a:lnTo>
                    <a:pt x="1218" y="696"/>
                  </a:lnTo>
                  <a:lnTo>
                    <a:pt x="1206" y="672"/>
                  </a:lnTo>
                  <a:lnTo>
                    <a:pt x="1188" y="654"/>
                  </a:lnTo>
                  <a:lnTo>
                    <a:pt x="1188" y="642"/>
                  </a:lnTo>
                  <a:lnTo>
                    <a:pt x="1182" y="636"/>
                  </a:lnTo>
                  <a:lnTo>
                    <a:pt x="1182" y="618"/>
                  </a:lnTo>
                  <a:lnTo>
                    <a:pt x="1176" y="624"/>
                  </a:lnTo>
                  <a:lnTo>
                    <a:pt x="1164" y="612"/>
                  </a:lnTo>
                  <a:lnTo>
                    <a:pt x="1146" y="612"/>
                  </a:lnTo>
                  <a:lnTo>
                    <a:pt x="1140" y="600"/>
                  </a:lnTo>
                  <a:lnTo>
                    <a:pt x="1134" y="594"/>
                  </a:lnTo>
                  <a:lnTo>
                    <a:pt x="1128" y="582"/>
                  </a:lnTo>
                  <a:lnTo>
                    <a:pt x="1122" y="564"/>
                  </a:lnTo>
                  <a:lnTo>
                    <a:pt x="1116" y="552"/>
                  </a:lnTo>
                  <a:lnTo>
                    <a:pt x="1116" y="540"/>
                  </a:lnTo>
                  <a:lnTo>
                    <a:pt x="1110" y="534"/>
                  </a:lnTo>
                  <a:lnTo>
                    <a:pt x="1098" y="528"/>
                  </a:lnTo>
                  <a:lnTo>
                    <a:pt x="1086" y="516"/>
                  </a:lnTo>
                  <a:lnTo>
                    <a:pt x="1074" y="510"/>
                  </a:lnTo>
                  <a:lnTo>
                    <a:pt x="1068" y="498"/>
                  </a:lnTo>
                  <a:lnTo>
                    <a:pt x="1068" y="462"/>
                  </a:lnTo>
                  <a:lnTo>
                    <a:pt x="1062" y="450"/>
                  </a:lnTo>
                  <a:lnTo>
                    <a:pt x="1062" y="438"/>
                  </a:lnTo>
                  <a:lnTo>
                    <a:pt x="1050" y="426"/>
                  </a:lnTo>
                  <a:lnTo>
                    <a:pt x="1002" y="402"/>
                  </a:lnTo>
                  <a:lnTo>
                    <a:pt x="996" y="396"/>
                  </a:lnTo>
                  <a:lnTo>
                    <a:pt x="990" y="384"/>
                  </a:lnTo>
                  <a:lnTo>
                    <a:pt x="990" y="360"/>
                  </a:lnTo>
                  <a:lnTo>
                    <a:pt x="972" y="342"/>
                  </a:lnTo>
                  <a:lnTo>
                    <a:pt x="966" y="330"/>
                  </a:lnTo>
                  <a:lnTo>
                    <a:pt x="960" y="324"/>
                  </a:lnTo>
                  <a:lnTo>
                    <a:pt x="960" y="300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882" y="294"/>
                  </a:lnTo>
                  <a:lnTo>
                    <a:pt x="876" y="288"/>
                  </a:lnTo>
                  <a:lnTo>
                    <a:pt x="876" y="252"/>
                  </a:lnTo>
                  <a:lnTo>
                    <a:pt x="852" y="246"/>
                  </a:lnTo>
                  <a:lnTo>
                    <a:pt x="804" y="246"/>
                  </a:lnTo>
                  <a:lnTo>
                    <a:pt x="750" y="240"/>
                  </a:lnTo>
                  <a:lnTo>
                    <a:pt x="684" y="240"/>
                  </a:lnTo>
                  <a:lnTo>
                    <a:pt x="492" y="96"/>
                  </a:lnTo>
                  <a:lnTo>
                    <a:pt x="480" y="90"/>
                  </a:lnTo>
                  <a:lnTo>
                    <a:pt x="474" y="84"/>
                  </a:lnTo>
                  <a:lnTo>
                    <a:pt x="426" y="60"/>
                  </a:lnTo>
                  <a:lnTo>
                    <a:pt x="414" y="48"/>
                  </a:lnTo>
                  <a:lnTo>
                    <a:pt x="402" y="42"/>
                  </a:lnTo>
                  <a:lnTo>
                    <a:pt x="372" y="12"/>
                  </a:lnTo>
                  <a:lnTo>
                    <a:pt x="306" y="12"/>
                  </a:lnTo>
                  <a:lnTo>
                    <a:pt x="294" y="0"/>
                  </a:lnTo>
                  <a:lnTo>
                    <a:pt x="288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64" y="18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198" y="48"/>
                  </a:lnTo>
                  <a:lnTo>
                    <a:pt x="132" y="48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132" y="60"/>
                  </a:lnTo>
                  <a:lnTo>
                    <a:pt x="144" y="66"/>
                  </a:lnTo>
                  <a:lnTo>
                    <a:pt x="156" y="66"/>
                  </a:lnTo>
                  <a:lnTo>
                    <a:pt x="180" y="90"/>
                  </a:lnTo>
                  <a:lnTo>
                    <a:pt x="192" y="114"/>
                  </a:lnTo>
                  <a:lnTo>
                    <a:pt x="198" y="120"/>
                  </a:lnTo>
                  <a:lnTo>
                    <a:pt x="198" y="132"/>
                  </a:lnTo>
                  <a:lnTo>
                    <a:pt x="192" y="138"/>
                  </a:lnTo>
                  <a:lnTo>
                    <a:pt x="192" y="150"/>
                  </a:lnTo>
                  <a:lnTo>
                    <a:pt x="186" y="156"/>
                  </a:lnTo>
                  <a:lnTo>
                    <a:pt x="180" y="168"/>
                  </a:lnTo>
                  <a:lnTo>
                    <a:pt x="174" y="174"/>
                  </a:lnTo>
                  <a:lnTo>
                    <a:pt x="162" y="180"/>
                  </a:lnTo>
                  <a:lnTo>
                    <a:pt x="150" y="180"/>
                  </a:lnTo>
                  <a:lnTo>
                    <a:pt x="138" y="186"/>
                  </a:lnTo>
                  <a:lnTo>
                    <a:pt x="132" y="186"/>
                  </a:lnTo>
                  <a:lnTo>
                    <a:pt x="120" y="198"/>
                  </a:lnTo>
                  <a:lnTo>
                    <a:pt x="120" y="210"/>
                  </a:lnTo>
                  <a:lnTo>
                    <a:pt x="108" y="234"/>
                  </a:lnTo>
                  <a:lnTo>
                    <a:pt x="96" y="246"/>
                  </a:lnTo>
                  <a:lnTo>
                    <a:pt x="60" y="246"/>
                  </a:lnTo>
                  <a:lnTo>
                    <a:pt x="36" y="234"/>
                  </a:lnTo>
                  <a:lnTo>
                    <a:pt x="6" y="234"/>
                  </a:lnTo>
                  <a:lnTo>
                    <a:pt x="6" y="264"/>
                  </a:lnTo>
                  <a:lnTo>
                    <a:pt x="0" y="306"/>
                  </a:lnTo>
                  <a:lnTo>
                    <a:pt x="0" y="348"/>
                  </a:lnTo>
                  <a:lnTo>
                    <a:pt x="6" y="372"/>
                  </a:lnTo>
                  <a:lnTo>
                    <a:pt x="24" y="378"/>
                  </a:lnTo>
                  <a:lnTo>
                    <a:pt x="36" y="390"/>
                  </a:lnTo>
                  <a:lnTo>
                    <a:pt x="54" y="390"/>
                  </a:lnTo>
                  <a:lnTo>
                    <a:pt x="72" y="408"/>
                  </a:lnTo>
                  <a:lnTo>
                    <a:pt x="90" y="438"/>
                  </a:lnTo>
                  <a:lnTo>
                    <a:pt x="102" y="474"/>
                  </a:lnTo>
                  <a:lnTo>
                    <a:pt x="120" y="504"/>
                  </a:lnTo>
                  <a:lnTo>
                    <a:pt x="132" y="516"/>
                  </a:lnTo>
                  <a:lnTo>
                    <a:pt x="150" y="528"/>
                  </a:lnTo>
                  <a:lnTo>
                    <a:pt x="162" y="540"/>
                  </a:lnTo>
                  <a:lnTo>
                    <a:pt x="174" y="558"/>
                  </a:lnTo>
                  <a:lnTo>
                    <a:pt x="180" y="570"/>
                  </a:lnTo>
                  <a:lnTo>
                    <a:pt x="186" y="594"/>
                  </a:lnTo>
                  <a:lnTo>
                    <a:pt x="192" y="612"/>
                  </a:lnTo>
                  <a:lnTo>
                    <a:pt x="198" y="636"/>
                  </a:lnTo>
                  <a:lnTo>
                    <a:pt x="210" y="648"/>
                  </a:lnTo>
                  <a:lnTo>
                    <a:pt x="234" y="660"/>
                  </a:lnTo>
                  <a:lnTo>
                    <a:pt x="264" y="660"/>
                  </a:lnTo>
                  <a:lnTo>
                    <a:pt x="282" y="666"/>
                  </a:lnTo>
                  <a:lnTo>
                    <a:pt x="294" y="678"/>
                  </a:lnTo>
                  <a:lnTo>
                    <a:pt x="312" y="708"/>
                  </a:lnTo>
                  <a:lnTo>
                    <a:pt x="330" y="756"/>
                  </a:lnTo>
                  <a:lnTo>
                    <a:pt x="336" y="804"/>
                  </a:lnTo>
                  <a:lnTo>
                    <a:pt x="342" y="840"/>
                  </a:lnTo>
                  <a:lnTo>
                    <a:pt x="348" y="870"/>
                  </a:lnTo>
                  <a:lnTo>
                    <a:pt x="366" y="906"/>
                  </a:lnTo>
                  <a:lnTo>
                    <a:pt x="384" y="924"/>
                  </a:lnTo>
                  <a:lnTo>
                    <a:pt x="390" y="936"/>
                  </a:lnTo>
                  <a:lnTo>
                    <a:pt x="414" y="936"/>
                  </a:lnTo>
                  <a:lnTo>
                    <a:pt x="438" y="948"/>
                  </a:lnTo>
                  <a:lnTo>
                    <a:pt x="456" y="972"/>
                  </a:lnTo>
                  <a:lnTo>
                    <a:pt x="480" y="1008"/>
                  </a:lnTo>
                  <a:lnTo>
                    <a:pt x="504" y="1056"/>
                  </a:lnTo>
                  <a:lnTo>
                    <a:pt x="552" y="1128"/>
                  </a:lnTo>
                  <a:lnTo>
                    <a:pt x="582" y="1170"/>
                  </a:lnTo>
                  <a:lnTo>
                    <a:pt x="606" y="1206"/>
                  </a:lnTo>
                  <a:lnTo>
                    <a:pt x="618" y="1236"/>
                  </a:lnTo>
                  <a:lnTo>
                    <a:pt x="618" y="1266"/>
                  </a:lnTo>
                  <a:lnTo>
                    <a:pt x="612" y="1278"/>
                  </a:lnTo>
                  <a:lnTo>
                    <a:pt x="624" y="1266"/>
                  </a:lnTo>
                  <a:lnTo>
                    <a:pt x="630" y="1254"/>
                  </a:lnTo>
                  <a:lnTo>
                    <a:pt x="636" y="1248"/>
                  </a:lnTo>
                  <a:lnTo>
                    <a:pt x="636" y="1200"/>
                  </a:lnTo>
                  <a:lnTo>
                    <a:pt x="642" y="1188"/>
                  </a:lnTo>
                  <a:lnTo>
                    <a:pt x="648" y="1182"/>
                  </a:lnTo>
                  <a:lnTo>
                    <a:pt x="654" y="1182"/>
                  </a:lnTo>
                  <a:lnTo>
                    <a:pt x="672" y="1200"/>
                  </a:lnTo>
                  <a:lnTo>
                    <a:pt x="696" y="1194"/>
                  </a:lnTo>
                  <a:lnTo>
                    <a:pt x="702" y="1188"/>
                  </a:lnTo>
                  <a:lnTo>
                    <a:pt x="792" y="1188"/>
                  </a:lnTo>
                  <a:lnTo>
                    <a:pt x="804" y="1194"/>
                  </a:lnTo>
                  <a:lnTo>
                    <a:pt x="810" y="1200"/>
                  </a:lnTo>
                  <a:lnTo>
                    <a:pt x="888" y="1200"/>
                  </a:lnTo>
                  <a:lnTo>
                    <a:pt x="894" y="1206"/>
                  </a:lnTo>
                  <a:lnTo>
                    <a:pt x="900" y="1218"/>
                  </a:lnTo>
                  <a:lnTo>
                    <a:pt x="912" y="1224"/>
                  </a:lnTo>
                  <a:lnTo>
                    <a:pt x="924" y="1224"/>
                  </a:lnTo>
                  <a:lnTo>
                    <a:pt x="930" y="1212"/>
                  </a:lnTo>
                  <a:lnTo>
                    <a:pt x="936" y="1206"/>
                  </a:lnTo>
                  <a:lnTo>
                    <a:pt x="936" y="1188"/>
                  </a:lnTo>
                  <a:lnTo>
                    <a:pt x="942" y="1176"/>
                  </a:lnTo>
                  <a:lnTo>
                    <a:pt x="948" y="1170"/>
                  </a:lnTo>
                  <a:lnTo>
                    <a:pt x="954" y="1158"/>
                  </a:lnTo>
                  <a:lnTo>
                    <a:pt x="966" y="1146"/>
                  </a:lnTo>
                  <a:lnTo>
                    <a:pt x="972" y="1134"/>
                  </a:lnTo>
                  <a:lnTo>
                    <a:pt x="990" y="1116"/>
                  </a:lnTo>
                  <a:lnTo>
                    <a:pt x="1020" y="1098"/>
                  </a:lnTo>
                  <a:lnTo>
                    <a:pt x="1050" y="1092"/>
                  </a:lnTo>
                  <a:lnTo>
                    <a:pt x="1068" y="1086"/>
                  </a:lnTo>
                  <a:lnTo>
                    <a:pt x="1092" y="1086"/>
                  </a:lnTo>
                  <a:lnTo>
                    <a:pt x="1140" y="1080"/>
                  </a:lnTo>
                  <a:lnTo>
                    <a:pt x="1188" y="1068"/>
                  </a:lnTo>
                  <a:lnTo>
                    <a:pt x="1230" y="1062"/>
                  </a:lnTo>
                  <a:lnTo>
                    <a:pt x="1248" y="1062"/>
                  </a:lnTo>
                  <a:lnTo>
                    <a:pt x="1452" y="990"/>
                  </a:lnTo>
                  <a:lnTo>
                    <a:pt x="1488" y="816"/>
                  </a:lnTo>
                  <a:lnTo>
                    <a:pt x="1482" y="810"/>
                  </a:lnTo>
                  <a:lnTo>
                    <a:pt x="1470" y="804"/>
                  </a:lnTo>
                  <a:lnTo>
                    <a:pt x="1464" y="798"/>
                  </a:lnTo>
                  <a:lnTo>
                    <a:pt x="1464" y="79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60" name="Rwanda" descr="© INSCALE GmbH, 05.05.2010&#10;http://www.presentationload.com/"/>
            <p:cNvSpPr>
              <a:spLocks/>
            </p:cNvSpPr>
            <p:nvPr/>
          </p:nvSpPr>
          <p:spPr bwMode="gray">
            <a:xfrm>
              <a:off x="5132537" y="4329516"/>
              <a:ext cx="48634" cy="46542"/>
            </a:xfrm>
            <a:custGeom>
              <a:avLst/>
              <a:gdLst>
                <a:gd name="T0" fmla="*/ 2147483647 w 150"/>
                <a:gd name="T1" fmla="*/ 2147483647 h 150"/>
                <a:gd name="T2" fmla="*/ 2147483647 w 150"/>
                <a:gd name="T3" fmla="*/ 2147483647 h 150"/>
                <a:gd name="T4" fmla="*/ 2147483647 w 150"/>
                <a:gd name="T5" fmla="*/ 2147483647 h 150"/>
                <a:gd name="T6" fmla="*/ 2147483647 w 150"/>
                <a:gd name="T7" fmla="*/ 2147483647 h 150"/>
                <a:gd name="T8" fmla="*/ 2147483647 w 150"/>
                <a:gd name="T9" fmla="*/ 2147483647 h 150"/>
                <a:gd name="T10" fmla="*/ 2147483647 w 150"/>
                <a:gd name="T11" fmla="*/ 2147483647 h 150"/>
                <a:gd name="T12" fmla="*/ 2147483647 w 150"/>
                <a:gd name="T13" fmla="*/ 2147483647 h 150"/>
                <a:gd name="T14" fmla="*/ 2147483647 w 150"/>
                <a:gd name="T15" fmla="*/ 2147483647 h 150"/>
                <a:gd name="T16" fmla="*/ 2147483647 w 150"/>
                <a:gd name="T17" fmla="*/ 2147483647 h 150"/>
                <a:gd name="T18" fmla="*/ 2147483647 w 150"/>
                <a:gd name="T19" fmla="*/ 2147483647 h 150"/>
                <a:gd name="T20" fmla="*/ 2147483647 w 150"/>
                <a:gd name="T21" fmla="*/ 2147483647 h 150"/>
                <a:gd name="T22" fmla="*/ 2147483647 w 150"/>
                <a:gd name="T23" fmla="*/ 2147483647 h 150"/>
                <a:gd name="T24" fmla="*/ 2147483647 w 150"/>
                <a:gd name="T25" fmla="*/ 2147483647 h 150"/>
                <a:gd name="T26" fmla="*/ 2147483647 w 150"/>
                <a:gd name="T27" fmla="*/ 0 h 150"/>
                <a:gd name="T28" fmla="*/ 2147483647 w 150"/>
                <a:gd name="T29" fmla="*/ 2147483647 h 150"/>
                <a:gd name="T30" fmla="*/ 2147483647 w 150"/>
                <a:gd name="T31" fmla="*/ 2147483647 h 150"/>
                <a:gd name="T32" fmla="*/ 2147483647 w 150"/>
                <a:gd name="T33" fmla="*/ 2147483647 h 150"/>
                <a:gd name="T34" fmla="*/ 2147483647 w 150"/>
                <a:gd name="T35" fmla="*/ 2147483647 h 150"/>
                <a:gd name="T36" fmla="*/ 2147483647 w 150"/>
                <a:gd name="T37" fmla="*/ 2147483647 h 150"/>
                <a:gd name="T38" fmla="*/ 2147483647 w 150"/>
                <a:gd name="T39" fmla="*/ 2147483647 h 150"/>
                <a:gd name="T40" fmla="*/ 2147483647 w 150"/>
                <a:gd name="T41" fmla="*/ 2147483647 h 150"/>
                <a:gd name="T42" fmla="*/ 2147483647 w 150"/>
                <a:gd name="T43" fmla="*/ 2147483647 h 150"/>
                <a:gd name="T44" fmla="*/ 2147483647 w 150"/>
                <a:gd name="T45" fmla="*/ 2147483647 h 150"/>
                <a:gd name="T46" fmla="*/ 2147483647 w 150"/>
                <a:gd name="T47" fmla="*/ 2147483647 h 150"/>
                <a:gd name="T48" fmla="*/ 2147483647 w 150"/>
                <a:gd name="T49" fmla="*/ 2147483647 h 150"/>
                <a:gd name="T50" fmla="*/ 2147483647 w 150"/>
                <a:gd name="T51" fmla="*/ 2147483647 h 150"/>
                <a:gd name="T52" fmla="*/ 2147483647 w 150"/>
                <a:gd name="T53" fmla="*/ 2147483647 h 150"/>
                <a:gd name="T54" fmla="*/ 2147483647 w 150"/>
                <a:gd name="T55" fmla="*/ 2147483647 h 150"/>
                <a:gd name="T56" fmla="*/ 2147483647 w 150"/>
                <a:gd name="T57" fmla="*/ 2147483647 h 150"/>
                <a:gd name="T58" fmla="*/ 2147483647 w 150"/>
                <a:gd name="T59" fmla="*/ 2147483647 h 150"/>
                <a:gd name="T60" fmla="*/ 0 w 150"/>
                <a:gd name="T61" fmla="*/ 2147483647 h 150"/>
                <a:gd name="T62" fmla="*/ 0 w 150"/>
                <a:gd name="T63" fmla="*/ 2147483647 h 150"/>
                <a:gd name="T64" fmla="*/ 2147483647 w 150"/>
                <a:gd name="T65" fmla="*/ 2147483647 h 150"/>
                <a:gd name="T66" fmla="*/ 2147483647 w 150"/>
                <a:gd name="T67" fmla="*/ 2147483647 h 150"/>
                <a:gd name="T68" fmla="*/ 2147483647 w 150"/>
                <a:gd name="T69" fmla="*/ 2147483647 h 150"/>
                <a:gd name="T70" fmla="*/ 2147483647 w 150"/>
                <a:gd name="T71" fmla="*/ 2147483647 h 150"/>
                <a:gd name="T72" fmla="*/ 2147483647 w 150"/>
                <a:gd name="T73" fmla="*/ 2147483647 h 15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50"/>
                <a:gd name="T112" fmla="*/ 0 h 150"/>
                <a:gd name="T113" fmla="*/ 150 w 150"/>
                <a:gd name="T114" fmla="*/ 150 h 150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50" h="150">
                  <a:moveTo>
                    <a:pt x="48" y="150"/>
                  </a:moveTo>
                  <a:lnTo>
                    <a:pt x="54" y="150"/>
                  </a:lnTo>
                  <a:lnTo>
                    <a:pt x="60" y="144"/>
                  </a:lnTo>
                  <a:lnTo>
                    <a:pt x="72" y="138"/>
                  </a:lnTo>
                  <a:lnTo>
                    <a:pt x="78" y="114"/>
                  </a:lnTo>
                  <a:lnTo>
                    <a:pt x="138" y="114"/>
                  </a:lnTo>
                  <a:lnTo>
                    <a:pt x="150" y="102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48"/>
                  </a:lnTo>
                  <a:lnTo>
                    <a:pt x="138" y="42"/>
                  </a:lnTo>
                  <a:lnTo>
                    <a:pt x="132" y="30"/>
                  </a:lnTo>
                  <a:lnTo>
                    <a:pt x="126" y="24"/>
                  </a:lnTo>
                  <a:lnTo>
                    <a:pt x="132" y="0"/>
                  </a:lnTo>
                  <a:lnTo>
                    <a:pt x="108" y="6"/>
                  </a:lnTo>
                  <a:lnTo>
                    <a:pt x="108" y="12"/>
                  </a:lnTo>
                  <a:lnTo>
                    <a:pt x="102" y="18"/>
                  </a:lnTo>
                  <a:lnTo>
                    <a:pt x="90" y="42"/>
                  </a:lnTo>
                  <a:lnTo>
                    <a:pt x="84" y="42"/>
                  </a:lnTo>
                  <a:lnTo>
                    <a:pt x="72" y="30"/>
                  </a:lnTo>
                  <a:lnTo>
                    <a:pt x="54" y="30"/>
                  </a:lnTo>
                  <a:lnTo>
                    <a:pt x="48" y="36"/>
                  </a:lnTo>
                  <a:lnTo>
                    <a:pt x="24" y="48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30" y="78"/>
                  </a:lnTo>
                  <a:lnTo>
                    <a:pt x="30" y="90"/>
                  </a:lnTo>
                  <a:lnTo>
                    <a:pt x="18" y="102"/>
                  </a:lnTo>
                  <a:lnTo>
                    <a:pt x="6" y="108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30" y="132"/>
                  </a:lnTo>
                  <a:lnTo>
                    <a:pt x="36" y="144"/>
                  </a:lnTo>
                  <a:lnTo>
                    <a:pt x="42" y="150"/>
                  </a:lnTo>
                  <a:lnTo>
                    <a:pt x="48" y="15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61" name="Russia (Urup,Simushir)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7523280" y="2838947"/>
              <a:ext cx="97268" cy="371111"/>
            </a:xfrm>
            <a:custGeom>
              <a:avLst/>
              <a:gdLst>
                <a:gd name="T0" fmla="*/ 0 w 300"/>
                <a:gd name="T1" fmla="*/ 2147483647 h 1194"/>
                <a:gd name="T2" fmla="*/ 2147483647 w 300"/>
                <a:gd name="T3" fmla="*/ 2147483647 h 1194"/>
                <a:gd name="T4" fmla="*/ 2147483647 w 300"/>
                <a:gd name="T5" fmla="*/ 2147483647 h 1194"/>
                <a:gd name="T6" fmla="*/ 2147483647 w 300"/>
                <a:gd name="T7" fmla="*/ 2147483647 h 1194"/>
                <a:gd name="T8" fmla="*/ 0 w 300"/>
                <a:gd name="T9" fmla="*/ 2147483647 h 1194"/>
                <a:gd name="T10" fmla="*/ 2147483647 w 300"/>
                <a:gd name="T11" fmla="*/ 2147483647 h 1194"/>
                <a:gd name="T12" fmla="*/ 2147483647 w 300"/>
                <a:gd name="T13" fmla="*/ 2147483647 h 1194"/>
                <a:gd name="T14" fmla="*/ 2147483647 w 300"/>
                <a:gd name="T15" fmla="*/ 2147483647 h 1194"/>
                <a:gd name="T16" fmla="*/ 2147483647 w 300"/>
                <a:gd name="T17" fmla="*/ 2147483647 h 1194"/>
                <a:gd name="T18" fmla="*/ 2147483647 w 300"/>
                <a:gd name="T19" fmla="*/ 2147483647 h 1194"/>
                <a:gd name="T20" fmla="*/ 2147483647 w 300"/>
                <a:gd name="T21" fmla="*/ 2147483647 h 1194"/>
                <a:gd name="T22" fmla="*/ 2147483647 w 300"/>
                <a:gd name="T23" fmla="*/ 2147483647 h 1194"/>
                <a:gd name="T24" fmla="*/ 2147483647 w 300"/>
                <a:gd name="T25" fmla="*/ 2147483647 h 1194"/>
                <a:gd name="T26" fmla="*/ 2147483647 w 300"/>
                <a:gd name="T27" fmla="*/ 2147483647 h 1194"/>
                <a:gd name="T28" fmla="*/ 2147483647 w 300"/>
                <a:gd name="T29" fmla="*/ 2147483647 h 1194"/>
                <a:gd name="T30" fmla="*/ 2147483647 w 300"/>
                <a:gd name="T31" fmla="*/ 2147483647 h 1194"/>
                <a:gd name="T32" fmla="*/ 2147483647 w 300"/>
                <a:gd name="T33" fmla="*/ 2147483647 h 1194"/>
                <a:gd name="T34" fmla="*/ 2147483647 w 300"/>
                <a:gd name="T35" fmla="*/ 2147483647 h 1194"/>
                <a:gd name="T36" fmla="*/ 2147483647 w 300"/>
                <a:gd name="T37" fmla="*/ 2147483647 h 1194"/>
                <a:gd name="T38" fmla="*/ 2147483647 w 300"/>
                <a:gd name="T39" fmla="*/ 2147483647 h 1194"/>
                <a:gd name="T40" fmla="*/ 2147483647 w 300"/>
                <a:gd name="T41" fmla="*/ 2147483647 h 1194"/>
                <a:gd name="T42" fmla="*/ 2147483647 w 300"/>
                <a:gd name="T43" fmla="*/ 2147483647 h 1194"/>
                <a:gd name="T44" fmla="*/ 2147483647 w 300"/>
                <a:gd name="T45" fmla="*/ 2147483647 h 1194"/>
                <a:gd name="T46" fmla="*/ 2147483647 w 300"/>
                <a:gd name="T47" fmla="*/ 2147483647 h 1194"/>
                <a:gd name="T48" fmla="*/ 2147483647 w 300"/>
                <a:gd name="T49" fmla="*/ 2147483647 h 1194"/>
                <a:gd name="T50" fmla="*/ 2147483647 w 300"/>
                <a:gd name="T51" fmla="*/ 2147483647 h 1194"/>
                <a:gd name="T52" fmla="*/ 2147483647 w 300"/>
                <a:gd name="T53" fmla="*/ 2147483647 h 1194"/>
                <a:gd name="T54" fmla="*/ 2147483647 w 300"/>
                <a:gd name="T55" fmla="*/ 2147483647 h 1194"/>
                <a:gd name="T56" fmla="*/ 2147483647 w 300"/>
                <a:gd name="T57" fmla="*/ 2147483647 h 1194"/>
                <a:gd name="T58" fmla="*/ 2147483647 w 300"/>
                <a:gd name="T59" fmla="*/ 2147483647 h 1194"/>
                <a:gd name="T60" fmla="*/ 2147483647 w 300"/>
                <a:gd name="T61" fmla="*/ 2147483647 h 1194"/>
                <a:gd name="T62" fmla="*/ 2147483647 w 300"/>
                <a:gd name="T63" fmla="*/ 2147483647 h 1194"/>
                <a:gd name="T64" fmla="*/ 2147483647 w 300"/>
                <a:gd name="T65" fmla="*/ 2147483647 h 1194"/>
                <a:gd name="T66" fmla="*/ 2147483647 w 300"/>
                <a:gd name="T67" fmla="*/ 2147483647 h 1194"/>
                <a:gd name="T68" fmla="*/ 2147483647 w 300"/>
                <a:gd name="T69" fmla="*/ 2147483647 h 1194"/>
                <a:gd name="T70" fmla="*/ 2147483647 w 300"/>
                <a:gd name="T71" fmla="*/ 2147483647 h 1194"/>
                <a:gd name="T72" fmla="*/ 2147483647 w 300"/>
                <a:gd name="T73" fmla="*/ 2147483647 h 1194"/>
                <a:gd name="T74" fmla="*/ 2147483647 w 300"/>
                <a:gd name="T75" fmla="*/ 2147483647 h 1194"/>
                <a:gd name="T76" fmla="*/ 2147483647 w 300"/>
                <a:gd name="T77" fmla="*/ 2147483647 h 1194"/>
                <a:gd name="T78" fmla="*/ 2147483647 w 300"/>
                <a:gd name="T79" fmla="*/ 2147483647 h 1194"/>
                <a:gd name="T80" fmla="*/ 2147483647 w 300"/>
                <a:gd name="T81" fmla="*/ 2147483647 h 1194"/>
                <a:gd name="T82" fmla="*/ 2147483647 w 300"/>
                <a:gd name="T83" fmla="*/ 2147483647 h 1194"/>
                <a:gd name="T84" fmla="*/ 2147483647 w 300"/>
                <a:gd name="T85" fmla="*/ 2147483647 h 1194"/>
                <a:gd name="T86" fmla="*/ 2147483647 w 300"/>
                <a:gd name="T87" fmla="*/ 2147483647 h 1194"/>
                <a:gd name="T88" fmla="*/ 2147483647 w 300"/>
                <a:gd name="T89" fmla="*/ 2147483647 h 1194"/>
                <a:gd name="T90" fmla="*/ 2147483647 w 300"/>
                <a:gd name="T91" fmla="*/ 2147483647 h 1194"/>
                <a:gd name="T92" fmla="*/ 2147483647 w 300"/>
                <a:gd name="T93" fmla="*/ 2147483647 h 1194"/>
                <a:gd name="T94" fmla="*/ 2147483647 w 300"/>
                <a:gd name="T95" fmla="*/ 2147483647 h 1194"/>
                <a:gd name="T96" fmla="*/ 2147483647 w 300"/>
                <a:gd name="T97" fmla="*/ 2147483647 h 1194"/>
                <a:gd name="T98" fmla="*/ 2147483647 w 300"/>
                <a:gd name="T99" fmla="*/ 0 h 1194"/>
                <a:gd name="T100" fmla="*/ 2147483647 w 300"/>
                <a:gd name="T101" fmla="*/ 2147483647 h 119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300"/>
                <a:gd name="T154" fmla="*/ 0 h 1194"/>
                <a:gd name="T155" fmla="*/ 300 w 300"/>
                <a:gd name="T156" fmla="*/ 1194 h 1194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300" h="1194">
                  <a:moveTo>
                    <a:pt x="0" y="1194"/>
                  </a:moveTo>
                  <a:lnTo>
                    <a:pt x="12" y="1188"/>
                  </a:lnTo>
                  <a:lnTo>
                    <a:pt x="36" y="1146"/>
                  </a:lnTo>
                  <a:lnTo>
                    <a:pt x="18" y="1134"/>
                  </a:lnTo>
                  <a:lnTo>
                    <a:pt x="0" y="1194"/>
                  </a:lnTo>
                  <a:close/>
                  <a:moveTo>
                    <a:pt x="114" y="1068"/>
                  </a:moveTo>
                  <a:lnTo>
                    <a:pt x="72" y="1062"/>
                  </a:lnTo>
                  <a:lnTo>
                    <a:pt x="54" y="1134"/>
                  </a:lnTo>
                  <a:lnTo>
                    <a:pt x="66" y="1134"/>
                  </a:lnTo>
                  <a:lnTo>
                    <a:pt x="84" y="1104"/>
                  </a:lnTo>
                  <a:lnTo>
                    <a:pt x="132" y="1074"/>
                  </a:lnTo>
                  <a:lnTo>
                    <a:pt x="120" y="1050"/>
                  </a:lnTo>
                  <a:lnTo>
                    <a:pt x="114" y="1068"/>
                  </a:lnTo>
                  <a:close/>
                  <a:moveTo>
                    <a:pt x="192" y="1008"/>
                  </a:moveTo>
                  <a:lnTo>
                    <a:pt x="186" y="1008"/>
                  </a:lnTo>
                  <a:lnTo>
                    <a:pt x="180" y="1020"/>
                  </a:lnTo>
                  <a:lnTo>
                    <a:pt x="174" y="1026"/>
                  </a:lnTo>
                  <a:lnTo>
                    <a:pt x="168" y="1038"/>
                  </a:lnTo>
                  <a:lnTo>
                    <a:pt x="168" y="1044"/>
                  </a:lnTo>
                  <a:lnTo>
                    <a:pt x="174" y="1050"/>
                  </a:lnTo>
                  <a:lnTo>
                    <a:pt x="180" y="1050"/>
                  </a:lnTo>
                  <a:lnTo>
                    <a:pt x="198" y="1032"/>
                  </a:lnTo>
                  <a:lnTo>
                    <a:pt x="198" y="1014"/>
                  </a:lnTo>
                  <a:lnTo>
                    <a:pt x="192" y="1008"/>
                  </a:lnTo>
                  <a:close/>
                  <a:moveTo>
                    <a:pt x="282" y="636"/>
                  </a:moveTo>
                  <a:lnTo>
                    <a:pt x="264" y="654"/>
                  </a:lnTo>
                  <a:lnTo>
                    <a:pt x="276" y="678"/>
                  </a:lnTo>
                  <a:lnTo>
                    <a:pt x="258" y="678"/>
                  </a:lnTo>
                  <a:lnTo>
                    <a:pt x="258" y="702"/>
                  </a:lnTo>
                  <a:lnTo>
                    <a:pt x="282" y="702"/>
                  </a:lnTo>
                  <a:lnTo>
                    <a:pt x="294" y="684"/>
                  </a:lnTo>
                  <a:lnTo>
                    <a:pt x="282" y="654"/>
                  </a:lnTo>
                  <a:lnTo>
                    <a:pt x="300" y="654"/>
                  </a:lnTo>
                  <a:lnTo>
                    <a:pt x="282" y="636"/>
                  </a:lnTo>
                  <a:close/>
                  <a:moveTo>
                    <a:pt x="276" y="768"/>
                  </a:moveTo>
                  <a:lnTo>
                    <a:pt x="294" y="750"/>
                  </a:lnTo>
                  <a:lnTo>
                    <a:pt x="270" y="732"/>
                  </a:lnTo>
                  <a:lnTo>
                    <a:pt x="276" y="768"/>
                  </a:lnTo>
                  <a:close/>
                  <a:moveTo>
                    <a:pt x="258" y="954"/>
                  </a:moveTo>
                  <a:lnTo>
                    <a:pt x="258" y="924"/>
                  </a:lnTo>
                  <a:lnTo>
                    <a:pt x="240" y="948"/>
                  </a:lnTo>
                  <a:lnTo>
                    <a:pt x="258" y="954"/>
                  </a:lnTo>
                  <a:close/>
                  <a:moveTo>
                    <a:pt x="252" y="858"/>
                  </a:moveTo>
                  <a:lnTo>
                    <a:pt x="270" y="858"/>
                  </a:lnTo>
                  <a:lnTo>
                    <a:pt x="252" y="840"/>
                  </a:lnTo>
                  <a:lnTo>
                    <a:pt x="252" y="858"/>
                  </a:lnTo>
                  <a:close/>
                  <a:moveTo>
                    <a:pt x="126" y="24"/>
                  </a:moveTo>
                  <a:lnTo>
                    <a:pt x="144" y="60"/>
                  </a:lnTo>
                  <a:lnTo>
                    <a:pt x="174" y="24"/>
                  </a:lnTo>
                  <a:lnTo>
                    <a:pt x="162" y="0"/>
                  </a:lnTo>
                  <a:lnTo>
                    <a:pt x="126" y="2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62" name="Russia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4889367" y="2378426"/>
              <a:ext cx="2934675" cy="895321"/>
            </a:xfrm>
            <a:custGeom>
              <a:avLst/>
              <a:gdLst>
                <a:gd name="T0" fmla="*/ 2147483647 w 9048"/>
                <a:gd name="T1" fmla="*/ 2147483647 h 2880"/>
                <a:gd name="T2" fmla="*/ 2147483647 w 9048"/>
                <a:gd name="T3" fmla="*/ 2147483647 h 2880"/>
                <a:gd name="T4" fmla="*/ 2147483647 w 9048"/>
                <a:gd name="T5" fmla="*/ 2147483647 h 2880"/>
                <a:gd name="T6" fmla="*/ 2147483647 w 9048"/>
                <a:gd name="T7" fmla="*/ 2147483647 h 2880"/>
                <a:gd name="T8" fmla="*/ 2147483647 w 9048"/>
                <a:gd name="T9" fmla="*/ 2147483647 h 2880"/>
                <a:gd name="T10" fmla="*/ 2147483647 w 9048"/>
                <a:gd name="T11" fmla="*/ 2147483647 h 2880"/>
                <a:gd name="T12" fmla="*/ 2147483647 w 9048"/>
                <a:gd name="T13" fmla="*/ 2147483647 h 2880"/>
                <a:gd name="T14" fmla="*/ 2147483647 w 9048"/>
                <a:gd name="T15" fmla="*/ 2147483647 h 2880"/>
                <a:gd name="T16" fmla="*/ 2147483647 w 9048"/>
                <a:gd name="T17" fmla="*/ 2147483647 h 2880"/>
                <a:gd name="T18" fmla="*/ 2147483647 w 9048"/>
                <a:gd name="T19" fmla="*/ 2147483647 h 2880"/>
                <a:gd name="T20" fmla="*/ 2147483647 w 9048"/>
                <a:gd name="T21" fmla="*/ 2147483647 h 2880"/>
                <a:gd name="T22" fmla="*/ 2147483647 w 9048"/>
                <a:gd name="T23" fmla="*/ 2147483647 h 2880"/>
                <a:gd name="T24" fmla="*/ 2147483647 w 9048"/>
                <a:gd name="T25" fmla="*/ 2147483647 h 2880"/>
                <a:gd name="T26" fmla="*/ 2147483647 w 9048"/>
                <a:gd name="T27" fmla="*/ 2147483647 h 2880"/>
                <a:gd name="T28" fmla="*/ 2147483647 w 9048"/>
                <a:gd name="T29" fmla="*/ 2147483647 h 2880"/>
                <a:gd name="T30" fmla="*/ 2147483647 w 9048"/>
                <a:gd name="T31" fmla="*/ 2147483647 h 2880"/>
                <a:gd name="T32" fmla="*/ 2147483647 w 9048"/>
                <a:gd name="T33" fmla="*/ 2147483647 h 2880"/>
                <a:gd name="T34" fmla="*/ 2147483647 w 9048"/>
                <a:gd name="T35" fmla="*/ 2147483647 h 2880"/>
                <a:gd name="T36" fmla="*/ 2147483647 w 9048"/>
                <a:gd name="T37" fmla="*/ 2147483647 h 2880"/>
                <a:gd name="T38" fmla="*/ 2147483647 w 9048"/>
                <a:gd name="T39" fmla="*/ 2147483647 h 2880"/>
                <a:gd name="T40" fmla="*/ 2147483647 w 9048"/>
                <a:gd name="T41" fmla="*/ 2147483647 h 2880"/>
                <a:gd name="T42" fmla="*/ 2147483647 w 9048"/>
                <a:gd name="T43" fmla="*/ 2147483647 h 2880"/>
                <a:gd name="T44" fmla="*/ 2147483647 w 9048"/>
                <a:gd name="T45" fmla="*/ 2147483647 h 2880"/>
                <a:gd name="T46" fmla="*/ 2147483647 w 9048"/>
                <a:gd name="T47" fmla="*/ 2147483647 h 2880"/>
                <a:gd name="T48" fmla="*/ 2147483647 w 9048"/>
                <a:gd name="T49" fmla="*/ 2147483647 h 2880"/>
                <a:gd name="T50" fmla="*/ 2147483647 w 9048"/>
                <a:gd name="T51" fmla="*/ 2147483647 h 2880"/>
                <a:gd name="T52" fmla="*/ 2147483647 w 9048"/>
                <a:gd name="T53" fmla="*/ 2147483647 h 2880"/>
                <a:gd name="T54" fmla="*/ 2147483647 w 9048"/>
                <a:gd name="T55" fmla="*/ 2147483647 h 2880"/>
                <a:gd name="T56" fmla="*/ 2147483647 w 9048"/>
                <a:gd name="T57" fmla="*/ 2147483647 h 2880"/>
                <a:gd name="T58" fmla="*/ 2147483647 w 9048"/>
                <a:gd name="T59" fmla="*/ 2147483647 h 2880"/>
                <a:gd name="T60" fmla="*/ 2147483647 w 9048"/>
                <a:gd name="T61" fmla="*/ 2147483647 h 2880"/>
                <a:gd name="T62" fmla="*/ 2147483647 w 9048"/>
                <a:gd name="T63" fmla="*/ 2147483647 h 2880"/>
                <a:gd name="T64" fmla="*/ 2147483647 w 9048"/>
                <a:gd name="T65" fmla="*/ 2147483647 h 2880"/>
                <a:gd name="T66" fmla="*/ 2147483647 w 9048"/>
                <a:gd name="T67" fmla="*/ 2147483647 h 2880"/>
                <a:gd name="T68" fmla="*/ 2147483647 w 9048"/>
                <a:gd name="T69" fmla="*/ 2147483647 h 2880"/>
                <a:gd name="T70" fmla="*/ 2147483647 w 9048"/>
                <a:gd name="T71" fmla="*/ 2147483647 h 2880"/>
                <a:gd name="T72" fmla="*/ 2147483647 w 9048"/>
                <a:gd name="T73" fmla="*/ 2147483647 h 2880"/>
                <a:gd name="T74" fmla="*/ 2147483647 w 9048"/>
                <a:gd name="T75" fmla="*/ 2147483647 h 2880"/>
                <a:gd name="T76" fmla="*/ 2147483647 w 9048"/>
                <a:gd name="T77" fmla="*/ 2147483647 h 2880"/>
                <a:gd name="T78" fmla="*/ 2147483647 w 9048"/>
                <a:gd name="T79" fmla="*/ 2147483647 h 2880"/>
                <a:gd name="T80" fmla="*/ 2147483647 w 9048"/>
                <a:gd name="T81" fmla="*/ 2147483647 h 2880"/>
                <a:gd name="T82" fmla="*/ 2147483647 w 9048"/>
                <a:gd name="T83" fmla="*/ 2147483647 h 2880"/>
                <a:gd name="T84" fmla="*/ 2147483647 w 9048"/>
                <a:gd name="T85" fmla="*/ 2147483647 h 2880"/>
                <a:gd name="T86" fmla="*/ 2147483647 w 9048"/>
                <a:gd name="T87" fmla="*/ 2147483647 h 2880"/>
                <a:gd name="T88" fmla="*/ 2147483647 w 9048"/>
                <a:gd name="T89" fmla="*/ 2147483647 h 2880"/>
                <a:gd name="T90" fmla="*/ 2147483647 w 9048"/>
                <a:gd name="T91" fmla="*/ 2147483647 h 2880"/>
                <a:gd name="T92" fmla="*/ 2147483647 w 9048"/>
                <a:gd name="T93" fmla="*/ 2147483647 h 2880"/>
                <a:gd name="T94" fmla="*/ 2147483647 w 9048"/>
                <a:gd name="T95" fmla="*/ 2147483647 h 2880"/>
                <a:gd name="T96" fmla="*/ 2147483647 w 9048"/>
                <a:gd name="T97" fmla="*/ 2147483647 h 2880"/>
                <a:gd name="T98" fmla="*/ 2147483647 w 9048"/>
                <a:gd name="T99" fmla="*/ 2147483647 h 2880"/>
                <a:gd name="T100" fmla="*/ 2147483647 w 9048"/>
                <a:gd name="T101" fmla="*/ 2147483647 h 2880"/>
                <a:gd name="T102" fmla="*/ 2147483647 w 9048"/>
                <a:gd name="T103" fmla="*/ 2147483647 h 2880"/>
                <a:gd name="T104" fmla="*/ 2147483647 w 9048"/>
                <a:gd name="T105" fmla="*/ 2147483647 h 2880"/>
                <a:gd name="T106" fmla="*/ 2147483647 w 9048"/>
                <a:gd name="T107" fmla="*/ 2147483647 h 2880"/>
                <a:gd name="T108" fmla="*/ 2147483647 w 9048"/>
                <a:gd name="T109" fmla="*/ 2147483647 h 2880"/>
                <a:gd name="T110" fmla="*/ 2147483647 w 9048"/>
                <a:gd name="T111" fmla="*/ 2147483647 h 2880"/>
                <a:gd name="T112" fmla="*/ 2147483647 w 9048"/>
                <a:gd name="T113" fmla="*/ 2147483647 h 2880"/>
                <a:gd name="T114" fmla="*/ 2147483647 w 9048"/>
                <a:gd name="T115" fmla="*/ 2147483647 h 2880"/>
                <a:gd name="T116" fmla="*/ 2147483647 w 9048"/>
                <a:gd name="T117" fmla="*/ 2147483647 h 2880"/>
                <a:gd name="T118" fmla="*/ 2147483647 w 9048"/>
                <a:gd name="T119" fmla="*/ 2147483647 h 2880"/>
                <a:gd name="T120" fmla="*/ 2147483647 w 9048"/>
                <a:gd name="T121" fmla="*/ 2147483647 h 2880"/>
                <a:gd name="T122" fmla="*/ 2147483647 w 9048"/>
                <a:gd name="T123" fmla="*/ 2147483647 h 2880"/>
                <a:gd name="T124" fmla="*/ 2147483647 w 9048"/>
                <a:gd name="T125" fmla="*/ 2147483647 h 288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9048"/>
                <a:gd name="T190" fmla="*/ 0 h 2880"/>
                <a:gd name="T191" fmla="*/ 9048 w 9048"/>
                <a:gd name="T192" fmla="*/ 2880 h 288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9048" h="2880">
                  <a:moveTo>
                    <a:pt x="2790" y="546"/>
                  </a:moveTo>
                  <a:lnTo>
                    <a:pt x="2760" y="540"/>
                  </a:lnTo>
                  <a:lnTo>
                    <a:pt x="2736" y="558"/>
                  </a:lnTo>
                  <a:lnTo>
                    <a:pt x="2778" y="570"/>
                  </a:lnTo>
                  <a:lnTo>
                    <a:pt x="2790" y="546"/>
                  </a:lnTo>
                  <a:close/>
                  <a:moveTo>
                    <a:pt x="2832" y="522"/>
                  </a:moveTo>
                  <a:lnTo>
                    <a:pt x="2820" y="516"/>
                  </a:lnTo>
                  <a:lnTo>
                    <a:pt x="2814" y="510"/>
                  </a:lnTo>
                  <a:lnTo>
                    <a:pt x="2808" y="510"/>
                  </a:lnTo>
                  <a:lnTo>
                    <a:pt x="2808" y="528"/>
                  </a:lnTo>
                  <a:lnTo>
                    <a:pt x="2820" y="534"/>
                  </a:lnTo>
                  <a:lnTo>
                    <a:pt x="2832" y="534"/>
                  </a:lnTo>
                  <a:lnTo>
                    <a:pt x="2844" y="540"/>
                  </a:lnTo>
                  <a:lnTo>
                    <a:pt x="2850" y="540"/>
                  </a:lnTo>
                  <a:lnTo>
                    <a:pt x="2850" y="534"/>
                  </a:lnTo>
                  <a:lnTo>
                    <a:pt x="2844" y="528"/>
                  </a:lnTo>
                  <a:lnTo>
                    <a:pt x="2832" y="522"/>
                  </a:lnTo>
                  <a:close/>
                  <a:moveTo>
                    <a:pt x="1704" y="18"/>
                  </a:moveTo>
                  <a:lnTo>
                    <a:pt x="1710" y="18"/>
                  </a:lnTo>
                  <a:lnTo>
                    <a:pt x="1716" y="12"/>
                  </a:lnTo>
                  <a:lnTo>
                    <a:pt x="1728" y="6"/>
                  </a:lnTo>
                  <a:lnTo>
                    <a:pt x="1734" y="0"/>
                  </a:lnTo>
                  <a:lnTo>
                    <a:pt x="1644" y="0"/>
                  </a:lnTo>
                  <a:lnTo>
                    <a:pt x="1638" y="12"/>
                  </a:lnTo>
                  <a:lnTo>
                    <a:pt x="1680" y="12"/>
                  </a:lnTo>
                  <a:lnTo>
                    <a:pt x="1686" y="18"/>
                  </a:lnTo>
                  <a:lnTo>
                    <a:pt x="1704" y="18"/>
                  </a:lnTo>
                  <a:close/>
                  <a:moveTo>
                    <a:pt x="1740" y="60"/>
                  </a:moveTo>
                  <a:lnTo>
                    <a:pt x="1746" y="60"/>
                  </a:lnTo>
                  <a:lnTo>
                    <a:pt x="1758" y="48"/>
                  </a:lnTo>
                  <a:lnTo>
                    <a:pt x="1764" y="48"/>
                  </a:lnTo>
                  <a:lnTo>
                    <a:pt x="1770" y="54"/>
                  </a:lnTo>
                  <a:lnTo>
                    <a:pt x="1782" y="54"/>
                  </a:lnTo>
                  <a:lnTo>
                    <a:pt x="1788" y="60"/>
                  </a:lnTo>
                  <a:lnTo>
                    <a:pt x="1800" y="60"/>
                  </a:lnTo>
                  <a:lnTo>
                    <a:pt x="1812" y="48"/>
                  </a:lnTo>
                  <a:lnTo>
                    <a:pt x="1812" y="36"/>
                  </a:lnTo>
                  <a:lnTo>
                    <a:pt x="1806" y="30"/>
                  </a:lnTo>
                  <a:lnTo>
                    <a:pt x="1794" y="24"/>
                  </a:lnTo>
                  <a:lnTo>
                    <a:pt x="1758" y="24"/>
                  </a:lnTo>
                  <a:lnTo>
                    <a:pt x="1710" y="48"/>
                  </a:lnTo>
                  <a:lnTo>
                    <a:pt x="1716" y="54"/>
                  </a:lnTo>
                  <a:lnTo>
                    <a:pt x="1728" y="60"/>
                  </a:lnTo>
                  <a:lnTo>
                    <a:pt x="1740" y="60"/>
                  </a:lnTo>
                  <a:close/>
                  <a:moveTo>
                    <a:pt x="2382" y="510"/>
                  </a:moveTo>
                  <a:lnTo>
                    <a:pt x="2400" y="504"/>
                  </a:lnTo>
                  <a:lnTo>
                    <a:pt x="2412" y="498"/>
                  </a:lnTo>
                  <a:lnTo>
                    <a:pt x="2412" y="486"/>
                  </a:lnTo>
                  <a:lnTo>
                    <a:pt x="2406" y="486"/>
                  </a:lnTo>
                  <a:lnTo>
                    <a:pt x="2400" y="480"/>
                  </a:lnTo>
                  <a:lnTo>
                    <a:pt x="2346" y="480"/>
                  </a:lnTo>
                  <a:lnTo>
                    <a:pt x="2346" y="492"/>
                  </a:lnTo>
                  <a:lnTo>
                    <a:pt x="2358" y="504"/>
                  </a:lnTo>
                  <a:lnTo>
                    <a:pt x="2370" y="510"/>
                  </a:lnTo>
                  <a:lnTo>
                    <a:pt x="2382" y="510"/>
                  </a:lnTo>
                  <a:close/>
                  <a:moveTo>
                    <a:pt x="1590" y="30"/>
                  </a:moveTo>
                  <a:lnTo>
                    <a:pt x="1548" y="24"/>
                  </a:lnTo>
                  <a:lnTo>
                    <a:pt x="1554" y="36"/>
                  </a:lnTo>
                  <a:lnTo>
                    <a:pt x="1590" y="30"/>
                  </a:lnTo>
                  <a:close/>
                  <a:moveTo>
                    <a:pt x="1890" y="696"/>
                  </a:moveTo>
                  <a:lnTo>
                    <a:pt x="1896" y="708"/>
                  </a:lnTo>
                  <a:lnTo>
                    <a:pt x="1920" y="720"/>
                  </a:lnTo>
                  <a:lnTo>
                    <a:pt x="1950" y="738"/>
                  </a:lnTo>
                  <a:lnTo>
                    <a:pt x="1974" y="744"/>
                  </a:lnTo>
                  <a:lnTo>
                    <a:pt x="1992" y="738"/>
                  </a:lnTo>
                  <a:lnTo>
                    <a:pt x="1980" y="720"/>
                  </a:lnTo>
                  <a:lnTo>
                    <a:pt x="1950" y="702"/>
                  </a:lnTo>
                  <a:lnTo>
                    <a:pt x="1914" y="696"/>
                  </a:lnTo>
                  <a:lnTo>
                    <a:pt x="1890" y="696"/>
                  </a:lnTo>
                  <a:close/>
                  <a:moveTo>
                    <a:pt x="3108" y="126"/>
                  </a:moveTo>
                  <a:lnTo>
                    <a:pt x="3120" y="108"/>
                  </a:lnTo>
                  <a:lnTo>
                    <a:pt x="3030" y="108"/>
                  </a:lnTo>
                  <a:lnTo>
                    <a:pt x="3108" y="126"/>
                  </a:lnTo>
                  <a:close/>
                  <a:moveTo>
                    <a:pt x="1560" y="102"/>
                  </a:moveTo>
                  <a:lnTo>
                    <a:pt x="1632" y="102"/>
                  </a:lnTo>
                  <a:lnTo>
                    <a:pt x="1608" y="84"/>
                  </a:lnTo>
                  <a:lnTo>
                    <a:pt x="1560" y="102"/>
                  </a:lnTo>
                  <a:close/>
                  <a:moveTo>
                    <a:pt x="1572" y="60"/>
                  </a:moveTo>
                  <a:lnTo>
                    <a:pt x="1584" y="66"/>
                  </a:lnTo>
                  <a:lnTo>
                    <a:pt x="1596" y="78"/>
                  </a:lnTo>
                  <a:lnTo>
                    <a:pt x="1620" y="66"/>
                  </a:lnTo>
                  <a:lnTo>
                    <a:pt x="1620" y="72"/>
                  </a:lnTo>
                  <a:lnTo>
                    <a:pt x="1644" y="72"/>
                  </a:lnTo>
                  <a:lnTo>
                    <a:pt x="1668" y="60"/>
                  </a:lnTo>
                  <a:lnTo>
                    <a:pt x="1674" y="54"/>
                  </a:lnTo>
                  <a:lnTo>
                    <a:pt x="1680" y="54"/>
                  </a:lnTo>
                  <a:lnTo>
                    <a:pt x="1626" y="48"/>
                  </a:lnTo>
                  <a:lnTo>
                    <a:pt x="1614" y="54"/>
                  </a:lnTo>
                  <a:lnTo>
                    <a:pt x="1608" y="54"/>
                  </a:lnTo>
                  <a:lnTo>
                    <a:pt x="1602" y="48"/>
                  </a:lnTo>
                  <a:lnTo>
                    <a:pt x="1584" y="48"/>
                  </a:lnTo>
                  <a:lnTo>
                    <a:pt x="1572" y="60"/>
                  </a:lnTo>
                  <a:close/>
                  <a:moveTo>
                    <a:pt x="1662" y="36"/>
                  </a:moveTo>
                  <a:lnTo>
                    <a:pt x="1602" y="36"/>
                  </a:lnTo>
                  <a:lnTo>
                    <a:pt x="1650" y="48"/>
                  </a:lnTo>
                  <a:lnTo>
                    <a:pt x="1662" y="36"/>
                  </a:lnTo>
                  <a:close/>
                  <a:moveTo>
                    <a:pt x="1542" y="522"/>
                  </a:moveTo>
                  <a:lnTo>
                    <a:pt x="1500" y="528"/>
                  </a:lnTo>
                  <a:lnTo>
                    <a:pt x="1512" y="552"/>
                  </a:lnTo>
                  <a:lnTo>
                    <a:pt x="1542" y="534"/>
                  </a:lnTo>
                  <a:lnTo>
                    <a:pt x="1524" y="558"/>
                  </a:lnTo>
                  <a:lnTo>
                    <a:pt x="1518" y="558"/>
                  </a:lnTo>
                  <a:lnTo>
                    <a:pt x="1512" y="564"/>
                  </a:lnTo>
                  <a:lnTo>
                    <a:pt x="1506" y="564"/>
                  </a:lnTo>
                  <a:lnTo>
                    <a:pt x="1494" y="570"/>
                  </a:lnTo>
                  <a:lnTo>
                    <a:pt x="1488" y="576"/>
                  </a:lnTo>
                  <a:lnTo>
                    <a:pt x="1488" y="582"/>
                  </a:lnTo>
                  <a:lnTo>
                    <a:pt x="1500" y="594"/>
                  </a:lnTo>
                  <a:lnTo>
                    <a:pt x="1524" y="606"/>
                  </a:lnTo>
                  <a:lnTo>
                    <a:pt x="1566" y="606"/>
                  </a:lnTo>
                  <a:lnTo>
                    <a:pt x="1590" y="612"/>
                  </a:lnTo>
                  <a:lnTo>
                    <a:pt x="1608" y="618"/>
                  </a:lnTo>
                  <a:lnTo>
                    <a:pt x="1614" y="624"/>
                  </a:lnTo>
                  <a:lnTo>
                    <a:pt x="1620" y="636"/>
                  </a:lnTo>
                  <a:lnTo>
                    <a:pt x="1620" y="648"/>
                  </a:lnTo>
                  <a:lnTo>
                    <a:pt x="1626" y="654"/>
                  </a:lnTo>
                  <a:lnTo>
                    <a:pt x="1626" y="660"/>
                  </a:lnTo>
                  <a:lnTo>
                    <a:pt x="1644" y="660"/>
                  </a:lnTo>
                  <a:lnTo>
                    <a:pt x="1662" y="666"/>
                  </a:lnTo>
                  <a:lnTo>
                    <a:pt x="1674" y="666"/>
                  </a:lnTo>
                  <a:lnTo>
                    <a:pt x="1692" y="672"/>
                  </a:lnTo>
                  <a:lnTo>
                    <a:pt x="1704" y="672"/>
                  </a:lnTo>
                  <a:lnTo>
                    <a:pt x="1818" y="666"/>
                  </a:lnTo>
                  <a:lnTo>
                    <a:pt x="1806" y="666"/>
                  </a:lnTo>
                  <a:lnTo>
                    <a:pt x="1734" y="642"/>
                  </a:lnTo>
                  <a:lnTo>
                    <a:pt x="1704" y="618"/>
                  </a:lnTo>
                  <a:lnTo>
                    <a:pt x="1692" y="600"/>
                  </a:lnTo>
                  <a:lnTo>
                    <a:pt x="1686" y="588"/>
                  </a:lnTo>
                  <a:lnTo>
                    <a:pt x="1674" y="582"/>
                  </a:lnTo>
                  <a:lnTo>
                    <a:pt x="1674" y="570"/>
                  </a:lnTo>
                  <a:lnTo>
                    <a:pt x="1668" y="564"/>
                  </a:lnTo>
                  <a:lnTo>
                    <a:pt x="1692" y="516"/>
                  </a:lnTo>
                  <a:lnTo>
                    <a:pt x="1686" y="510"/>
                  </a:lnTo>
                  <a:lnTo>
                    <a:pt x="1686" y="504"/>
                  </a:lnTo>
                  <a:lnTo>
                    <a:pt x="1674" y="504"/>
                  </a:lnTo>
                  <a:lnTo>
                    <a:pt x="1710" y="498"/>
                  </a:lnTo>
                  <a:lnTo>
                    <a:pt x="1698" y="480"/>
                  </a:lnTo>
                  <a:lnTo>
                    <a:pt x="1734" y="480"/>
                  </a:lnTo>
                  <a:lnTo>
                    <a:pt x="1710" y="468"/>
                  </a:lnTo>
                  <a:lnTo>
                    <a:pt x="1734" y="474"/>
                  </a:lnTo>
                  <a:lnTo>
                    <a:pt x="1740" y="462"/>
                  </a:lnTo>
                  <a:lnTo>
                    <a:pt x="1722" y="450"/>
                  </a:lnTo>
                  <a:lnTo>
                    <a:pt x="1764" y="450"/>
                  </a:lnTo>
                  <a:lnTo>
                    <a:pt x="1770" y="444"/>
                  </a:lnTo>
                  <a:lnTo>
                    <a:pt x="1752" y="426"/>
                  </a:lnTo>
                  <a:lnTo>
                    <a:pt x="1782" y="432"/>
                  </a:lnTo>
                  <a:lnTo>
                    <a:pt x="1782" y="402"/>
                  </a:lnTo>
                  <a:lnTo>
                    <a:pt x="1788" y="408"/>
                  </a:lnTo>
                  <a:lnTo>
                    <a:pt x="1800" y="414"/>
                  </a:lnTo>
                  <a:lnTo>
                    <a:pt x="1812" y="414"/>
                  </a:lnTo>
                  <a:lnTo>
                    <a:pt x="1830" y="408"/>
                  </a:lnTo>
                  <a:lnTo>
                    <a:pt x="1842" y="402"/>
                  </a:lnTo>
                  <a:lnTo>
                    <a:pt x="1860" y="390"/>
                  </a:lnTo>
                  <a:lnTo>
                    <a:pt x="1878" y="372"/>
                  </a:lnTo>
                  <a:lnTo>
                    <a:pt x="1896" y="372"/>
                  </a:lnTo>
                  <a:lnTo>
                    <a:pt x="1938" y="366"/>
                  </a:lnTo>
                  <a:lnTo>
                    <a:pt x="1992" y="354"/>
                  </a:lnTo>
                  <a:lnTo>
                    <a:pt x="2046" y="348"/>
                  </a:lnTo>
                  <a:lnTo>
                    <a:pt x="2094" y="336"/>
                  </a:lnTo>
                  <a:lnTo>
                    <a:pt x="2124" y="330"/>
                  </a:lnTo>
                  <a:lnTo>
                    <a:pt x="2136" y="324"/>
                  </a:lnTo>
                  <a:lnTo>
                    <a:pt x="2154" y="318"/>
                  </a:lnTo>
                  <a:lnTo>
                    <a:pt x="2160" y="312"/>
                  </a:lnTo>
                  <a:lnTo>
                    <a:pt x="2166" y="300"/>
                  </a:lnTo>
                  <a:lnTo>
                    <a:pt x="2166" y="294"/>
                  </a:lnTo>
                  <a:lnTo>
                    <a:pt x="2154" y="282"/>
                  </a:lnTo>
                  <a:lnTo>
                    <a:pt x="2136" y="276"/>
                  </a:lnTo>
                  <a:lnTo>
                    <a:pt x="2088" y="270"/>
                  </a:lnTo>
                  <a:lnTo>
                    <a:pt x="2046" y="276"/>
                  </a:lnTo>
                  <a:lnTo>
                    <a:pt x="2016" y="288"/>
                  </a:lnTo>
                  <a:lnTo>
                    <a:pt x="1980" y="300"/>
                  </a:lnTo>
                  <a:lnTo>
                    <a:pt x="1938" y="318"/>
                  </a:lnTo>
                  <a:lnTo>
                    <a:pt x="1860" y="318"/>
                  </a:lnTo>
                  <a:lnTo>
                    <a:pt x="1842" y="312"/>
                  </a:lnTo>
                  <a:lnTo>
                    <a:pt x="1824" y="312"/>
                  </a:lnTo>
                  <a:lnTo>
                    <a:pt x="1806" y="336"/>
                  </a:lnTo>
                  <a:lnTo>
                    <a:pt x="1782" y="318"/>
                  </a:lnTo>
                  <a:lnTo>
                    <a:pt x="1728" y="342"/>
                  </a:lnTo>
                  <a:lnTo>
                    <a:pt x="1698" y="342"/>
                  </a:lnTo>
                  <a:lnTo>
                    <a:pt x="1668" y="366"/>
                  </a:lnTo>
                  <a:lnTo>
                    <a:pt x="1692" y="372"/>
                  </a:lnTo>
                  <a:lnTo>
                    <a:pt x="1644" y="372"/>
                  </a:lnTo>
                  <a:lnTo>
                    <a:pt x="1614" y="378"/>
                  </a:lnTo>
                  <a:lnTo>
                    <a:pt x="1614" y="396"/>
                  </a:lnTo>
                  <a:lnTo>
                    <a:pt x="1638" y="378"/>
                  </a:lnTo>
                  <a:lnTo>
                    <a:pt x="1644" y="396"/>
                  </a:lnTo>
                  <a:lnTo>
                    <a:pt x="1668" y="396"/>
                  </a:lnTo>
                  <a:lnTo>
                    <a:pt x="1662" y="408"/>
                  </a:lnTo>
                  <a:lnTo>
                    <a:pt x="1620" y="408"/>
                  </a:lnTo>
                  <a:lnTo>
                    <a:pt x="1614" y="420"/>
                  </a:lnTo>
                  <a:lnTo>
                    <a:pt x="1644" y="426"/>
                  </a:lnTo>
                  <a:lnTo>
                    <a:pt x="1596" y="432"/>
                  </a:lnTo>
                  <a:lnTo>
                    <a:pt x="1632" y="438"/>
                  </a:lnTo>
                  <a:lnTo>
                    <a:pt x="1584" y="444"/>
                  </a:lnTo>
                  <a:lnTo>
                    <a:pt x="1584" y="462"/>
                  </a:lnTo>
                  <a:lnTo>
                    <a:pt x="1554" y="474"/>
                  </a:lnTo>
                  <a:lnTo>
                    <a:pt x="1560" y="486"/>
                  </a:lnTo>
                  <a:lnTo>
                    <a:pt x="1602" y="468"/>
                  </a:lnTo>
                  <a:lnTo>
                    <a:pt x="1590" y="498"/>
                  </a:lnTo>
                  <a:lnTo>
                    <a:pt x="1554" y="498"/>
                  </a:lnTo>
                  <a:lnTo>
                    <a:pt x="1542" y="504"/>
                  </a:lnTo>
                  <a:lnTo>
                    <a:pt x="1542" y="522"/>
                  </a:lnTo>
                  <a:close/>
                  <a:moveTo>
                    <a:pt x="5778" y="498"/>
                  </a:moveTo>
                  <a:lnTo>
                    <a:pt x="5850" y="486"/>
                  </a:lnTo>
                  <a:lnTo>
                    <a:pt x="5958" y="504"/>
                  </a:lnTo>
                  <a:lnTo>
                    <a:pt x="5952" y="492"/>
                  </a:lnTo>
                  <a:lnTo>
                    <a:pt x="5940" y="486"/>
                  </a:lnTo>
                  <a:lnTo>
                    <a:pt x="5928" y="474"/>
                  </a:lnTo>
                  <a:lnTo>
                    <a:pt x="5904" y="462"/>
                  </a:lnTo>
                  <a:lnTo>
                    <a:pt x="5844" y="462"/>
                  </a:lnTo>
                  <a:lnTo>
                    <a:pt x="5808" y="468"/>
                  </a:lnTo>
                  <a:lnTo>
                    <a:pt x="5796" y="468"/>
                  </a:lnTo>
                  <a:lnTo>
                    <a:pt x="5778" y="498"/>
                  </a:lnTo>
                  <a:close/>
                  <a:moveTo>
                    <a:pt x="5784" y="378"/>
                  </a:moveTo>
                  <a:lnTo>
                    <a:pt x="5838" y="384"/>
                  </a:lnTo>
                  <a:lnTo>
                    <a:pt x="5844" y="378"/>
                  </a:lnTo>
                  <a:lnTo>
                    <a:pt x="5850" y="366"/>
                  </a:lnTo>
                  <a:lnTo>
                    <a:pt x="5838" y="354"/>
                  </a:lnTo>
                  <a:lnTo>
                    <a:pt x="5802" y="354"/>
                  </a:lnTo>
                  <a:lnTo>
                    <a:pt x="5742" y="342"/>
                  </a:lnTo>
                  <a:lnTo>
                    <a:pt x="5724" y="342"/>
                  </a:lnTo>
                  <a:lnTo>
                    <a:pt x="5718" y="348"/>
                  </a:lnTo>
                  <a:lnTo>
                    <a:pt x="5730" y="354"/>
                  </a:lnTo>
                  <a:lnTo>
                    <a:pt x="5742" y="366"/>
                  </a:lnTo>
                  <a:lnTo>
                    <a:pt x="5754" y="372"/>
                  </a:lnTo>
                  <a:lnTo>
                    <a:pt x="5772" y="372"/>
                  </a:lnTo>
                  <a:lnTo>
                    <a:pt x="5778" y="378"/>
                  </a:lnTo>
                  <a:lnTo>
                    <a:pt x="5784" y="378"/>
                  </a:lnTo>
                  <a:close/>
                  <a:moveTo>
                    <a:pt x="5724" y="432"/>
                  </a:moveTo>
                  <a:lnTo>
                    <a:pt x="5712" y="444"/>
                  </a:lnTo>
                  <a:lnTo>
                    <a:pt x="5712" y="456"/>
                  </a:lnTo>
                  <a:lnTo>
                    <a:pt x="5724" y="462"/>
                  </a:lnTo>
                  <a:lnTo>
                    <a:pt x="5772" y="462"/>
                  </a:lnTo>
                  <a:lnTo>
                    <a:pt x="5778" y="456"/>
                  </a:lnTo>
                  <a:lnTo>
                    <a:pt x="5778" y="450"/>
                  </a:lnTo>
                  <a:lnTo>
                    <a:pt x="5766" y="438"/>
                  </a:lnTo>
                  <a:lnTo>
                    <a:pt x="5742" y="426"/>
                  </a:lnTo>
                  <a:lnTo>
                    <a:pt x="5730" y="426"/>
                  </a:lnTo>
                  <a:lnTo>
                    <a:pt x="5724" y="432"/>
                  </a:lnTo>
                  <a:close/>
                  <a:moveTo>
                    <a:pt x="3072" y="96"/>
                  </a:moveTo>
                  <a:lnTo>
                    <a:pt x="3192" y="96"/>
                  </a:lnTo>
                  <a:lnTo>
                    <a:pt x="3204" y="90"/>
                  </a:lnTo>
                  <a:lnTo>
                    <a:pt x="3228" y="90"/>
                  </a:lnTo>
                  <a:lnTo>
                    <a:pt x="3240" y="84"/>
                  </a:lnTo>
                  <a:lnTo>
                    <a:pt x="3240" y="72"/>
                  </a:lnTo>
                  <a:lnTo>
                    <a:pt x="3222" y="60"/>
                  </a:lnTo>
                  <a:lnTo>
                    <a:pt x="3192" y="42"/>
                  </a:lnTo>
                  <a:lnTo>
                    <a:pt x="3156" y="30"/>
                  </a:lnTo>
                  <a:lnTo>
                    <a:pt x="3132" y="24"/>
                  </a:lnTo>
                  <a:lnTo>
                    <a:pt x="3120" y="18"/>
                  </a:lnTo>
                  <a:lnTo>
                    <a:pt x="3108" y="18"/>
                  </a:lnTo>
                  <a:lnTo>
                    <a:pt x="3096" y="12"/>
                  </a:lnTo>
                  <a:lnTo>
                    <a:pt x="3060" y="12"/>
                  </a:lnTo>
                  <a:lnTo>
                    <a:pt x="3048" y="18"/>
                  </a:lnTo>
                  <a:lnTo>
                    <a:pt x="3036" y="18"/>
                  </a:lnTo>
                  <a:lnTo>
                    <a:pt x="3030" y="30"/>
                  </a:lnTo>
                  <a:lnTo>
                    <a:pt x="3030" y="42"/>
                  </a:lnTo>
                  <a:lnTo>
                    <a:pt x="3036" y="54"/>
                  </a:lnTo>
                  <a:lnTo>
                    <a:pt x="3048" y="66"/>
                  </a:lnTo>
                  <a:lnTo>
                    <a:pt x="3054" y="78"/>
                  </a:lnTo>
                  <a:lnTo>
                    <a:pt x="3072" y="96"/>
                  </a:lnTo>
                  <a:close/>
                  <a:moveTo>
                    <a:pt x="6138" y="408"/>
                  </a:moveTo>
                  <a:lnTo>
                    <a:pt x="6144" y="402"/>
                  </a:lnTo>
                  <a:lnTo>
                    <a:pt x="6132" y="396"/>
                  </a:lnTo>
                  <a:lnTo>
                    <a:pt x="6102" y="390"/>
                  </a:lnTo>
                  <a:lnTo>
                    <a:pt x="6036" y="390"/>
                  </a:lnTo>
                  <a:lnTo>
                    <a:pt x="6012" y="366"/>
                  </a:lnTo>
                  <a:lnTo>
                    <a:pt x="6000" y="360"/>
                  </a:lnTo>
                  <a:lnTo>
                    <a:pt x="5970" y="360"/>
                  </a:lnTo>
                  <a:lnTo>
                    <a:pt x="5958" y="366"/>
                  </a:lnTo>
                  <a:lnTo>
                    <a:pt x="5910" y="366"/>
                  </a:lnTo>
                  <a:lnTo>
                    <a:pt x="5946" y="390"/>
                  </a:lnTo>
                  <a:lnTo>
                    <a:pt x="5964" y="396"/>
                  </a:lnTo>
                  <a:lnTo>
                    <a:pt x="6000" y="402"/>
                  </a:lnTo>
                  <a:lnTo>
                    <a:pt x="6054" y="414"/>
                  </a:lnTo>
                  <a:lnTo>
                    <a:pt x="6102" y="414"/>
                  </a:lnTo>
                  <a:lnTo>
                    <a:pt x="6138" y="408"/>
                  </a:lnTo>
                  <a:close/>
                  <a:moveTo>
                    <a:pt x="7602" y="744"/>
                  </a:moveTo>
                  <a:lnTo>
                    <a:pt x="7596" y="732"/>
                  </a:lnTo>
                  <a:lnTo>
                    <a:pt x="7572" y="726"/>
                  </a:lnTo>
                  <a:lnTo>
                    <a:pt x="7512" y="714"/>
                  </a:lnTo>
                  <a:lnTo>
                    <a:pt x="7500" y="714"/>
                  </a:lnTo>
                  <a:lnTo>
                    <a:pt x="7512" y="726"/>
                  </a:lnTo>
                  <a:lnTo>
                    <a:pt x="7548" y="738"/>
                  </a:lnTo>
                  <a:lnTo>
                    <a:pt x="7584" y="744"/>
                  </a:lnTo>
                  <a:lnTo>
                    <a:pt x="7602" y="744"/>
                  </a:lnTo>
                  <a:close/>
                  <a:moveTo>
                    <a:pt x="3162" y="120"/>
                  </a:moveTo>
                  <a:lnTo>
                    <a:pt x="3216" y="138"/>
                  </a:lnTo>
                  <a:lnTo>
                    <a:pt x="3246" y="144"/>
                  </a:lnTo>
                  <a:lnTo>
                    <a:pt x="3264" y="144"/>
                  </a:lnTo>
                  <a:lnTo>
                    <a:pt x="3312" y="138"/>
                  </a:lnTo>
                  <a:lnTo>
                    <a:pt x="3372" y="156"/>
                  </a:lnTo>
                  <a:lnTo>
                    <a:pt x="3432" y="156"/>
                  </a:lnTo>
                  <a:lnTo>
                    <a:pt x="3426" y="138"/>
                  </a:lnTo>
                  <a:lnTo>
                    <a:pt x="3402" y="102"/>
                  </a:lnTo>
                  <a:lnTo>
                    <a:pt x="3384" y="96"/>
                  </a:lnTo>
                  <a:lnTo>
                    <a:pt x="3372" y="90"/>
                  </a:lnTo>
                  <a:lnTo>
                    <a:pt x="3354" y="96"/>
                  </a:lnTo>
                  <a:lnTo>
                    <a:pt x="3318" y="114"/>
                  </a:lnTo>
                  <a:lnTo>
                    <a:pt x="3294" y="90"/>
                  </a:lnTo>
                  <a:lnTo>
                    <a:pt x="3282" y="90"/>
                  </a:lnTo>
                  <a:lnTo>
                    <a:pt x="3210" y="102"/>
                  </a:lnTo>
                  <a:lnTo>
                    <a:pt x="3174" y="114"/>
                  </a:lnTo>
                  <a:lnTo>
                    <a:pt x="3162" y="120"/>
                  </a:lnTo>
                  <a:close/>
                  <a:moveTo>
                    <a:pt x="3582" y="198"/>
                  </a:moveTo>
                  <a:lnTo>
                    <a:pt x="3744" y="192"/>
                  </a:lnTo>
                  <a:lnTo>
                    <a:pt x="3702" y="168"/>
                  </a:lnTo>
                  <a:lnTo>
                    <a:pt x="3696" y="168"/>
                  </a:lnTo>
                  <a:lnTo>
                    <a:pt x="3690" y="162"/>
                  </a:lnTo>
                  <a:lnTo>
                    <a:pt x="3666" y="150"/>
                  </a:lnTo>
                  <a:lnTo>
                    <a:pt x="3648" y="144"/>
                  </a:lnTo>
                  <a:lnTo>
                    <a:pt x="3636" y="138"/>
                  </a:lnTo>
                  <a:lnTo>
                    <a:pt x="3618" y="138"/>
                  </a:lnTo>
                  <a:lnTo>
                    <a:pt x="3606" y="144"/>
                  </a:lnTo>
                  <a:lnTo>
                    <a:pt x="3600" y="150"/>
                  </a:lnTo>
                  <a:lnTo>
                    <a:pt x="3588" y="156"/>
                  </a:lnTo>
                  <a:lnTo>
                    <a:pt x="3588" y="150"/>
                  </a:lnTo>
                  <a:lnTo>
                    <a:pt x="3582" y="144"/>
                  </a:lnTo>
                  <a:lnTo>
                    <a:pt x="3576" y="132"/>
                  </a:lnTo>
                  <a:lnTo>
                    <a:pt x="3570" y="126"/>
                  </a:lnTo>
                  <a:lnTo>
                    <a:pt x="3546" y="114"/>
                  </a:lnTo>
                  <a:lnTo>
                    <a:pt x="3522" y="126"/>
                  </a:lnTo>
                  <a:lnTo>
                    <a:pt x="3504" y="162"/>
                  </a:lnTo>
                  <a:lnTo>
                    <a:pt x="3498" y="192"/>
                  </a:lnTo>
                  <a:lnTo>
                    <a:pt x="3492" y="210"/>
                  </a:lnTo>
                  <a:lnTo>
                    <a:pt x="3516" y="222"/>
                  </a:lnTo>
                  <a:lnTo>
                    <a:pt x="3534" y="216"/>
                  </a:lnTo>
                  <a:lnTo>
                    <a:pt x="3546" y="216"/>
                  </a:lnTo>
                  <a:lnTo>
                    <a:pt x="3582" y="198"/>
                  </a:lnTo>
                  <a:close/>
                  <a:moveTo>
                    <a:pt x="5622" y="420"/>
                  </a:moveTo>
                  <a:lnTo>
                    <a:pt x="5640" y="390"/>
                  </a:lnTo>
                  <a:lnTo>
                    <a:pt x="5754" y="390"/>
                  </a:lnTo>
                  <a:lnTo>
                    <a:pt x="5688" y="360"/>
                  </a:lnTo>
                  <a:lnTo>
                    <a:pt x="5700" y="336"/>
                  </a:lnTo>
                  <a:lnTo>
                    <a:pt x="5610" y="318"/>
                  </a:lnTo>
                  <a:lnTo>
                    <a:pt x="5628" y="348"/>
                  </a:lnTo>
                  <a:lnTo>
                    <a:pt x="5616" y="342"/>
                  </a:lnTo>
                  <a:lnTo>
                    <a:pt x="5592" y="336"/>
                  </a:lnTo>
                  <a:lnTo>
                    <a:pt x="5556" y="330"/>
                  </a:lnTo>
                  <a:lnTo>
                    <a:pt x="5514" y="318"/>
                  </a:lnTo>
                  <a:lnTo>
                    <a:pt x="5454" y="318"/>
                  </a:lnTo>
                  <a:lnTo>
                    <a:pt x="5448" y="330"/>
                  </a:lnTo>
                  <a:lnTo>
                    <a:pt x="5460" y="354"/>
                  </a:lnTo>
                  <a:lnTo>
                    <a:pt x="5496" y="372"/>
                  </a:lnTo>
                  <a:lnTo>
                    <a:pt x="5538" y="390"/>
                  </a:lnTo>
                  <a:lnTo>
                    <a:pt x="5574" y="408"/>
                  </a:lnTo>
                  <a:lnTo>
                    <a:pt x="5610" y="414"/>
                  </a:lnTo>
                  <a:lnTo>
                    <a:pt x="5622" y="420"/>
                  </a:lnTo>
                  <a:close/>
                  <a:moveTo>
                    <a:pt x="4320" y="432"/>
                  </a:moveTo>
                  <a:lnTo>
                    <a:pt x="4368" y="444"/>
                  </a:lnTo>
                  <a:lnTo>
                    <a:pt x="4380" y="444"/>
                  </a:lnTo>
                  <a:lnTo>
                    <a:pt x="4392" y="438"/>
                  </a:lnTo>
                  <a:lnTo>
                    <a:pt x="4398" y="438"/>
                  </a:lnTo>
                  <a:lnTo>
                    <a:pt x="4404" y="432"/>
                  </a:lnTo>
                  <a:lnTo>
                    <a:pt x="4404" y="426"/>
                  </a:lnTo>
                  <a:lnTo>
                    <a:pt x="4398" y="426"/>
                  </a:lnTo>
                  <a:lnTo>
                    <a:pt x="4362" y="414"/>
                  </a:lnTo>
                  <a:lnTo>
                    <a:pt x="4344" y="420"/>
                  </a:lnTo>
                  <a:lnTo>
                    <a:pt x="4332" y="420"/>
                  </a:lnTo>
                  <a:lnTo>
                    <a:pt x="4320" y="432"/>
                  </a:lnTo>
                  <a:close/>
                  <a:moveTo>
                    <a:pt x="5424" y="354"/>
                  </a:moveTo>
                  <a:lnTo>
                    <a:pt x="5370" y="336"/>
                  </a:lnTo>
                  <a:lnTo>
                    <a:pt x="5394" y="366"/>
                  </a:lnTo>
                  <a:lnTo>
                    <a:pt x="5424" y="354"/>
                  </a:lnTo>
                  <a:close/>
                  <a:moveTo>
                    <a:pt x="7986" y="666"/>
                  </a:moveTo>
                  <a:lnTo>
                    <a:pt x="8034" y="654"/>
                  </a:lnTo>
                  <a:lnTo>
                    <a:pt x="8088" y="654"/>
                  </a:lnTo>
                  <a:lnTo>
                    <a:pt x="8100" y="648"/>
                  </a:lnTo>
                  <a:lnTo>
                    <a:pt x="8106" y="642"/>
                  </a:lnTo>
                  <a:lnTo>
                    <a:pt x="8106" y="636"/>
                  </a:lnTo>
                  <a:lnTo>
                    <a:pt x="8100" y="630"/>
                  </a:lnTo>
                  <a:lnTo>
                    <a:pt x="8088" y="630"/>
                  </a:lnTo>
                  <a:lnTo>
                    <a:pt x="8052" y="618"/>
                  </a:lnTo>
                  <a:lnTo>
                    <a:pt x="8028" y="612"/>
                  </a:lnTo>
                  <a:lnTo>
                    <a:pt x="8010" y="606"/>
                  </a:lnTo>
                  <a:lnTo>
                    <a:pt x="7968" y="606"/>
                  </a:lnTo>
                  <a:lnTo>
                    <a:pt x="7944" y="618"/>
                  </a:lnTo>
                  <a:lnTo>
                    <a:pt x="7938" y="630"/>
                  </a:lnTo>
                  <a:lnTo>
                    <a:pt x="7938" y="654"/>
                  </a:lnTo>
                  <a:lnTo>
                    <a:pt x="7944" y="666"/>
                  </a:lnTo>
                  <a:lnTo>
                    <a:pt x="7950" y="666"/>
                  </a:lnTo>
                  <a:lnTo>
                    <a:pt x="7962" y="672"/>
                  </a:lnTo>
                  <a:lnTo>
                    <a:pt x="7968" y="672"/>
                  </a:lnTo>
                  <a:lnTo>
                    <a:pt x="7980" y="666"/>
                  </a:lnTo>
                  <a:lnTo>
                    <a:pt x="7986" y="666"/>
                  </a:lnTo>
                  <a:close/>
                  <a:moveTo>
                    <a:pt x="162" y="1788"/>
                  </a:moveTo>
                  <a:lnTo>
                    <a:pt x="150" y="1788"/>
                  </a:lnTo>
                  <a:lnTo>
                    <a:pt x="138" y="1794"/>
                  </a:lnTo>
                  <a:lnTo>
                    <a:pt x="114" y="1794"/>
                  </a:lnTo>
                  <a:lnTo>
                    <a:pt x="108" y="1788"/>
                  </a:lnTo>
                  <a:lnTo>
                    <a:pt x="96" y="1788"/>
                  </a:lnTo>
                  <a:lnTo>
                    <a:pt x="96" y="1782"/>
                  </a:lnTo>
                  <a:lnTo>
                    <a:pt x="84" y="1782"/>
                  </a:lnTo>
                  <a:lnTo>
                    <a:pt x="84" y="1788"/>
                  </a:lnTo>
                  <a:lnTo>
                    <a:pt x="72" y="1800"/>
                  </a:lnTo>
                  <a:lnTo>
                    <a:pt x="12" y="1800"/>
                  </a:lnTo>
                  <a:lnTo>
                    <a:pt x="0" y="1812"/>
                  </a:lnTo>
                  <a:lnTo>
                    <a:pt x="0" y="1818"/>
                  </a:lnTo>
                  <a:lnTo>
                    <a:pt x="12" y="1830"/>
                  </a:lnTo>
                  <a:lnTo>
                    <a:pt x="6" y="1842"/>
                  </a:lnTo>
                  <a:lnTo>
                    <a:pt x="12" y="1848"/>
                  </a:lnTo>
                  <a:lnTo>
                    <a:pt x="18" y="1848"/>
                  </a:lnTo>
                  <a:lnTo>
                    <a:pt x="24" y="1842"/>
                  </a:lnTo>
                  <a:lnTo>
                    <a:pt x="48" y="1842"/>
                  </a:lnTo>
                  <a:lnTo>
                    <a:pt x="54" y="1848"/>
                  </a:lnTo>
                  <a:lnTo>
                    <a:pt x="66" y="1848"/>
                  </a:lnTo>
                  <a:lnTo>
                    <a:pt x="72" y="1854"/>
                  </a:lnTo>
                  <a:lnTo>
                    <a:pt x="162" y="1854"/>
                  </a:lnTo>
                  <a:lnTo>
                    <a:pt x="162" y="1848"/>
                  </a:lnTo>
                  <a:lnTo>
                    <a:pt x="168" y="1848"/>
                  </a:lnTo>
                  <a:lnTo>
                    <a:pt x="162" y="1830"/>
                  </a:lnTo>
                  <a:lnTo>
                    <a:pt x="174" y="1818"/>
                  </a:lnTo>
                  <a:lnTo>
                    <a:pt x="174" y="1800"/>
                  </a:lnTo>
                  <a:lnTo>
                    <a:pt x="168" y="1788"/>
                  </a:lnTo>
                  <a:lnTo>
                    <a:pt x="162" y="1788"/>
                  </a:lnTo>
                  <a:close/>
                  <a:moveTo>
                    <a:pt x="1038" y="90"/>
                  </a:moveTo>
                  <a:lnTo>
                    <a:pt x="1062" y="72"/>
                  </a:lnTo>
                  <a:lnTo>
                    <a:pt x="1032" y="72"/>
                  </a:lnTo>
                  <a:lnTo>
                    <a:pt x="1032" y="84"/>
                  </a:lnTo>
                  <a:lnTo>
                    <a:pt x="1038" y="90"/>
                  </a:lnTo>
                  <a:close/>
                  <a:moveTo>
                    <a:pt x="990" y="72"/>
                  </a:moveTo>
                  <a:lnTo>
                    <a:pt x="1074" y="54"/>
                  </a:lnTo>
                  <a:lnTo>
                    <a:pt x="1044" y="42"/>
                  </a:lnTo>
                  <a:lnTo>
                    <a:pt x="996" y="54"/>
                  </a:lnTo>
                  <a:lnTo>
                    <a:pt x="948" y="54"/>
                  </a:lnTo>
                  <a:lnTo>
                    <a:pt x="966" y="66"/>
                  </a:lnTo>
                  <a:lnTo>
                    <a:pt x="990" y="72"/>
                  </a:lnTo>
                  <a:close/>
                  <a:moveTo>
                    <a:pt x="1122" y="90"/>
                  </a:moveTo>
                  <a:lnTo>
                    <a:pt x="1128" y="78"/>
                  </a:lnTo>
                  <a:lnTo>
                    <a:pt x="1152" y="78"/>
                  </a:lnTo>
                  <a:lnTo>
                    <a:pt x="1164" y="66"/>
                  </a:lnTo>
                  <a:lnTo>
                    <a:pt x="1218" y="66"/>
                  </a:lnTo>
                  <a:lnTo>
                    <a:pt x="1218" y="60"/>
                  </a:lnTo>
                  <a:lnTo>
                    <a:pt x="1206" y="54"/>
                  </a:lnTo>
                  <a:lnTo>
                    <a:pt x="1182" y="54"/>
                  </a:lnTo>
                  <a:lnTo>
                    <a:pt x="1182" y="48"/>
                  </a:lnTo>
                  <a:lnTo>
                    <a:pt x="1176" y="48"/>
                  </a:lnTo>
                  <a:lnTo>
                    <a:pt x="1164" y="42"/>
                  </a:lnTo>
                  <a:lnTo>
                    <a:pt x="1140" y="42"/>
                  </a:lnTo>
                  <a:lnTo>
                    <a:pt x="1134" y="48"/>
                  </a:lnTo>
                  <a:lnTo>
                    <a:pt x="1128" y="60"/>
                  </a:lnTo>
                  <a:lnTo>
                    <a:pt x="1128" y="66"/>
                  </a:lnTo>
                  <a:lnTo>
                    <a:pt x="1122" y="66"/>
                  </a:lnTo>
                  <a:lnTo>
                    <a:pt x="1116" y="72"/>
                  </a:lnTo>
                  <a:lnTo>
                    <a:pt x="1104" y="72"/>
                  </a:lnTo>
                  <a:lnTo>
                    <a:pt x="1086" y="78"/>
                  </a:lnTo>
                  <a:lnTo>
                    <a:pt x="1080" y="78"/>
                  </a:lnTo>
                  <a:lnTo>
                    <a:pt x="1074" y="84"/>
                  </a:lnTo>
                  <a:lnTo>
                    <a:pt x="1080" y="84"/>
                  </a:lnTo>
                  <a:lnTo>
                    <a:pt x="1092" y="90"/>
                  </a:lnTo>
                  <a:lnTo>
                    <a:pt x="1122" y="90"/>
                  </a:lnTo>
                  <a:close/>
                  <a:moveTo>
                    <a:pt x="1176" y="78"/>
                  </a:moveTo>
                  <a:lnTo>
                    <a:pt x="1158" y="90"/>
                  </a:lnTo>
                  <a:lnTo>
                    <a:pt x="1176" y="102"/>
                  </a:lnTo>
                  <a:lnTo>
                    <a:pt x="1194" y="108"/>
                  </a:lnTo>
                  <a:lnTo>
                    <a:pt x="1248" y="102"/>
                  </a:lnTo>
                  <a:lnTo>
                    <a:pt x="1242" y="90"/>
                  </a:lnTo>
                  <a:lnTo>
                    <a:pt x="1212" y="90"/>
                  </a:lnTo>
                  <a:lnTo>
                    <a:pt x="1176" y="78"/>
                  </a:lnTo>
                  <a:close/>
                  <a:moveTo>
                    <a:pt x="7812" y="2436"/>
                  </a:moveTo>
                  <a:lnTo>
                    <a:pt x="7782" y="2400"/>
                  </a:lnTo>
                  <a:lnTo>
                    <a:pt x="7776" y="2400"/>
                  </a:lnTo>
                  <a:lnTo>
                    <a:pt x="7770" y="2394"/>
                  </a:lnTo>
                  <a:lnTo>
                    <a:pt x="7752" y="2388"/>
                  </a:lnTo>
                  <a:lnTo>
                    <a:pt x="7728" y="2364"/>
                  </a:lnTo>
                  <a:lnTo>
                    <a:pt x="7722" y="2352"/>
                  </a:lnTo>
                  <a:lnTo>
                    <a:pt x="7704" y="2298"/>
                  </a:lnTo>
                  <a:lnTo>
                    <a:pt x="7698" y="2286"/>
                  </a:lnTo>
                  <a:lnTo>
                    <a:pt x="7698" y="2274"/>
                  </a:lnTo>
                  <a:lnTo>
                    <a:pt x="7674" y="2250"/>
                  </a:lnTo>
                  <a:lnTo>
                    <a:pt x="7680" y="2244"/>
                  </a:lnTo>
                  <a:lnTo>
                    <a:pt x="7698" y="2244"/>
                  </a:lnTo>
                  <a:lnTo>
                    <a:pt x="7770" y="2268"/>
                  </a:lnTo>
                  <a:lnTo>
                    <a:pt x="7800" y="2280"/>
                  </a:lnTo>
                  <a:lnTo>
                    <a:pt x="7812" y="2286"/>
                  </a:lnTo>
                  <a:lnTo>
                    <a:pt x="7740" y="2232"/>
                  </a:lnTo>
                  <a:lnTo>
                    <a:pt x="7734" y="2226"/>
                  </a:lnTo>
                  <a:lnTo>
                    <a:pt x="7722" y="2202"/>
                  </a:lnTo>
                  <a:lnTo>
                    <a:pt x="7710" y="2196"/>
                  </a:lnTo>
                  <a:lnTo>
                    <a:pt x="7704" y="2184"/>
                  </a:lnTo>
                  <a:lnTo>
                    <a:pt x="7698" y="2178"/>
                  </a:lnTo>
                  <a:lnTo>
                    <a:pt x="7674" y="2166"/>
                  </a:lnTo>
                  <a:lnTo>
                    <a:pt x="7668" y="2160"/>
                  </a:lnTo>
                  <a:lnTo>
                    <a:pt x="7656" y="2154"/>
                  </a:lnTo>
                  <a:lnTo>
                    <a:pt x="7578" y="2070"/>
                  </a:lnTo>
                  <a:lnTo>
                    <a:pt x="7554" y="2070"/>
                  </a:lnTo>
                  <a:lnTo>
                    <a:pt x="7542" y="2040"/>
                  </a:lnTo>
                  <a:lnTo>
                    <a:pt x="7524" y="2040"/>
                  </a:lnTo>
                  <a:lnTo>
                    <a:pt x="7512" y="2028"/>
                  </a:lnTo>
                  <a:lnTo>
                    <a:pt x="7500" y="2004"/>
                  </a:lnTo>
                  <a:lnTo>
                    <a:pt x="7500" y="1980"/>
                  </a:lnTo>
                  <a:lnTo>
                    <a:pt x="7470" y="1944"/>
                  </a:lnTo>
                  <a:lnTo>
                    <a:pt x="7446" y="1950"/>
                  </a:lnTo>
                  <a:lnTo>
                    <a:pt x="7434" y="1920"/>
                  </a:lnTo>
                  <a:lnTo>
                    <a:pt x="7392" y="1890"/>
                  </a:lnTo>
                  <a:lnTo>
                    <a:pt x="7380" y="1866"/>
                  </a:lnTo>
                  <a:lnTo>
                    <a:pt x="7368" y="1860"/>
                  </a:lnTo>
                  <a:lnTo>
                    <a:pt x="7362" y="1854"/>
                  </a:lnTo>
                  <a:lnTo>
                    <a:pt x="7344" y="1854"/>
                  </a:lnTo>
                  <a:lnTo>
                    <a:pt x="7344" y="1860"/>
                  </a:lnTo>
                  <a:lnTo>
                    <a:pt x="7392" y="1908"/>
                  </a:lnTo>
                  <a:lnTo>
                    <a:pt x="7392" y="1914"/>
                  </a:lnTo>
                  <a:lnTo>
                    <a:pt x="7386" y="1914"/>
                  </a:lnTo>
                  <a:lnTo>
                    <a:pt x="7380" y="1908"/>
                  </a:lnTo>
                  <a:lnTo>
                    <a:pt x="7368" y="1908"/>
                  </a:lnTo>
                  <a:lnTo>
                    <a:pt x="7362" y="1914"/>
                  </a:lnTo>
                  <a:lnTo>
                    <a:pt x="7362" y="1926"/>
                  </a:lnTo>
                  <a:lnTo>
                    <a:pt x="7374" y="1950"/>
                  </a:lnTo>
                  <a:lnTo>
                    <a:pt x="7386" y="1962"/>
                  </a:lnTo>
                  <a:lnTo>
                    <a:pt x="7392" y="1974"/>
                  </a:lnTo>
                  <a:lnTo>
                    <a:pt x="7404" y="1980"/>
                  </a:lnTo>
                  <a:lnTo>
                    <a:pt x="7404" y="1992"/>
                  </a:lnTo>
                  <a:lnTo>
                    <a:pt x="7416" y="2016"/>
                  </a:lnTo>
                  <a:lnTo>
                    <a:pt x="7422" y="2022"/>
                  </a:lnTo>
                  <a:lnTo>
                    <a:pt x="7440" y="2034"/>
                  </a:lnTo>
                  <a:lnTo>
                    <a:pt x="7470" y="2052"/>
                  </a:lnTo>
                  <a:lnTo>
                    <a:pt x="7500" y="2076"/>
                  </a:lnTo>
                  <a:lnTo>
                    <a:pt x="7518" y="2100"/>
                  </a:lnTo>
                  <a:lnTo>
                    <a:pt x="7524" y="2112"/>
                  </a:lnTo>
                  <a:lnTo>
                    <a:pt x="7536" y="2130"/>
                  </a:lnTo>
                  <a:lnTo>
                    <a:pt x="7536" y="2142"/>
                  </a:lnTo>
                  <a:lnTo>
                    <a:pt x="7548" y="2154"/>
                  </a:lnTo>
                  <a:lnTo>
                    <a:pt x="7554" y="2166"/>
                  </a:lnTo>
                  <a:lnTo>
                    <a:pt x="7572" y="2184"/>
                  </a:lnTo>
                  <a:lnTo>
                    <a:pt x="7590" y="2208"/>
                  </a:lnTo>
                  <a:lnTo>
                    <a:pt x="7608" y="2238"/>
                  </a:lnTo>
                  <a:lnTo>
                    <a:pt x="7620" y="2262"/>
                  </a:lnTo>
                  <a:lnTo>
                    <a:pt x="7626" y="2268"/>
                  </a:lnTo>
                  <a:lnTo>
                    <a:pt x="7626" y="2280"/>
                  </a:lnTo>
                  <a:lnTo>
                    <a:pt x="7632" y="2292"/>
                  </a:lnTo>
                  <a:lnTo>
                    <a:pt x="7644" y="2304"/>
                  </a:lnTo>
                  <a:lnTo>
                    <a:pt x="7656" y="2304"/>
                  </a:lnTo>
                  <a:lnTo>
                    <a:pt x="7668" y="2310"/>
                  </a:lnTo>
                  <a:lnTo>
                    <a:pt x="7674" y="2322"/>
                  </a:lnTo>
                  <a:lnTo>
                    <a:pt x="7686" y="2334"/>
                  </a:lnTo>
                  <a:lnTo>
                    <a:pt x="7698" y="2358"/>
                  </a:lnTo>
                  <a:lnTo>
                    <a:pt x="7698" y="2376"/>
                  </a:lnTo>
                  <a:lnTo>
                    <a:pt x="7740" y="2412"/>
                  </a:lnTo>
                  <a:lnTo>
                    <a:pt x="7752" y="2466"/>
                  </a:lnTo>
                  <a:lnTo>
                    <a:pt x="7794" y="2508"/>
                  </a:lnTo>
                  <a:lnTo>
                    <a:pt x="7794" y="2502"/>
                  </a:lnTo>
                  <a:lnTo>
                    <a:pt x="7788" y="2496"/>
                  </a:lnTo>
                  <a:lnTo>
                    <a:pt x="7788" y="2484"/>
                  </a:lnTo>
                  <a:lnTo>
                    <a:pt x="7782" y="2472"/>
                  </a:lnTo>
                  <a:lnTo>
                    <a:pt x="7782" y="2460"/>
                  </a:lnTo>
                  <a:lnTo>
                    <a:pt x="7776" y="2448"/>
                  </a:lnTo>
                  <a:lnTo>
                    <a:pt x="7782" y="2442"/>
                  </a:lnTo>
                  <a:lnTo>
                    <a:pt x="7788" y="2442"/>
                  </a:lnTo>
                  <a:lnTo>
                    <a:pt x="7800" y="2454"/>
                  </a:lnTo>
                  <a:lnTo>
                    <a:pt x="7830" y="2454"/>
                  </a:lnTo>
                  <a:lnTo>
                    <a:pt x="7866" y="2496"/>
                  </a:lnTo>
                  <a:lnTo>
                    <a:pt x="7866" y="2472"/>
                  </a:lnTo>
                  <a:lnTo>
                    <a:pt x="7836" y="2430"/>
                  </a:lnTo>
                  <a:lnTo>
                    <a:pt x="7812" y="2436"/>
                  </a:lnTo>
                  <a:close/>
                  <a:moveTo>
                    <a:pt x="1344" y="84"/>
                  </a:moveTo>
                  <a:lnTo>
                    <a:pt x="1350" y="72"/>
                  </a:lnTo>
                  <a:lnTo>
                    <a:pt x="1308" y="66"/>
                  </a:lnTo>
                  <a:lnTo>
                    <a:pt x="1284" y="78"/>
                  </a:lnTo>
                  <a:lnTo>
                    <a:pt x="1290" y="90"/>
                  </a:lnTo>
                  <a:lnTo>
                    <a:pt x="1344" y="84"/>
                  </a:lnTo>
                  <a:close/>
                  <a:moveTo>
                    <a:pt x="9048" y="996"/>
                  </a:moveTo>
                  <a:lnTo>
                    <a:pt x="9036" y="984"/>
                  </a:lnTo>
                  <a:lnTo>
                    <a:pt x="9024" y="978"/>
                  </a:lnTo>
                  <a:lnTo>
                    <a:pt x="9006" y="972"/>
                  </a:lnTo>
                  <a:lnTo>
                    <a:pt x="8994" y="966"/>
                  </a:lnTo>
                  <a:lnTo>
                    <a:pt x="8982" y="966"/>
                  </a:lnTo>
                  <a:lnTo>
                    <a:pt x="8940" y="948"/>
                  </a:lnTo>
                  <a:lnTo>
                    <a:pt x="8898" y="948"/>
                  </a:lnTo>
                  <a:lnTo>
                    <a:pt x="8868" y="930"/>
                  </a:lnTo>
                  <a:lnTo>
                    <a:pt x="8778" y="924"/>
                  </a:lnTo>
                  <a:lnTo>
                    <a:pt x="8736" y="906"/>
                  </a:lnTo>
                  <a:lnTo>
                    <a:pt x="8700" y="906"/>
                  </a:lnTo>
                  <a:lnTo>
                    <a:pt x="8754" y="942"/>
                  </a:lnTo>
                  <a:lnTo>
                    <a:pt x="8808" y="966"/>
                  </a:lnTo>
                  <a:lnTo>
                    <a:pt x="8796" y="966"/>
                  </a:lnTo>
                  <a:lnTo>
                    <a:pt x="8784" y="972"/>
                  </a:lnTo>
                  <a:lnTo>
                    <a:pt x="8754" y="972"/>
                  </a:lnTo>
                  <a:lnTo>
                    <a:pt x="8730" y="960"/>
                  </a:lnTo>
                  <a:lnTo>
                    <a:pt x="8676" y="906"/>
                  </a:lnTo>
                  <a:lnTo>
                    <a:pt x="8580" y="870"/>
                  </a:lnTo>
                  <a:lnTo>
                    <a:pt x="8496" y="846"/>
                  </a:lnTo>
                  <a:lnTo>
                    <a:pt x="8442" y="834"/>
                  </a:lnTo>
                  <a:lnTo>
                    <a:pt x="8370" y="822"/>
                  </a:lnTo>
                  <a:lnTo>
                    <a:pt x="8280" y="804"/>
                  </a:lnTo>
                  <a:lnTo>
                    <a:pt x="8190" y="780"/>
                  </a:lnTo>
                  <a:lnTo>
                    <a:pt x="8112" y="762"/>
                  </a:lnTo>
                  <a:lnTo>
                    <a:pt x="8052" y="750"/>
                  </a:lnTo>
                  <a:lnTo>
                    <a:pt x="7998" y="738"/>
                  </a:lnTo>
                  <a:lnTo>
                    <a:pt x="7956" y="732"/>
                  </a:lnTo>
                  <a:lnTo>
                    <a:pt x="7758" y="732"/>
                  </a:lnTo>
                  <a:lnTo>
                    <a:pt x="7746" y="714"/>
                  </a:lnTo>
                  <a:lnTo>
                    <a:pt x="7698" y="720"/>
                  </a:lnTo>
                  <a:lnTo>
                    <a:pt x="7680" y="708"/>
                  </a:lnTo>
                  <a:lnTo>
                    <a:pt x="7626" y="708"/>
                  </a:lnTo>
                  <a:lnTo>
                    <a:pt x="7650" y="726"/>
                  </a:lnTo>
                  <a:lnTo>
                    <a:pt x="7644" y="744"/>
                  </a:lnTo>
                  <a:lnTo>
                    <a:pt x="7656" y="744"/>
                  </a:lnTo>
                  <a:lnTo>
                    <a:pt x="7680" y="756"/>
                  </a:lnTo>
                  <a:lnTo>
                    <a:pt x="7716" y="762"/>
                  </a:lnTo>
                  <a:lnTo>
                    <a:pt x="7740" y="774"/>
                  </a:lnTo>
                  <a:lnTo>
                    <a:pt x="7758" y="786"/>
                  </a:lnTo>
                  <a:lnTo>
                    <a:pt x="7752" y="798"/>
                  </a:lnTo>
                  <a:lnTo>
                    <a:pt x="7728" y="804"/>
                  </a:lnTo>
                  <a:lnTo>
                    <a:pt x="7698" y="804"/>
                  </a:lnTo>
                  <a:lnTo>
                    <a:pt x="7686" y="798"/>
                  </a:lnTo>
                  <a:lnTo>
                    <a:pt x="7680" y="792"/>
                  </a:lnTo>
                  <a:lnTo>
                    <a:pt x="7656" y="774"/>
                  </a:lnTo>
                  <a:lnTo>
                    <a:pt x="7584" y="774"/>
                  </a:lnTo>
                  <a:lnTo>
                    <a:pt x="7530" y="738"/>
                  </a:lnTo>
                  <a:lnTo>
                    <a:pt x="7524" y="738"/>
                  </a:lnTo>
                  <a:lnTo>
                    <a:pt x="7518" y="744"/>
                  </a:lnTo>
                  <a:lnTo>
                    <a:pt x="7506" y="744"/>
                  </a:lnTo>
                  <a:lnTo>
                    <a:pt x="7500" y="750"/>
                  </a:lnTo>
                  <a:lnTo>
                    <a:pt x="7446" y="750"/>
                  </a:lnTo>
                  <a:lnTo>
                    <a:pt x="7440" y="738"/>
                  </a:lnTo>
                  <a:lnTo>
                    <a:pt x="7344" y="744"/>
                  </a:lnTo>
                  <a:lnTo>
                    <a:pt x="7320" y="726"/>
                  </a:lnTo>
                  <a:lnTo>
                    <a:pt x="7314" y="732"/>
                  </a:lnTo>
                  <a:lnTo>
                    <a:pt x="7212" y="732"/>
                  </a:lnTo>
                  <a:lnTo>
                    <a:pt x="7206" y="738"/>
                  </a:lnTo>
                  <a:lnTo>
                    <a:pt x="7212" y="744"/>
                  </a:lnTo>
                  <a:lnTo>
                    <a:pt x="7218" y="756"/>
                  </a:lnTo>
                  <a:lnTo>
                    <a:pt x="7254" y="792"/>
                  </a:lnTo>
                  <a:lnTo>
                    <a:pt x="7248" y="792"/>
                  </a:lnTo>
                  <a:lnTo>
                    <a:pt x="7242" y="786"/>
                  </a:lnTo>
                  <a:lnTo>
                    <a:pt x="7230" y="780"/>
                  </a:lnTo>
                  <a:lnTo>
                    <a:pt x="7218" y="768"/>
                  </a:lnTo>
                  <a:lnTo>
                    <a:pt x="7206" y="762"/>
                  </a:lnTo>
                  <a:lnTo>
                    <a:pt x="7194" y="750"/>
                  </a:lnTo>
                  <a:lnTo>
                    <a:pt x="7176" y="744"/>
                  </a:lnTo>
                  <a:lnTo>
                    <a:pt x="7104" y="732"/>
                  </a:lnTo>
                  <a:lnTo>
                    <a:pt x="7086" y="732"/>
                  </a:lnTo>
                  <a:lnTo>
                    <a:pt x="7086" y="726"/>
                  </a:lnTo>
                  <a:lnTo>
                    <a:pt x="7056" y="696"/>
                  </a:lnTo>
                  <a:lnTo>
                    <a:pt x="7032" y="684"/>
                  </a:lnTo>
                  <a:lnTo>
                    <a:pt x="6990" y="666"/>
                  </a:lnTo>
                  <a:lnTo>
                    <a:pt x="6948" y="660"/>
                  </a:lnTo>
                  <a:lnTo>
                    <a:pt x="6912" y="654"/>
                  </a:lnTo>
                  <a:lnTo>
                    <a:pt x="6882" y="654"/>
                  </a:lnTo>
                  <a:lnTo>
                    <a:pt x="6864" y="648"/>
                  </a:lnTo>
                  <a:lnTo>
                    <a:pt x="6834" y="648"/>
                  </a:lnTo>
                  <a:lnTo>
                    <a:pt x="6786" y="636"/>
                  </a:lnTo>
                  <a:lnTo>
                    <a:pt x="6774" y="642"/>
                  </a:lnTo>
                  <a:lnTo>
                    <a:pt x="6714" y="642"/>
                  </a:lnTo>
                  <a:lnTo>
                    <a:pt x="6696" y="660"/>
                  </a:lnTo>
                  <a:lnTo>
                    <a:pt x="6684" y="666"/>
                  </a:lnTo>
                  <a:lnTo>
                    <a:pt x="6648" y="666"/>
                  </a:lnTo>
                  <a:lnTo>
                    <a:pt x="6630" y="660"/>
                  </a:lnTo>
                  <a:lnTo>
                    <a:pt x="6594" y="660"/>
                  </a:lnTo>
                  <a:lnTo>
                    <a:pt x="6582" y="654"/>
                  </a:lnTo>
                  <a:lnTo>
                    <a:pt x="6576" y="648"/>
                  </a:lnTo>
                  <a:lnTo>
                    <a:pt x="6552" y="636"/>
                  </a:lnTo>
                  <a:lnTo>
                    <a:pt x="6534" y="630"/>
                  </a:lnTo>
                  <a:lnTo>
                    <a:pt x="6522" y="624"/>
                  </a:lnTo>
                  <a:lnTo>
                    <a:pt x="6498" y="624"/>
                  </a:lnTo>
                  <a:lnTo>
                    <a:pt x="6486" y="630"/>
                  </a:lnTo>
                  <a:lnTo>
                    <a:pt x="6474" y="612"/>
                  </a:lnTo>
                  <a:lnTo>
                    <a:pt x="6438" y="612"/>
                  </a:lnTo>
                  <a:lnTo>
                    <a:pt x="6372" y="606"/>
                  </a:lnTo>
                  <a:lnTo>
                    <a:pt x="6408" y="594"/>
                  </a:lnTo>
                  <a:lnTo>
                    <a:pt x="6372" y="570"/>
                  </a:lnTo>
                  <a:lnTo>
                    <a:pt x="6360" y="570"/>
                  </a:lnTo>
                  <a:lnTo>
                    <a:pt x="6324" y="564"/>
                  </a:lnTo>
                  <a:lnTo>
                    <a:pt x="6282" y="558"/>
                  </a:lnTo>
                  <a:lnTo>
                    <a:pt x="6246" y="558"/>
                  </a:lnTo>
                  <a:lnTo>
                    <a:pt x="6228" y="564"/>
                  </a:lnTo>
                  <a:lnTo>
                    <a:pt x="6228" y="594"/>
                  </a:lnTo>
                  <a:lnTo>
                    <a:pt x="6222" y="600"/>
                  </a:lnTo>
                  <a:lnTo>
                    <a:pt x="6192" y="600"/>
                  </a:lnTo>
                  <a:lnTo>
                    <a:pt x="6180" y="594"/>
                  </a:lnTo>
                  <a:lnTo>
                    <a:pt x="6168" y="594"/>
                  </a:lnTo>
                  <a:lnTo>
                    <a:pt x="6186" y="582"/>
                  </a:lnTo>
                  <a:lnTo>
                    <a:pt x="6168" y="570"/>
                  </a:lnTo>
                  <a:lnTo>
                    <a:pt x="6096" y="570"/>
                  </a:lnTo>
                  <a:lnTo>
                    <a:pt x="6114" y="558"/>
                  </a:lnTo>
                  <a:lnTo>
                    <a:pt x="6156" y="558"/>
                  </a:lnTo>
                  <a:lnTo>
                    <a:pt x="6216" y="588"/>
                  </a:lnTo>
                  <a:lnTo>
                    <a:pt x="6216" y="564"/>
                  </a:lnTo>
                  <a:lnTo>
                    <a:pt x="6162" y="540"/>
                  </a:lnTo>
                  <a:lnTo>
                    <a:pt x="6048" y="546"/>
                  </a:lnTo>
                  <a:lnTo>
                    <a:pt x="6048" y="534"/>
                  </a:lnTo>
                  <a:lnTo>
                    <a:pt x="5928" y="540"/>
                  </a:lnTo>
                  <a:lnTo>
                    <a:pt x="5880" y="522"/>
                  </a:lnTo>
                  <a:lnTo>
                    <a:pt x="5862" y="522"/>
                  </a:lnTo>
                  <a:lnTo>
                    <a:pt x="5898" y="546"/>
                  </a:lnTo>
                  <a:lnTo>
                    <a:pt x="5850" y="546"/>
                  </a:lnTo>
                  <a:lnTo>
                    <a:pt x="5838" y="552"/>
                  </a:lnTo>
                  <a:lnTo>
                    <a:pt x="5832" y="552"/>
                  </a:lnTo>
                  <a:lnTo>
                    <a:pt x="5832" y="558"/>
                  </a:lnTo>
                  <a:lnTo>
                    <a:pt x="5844" y="564"/>
                  </a:lnTo>
                  <a:lnTo>
                    <a:pt x="5850" y="570"/>
                  </a:lnTo>
                  <a:lnTo>
                    <a:pt x="5862" y="576"/>
                  </a:lnTo>
                  <a:lnTo>
                    <a:pt x="5892" y="576"/>
                  </a:lnTo>
                  <a:lnTo>
                    <a:pt x="5892" y="582"/>
                  </a:lnTo>
                  <a:lnTo>
                    <a:pt x="5952" y="618"/>
                  </a:lnTo>
                  <a:lnTo>
                    <a:pt x="5904" y="618"/>
                  </a:lnTo>
                  <a:lnTo>
                    <a:pt x="5898" y="612"/>
                  </a:lnTo>
                  <a:lnTo>
                    <a:pt x="5886" y="606"/>
                  </a:lnTo>
                  <a:lnTo>
                    <a:pt x="5874" y="606"/>
                  </a:lnTo>
                  <a:lnTo>
                    <a:pt x="5862" y="600"/>
                  </a:lnTo>
                  <a:lnTo>
                    <a:pt x="5844" y="618"/>
                  </a:lnTo>
                  <a:lnTo>
                    <a:pt x="5868" y="636"/>
                  </a:lnTo>
                  <a:lnTo>
                    <a:pt x="5814" y="630"/>
                  </a:lnTo>
                  <a:lnTo>
                    <a:pt x="5808" y="630"/>
                  </a:lnTo>
                  <a:lnTo>
                    <a:pt x="5802" y="624"/>
                  </a:lnTo>
                  <a:lnTo>
                    <a:pt x="5784" y="618"/>
                  </a:lnTo>
                  <a:lnTo>
                    <a:pt x="5766" y="618"/>
                  </a:lnTo>
                  <a:lnTo>
                    <a:pt x="5754" y="612"/>
                  </a:lnTo>
                  <a:lnTo>
                    <a:pt x="5736" y="606"/>
                  </a:lnTo>
                  <a:lnTo>
                    <a:pt x="5724" y="606"/>
                  </a:lnTo>
                  <a:lnTo>
                    <a:pt x="5712" y="612"/>
                  </a:lnTo>
                  <a:lnTo>
                    <a:pt x="5700" y="612"/>
                  </a:lnTo>
                  <a:lnTo>
                    <a:pt x="5688" y="618"/>
                  </a:lnTo>
                  <a:lnTo>
                    <a:pt x="5682" y="624"/>
                  </a:lnTo>
                  <a:lnTo>
                    <a:pt x="5676" y="624"/>
                  </a:lnTo>
                  <a:lnTo>
                    <a:pt x="5610" y="618"/>
                  </a:lnTo>
                  <a:lnTo>
                    <a:pt x="5604" y="618"/>
                  </a:lnTo>
                  <a:lnTo>
                    <a:pt x="5598" y="612"/>
                  </a:lnTo>
                  <a:lnTo>
                    <a:pt x="5562" y="594"/>
                  </a:lnTo>
                  <a:lnTo>
                    <a:pt x="5556" y="594"/>
                  </a:lnTo>
                  <a:lnTo>
                    <a:pt x="5550" y="588"/>
                  </a:lnTo>
                  <a:lnTo>
                    <a:pt x="5538" y="588"/>
                  </a:lnTo>
                  <a:lnTo>
                    <a:pt x="5538" y="606"/>
                  </a:lnTo>
                  <a:lnTo>
                    <a:pt x="5544" y="612"/>
                  </a:lnTo>
                  <a:lnTo>
                    <a:pt x="5550" y="624"/>
                  </a:lnTo>
                  <a:lnTo>
                    <a:pt x="5556" y="630"/>
                  </a:lnTo>
                  <a:lnTo>
                    <a:pt x="5562" y="642"/>
                  </a:lnTo>
                  <a:lnTo>
                    <a:pt x="5562" y="660"/>
                  </a:lnTo>
                  <a:lnTo>
                    <a:pt x="5556" y="666"/>
                  </a:lnTo>
                  <a:lnTo>
                    <a:pt x="5532" y="660"/>
                  </a:lnTo>
                  <a:lnTo>
                    <a:pt x="5424" y="624"/>
                  </a:lnTo>
                  <a:lnTo>
                    <a:pt x="5412" y="618"/>
                  </a:lnTo>
                  <a:lnTo>
                    <a:pt x="5406" y="618"/>
                  </a:lnTo>
                  <a:lnTo>
                    <a:pt x="5400" y="612"/>
                  </a:lnTo>
                  <a:lnTo>
                    <a:pt x="5394" y="600"/>
                  </a:lnTo>
                  <a:lnTo>
                    <a:pt x="5382" y="594"/>
                  </a:lnTo>
                  <a:lnTo>
                    <a:pt x="5376" y="588"/>
                  </a:lnTo>
                  <a:lnTo>
                    <a:pt x="5376" y="606"/>
                  </a:lnTo>
                  <a:lnTo>
                    <a:pt x="5322" y="588"/>
                  </a:lnTo>
                  <a:lnTo>
                    <a:pt x="5292" y="570"/>
                  </a:lnTo>
                  <a:lnTo>
                    <a:pt x="5298" y="570"/>
                  </a:lnTo>
                  <a:lnTo>
                    <a:pt x="5304" y="576"/>
                  </a:lnTo>
                  <a:lnTo>
                    <a:pt x="5328" y="576"/>
                  </a:lnTo>
                  <a:lnTo>
                    <a:pt x="5340" y="582"/>
                  </a:lnTo>
                  <a:lnTo>
                    <a:pt x="5352" y="582"/>
                  </a:lnTo>
                  <a:lnTo>
                    <a:pt x="5358" y="576"/>
                  </a:lnTo>
                  <a:lnTo>
                    <a:pt x="5358" y="570"/>
                  </a:lnTo>
                  <a:lnTo>
                    <a:pt x="5346" y="564"/>
                  </a:lnTo>
                  <a:lnTo>
                    <a:pt x="5334" y="552"/>
                  </a:lnTo>
                  <a:lnTo>
                    <a:pt x="5292" y="552"/>
                  </a:lnTo>
                  <a:lnTo>
                    <a:pt x="5304" y="540"/>
                  </a:lnTo>
                  <a:lnTo>
                    <a:pt x="5298" y="534"/>
                  </a:lnTo>
                  <a:lnTo>
                    <a:pt x="5286" y="528"/>
                  </a:lnTo>
                  <a:lnTo>
                    <a:pt x="5256" y="528"/>
                  </a:lnTo>
                  <a:lnTo>
                    <a:pt x="5268" y="510"/>
                  </a:lnTo>
                  <a:lnTo>
                    <a:pt x="5262" y="510"/>
                  </a:lnTo>
                  <a:lnTo>
                    <a:pt x="5256" y="504"/>
                  </a:lnTo>
                  <a:lnTo>
                    <a:pt x="5232" y="504"/>
                  </a:lnTo>
                  <a:lnTo>
                    <a:pt x="5220" y="498"/>
                  </a:lnTo>
                  <a:lnTo>
                    <a:pt x="5208" y="498"/>
                  </a:lnTo>
                  <a:lnTo>
                    <a:pt x="5202" y="492"/>
                  </a:lnTo>
                  <a:lnTo>
                    <a:pt x="5190" y="492"/>
                  </a:lnTo>
                  <a:lnTo>
                    <a:pt x="5184" y="486"/>
                  </a:lnTo>
                  <a:lnTo>
                    <a:pt x="5142" y="486"/>
                  </a:lnTo>
                  <a:lnTo>
                    <a:pt x="5130" y="492"/>
                  </a:lnTo>
                  <a:lnTo>
                    <a:pt x="5094" y="492"/>
                  </a:lnTo>
                  <a:lnTo>
                    <a:pt x="5076" y="486"/>
                  </a:lnTo>
                  <a:lnTo>
                    <a:pt x="5070" y="480"/>
                  </a:lnTo>
                  <a:lnTo>
                    <a:pt x="5064" y="480"/>
                  </a:lnTo>
                  <a:lnTo>
                    <a:pt x="5040" y="486"/>
                  </a:lnTo>
                  <a:lnTo>
                    <a:pt x="5040" y="474"/>
                  </a:lnTo>
                  <a:lnTo>
                    <a:pt x="4992" y="468"/>
                  </a:lnTo>
                  <a:lnTo>
                    <a:pt x="4980" y="456"/>
                  </a:lnTo>
                  <a:lnTo>
                    <a:pt x="4974" y="474"/>
                  </a:lnTo>
                  <a:lnTo>
                    <a:pt x="4956" y="480"/>
                  </a:lnTo>
                  <a:lnTo>
                    <a:pt x="4986" y="498"/>
                  </a:lnTo>
                  <a:lnTo>
                    <a:pt x="5010" y="528"/>
                  </a:lnTo>
                  <a:lnTo>
                    <a:pt x="4962" y="522"/>
                  </a:lnTo>
                  <a:lnTo>
                    <a:pt x="4956" y="516"/>
                  </a:lnTo>
                  <a:lnTo>
                    <a:pt x="4890" y="522"/>
                  </a:lnTo>
                  <a:lnTo>
                    <a:pt x="4872" y="528"/>
                  </a:lnTo>
                  <a:lnTo>
                    <a:pt x="4872" y="516"/>
                  </a:lnTo>
                  <a:lnTo>
                    <a:pt x="4824" y="522"/>
                  </a:lnTo>
                  <a:lnTo>
                    <a:pt x="4818" y="510"/>
                  </a:lnTo>
                  <a:lnTo>
                    <a:pt x="4764" y="510"/>
                  </a:lnTo>
                  <a:lnTo>
                    <a:pt x="4728" y="504"/>
                  </a:lnTo>
                  <a:lnTo>
                    <a:pt x="4746" y="480"/>
                  </a:lnTo>
                  <a:lnTo>
                    <a:pt x="4620" y="480"/>
                  </a:lnTo>
                  <a:lnTo>
                    <a:pt x="4608" y="468"/>
                  </a:lnTo>
                  <a:lnTo>
                    <a:pt x="4602" y="474"/>
                  </a:lnTo>
                  <a:lnTo>
                    <a:pt x="4590" y="468"/>
                  </a:lnTo>
                  <a:lnTo>
                    <a:pt x="4542" y="474"/>
                  </a:lnTo>
                  <a:lnTo>
                    <a:pt x="4548" y="486"/>
                  </a:lnTo>
                  <a:lnTo>
                    <a:pt x="4488" y="480"/>
                  </a:lnTo>
                  <a:lnTo>
                    <a:pt x="4476" y="486"/>
                  </a:lnTo>
                  <a:lnTo>
                    <a:pt x="4506" y="498"/>
                  </a:lnTo>
                  <a:lnTo>
                    <a:pt x="4464" y="492"/>
                  </a:lnTo>
                  <a:lnTo>
                    <a:pt x="4464" y="474"/>
                  </a:lnTo>
                  <a:lnTo>
                    <a:pt x="4434" y="456"/>
                  </a:lnTo>
                  <a:lnTo>
                    <a:pt x="4416" y="456"/>
                  </a:lnTo>
                  <a:lnTo>
                    <a:pt x="4428" y="474"/>
                  </a:lnTo>
                  <a:lnTo>
                    <a:pt x="4374" y="474"/>
                  </a:lnTo>
                  <a:lnTo>
                    <a:pt x="4368" y="468"/>
                  </a:lnTo>
                  <a:lnTo>
                    <a:pt x="4356" y="468"/>
                  </a:lnTo>
                  <a:lnTo>
                    <a:pt x="4350" y="456"/>
                  </a:lnTo>
                  <a:lnTo>
                    <a:pt x="4320" y="456"/>
                  </a:lnTo>
                  <a:lnTo>
                    <a:pt x="4296" y="444"/>
                  </a:lnTo>
                  <a:lnTo>
                    <a:pt x="4266" y="468"/>
                  </a:lnTo>
                  <a:lnTo>
                    <a:pt x="4320" y="474"/>
                  </a:lnTo>
                  <a:lnTo>
                    <a:pt x="4332" y="474"/>
                  </a:lnTo>
                  <a:lnTo>
                    <a:pt x="4326" y="480"/>
                  </a:lnTo>
                  <a:lnTo>
                    <a:pt x="4314" y="486"/>
                  </a:lnTo>
                  <a:lnTo>
                    <a:pt x="4308" y="492"/>
                  </a:lnTo>
                  <a:lnTo>
                    <a:pt x="4272" y="492"/>
                  </a:lnTo>
                  <a:lnTo>
                    <a:pt x="4266" y="498"/>
                  </a:lnTo>
                  <a:lnTo>
                    <a:pt x="4254" y="504"/>
                  </a:lnTo>
                  <a:lnTo>
                    <a:pt x="4182" y="504"/>
                  </a:lnTo>
                  <a:lnTo>
                    <a:pt x="4146" y="510"/>
                  </a:lnTo>
                  <a:lnTo>
                    <a:pt x="4134" y="534"/>
                  </a:lnTo>
                  <a:lnTo>
                    <a:pt x="4110" y="528"/>
                  </a:lnTo>
                  <a:lnTo>
                    <a:pt x="4110" y="516"/>
                  </a:lnTo>
                  <a:lnTo>
                    <a:pt x="4116" y="504"/>
                  </a:lnTo>
                  <a:lnTo>
                    <a:pt x="4122" y="498"/>
                  </a:lnTo>
                  <a:lnTo>
                    <a:pt x="4134" y="492"/>
                  </a:lnTo>
                  <a:lnTo>
                    <a:pt x="4152" y="492"/>
                  </a:lnTo>
                  <a:lnTo>
                    <a:pt x="4164" y="480"/>
                  </a:lnTo>
                  <a:lnTo>
                    <a:pt x="4206" y="474"/>
                  </a:lnTo>
                  <a:lnTo>
                    <a:pt x="4248" y="438"/>
                  </a:lnTo>
                  <a:lnTo>
                    <a:pt x="4248" y="426"/>
                  </a:lnTo>
                  <a:lnTo>
                    <a:pt x="4254" y="420"/>
                  </a:lnTo>
                  <a:lnTo>
                    <a:pt x="4266" y="414"/>
                  </a:lnTo>
                  <a:lnTo>
                    <a:pt x="4278" y="414"/>
                  </a:lnTo>
                  <a:lnTo>
                    <a:pt x="4290" y="408"/>
                  </a:lnTo>
                  <a:lnTo>
                    <a:pt x="4302" y="408"/>
                  </a:lnTo>
                  <a:lnTo>
                    <a:pt x="4320" y="402"/>
                  </a:lnTo>
                  <a:lnTo>
                    <a:pt x="4332" y="402"/>
                  </a:lnTo>
                  <a:lnTo>
                    <a:pt x="4344" y="396"/>
                  </a:lnTo>
                  <a:lnTo>
                    <a:pt x="4350" y="390"/>
                  </a:lnTo>
                  <a:lnTo>
                    <a:pt x="4356" y="378"/>
                  </a:lnTo>
                  <a:lnTo>
                    <a:pt x="4350" y="366"/>
                  </a:lnTo>
                  <a:lnTo>
                    <a:pt x="4344" y="360"/>
                  </a:lnTo>
                  <a:lnTo>
                    <a:pt x="4332" y="354"/>
                  </a:lnTo>
                  <a:lnTo>
                    <a:pt x="4326" y="348"/>
                  </a:lnTo>
                  <a:lnTo>
                    <a:pt x="4290" y="348"/>
                  </a:lnTo>
                  <a:lnTo>
                    <a:pt x="4320" y="336"/>
                  </a:lnTo>
                  <a:lnTo>
                    <a:pt x="4314" y="330"/>
                  </a:lnTo>
                  <a:lnTo>
                    <a:pt x="4302" y="324"/>
                  </a:lnTo>
                  <a:lnTo>
                    <a:pt x="4290" y="312"/>
                  </a:lnTo>
                  <a:lnTo>
                    <a:pt x="4284" y="312"/>
                  </a:lnTo>
                  <a:lnTo>
                    <a:pt x="4278" y="318"/>
                  </a:lnTo>
                  <a:lnTo>
                    <a:pt x="4254" y="318"/>
                  </a:lnTo>
                  <a:lnTo>
                    <a:pt x="4248" y="312"/>
                  </a:lnTo>
                  <a:lnTo>
                    <a:pt x="4242" y="300"/>
                  </a:lnTo>
                  <a:lnTo>
                    <a:pt x="4236" y="294"/>
                  </a:lnTo>
                  <a:lnTo>
                    <a:pt x="4194" y="294"/>
                  </a:lnTo>
                  <a:lnTo>
                    <a:pt x="4188" y="300"/>
                  </a:lnTo>
                  <a:lnTo>
                    <a:pt x="4182" y="300"/>
                  </a:lnTo>
                  <a:lnTo>
                    <a:pt x="4128" y="288"/>
                  </a:lnTo>
                  <a:lnTo>
                    <a:pt x="3990" y="282"/>
                  </a:lnTo>
                  <a:lnTo>
                    <a:pt x="3990" y="300"/>
                  </a:lnTo>
                  <a:lnTo>
                    <a:pt x="3924" y="300"/>
                  </a:lnTo>
                  <a:lnTo>
                    <a:pt x="3942" y="282"/>
                  </a:lnTo>
                  <a:lnTo>
                    <a:pt x="3942" y="276"/>
                  </a:lnTo>
                  <a:lnTo>
                    <a:pt x="3936" y="270"/>
                  </a:lnTo>
                  <a:lnTo>
                    <a:pt x="3912" y="264"/>
                  </a:lnTo>
                  <a:lnTo>
                    <a:pt x="3882" y="264"/>
                  </a:lnTo>
                  <a:lnTo>
                    <a:pt x="3852" y="270"/>
                  </a:lnTo>
                  <a:lnTo>
                    <a:pt x="3840" y="270"/>
                  </a:lnTo>
                  <a:lnTo>
                    <a:pt x="3780" y="264"/>
                  </a:lnTo>
                  <a:lnTo>
                    <a:pt x="3792" y="264"/>
                  </a:lnTo>
                  <a:lnTo>
                    <a:pt x="3810" y="258"/>
                  </a:lnTo>
                  <a:lnTo>
                    <a:pt x="3822" y="258"/>
                  </a:lnTo>
                  <a:lnTo>
                    <a:pt x="3834" y="252"/>
                  </a:lnTo>
                  <a:lnTo>
                    <a:pt x="3840" y="252"/>
                  </a:lnTo>
                  <a:lnTo>
                    <a:pt x="3840" y="246"/>
                  </a:lnTo>
                  <a:lnTo>
                    <a:pt x="3834" y="240"/>
                  </a:lnTo>
                  <a:lnTo>
                    <a:pt x="3822" y="240"/>
                  </a:lnTo>
                  <a:lnTo>
                    <a:pt x="3804" y="234"/>
                  </a:lnTo>
                  <a:lnTo>
                    <a:pt x="3762" y="234"/>
                  </a:lnTo>
                  <a:lnTo>
                    <a:pt x="3720" y="228"/>
                  </a:lnTo>
                  <a:lnTo>
                    <a:pt x="3714" y="240"/>
                  </a:lnTo>
                  <a:lnTo>
                    <a:pt x="3684" y="240"/>
                  </a:lnTo>
                  <a:lnTo>
                    <a:pt x="3672" y="246"/>
                  </a:lnTo>
                  <a:lnTo>
                    <a:pt x="3660" y="246"/>
                  </a:lnTo>
                  <a:lnTo>
                    <a:pt x="3648" y="252"/>
                  </a:lnTo>
                  <a:lnTo>
                    <a:pt x="3648" y="258"/>
                  </a:lnTo>
                  <a:lnTo>
                    <a:pt x="3654" y="270"/>
                  </a:lnTo>
                  <a:lnTo>
                    <a:pt x="3678" y="282"/>
                  </a:lnTo>
                  <a:lnTo>
                    <a:pt x="3696" y="294"/>
                  </a:lnTo>
                  <a:lnTo>
                    <a:pt x="3708" y="294"/>
                  </a:lnTo>
                  <a:lnTo>
                    <a:pt x="3714" y="300"/>
                  </a:lnTo>
                  <a:lnTo>
                    <a:pt x="3720" y="300"/>
                  </a:lnTo>
                  <a:lnTo>
                    <a:pt x="3576" y="294"/>
                  </a:lnTo>
                  <a:lnTo>
                    <a:pt x="3630" y="312"/>
                  </a:lnTo>
                  <a:lnTo>
                    <a:pt x="3576" y="324"/>
                  </a:lnTo>
                  <a:lnTo>
                    <a:pt x="3564" y="330"/>
                  </a:lnTo>
                  <a:lnTo>
                    <a:pt x="3534" y="336"/>
                  </a:lnTo>
                  <a:lnTo>
                    <a:pt x="3498" y="342"/>
                  </a:lnTo>
                  <a:lnTo>
                    <a:pt x="3474" y="342"/>
                  </a:lnTo>
                  <a:lnTo>
                    <a:pt x="3468" y="336"/>
                  </a:lnTo>
                  <a:lnTo>
                    <a:pt x="3474" y="324"/>
                  </a:lnTo>
                  <a:lnTo>
                    <a:pt x="3486" y="312"/>
                  </a:lnTo>
                  <a:lnTo>
                    <a:pt x="3420" y="312"/>
                  </a:lnTo>
                  <a:lnTo>
                    <a:pt x="3408" y="318"/>
                  </a:lnTo>
                  <a:lnTo>
                    <a:pt x="3390" y="318"/>
                  </a:lnTo>
                  <a:lnTo>
                    <a:pt x="3378" y="324"/>
                  </a:lnTo>
                  <a:lnTo>
                    <a:pt x="3366" y="336"/>
                  </a:lnTo>
                  <a:lnTo>
                    <a:pt x="3348" y="336"/>
                  </a:lnTo>
                  <a:lnTo>
                    <a:pt x="3318" y="342"/>
                  </a:lnTo>
                  <a:lnTo>
                    <a:pt x="3276" y="342"/>
                  </a:lnTo>
                  <a:lnTo>
                    <a:pt x="3246" y="348"/>
                  </a:lnTo>
                  <a:lnTo>
                    <a:pt x="3234" y="354"/>
                  </a:lnTo>
                  <a:lnTo>
                    <a:pt x="3216" y="354"/>
                  </a:lnTo>
                  <a:lnTo>
                    <a:pt x="3204" y="360"/>
                  </a:lnTo>
                  <a:lnTo>
                    <a:pt x="3186" y="360"/>
                  </a:lnTo>
                  <a:lnTo>
                    <a:pt x="3180" y="366"/>
                  </a:lnTo>
                  <a:lnTo>
                    <a:pt x="3174" y="366"/>
                  </a:lnTo>
                  <a:lnTo>
                    <a:pt x="3132" y="396"/>
                  </a:lnTo>
                  <a:lnTo>
                    <a:pt x="3114" y="396"/>
                  </a:lnTo>
                  <a:lnTo>
                    <a:pt x="3108" y="402"/>
                  </a:lnTo>
                  <a:lnTo>
                    <a:pt x="3102" y="402"/>
                  </a:lnTo>
                  <a:lnTo>
                    <a:pt x="3096" y="408"/>
                  </a:lnTo>
                  <a:lnTo>
                    <a:pt x="3102" y="414"/>
                  </a:lnTo>
                  <a:lnTo>
                    <a:pt x="3120" y="426"/>
                  </a:lnTo>
                  <a:lnTo>
                    <a:pt x="3132" y="438"/>
                  </a:lnTo>
                  <a:lnTo>
                    <a:pt x="3150" y="444"/>
                  </a:lnTo>
                  <a:lnTo>
                    <a:pt x="3156" y="450"/>
                  </a:lnTo>
                  <a:lnTo>
                    <a:pt x="3162" y="450"/>
                  </a:lnTo>
                  <a:lnTo>
                    <a:pt x="3120" y="462"/>
                  </a:lnTo>
                  <a:lnTo>
                    <a:pt x="3096" y="474"/>
                  </a:lnTo>
                  <a:lnTo>
                    <a:pt x="2994" y="474"/>
                  </a:lnTo>
                  <a:lnTo>
                    <a:pt x="2988" y="480"/>
                  </a:lnTo>
                  <a:lnTo>
                    <a:pt x="2952" y="468"/>
                  </a:lnTo>
                  <a:lnTo>
                    <a:pt x="2934" y="474"/>
                  </a:lnTo>
                  <a:lnTo>
                    <a:pt x="2880" y="474"/>
                  </a:lnTo>
                  <a:lnTo>
                    <a:pt x="2874" y="480"/>
                  </a:lnTo>
                  <a:lnTo>
                    <a:pt x="2874" y="498"/>
                  </a:lnTo>
                  <a:lnTo>
                    <a:pt x="2880" y="510"/>
                  </a:lnTo>
                  <a:lnTo>
                    <a:pt x="2892" y="522"/>
                  </a:lnTo>
                  <a:lnTo>
                    <a:pt x="2898" y="522"/>
                  </a:lnTo>
                  <a:lnTo>
                    <a:pt x="2904" y="528"/>
                  </a:lnTo>
                  <a:lnTo>
                    <a:pt x="2910" y="540"/>
                  </a:lnTo>
                  <a:lnTo>
                    <a:pt x="2916" y="546"/>
                  </a:lnTo>
                  <a:lnTo>
                    <a:pt x="2922" y="546"/>
                  </a:lnTo>
                  <a:lnTo>
                    <a:pt x="2928" y="552"/>
                  </a:lnTo>
                  <a:lnTo>
                    <a:pt x="2940" y="552"/>
                  </a:lnTo>
                  <a:lnTo>
                    <a:pt x="2952" y="558"/>
                  </a:lnTo>
                  <a:lnTo>
                    <a:pt x="2964" y="558"/>
                  </a:lnTo>
                  <a:lnTo>
                    <a:pt x="2976" y="564"/>
                  </a:lnTo>
                  <a:lnTo>
                    <a:pt x="2994" y="564"/>
                  </a:lnTo>
                  <a:lnTo>
                    <a:pt x="3012" y="570"/>
                  </a:lnTo>
                  <a:lnTo>
                    <a:pt x="3024" y="570"/>
                  </a:lnTo>
                  <a:lnTo>
                    <a:pt x="3036" y="576"/>
                  </a:lnTo>
                  <a:lnTo>
                    <a:pt x="3042" y="576"/>
                  </a:lnTo>
                  <a:lnTo>
                    <a:pt x="3054" y="588"/>
                  </a:lnTo>
                  <a:lnTo>
                    <a:pt x="3054" y="594"/>
                  </a:lnTo>
                  <a:lnTo>
                    <a:pt x="3060" y="600"/>
                  </a:lnTo>
                  <a:lnTo>
                    <a:pt x="3030" y="600"/>
                  </a:lnTo>
                  <a:lnTo>
                    <a:pt x="3012" y="606"/>
                  </a:lnTo>
                  <a:lnTo>
                    <a:pt x="3000" y="606"/>
                  </a:lnTo>
                  <a:lnTo>
                    <a:pt x="2964" y="588"/>
                  </a:lnTo>
                  <a:lnTo>
                    <a:pt x="2928" y="576"/>
                  </a:lnTo>
                  <a:lnTo>
                    <a:pt x="2904" y="570"/>
                  </a:lnTo>
                  <a:lnTo>
                    <a:pt x="2886" y="564"/>
                  </a:lnTo>
                  <a:lnTo>
                    <a:pt x="2862" y="564"/>
                  </a:lnTo>
                  <a:lnTo>
                    <a:pt x="2844" y="558"/>
                  </a:lnTo>
                  <a:lnTo>
                    <a:pt x="2802" y="558"/>
                  </a:lnTo>
                  <a:lnTo>
                    <a:pt x="2796" y="564"/>
                  </a:lnTo>
                  <a:lnTo>
                    <a:pt x="2796" y="576"/>
                  </a:lnTo>
                  <a:lnTo>
                    <a:pt x="2802" y="582"/>
                  </a:lnTo>
                  <a:lnTo>
                    <a:pt x="2808" y="582"/>
                  </a:lnTo>
                  <a:lnTo>
                    <a:pt x="2820" y="594"/>
                  </a:lnTo>
                  <a:lnTo>
                    <a:pt x="2784" y="594"/>
                  </a:lnTo>
                  <a:lnTo>
                    <a:pt x="2772" y="582"/>
                  </a:lnTo>
                  <a:lnTo>
                    <a:pt x="2754" y="582"/>
                  </a:lnTo>
                  <a:lnTo>
                    <a:pt x="2748" y="576"/>
                  </a:lnTo>
                  <a:lnTo>
                    <a:pt x="2724" y="576"/>
                  </a:lnTo>
                  <a:lnTo>
                    <a:pt x="2724" y="582"/>
                  </a:lnTo>
                  <a:lnTo>
                    <a:pt x="2730" y="600"/>
                  </a:lnTo>
                  <a:lnTo>
                    <a:pt x="2736" y="612"/>
                  </a:lnTo>
                  <a:lnTo>
                    <a:pt x="2748" y="618"/>
                  </a:lnTo>
                  <a:lnTo>
                    <a:pt x="2766" y="624"/>
                  </a:lnTo>
                  <a:lnTo>
                    <a:pt x="2802" y="624"/>
                  </a:lnTo>
                  <a:lnTo>
                    <a:pt x="2820" y="630"/>
                  </a:lnTo>
                  <a:lnTo>
                    <a:pt x="2844" y="630"/>
                  </a:lnTo>
                  <a:lnTo>
                    <a:pt x="2856" y="636"/>
                  </a:lnTo>
                  <a:lnTo>
                    <a:pt x="2862" y="648"/>
                  </a:lnTo>
                  <a:lnTo>
                    <a:pt x="2874" y="654"/>
                  </a:lnTo>
                  <a:lnTo>
                    <a:pt x="2844" y="654"/>
                  </a:lnTo>
                  <a:lnTo>
                    <a:pt x="2838" y="648"/>
                  </a:lnTo>
                  <a:lnTo>
                    <a:pt x="2826" y="642"/>
                  </a:lnTo>
                  <a:lnTo>
                    <a:pt x="2772" y="642"/>
                  </a:lnTo>
                  <a:lnTo>
                    <a:pt x="2760" y="636"/>
                  </a:lnTo>
                  <a:lnTo>
                    <a:pt x="2730" y="636"/>
                  </a:lnTo>
                  <a:lnTo>
                    <a:pt x="2724" y="624"/>
                  </a:lnTo>
                  <a:lnTo>
                    <a:pt x="2700" y="624"/>
                  </a:lnTo>
                  <a:lnTo>
                    <a:pt x="2694" y="606"/>
                  </a:lnTo>
                  <a:lnTo>
                    <a:pt x="2664" y="594"/>
                  </a:lnTo>
                  <a:lnTo>
                    <a:pt x="2670" y="588"/>
                  </a:lnTo>
                  <a:lnTo>
                    <a:pt x="2682" y="582"/>
                  </a:lnTo>
                  <a:lnTo>
                    <a:pt x="2688" y="576"/>
                  </a:lnTo>
                  <a:lnTo>
                    <a:pt x="2688" y="564"/>
                  </a:lnTo>
                  <a:lnTo>
                    <a:pt x="2658" y="534"/>
                  </a:lnTo>
                  <a:lnTo>
                    <a:pt x="2646" y="528"/>
                  </a:lnTo>
                  <a:lnTo>
                    <a:pt x="2616" y="528"/>
                  </a:lnTo>
                  <a:lnTo>
                    <a:pt x="2628" y="534"/>
                  </a:lnTo>
                  <a:lnTo>
                    <a:pt x="2652" y="558"/>
                  </a:lnTo>
                  <a:lnTo>
                    <a:pt x="2640" y="570"/>
                  </a:lnTo>
                  <a:lnTo>
                    <a:pt x="2616" y="582"/>
                  </a:lnTo>
                  <a:lnTo>
                    <a:pt x="2604" y="582"/>
                  </a:lnTo>
                  <a:lnTo>
                    <a:pt x="2586" y="624"/>
                  </a:lnTo>
                  <a:lnTo>
                    <a:pt x="2658" y="660"/>
                  </a:lnTo>
                  <a:lnTo>
                    <a:pt x="2676" y="660"/>
                  </a:lnTo>
                  <a:lnTo>
                    <a:pt x="2676" y="696"/>
                  </a:lnTo>
                  <a:lnTo>
                    <a:pt x="2670" y="708"/>
                  </a:lnTo>
                  <a:lnTo>
                    <a:pt x="2670" y="720"/>
                  </a:lnTo>
                  <a:lnTo>
                    <a:pt x="2676" y="738"/>
                  </a:lnTo>
                  <a:lnTo>
                    <a:pt x="2712" y="744"/>
                  </a:lnTo>
                  <a:lnTo>
                    <a:pt x="2712" y="768"/>
                  </a:lnTo>
                  <a:lnTo>
                    <a:pt x="2772" y="780"/>
                  </a:lnTo>
                  <a:lnTo>
                    <a:pt x="2778" y="780"/>
                  </a:lnTo>
                  <a:lnTo>
                    <a:pt x="2784" y="774"/>
                  </a:lnTo>
                  <a:lnTo>
                    <a:pt x="2796" y="774"/>
                  </a:lnTo>
                  <a:lnTo>
                    <a:pt x="2814" y="768"/>
                  </a:lnTo>
                  <a:lnTo>
                    <a:pt x="2850" y="768"/>
                  </a:lnTo>
                  <a:lnTo>
                    <a:pt x="2868" y="774"/>
                  </a:lnTo>
                  <a:lnTo>
                    <a:pt x="2874" y="780"/>
                  </a:lnTo>
                  <a:lnTo>
                    <a:pt x="2886" y="786"/>
                  </a:lnTo>
                  <a:lnTo>
                    <a:pt x="2904" y="786"/>
                  </a:lnTo>
                  <a:lnTo>
                    <a:pt x="2916" y="792"/>
                  </a:lnTo>
                  <a:lnTo>
                    <a:pt x="2952" y="804"/>
                  </a:lnTo>
                  <a:lnTo>
                    <a:pt x="2976" y="828"/>
                  </a:lnTo>
                  <a:lnTo>
                    <a:pt x="2976" y="834"/>
                  </a:lnTo>
                  <a:lnTo>
                    <a:pt x="2964" y="834"/>
                  </a:lnTo>
                  <a:lnTo>
                    <a:pt x="2958" y="840"/>
                  </a:lnTo>
                  <a:lnTo>
                    <a:pt x="2946" y="840"/>
                  </a:lnTo>
                  <a:lnTo>
                    <a:pt x="2940" y="846"/>
                  </a:lnTo>
                  <a:lnTo>
                    <a:pt x="2946" y="852"/>
                  </a:lnTo>
                  <a:lnTo>
                    <a:pt x="2958" y="858"/>
                  </a:lnTo>
                  <a:lnTo>
                    <a:pt x="2976" y="876"/>
                  </a:lnTo>
                  <a:lnTo>
                    <a:pt x="3024" y="876"/>
                  </a:lnTo>
                  <a:lnTo>
                    <a:pt x="3012" y="882"/>
                  </a:lnTo>
                  <a:lnTo>
                    <a:pt x="3006" y="882"/>
                  </a:lnTo>
                  <a:lnTo>
                    <a:pt x="2994" y="888"/>
                  </a:lnTo>
                  <a:lnTo>
                    <a:pt x="2970" y="888"/>
                  </a:lnTo>
                  <a:lnTo>
                    <a:pt x="2958" y="882"/>
                  </a:lnTo>
                  <a:lnTo>
                    <a:pt x="2952" y="876"/>
                  </a:lnTo>
                  <a:lnTo>
                    <a:pt x="2940" y="870"/>
                  </a:lnTo>
                  <a:lnTo>
                    <a:pt x="2940" y="858"/>
                  </a:lnTo>
                  <a:lnTo>
                    <a:pt x="2928" y="834"/>
                  </a:lnTo>
                  <a:lnTo>
                    <a:pt x="2916" y="822"/>
                  </a:lnTo>
                  <a:lnTo>
                    <a:pt x="2892" y="810"/>
                  </a:lnTo>
                  <a:lnTo>
                    <a:pt x="2886" y="804"/>
                  </a:lnTo>
                  <a:lnTo>
                    <a:pt x="2880" y="804"/>
                  </a:lnTo>
                  <a:lnTo>
                    <a:pt x="2874" y="798"/>
                  </a:lnTo>
                  <a:lnTo>
                    <a:pt x="2874" y="786"/>
                  </a:lnTo>
                  <a:lnTo>
                    <a:pt x="2868" y="780"/>
                  </a:lnTo>
                  <a:lnTo>
                    <a:pt x="2844" y="780"/>
                  </a:lnTo>
                  <a:lnTo>
                    <a:pt x="2832" y="786"/>
                  </a:lnTo>
                  <a:lnTo>
                    <a:pt x="2814" y="786"/>
                  </a:lnTo>
                  <a:lnTo>
                    <a:pt x="2802" y="792"/>
                  </a:lnTo>
                  <a:lnTo>
                    <a:pt x="2778" y="792"/>
                  </a:lnTo>
                  <a:lnTo>
                    <a:pt x="2760" y="810"/>
                  </a:lnTo>
                  <a:lnTo>
                    <a:pt x="2766" y="816"/>
                  </a:lnTo>
                  <a:lnTo>
                    <a:pt x="2772" y="828"/>
                  </a:lnTo>
                  <a:lnTo>
                    <a:pt x="2784" y="834"/>
                  </a:lnTo>
                  <a:lnTo>
                    <a:pt x="2802" y="852"/>
                  </a:lnTo>
                  <a:lnTo>
                    <a:pt x="2814" y="858"/>
                  </a:lnTo>
                  <a:lnTo>
                    <a:pt x="2814" y="864"/>
                  </a:lnTo>
                  <a:lnTo>
                    <a:pt x="2790" y="888"/>
                  </a:lnTo>
                  <a:lnTo>
                    <a:pt x="2784" y="888"/>
                  </a:lnTo>
                  <a:lnTo>
                    <a:pt x="2778" y="930"/>
                  </a:lnTo>
                  <a:lnTo>
                    <a:pt x="2736" y="948"/>
                  </a:lnTo>
                  <a:lnTo>
                    <a:pt x="2736" y="954"/>
                  </a:lnTo>
                  <a:lnTo>
                    <a:pt x="2730" y="966"/>
                  </a:lnTo>
                  <a:lnTo>
                    <a:pt x="2724" y="972"/>
                  </a:lnTo>
                  <a:lnTo>
                    <a:pt x="2694" y="972"/>
                  </a:lnTo>
                  <a:lnTo>
                    <a:pt x="2682" y="966"/>
                  </a:lnTo>
                  <a:lnTo>
                    <a:pt x="2652" y="966"/>
                  </a:lnTo>
                  <a:lnTo>
                    <a:pt x="2592" y="960"/>
                  </a:lnTo>
                  <a:lnTo>
                    <a:pt x="2586" y="960"/>
                  </a:lnTo>
                  <a:lnTo>
                    <a:pt x="2580" y="954"/>
                  </a:lnTo>
                  <a:lnTo>
                    <a:pt x="2568" y="948"/>
                  </a:lnTo>
                  <a:lnTo>
                    <a:pt x="2556" y="948"/>
                  </a:lnTo>
                  <a:lnTo>
                    <a:pt x="2544" y="936"/>
                  </a:lnTo>
                  <a:lnTo>
                    <a:pt x="2598" y="936"/>
                  </a:lnTo>
                  <a:lnTo>
                    <a:pt x="2616" y="942"/>
                  </a:lnTo>
                  <a:lnTo>
                    <a:pt x="2640" y="924"/>
                  </a:lnTo>
                  <a:lnTo>
                    <a:pt x="2652" y="924"/>
                  </a:lnTo>
                  <a:lnTo>
                    <a:pt x="2664" y="930"/>
                  </a:lnTo>
                  <a:lnTo>
                    <a:pt x="2682" y="930"/>
                  </a:lnTo>
                  <a:lnTo>
                    <a:pt x="2694" y="924"/>
                  </a:lnTo>
                  <a:lnTo>
                    <a:pt x="2694" y="906"/>
                  </a:lnTo>
                  <a:lnTo>
                    <a:pt x="2700" y="894"/>
                  </a:lnTo>
                  <a:lnTo>
                    <a:pt x="2700" y="882"/>
                  </a:lnTo>
                  <a:lnTo>
                    <a:pt x="2724" y="876"/>
                  </a:lnTo>
                  <a:lnTo>
                    <a:pt x="2724" y="852"/>
                  </a:lnTo>
                  <a:lnTo>
                    <a:pt x="2712" y="852"/>
                  </a:lnTo>
                  <a:lnTo>
                    <a:pt x="2718" y="846"/>
                  </a:lnTo>
                  <a:lnTo>
                    <a:pt x="2724" y="834"/>
                  </a:lnTo>
                  <a:lnTo>
                    <a:pt x="2724" y="822"/>
                  </a:lnTo>
                  <a:lnTo>
                    <a:pt x="2718" y="816"/>
                  </a:lnTo>
                  <a:lnTo>
                    <a:pt x="2712" y="816"/>
                  </a:lnTo>
                  <a:lnTo>
                    <a:pt x="2700" y="810"/>
                  </a:lnTo>
                  <a:lnTo>
                    <a:pt x="2682" y="810"/>
                  </a:lnTo>
                  <a:lnTo>
                    <a:pt x="2664" y="804"/>
                  </a:lnTo>
                  <a:lnTo>
                    <a:pt x="2652" y="804"/>
                  </a:lnTo>
                  <a:lnTo>
                    <a:pt x="2634" y="786"/>
                  </a:lnTo>
                  <a:lnTo>
                    <a:pt x="2634" y="744"/>
                  </a:lnTo>
                  <a:lnTo>
                    <a:pt x="2628" y="732"/>
                  </a:lnTo>
                  <a:lnTo>
                    <a:pt x="2616" y="720"/>
                  </a:lnTo>
                  <a:lnTo>
                    <a:pt x="2604" y="714"/>
                  </a:lnTo>
                  <a:lnTo>
                    <a:pt x="2598" y="702"/>
                  </a:lnTo>
                  <a:lnTo>
                    <a:pt x="2592" y="696"/>
                  </a:lnTo>
                  <a:lnTo>
                    <a:pt x="2586" y="660"/>
                  </a:lnTo>
                  <a:lnTo>
                    <a:pt x="2520" y="624"/>
                  </a:lnTo>
                  <a:lnTo>
                    <a:pt x="2532" y="612"/>
                  </a:lnTo>
                  <a:lnTo>
                    <a:pt x="2544" y="588"/>
                  </a:lnTo>
                  <a:lnTo>
                    <a:pt x="2544" y="576"/>
                  </a:lnTo>
                  <a:lnTo>
                    <a:pt x="2538" y="564"/>
                  </a:lnTo>
                  <a:lnTo>
                    <a:pt x="2514" y="540"/>
                  </a:lnTo>
                  <a:lnTo>
                    <a:pt x="2496" y="540"/>
                  </a:lnTo>
                  <a:lnTo>
                    <a:pt x="2484" y="534"/>
                  </a:lnTo>
                  <a:lnTo>
                    <a:pt x="2472" y="534"/>
                  </a:lnTo>
                  <a:lnTo>
                    <a:pt x="2340" y="522"/>
                  </a:lnTo>
                  <a:lnTo>
                    <a:pt x="2328" y="552"/>
                  </a:lnTo>
                  <a:lnTo>
                    <a:pt x="2346" y="570"/>
                  </a:lnTo>
                  <a:lnTo>
                    <a:pt x="2334" y="600"/>
                  </a:lnTo>
                  <a:lnTo>
                    <a:pt x="2280" y="624"/>
                  </a:lnTo>
                  <a:lnTo>
                    <a:pt x="2268" y="654"/>
                  </a:lnTo>
                  <a:lnTo>
                    <a:pt x="2304" y="660"/>
                  </a:lnTo>
                  <a:lnTo>
                    <a:pt x="2334" y="708"/>
                  </a:lnTo>
                  <a:lnTo>
                    <a:pt x="2322" y="726"/>
                  </a:lnTo>
                  <a:lnTo>
                    <a:pt x="2352" y="750"/>
                  </a:lnTo>
                  <a:lnTo>
                    <a:pt x="2388" y="744"/>
                  </a:lnTo>
                  <a:lnTo>
                    <a:pt x="2394" y="750"/>
                  </a:lnTo>
                  <a:lnTo>
                    <a:pt x="2400" y="762"/>
                  </a:lnTo>
                  <a:lnTo>
                    <a:pt x="2412" y="768"/>
                  </a:lnTo>
                  <a:lnTo>
                    <a:pt x="2418" y="774"/>
                  </a:lnTo>
                  <a:lnTo>
                    <a:pt x="2430" y="780"/>
                  </a:lnTo>
                  <a:lnTo>
                    <a:pt x="2472" y="780"/>
                  </a:lnTo>
                  <a:lnTo>
                    <a:pt x="2466" y="840"/>
                  </a:lnTo>
                  <a:lnTo>
                    <a:pt x="2448" y="816"/>
                  </a:lnTo>
                  <a:lnTo>
                    <a:pt x="2430" y="828"/>
                  </a:lnTo>
                  <a:lnTo>
                    <a:pt x="2418" y="822"/>
                  </a:lnTo>
                  <a:lnTo>
                    <a:pt x="2388" y="804"/>
                  </a:lnTo>
                  <a:lnTo>
                    <a:pt x="2352" y="792"/>
                  </a:lnTo>
                  <a:lnTo>
                    <a:pt x="2328" y="780"/>
                  </a:lnTo>
                  <a:lnTo>
                    <a:pt x="2268" y="780"/>
                  </a:lnTo>
                  <a:lnTo>
                    <a:pt x="2250" y="762"/>
                  </a:lnTo>
                  <a:lnTo>
                    <a:pt x="2244" y="780"/>
                  </a:lnTo>
                  <a:lnTo>
                    <a:pt x="2220" y="756"/>
                  </a:lnTo>
                  <a:lnTo>
                    <a:pt x="2214" y="756"/>
                  </a:lnTo>
                  <a:lnTo>
                    <a:pt x="2208" y="750"/>
                  </a:lnTo>
                  <a:lnTo>
                    <a:pt x="2196" y="744"/>
                  </a:lnTo>
                  <a:lnTo>
                    <a:pt x="2178" y="744"/>
                  </a:lnTo>
                  <a:lnTo>
                    <a:pt x="2154" y="732"/>
                  </a:lnTo>
                  <a:lnTo>
                    <a:pt x="2130" y="732"/>
                  </a:lnTo>
                  <a:lnTo>
                    <a:pt x="2118" y="738"/>
                  </a:lnTo>
                  <a:lnTo>
                    <a:pt x="2088" y="738"/>
                  </a:lnTo>
                  <a:lnTo>
                    <a:pt x="2076" y="732"/>
                  </a:lnTo>
                  <a:lnTo>
                    <a:pt x="2022" y="732"/>
                  </a:lnTo>
                  <a:lnTo>
                    <a:pt x="2016" y="738"/>
                  </a:lnTo>
                  <a:lnTo>
                    <a:pt x="2010" y="738"/>
                  </a:lnTo>
                  <a:lnTo>
                    <a:pt x="2004" y="744"/>
                  </a:lnTo>
                  <a:lnTo>
                    <a:pt x="2004" y="750"/>
                  </a:lnTo>
                  <a:lnTo>
                    <a:pt x="2016" y="762"/>
                  </a:lnTo>
                  <a:lnTo>
                    <a:pt x="2028" y="768"/>
                  </a:lnTo>
                  <a:lnTo>
                    <a:pt x="2040" y="780"/>
                  </a:lnTo>
                  <a:lnTo>
                    <a:pt x="2046" y="780"/>
                  </a:lnTo>
                  <a:lnTo>
                    <a:pt x="2022" y="810"/>
                  </a:lnTo>
                  <a:lnTo>
                    <a:pt x="2010" y="798"/>
                  </a:lnTo>
                  <a:lnTo>
                    <a:pt x="2010" y="828"/>
                  </a:lnTo>
                  <a:lnTo>
                    <a:pt x="1998" y="828"/>
                  </a:lnTo>
                  <a:lnTo>
                    <a:pt x="1986" y="822"/>
                  </a:lnTo>
                  <a:lnTo>
                    <a:pt x="1980" y="822"/>
                  </a:lnTo>
                  <a:lnTo>
                    <a:pt x="1974" y="816"/>
                  </a:lnTo>
                  <a:lnTo>
                    <a:pt x="1974" y="786"/>
                  </a:lnTo>
                  <a:lnTo>
                    <a:pt x="1968" y="780"/>
                  </a:lnTo>
                  <a:lnTo>
                    <a:pt x="1950" y="780"/>
                  </a:lnTo>
                  <a:lnTo>
                    <a:pt x="1938" y="786"/>
                  </a:lnTo>
                  <a:lnTo>
                    <a:pt x="1920" y="792"/>
                  </a:lnTo>
                  <a:lnTo>
                    <a:pt x="1908" y="804"/>
                  </a:lnTo>
                  <a:lnTo>
                    <a:pt x="1884" y="816"/>
                  </a:lnTo>
                  <a:lnTo>
                    <a:pt x="1866" y="816"/>
                  </a:lnTo>
                  <a:lnTo>
                    <a:pt x="1842" y="804"/>
                  </a:lnTo>
                  <a:lnTo>
                    <a:pt x="1824" y="804"/>
                  </a:lnTo>
                  <a:lnTo>
                    <a:pt x="1800" y="810"/>
                  </a:lnTo>
                  <a:lnTo>
                    <a:pt x="1782" y="816"/>
                  </a:lnTo>
                  <a:lnTo>
                    <a:pt x="1764" y="828"/>
                  </a:lnTo>
                  <a:lnTo>
                    <a:pt x="1752" y="834"/>
                  </a:lnTo>
                  <a:lnTo>
                    <a:pt x="1746" y="840"/>
                  </a:lnTo>
                  <a:lnTo>
                    <a:pt x="1680" y="840"/>
                  </a:lnTo>
                  <a:lnTo>
                    <a:pt x="1692" y="816"/>
                  </a:lnTo>
                  <a:lnTo>
                    <a:pt x="1692" y="780"/>
                  </a:lnTo>
                  <a:lnTo>
                    <a:pt x="1680" y="780"/>
                  </a:lnTo>
                  <a:lnTo>
                    <a:pt x="1668" y="786"/>
                  </a:lnTo>
                  <a:lnTo>
                    <a:pt x="1650" y="792"/>
                  </a:lnTo>
                  <a:lnTo>
                    <a:pt x="1638" y="792"/>
                  </a:lnTo>
                  <a:lnTo>
                    <a:pt x="1626" y="804"/>
                  </a:lnTo>
                  <a:lnTo>
                    <a:pt x="1626" y="816"/>
                  </a:lnTo>
                  <a:lnTo>
                    <a:pt x="1632" y="822"/>
                  </a:lnTo>
                  <a:lnTo>
                    <a:pt x="1632" y="828"/>
                  </a:lnTo>
                  <a:lnTo>
                    <a:pt x="1608" y="834"/>
                  </a:lnTo>
                  <a:lnTo>
                    <a:pt x="1608" y="810"/>
                  </a:lnTo>
                  <a:lnTo>
                    <a:pt x="1584" y="816"/>
                  </a:lnTo>
                  <a:lnTo>
                    <a:pt x="1530" y="822"/>
                  </a:lnTo>
                  <a:lnTo>
                    <a:pt x="1488" y="852"/>
                  </a:lnTo>
                  <a:lnTo>
                    <a:pt x="1440" y="858"/>
                  </a:lnTo>
                  <a:lnTo>
                    <a:pt x="1452" y="876"/>
                  </a:lnTo>
                  <a:lnTo>
                    <a:pt x="1440" y="876"/>
                  </a:lnTo>
                  <a:lnTo>
                    <a:pt x="1428" y="870"/>
                  </a:lnTo>
                  <a:lnTo>
                    <a:pt x="1422" y="870"/>
                  </a:lnTo>
                  <a:lnTo>
                    <a:pt x="1410" y="876"/>
                  </a:lnTo>
                  <a:lnTo>
                    <a:pt x="1404" y="882"/>
                  </a:lnTo>
                  <a:lnTo>
                    <a:pt x="1404" y="924"/>
                  </a:lnTo>
                  <a:lnTo>
                    <a:pt x="1332" y="930"/>
                  </a:lnTo>
                  <a:lnTo>
                    <a:pt x="1326" y="924"/>
                  </a:lnTo>
                  <a:lnTo>
                    <a:pt x="1314" y="918"/>
                  </a:lnTo>
                  <a:lnTo>
                    <a:pt x="1308" y="912"/>
                  </a:lnTo>
                  <a:lnTo>
                    <a:pt x="1266" y="912"/>
                  </a:lnTo>
                  <a:lnTo>
                    <a:pt x="1260" y="906"/>
                  </a:lnTo>
                  <a:lnTo>
                    <a:pt x="1260" y="876"/>
                  </a:lnTo>
                  <a:lnTo>
                    <a:pt x="1266" y="870"/>
                  </a:lnTo>
                  <a:lnTo>
                    <a:pt x="1266" y="864"/>
                  </a:lnTo>
                  <a:lnTo>
                    <a:pt x="1272" y="858"/>
                  </a:lnTo>
                  <a:lnTo>
                    <a:pt x="1284" y="864"/>
                  </a:lnTo>
                  <a:lnTo>
                    <a:pt x="1344" y="864"/>
                  </a:lnTo>
                  <a:lnTo>
                    <a:pt x="1332" y="858"/>
                  </a:lnTo>
                  <a:lnTo>
                    <a:pt x="1326" y="846"/>
                  </a:lnTo>
                  <a:lnTo>
                    <a:pt x="1314" y="840"/>
                  </a:lnTo>
                  <a:lnTo>
                    <a:pt x="1302" y="828"/>
                  </a:lnTo>
                  <a:lnTo>
                    <a:pt x="1290" y="822"/>
                  </a:lnTo>
                  <a:lnTo>
                    <a:pt x="1278" y="810"/>
                  </a:lnTo>
                  <a:lnTo>
                    <a:pt x="1152" y="810"/>
                  </a:lnTo>
                  <a:lnTo>
                    <a:pt x="1164" y="822"/>
                  </a:lnTo>
                  <a:lnTo>
                    <a:pt x="1188" y="822"/>
                  </a:lnTo>
                  <a:lnTo>
                    <a:pt x="1200" y="828"/>
                  </a:lnTo>
                  <a:lnTo>
                    <a:pt x="1200" y="846"/>
                  </a:lnTo>
                  <a:lnTo>
                    <a:pt x="1194" y="864"/>
                  </a:lnTo>
                  <a:lnTo>
                    <a:pt x="1194" y="876"/>
                  </a:lnTo>
                  <a:lnTo>
                    <a:pt x="1188" y="894"/>
                  </a:lnTo>
                  <a:lnTo>
                    <a:pt x="1188" y="918"/>
                  </a:lnTo>
                  <a:lnTo>
                    <a:pt x="1194" y="918"/>
                  </a:lnTo>
                  <a:lnTo>
                    <a:pt x="1206" y="924"/>
                  </a:lnTo>
                  <a:lnTo>
                    <a:pt x="1230" y="924"/>
                  </a:lnTo>
                  <a:lnTo>
                    <a:pt x="1236" y="930"/>
                  </a:lnTo>
                  <a:lnTo>
                    <a:pt x="1242" y="930"/>
                  </a:lnTo>
                  <a:lnTo>
                    <a:pt x="1236" y="966"/>
                  </a:lnTo>
                  <a:lnTo>
                    <a:pt x="1248" y="996"/>
                  </a:lnTo>
                  <a:lnTo>
                    <a:pt x="1212" y="972"/>
                  </a:lnTo>
                  <a:lnTo>
                    <a:pt x="1194" y="996"/>
                  </a:lnTo>
                  <a:lnTo>
                    <a:pt x="1188" y="966"/>
                  </a:lnTo>
                  <a:lnTo>
                    <a:pt x="1116" y="948"/>
                  </a:lnTo>
                  <a:lnTo>
                    <a:pt x="1086" y="984"/>
                  </a:lnTo>
                  <a:lnTo>
                    <a:pt x="1062" y="984"/>
                  </a:lnTo>
                  <a:lnTo>
                    <a:pt x="1056" y="996"/>
                  </a:lnTo>
                  <a:lnTo>
                    <a:pt x="1044" y="1002"/>
                  </a:lnTo>
                  <a:lnTo>
                    <a:pt x="1038" y="1008"/>
                  </a:lnTo>
                  <a:lnTo>
                    <a:pt x="1026" y="1014"/>
                  </a:lnTo>
                  <a:lnTo>
                    <a:pt x="1014" y="1014"/>
                  </a:lnTo>
                  <a:lnTo>
                    <a:pt x="1002" y="1020"/>
                  </a:lnTo>
                  <a:lnTo>
                    <a:pt x="1002" y="1032"/>
                  </a:lnTo>
                  <a:lnTo>
                    <a:pt x="1008" y="1038"/>
                  </a:lnTo>
                  <a:lnTo>
                    <a:pt x="1020" y="1044"/>
                  </a:lnTo>
                  <a:lnTo>
                    <a:pt x="1032" y="1056"/>
                  </a:lnTo>
                  <a:lnTo>
                    <a:pt x="1044" y="1062"/>
                  </a:lnTo>
                  <a:lnTo>
                    <a:pt x="1050" y="1068"/>
                  </a:lnTo>
                  <a:lnTo>
                    <a:pt x="1062" y="1074"/>
                  </a:lnTo>
                  <a:lnTo>
                    <a:pt x="1080" y="1104"/>
                  </a:lnTo>
                  <a:lnTo>
                    <a:pt x="1050" y="1086"/>
                  </a:lnTo>
                  <a:lnTo>
                    <a:pt x="1038" y="1092"/>
                  </a:lnTo>
                  <a:lnTo>
                    <a:pt x="1032" y="1098"/>
                  </a:lnTo>
                  <a:lnTo>
                    <a:pt x="1020" y="1098"/>
                  </a:lnTo>
                  <a:lnTo>
                    <a:pt x="1008" y="1092"/>
                  </a:lnTo>
                  <a:lnTo>
                    <a:pt x="996" y="1092"/>
                  </a:lnTo>
                  <a:lnTo>
                    <a:pt x="978" y="1086"/>
                  </a:lnTo>
                  <a:lnTo>
                    <a:pt x="966" y="1080"/>
                  </a:lnTo>
                  <a:lnTo>
                    <a:pt x="948" y="1080"/>
                  </a:lnTo>
                  <a:lnTo>
                    <a:pt x="936" y="1074"/>
                  </a:lnTo>
                  <a:lnTo>
                    <a:pt x="924" y="1074"/>
                  </a:lnTo>
                  <a:lnTo>
                    <a:pt x="918" y="1068"/>
                  </a:lnTo>
                  <a:lnTo>
                    <a:pt x="918" y="1056"/>
                  </a:lnTo>
                  <a:lnTo>
                    <a:pt x="906" y="1050"/>
                  </a:lnTo>
                  <a:lnTo>
                    <a:pt x="888" y="1050"/>
                  </a:lnTo>
                  <a:lnTo>
                    <a:pt x="864" y="1062"/>
                  </a:lnTo>
                  <a:lnTo>
                    <a:pt x="858" y="1068"/>
                  </a:lnTo>
                  <a:lnTo>
                    <a:pt x="840" y="1068"/>
                  </a:lnTo>
                  <a:lnTo>
                    <a:pt x="882" y="1104"/>
                  </a:lnTo>
                  <a:lnTo>
                    <a:pt x="900" y="1104"/>
                  </a:lnTo>
                  <a:lnTo>
                    <a:pt x="912" y="1110"/>
                  </a:lnTo>
                  <a:lnTo>
                    <a:pt x="924" y="1110"/>
                  </a:lnTo>
                  <a:lnTo>
                    <a:pt x="936" y="1116"/>
                  </a:lnTo>
                  <a:lnTo>
                    <a:pt x="942" y="1116"/>
                  </a:lnTo>
                  <a:lnTo>
                    <a:pt x="942" y="1122"/>
                  </a:lnTo>
                  <a:lnTo>
                    <a:pt x="936" y="1134"/>
                  </a:lnTo>
                  <a:lnTo>
                    <a:pt x="924" y="1140"/>
                  </a:lnTo>
                  <a:lnTo>
                    <a:pt x="918" y="1146"/>
                  </a:lnTo>
                  <a:lnTo>
                    <a:pt x="852" y="1128"/>
                  </a:lnTo>
                  <a:lnTo>
                    <a:pt x="840" y="1122"/>
                  </a:lnTo>
                  <a:lnTo>
                    <a:pt x="834" y="1116"/>
                  </a:lnTo>
                  <a:lnTo>
                    <a:pt x="822" y="1110"/>
                  </a:lnTo>
                  <a:lnTo>
                    <a:pt x="762" y="1110"/>
                  </a:lnTo>
                  <a:lnTo>
                    <a:pt x="756" y="1104"/>
                  </a:lnTo>
                  <a:lnTo>
                    <a:pt x="756" y="1056"/>
                  </a:lnTo>
                  <a:lnTo>
                    <a:pt x="738" y="1044"/>
                  </a:lnTo>
                  <a:lnTo>
                    <a:pt x="750" y="1032"/>
                  </a:lnTo>
                  <a:lnTo>
                    <a:pt x="756" y="1020"/>
                  </a:lnTo>
                  <a:lnTo>
                    <a:pt x="756" y="1002"/>
                  </a:lnTo>
                  <a:lnTo>
                    <a:pt x="738" y="990"/>
                  </a:lnTo>
                  <a:lnTo>
                    <a:pt x="702" y="978"/>
                  </a:lnTo>
                  <a:lnTo>
                    <a:pt x="672" y="972"/>
                  </a:lnTo>
                  <a:lnTo>
                    <a:pt x="660" y="966"/>
                  </a:lnTo>
                  <a:lnTo>
                    <a:pt x="630" y="948"/>
                  </a:lnTo>
                  <a:lnTo>
                    <a:pt x="606" y="930"/>
                  </a:lnTo>
                  <a:lnTo>
                    <a:pt x="594" y="912"/>
                  </a:lnTo>
                  <a:lnTo>
                    <a:pt x="630" y="912"/>
                  </a:lnTo>
                  <a:lnTo>
                    <a:pt x="630" y="924"/>
                  </a:lnTo>
                  <a:lnTo>
                    <a:pt x="642" y="924"/>
                  </a:lnTo>
                  <a:lnTo>
                    <a:pt x="654" y="930"/>
                  </a:lnTo>
                  <a:lnTo>
                    <a:pt x="672" y="930"/>
                  </a:lnTo>
                  <a:lnTo>
                    <a:pt x="690" y="936"/>
                  </a:lnTo>
                  <a:lnTo>
                    <a:pt x="720" y="936"/>
                  </a:lnTo>
                  <a:lnTo>
                    <a:pt x="732" y="942"/>
                  </a:lnTo>
                  <a:lnTo>
                    <a:pt x="738" y="954"/>
                  </a:lnTo>
                  <a:lnTo>
                    <a:pt x="762" y="966"/>
                  </a:lnTo>
                  <a:lnTo>
                    <a:pt x="816" y="966"/>
                  </a:lnTo>
                  <a:lnTo>
                    <a:pt x="846" y="972"/>
                  </a:lnTo>
                  <a:lnTo>
                    <a:pt x="858" y="972"/>
                  </a:lnTo>
                  <a:lnTo>
                    <a:pt x="870" y="978"/>
                  </a:lnTo>
                  <a:lnTo>
                    <a:pt x="894" y="984"/>
                  </a:lnTo>
                  <a:lnTo>
                    <a:pt x="930" y="990"/>
                  </a:lnTo>
                  <a:lnTo>
                    <a:pt x="978" y="984"/>
                  </a:lnTo>
                  <a:lnTo>
                    <a:pt x="1026" y="972"/>
                  </a:lnTo>
                  <a:lnTo>
                    <a:pt x="1062" y="954"/>
                  </a:lnTo>
                  <a:lnTo>
                    <a:pt x="1080" y="936"/>
                  </a:lnTo>
                  <a:lnTo>
                    <a:pt x="1074" y="912"/>
                  </a:lnTo>
                  <a:lnTo>
                    <a:pt x="1032" y="870"/>
                  </a:lnTo>
                  <a:lnTo>
                    <a:pt x="1014" y="858"/>
                  </a:lnTo>
                  <a:lnTo>
                    <a:pt x="996" y="852"/>
                  </a:lnTo>
                  <a:lnTo>
                    <a:pt x="948" y="840"/>
                  </a:lnTo>
                  <a:lnTo>
                    <a:pt x="900" y="822"/>
                  </a:lnTo>
                  <a:lnTo>
                    <a:pt x="828" y="798"/>
                  </a:lnTo>
                  <a:lnTo>
                    <a:pt x="792" y="780"/>
                  </a:lnTo>
                  <a:lnTo>
                    <a:pt x="756" y="774"/>
                  </a:lnTo>
                  <a:lnTo>
                    <a:pt x="624" y="774"/>
                  </a:lnTo>
                  <a:lnTo>
                    <a:pt x="612" y="756"/>
                  </a:lnTo>
                  <a:lnTo>
                    <a:pt x="588" y="762"/>
                  </a:lnTo>
                  <a:lnTo>
                    <a:pt x="552" y="744"/>
                  </a:lnTo>
                  <a:lnTo>
                    <a:pt x="588" y="738"/>
                  </a:lnTo>
                  <a:lnTo>
                    <a:pt x="606" y="726"/>
                  </a:lnTo>
                  <a:lnTo>
                    <a:pt x="600" y="726"/>
                  </a:lnTo>
                  <a:lnTo>
                    <a:pt x="594" y="720"/>
                  </a:lnTo>
                  <a:lnTo>
                    <a:pt x="582" y="720"/>
                  </a:lnTo>
                  <a:lnTo>
                    <a:pt x="564" y="714"/>
                  </a:lnTo>
                  <a:lnTo>
                    <a:pt x="546" y="714"/>
                  </a:lnTo>
                  <a:lnTo>
                    <a:pt x="534" y="708"/>
                  </a:lnTo>
                  <a:lnTo>
                    <a:pt x="522" y="720"/>
                  </a:lnTo>
                  <a:lnTo>
                    <a:pt x="522" y="726"/>
                  </a:lnTo>
                  <a:lnTo>
                    <a:pt x="516" y="732"/>
                  </a:lnTo>
                  <a:lnTo>
                    <a:pt x="498" y="732"/>
                  </a:lnTo>
                  <a:lnTo>
                    <a:pt x="486" y="744"/>
                  </a:lnTo>
                  <a:lnTo>
                    <a:pt x="450" y="744"/>
                  </a:lnTo>
                  <a:lnTo>
                    <a:pt x="444" y="756"/>
                  </a:lnTo>
                  <a:lnTo>
                    <a:pt x="420" y="762"/>
                  </a:lnTo>
                  <a:lnTo>
                    <a:pt x="420" y="768"/>
                  </a:lnTo>
                  <a:lnTo>
                    <a:pt x="414" y="780"/>
                  </a:lnTo>
                  <a:lnTo>
                    <a:pt x="390" y="780"/>
                  </a:lnTo>
                  <a:lnTo>
                    <a:pt x="384" y="792"/>
                  </a:lnTo>
                  <a:lnTo>
                    <a:pt x="396" y="804"/>
                  </a:lnTo>
                  <a:lnTo>
                    <a:pt x="396" y="810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84" y="834"/>
                  </a:lnTo>
                  <a:lnTo>
                    <a:pt x="384" y="840"/>
                  </a:lnTo>
                  <a:lnTo>
                    <a:pt x="390" y="846"/>
                  </a:lnTo>
                  <a:lnTo>
                    <a:pt x="396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68" y="888"/>
                  </a:lnTo>
                  <a:lnTo>
                    <a:pt x="468" y="900"/>
                  </a:lnTo>
                  <a:lnTo>
                    <a:pt x="462" y="900"/>
                  </a:lnTo>
                  <a:lnTo>
                    <a:pt x="450" y="906"/>
                  </a:lnTo>
                  <a:lnTo>
                    <a:pt x="444" y="906"/>
                  </a:lnTo>
                  <a:lnTo>
                    <a:pt x="444" y="918"/>
                  </a:lnTo>
                  <a:lnTo>
                    <a:pt x="438" y="918"/>
                  </a:lnTo>
                  <a:lnTo>
                    <a:pt x="426" y="924"/>
                  </a:lnTo>
                  <a:lnTo>
                    <a:pt x="420" y="930"/>
                  </a:lnTo>
                  <a:lnTo>
                    <a:pt x="438" y="948"/>
                  </a:lnTo>
                  <a:lnTo>
                    <a:pt x="450" y="954"/>
                  </a:lnTo>
                  <a:lnTo>
                    <a:pt x="456" y="966"/>
                  </a:lnTo>
                  <a:lnTo>
                    <a:pt x="468" y="972"/>
                  </a:lnTo>
                  <a:lnTo>
                    <a:pt x="492" y="996"/>
                  </a:lnTo>
                  <a:lnTo>
                    <a:pt x="504" y="1002"/>
                  </a:lnTo>
                  <a:lnTo>
                    <a:pt x="510" y="1008"/>
                  </a:lnTo>
                  <a:lnTo>
                    <a:pt x="510" y="1014"/>
                  </a:lnTo>
                  <a:lnTo>
                    <a:pt x="504" y="1020"/>
                  </a:lnTo>
                  <a:lnTo>
                    <a:pt x="492" y="1020"/>
                  </a:lnTo>
                  <a:lnTo>
                    <a:pt x="480" y="1014"/>
                  </a:lnTo>
                  <a:lnTo>
                    <a:pt x="474" y="1014"/>
                  </a:lnTo>
                  <a:lnTo>
                    <a:pt x="468" y="1044"/>
                  </a:lnTo>
                  <a:lnTo>
                    <a:pt x="480" y="1056"/>
                  </a:lnTo>
                  <a:lnTo>
                    <a:pt x="480" y="1068"/>
                  </a:lnTo>
                  <a:lnTo>
                    <a:pt x="492" y="1068"/>
                  </a:lnTo>
                  <a:lnTo>
                    <a:pt x="498" y="1074"/>
                  </a:lnTo>
                  <a:lnTo>
                    <a:pt x="504" y="1074"/>
                  </a:lnTo>
                  <a:lnTo>
                    <a:pt x="510" y="1080"/>
                  </a:lnTo>
                  <a:lnTo>
                    <a:pt x="510" y="1086"/>
                  </a:lnTo>
                  <a:lnTo>
                    <a:pt x="504" y="1092"/>
                  </a:lnTo>
                  <a:lnTo>
                    <a:pt x="498" y="1104"/>
                  </a:lnTo>
                  <a:lnTo>
                    <a:pt x="522" y="1110"/>
                  </a:lnTo>
                  <a:lnTo>
                    <a:pt x="534" y="1116"/>
                  </a:lnTo>
                  <a:lnTo>
                    <a:pt x="540" y="1122"/>
                  </a:lnTo>
                  <a:lnTo>
                    <a:pt x="540" y="1128"/>
                  </a:lnTo>
                  <a:lnTo>
                    <a:pt x="516" y="1152"/>
                  </a:lnTo>
                  <a:lnTo>
                    <a:pt x="510" y="1152"/>
                  </a:lnTo>
                  <a:lnTo>
                    <a:pt x="582" y="1188"/>
                  </a:lnTo>
                  <a:lnTo>
                    <a:pt x="588" y="1200"/>
                  </a:lnTo>
                  <a:lnTo>
                    <a:pt x="594" y="1206"/>
                  </a:lnTo>
                  <a:lnTo>
                    <a:pt x="600" y="1218"/>
                  </a:lnTo>
                  <a:lnTo>
                    <a:pt x="600" y="1230"/>
                  </a:lnTo>
                  <a:lnTo>
                    <a:pt x="594" y="1236"/>
                  </a:lnTo>
                  <a:lnTo>
                    <a:pt x="588" y="1248"/>
                  </a:lnTo>
                  <a:lnTo>
                    <a:pt x="552" y="1284"/>
                  </a:lnTo>
                  <a:lnTo>
                    <a:pt x="546" y="1284"/>
                  </a:lnTo>
                  <a:lnTo>
                    <a:pt x="486" y="1344"/>
                  </a:lnTo>
                  <a:lnTo>
                    <a:pt x="426" y="1374"/>
                  </a:lnTo>
                  <a:lnTo>
                    <a:pt x="432" y="1386"/>
                  </a:lnTo>
                  <a:lnTo>
                    <a:pt x="462" y="1368"/>
                  </a:lnTo>
                  <a:lnTo>
                    <a:pt x="468" y="1386"/>
                  </a:lnTo>
                  <a:lnTo>
                    <a:pt x="480" y="1398"/>
                  </a:lnTo>
                  <a:lnTo>
                    <a:pt x="492" y="1404"/>
                  </a:lnTo>
                  <a:lnTo>
                    <a:pt x="498" y="1410"/>
                  </a:lnTo>
                  <a:lnTo>
                    <a:pt x="546" y="1410"/>
                  </a:lnTo>
                  <a:lnTo>
                    <a:pt x="558" y="1428"/>
                  </a:lnTo>
                  <a:lnTo>
                    <a:pt x="546" y="1428"/>
                  </a:lnTo>
                  <a:lnTo>
                    <a:pt x="534" y="1422"/>
                  </a:lnTo>
                  <a:lnTo>
                    <a:pt x="504" y="1422"/>
                  </a:lnTo>
                  <a:lnTo>
                    <a:pt x="492" y="1434"/>
                  </a:lnTo>
                  <a:lnTo>
                    <a:pt x="492" y="1440"/>
                  </a:lnTo>
                  <a:lnTo>
                    <a:pt x="456" y="1440"/>
                  </a:lnTo>
                  <a:lnTo>
                    <a:pt x="450" y="1470"/>
                  </a:lnTo>
                  <a:lnTo>
                    <a:pt x="438" y="1470"/>
                  </a:lnTo>
                  <a:lnTo>
                    <a:pt x="432" y="1482"/>
                  </a:lnTo>
                  <a:lnTo>
                    <a:pt x="438" y="1494"/>
                  </a:lnTo>
                  <a:lnTo>
                    <a:pt x="432" y="1500"/>
                  </a:lnTo>
                  <a:lnTo>
                    <a:pt x="426" y="1500"/>
                  </a:lnTo>
                  <a:lnTo>
                    <a:pt x="414" y="1512"/>
                  </a:lnTo>
                  <a:lnTo>
                    <a:pt x="414" y="1530"/>
                  </a:lnTo>
                  <a:lnTo>
                    <a:pt x="432" y="1536"/>
                  </a:lnTo>
                  <a:lnTo>
                    <a:pt x="420" y="1560"/>
                  </a:lnTo>
                  <a:lnTo>
                    <a:pt x="432" y="1566"/>
                  </a:lnTo>
                  <a:lnTo>
                    <a:pt x="444" y="1584"/>
                  </a:lnTo>
                  <a:lnTo>
                    <a:pt x="426" y="1596"/>
                  </a:lnTo>
                  <a:lnTo>
                    <a:pt x="426" y="1608"/>
                  </a:lnTo>
                  <a:lnTo>
                    <a:pt x="432" y="1608"/>
                  </a:lnTo>
                  <a:lnTo>
                    <a:pt x="444" y="1620"/>
                  </a:lnTo>
                  <a:lnTo>
                    <a:pt x="456" y="1626"/>
                  </a:lnTo>
                  <a:lnTo>
                    <a:pt x="462" y="1632"/>
                  </a:lnTo>
                  <a:lnTo>
                    <a:pt x="462" y="1638"/>
                  </a:lnTo>
                  <a:lnTo>
                    <a:pt x="444" y="1638"/>
                  </a:lnTo>
                  <a:lnTo>
                    <a:pt x="438" y="1656"/>
                  </a:lnTo>
                  <a:lnTo>
                    <a:pt x="462" y="1662"/>
                  </a:lnTo>
                  <a:lnTo>
                    <a:pt x="468" y="1668"/>
                  </a:lnTo>
                  <a:lnTo>
                    <a:pt x="474" y="1680"/>
                  </a:lnTo>
                  <a:lnTo>
                    <a:pt x="486" y="1692"/>
                  </a:lnTo>
                  <a:lnTo>
                    <a:pt x="486" y="1716"/>
                  </a:lnTo>
                  <a:lnTo>
                    <a:pt x="510" y="1716"/>
                  </a:lnTo>
                  <a:lnTo>
                    <a:pt x="516" y="1722"/>
                  </a:lnTo>
                  <a:lnTo>
                    <a:pt x="516" y="1728"/>
                  </a:lnTo>
                  <a:lnTo>
                    <a:pt x="528" y="1722"/>
                  </a:lnTo>
                  <a:lnTo>
                    <a:pt x="564" y="1728"/>
                  </a:lnTo>
                  <a:lnTo>
                    <a:pt x="570" y="1746"/>
                  </a:lnTo>
                  <a:lnTo>
                    <a:pt x="600" y="1728"/>
                  </a:lnTo>
                  <a:lnTo>
                    <a:pt x="606" y="1728"/>
                  </a:lnTo>
                  <a:lnTo>
                    <a:pt x="612" y="1734"/>
                  </a:lnTo>
                  <a:lnTo>
                    <a:pt x="648" y="1752"/>
                  </a:lnTo>
                  <a:lnTo>
                    <a:pt x="654" y="1758"/>
                  </a:lnTo>
                  <a:lnTo>
                    <a:pt x="654" y="1770"/>
                  </a:lnTo>
                  <a:lnTo>
                    <a:pt x="648" y="1776"/>
                  </a:lnTo>
                  <a:lnTo>
                    <a:pt x="660" y="1794"/>
                  </a:lnTo>
                  <a:lnTo>
                    <a:pt x="654" y="1812"/>
                  </a:lnTo>
                  <a:lnTo>
                    <a:pt x="660" y="1818"/>
                  </a:lnTo>
                  <a:lnTo>
                    <a:pt x="672" y="1824"/>
                  </a:lnTo>
                  <a:lnTo>
                    <a:pt x="690" y="1842"/>
                  </a:lnTo>
                  <a:lnTo>
                    <a:pt x="690" y="1854"/>
                  </a:lnTo>
                  <a:lnTo>
                    <a:pt x="720" y="1866"/>
                  </a:lnTo>
                  <a:lnTo>
                    <a:pt x="720" y="1890"/>
                  </a:lnTo>
                  <a:lnTo>
                    <a:pt x="756" y="1890"/>
                  </a:lnTo>
                  <a:lnTo>
                    <a:pt x="762" y="1896"/>
                  </a:lnTo>
                  <a:lnTo>
                    <a:pt x="768" y="1896"/>
                  </a:lnTo>
                  <a:lnTo>
                    <a:pt x="768" y="1902"/>
                  </a:lnTo>
                  <a:lnTo>
                    <a:pt x="762" y="1908"/>
                  </a:lnTo>
                  <a:lnTo>
                    <a:pt x="786" y="1920"/>
                  </a:lnTo>
                  <a:lnTo>
                    <a:pt x="774" y="1926"/>
                  </a:lnTo>
                  <a:lnTo>
                    <a:pt x="768" y="1938"/>
                  </a:lnTo>
                  <a:lnTo>
                    <a:pt x="744" y="1950"/>
                  </a:lnTo>
                  <a:lnTo>
                    <a:pt x="738" y="1950"/>
                  </a:lnTo>
                  <a:lnTo>
                    <a:pt x="732" y="1944"/>
                  </a:lnTo>
                  <a:lnTo>
                    <a:pt x="726" y="1944"/>
                  </a:lnTo>
                  <a:lnTo>
                    <a:pt x="726" y="1938"/>
                  </a:lnTo>
                  <a:lnTo>
                    <a:pt x="702" y="1938"/>
                  </a:lnTo>
                  <a:lnTo>
                    <a:pt x="696" y="1944"/>
                  </a:lnTo>
                  <a:lnTo>
                    <a:pt x="696" y="1950"/>
                  </a:lnTo>
                  <a:lnTo>
                    <a:pt x="720" y="1974"/>
                  </a:lnTo>
                  <a:lnTo>
                    <a:pt x="720" y="1992"/>
                  </a:lnTo>
                  <a:lnTo>
                    <a:pt x="726" y="1998"/>
                  </a:lnTo>
                  <a:lnTo>
                    <a:pt x="732" y="2010"/>
                  </a:lnTo>
                  <a:lnTo>
                    <a:pt x="732" y="2028"/>
                  </a:lnTo>
                  <a:lnTo>
                    <a:pt x="720" y="2028"/>
                  </a:lnTo>
                  <a:lnTo>
                    <a:pt x="714" y="2022"/>
                  </a:lnTo>
                  <a:lnTo>
                    <a:pt x="708" y="2022"/>
                  </a:lnTo>
                  <a:lnTo>
                    <a:pt x="720" y="2028"/>
                  </a:lnTo>
                  <a:lnTo>
                    <a:pt x="768" y="2028"/>
                  </a:lnTo>
                  <a:lnTo>
                    <a:pt x="774" y="2022"/>
                  </a:lnTo>
                  <a:lnTo>
                    <a:pt x="774" y="2010"/>
                  </a:lnTo>
                  <a:lnTo>
                    <a:pt x="804" y="2010"/>
                  </a:lnTo>
                  <a:lnTo>
                    <a:pt x="816" y="2004"/>
                  </a:lnTo>
                  <a:lnTo>
                    <a:pt x="864" y="2004"/>
                  </a:lnTo>
                  <a:lnTo>
                    <a:pt x="870" y="2022"/>
                  </a:lnTo>
                  <a:lnTo>
                    <a:pt x="876" y="2022"/>
                  </a:lnTo>
                  <a:lnTo>
                    <a:pt x="882" y="2028"/>
                  </a:lnTo>
                  <a:lnTo>
                    <a:pt x="894" y="2034"/>
                  </a:lnTo>
                  <a:lnTo>
                    <a:pt x="900" y="2034"/>
                  </a:lnTo>
                  <a:lnTo>
                    <a:pt x="900" y="2046"/>
                  </a:lnTo>
                  <a:lnTo>
                    <a:pt x="894" y="2052"/>
                  </a:lnTo>
                  <a:lnTo>
                    <a:pt x="888" y="2052"/>
                  </a:lnTo>
                  <a:lnTo>
                    <a:pt x="894" y="2070"/>
                  </a:lnTo>
                  <a:lnTo>
                    <a:pt x="894" y="2088"/>
                  </a:lnTo>
                  <a:lnTo>
                    <a:pt x="930" y="2088"/>
                  </a:lnTo>
                  <a:lnTo>
                    <a:pt x="972" y="2106"/>
                  </a:lnTo>
                  <a:lnTo>
                    <a:pt x="984" y="2154"/>
                  </a:lnTo>
                  <a:lnTo>
                    <a:pt x="990" y="2154"/>
                  </a:lnTo>
                  <a:lnTo>
                    <a:pt x="1014" y="2148"/>
                  </a:lnTo>
                  <a:lnTo>
                    <a:pt x="1020" y="2154"/>
                  </a:lnTo>
                  <a:lnTo>
                    <a:pt x="1032" y="2154"/>
                  </a:lnTo>
                  <a:lnTo>
                    <a:pt x="1038" y="2160"/>
                  </a:lnTo>
                  <a:lnTo>
                    <a:pt x="1086" y="2160"/>
                  </a:lnTo>
                  <a:lnTo>
                    <a:pt x="1092" y="2166"/>
                  </a:lnTo>
                  <a:lnTo>
                    <a:pt x="1092" y="2160"/>
                  </a:lnTo>
                  <a:lnTo>
                    <a:pt x="1098" y="2154"/>
                  </a:lnTo>
                  <a:lnTo>
                    <a:pt x="1110" y="2154"/>
                  </a:lnTo>
                  <a:lnTo>
                    <a:pt x="1116" y="2166"/>
                  </a:lnTo>
                  <a:lnTo>
                    <a:pt x="1140" y="2190"/>
                  </a:lnTo>
                  <a:lnTo>
                    <a:pt x="1152" y="2184"/>
                  </a:lnTo>
                  <a:lnTo>
                    <a:pt x="1170" y="2184"/>
                  </a:lnTo>
                  <a:lnTo>
                    <a:pt x="1176" y="2190"/>
                  </a:lnTo>
                  <a:lnTo>
                    <a:pt x="1188" y="2196"/>
                  </a:lnTo>
                  <a:lnTo>
                    <a:pt x="1230" y="2196"/>
                  </a:lnTo>
                  <a:lnTo>
                    <a:pt x="1230" y="2202"/>
                  </a:lnTo>
                  <a:lnTo>
                    <a:pt x="1236" y="2208"/>
                  </a:lnTo>
                  <a:lnTo>
                    <a:pt x="1254" y="2220"/>
                  </a:lnTo>
                  <a:lnTo>
                    <a:pt x="1278" y="2220"/>
                  </a:lnTo>
                  <a:lnTo>
                    <a:pt x="1284" y="2226"/>
                  </a:lnTo>
                  <a:lnTo>
                    <a:pt x="1284" y="2250"/>
                  </a:lnTo>
                  <a:lnTo>
                    <a:pt x="1266" y="2262"/>
                  </a:lnTo>
                  <a:lnTo>
                    <a:pt x="1272" y="2262"/>
                  </a:lnTo>
                  <a:lnTo>
                    <a:pt x="1278" y="2268"/>
                  </a:lnTo>
                  <a:lnTo>
                    <a:pt x="1284" y="2268"/>
                  </a:lnTo>
                  <a:lnTo>
                    <a:pt x="1290" y="2274"/>
                  </a:lnTo>
                  <a:lnTo>
                    <a:pt x="1284" y="2280"/>
                  </a:lnTo>
                  <a:lnTo>
                    <a:pt x="1266" y="2280"/>
                  </a:lnTo>
                  <a:lnTo>
                    <a:pt x="1260" y="2286"/>
                  </a:lnTo>
                  <a:lnTo>
                    <a:pt x="1272" y="2298"/>
                  </a:lnTo>
                  <a:lnTo>
                    <a:pt x="1284" y="2304"/>
                  </a:lnTo>
                  <a:lnTo>
                    <a:pt x="1284" y="2316"/>
                  </a:lnTo>
                  <a:lnTo>
                    <a:pt x="1290" y="2328"/>
                  </a:lnTo>
                  <a:lnTo>
                    <a:pt x="1290" y="2334"/>
                  </a:lnTo>
                  <a:lnTo>
                    <a:pt x="1278" y="2346"/>
                  </a:lnTo>
                  <a:lnTo>
                    <a:pt x="1266" y="2346"/>
                  </a:lnTo>
                  <a:lnTo>
                    <a:pt x="1254" y="2352"/>
                  </a:lnTo>
                  <a:lnTo>
                    <a:pt x="1224" y="2352"/>
                  </a:lnTo>
                  <a:lnTo>
                    <a:pt x="1212" y="2364"/>
                  </a:lnTo>
                  <a:lnTo>
                    <a:pt x="1212" y="2370"/>
                  </a:lnTo>
                  <a:lnTo>
                    <a:pt x="1206" y="2376"/>
                  </a:lnTo>
                  <a:lnTo>
                    <a:pt x="1188" y="2376"/>
                  </a:lnTo>
                  <a:lnTo>
                    <a:pt x="1188" y="2412"/>
                  </a:lnTo>
                  <a:lnTo>
                    <a:pt x="1194" y="2412"/>
                  </a:lnTo>
                  <a:lnTo>
                    <a:pt x="1200" y="2406"/>
                  </a:lnTo>
                  <a:lnTo>
                    <a:pt x="1212" y="2406"/>
                  </a:lnTo>
                  <a:lnTo>
                    <a:pt x="1224" y="2400"/>
                  </a:lnTo>
                  <a:lnTo>
                    <a:pt x="1254" y="2400"/>
                  </a:lnTo>
                  <a:lnTo>
                    <a:pt x="1254" y="2412"/>
                  </a:lnTo>
                  <a:lnTo>
                    <a:pt x="1248" y="2418"/>
                  </a:lnTo>
                  <a:lnTo>
                    <a:pt x="1242" y="2430"/>
                  </a:lnTo>
                  <a:lnTo>
                    <a:pt x="1230" y="2436"/>
                  </a:lnTo>
                  <a:lnTo>
                    <a:pt x="1224" y="2442"/>
                  </a:lnTo>
                  <a:lnTo>
                    <a:pt x="1170" y="2454"/>
                  </a:lnTo>
                  <a:lnTo>
                    <a:pt x="1218" y="2490"/>
                  </a:lnTo>
                  <a:lnTo>
                    <a:pt x="1212" y="2490"/>
                  </a:lnTo>
                  <a:lnTo>
                    <a:pt x="1206" y="2496"/>
                  </a:lnTo>
                  <a:lnTo>
                    <a:pt x="1194" y="2496"/>
                  </a:lnTo>
                  <a:lnTo>
                    <a:pt x="1188" y="2502"/>
                  </a:lnTo>
                  <a:lnTo>
                    <a:pt x="1176" y="2526"/>
                  </a:lnTo>
                  <a:lnTo>
                    <a:pt x="1176" y="2544"/>
                  </a:lnTo>
                  <a:lnTo>
                    <a:pt x="1164" y="2550"/>
                  </a:lnTo>
                  <a:lnTo>
                    <a:pt x="1158" y="2556"/>
                  </a:lnTo>
                  <a:lnTo>
                    <a:pt x="1146" y="2556"/>
                  </a:lnTo>
                  <a:lnTo>
                    <a:pt x="1140" y="2550"/>
                  </a:lnTo>
                  <a:lnTo>
                    <a:pt x="1128" y="2544"/>
                  </a:lnTo>
                  <a:lnTo>
                    <a:pt x="1122" y="2538"/>
                  </a:lnTo>
                  <a:lnTo>
                    <a:pt x="1116" y="2556"/>
                  </a:lnTo>
                  <a:lnTo>
                    <a:pt x="1122" y="2562"/>
                  </a:lnTo>
                  <a:lnTo>
                    <a:pt x="1128" y="2574"/>
                  </a:lnTo>
                  <a:lnTo>
                    <a:pt x="1134" y="2580"/>
                  </a:lnTo>
                  <a:lnTo>
                    <a:pt x="1146" y="2580"/>
                  </a:lnTo>
                  <a:lnTo>
                    <a:pt x="1146" y="2586"/>
                  </a:lnTo>
                  <a:lnTo>
                    <a:pt x="1152" y="2598"/>
                  </a:lnTo>
                  <a:lnTo>
                    <a:pt x="1158" y="2604"/>
                  </a:lnTo>
                  <a:lnTo>
                    <a:pt x="1194" y="2604"/>
                  </a:lnTo>
                  <a:lnTo>
                    <a:pt x="1200" y="2610"/>
                  </a:lnTo>
                  <a:lnTo>
                    <a:pt x="1212" y="2616"/>
                  </a:lnTo>
                  <a:lnTo>
                    <a:pt x="1218" y="2628"/>
                  </a:lnTo>
                  <a:lnTo>
                    <a:pt x="1224" y="2634"/>
                  </a:lnTo>
                  <a:lnTo>
                    <a:pt x="1254" y="2634"/>
                  </a:lnTo>
                  <a:lnTo>
                    <a:pt x="1272" y="2652"/>
                  </a:lnTo>
                  <a:lnTo>
                    <a:pt x="1278" y="2664"/>
                  </a:lnTo>
                  <a:lnTo>
                    <a:pt x="1290" y="2670"/>
                  </a:lnTo>
                  <a:lnTo>
                    <a:pt x="1314" y="2694"/>
                  </a:lnTo>
                  <a:lnTo>
                    <a:pt x="1320" y="2694"/>
                  </a:lnTo>
                  <a:lnTo>
                    <a:pt x="1332" y="2700"/>
                  </a:lnTo>
                  <a:lnTo>
                    <a:pt x="1338" y="2700"/>
                  </a:lnTo>
                  <a:lnTo>
                    <a:pt x="1350" y="2706"/>
                  </a:lnTo>
                  <a:lnTo>
                    <a:pt x="1344" y="2706"/>
                  </a:lnTo>
                  <a:lnTo>
                    <a:pt x="1368" y="2688"/>
                  </a:lnTo>
                  <a:lnTo>
                    <a:pt x="1380" y="2688"/>
                  </a:lnTo>
                  <a:lnTo>
                    <a:pt x="1398" y="2694"/>
                  </a:lnTo>
                  <a:lnTo>
                    <a:pt x="1410" y="2700"/>
                  </a:lnTo>
                  <a:lnTo>
                    <a:pt x="1428" y="2706"/>
                  </a:lnTo>
                  <a:lnTo>
                    <a:pt x="1488" y="2718"/>
                  </a:lnTo>
                  <a:lnTo>
                    <a:pt x="1524" y="2718"/>
                  </a:lnTo>
                  <a:lnTo>
                    <a:pt x="1530" y="2724"/>
                  </a:lnTo>
                  <a:lnTo>
                    <a:pt x="1536" y="2724"/>
                  </a:lnTo>
                  <a:lnTo>
                    <a:pt x="1584" y="2754"/>
                  </a:lnTo>
                  <a:lnTo>
                    <a:pt x="1584" y="2760"/>
                  </a:lnTo>
                  <a:lnTo>
                    <a:pt x="1590" y="2760"/>
                  </a:lnTo>
                  <a:lnTo>
                    <a:pt x="1602" y="2766"/>
                  </a:lnTo>
                  <a:lnTo>
                    <a:pt x="1626" y="2766"/>
                  </a:lnTo>
                  <a:lnTo>
                    <a:pt x="1632" y="2760"/>
                  </a:lnTo>
                  <a:lnTo>
                    <a:pt x="1644" y="2760"/>
                  </a:lnTo>
                  <a:lnTo>
                    <a:pt x="1644" y="2754"/>
                  </a:lnTo>
                  <a:lnTo>
                    <a:pt x="1674" y="2754"/>
                  </a:lnTo>
                  <a:lnTo>
                    <a:pt x="1686" y="2760"/>
                  </a:lnTo>
                  <a:lnTo>
                    <a:pt x="1698" y="2772"/>
                  </a:lnTo>
                  <a:lnTo>
                    <a:pt x="1728" y="2778"/>
                  </a:lnTo>
                  <a:lnTo>
                    <a:pt x="1728" y="2790"/>
                  </a:lnTo>
                  <a:lnTo>
                    <a:pt x="1722" y="2796"/>
                  </a:lnTo>
                  <a:lnTo>
                    <a:pt x="1722" y="2802"/>
                  </a:lnTo>
                  <a:lnTo>
                    <a:pt x="1740" y="2802"/>
                  </a:lnTo>
                  <a:lnTo>
                    <a:pt x="1752" y="2814"/>
                  </a:lnTo>
                  <a:lnTo>
                    <a:pt x="1764" y="2820"/>
                  </a:lnTo>
                  <a:lnTo>
                    <a:pt x="1776" y="2832"/>
                  </a:lnTo>
                  <a:lnTo>
                    <a:pt x="1788" y="2826"/>
                  </a:lnTo>
                  <a:lnTo>
                    <a:pt x="1794" y="2826"/>
                  </a:lnTo>
                  <a:lnTo>
                    <a:pt x="1818" y="2838"/>
                  </a:lnTo>
                  <a:lnTo>
                    <a:pt x="1836" y="2856"/>
                  </a:lnTo>
                  <a:lnTo>
                    <a:pt x="1842" y="2868"/>
                  </a:lnTo>
                  <a:lnTo>
                    <a:pt x="1854" y="2874"/>
                  </a:lnTo>
                  <a:lnTo>
                    <a:pt x="1860" y="2880"/>
                  </a:lnTo>
                  <a:lnTo>
                    <a:pt x="1884" y="2880"/>
                  </a:lnTo>
                  <a:lnTo>
                    <a:pt x="1890" y="2874"/>
                  </a:lnTo>
                  <a:lnTo>
                    <a:pt x="1890" y="2862"/>
                  </a:lnTo>
                  <a:lnTo>
                    <a:pt x="1908" y="2862"/>
                  </a:lnTo>
                  <a:lnTo>
                    <a:pt x="1914" y="2856"/>
                  </a:lnTo>
                  <a:lnTo>
                    <a:pt x="1914" y="2826"/>
                  </a:lnTo>
                  <a:lnTo>
                    <a:pt x="1908" y="2820"/>
                  </a:lnTo>
                  <a:lnTo>
                    <a:pt x="1908" y="2814"/>
                  </a:lnTo>
                  <a:lnTo>
                    <a:pt x="1896" y="2802"/>
                  </a:lnTo>
                  <a:lnTo>
                    <a:pt x="1890" y="2790"/>
                  </a:lnTo>
                  <a:lnTo>
                    <a:pt x="1884" y="2784"/>
                  </a:lnTo>
                  <a:lnTo>
                    <a:pt x="1872" y="2778"/>
                  </a:lnTo>
                  <a:lnTo>
                    <a:pt x="1866" y="2772"/>
                  </a:lnTo>
                  <a:lnTo>
                    <a:pt x="1854" y="2772"/>
                  </a:lnTo>
                  <a:lnTo>
                    <a:pt x="1854" y="2748"/>
                  </a:lnTo>
                  <a:lnTo>
                    <a:pt x="1848" y="2742"/>
                  </a:lnTo>
                  <a:lnTo>
                    <a:pt x="1836" y="2736"/>
                  </a:lnTo>
                  <a:lnTo>
                    <a:pt x="1830" y="2724"/>
                  </a:lnTo>
                  <a:lnTo>
                    <a:pt x="1824" y="2718"/>
                  </a:lnTo>
                  <a:lnTo>
                    <a:pt x="1824" y="2706"/>
                  </a:lnTo>
                  <a:lnTo>
                    <a:pt x="1830" y="2694"/>
                  </a:lnTo>
                  <a:lnTo>
                    <a:pt x="1830" y="2682"/>
                  </a:lnTo>
                  <a:lnTo>
                    <a:pt x="1818" y="2658"/>
                  </a:lnTo>
                  <a:lnTo>
                    <a:pt x="1812" y="2652"/>
                  </a:lnTo>
                  <a:lnTo>
                    <a:pt x="1806" y="2640"/>
                  </a:lnTo>
                  <a:lnTo>
                    <a:pt x="1794" y="2634"/>
                  </a:lnTo>
                  <a:lnTo>
                    <a:pt x="1788" y="2628"/>
                  </a:lnTo>
                  <a:lnTo>
                    <a:pt x="1776" y="2628"/>
                  </a:lnTo>
                  <a:lnTo>
                    <a:pt x="1758" y="2622"/>
                  </a:lnTo>
                  <a:lnTo>
                    <a:pt x="1758" y="2604"/>
                  </a:lnTo>
                  <a:lnTo>
                    <a:pt x="1794" y="2568"/>
                  </a:lnTo>
                  <a:lnTo>
                    <a:pt x="1800" y="2556"/>
                  </a:lnTo>
                  <a:lnTo>
                    <a:pt x="1806" y="2550"/>
                  </a:lnTo>
                  <a:lnTo>
                    <a:pt x="1806" y="2544"/>
                  </a:lnTo>
                  <a:lnTo>
                    <a:pt x="1800" y="2532"/>
                  </a:lnTo>
                  <a:lnTo>
                    <a:pt x="1788" y="2520"/>
                  </a:lnTo>
                  <a:lnTo>
                    <a:pt x="1800" y="2520"/>
                  </a:lnTo>
                  <a:lnTo>
                    <a:pt x="1812" y="2526"/>
                  </a:lnTo>
                  <a:lnTo>
                    <a:pt x="1830" y="2526"/>
                  </a:lnTo>
                  <a:lnTo>
                    <a:pt x="1842" y="2514"/>
                  </a:lnTo>
                  <a:lnTo>
                    <a:pt x="1872" y="2514"/>
                  </a:lnTo>
                  <a:lnTo>
                    <a:pt x="1878" y="2508"/>
                  </a:lnTo>
                  <a:lnTo>
                    <a:pt x="1860" y="2490"/>
                  </a:lnTo>
                  <a:lnTo>
                    <a:pt x="1890" y="2490"/>
                  </a:lnTo>
                  <a:lnTo>
                    <a:pt x="1890" y="2472"/>
                  </a:lnTo>
                  <a:lnTo>
                    <a:pt x="1878" y="2472"/>
                  </a:lnTo>
                  <a:lnTo>
                    <a:pt x="1854" y="2460"/>
                  </a:lnTo>
                  <a:lnTo>
                    <a:pt x="1842" y="2448"/>
                  </a:lnTo>
                  <a:lnTo>
                    <a:pt x="1842" y="2442"/>
                  </a:lnTo>
                  <a:lnTo>
                    <a:pt x="1878" y="2442"/>
                  </a:lnTo>
                  <a:lnTo>
                    <a:pt x="1878" y="2430"/>
                  </a:lnTo>
                  <a:lnTo>
                    <a:pt x="1866" y="2418"/>
                  </a:lnTo>
                  <a:lnTo>
                    <a:pt x="1860" y="2406"/>
                  </a:lnTo>
                  <a:lnTo>
                    <a:pt x="1812" y="2358"/>
                  </a:lnTo>
                  <a:lnTo>
                    <a:pt x="1800" y="2358"/>
                  </a:lnTo>
                  <a:lnTo>
                    <a:pt x="1788" y="2364"/>
                  </a:lnTo>
                  <a:lnTo>
                    <a:pt x="1746" y="2364"/>
                  </a:lnTo>
                  <a:lnTo>
                    <a:pt x="1740" y="2358"/>
                  </a:lnTo>
                  <a:lnTo>
                    <a:pt x="1740" y="2328"/>
                  </a:lnTo>
                  <a:lnTo>
                    <a:pt x="1734" y="2322"/>
                  </a:lnTo>
                  <a:lnTo>
                    <a:pt x="1710" y="2322"/>
                  </a:lnTo>
                  <a:lnTo>
                    <a:pt x="1704" y="2316"/>
                  </a:lnTo>
                  <a:lnTo>
                    <a:pt x="1698" y="2316"/>
                  </a:lnTo>
                  <a:lnTo>
                    <a:pt x="1698" y="2286"/>
                  </a:lnTo>
                  <a:lnTo>
                    <a:pt x="1710" y="2262"/>
                  </a:lnTo>
                  <a:lnTo>
                    <a:pt x="1710" y="2238"/>
                  </a:lnTo>
                  <a:lnTo>
                    <a:pt x="1704" y="2232"/>
                  </a:lnTo>
                  <a:lnTo>
                    <a:pt x="1698" y="2196"/>
                  </a:lnTo>
                  <a:lnTo>
                    <a:pt x="1722" y="2196"/>
                  </a:lnTo>
                  <a:lnTo>
                    <a:pt x="1722" y="2172"/>
                  </a:lnTo>
                  <a:lnTo>
                    <a:pt x="1716" y="2166"/>
                  </a:lnTo>
                  <a:lnTo>
                    <a:pt x="1716" y="2154"/>
                  </a:lnTo>
                  <a:lnTo>
                    <a:pt x="1722" y="2148"/>
                  </a:lnTo>
                  <a:lnTo>
                    <a:pt x="1734" y="2148"/>
                  </a:lnTo>
                  <a:lnTo>
                    <a:pt x="1746" y="2154"/>
                  </a:lnTo>
                  <a:lnTo>
                    <a:pt x="1758" y="2166"/>
                  </a:lnTo>
                  <a:lnTo>
                    <a:pt x="1770" y="2172"/>
                  </a:lnTo>
                  <a:lnTo>
                    <a:pt x="1776" y="2184"/>
                  </a:lnTo>
                  <a:lnTo>
                    <a:pt x="1788" y="2190"/>
                  </a:lnTo>
                  <a:lnTo>
                    <a:pt x="1800" y="2190"/>
                  </a:lnTo>
                  <a:lnTo>
                    <a:pt x="1806" y="2184"/>
                  </a:lnTo>
                  <a:lnTo>
                    <a:pt x="1812" y="2172"/>
                  </a:lnTo>
                  <a:lnTo>
                    <a:pt x="1818" y="2166"/>
                  </a:lnTo>
                  <a:lnTo>
                    <a:pt x="1812" y="2154"/>
                  </a:lnTo>
                  <a:lnTo>
                    <a:pt x="1800" y="2142"/>
                  </a:lnTo>
                  <a:lnTo>
                    <a:pt x="1830" y="2130"/>
                  </a:lnTo>
                  <a:lnTo>
                    <a:pt x="1830" y="2106"/>
                  </a:lnTo>
                  <a:lnTo>
                    <a:pt x="1836" y="2106"/>
                  </a:lnTo>
                  <a:lnTo>
                    <a:pt x="1848" y="2100"/>
                  </a:lnTo>
                  <a:lnTo>
                    <a:pt x="1860" y="2100"/>
                  </a:lnTo>
                  <a:lnTo>
                    <a:pt x="1872" y="2094"/>
                  </a:lnTo>
                  <a:lnTo>
                    <a:pt x="1884" y="2082"/>
                  </a:lnTo>
                  <a:lnTo>
                    <a:pt x="1884" y="2064"/>
                  </a:lnTo>
                  <a:lnTo>
                    <a:pt x="1878" y="2058"/>
                  </a:lnTo>
                  <a:lnTo>
                    <a:pt x="1878" y="2052"/>
                  </a:lnTo>
                  <a:lnTo>
                    <a:pt x="1908" y="2052"/>
                  </a:lnTo>
                  <a:lnTo>
                    <a:pt x="1920" y="2058"/>
                  </a:lnTo>
                  <a:lnTo>
                    <a:pt x="1926" y="2058"/>
                  </a:lnTo>
                  <a:lnTo>
                    <a:pt x="1926" y="2064"/>
                  </a:lnTo>
                  <a:lnTo>
                    <a:pt x="1932" y="2070"/>
                  </a:lnTo>
                  <a:lnTo>
                    <a:pt x="1962" y="2070"/>
                  </a:lnTo>
                  <a:lnTo>
                    <a:pt x="1974" y="2058"/>
                  </a:lnTo>
                  <a:lnTo>
                    <a:pt x="1986" y="2052"/>
                  </a:lnTo>
                  <a:lnTo>
                    <a:pt x="2004" y="2052"/>
                  </a:lnTo>
                  <a:lnTo>
                    <a:pt x="2010" y="2058"/>
                  </a:lnTo>
                  <a:lnTo>
                    <a:pt x="2016" y="2070"/>
                  </a:lnTo>
                  <a:lnTo>
                    <a:pt x="2076" y="2070"/>
                  </a:lnTo>
                  <a:lnTo>
                    <a:pt x="2082" y="2076"/>
                  </a:lnTo>
                  <a:lnTo>
                    <a:pt x="2082" y="2082"/>
                  </a:lnTo>
                  <a:lnTo>
                    <a:pt x="2088" y="2094"/>
                  </a:lnTo>
                  <a:lnTo>
                    <a:pt x="2124" y="2094"/>
                  </a:lnTo>
                  <a:lnTo>
                    <a:pt x="2136" y="2124"/>
                  </a:lnTo>
                  <a:lnTo>
                    <a:pt x="2136" y="2130"/>
                  </a:lnTo>
                  <a:lnTo>
                    <a:pt x="2148" y="2142"/>
                  </a:lnTo>
                  <a:lnTo>
                    <a:pt x="2160" y="2142"/>
                  </a:lnTo>
                  <a:lnTo>
                    <a:pt x="2160" y="2124"/>
                  </a:lnTo>
                  <a:lnTo>
                    <a:pt x="2148" y="2112"/>
                  </a:lnTo>
                  <a:lnTo>
                    <a:pt x="2148" y="2106"/>
                  </a:lnTo>
                  <a:lnTo>
                    <a:pt x="2160" y="2106"/>
                  </a:lnTo>
                  <a:lnTo>
                    <a:pt x="2232" y="2142"/>
                  </a:lnTo>
                  <a:lnTo>
                    <a:pt x="2238" y="2136"/>
                  </a:lnTo>
                  <a:lnTo>
                    <a:pt x="2244" y="2124"/>
                  </a:lnTo>
                  <a:lnTo>
                    <a:pt x="2256" y="2118"/>
                  </a:lnTo>
                  <a:lnTo>
                    <a:pt x="2268" y="2106"/>
                  </a:lnTo>
                  <a:lnTo>
                    <a:pt x="2280" y="2100"/>
                  </a:lnTo>
                  <a:lnTo>
                    <a:pt x="2286" y="2100"/>
                  </a:lnTo>
                  <a:lnTo>
                    <a:pt x="2322" y="2118"/>
                  </a:lnTo>
                  <a:lnTo>
                    <a:pt x="2334" y="2118"/>
                  </a:lnTo>
                  <a:lnTo>
                    <a:pt x="2352" y="2112"/>
                  </a:lnTo>
                  <a:lnTo>
                    <a:pt x="2364" y="2106"/>
                  </a:lnTo>
                  <a:lnTo>
                    <a:pt x="2370" y="2100"/>
                  </a:lnTo>
                  <a:lnTo>
                    <a:pt x="2382" y="2100"/>
                  </a:lnTo>
                  <a:lnTo>
                    <a:pt x="2388" y="2106"/>
                  </a:lnTo>
                  <a:lnTo>
                    <a:pt x="2400" y="2112"/>
                  </a:lnTo>
                  <a:lnTo>
                    <a:pt x="2406" y="2124"/>
                  </a:lnTo>
                  <a:lnTo>
                    <a:pt x="2430" y="2136"/>
                  </a:lnTo>
                  <a:lnTo>
                    <a:pt x="2454" y="2136"/>
                  </a:lnTo>
                  <a:lnTo>
                    <a:pt x="2466" y="2142"/>
                  </a:lnTo>
                  <a:lnTo>
                    <a:pt x="2478" y="2142"/>
                  </a:lnTo>
                  <a:lnTo>
                    <a:pt x="2490" y="2118"/>
                  </a:lnTo>
                  <a:lnTo>
                    <a:pt x="2496" y="2124"/>
                  </a:lnTo>
                  <a:lnTo>
                    <a:pt x="2508" y="2124"/>
                  </a:lnTo>
                  <a:lnTo>
                    <a:pt x="2514" y="2130"/>
                  </a:lnTo>
                  <a:lnTo>
                    <a:pt x="2526" y="2136"/>
                  </a:lnTo>
                  <a:lnTo>
                    <a:pt x="2562" y="2136"/>
                  </a:lnTo>
                  <a:lnTo>
                    <a:pt x="2568" y="2130"/>
                  </a:lnTo>
                  <a:lnTo>
                    <a:pt x="2574" y="2118"/>
                  </a:lnTo>
                  <a:lnTo>
                    <a:pt x="2574" y="2106"/>
                  </a:lnTo>
                  <a:lnTo>
                    <a:pt x="2568" y="2088"/>
                  </a:lnTo>
                  <a:lnTo>
                    <a:pt x="2544" y="2064"/>
                  </a:lnTo>
                  <a:lnTo>
                    <a:pt x="2532" y="2058"/>
                  </a:lnTo>
                  <a:lnTo>
                    <a:pt x="2514" y="2052"/>
                  </a:lnTo>
                  <a:lnTo>
                    <a:pt x="2490" y="2052"/>
                  </a:lnTo>
                  <a:lnTo>
                    <a:pt x="2460" y="2022"/>
                  </a:lnTo>
                  <a:lnTo>
                    <a:pt x="2472" y="2022"/>
                  </a:lnTo>
                  <a:lnTo>
                    <a:pt x="2484" y="2016"/>
                  </a:lnTo>
                  <a:lnTo>
                    <a:pt x="2496" y="2016"/>
                  </a:lnTo>
                  <a:lnTo>
                    <a:pt x="2508" y="2004"/>
                  </a:lnTo>
                  <a:lnTo>
                    <a:pt x="2508" y="1992"/>
                  </a:lnTo>
                  <a:lnTo>
                    <a:pt x="2502" y="1986"/>
                  </a:lnTo>
                  <a:lnTo>
                    <a:pt x="2496" y="1974"/>
                  </a:lnTo>
                  <a:lnTo>
                    <a:pt x="2490" y="1968"/>
                  </a:lnTo>
                  <a:lnTo>
                    <a:pt x="2502" y="1956"/>
                  </a:lnTo>
                  <a:lnTo>
                    <a:pt x="2556" y="1956"/>
                  </a:lnTo>
                  <a:lnTo>
                    <a:pt x="2544" y="1944"/>
                  </a:lnTo>
                  <a:lnTo>
                    <a:pt x="2532" y="1944"/>
                  </a:lnTo>
                  <a:lnTo>
                    <a:pt x="2508" y="1932"/>
                  </a:lnTo>
                  <a:lnTo>
                    <a:pt x="2496" y="1932"/>
                  </a:lnTo>
                  <a:lnTo>
                    <a:pt x="2508" y="1914"/>
                  </a:lnTo>
                  <a:lnTo>
                    <a:pt x="2484" y="1914"/>
                  </a:lnTo>
                  <a:lnTo>
                    <a:pt x="2484" y="1908"/>
                  </a:lnTo>
                  <a:lnTo>
                    <a:pt x="2478" y="1902"/>
                  </a:lnTo>
                  <a:lnTo>
                    <a:pt x="2478" y="1896"/>
                  </a:lnTo>
                  <a:lnTo>
                    <a:pt x="2490" y="1884"/>
                  </a:lnTo>
                  <a:lnTo>
                    <a:pt x="2526" y="1872"/>
                  </a:lnTo>
                  <a:lnTo>
                    <a:pt x="2586" y="1866"/>
                  </a:lnTo>
                  <a:lnTo>
                    <a:pt x="2640" y="1866"/>
                  </a:lnTo>
                  <a:lnTo>
                    <a:pt x="2646" y="1848"/>
                  </a:lnTo>
                  <a:lnTo>
                    <a:pt x="2712" y="1848"/>
                  </a:lnTo>
                  <a:lnTo>
                    <a:pt x="2712" y="1830"/>
                  </a:lnTo>
                  <a:lnTo>
                    <a:pt x="2718" y="1824"/>
                  </a:lnTo>
                  <a:lnTo>
                    <a:pt x="2808" y="1824"/>
                  </a:lnTo>
                  <a:lnTo>
                    <a:pt x="2862" y="1806"/>
                  </a:lnTo>
                  <a:lnTo>
                    <a:pt x="2874" y="1806"/>
                  </a:lnTo>
                  <a:lnTo>
                    <a:pt x="2874" y="1794"/>
                  </a:lnTo>
                  <a:lnTo>
                    <a:pt x="2886" y="1782"/>
                  </a:lnTo>
                  <a:lnTo>
                    <a:pt x="2898" y="1776"/>
                  </a:lnTo>
                  <a:lnTo>
                    <a:pt x="2916" y="1770"/>
                  </a:lnTo>
                  <a:lnTo>
                    <a:pt x="2940" y="1770"/>
                  </a:lnTo>
                  <a:lnTo>
                    <a:pt x="2958" y="1776"/>
                  </a:lnTo>
                  <a:lnTo>
                    <a:pt x="2976" y="1776"/>
                  </a:lnTo>
                  <a:lnTo>
                    <a:pt x="2988" y="1788"/>
                  </a:lnTo>
                  <a:lnTo>
                    <a:pt x="3000" y="1788"/>
                  </a:lnTo>
                  <a:lnTo>
                    <a:pt x="3012" y="1776"/>
                  </a:lnTo>
                  <a:lnTo>
                    <a:pt x="3018" y="1776"/>
                  </a:lnTo>
                  <a:lnTo>
                    <a:pt x="3036" y="1794"/>
                  </a:lnTo>
                  <a:lnTo>
                    <a:pt x="3042" y="1806"/>
                  </a:lnTo>
                  <a:lnTo>
                    <a:pt x="3048" y="1812"/>
                  </a:lnTo>
                  <a:lnTo>
                    <a:pt x="3060" y="1812"/>
                  </a:lnTo>
                  <a:lnTo>
                    <a:pt x="3066" y="1818"/>
                  </a:lnTo>
                  <a:lnTo>
                    <a:pt x="3066" y="1860"/>
                  </a:lnTo>
                  <a:lnTo>
                    <a:pt x="3072" y="1866"/>
                  </a:lnTo>
                  <a:lnTo>
                    <a:pt x="3090" y="1866"/>
                  </a:lnTo>
                  <a:lnTo>
                    <a:pt x="3102" y="1860"/>
                  </a:lnTo>
                  <a:lnTo>
                    <a:pt x="3120" y="1860"/>
                  </a:lnTo>
                  <a:lnTo>
                    <a:pt x="3132" y="1842"/>
                  </a:lnTo>
                  <a:lnTo>
                    <a:pt x="3156" y="1878"/>
                  </a:lnTo>
                  <a:lnTo>
                    <a:pt x="3180" y="1866"/>
                  </a:lnTo>
                  <a:lnTo>
                    <a:pt x="3204" y="1878"/>
                  </a:lnTo>
                  <a:lnTo>
                    <a:pt x="3210" y="1872"/>
                  </a:lnTo>
                  <a:lnTo>
                    <a:pt x="3216" y="1872"/>
                  </a:lnTo>
                  <a:lnTo>
                    <a:pt x="3228" y="1878"/>
                  </a:lnTo>
                  <a:lnTo>
                    <a:pt x="3228" y="1902"/>
                  </a:lnTo>
                  <a:lnTo>
                    <a:pt x="3222" y="1908"/>
                  </a:lnTo>
                  <a:lnTo>
                    <a:pt x="3222" y="1914"/>
                  </a:lnTo>
                  <a:lnTo>
                    <a:pt x="3228" y="1914"/>
                  </a:lnTo>
                  <a:lnTo>
                    <a:pt x="3234" y="1908"/>
                  </a:lnTo>
                  <a:lnTo>
                    <a:pt x="3240" y="1908"/>
                  </a:lnTo>
                  <a:lnTo>
                    <a:pt x="3246" y="1902"/>
                  </a:lnTo>
                  <a:lnTo>
                    <a:pt x="3252" y="1902"/>
                  </a:lnTo>
                  <a:lnTo>
                    <a:pt x="3258" y="1908"/>
                  </a:lnTo>
                  <a:lnTo>
                    <a:pt x="3270" y="1914"/>
                  </a:lnTo>
                  <a:lnTo>
                    <a:pt x="3276" y="1920"/>
                  </a:lnTo>
                  <a:lnTo>
                    <a:pt x="3288" y="1926"/>
                  </a:lnTo>
                  <a:lnTo>
                    <a:pt x="3300" y="1914"/>
                  </a:lnTo>
                  <a:lnTo>
                    <a:pt x="3300" y="1896"/>
                  </a:lnTo>
                  <a:lnTo>
                    <a:pt x="3306" y="1890"/>
                  </a:lnTo>
                  <a:lnTo>
                    <a:pt x="3318" y="1884"/>
                  </a:lnTo>
                  <a:lnTo>
                    <a:pt x="3330" y="1884"/>
                  </a:lnTo>
                  <a:lnTo>
                    <a:pt x="3342" y="1866"/>
                  </a:lnTo>
                  <a:lnTo>
                    <a:pt x="3378" y="1854"/>
                  </a:lnTo>
                  <a:lnTo>
                    <a:pt x="3396" y="1836"/>
                  </a:lnTo>
                  <a:lnTo>
                    <a:pt x="3402" y="1836"/>
                  </a:lnTo>
                  <a:lnTo>
                    <a:pt x="3408" y="1842"/>
                  </a:lnTo>
                  <a:lnTo>
                    <a:pt x="3408" y="1860"/>
                  </a:lnTo>
                  <a:lnTo>
                    <a:pt x="3396" y="1872"/>
                  </a:lnTo>
                  <a:lnTo>
                    <a:pt x="3390" y="1872"/>
                  </a:lnTo>
                  <a:lnTo>
                    <a:pt x="3426" y="1890"/>
                  </a:lnTo>
                  <a:lnTo>
                    <a:pt x="3456" y="1902"/>
                  </a:lnTo>
                  <a:lnTo>
                    <a:pt x="3486" y="1920"/>
                  </a:lnTo>
                  <a:lnTo>
                    <a:pt x="3498" y="1926"/>
                  </a:lnTo>
                  <a:lnTo>
                    <a:pt x="3516" y="1938"/>
                  </a:lnTo>
                  <a:lnTo>
                    <a:pt x="3546" y="1968"/>
                  </a:lnTo>
                  <a:lnTo>
                    <a:pt x="3618" y="2028"/>
                  </a:lnTo>
                  <a:lnTo>
                    <a:pt x="3636" y="2052"/>
                  </a:lnTo>
                  <a:lnTo>
                    <a:pt x="3672" y="2088"/>
                  </a:lnTo>
                  <a:lnTo>
                    <a:pt x="3684" y="2106"/>
                  </a:lnTo>
                  <a:lnTo>
                    <a:pt x="3696" y="2118"/>
                  </a:lnTo>
                  <a:lnTo>
                    <a:pt x="3708" y="2124"/>
                  </a:lnTo>
                  <a:lnTo>
                    <a:pt x="3720" y="2124"/>
                  </a:lnTo>
                  <a:lnTo>
                    <a:pt x="3732" y="2118"/>
                  </a:lnTo>
                  <a:lnTo>
                    <a:pt x="3744" y="2106"/>
                  </a:lnTo>
                  <a:lnTo>
                    <a:pt x="3744" y="2094"/>
                  </a:lnTo>
                  <a:lnTo>
                    <a:pt x="3750" y="2088"/>
                  </a:lnTo>
                  <a:lnTo>
                    <a:pt x="3750" y="2082"/>
                  </a:lnTo>
                  <a:lnTo>
                    <a:pt x="3762" y="2082"/>
                  </a:lnTo>
                  <a:lnTo>
                    <a:pt x="3768" y="2088"/>
                  </a:lnTo>
                  <a:lnTo>
                    <a:pt x="3768" y="2100"/>
                  </a:lnTo>
                  <a:lnTo>
                    <a:pt x="3774" y="2106"/>
                  </a:lnTo>
                  <a:lnTo>
                    <a:pt x="3774" y="2112"/>
                  </a:lnTo>
                  <a:lnTo>
                    <a:pt x="3804" y="2112"/>
                  </a:lnTo>
                  <a:lnTo>
                    <a:pt x="3816" y="2118"/>
                  </a:lnTo>
                  <a:lnTo>
                    <a:pt x="3822" y="2130"/>
                  </a:lnTo>
                  <a:lnTo>
                    <a:pt x="3834" y="2136"/>
                  </a:lnTo>
                  <a:lnTo>
                    <a:pt x="3858" y="2136"/>
                  </a:lnTo>
                  <a:lnTo>
                    <a:pt x="3864" y="2124"/>
                  </a:lnTo>
                  <a:lnTo>
                    <a:pt x="3876" y="2118"/>
                  </a:lnTo>
                  <a:lnTo>
                    <a:pt x="3894" y="2112"/>
                  </a:lnTo>
                  <a:lnTo>
                    <a:pt x="3906" y="2106"/>
                  </a:lnTo>
                  <a:lnTo>
                    <a:pt x="3924" y="2106"/>
                  </a:lnTo>
                  <a:lnTo>
                    <a:pt x="3948" y="2118"/>
                  </a:lnTo>
                  <a:lnTo>
                    <a:pt x="3972" y="2142"/>
                  </a:lnTo>
                  <a:lnTo>
                    <a:pt x="3984" y="2148"/>
                  </a:lnTo>
                  <a:lnTo>
                    <a:pt x="3990" y="2160"/>
                  </a:lnTo>
                  <a:lnTo>
                    <a:pt x="4002" y="2160"/>
                  </a:lnTo>
                  <a:lnTo>
                    <a:pt x="4014" y="2166"/>
                  </a:lnTo>
                  <a:lnTo>
                    <a:pt x="4026" y="2166"/>
                  </a:lnTo>
                  <a:lnTo>
                    <a:pt x="4038" y="2172"/>
                  </a:lnTo>
                  <a:lnTo>
                    <a:pt x="4044" y="2172"/>
                  </a:lnTo>
                  <a:lnTo>
                    <a:pt x="4044" y="2178"/>
                  </a:lnTo>
                  <a:lnTo>
                    <a:pt x="4050" y="2190"/>
                  </a:lnTo>
                  <a:lnTo>
                    <a:pt x="4056" y="2196"/>
                  </a:lnTo>
                  <a:lnTo>
                    <a:pt x="4062" y="2208"/>
                  </a:lnTo>
                  <a:lnTo>
                    <a:pt x="4068" y="2214"/>
                  </a:lnTo>
                  <a:lnTo>
                    <a:pt x="4068" y="2220"/>
                  </a:lnTo>
                  <a:lnTo>
                    <a:pt x="4140" y="2226"/>
                  </a:lnTo>
                  <a:lnTo>
                    <a:pt x="4152" y="2190"/>
                  </a:lnTo>
                  <a:lnTo>
                    <a:pt x="4176" y="2214"/>
                  </a:lnTo>
                  <a:lnTo>
                    <a:pt x="4212" y="2256"/>
                  </a:lnTo>
                  <a:lnTo>
                    <a:pt x="4254" y="2256"/>
                  </a:lnTo>
                  <a:lnTo>
                    <a:pt x="4266" y="2244"/>
                  </a:lnTo>
                  <a:lnTo>
                    <a:pt x="4266" y="2226"/>
                  </a:lnTo>
                  <a:lnTo>
                    <a:pt x="4326" y="2226"/>
                  </a:lnTo>
                  <a:lnTo>
                    <a:pt x="4320" y="2214"/>
                  </a:lnTo>
                  <a:lnTo>
                    <a:pt x="4344" y="2214"/>
                  </a:lnTo>
                  <a:lnTo>
                    <a:pt x="4338" y="2208"/>
                  </a:lnTo>
                  <a:lnTo>
                    <a:pt x="4338" y="2202"/>
                  </a:lnTo>
                  <a:lnTo>
                    <a:pt x="4374" y="2166"/>
                  </a:lnTo>
                  <a:lnTo>
                    <a:pt x="4392" y="2166"/>
                  </a:lnTo>
                  <a:lnTo>
                    <a:pt x="4404" y="2148"/>
                  </a:lnTo>
                  <a:lnTo>
                    <a:pt x="4428" y="2148"/>
                  </a:lnTo>
                  <a:lnTo>
                    <a:pt x="4428" y="2142"/>
                  </a:lnTo>
                  <a:lnTo>
                    <a:pt x="4434" y="2136"/>
                  </a:lnTo>
                  <a:lnTo>
                    <a:pt x="4434" y="2130"/>
                  </a:lnTo>
                  <a:lnTo>
                    <a:pt x="4440" y="2124"/>
                  </a:lnTo>
                  <a:lnTo>
                    <a:pt x="4458" y="2124"/>
                  </a:lnTo>
                  <a:lnTo>
                    <a:pt x="4464" y="2130"/>
                  </a:lnTo>
                  <a:lnTo>
                    <a:pt x="4482" y="2124"/>
                  </a:lnTo>
                  <a:lnTo>
                    <a:pt x="4482" y="2130"/>
                  </a:lnTo>
                  <a:lnTo>
                    <a:pt x="4518" y="2130"/>
                  </a:lnTo>
                  <a:lnTo>
                    <a:pt x="4524" y="2148"/>
                  </a:lnTo>
                  <a:lnTo>
                    <a:pt x="4548" y="2148"/>
                  </a:lnTo>
                  <a:lnTo>
                    <a:pt x="4566" y="2142"/>
                  </a:lnTo>
                  <a:lnTo>
                    <a:pt x="4608" y="2142"/>
                  </a:lnTo>
                  <a:lnTo>
                    <a:pt x="4608" y="2148"/>
                  </a:lnTo>
                  <a:lnTo>
                    <a:pt x="4614" y="2154"/>
                  </a:lnTo>
                  <a:lnTo>
                    <a:pt x="4614" y="2166"/>
                  </a:lnTo>
                  <a:lnTo>
                    <a:pt x="4620" y="2172"/>
                  </a:lnTo>
                  <a:lnTo>
                    <a:pt x="4638" y="2178"/>
                  </a:lnTo>
                  <a:lnTo>
                    <a:pt x="4668" y="2178"/>
                  </a:lnTo>
                  <a:lnTo>
                    <a:pt x="4674" y="2190"/>
                  </a:lnTo>
                  <a:lnTo>
                    <a:pt x="4698" y="2184"/>
                  </a:lnTo>
                  <a:lnTo>
                    <a:pt x="4704" y="2196"/>
                  </a:lnTo>
                  <a:lnTo>
                    <a:pt x="4704" y="2190"/>
                  </a:lnTo>
                  <a:lnTo>
                    <a:pt x="4710" y="2184"/>
                  </a:lnTo>
                  <a:lnTo>
                    <a:pt x="4752" y="2184"/>
                  </a:lnTo>
                  <a:lnTo>
                    <a:pt x="4752" y="2196"/>
                  </a:lnTo>
                  <a:lnTo>
                    <a:pt x="4800" y="2190"/>
                  </a:lnTo>
                  <a:lnTo>
                    <a:pt x="4800" y="2202"/>
                  </a:lnTo>
                  <a:lnTo>
                    <a:pt x="4806" y="2208"/>
                  </a:lnTo>
                  <a:lnTo>
                    <a:pt x="4830" y="2196"/>
                  </a:lnTo>
                  <a:lnTo>
                    <a:pt x="4836" y="2190"/>
                  </a:lnTo>
                  <a:lnTo>
                    <a:pt x="4836" y="2184"/>
                  </a:lnTo>
                  <a:lnTo>
                    <a:pt x="4854" y="2184"/>
                  </a:lnTo>
                  <a:lnTo>
                    <a:pt x="4854" y="2160"/>
                  </a:lnTo>
                  <a:lnTo>
                    <a:pt x="4848" y="2148"/>
                  </a:lnTo>
                  <a:lnTo>
                    <a:pt x="4842" y="2142"/>
                  </a:lnTo>
                  <a:lnTo>
                    <a:pt x="4836" y="2142"/>
                  </a:lnTo>
                  <a:lnTo>
                    <a:pt x="4812" y="2106"/>
                  </a:lnTo>
                  <a:lnTo>
                    <a:pt x="4806" y="2088"/>
                  </a:lnTo>
                  <a:lnTo>
                    <a:pt x="4794" y="2076"/>
                  </a:lnTo>
                  <a:lnTo>
                    <a:pt x="4794" y="2064"/>
                  </a:lnTo>
                  <a:lnTo>
                    <a:pt x="4812" y="2064"/>
                  </a:lnTo>
                  <a:lnTo>
                    <a:pt x="4806" y="2052"/>
                  </a:lnTo>
                  <a:lnTo>
                    <a:pt x="4812" y="2052"/>
                  </a:lnTo>
                  <a:lnTo>
                    <a:pt x="4824" y="2046"/>
                  </a:lnTo>
                  <a:lnTo>
                    <a:pt x="4830" y="2034"/>
                  </a:lnTo>
                  <a:lnTo>
                    <a:pt x="4830" y="2016"/>
                  </a:lnTo>
                  <a:lnTo>
                    <a:pt x="4890" y="2046"/>
                  </a:lnTo>
                  <a:lnTo>
                    <a:pt x="4902" y="2046"/>
                  </a:lnTo>
                  <a:lnTo>
                    <a:pt x="4926" y="2052"/>
                  </a:lnTo>
                  <a:lnTo>
                    <a:pt x="4962" y="2052"/>
                  </a:lnTo>
                  <a:lnTo>
                    <a:pt x="4974" y="2058"/>
                  </a:lnTo>
                  <a:lnTo>
                    <a:pt x="4980" y="2064"/>
                  </a:lnTo>
                  <a:lnTo>
                    <a:pt x="5004" y="2076"/>
                  </a:lnTo>
                  <a:lnTo>
                    <a:pt x="5010" y="2076"/>
                  </a:lnTo>
                  <a:lnTo>
                    <a:pt x="5022" y="2070"/>
                  </a:lnTo>
                  <a:lnTo>
                    <a:pt x="5040" y="2070"/>
                  </a:lnTo>
                  <a:lnTo>
                    <a:pt x="5052" y="2076"/>
                  </a:lnTo>
                  <a:lnTo>
                    <a:pt x="5058" y="2082"/>
                  </a:lnTo>
                  <a:lnTo>
                    <a:pt x="5064" y="2094"/>
                  </a:lnTo>
                  <a:lnTo>
                    <a:pt x="5076" y="2106"/>
                  </a:lnTo>
                  <a:lnTo>
                    <a:pt x="5088" y="2130"/>
                  </a:lnTo>
                  <a:lnTo>
                    <a:pt x="5094" y="2136"/>
                  </a:lnTo>
                  <a:lnTo>
                    <a:pt x="5094" y="2142"/>
                  </a:lnTo>
                  <a:lnTo>
                    <a:pt x="5118" y="2136"/>
                  </a:lnTo>
                  <a:lnTo>
                    <a:pt x="5118" y="2142"/>
                  </a:lnTo>
                  <a:lnTo>
                    <a:pt x="5136" y="2160"/>
                  </a:lnTo>
                  <a:lnTo>
                    <a:pt x="5166" y="2160"/>
                  </a:lnTo>
                  <a:lnTo>
                    <a:pt x="5172" y="2166"/>
                  </a:lnTo>
                  <a:lnTo>
                    <a:pt x="5184" y="2166"/>
                  </a:lnTo>
                  <a:lnTo>
                    <a:pt x="5196" y="2172"/>
                  </a:lnTo>
                  <a:lnTo>
                    <a:pt x="5208" y="2172"/>
                  </a:lnTo>
                  <a:lnTo>
                    <a:pt x="5220" y="2166"/>
                  </a:lnTo>
                  <a:lnTo>
                    <a:pt x="5274" y="2148"/>
                  </a:lnTo>
                  <a:lnTo>
                    <a:pt x="5322" y="2148"/>
                  </a:lnTo>
                  <a:lnTo>
                    <a:pt x="5334" y="2154"/>
                  </a:lnTo>
                  <a:lnTo>
                    <a:pt x="5340" y="2154"/>
                  </a:lnTo>
                  <a:lnTo>
                    <a:pt x="5346" y="2160"/>
                  </a:lnTo>
                  <a:lnTo>
                    <a:pt x="5382" y="2160"/>
                  </a:lnTo>
                  <a:lnTo>
                    <a:pt x="5406" y="2184"/>
                  </a:lnTo>
                  <a:lnTo>
                    <a:pt x="5466" y="2184"/>
                  </a:lnTo>
                  <a:lnTo>
                    <a:pt x="5472" y="2190"/>
                  </a:lnTo>
                  <a:lnTo>
                    <a:pt x="5472" y="2196"/>
                  </a:lnTo>
                  <a:lnTo>
                    <a:pt x="5484" y="2208"/>
                  </a:lnTo>
                  <a:lnTo>
                    <a:pt x="5484" y="2214"/>
                  </a:lnTo>
                  <a:lnTo>
                    <a:pt x="5502" y="2214"/>
                  </a:lnTo>
                  <a:lnTo>
                    <a:pt x="5514" y="2220"/>
                  </a:lnTo>
                  <a:lnTo>
                    <a:pt x="5514" y="2232"/>
                  </a:lnTo>
                  <a:lnTo>
                    <a:pt x="5520" y="2238"/>
                  </a:lnTo>
                  <a:lnTo>
                    <a:pt x="5586" y="2238"/>
                  </a:lnTo>
                  <a:lnTo>
                    <a:pt x="5592" y="2244"/>
                  </a:lnTo>
                  <a:lnTo>
                    <a:pt x="5598" y="2244"/>
                  </a:lnTo>
                  <a:lnTo>
                    <a:pt x="5610" y="2250"/>
                  </a:lnTo>
                  <a:lnTo>
                    <a:pt x="5634" y="2250"/>
                  </a:lnTo>
                  <a:lnTo>
                    <a:pt x="5646" y="2244"/>
                  </a:lnTo>
                  <a:lnTo>
                    <a:pt x="5664" y="2244"/>
                  </a:lnTo>
                  <a:lnTo>
                    <a:pt x="5670" y="2250"/>
                  </a:lnTo>
                  <a:lnTo>
                    <a:pt x="5670" y="2256"/>
                  </a:lnTo>
                  <a:lnTo>
                    <a:pt x="5676" y="2256"/>
                  </a:lnTo>
                  <a:lnTo>
                    <a:pt x="5694" y="2238"/>
                  </a:lnTo>
                  <a:lnTo>
                    <a:pt x="5694" y="2232"/>
                  </a:lnTo>
                  <a:lnTo>
                    <a:pt x="5742" y="2232"/>
                  </a:lnTo>
                  <a:lnTo>
                    <a:pt x="5754" y="2220"/>
                  </a:lnTo>
                  <a:lnTo>
                    <a:pt x="5790" y="2220"/>
                  </a:lnTo>
                  <a:lnTo>
                    <a:pt x="5802" y="2208"/>
                  </a:lnTo>
                  <a:lnTo>
                    <a:pt x="5802" y="2196"/>
                  </a:lnTo>
                  <a:lnTo>
                    <a:pt x="5832" y="2166"/>
                  </a:lnTo>
                  <a:lnTo>
                    <a:pt x="5850" y="2166"/>
                  </a:lnTo>
                  <a:lnTo>
                    <a:pt x="5862" y="2172"/>
                  </a:lnTo>
                  <a:lnTo>
                    <a:pt x="5898" y="2172"/>
                  </a:lnTo>
                  <a:lnTo>
                    <a:pt x="5916" y="2190"/>
                  </a:lnTo>
                  <a:lnTo>
                    <a:pt x="5928" y="2196"/>
                  </a:lnTo>
                  <a:lnTo>
                    <a:pt x="5952" y="2196"/>
                  </a:lnTo>
                  <a:lnTo>
                    <a:pt x="5964" y="2190"/>
                  </a:lnTo>
                  <a:lnTo>
                    <a:pt x="5970" y="2184"/>
                  </a:lnTo>
                  <a:lnTo>
                    <a:pt x="5994" y="2190"/>
                  </a:lnTo>
                  <a:lnTo>
                    <a:pt x="6012" y="2190"/>
                  </a:lnTo>
                  <a:lnTo>
                    <a:pt x="6048" y="2214"/>
                  </a:lnTo>
                  <a:lnTo>
                    <a:pt x="6084" y="2214"/>
                  </a:lnTo>
                  <a:lnTo>
                    <a:pt x="6090" y="2220"/>
                  </a:lnTo>
                  <a:lnTo>
                    <a:pt x="6102" y="2220"/>
                  </a:lnTo>
                  <a:lnTo>
                    <a:pt x="6120" y="2202"/>
                  </a:lnTo>
                  <a:lnTo>
                    <a:pt x="6120" y="2190"/>
                  </a:lnTo>
                  <a:lnTo>
                    <a:pt x="6144" y="2190"/>
                  </a:lnTo>
                  <a:lnTo>
                    <a:pt x="6156" y="2184"/>
                  </a:lnTo>
                  <a:lnTo>
                    <a:pt x="6162" y="2178"/>
                  </a:lnTo>
                  <a:lnTo>
                    <a:pt x="6162" y="2166"/>
                  </a:lnTo>
                  <a:lnTo>
                    <a:pt x="6150" y="2166"/>
                  </a:lnTo>
                  <a:lnTo>
                    <a:pt x="6144" y="2160"/>
                  </a:lnTo>
                  <a:lnTo>
                    <a:pt x="6138" y="2118"/>
                  </a:lnTo>
                  <a:lnTo>
                    <a:pt x="6138" y="2046"/>
                  </a:lnTo>
                  <a:lnTo>
                    <a:pt x="6156" y="2028"/>
                  </a:lnTo>
                  <a:lnTo>
                    <a:pt x="6156" y="2016"/>
                  </a:lnTo>
                  <a:lnTo>
                    <a:pt x="6150" y="2010"/>
                  </a:lnTo>
                  <a:lnTo>
                    <a:pt x="6138" y="2004"/>
                  </a:lnTo>
                  <a:lnTo>
                    <a:pt x="6126" y="1992"/>
                  </a:lnTo>
                  <a:lnTo>
                    <a:pt x="6114" y="1992"/>
                  </a:lnTo>
                  <a:lnTo>
                    <a:pt x="6108" y="1986"/>
                  </a:lnTo>
                  <a:lnTo>
                    <a:pt x="6096" y="1986"/>
                  </a:lnTo>
                  <a:lnTo>
                    <a:pt x="6078" y="1980"/>
                  </a:lnTo>
                  <a:lnTo>
                    <a:pt x="6072" y="1980"/>
                  </a:lnTo>
                  <a:lnTo>
                    <a:pt x="6072" y="1968"/>
                  </a:lnTo>
                  <a:lnTo>
                    <a:pt x="6078" y="1968"/>
                  </a:lnTo>
                  <a:lnTo>
                    <a:pt x="6120" y="1926"/>
                  </a:lnTo>
                  <a:lnTo>
                    <a:pt x="6156" y="1920"/>
                  </a:lnTo>
                  <a:lnTo>
                    <a:pt x="6162" y="1908"/>
                  </a:lnTo>
                  <a:lnTo>
                    <a:pt x="6204" y="1914"/>
                  </a:lnTo>
                  <a:lnTo>
                    <a:pt x="6258" y="1902"/>
                  </a:lnTo>
                  <a:lnTo>
                    <a:pt x="6294" y="1920"/>
                  </a:lnTo>
                  <a:lnTo>
                    <a:pt x="6330" y="1944"/>
                  </a:lnTo>
                  <a:lnTo>
                    <a:pt x="6402" y="1944"/>
                  </a:lnTo>
                  <a:lnTo>
                    <a:pt x="6408" y="1950"/>
                  </a:lnTo>
                  <a:lnTo>
                    <a:pt x="6420" y="1956"/>
                  </a:lnTo>
                  <a:lnTo>
                    <a:pt x="6426" y="1962"/>
                  </a:lnTo>
                  <a:lnTo>
                    <a:pt x="6438" y="1968"/>
                  </a:lnTo>
                  <a:lnTo>
                    <a:pt x="6438" y="1980"/>
                  </a:lnTo>
                  <a:lnTo>
                    <a:pt x="6444" y="1980"/>
                  </a:lnTo>
                  <a:lnTo>
                    <a:pt x="6456" y="1992"/>
                  </a:lnTo>
                  <a:lnTo>
                    <a:pt x="6468" y="1998"/>
                  </a:lnTo>
                  <a:lnTo>
                    <a:pt x="6480" y="2010"/>
                  </a:lnTo>
                  <a:lnTo>
                    <a:pt x="6492" y="2010"/>
                  </a:lnTo>
                  <a:lnTo>
                    <a:pt x="6498" y="2016"/>
                  </a:lnTo>
                  <a:lnTo>
                    <a:pt x="6504" y="2016"/>
                  </a:lnTo>
                  <a:lnTo>
                    <a:pt x="6510" y="2046"/>
                  </a:lnTo>
                  <a:lnTo>
                    <a:pt x="6558" y="2070"/>
                  </a:lnTo>
                  <a:lnTo>
                    <a:pt x="6570" y="2100"/>
                  </a:lnTo>
                  <a:lnTo>
                    <a:pt x="6582" y="2100"/>
                  </a:lnTo>
                  <a:lnTo>
                    <a:pt x="6630" y="2124"/>
                  </a:lnTo>
                  <a:lnTo>
                    <a:pt x="6636" y="2136"/>
                  </a:lnTo>
                  <a:lnTo>
                    <a:pt x="6654" y="2154"/>
                  </a:lnTo>
                  <a:lnTo>
                    <a:pt x="6660" y="2166"/>
                  </a:lnTo>
                  <a:lnTo>
                    <a:pt x="6672" y="2166"/>
                  </a:lnTo>
                  <a:lnTo>
                    <a:pt x="6678" y="2190"/>
                  </a:lnTo>
                  <a:lnTo>
                    <a:pt x="6684" y="2190"/>
                  </a:lnTo>
                  <a:lnTo>
                    <a:pt x="6690" y="2196"/>
                  </a:lnTo>
                  <a:lnTo>
                    <a:pt x="6714" y="2208"/>
                  </a:lnTo>
                  <a:lnTo>
                    <a:pt x="6720" y="2214"/>
                  </a:lnTo>
                  <a:lnTo>
                    <a:pt x="6732" y="2220"/>
                  </a:lnTo>
                  <a:lnTo>
                    <a:pt x="6780" y="2220"/>
                  </a:lnTo>
                  <a:lnTo>
                    <a:pt x="6792" y="2226"/>
                  </a:lnTo>
                  <a:lnTo>
                    <a:pt x="6798" y="2232"/>
                  </a:lnTo>
                  <a:lnTo>
                    <a:pt x="6810" y="2238"/>
                  </a:lnTo>
                  <a:lnTo>
                    <a:pt x="6822" y="2226"/>
                  </a:lnTo>
                  <a:lnTo>
                    <a:pt x="6834" y="2226"/>
                  </a:lnTo>
                  <a:lnTo>
                    <a:pt x="6852" y="2244"/>
                  </a:lnTo>
                  <a:lnTo>
                    <a:pt x="6864" y="2250"/>
                  </a:lnTo>
                  <a:lnTo>
                    <a:pt x="6882" y="2268"/>
                  </a:lnTo>
                  <a:lnTo>
                    <a:pt x="6924" y="2268"/>
                  </a:lnTo>
                  <a:lnTo>
                    <a:pt x="6942" y="2298"/>
                  </a:lnTo>
                  <a:lnTo>
                    <a:pt x="6960" y="2298"/>
                  </a:lnTo>
                  <a:lnTo>
                    <a:pt x="6966" y="2304"/>
                  </a:lnTo>
                  <a:lnTo>
                    <a:pt x="6966" y="2310"/>
                  </a:lnTo>
                  <a:lnTo>
                    <a:pt x="6972" y="2322"/>
                  </a:lnTo>
                  <a:lnTo>
                    <a:pt x="6972" y="2334"/>
                  </a:lnTo>
                  <a:lnTo>
                    <a:pt x="7014" y="2364"/>
                  </a:lnTo>
                  <a:lnTo>
                    <a:pt x="7038" y="2358"/>
                  </a:lnTo>
                  <a:lnTo>
                    <a:pt x="7050" y="2370"/>
                  </a:lnTo>
                  <a:lnTo>
                    <a:pt x="7068" y="2370"/>
                  </a:lnTo>
                  <a:lnTo>
                    <a:pt x="7068" y="2358"/>
                  </a:lnTo>
                  <a:lnTo>
                    <a:pt x="7098" y="2364"/>
                  </a:lnTo>
                  <a:lnTo>
                    <a:pt x="7098" y="2346"/>
                  </a:lnTo>
                  <a:lnTo>
                    <a:pt x="7104" y="2340"/>
                  </a:lnTo>
                  <a:lnTo>
                    <a:pt x="7110" y="2340"/>
                  </a:lnTo>
                  <a:lnTo>
                    <a:pt x="7122" y="2334"/>
                  </a:lnTo>
                  <a:lnTo>
                    <a:pt x="7152" y="2334"/>
                  </a:lnTo>
                  <a:lnTo>
                    <a:pt x="7158" y="2310"/>
                  </a:lnTo>
                  <a:lnTo>
                    <a:pt x="7200" y="2310"/>
                  </a:lnTo>
                  <a:lnTo>
                    <a:pt x="7212" y="2316"/>
                  </a:lnTo>
                  <a:lnTo>
                    <a:pt x="7218" y="2328"/>
                  </a:lnTo>
                  <a:lnTo>
                    <a:pt x="7218" y="2346"/>
                  </a:lnTo>
                  <a:lnTo>
                    <a:pt x="7242" y="2358"/>
                  </a:lnTo>
                  <a:lnTo>
                    <a:pt x="7242" y="2388"/>
                  </a:lnTo>
                  <a:lnTo>
                    <a:pt x="7224" y="2394"/>
                  </a:lnTo>
                  <a:lnTo>
                    <a:pt x="7236" y="2412"/>
                  </a:lnTo>
                  <a:lnTo>
                    <a:pt x="7236" y="2430"/>
                  </a:lnTo>
                  <a:lnTo>
                    <a:pt x="7248" y="2442"/>
                  </a:lnTo>
                  <a:lnTo>
                    <a:pt x="7248" y="2466"/>
                  </a:lnTo>
                  <a:lnTo>
                    <a:pt x="7266" y="2472"/>
                  </a:lnTo>
                  <a:lnTo>
                    <a:pt x="7260" y="2502"/>
                  </a:lnTo>
                  <a:lnTo>
                    <a:pt x="7266" y="2526"/>
                  </a:lnTo>
                  <a:lnTo>
                    <a:pt x="7260" y="2532"/>
                  </a:lnTo>
                  <a:lnTo>
                    <a:pt x="7254" y="2532"/>
                  </a:lnTo>
                  <a:lnTo>
                    <a:pt x="7254" y="2550"/>
                  </a:lnTo>
                  <a:lnTo>
                    <a:pt x="7260" y="2562"/>
                  </a:lnTo>
                  <a:lnTo>
                    <a:pt x="7260" y="2574"/>
                  </a:lnTo>
                  <a:lnTo>
                    <a:pt x="7254" y="2580"/>
                  </a:lnTo>
                  <a:lnTo>
                    <a:pt x="7248" y="2580"/>
                  </a:lnTo>
                  <a:lnTo>
                    <a:pt x="7236" y="2574"/>
                  </a:lnTo>
                  <a:lnTo>
                    <a:pt x="7224" y="2574"/>
                  </a:lnTo>
                  <a:lnTo>
                    <a:pt x="7206" y="2568"/>
                  </a:lnTo>
                  <a:lnTo>
                    <a:pt x="7194" y="2562"/>
                  </a:lnTo>
                  <a:lnTo>
                    <a:pt x="7170" y="2562"/>
                  </a:lnTo>
                  <a:lnTo>
                    <a:pt x="7164" y="2568"/>
                  </a:lnTo>
                  <a:lnTo>
                    <a:pt x="7170" y="2574"/>
                  </a:lnTo>
                  <a:lnTo>
                    <a:pt x="7170" y="2586"/>
                  </a:lnTo>
                  <a:lnTo>
                    <a:pt x="7146" y="2586"/>
                  </a:lnTo>
                  <a:lnTo>
                    <a:pt x="7146" y="2598"/>
                  </a:lnTo>
                  <a:lnTo>
                    <a:pt x="7152" y="2610"/>
                  </a:lnTo>
                  <a:lnTo>
                    <a:pt x="7158" y="2610"/>
                  </a:lnTo>
                  <a:lnTo>
                    <a:pt x="7170" y="2622"/>
                  </a:lnTo>
                  <a:lnTo>
                    <a:pt x="7182" y="2628"/>
                  </a:lnTo>
                  <a:lnTo>
                    <a:pt x="7194" y="2646"/>
                  </a:lnTo>
                  <a:lnTo>
                    <a:pt x="7206" y="2658"/>
                  </a:lnTo>
                  <a:lnTo>
                    <a:pt x="7212" y="2676"/>
                  </a:lnTo>
                  <a:lnTo>
                    <a:pt x="7212" y="2688"/>
                  </a:lnTo>
                  <a:lnTo>
                    <a:pt x="7224" y="2700"/>
                  </a:lnTo>
                  <a:lnTo>
                    <a:pt x="7230" y="2712"/>
                  </a:lnTo>
                  <a:lnTo>
                    <a:pt x="7236" y="2748"/>
                  </a:lnTo>
                  <a:lnTo>
                    <a:pt x="7206" y="2742"/>
                  </a:lnTo>
                  <a:lnTo>
                    <a:pt x="7200" y="2766"/>
                  </a:lnTo>
                  <a:lnTo>
                    <a:pt x="7224" y="2778"/>
                  </a:lnTo>
                  <a:lnTo>
                    <a:pt x="7260" y="2778"/>
                  </a:lnTo>
                  <a:lnTo>
                    <a:pt x="7260" y="2718"/>
                  </a:lnTo>
                  <a:lnTo>
                    <a:pt x="7266" y="2712"/>
                  </a:lnTo>
                  <a:lnTo>
                    <a:pt x="7272" y="2712"/>
                  </a:lnTo>
                  <a:lnTo>
                    <a:pt x="7284" y="2718"/>
                  </a:lnTo>
                  <a:lnTo>
                    <a:pt x="7290" y="2724"/>
                  </a:lnTo>
                  <a:lnTo>
                    <a:pt x="7302" y="2712"/>
                  </a:lnTo>
                  <a:lnTo>
                    <a:pt x="7308" y="2724"/>
                  </a:lnTo>
                  <a:lnTo>
                    <a:pt x="7314" y="2730"/>
                  </a:lnTo>
                  <a:lnTo>
                    <a:pt x="7320" y="2742"/>
                  </a:lnTo>
                  <a:lnTo>
                    <a:pt x="7332" y="2754"/>
                  </a:lnTo>
                  <a:lnTo>
                    <a:pt x="7344" y="2754"/>
                  </a:lnTo>
                  <a:lnTo>
                    <a:pt x="7356" y="2748"/>
                  </a:lnTo>
                  <a:lnTo>
                    <a:pt x="7368" y="2748"/>
                  </a:lnTo>
                  <a:lnTo>
                    <a:pt x="7374" y="2742"/>
                  </a:lnTo>
                  <a:lnTo>
                    <a:pt x="7380" y="2742"/>
                  </a:lnTo>
                  <a:lnTo>
                    <a:pt x="7380" y="2760"/>
                  </a:lnTo>
                  <a:lnTo>
                    <a:pt x="7386" y="2760"/>
                  </a:lnTo>
                  <a:lnTo>
                    <a:pt x="7392" y="2754"/>
                  </a:lnTo>
                  <a:lnTo>
                    <a:pt x="7404" y="2748"/>
                  </a:lnTo>
                  <a:lnTo>
                    <a:pt x="7422" y="2742"/>
                  </a:lnTo>
                  <a:lnTo>
                    <a:pt x="7440" y="2730"/>
                  </a:lnTo>
                  <a:lnTo>
                    <a:pt x="7452" y="2724"/>
                  </a:lnTo>
                  <a:lnTo>
                    <a:pt x="7464" y="2700"/>
                  </a:lnTo>
                  <a:lnTo>
                    <a:pt x="7464" y="2682"/>
                  </a:lnTo>
                  <a:lnTo>
                    <a:pt x="7470" y="2664"/>
                  </a:lnTo>
                  <a:lnTo>
                    <a:pt x="7470" y="2628"/>
                  </a:lnTo>
                  <a:lnTo>
                    <a:pt x="7494" y="2622"/>
                  </a:lnTo>
                  <a:lnTo>
                    <a:pt x="7494" y="2562"/>
                  </a:lnTo>
                  <a:lnTo>
                    <a:pt x="7500" y="2550"/>
                  </a:lnTo>
                  <a:lnTo>
                    <a:pt x="7506" y="2544"/>
                  </a:lnTo>
                  <a:lnTo>
                    <a:pt x="7518" y="2520"/>
                  </a:lnTo>
                  <a:lnTo>
                    <a:pt x="7518" y="2490"/>
                  </a:lnTo>
                  <a:lnTo>
                    <a:pt x="7524" y="2472"/>
                  </a:lnTo>
                  <a:lnTo>
                    <a:pt x="7524" y="2454"/>
                  </a:lnTo>
                  <a:lnTo>
                    <a:pt x="7518" y="2442"/>
                  </a:lnTo>
                  <a:lnTo>
                    <a:pt x="7518" y="2424"/>
                  </a:lnTo>
                  <a:lnTo>
                    <a:pt x="7512" y="2418"/>
                  </a:lnTo>
                  <a:lnTo>
                    <a:pt x="7512" y="2412"/>
                  </a:lnTo>
                  <a:lnTo>
                    <a:pt x="7518" y="2400"/>
                  </a:lnTo>
                  <a:lnTo>
                    <a:pt x="7524" y="2394"/>
                  </a:lnTo>
                  <a:lnTo>
                    <a:pt x="7524" y="2382"/>
                  </a:lnTo>
                  <a:lnTo>
                    <a:pt x="7530" y="2376"/>
                  </a:lnTo>
                  <a:lnTo>
                    <a:pt x="7530" y="2364"/>
                  </a:lnTo>
                  <a:lnTo>
                    <a:pt x="7524" y="2358"/>
                  </a:lnTo>
                  <a:lnTo>
                    <a:pt x="7518" y="2346"/>
                  </a:lnTo>
                  <a:lnTo>
                    <a:pt x="7524" y="2334"/>
                  </a:lnTo>
                  <a:lnTo>
                    <a:pt x="7530" y="2328"/>
                  </a:lnTo>
                  <a:lnTo>
                    <a:pt x="7536" y="2316"/>
                  </a:lnTo>
                  <a:lnTo>
                    <a:pt x="7536" y="2298"/>
                  </a:lnTo>
                  <a:lnTo>
                    <a:pt x="7530" y="2292"/>
                  </a:lnTo>
                  <a:lnTo>
                    <a:pt x="7530" y="2280"/>
                  </a:lnTo>
                  <a:lnTo>
                    <a:pt x="7518" y="2256"/>
                  </a:lnTo>
                  <a:lnTo>
                    <a:pt x="7512" y="2250"/>
                  </a:lnTo>
                  <a:lnTo>
                    <a:pt x="7512" y="2238"/>
                  </a:lnTo>
                  <a:lnTo>
                    <a:pt x="7506" y="2232"/>
                  </a:lnTo>
                  <a:lnTo>
                    <a:pt x="7506" y="2220"/>
                  </a:lnTo>
                  <a:lnTo>
                    <a:pt x="7500" y="2214"/>
                  </a:lnTo>
                  <a:lnTo>
                    <a:pt x="7500" y="2202"/>
                  </a:lnTo>
                  <a:lnTo>
                    <a:pt x="7494" y="2196"/>
                  </a:lnTo>
                  <a:lnTo>
                    <a:pt x="7482" y="2190"/>
                  </a:lnTo>
                  <a:lnTo>
                    <a:pt x="7476" y="2184"/>
                  </a:lnTo>
                  <a:lnTo>
                    <a:pt x="7482" y="2178"/>
                  </a:lnTo>
                  <a:lnTo>
                    <a:pt x="7476" y="2178"/>
                  </a:lnTo>
                  <a:lnTo>
                    <a:pt x="7470" y="2172"/>
                  </a:lnTo>
                  <a:lnTo>
                    <a:pt x="7458" y="2166"/>
                  </a:lnTo>
                  <a:lnTo>
                    <a:pt x="7446" y="2154"/>
                  </a:lnTo>
                  <a:lnTo>
                    <a:pt x="7440" y="2142"/>
                  </a:lnTo>
                  <a:lnTo>
                    <a:pt x="7434" y="2124"/>
                  </a:lnTo>
                  <a:lnTo>
                    <a:pt x="7434" y="2112"/>
                  </a:lnTo>
                  <a:lnTo>
                    <a:pt x="7428" y="2106"/>
                  </a:lnTo>
                  <a:lnTo>
                    <a:pt x="7428" y="2100"/>
                  </a:lnTo>
                  <a:lnTo>
                    <a:pt x="7416" y="2094"/>
                  </a:lnTo>
                  <a:lnTo>
                    <a:pt x="7416" y="2082"/>
                  </a:lnTo>
                  <a:lnTo>
                    <a:pt x="7422" y="2070"/>
                  </a:lnTo>
                  <a:lnTo>
                    <a:pt x="7422" y="2040"/>
                  </a:lnTo>
                  <a:lnTo>
                    <a:pt x="7410" y="2028"/>
                  </a:lnTo>
                  <a:lnTo>
                    <a:pt x="7404" y="2016"/>
                  </a:lnTo>
                  <a:lnTo>
                    <a:pt x="7398" y="2010"/>
                  </a:lnTo>
                  <a:lnTo>
                    <a:pt x="7380" y="2004"/>
                  </a:lnTo>
                  <a:lnTo>
                    <a:pt x="7380" y="1998"/>
                  </a:lnTo>
                  <a:lnTo>
                    <a:pt x="7374" y="1992"/>
                  </a:lnTo>
                  <a:lnTo>
                    <a:pt x="7368" y="1980"/>
                  </a:lnTo>
                  <a:lnTo>
                    <a:pt x="7356" y="1968"/>
                  </a:lnTo>
                  <a:lnTo>
                    <a:pt x="7344" y="1968"/>
                  </a:lnTo>
                  <a:lnTo>
                    <a:pt x="7332" y="1956"/>
                  </a:lnTo>
                  <a:lnTo>
                    <a:pt x="7326" y="1956"/>
                  </a:lnTo>
                  <a:lnTo>
                    <a:pt x="7308" y="1950"/>
                  </a:lnTo>
                  <a:lnTo>
                    <a:pt x="7302" y="1938"/>
                  </a:lnTo>
                  <a:lnTo>
                    <a:pt x="7308" y="1938"/>
                  </a:lnTo>
                  <a:lnTo>
                    <a:pt x="7314" y="1944"/>
                  </a:lnTo>
                  <a:lnTo>
                    <a:pt x="7326" y="1944"/>
                  </a:lnTo>
                  <a:lnTo>
                    <a:pt x="7332" y="1950"/>
                  </a:lnTo>
                  <a:lnTo>
                    <a:pt x="7344" y="1950"/>
                  </a:lnTo>
                  <a:lnTo>
                    <a:pt x="7350" y="1944"/>
                  </a:lnTo>
                  <a:lnTo>
                    <a:pt x="7350" y="1938"/>
                  </a:lnTo>
                  <a:lnTo>
                    <a:pt x="7344" y="1938"/>
                  </a:lnTo>
                  <a:lnTo>
                    <a:pt x="7332" y="1932"/>
                  </a:lnTo>
                  <a:lnTo>
                    <a:pt x="7326" y="1926"/>
                  </a:lnTo>
                  <a:lnTo>
                    <a:pt x="7320" y="1926"/>
                  </a:lnTo>
                  <a:lnTo>
                    <a:pt x="7242" y="1890"/>
                  </a:lnTo>
                  <a:lnTo>
                    <a:pt x="7236" y="1890"/>
                  </a:lnTo>
                  <a:lnTo>
                    <a:pt x="7230" y="1884"/>
                  </a:lnTo>
                  <a:lnTo>
                    <a:pt x="7218" y="1878"/>
                  </a:lnTo>
                  <a:lnTo>
                    <a:pt x="7206" y="1866"/>
                  </a:lnTo>
                  <a:lnTo>
                    <a:pt x="7194" y="1860"/>
                  </a:lnTo>
                  <a:lnTo>
                    <a:pt x="7188" y="1854"/>
                  </a:lnTo>
                  <a:lnTo>
                    <a:pt x="7170" y="1854"/>
                  </a:lnTo>
                  <a:lnTo>
                    <a:pt x="7164" y="1860"/>
                  </a:lnTo>
                  <a:lnTo>
                    <a:pt x="7152" y="1866"/>
                  </a:lnTo>
                  <a:lnTo>
                    <a:pt x="7116" y="1854"/>
                  </a:lnTo>
                  <a:lnTo>
                    <a:pt x="7152" y="1896"/>
                  </a:lnTo>
                  <a:lnTo>
                    <a:pt x="7146" y="1920"/>
                  </a:lnTo>
                  <a:lnTo>
                    <a:pt x="7134" y="1920"/>
                  </a:lnTo>
                  <a:lnTo>
                    <a:pt x="7134" y="1890"/>
                  </a:lnTo>
                  <a:lnTo>
                    <a:pt x="7116" y="1878"/>
                  </a:lnTo>
                  <a:lnTo>
                    <a:pt x="7116" y="1908"/>
                  </a:lnTo>
                  <a:lnTo>
                    <a:pt x="7068" y="1908"/>
                  </a:lnTo>
                  <a:lnTo>
                    <a:pt x="7074" y="1902"/>
                  </a:lnTo>
                  <a:lnTo>
                    <a:pt x="7074" y="1884"/>
                  </a:lnTo>
                  <a:lnTo>
                    <a:pt x="7068" y="1878"/>
                  </a:lnTo>
                  <a:lnTo>
                    <a:pt x="7044" y="1878"/>
                  </a:lnTo>
                  <a:lnTo>
                    <a:pt x="7038" y="1890"/>
                  </a:lnTo>
                  <a:lnTo>
                    <a:pt x="7014" y="1890"/>
                  </a:lnTo>
                  <a:lnTo>
                    <a:pt x="7002" y="1854"/>
                  </a:lnTo>
                  <a:lnTo>
                    <a:pt x="6996" y="1854"/>
                  </a:lnTo>
                  <a:lnTo>
                    <a:pt x="6984" y="1830"/>
                  </a:lnTo>
                  <a:lnTo>
                    <a:pt x="6912" y="1836"/>
                  </a:lnTo>
                  <a:lnTo>
                    <a:pt x="6906" y="1824"/>
                  </a:lnTo>
                  <a:lnTo>
                    <a:pt x="6882" y="1824"/>
                  </a:lnTo>
                  <a:lnTo>
                    <a:pt x="6870" y="1818"/>
                  </a:lnTo>
                  <a:lnTo>
                    <a:pt x="6864" y="1812"/>
                  </a:lnTo>
                  <a:lnTo>
                    <a:pt x="6864" y="1794"/>
                  </a:lnTo>
                  <a:lnTo>
                    <a:pt x="6876" y="1788"/>
                  </a:lnTo>
                  <a:lnTo>
                    <a:pt x="6888" y="1776"/>
                  </a:lnTo>
                  <a:lnTo>
                    <a:pt x="6900" y="1776"/>
                  </a:lnTo>
                  <a:lnTo>
                    <a:pt x="6900" y="1752"/>
                  </a:lnTo>
                  <a:lnTo>
                    <a:pt x="6906" y="1752"/>
                  </a:lnTo>
                  <a:lnTo>
                    <a:pt x="6918" y="1746"/>
                  </a:lnTo>
                  <a:lnTo>
                    <a:pt x="6930" y="1734"/>
                  </a:lnTo>
                  <a:lnTo>
                    <a:pt x="6930" y="1728"/>
                  </a:lnTo>
                  <a:lnTo>
                    <a:pt x="6936" y="1716"/>
                  </a:lnTo>
                  <a:lnTo>
                    <a:pt x="6936" y="1710"/>
                  </a:lnTo>
                  <a:lnTo>
                    <a:pt x="6942" y="1698"/>
                  </a:lnTo>
                  <a:lnTo>
                    <a:pt x="6930" y="1686"/>
                  </a:lnTo>
                  <a:lnTo>
                    <a:pt x="6942" y="1662"/>
                  </a:lnTo>
                  <a:lnTo>
                    <a:pt x="6930" y="1650"/>
                  </a:lnTo>
                  <a:lnTo>
                    <a:pt x="6948" y="1632"/>
                  </a:lnTo>
                  <a:lnTo>
                    <a:pt x="6972" y="1626"/>
                  </a:lnTo>
                  <a:lnTo>
                    <a:pt x="6960" y="1596"/>
                  </a:lnTo>
                  <a:lnTo>
                    <a:pt x="6984" y="1590"/>
                  </a:lnTo>
                  <a:lnTo>
                    <a:pt x="6960" y="1554"/>
                  </a:lnTo>
                  <a:lnTo>
                    <a:pt x="6990" y="1542"/>
                  </a:lnTo>
                  <a:lnTo>
                    <a:pt x="6990" y="1500"/>
                  </a:lnTo>
                  <a:lnTo>
                    <a:pt x="6996" y="1488"/>
                  </a:lnTo>
                  <a:lnTo>
                    <a:pt x="7002" y="1482"/>
                  </a:lnTo>
                  <a:lnTo>
                    <a:pt x="7020" y="1470"/>
                  </a:lnTo>
                  <a:lnTo>
                    <a:pt x="7032" y="1464"/>
                  </a:lnTo>
                  <a:lnTo>
                    <a:pt x="7050" y="1464"/>
                  </a:lnTo>
                  <a:lnTo>
                    <a:pt x="7068" y="1470"/>
                  </a:lnTo>
                  <a:lnTo>
                    <a:pt x="7188" y="1470"/>
                  </a:lnTo>
                  <a:lnTo>
                    <a:pt x="7206" y="1488"/>
                  </a:lnTo>
                  <a:lnTo>
                    <a:pt x="7224" y="1482"/>
                  </a:lnTo>
                  <a:lnTo>
                    <a:pt x="7218" y="1464"/>
                  </a:lnTo>
                  <a:lnTo>
                    <a:pt x="7290" y="1482"/>
                  </a:lnTo>
                  <a:lnTo>
                    <a:pt x="7320" y="1464"/>
                  </a:lnTo>
                  <a:lnTo>
                    <a:pt x="7350" y="1488"/>
                  </a:lnTo>
                  <a:lnTo>
                    <a:pt x="7356" y="1452"/>
                  </a:lnTo>
                  <a:lnTo>
                    <a:pt x="7434" y="1452"/>
                  </a:lnTo>
                  <a:lnTo>
                    <a:pt x="7446" y="1458"/>
                  </a:lnTo>
                  <a:lnTo>
                    <a:pt x="7452" y="1470"/>
                  </a:lnTo>
                  <a:lnTo>
                    <a:pt x="7458" y="1470"/>
                  </a:lnTo>
                  <a:lnTo>
                    <a:pt x="7464" y="1464"/>
                  </a:lnTo>
                  <a:lnTo>
                    <a:pt x="7476" y="1464"/>
                  </a:lnTo>
                  <a:lnTo>
                    <a:pt x="7482" y="1458"/>
                  </a:lnTo>
                  <a:lnTo>
                    <a:pt x="7494" y="1452"/>
                  </a:lnTo>
                  <a:lnTo>
                    <a:pt x="7518" y="1470"/>
                  </a:lnTo>
                  <a:lnTo>
                    <a:pt x="7560" y="1476"/>
                  </a:lnTo>
                  <a:lnTo>
                    <a:pt x="7506" y="1488"/>
                  </a:lnTo>
                  <a:lnTo>
                    <a:pt x="7506" y="1494"/>
                  </a:lnTo>
                  <a:lnTo>
                    <a:pt x="7512" y="1500"/>
                  </a:lnTo>
                  <a:lnTo>
                    <a:pt x="7524" y="1506"/>
                  </a:lnTo>
                  <a:lnTo>
                    <a:pt x="7530" y="1512"/>
                  </a:lnTo>
                  <a:lnTo>
                    <a:pt x="7542" y="1512"/>
                  </a:lnTo>
                  <a:lnTo>
                    <a:pt x="7548" y="1506"/>
                  </a:lnTo>
                  <a:lnTo>
                    <a:pt x="7560" y="1506"/>
                  </a:lnTo>
                  <a:lnTo>
                    <a:pt x="7572" y="1500"/>
                  </a:lnTo>
                  <a:lnTo>
                    <a:pt x="7578" y="1494"/>
                  </a:lnTo>
                  <a:lnTo>
                    <a:pt x="7584" y="1494"/>
                  </a:lnTo>
                  <a:lnTo>
                    <a:pt x="7614" y="1506"/>
                  </a:lnTo>
                  <a:lnTo>
                    <a:pt x="7638" y="1488"/>
                  </a:lnTo>
                  <a:lnTo>
                    <a:pt x="7644" y="1488"/>
                  </a:lnTo>
                  <a:lnTo>
                    <a:pt x="7650" y="1494"/>
                  </a:lnTo>
                  <a:lnTo>
                    <a:pt x="7686" y="1494"/>
                  </a:lnTo>
                  <a:lnTo>
                    <a:pt x="7692" y="1488"/>
                  </a:lnTo>
                  <a:lnTo>
                    <a:pt x="7692" y="1476"/>
                  </a:lnTo>
                  <a:lnTo>
                    <a:pt x="7728" y="1482"/>
                  </a:lnTo>
                  <a:lnTo>
                    <a:pt x="7680" y="1452"/>
                  </a:lnTo>
                  <a:lnTo>
                    <a:pt x="7650" y="1464"/>
                  </a:lnTo>
                  <a:lnTo>
                    <a:pt x="7644" y="1446"/>
                  </a:lnTo>
                  <a:lnTo>
                    <a:pt x="7638" y="1434"/>
                  </a:lnTo>
                  <a:lnTo>
                    <a:pt x="7632" y="1428"/>
                  </a:lnTo>
                  <a:lnTo>
                    <a:pt x="7626" y="1416"/>
                  </a:lnTo>
                  <a:lnTo>
                    <a:pt x="7626" y="1398"/>
                  </a:lnTo>
                  <a:lnTo>
                    <a:pt x="7650" y="1374"/>
                  </a:lnTo>
                  <a:lnTo>
                    <a:pt x="7644" y="1344"/>
                  </a:lnTo>
                  <a:lnTo>
                    <a:pt x="7662" y="1332"/>
                  </a:lnTo>
                  <a:lnTo>
                    <a:pt x="7650" y="1326"/>
                  </a:lnTo>
                  <a:lnTo>
                    <a:pt x="7638" y="1314"/>
                  </a:lnTo>
                  <a:lnTo>
                    <a:pt x="7638" y="1302"/>
                  </a:lnTo>
                  <a:lnTo>
                    <a:pt x="7644" y="1296"/>
                  </a:lnTo>
                  <a:lnTo>
                    <a:pt x="7662" y="1290"/>
                  </a:lnTo>
                  <a:lnTo>
                    <a:pt x="7698" y="1290"/>
                  </a:lnTo>
                  <a:lnTo>
                    <a:pt x="7710" y="1296"/>
                  </a:lnTo>
                  <a:lnTo>
                    <a:pt x="7728" y="1296"/>
                  </a:lnTo>
                  <a:lnTo>
                    <a:pt x="7746" y="1278"/>
                  </a:lnTo>
                  <a:lnTo>
                    <a:pt x="7782" y="1308"/>
                  </a:lnTo>
                  <a:lnTo>
                    <a:pt x="7806" y="1290"/>
                  </a:lnTo>
                  <a:lnTo>
                    <a:pt x="7812" y="1302"/>
                  </a:lnTo>
                  <a:lnTo>
                    <a:pt x="7818" y="1308"/>
                  </a:lnTo>
                  <a:lnTo>
                    <a:pt x="7830" y="1332"/>
                  </a:lnTo>
                  <a:lnTo>
                    <a:pt x="7830" y="1338"/>
                  </a:lnTo>
                  <a:lnTo>
                    <a:pt x="7836" y="1344"/>
                  </a:lnTo>
                  <a:lnTo>
                    <a:pt x="7878" y="1344"/>
                  </a:lnTo>
                  <a:lnTo>
                    <a:pt x="7878" y="1362"/>
                  </a:lnTo>
                  <a:lnTo>
                    <a:pt x="7884" y="1374"/>
                  </a:lnTo>
                  <a:lnTo>
                    <a:pt x="7890" y="1380"/>
                  </a:lnTo>
                  <a:lnTo>
                    <a:pt x="7896" y="1380"/>
                  </a:lnTo>
                  <a:lnTo>
                    <a:pt x="7914" y="1362"/>
                  </a:lnTo>
                  <a:lnTo>
                    <a:pt x="7932" y="1326"/>
                  </a:lnTo>
                  <a:lnTo>
                    <a:pt x="7938" y="1320"/>
                  </a:lnTo>
                  <a:lnTo>
                    <a:pt x="7938" y="1314"/>
                  </a:lnTo>
                  <a:lnTo>
                    <a:pt x="7962" y="1302"/>
                  </a:lnTo>
                  <a:lnTo>
                    <a:pt x="7992" y="1314"/>
                  </a:lnTo>
                  <a:lnTo>
                    <a:pt x="7986" y="1302"/>
                  </a:lnTo>
                  <a:lnTo>
                    <a:pt x="7962" y="1284"/>
                  </a:lnTo>
                  <a:lnTo>
                    <a:pt x="7956" y="1278"/>
                  </a:lnTo>
                  <a:lnTo>
                    <a:pt x="7932" y="1266"/>
                  </a:lnTo>
                  <a:lnTo>
                    <a:pt x="7926" y="1254"/>
                  </a:lnTo>
                  <a:lnTo>
                    <a:pt x="7914" y="1248"/>
                  </a:lnTo>
                  <a:lnTo>
                    <a:pt x="7908" y="1242"/>
                  </a:lnTo>
                  <a:lnTo>
                    <a:pt x="7908" y="1230"/>
                  </a:lnTo>
                  <a:lnTo>
                    <a:pt x="7962" y="1230"/>
                  </a:lnTo>
                  <a:lnTo>
                    <a:pt x="7992" y="1236"/>
                  </a:lnTo>
                  <a:lnTo>
                    <a:pt x="8052" y="1236"/>
                  </a:lnTo>
                  <a:lnTo>
                    <a:pt x="8052" y="1254"/>
                  </a:lnTo>
                  <a:lnTo>
                    <a:pt x="8040" y="1254"/>
                  </a:lnTo>
                  <a:lnTo>
                    <a:pt x="8028" y="1248"/>
                  </a:lnTo>
                  <a:lnTo>
                    <a:pt x="7992" y="1248"/>
                  </a:lnTo>
                  <a:lnTo>
                    <a:pt x="7992" y="1266"/>
                  </a:lnTo>
                  <a:lnTo>
                    <a:pt x="8016" y="1290"/>
                  </a:lnTo>
                  <a:lnTo>
                    <a:pt x="8028" y="1296"/>
                  </a:lnTo>
                  <a:lnTo>
                    <a:pt x="8034" y="1320"/>
                  </a:lnTo>
                  <a:lnTo>
                    <a:pt x="8064" y="1326"/>
                  </a:lnTo>
                  <a:lnTo>
                    <a:pt x="8058" y="1344"/>
                  </a:lnTo>
                  <a:lnTo>
                    <a:pt x="8076" y="1362"/>
                  </a:lnTo>
                  <a:lnTo>
                    <a:pt x="8046" y="1368"/>
                  </a:lnTo>
                  <a:lnTo>
                    <a:pt x="8040" y="1380"/>
                  </a:lnTo>
                  <a:lnTo>
                    <a:pt x="8022" y="1386"/>
                  </a:lnTo>
                  <a:lnTo>
                    <a:pt x="8028" y="1398"/>
                  </a:lnTo>
                  <a:lnTo>
                    <a:pt x="8028" y="1404"/>
                  </a:lnTo>
                  <a:lnTo>
                    <a:pt x="8034" y="1416"/>
                  </a:lnTo>
                  <a:lnTo>
                    <a:pt x="8034" y="1440"/>
                  </a:lnTo>
                  <a:lnTo>
                    <a:pt x="8028" y="1452"/>
                  </a:lnTo>
                  <a:lnTo>
                    <a:pt x="8016" y="1464"/>
                  </a:lnTo>
                  <a:lnTo>
                    <a:pt x="8004" y="1488"/>
                  </a:lnTo>
                  <a:lnTo>
                    <a:pt x="8004" y="1506"/>
                  </a:lnTo>
                  <a:lnTo>
                    <a:pt x="8010" y="1506"/>
                  </a:lnTo>
                  <a:lnTo>
                    <a:pt x="8016" y="1512"/>
                  </a:lnTo>
                  <a:lnTo>
                    <a:pt x="8022" y="1524"/>
                  </a:lnTo>
                  <a:lnTo>
                    <a:pt x="8016" y="1530"/>
                  </a:lnTo>
                  <a:lnTo>
                    <a:pt x="8010" y="1542"/>
                  </a:lnTo>
                  <a:lnTo>
                    <a:pt x="7986" y="1566"/>
                  </a:lnTo>
                  <a:lnTo>
                    <a:pt x="7974" y="1572"/>
                  </a:lnTo>
                  <a:lnTo>
                    <a:pt x="7968" y="1578"/>
                  </a:lnTo>
                  <a:lnTo>
                    <a:pt x="7962" y="1578"/>
                  </a:lnTo>
                  <a:lnTo>
                    <a:pt x="7962" y="1596"/>
                  </a:lnTo>
                  <a:lnTo>
                    <a:pt x="7944" y="1596"/>
                  </a:lnTo>
                  <a:lnTo>
                    <a:pt x="7950" y="1596"/>
                  </a:lnTo>
                  <a:lnTo>
                    <a:pt x="7956" y="1602"/>
                  </a:lnTo>
                  <a:lnTo>
                    <a:pt x="7968" y="1608"/>
                  </a:lnTo>
                  <a:lnTo>
                    <a:pt x="7980" y="1632"/>
                  </a:lnTo>
                  <a:lnTo>
                    <a:pt x="7974" y="1650"/>
                  </a:lnTo>
                  <a:lnTo>
                    <a:pt x="7974" y="1662"/>
                  </a:lnTo>
                  <a:lnTo>
                    <a:pt x="7968" y="1674"/>
                  </a:lnTo>
                  <a:lnTo>
                    <a:pt x="7968" y="1686"/>
                  </a:lnTo>
                  <a:lnTo>
                    <a:pt x="7974" y="1704"/>
                  </a:lnTo>
                  <a:lnTo>
                    <a:pt x="7992" y="1722"/>
                  </a:lnTo>
                  <a:lnTo>
                    <a:pt x="8016" y="1752"/>
                  </a:lnTo>
                  <a:lnTo>
                    <a:pt x="8046" y="1776"/>
                  </a:lnTo>
                  <a:lnTo>
                    <a:pt x="8070" y="1800"/>
                  </a:lnTo>
                  <a:lnTo>
                    <a:pt x="8082" y="1806"/>
                  </a:lnTo>
                  <a:lnTo>
                    <a:pt x="8142" y="1872"/>
                  </a:lnTo>
                  <a:lnTo>
                    <a:pt x="8154" y="1866"/>
                  </a:lnTo>
                  <a:lnTo>
                    <a:pt x="8238" y="1962"/>
                  </a:lnTo>
                  <a:lnTo>
                    <a:pt x="8286" y="1980"/>
                  </a:lnTo>
                  <a:lnTo>
                    <a:pt x="8310" y="2004"/>
                  </a:lnTo>
                  <a:lnTo>
                    <a:pt x="8316" y="2016"/>
                  </a:lnTo>
                  <a:lnTo>
                    <a:pt x="8328" y="2022"/>
                  </a:lnTo>
                  <a:lnTo>
                    <a:pt x="8334" y="2034"/>
                  </a:lnTo>
                  <a:lnTo>
                    <a:pt x="8388" y="2088"/>
                  </a:lnTo>
                  <a:lnTo>
                    <a:pt x="8406" y="2088"/>
                  </a:lnTo>
                  <a:lnTo>
                    <a:pt x="8406" y="2106"/>
                  </a:lnTo>
                  <a:lnTo>
                    <a:pt x="8418" y="2106"/>
                  </a:lnTo>
                  <a:lnTo>
                    <a:pt x="8430" y="2100"/>
                  </a:lnTo>
                  <a:lnTo>
                    <a:pt x="8436" y="2094"/>
                  </a:lnTo>
                  <a:lnTo>
                    <a:pt x="8442" y="2082"/>
                  </a:lnTo>
                  <a:lnTo>
                    <a:pt x="8442" y="2076"/>
                  </a:lnTo>
                  <a:lnTo>
                    <a:pt x="8430" y="2064"/>
                  </a:lnTo>
                  <a:lnTo>
                    <a:pt x="8436" y="2058"/>
                  </a:lnTo>
                  <a:lnTo>
                    <a:pt x="8442" y="2046"/>
                  </a:lnTo>
                  <a:lnTo>
                    <a:pt x="8448" y="2040"/>
                  </a:lnTo>
                  <a:lnTo>
                    <a:pt x="8448" y="2022"/>
                  </a:lnTo>
                  <a:lnTo>
                    <a:pt x="8430" y="2004"/>
                  </a:lnTo>
                  <a:lnTo>
                    <a:pt x="8418" y="1998"/>
                  </a:lnTo>
                  <a:lnTo>
                    <a:pt x="8406" y="1974"/>
                  </a:lnTo>
                  <a:lnTo>
                    <a:pt x="8406" y="1962"/>
                  </a:lnTo>
                  <a:lnTo>
                    <a:pt x="8412" y="1950"/>
                  </a:lnTo>
                  <a:lnTo>
                    <a:pt x="8430" y="1932"/>
                  </a:lnTo>
                  <a:lnTo>
                    <a:pt x="8442" y="1932"/>
                  </a:lnTo>
                  <a:lnTo>
                    <a:pt x="8454" y="1938"/>
                  </a:lnTo>
                  <a:lnTo>
                    <a:pt x="8460" y="1938"/>
                  </a:lnTo>
                  <a:lnTo>
                    <a:pt x="8466" y="1944"/>
                  </a:lnTo>
                  <a:lnTo>
                    <a:pt x="8472" y="1944"/>
                  </a:lnTo>
                  <a:lnTo>
                    <a:pt x="8466" y="1938"/>
                  </a:lnTo>
                  <a:lnTo>
                    <a:pt x="8460" y="1926"/>
                  </a:lnTo>
                  <a:lnTo>
                    <a:pt x="8448" y="1920"/>
                  </a:lnTo>
                  <a:lnTo>
                    <a:pt x="8442" y="1908"/>
                  </a:lnTo>
                  <a:lnTo>
                    <a:pt x="8424" y="1890"/>
                  </a:lnTo>
                  <a:lnTo>
                    <a:pt x="8412" y="1890"/>
                  </a:lnTo>
                  <a:lnTo>
                    <a:pt x="8406" y="1884"/>
                  </a:lnTo>
                  <a:lnTo>
                    <a:pt x="8400" y="1872"/>
                  </a:lnTo>
                  <a:lnTo>
                    <a:pt x="8400" y="1860"/>
                  </a:lnTo>
                  <a:lnTo>
                    <a:pt x="8406" y="1848"/>
                  </a:lnTo>
                  <a:lnTo>
                    <a:pt x="8412" y="1842"/>
                  </a:lnTo>
                  <a:lnTo>
                    <a:pt x="8424" y="1836"/>
                  </a:lnTo>
                  <a:lnTo>
                    <a:pt x="8430" y="1830"/>
                  </a:lnTo>
                  <a:lnTo>
                    <a:pt x="8442" y="1836"/>
                  </a:lnTo>
                  <a:lnTo>
                    <a:pt x="8466" y="1836"/>
                  </a:lnTo>
                  <a:lnTo>
                    <a:pt x="8472" y="1830"/>
                  </a:lnTo>
                  <a:lnTo>
                    <a:pt x="8472" y="1812"/>
                  </a:lnTo>
                  <a:lnTo>
                    <a:pt x="8454" y="1794"/>
                  </a:lnTo>
                  <a:lnTo>
                    <a:pt x="8436" y="1788"/>
                  </a:lnTo>
                  <a:lnTo>
                    <a:pt x="8424" y="1782"/>
                  </a:lnTo>
                  <a:lnTo>
                    <a:pt x="8406" y="1770"/>
                  </a:lnTo>
                  <a:lnTo>
                    <a:pt x="8394" y="1758"/>
                  </a:lnTo>
                  <a:lnTo>
                    <a:pt x="8388" y="1740"/>
                  </a:lnTo>
                  <a:lnTo>
                    <a:pt x="8376" y="1716"/>
                  </a:lnTo>
                  <a:lnTo>
                    <a:pt x="8376" y="1704"/>
                  </a:lnTo>
                  <a:lnTo>
                    <a:pt x="8370" y="1698"/>
                  </a:lnTo>
                  <a:lnTo>
                    <a:pt x="8370" y="1692"/>
                  </a:lnTo>
                  <a:lnTo>
                    <a:pt x="8382" y="1686"/>
                  </a:lnTo>
                  <a:lnTo>
                    <a:pt x="8406" y="1710"/>
                  </a:lnTo>
                  <a:lnTo>
                    <a:pt x="8418" y="1716"/>
                  </a:lnTo>
                  <a:lnTo>
                    <a:pt x="8430" y="1716"/>
                  </a:lnTo>
                  <a:lnTo>
                    <a:pt x="8430" y="1710"/>
                  </a:lnTo>
                  <a:lnTo>
                    <a:pt x="8424" y="1704"/>
                  </a:lnTo>
                  <a:lnTo>
                    <a:pt x="8418" y="1692"/>
                  </a:lnTo>
                  <a:lnTo>
                    <a:pt x="8412" y="1686"/>
                  </a:lnTo>
                  <a:lnTo>
                    <a:pt x="8406" y="1674"/>
                  </a:lnTo>
                  <a:lnTo>
                    <a:pt x="8400" y="1668"/>
                  </a:lnTo>
                  <a:lnTo>
                    <a:pt x="8364" y="1668"/>
                  </a:lnTo>
                  <a:lnTo>
                    <a:pt x="8316" y="1626"/>
                  </a:lnTo>
                  <a:lnTo>
                    <a:pt x="8316" y="1596"/>
                  </a:lnTo>
                  <a:lnTo>
                    <a:pt x="8310" y="1590"/>
                  </a:lnTo>
                  <a:lnTo>
                    <a:pt x="8298" y="1584"/>
                  </a:lnTo>
                  <a:lnTo>
                    <a:pt x="8280" y="1578"/>
                  </a:lnTo>
                  <a:lnTo>
                    <a:pt x="8268" y="1572"/>
                  </a:lnTo>
                  <a:lnTo>
                    <a:pt x="8256" y="1572"/>
                  </a:lnTo>
                  <a:lnTo>
                    <a:pt x="8256" y="1590"/>
                  </a:lnTo>
                  <a:lnTo>
                    <a:pt x="8250" y="1590"/>
                  </a:lnTo>
                  <a:lnTo>
                    <a:pt x="8244" y="1584"/>
                  </a:lnTo>
                  <a:lnTo>
                    <a:pt x="8232" y="1584"/>
                  </a:lnTo>
                  <a:lnTo>
                    <a:pt x="8214" y="1572"/>
                  </a:lnTo>
                  <a:lnTo>
                    <a:pt x="8202" y="1566"/>
                  </a:lnTo>
                  <a:lnTo>
                    <a:pt x="8196" y="1560"/>
                  </a:lnTo>
                  <a:lnTo>
                    <a:pt x="8190" y="1548"/>
                  </a:lnTo>
                  <a:lnTo>
                    <a:pt x="8190" y="1536"/>
                  </a:lnTo>
                  <a:lnTo>
                    <a:pt x="8196" y="1524"/>
                  </a:lnTo>
                  <a:lnTo>
                    <a:pt x="8196" y="1500"/>
                  </a:lnTo>
                  <a:lnTo>
                    <a:pt x="8184" y="1476"/>
                  </a:lnTo>
                  <a:lnTo>
                    <a:pt x="8166" y="1458"/>
                  </a:lnTo>
                  <a:lnTo>
                    <a:pt x="8154" y="1452"/>
                  </a:lnTo>
                  <a:lnTo>
                    <a:pt x="8154" y="1434"/>
                  </a:lnTo>
                  <a:lnTo>
                    <a:pt x="8160" y="1428"/>
                  </a:lnTo>
                  <a:lnTo>
                    <a:pt x="8172" y="1428"/>
                  </a:lnTo>
                  <a:lnTo>
                    <a:pt x="8184" y="1434"/>
                  </a:lnTo>
                  <a:lnTo>
                    <a:pt x="8196" y="1416"/>
                  </a:lnTo>
                  <a:lnTo>
                    <a:pt x="8232" y="1446"/>
                  </a:lnTo>
                  <a:lnTo>
                    <a:pt x="8238" y="1440"/>
                  </a:lnTo>
                  <a:lnTo>
                    <a:pt x="8226" y="1428"/>
                  </a:lnTo>
                  <a:lnTo>
                    <a:pt x="8226" y="1422"/>
                  </a:lnTo>
                  <a:lnTo>
                    <a:pt x="8232" y="1416"/>
                  </a:lnTo>
                  <a:lnTo>
                    <a:pt x="8232" y="1404"/>
                  </a:lnTo>
                  <a:lnTo>
                    <a:pt x="8238" y="1392"/>
                  </a:lnTo>
                  <a:lnTo>
                    <a:pt x="8250" y="1386"/>
                  </a:lnTo>
                  <a:lnTo>
                    <a:pt x="8256" y="1386"/>
                  </a:lnTo>
                  <a:lnTo>
                    <a:pt x="8274" y="1404"/>
                  </a:lnTo>
                  <a:lnTo>
                    <a:pt x="8280" y="1416"/>
                  </a:lnTo>
                  <a:lnTo>
                    <a:pt x="8292" y="1428"/>
                  </a:lnTo>
                  <a:lnTo>
                    <a:pt x="8304" y="1434"/>
                  </a:lnTo>
                  <a:lnTo>
                    <a:pt x="8310" y="1446"/>
                  </a:lnTo>
                  <a:lnTo>
                    <a:pt x="8322" y="1398"/>
                  </a:lnTo>
                  <a:lnTo>
                    <a:pt x="8334" y="1398"/>
                  </a:lnTo>
                  <a:lnTo>
                    <a:pt x="8364" y="1392"/>
                  </a:lnTo>
                  <a:lnTo>
                    <a:pt x="8400" y="1386"/>
                  </a:lnTo>
                  <a:lnTo>
                    <a:pt x="8430" y="1386"/>
                  </a:lnTo>
                  <a:lnTo>
                    <a:pt x="8478" y="1410"/>
                  </a:lnTo>
                  <a:lnTo>
                    <a:pt x="8484" y="1416"/>
                  </a:lnTo>
                  <a:lnTo>
                    <a:pt x="8490" y="1416"/>
                  </a:lnTo>
                  <a:lnTo>
                    <a:pt x="8532" y="1434"/>
                  </a:lnTo>
                  <a:lnTo>
                    <a:pt x="8502" y="1374"/>
                  </a:lnTo>
                  <a:lnTo>
                    <a:pt x="8526" y="1374"/>
                  </a:lnTo>
                  <a:lnTo>
                    <a:pt x="8538" y="1368"/>
                  </a:lnTo>
                  <a:lnTo>
                    <a:pt x="8550" y="1356"/>
                  </a:lnTo>
                  <a:lnTo>
                    <a:pt x="8550" y="1332"/>
                  </a:lnTo>
                  <a:lnTo>
                    <a:pt x="8544" y="1326"/>
                  </a:lnTo>
                  <a:lnTo>
                    <a:pt x="8538" y="1314"/>
                  </a:lnTo>
                  <a:lnTo>
                    <a:pt x="8562" y="1314"/>
                  </a:lnTo>
                  <a:lnTo>
                    <a:pt x="8562" y="1290"/>
                  </a:lnTo>
                  <a:lnTo>
                    <a:pt x="8574" y="1290"/>
                  </a:lnTo>
                  <a:lnTo>
                    <a:pt x="8586" y="1296"/>
                  </a:lnTo>
                  <a:lnTo>
                    <a:pt x="8616" y="1296"/>
                  </a:lnTo>
                  <a:lnTo>
                    <a:pt x="8628" y="1290"/>
                  </a:lnTo>
                  <a:lnTo>
                    <a:pt x="8634" y="1284"/>
                  </a:lnTo>
                  <a:lnTo>
                    <a:pt x="8640" y="1272"/>
                  </a:lnTo>
                  <a:lnTo>
                    <a:pt x="8652" y="1260"/>
                  </a:lnTo>
                  <a:lnTo>
                    <a:pt x="8658" y="1248"/>
                  </a:lnTo>
                  <a:lnTo>
                    <a:pt x="8664" y="1242"/>
                  </a:lnTo>
                  <a:lnTo>
                    <a:pt x="8670" y="1242"/>
                  </a:lnTo>
                  <a:lnTo>
                    <a:pt x="8652" y="1218"/>
                  </a:lnTo>
                  <a:lnTo>
                    <a:pt x="8682" y="1218"/>
                  </a:lnTo>
                  <a:lnTo>
                    <a:pt x="8688" y="1236"/>
                  </a:lnTo>
                  <a:lnTo>
                    <a:pt x="8748" y="1242"/>
                  </a:lnTo>
                  <a:lnTo>
                    <a:pt x="8760" y="1242"/>
                  </a:lnTo>
                  <a:lnTo>
                    <a:pt x="8772" y="1248"/>
                  </a:lnTo>
                  <a:lnTo>
                    <a:pt x="8808" y="1248"/>
                  </a:lnTo>
                  <a:lnTo>
                    <a:pt x="8808" y="1230"/>
                  </a:lnTo>
                  <a:lnTo>
                    <a:pt x="8802" y="1218"/>
                  </a:lnTo>
                  <a:lnTo>
                    <a:pt x="8766" y="1218"/>
                  </a:lnTo>
                  <a:lnTo>
                    <a:pt x="8760" y="1194"/>
                  </a:lnTo>
                  <a:lnTo>
                    <a:pt x="8754" y="1194"/>
                  </a:lnTo>
                  <a:lnTo>
                    <a:pt x="8748" y="1188"/>
                  </a:lnTo>
                  <a:lnTo>
                    <a:pt x="8736" y="1188"/>
                  </a:lnTo>
                  <a:lnTo>
                    <a:pt x="8712" y="1176"/>
                  </a:lnTo>
                  <a:lnTo>
                    <a:pt x="8700" y="1176"/>
                  </a:lnTo>
                  <a:lnTo>
                    <a:pt x="8688" y="1170"/>
                  </a:lnTo>
                  <a:lnTo>
                    <a:pt x="8658" y="1170"/>
                  </a:lnTo>
                  <a:lnTo>
                    <a:pt x="8664" y="1152"/>
                  </a:lnTo>
                  <a:lnTo>
                    <a:pt x="8592" y="1104"/>
                  </a:lnTo>
                  <a:lnTo>
                    <a:pt x="8574" y="1122"/>
                  </a:lnTo>
                  <a:lnTo>
                    <a:pt x="8568" y="1122"/>
                  </a:lnTo>
                  <a:lnTo>
                    <a:pt x="8562" y="1116"/>
                  </a:lnTo>
                  <a:lnTo>
                    <a:pt x="8550" y="1116"/>
                  </a:lnTo>
                  <a:lnTo>
                    <a:pt x="8538" y="1110"/>
                  </a:lnTo>
                  <a:lnTo>
                    <a:pt x="8532" y="1110"/>
                  </a:lnTo>
                  <a:lnTo>
                    <a:pt x="8520" y="1104"/>
                  </a:lnTo>
                  <a:lnTo>
                    <a:pt x="8508" y="1092"/>
                  </a:lnTo>
                  <a:lnTo>
                    <a:pt x="8502" y="1092"/>
                  </a:lnTo>
                  <a:lnTo>
                    <a:pt x="8466" y="1098"/>
                  </a:lnTo>
                  <a:lnTo>
                    <a:pt x="8442" y="1092"/>
                  </a:lnTo>
                  <a:lnTo>
                    <a:pt x="8430" y="1086"/>
                  </a:lnTo>
                  <a:lnTo>
                    <a:pt x="8412" y="1068"/>
                  </a:lnTo>
                  <a:lnTo>
                    <a:pt x="8406" y="1068"/>
                  </a:lnTo>
                  <a:lnTo>
                    <a:pt x="8412" y="1062"/>
                  </a:lnTo>
                  <a:lnTo>
                    <a:pt x="8436" y="1062"/>
                  </a:lnTo>
                  <a:lnTo>
                    <a:pt x="8460" y="1074"/>
                  </a:lnTo>
                  <a:lnTo>
                    <a:pt x="8478" y="1074"/>
                  </a:lnTo>
                  <a:lnTo>
                    <a:pt x="8496" y="1080"/>
                  </a:lnTo>
                  <a:lnTo>
                    <a:pt x="8514" y="1080"/>
                  </a:lnTo>
                  <a:lnTo>
                    <a:pt x="8526" y="1086"/>
                  </a:lnTo>
                  <a:lnTo>
                    <a:pt x="8544" y="1086"/>
                  </a:lnTo>
                  <a:lnTo>
                    <a:pt x="8550" y="1080"/>
                  </a:lnTo>
                  <a:lnTo>
                    <a:pt x="8562" y="1080"/>
                  </a:lnTo>
                  <a:lnTo>
                    <a:pt x="8580" y="1074"/>
                  </a:lnTo>
                  <a:lnTo>
                    <a:pt x="8604" y="1062"/>
                  </a:lnTo>
                  <a:lnTo>
                    <a:pt x="8616" y="1050"/>
                  </a:lnTo>
                  <a:lnTo>
                    <a:pt x="8604" y="1038"/>
                  </a:lnTo>
                  <a:lnTo>
                    <a:pt x="8592" y="1032"/>
                  </a:lnTo>
                  <a:lnTo>
                    <a:pt x="8586" y="1026"/>
                  </a:lnTo>
                  <a:lnTo>
                    <a:pt x="8574" y="1020"/>
                  </a:lnTo>
                  <a:lnTo>
                    <a:pt x="8568" y="1014"/>
                  </a:lnTo>
                  <a:lnTo>
                    <a:pt x="8562" y="1014"/>
                  </a:lnTo>
                  <a:lnTo>
                    <a:pt x="8556" y="1008"/>
                  </a:lnTo>
                  <a:lnTo>
                    <a:pt x="8520" y="990"/>
                  </a:lnTo>
                  <a:lnTo>
                    <a:pt x="8508" y="978"/>
                  </a:lnTo>
                  <a:lnTo>
                    <a:pt x="8514" y="972"/>
                  </a:lnTo>
                  <a:lnTo>
                    <a:pt x="8538" y="972"/>
                  </a:lnTo>
                  <a:lnTo>
                    <a:pt x="8556" y="978"/>
                  </a:lnTo>
                  <a:lnTo>
                    <a:pt x="8562" y="984"/>
                  </a:lnTo>
                  <a:lnTo>
                    <a:pt x="8574" y="990"/>
                  </a:lnTo>
                  <a:lnTo>
                    <a:pt x="8580" y="990"/>
                  </a:lnTo>
                  <a:lnTo>
                    <a:pt x="8586" y="996"/>
                  </a:lnTo>
                  <a:lnTo>
                    <a:pt x="8610" y="1008"/>
                  </a:lnTo>
                  <a:lnTo>
                    <a:pt x="8628" y="1020"/>
                  </a:lnTo>
                  <a:lnTo>
                    <a:pt x="8652" y="1032"/>
                  </a:lnTo>
                  <a:lnTo>
                    <a:pt x="8664" y="1032"/>
                  </a:lnTo>
                  <a:lnTo>
                    <a:pt x="8676" y="1026"/>
                  </a:lnTo>
                  <a:lnTo>
                    <a:pt x="8682" y="1026"/>
                  </a:lnTo>
                  <a:lnTo>
                    <a:pt x="8688" y="1020"/>
                  </a:lnTo>
                  <a:lnTo>
                    <a:pt x="8730" y="1020"/>
                  </a:lnTo>
                  <a:lnTo>
                    <a:pt x="8754" y="1026"/>
                  </a:lnTo>
                  <a:lnTo>
                    <a:pt x="8808" y="1044"/>
                  </a:lnTo>
                  <a:lnTo>
                    <a:pt x="8850" y="1062"/>
                  </a:lnTo>
                  <a:lnTo>
                    <a:pt x="8880" y="1068"/>
                  </a:lnTo>
                  <a:lnTo>
                    <a:pt x="8886" y="1074"/>
                  </a:lnTo>
                  <a:lnTo>
                    <a:pt x="8898" y="1074"/>
                  </a:lnTo>
                  <a:lnTo>
                    <a:pt x="8934" y="1086"/>
                  </a:lnTo>
                  <a:lnTo>
                    <a:pt x="8946" y="1086"/>
                  </a:lnTo>
                  <a:lnTo>
                    <a:pt x="8952" y="1092"/>
                  </a:lnTo>
                  <a:lnTo>
                    <a:pt x="8958" y="1092"/>
                  </a:lnTo>
                  <a:lnTo>
                    <a:pt x="8970" y="1098"/>
                  </a:lnTo>
                  <a:lnTo>
                    <a:pt x="8976" y="1104"/>
                  </a:lnTo>
                  <a:lnTo>
                    <a:pt x="8988" y="1110"/>
                  </a:lnTo>
                  <a:lnTo>
                    <a:pt x="9000" y="1110"/>
                  </a:lnTo>
                  <a:lnTo>
                    <a:pt x="9018" y="1116"/>
                  </a:lnTo>
                  <a:lnTo>
                    <a:pt x="9024" y="1122"/>
                  </a:lnTo>
                  <a:lnTo>
                    <a:pt x="9042" y="1122"/>
                  </a:lnTo>
                  <a:lnTo>
                    <a:pt x="9042" y="1116"/>
                  </a:lnTo>
                  <a:lnTo>
                    <a:pt x="9036" y="1098"/>
                  </a:lnTo>
                  <a:lnTo>
                    <a:pt x="9012" y="1074"/>
                  </a:lnTo>
                  <a:lnTo>
                    <a:pt x="9006" y="1074"/>
                  </a:lnTo>
                  <a:lnTo>
                    <a:pt x="9024" y="1056"/>
                  </a:lnTo>
                  <a:lnTo>
                    <a:pt x="8976" y="1038"/>
                  </a:lnTo>
                  <a:lnTo>
                    <a:pt x="8988" y="1032"/>
                  </a:lnTo>
                  <a:lnTo>
                    <a:pt x="8940" y="1008"/>
                  </a:lnTo>
                  <a:lnTo>
                    <a:pt x="8994" y="1020"/>
                  </a:lnTo>
                  <a:lnTo>
                    <a:pt x="8988" y="996"/>
                  </a:lnTo>
                  <a:lnTo>
                    <a:pt x="9000" y="996"/>
                  </a:lnTo>
                  <a:lnTo>
                    <a:pt x="9012" y="1002"/>
                  </a:lnTo>
                  <a:lnTo>
                    <a:pt x="9048" y="1002"/>
                  </a:lnTo>
                  <a:lnTo>
                    <a:pt x="9048" y="99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63" name="Qatar" descr="© INSCALE GmbH, 05.05.2010&#10;http://www.presentationload.com/"/>
            <p:cNvSpPr>
              <a:spLocks/>
            </p:cNvSpPr>
            <p:nvPr/>
          </p:nvSpPr>
          <p:spPr bwMode="gray">
            <a:xfrm>
              <a:off x="5618876" y="3647308"/>
              <a:ext cx="20477" cy="45317"/>
            </a:xfrm>
            <a:custGeom>
              <a:avLst/>
              <a:gdLst>
                <a:gd name="T0" fmla="*/ 2147483647 w 66"/>
                <a:gd name="T1" fmla="*/ 2147483647 h 144"/>
                <a:gd name="T2" fmla="*/ 2147483647 w 66"/>
                <a:gd name="T3" fmla="*/ 2147483647 h 144"/>
                <a:gd name="T4" fmla="*/ 2147483647 w 66"/>
                <a:gd name="T5" fmla="*/ 2147483647 h 144"/>
                <a:gd name="T6" fmla="*/ 2147483647 w 66"/>
                <a:gd name="T7" fmla="*/ 2147483647 h 144"/>
                <a:gd name="T8" fmla="*/ 2147483647 w 66"/>
                <a:gd name="T9" fmla="*/ 2147483647 h 144"/>
                <a:gd name="T10" fmla="*/ 2147483647 w 66"/>
                <a:gd name="T11" fmla="*/ 2147483647 h 144"/>
                <a:gd name="T12" fmla="*/ 2147483647 w 66"/>
                <a:gd name="T13" fmla="*/ 2147483647 h 144"/>
                <a:gd name="T14" fmla="*/ 2147483647 w 66"/>
                <a:gd name="T15" fmla="*/ 2147483647 h 144"/>
                <a:gd name="T16" fmla="*/ 2147483647 w 66"/>
                <a:gd name="T17" fmla="*/ 2147483647 h 144"/>
                <a:gd name="T18" fmla="*/ 2147483647 w 66"/>
                <a:gd name="T19" fmla="*/ 0 h 144"/>
                <a:gd name="T20" fmla="*/ 2147483647 w 66"/>
                <a:gd name="T21" fmla="*/ 0 h 144"/>
                <a:gd name="T22" fmla="*/ 2147483647 w 66"/>
                <a:gd name="T23" fmla="*/ 2147483647 h 144"/>
                <a:gd name="T24" fmla="*/ 2147483647 w 66"/>
                <a:gd name="T25" fmla="*/ 2147483647 h 144"/>
                <a:gd name="T26" fmla="*/ 2147483647 w 66"/>
                <a:gd name="T27" fmla="*/ 2147483647 h 144"/>
                <a:gd name="T28" fmla="*/ 2147483647 w 66"/>
                <a:gd name="T29" fmla="*/ 2147483647 h 144"/>
                <a:gd name="T30" fmla="*/ 0 w 66"/>
                <a:gd name="T31" fmla="*/ 2147483647 h 144"/>
                <a:gd name="T32" fmla="*/ 2147483647 w 66"/>
                <a:gd name="T33" fmla="*/ 2147483647 h 144"/>
                <a:gd name="T34" fmla="*/ 2147483647 w 66"/>
                <a:gd name="T35" fmla="*/ 2147483647 h 14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66"/>
                <a:gd name="T55" fmla="*/ 0 h 144"/>
                <a:gd name="T56" fmla="*/ 66 w 66"/>
                <a:gd name="T57" fmla="*/ 144 h 144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66" h="144">
                  <a:moveTo>
                    <a:pt x="24" y="132"/>
                  </a:moveTo>
                  <a:lnTo>
                    <a:pt x="36" y="144"/>
                  </a:lnTo>
                  <a:lnTo>
                    <a:pt x="48" y="132"/>
                  </a:lnTo>
                  <a:lnTo>
                    <a:pt x="54" y="114"/>
                  </a:lnTo>
                  <a:lnTo>
                    <a:pt x="60" y="102"/>
                  </a:lnTo>
                  <a:lnTo>
                    <a:pt x="66" y="84"/>
                  </a:lnTo>
                  <a:lnTo>
                    <a:pt x="66" y="30"/>
                  </a:lnTo>
                  <a:lnTo>
                    <a:pt x="54" y="18"/>
                  </a:lnTo>
                  <a:lnTo>
                    <a:pt x="48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18"/>
                  </a:lnTo>
                  <a:lnTo>
                    <a:pt x="12" y="36"/>
                  </a:lnTo>
                  <a:lnTo>
                    <a:pt x="12" y="108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24" y="13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64" name="Puerto Rico" descr="© INSCALE GmbH, 05.05.2010&#10;http://www.presentationload.com/"/>
            <p:cNvSpPr>
              <a:spLocks/>
            </p:cNvSpPr>
            <p:nvPr/>
          </p:nvSpPr>
          <p:spPr bwMode="gray">
            <a:xfrm>
              <a:off x="2942730" y="3844499"/>
              <a:ext cx="44795" cy="18372"/>
            </a:xfrm>
            <a:custGeom>
              <a:avLst/>
              <a:gdLst>
                <a:gd name="T0" fmla="*/ 2147483647 w 138"/>
                <a:gd name="T1" fmla="*/ 2147483647 h 60"/>
                <a:gd name="T2" fmla="*/ 2147483647 w 138"/>
                <a:gd name="T3" fmla="*/ 2147483647 h 60"/>
                <a:gd name="T4" fmla="*/ 2147483647 w 138"/>
                <a:gd name="T5" fmla="*/ 0 h 60"/>
                <a:gd name="T6" fmla="*/ 2147483647 w 138"/>
                <a:gd name="T7" fmla="*/ 0 h 60"/>
                <a:gd name="T8" fmla="*/ 2147483647 w 138"/>
                <a:gd name="T9" fmla="*/ 2147483647 h 60"/>
                <a:gd name="T10" fmla="*/ 0 w 138"/>
                <a:gd name="T11" fmla="*/ 2147483647 h 60"/>
                <a:gd name="T12" fmla="*/ 0 w 138"/>
                <a:gd name="T13" fmla="*/ 2147483647 h 60"/>
                <a:gd name="T14" fmla="*/ 2147483647 w 138"/>
                <a:gd name="T15" fmla="*/ 2147483647 h 60"/>
                <a:gd name="T16" fmla="*/ 2147483647 w 138"/>
                <a:gd name="T17" fmla="*/ 2147483647 h 60"/>
                <a:gd name="T18" fmla="*/ 2147483647 w 138"/>
                <a:gd name="T19" fmla="*/ 2147483647 h 60"/>
                <a:gd name="T20" fmla="*/ 2147483647 w 138"/>
                <a:gd name="T21" fmla="*/ 2147483647 h 60"/>
                <a:gd name="T22" fmla="*/ 2147483647 w 138"/>
                <a:gd name="T23" fmla="*/ 2147483647 h 60"/>
                <a:gd name="T24" fmla="*/ 2147483647 w 138"/>
                <a:gd name="T25" fmla="*/ 2147483647 h 60"/>
                <a:gd name="T26" fmla="*/ 2147483647 w 138"/>
                <a:gd name="T27" fmla="*/ 2147483647 h 60"/>
                <a:gd name="T28" fmla="*/ 2147483647 w 138"/>
                <a:gd name="T29" fmla="*/ 2147483647 h 60"/>
                <a:gd name="T30" fmla="*/ 2147483647 w 138"/>
                <a:gd name="T31" fmla="*/ 2147483647 h 60"/>
                <a:gd name="T32" fmla="*/ 2147483647 w 138"/>
                <a:gd name="T33" fmla="*/ 2147483647 h 60"/>
                <a:gd name="T34" fmla="*/ 2147483647 w 138"/>
                <a:gd name="T35" fmla="*/ 2147483647 h 6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38"/>
                <a:gd name="T55" fmla="*/ 0 h 60"/>
                <a:gd name="T56" fmla="*/ 138 w 138"/>
                <a:gd name="T57" fmla="*/ 60 h 6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38" h="60">
                  <a:moveTo>
                    <a:pt x="84" y="12"/>
                  </a:moveTo>
                  <a:lnTo>
                    <a:pt x="72" y="12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36" y="60"/>
                  </a:lnTo>
                  <a:lnTo>
                    <a:pt x="48" y="48"/>
                  </a:lnTo>
                  <a:lnTo>
                    <a:pt x="102" y="48"/>
                  </a:lnTo>
                  <a:lnTo>
                    <a:pt x="120" y="36"/>
                  </a:lnTo>
                  <a:lnTo>
                    <a:pt x="132" y="30"/>
                  </a:lnTo>
                  <a:lnTo>
                    <a:pt x="138" y="18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14" y="6"/>
                  </a:lnTo>
                  <a:lnTo>
                    <a:pt x="102" y="12"/>
                  </a:lnTo>
                  <a:lnTo>
                    <a:pt x="84" y="1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65" name="Portugal" descr="© INSCALE GmbH, 05.05.2010&#10;http://www.presentationload.com/"/>
            <p:cNvSpPr>
              <a:spLocks/>
            </p:cNvSpPr>
            <p:nvPr/>
          </p:nvSpPr>
          <p:spPr bwMode="gray">
            <a:xfrm>
              <a:off x="4281442" y="3251701"/>
              <a:ext cx="72951" cy="127378"/>
            </a:xfrm>
            <a:custGeom>
              <a:avLst/>
              <a:gdLst>
                <a:gd name="T0" fmla="*/ 2147483647 w 228"/>
                <a:gd name="T1" fmla="*/ 2147483647 h 414"/>
                <a:gd name="T2" fmla="*/ 2147483647 w 228"/>
                <a:gd name="T3" fmla="*/ 2147483647 h 414"/>
                <a:gd name="T4" fmla="*/ 2147483647 w 228"/>
                <a:gd name="T5" fmla="*/ 2147483647 h 414"/>
                <a:gd name="T6" fmla="*/ 2147483647 w 228"/>
                <a:gd name="T7" fmla="*/ 2147483647 h 414"/>
                <a:gd name="T8" fmla="*/ 2147483647 w 228"/>
                <a:gd name="T9" fmla="*/ 2147483647 h 414"/>
                <a:gd name="T10" fmla="*/ 2147483647 w 228"/>
                <a:gd name="T11" fmla="*/ 2147483647 h 414"/>
                <a:gd name="T12" fmla="*/ 2147483647 w 228"/>
                <a:gd name="T13" fmla="*/ 0 h 414"/>
                <a:gd name="T14" fmla="*/ 2147483647 w 228"/>
                <a:gd name="T15" fmla="*/ 2147483647 h 414"/>
                <a:gd name="T16" fmla="*/ 2147483647 w 228"/>
                <a:gd name="T17" fmla="*/ 2147483647 h 414"/>
                <a:gd name="T18" fmla="*/ 2147483647 w 228"/>
                <a:gd name="T19" fmla="*/ 2147483647 h 414"/>
                <a:gd name="T20" fmla="*/ 2147483647 w 228"/>
                <a:gd name="T21" fmla="*/ 2147483647 h 414"/>
                <a:gd name="T22" fmla="*/ 2147483647 w 228"/>
                <a:gd name="T23" fmla="*/ 2147483647 h 414"/>
                <a:gd name="T24" fmla="*/ 2147483647 w 228"/>
                <a:gd name="T25" fmla="*/ 2147483647 h 414"/>
                <a:gd name="T26" fmla="*/ 0 w 228"/>
                <a:gd name="T27" fmla="*/ 2147483647 h 414"/>
                <a:gd name="T28" fmla="*/ 2147483647 w 228"/>
                <a:gd name="T29" fmla="*/ 2147483647 h 414"/>
                <a:gd name="T30" fmla="*/ 2147483647 w 228"/>
                <a:gd name="T31" fmla="*/ 2147483647 h 414"/>
                <a:gd name="T32" fmla="*/ 2147483647 w 228"/>
                <a:gd name="T33" fmla="*/ 2147483647 h 414"/>
                <a:gd name="T34" fmla="*/ 2147483647 w 228"/>
                <a:gd name="T35" fmla="*/ 2147483647 h 414"/>
                <a:gd name="T36" fmla="*/ 2147483647 w 228"/>
                <a:gd name="T37" fmla="*/ 2147483647 h 414"/>
                <a:gd name="T38" fmla="*/ 2147483647 w 228"/>
                <a:gd name="T39" fmla="*/ 2147483647 h 414"/>
                <a:gd name="T40" fmla="*/ 2147483647 w 228"/>
                <a:gd name="T41" fmla="*/ 2147483647 h 414"/>
                <a:gd name="T42" fmla="*/ 2147483647 w 228"/>
                <a:gd name="T43" fmla="*/ 2147483647 h 414"/>
                <a:gd name="T44" fmla="*/ 2147483647 w 228"/>
                <a:gd name="T45" fmla="*/ 2147483647 h 414"/>
                <a:gd name="T46" fmla="*/ 2147483647 w 228"/>
                <a:gd name="T47" fmla="*/ 2147483647 h 414"/>
                <a:gd name="T48" fmla="*/ 2147483647 w 228"/>
                <a:gd name="T49" fmla="*/ 2147483647 h 414"/>
                <a:gd name="T50" fmla="*/ 2147483647 w 228"/>
                <a:gd name="T51" fmla="*/ 2147483647 h 414"/>
                <a:gd name="T52" fmla="*/ 2147483647 w 228"/>
                <a:gd name="T53" fmla="*/ 2147483647 h 414"/>
                <a:gd name="T54" fmla="*/ 2147483647 w 228"/>
                <a:gd name="T55" fmla="*/ 2147483647 h 414"/>
                <a:gd name="T56" fmla="*/ 2147483647 w 228"/>
                <a:gd name="T57" fmla="*/ 2147483647 h 414"/>
                <a:gd name="T58" fmla="*/ 2147483647 w 228"/>
                <a:gd name="T59" fmla="*/ 2147483647 h 414"/>
                <a:gd name="T60" fmla="*/ 2147483647 w 228"/>
                <a:gd name="T61" fmla="*/ 2147483647 h 414"/>
                <a:gd name="T62" fmla="*/ 2147483647 w 228"/>
                <a:gd name="T63" fmla="*/ 2147483647 h 414"/>
                <a:gd name="T64" fmla="*/ 2147483647 w 228"/>
                <a:gd name="T65" fmla="*/ 2147483647 h 414"/>
                <a:gd name="T66" fmla="*/ 2147483647 w 228"/>
                <a:gd name="T67" fmla="*/ 2147483647 h 414"/>
                <a:gd name="T68" fmla="*/ 2147483647 w 228"/>
                <a:gd name="T69" fmla="*/ 2147483647 h 414"/>
                <a:gd name="T70" fmla="*/ 2147483647 w 228"/>
                <a:gd name="T71" fmla="*/ 2147483647 h 414"/>
                <a:gd name="T72" fmla="*/ 2147483647 w 228"/>
                <a:gd name="T73" fmla="*/ 2147483647 h 414"/>
                <a:gd name="T74" fmla="*/ 2147483647 w 228"/>
                <a:gd name="T75" fmla="*/ 2147483647 h 414"/>
                <a:gd name="T76" fmla="*/ 2147483647 w 228"/>
                <a:gd name="T77" fmla="*/ 2147483647 h 414"/>
                <a:gd name="T78" fmla="*/ 2147483647 w 228"/>
                <a:gd name="T79" fmla="*/ 2147483647 h 414"/>
                <a:gd name="T80" fmla="*/ 2147483647 w 228"/>
                <a:gd name="T81" fmla="*/ 2147483647 h 414"/>
                <a:gd name="T82" fmla="*/ 2147483647 w 228"/>
                <a:gd name="T83" fmla="*/ 2147483647 h 41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28"/>
                <a:gd name="T127" fmla="*/ 0 h 414"/>
                <a:gd name="T128" fmla="*/ 228 w 228"/>
                <a:gd name="T129" fmla="*/ 414 h 41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28" h="414">
                  <a:moveTo>
                    <a:pt x="210" y="30"/>
                  </a:moveTo>
                  <a:lnTo>
                    <a:pt x="210" y="12"/>
                  </a:lnTo>
                  <a:lnTo>
                    <a:pt x="156" y="12"/>
                  </a:lnTo>
                  <a:lnTo>
                    <a:pt x="156" y="18"/>
                  </a:lnTo>
                  <a:lnTo>
                    <a:pt x="150" y="24"/>
                  </a:lnTo>
                  <a:lnTo>
                    <a:pt x="138" y="24"/>
                  </a:lnTo>
                  <a:lnTo>
                    <a:pt x="132" y="18"/>
                  </a:lnTo>
                  <a:lnTo>
                    <a:pt x="114" y="18"/>
                  </a:lnTo>
                  <a:lnTo>
                    <a:pt x="108" y="24"/>
                  </a:lnTo>
                  <a:lnTo>
                    <a:pt x="96" y="24"/>
                  </a:lnTo>
                  <a:lnTo>
                    <a:pt x="96" y="18"/>
                  </a:lnTo>
                  <a:lnTo>
                    <a:pt x="102" y="18"/>
                  </a:lnTo>
                  <a:lnTo>
                    <a:pt x="114" y="6"/>
                  </a:lnTo>
                  <a:lnTo>
                    <a:pt x="114" y="0"/>
                  </a:lnTo>
                  <a:lnTo>
                    <a:pt x="90" y="0"/>
                  </a:lnTo>
                  <a:lnTo>
                    <a:pt x="66" y="12"/>
                  </a:lnTo>
                  <a:lnTo>
                    <a:pt x="60" y="18"/>
                  </a:lnTo>
                  <a:lnTo>
                    <a:pt x="60" y="36"/>
                  </a:lnTo>
                  <a:lnTo>
                    <a:pt x="66" y="60"/>
                  </a:lnTo>
                  <a:lnTo>
                    <a:pt x="66" y="78"/>
                  </a:lnTo>
                  <a:lnTo>
                    <a:pt x="60" y="108"/>
                  </a:lnTo>
                  <a:lnTo>
                    <a:pt x="48" y="138"/>
                  </a:lnTo>
                  <a:lnTo>
                    <a:pt x="30" y="174"/>
                  </a:lnTo>
                  <a:lnTo>
                    <a:pt x="12" y="222"/>
                  </a:lnTo>
                  <a:lnTo>
                    <a:pt x="6" y="234"/>
                  </a:lnTo>
                  <a:lnTo>
                    <a:pt x="6" y="240"/>
                  </a:lnTo>
                  <a:lnTo>
                    <a:pt x="0" y="252"/>
                  </a:lnTo>
                  <a:lnTo>
                    <a:pt x="0" y="264"/>
                  </a:lnTo>
                  <a:lnTo>
                    <a:pt x="18" y="282"/>
                  </a:lnTo>
                  <a:lnTo>
                    <a:pt x="30" y="288"/>
                  </a:lnTo>
                  <a:lnTo>
                    <a:pt x="42" y="342"/>
                  </a:lnTo>
                  <a:lnTo>
                    <a:pt x="42" y="348"/>
                  </a:lnTo>
                  <a:lnTo>
                    <a:pt x="36" y="354"/>
                  </a:lnTo>
                  <a:lnTo>
                    <a:pt x="36" y="366"/>
                  </a:lnTo>
                  <a:lnTo>
                    <a:pt x="30" y="384"/>
                  </a:lnTo>
                  <a:lnTo>
                    <a:pt x="24" y="396"/>
                  </a:lnTo>
                  <a:lnTo>
                    <a:pt x="24" y="408"/>
                  </a:lnTo>
                  <a:lnTo>
                    <a:pt x="48" y="408"/>
                  </a:lnTo>
                  <a:lnTo>
                    <a:pt x="60" y="402"/>
                  </a:lnTo>
                  <a:lnTo>
                    <a:pt x="72" y="402"/>
                  </a:lnTo>
                  <a:lnTo>
                    <a:pt x="84" y="414"/>
                  </a:lnTo>
                  <a:lnTo>
                    <a:pt x="96" y="414"/>
                  </a:lnTo>
                  <a:lnTo>
                    <a:pt x="108" y="408"/>
                  </a:lnTo>
                  <a:lnTo>
                    <a:pt x="114" y="402"/>
                  </a:lnTo>
                  <a:lnTo>
                    <a:pt x="120" y="402"/>
                  </a:lnTo>
                  <a:lnTo>
                    <a:pt x="126" y="396"/>
                  </a:lnTo>
                  <a:lnTo>
                    <a:pt x="126" y="348"/>
                  </a:lnTo>
                  <a:lnTo>
                    <a:pt x="132" y="342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62" y="318"/>
                  </a:lnTo>
                  <a:lnTo>
                    <a:pt x="162" y="312"/>
                  </a:lnTo>
                  <a:lnTo>
                    <a:pt x="150" y="312"/>
                  </a:lnTo>
                  <a:lnTo>
                    <a:pt x="144" y="306"/>
                  </a:lnTo>
                  <a:lnTo>
                    <a:pt x="138" y="294"/>
                  </a:lnTo>
                  <a:lnTo>
                    <a:pt x="138" y="288"/>
                  </a:lnTo>
                  <a:lnTo>
                    <a:pt x="132" y="282"/>
                  </a:lnTo>
                  <a:lnTo>
                    <a:pt x="132" y="276"/>
                  </a:lnTo>
                  <a:lnTo>
                    <a:pt x="144" y="264"/>
                  </a:lnTo>
                  <a:lnTo>
                    <a:pt x="156" y="258"/>
                  </a:lnTo>
                  <a:lnTo>
                    <a:pt x="168" y="246"/>
                  </a:lnTo>
                  <a:lnTo>
                    <a:pt x="168" y="240"/>
                  </a:lnTo>
                  <a:lnTo>
                    <a:pt x="156" y="234"/>
                  </a:lnTo>
                  <a:lnTo>
                    <a:pt x="150" y="228"/>
                  </a:lnTo>
                  <a:lnTo>
                    <a:pt x="150" y="216"/>
                  </a:lnTo>
                  <a:lnTo>
                    <a:pt x="126" y="192"/>
                  </a:lnTo>
                  <a:lnTo>
                    <a:pt x="162" y="192"/>
                  </a:lnTo>
                  <a:lnTo>
                    <a:pt x="174" y="180"/>
                  </a:lnTo>
                  <a:lnTo>
                    <a:pt x="174" y="168"/>
                  </a:lnTo>
                  <a:lnTo>
                    <a:pt x="168" y="162"/>
                  </a:lnTo>
                  <a:lnTo>
                    <a:pt x="168" y="150"/>
                  </a:lnTo>
                  <a:lnTo>
                    <a:pt x="174" y="144"/>
                  </a:lnTo>
                  <a:lnTo>
                    <a:pt x="180" y="144"/>
                  </a:lnTo>
                  <a:lnTo>
                    <a:pt x="180" y="126"/>
                  </a:lnTo>
                  <a:lnTo>
                    <a:pt x="186" y="108"/>
                  </a:lnTo>
                  <a:lnTo>
                    <a:pt x="186" y="96"/>
                  </a:lnTo>
                  <a:lnTo>
                    <a:pt x="180" y="90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80" y="78"/>
                  </a:lnTo>
                  <a:lnTo>
                    <a:pt x="204" y="66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10" y="3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66" name="Philippines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7166204" y="3835926"/>
              <a:ext cx="231651" cy="372335"/>
            </a:xfrm>
            <a:custGeom>
              <a:avLst/>
              <a:gdLst>
                <a:gd name="T0" fmla="*/ 2147483647 w 714"/>
                <a:gd name="T1" fmla="*/ 2147483647 h 1200"/>
                <a:gd name="T2" fmla="*/ 2147483647 w 714"/>
                <a:gd name="T3" fmla="*/ 2147483647 h 1200"/>
                <a:gd name="T4" fmla="*/ 2147483647 w 714"/>
                <a:gd name="T5" fmla="*/ 2147483647 h 1200"/>
                <a:gd name="T6" fmla="*/ 2147483647 w 714"/>
                <a:gd name="T7" fmla="*/ 2147483647 h 1200"/>
                <a:gd name="T8" fmla="*/ 2147483647 w 714"/>
                <a:gd name="T9" fmla="*/ 2147483647 h 1200"/>
                <a:gd name="T10" fmla="*/ 2147483647 w 714"/>
                <a:gd name="T11" fmla="*/ 2147483647 h 1200"/>
                <a:gd name="T12" fmla="*/ 2147483647 w 714"/>
                <a:gd name="T13" fmla="*/ 2147483647 h 1200"/>
                <a:gd name="T14" fmla="*/ 2147483647 w 714"/>
                <a:gd name="T15" fmla="*/ 2147483647 h 1200"/>
                <a:gd name="T16" fmla="*/ 2147483647 w 714"/>
                <a:gd name="T17" fmla="*/ 2147483647 h 1200"/>
                <a:gd name="T18" fmla="*/ 2147483647 w 714"/>
                <a:gd name="T19" fmla="*/ 2147483647 h 1200"/>
                <a:gd name="T20" fmla="*/ 2147483647 w 714"/>
                <a:gd name="T21" fmla="*/ 2147483647 h 1200"/>
                <a:gd name="T22" fmla="*/ 2147483647 w 714"/>
                <a:gd name="T23" fmla="*/ 2147483647 h 1200"/>
                <a:gd name="T24" fmla="*/ 2147483647 w 714"/>
                <a:gd name="T25" fmla="*/ 2147483647 h 1200"/>
                <a:gd name="T26" fmla="*/ 2147483647 w 714"/>
                <a:gd name="T27" fmla="*/ 2147483647 h 1200"/>
                <a:gd name="T28" fmla="*/ 2147483647 w 714"/>
                <a:gd name="T29" fmla="*/ 2147483647 h 1200"/>
                <a:gd name="T30" fmla="*/ 2147483647 w 714"/>
                <a:gd name="T31" fmla="*/ 2147483647 h 1200"/>
                <a:gd name="T32" fmla="*/ 2147483647 w 714"/>
                <a:gd name="T33" fmla="*/ 2147483647 h 1200"/>
                <a:gd name="T34" fmla="*/ 2147483647 w 714"/>
                <a:gd name="T35" fmla="*/ 2147483647 h 1200"/>
                <a:gd name="T36" fmla="*/ 2147483647 w 714"/>
                <a:gd name="T37" fmla="*/ 2147483647 h 1200"/>
                <a:gd name="T38" fmla="*/ 2147483647 w 714"/>
                <a:gd name="T39" fmla="*/ 2147483647 h 1200"/>
                <a:gd name="T40" fmla="*/ 2147483647 w 714"/>
                <a:gd name="T41" fmla="*/ 2147483647 h 1200"/>
                <a:gd name="T42" fmla="*/ 2147483647 w 714"/>
                <a:gd name="T43" fmla="*/ 2147483647 h 1200"/>
                <a:gd name="T44" fmla="*/ 2147483647 w 714"/>
                <a:gd name="T45" fmla="*/ 2147483647 h 1200"/>
                <a:gd name="T46" fmla="*/ 2147483647 w 714"/>
                <a:gd name="T47" fmla="*/ 2147483647 h 1200"/>
                <a:gd name="T48" fmla="*/ 2147483647 w 714"/>
                <a:gd name="T49" fmla="*/ 2147483647 h 1200"/>
                <a:gd name="T50" fmla="*/ 2147483647 w 714"/>
                <a:gd name="T51" fmla="*/ 2147483647 h 1200"/>
                <a:gd name="T52" fmla="*/ 2147483647 w 714"/>
                <a:gd name="T53" fmla="*/ 2147483647 h 1200"/>
                <a:gd name="T54" fmla="*/ 2147483647 w 714"/>
                <a:gd name="T55" fmla="*/ 2147483647 h 1200"/>
                <a:gd name="T56" fmla="*/ 2147483647 w 714"/>
                <a:gd name="T57" fmla="*/ 2147483647 h 1200"/>
                <a:gd name="T58" fmla="*/ 2147483647 w 714"/>
                <a:gd name="T59" fmla="*/ 2147483647 h 1200"/>
                <a:gd name="T60" fmla="*/ 2147483647 w 714"/>
                <a:gd name="T61" fmla="*/ 2147483647 h 1200"/>
                <a:gd name="T62" fmla="*/ 2147483647 w 714"/>
                <a:gd name="T63" fmla="*/ 2147483647 h 1200"/>
                <a:gd name="T64" fmla="*/ 2147483647 w 714"/>
                <a:gd name="T65" fmla="*/ 2147483647 h 1200"/>
                <a:gd name="T66" fmla="*/ 2147483647 w 714"/>
                <a:gd name="T67" fmla="*/ 2147483647 h 1200"/>
                <a:gd name="T68" fmla="*/ 2147483647 w 714"/>
                <a:gd name="T69" fmla="*/ 2147483647 h 1200"/>
                <a:gd name="T70" fmla="*/ 2147483647 w 714"/>
                <a:gd name="T71" fmla="*/ 2147483647 h 1200"/>
                <a:gd name="T72" fmla="*/ 2147483647 w 714"/>
                <a:gd name="T73" fmla="*/ 2147483647 h 1200"/>
                <a:gd name="T74" fmla="*/ 2147483647 w 714"/>
                <a:gd name="T75" fmla="*/ 2147483647 h 1200"/>
                <a:gd name="T76" fmla="*/ 2147483647 w 714"/>
                <a:gd name="T77" fmla="*/ 2147483647 h 1200"/>
                <a:gd name="T78" fmla="*/ 2147483647 w 714"/>
                <a:gd name="T79" fmla="*/ 0 h 1200"/>
                <a:gd name="T80" fmla="*/ 2147483647 w 714"/>
                <a:gd name="T81" fmla="*/ 2147483647 h 1200"/>
                <a:gd name="T82" fmla="*/ 2147483647 w 714"/>
                <a:gd name="T83" fmla="*/ 2147483647 h 1200"/>
                <a:gd name="T84" fmla="*/ 2147483647 w 714"/>
                <a:gd name="T85" fmla="*/ 2147483647 h 1200"/>
                <a:gd name="T86" fmla="*/ 2147483647 w 714"/>
                <a:gd name="T87" fmla="*/ 2147483647 h 1200"/>
                <a:gd name="T88" fmla="*/ 2147483647 w 714"/>
                <a:gd name="T89" fmla="*/ 2147483647 h 1200"/>
                <a:gd name="T90" fmla="*/ 2147483647 w 714"/>
                <a:gd name="T91" fmla="*/ 2147483647 h 1200"/>
                <a:gd name="T92" fmla="*/ 2147483647 w 714"/>
                <a:gd name="T93" fmla="*/ 2147483647 h 1200"/>
                <a:gd name="T94" fmla="*/ 2147483647 w 714"/>
                <a:gd name="T95" fmla="*/ 2147483647 h 1200"/>
                <a:gd name="T96" fmla="*/ 2147483647 w 714"/>
                <a:gd name="T97" fmla="*/ 2147483647 h 1200"/>
                <a:gd name="T98" fmla="*/ 2147483647 w 714"/>
                <a:gd name="T99" fmla="*/ 2147483647 h 1200"/>
                <a:gd name="T100" fmla="*/ 2147483647 w 714"/>
                <a:gd name="T101" fmla="*/ 2147483647 h 1200"/>
                <a:gd name="T102" fmla="*/ 2147483647 w 714"/>
                <a:gd name="T103" fmla="*/ 2147483647 h 1200"/>
                <a:gd name="T104" fmla="*/ 2147483647 w 714"/>
                <a:gd name="T105" fmla="*/ 2147483647 h 1200"/>
                <a:gd name="T106" fmla="*/ 2147483647 w 714"/>
                <a:gd name="T107" fmla="*/ 2147483647 h 1200"/>
                <a:gd name="T108" fmla="*/ 2147483647 w 714"/>
                <a:gd name="T109" fmla="*/ 2147483647 h 1200"/>
                <a:gd name="T110" fmla="*/ 2147483647 w 714"/>
                <a:gd name="T111" fmla="*/ 2147483647 h 1200"/>
                <a:gd name="T112" fmla="*/ 2147483647 w 714"/>
                <a:gd name="T113" fmla="*/ 2147483647 h 1200"/>
                <a:gd name="T114" fmla="*/ 2147483647 w 714"/>
                <a:gd name="T115" fmla="*/ 2147483647 h 1200"/>
                <a:gd name="T116" fmla="*/ 2147483647 w 714"/>
                <a:gd name="T117" fmla="*/ 2147483647 h 120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14"/>
                <a:gd name="T178" fmla="*/ 0 h 1200"/>
                <a:gd name="T179" fmla="*/ 714 w 714"/>
                <a:gd name="T180" fmla="*/ 1200 h 120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14" h="1200">
                  <a:moveTo>
                    <a:pt x="702" y="1140"/>
                  </a:moveTo>
                  <a:lnTo>
                    <a:pt x="690" y="1170"/>
                  </a:lnTo>
                  <a:lnTo>
                    <a:pt x="696" y="1200"/>
                  </a:lnTo>
                  <a:lnTo>
                    <a:pt x="714" y="1182"/>
                  </a:lnTo>
                  <a:lnTo>
                    <a:pt x="714" y="1140"/>
                  </a:lnTo>
                  <a:lnTo>
                    <a:pt x="702" y="1140"/>
                  </a:lnTo>
                  <a:close/>
                  <a:moveTo>
                    <a:pt x="582" y="1176"/>
                  </a:moveTo>
                  <a:lnTo>
                    <a:pt x="600" y="1140"/>
                  </a:lnTo>
                  <a:lnTo>
                    <a:pt x="576" y="1134"/>
                  </a:lnTo>
                  <a:lnTo>
                    <a:pt x="582" y="1176"/>
                  </a:lnTo>
                  <a:close/>
                  <a:moveTo>
                    <a:pt x="246" y="1038"/>
                  </a:moveTo>
                  <a:lnTo>
                    <a:pt x="264" y="1050"/>
                  </a:lnTo>
                  <a:lnTo>
                    <a:pt x="282" y="1020"/>
                  </a:lnTo>
                  <a:lnTo>
                    <a:pt x="258" y="1008"/>
                  </a:lnTo>
                  <a:lnTo>
                    <a:pt x="246" y="1038"/>
                  </a:lnTo>
                  <a:close/>
                  <a:moveTo>
                    <a:pt x="504" y="558"/>
                  </a:moveTo>
                  <a:lnTo>
                    <a:pt x="540" y="576"/>
                  </a:lnTo>
                  <a:lnTo>
                    <a:pt x="540" y="582"/>
                  </a:lnTo>
                  <a:lnTo>
                    <a:pt x="534" y="588"/>
                  </a:lnTo>
                  <a:lnTo>
                    <a:pt x="504" y="588"/>
                  </a:lnTo>
                  <a:lnTo>
                    <a:pt x="570" y="642"/>
                  </a:lnTo>
                  <a:lnTo>
                    <a:pt x="570" y="618"/>
                  </a:lnTo>
                  <a:lnTo>
                    <a:pt x="600" y="624"/>
                  </a:lnTo>
                  <a:lnTo>
                    <a:pt x="576" y="588"/>
                  </a:lnTo>
                  <a:lnTo>
                    <a:pt x="576" y="582"/>
                  </a:lnTo>
                  <a:lnTo>
                    <a:pt x="570" y="576"/>
                  </a:lnTo>
                  <a:lnTo>
                    <a:pt x="570" y="558"/>
                  </a:lnTo>
                  <a:lnTo>
                    <a:pt x="564" y="546"/>
                  </a:lnTo>
                  <a:lnTo>
                    <a:pt x="534" y="516"/>
                  </a:lnTo>
                  <a:lnTo>
                    <a:pt x="522" y="510"/>
                  </a:lnTo>
                  <a:lnTo>
                    <a:pt x="504" y="504"/>
                  </a:lnTo>
                  <a:lnTo>
                    <a:pt x="492" y="498"/>
                  </a:lnTo>
                  <a:lnTo>
                    <a:pt x="474" y="498"/>
                  </a:lnTo>
                  <a:lnTo>
                    <a:pt x="468" y="504"/>
                  </a:lnTo>
                  <a:lnTo>
                    <a:pt x="468" y="528"/>
                  </a:lnTo>
                  <a:lnTo>
                    <a:pt x="492" y="552"/>
                  </a:lnTo>
                  <a:lnTo>
                    <a:pt x="504" y="558"/>
                  </a:lnTo>
                  <a:close/>
                  <a:moveTo>
                    <a:pt x="462" y="666"/>
                  </a:moveTo>
                  <a:lnTo>
                    <a:pt x="474" y="750"/>
                  </a:lnTo>
                  <a:lnTo>
                    <a:pt x="486" y="672"/>
                  </a:lnTo>
                  <a:lnTo>
                    <a:pt x="462" y="618"/>
                  </a:lnTo>
                  <a:lnTo>
                    <a:pt x="438" y="618"/>
                  </a:lnTo>
                  <a:lnTo>
                    <a:pt x="462" y="666"/>
                  </a:lnTo>
                  <a:close/>
                  <a:moveTo>
                    <a:pt x="492" y="738"/>
                  </a:moveTo>
                  <a:lnTo>
                    <a:pt x="522" y="738"/>
                  </a:lnTo>
                  <a:lnTo>
                    <a:pt x="528" y="708"/>
                  </a:lnTo>
                  <a:lnTo>
                    <a:pt x="498" y="702"/>
                  </a:lnTo>
                  <a:lnTo>
                    <a:pt x="492" y="738"/>
                  </a:lnTo>
                  <a:close/>
                  <a:moveTo>
                    <a:pt x="570" y="660"/>
                  </a:moveTo>
                  <a:lnTo>
                    <a:pt x="546" y="648"/>
                  </a:lnTo>
                  <a:lnTo>
                    <a:pt x="528" y="630"/>
                  </a:lnTo>
                  <a:lnTo>
                    <a:pt x="528" y="624"/>
                  </a:lnTo>
                  <a:lnTo>
                    <a:pt x="522" y="618"/>
                  </a:lnTo>
                  <a:lnTo>
                    <a:pt x="486" y="618"/>
                  </a:lnTo>
                  <a:lnTo>
                    <a:pt x="492" y="660"/>
                  </a:lnTo>
                  <a:lnTo>
                    <a:pt x="510" y="654"/>
                  </a:lnTo>
                  <a:lnTo>
                    <a:pt x="522" y="678"/>
                  </a:lnTo>
                  <a:lnTo>
                    <a:pt x="570" y="714"/>
                  </a:lnTo>
                  <a:lnTo>
                    <a:pt x="570" y="660"/>
                  </a:lnTo>
                  <a:close/>
                  <a:moveTo>
                    <a:pt x="162" y="600"/>
                  </a:moveTo>
                  <a:lnTo>
                    <a:pt x="144" y="582"/>
                  </a:lnTo>
                  <a:lnTo>
                    <a:pt x="138" y="606"/>
                  </a:lnTo>
                  <a:lnTo>
                    <a:pt x="132" y="618"/>
                  </a:lnTo>
                  <a:lnTo>
                    <a:pt x="126" y="624"/>
                  </a:lnTo>
                  <a:lnTo>
                    <a:pt x="120" y="642"/>
                  </a:lnTo>
                  <a:lnTo>
                    <a:pt x="120" y="654"/>
                  </a:lnTo>
                  <a:lnTo>
                    <a:pt x="126" y="660"/>
                  </a:lnTo>
                  <a:lnTo>
                    <a:pt x="138" y="666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20" y="696"/>
                  </a:lnTo>
                  <a:lnTo>
                    <a:pt x="114" y="702"/>
                  </a:lnTo>
                  <a:lnTo>
                    <a:pt x="102" y="708"/>
                  </a:lnTo>
                  <a:lnTo>
                    <a:pt x="96" y="732"/>
                  </a:lnTo>
                  <a:lnTo>
                    <a:pt x="72" y="750"/>
                  </a:lnTo>
                  <a:lnTo>
                    <a:pt x="72" y="762"/>
                  </a:lnTo>
                  <a:lnTo>
                    <a:pt x="60" y="774"/>
                  </a:lnTo>
                  <a:lnTo>
                    <a:pt x="48" y="780"/>
                  </a:lnTo>
                  <a:lnTo>
                    <a:pt x="42" y="786"/>
                  </a:lnTo>
                  <a:lnTo>
                    <a:pt x="30" y="792"/>
                  </a:lnTo>
                  <a:lnTo>
                    <a:pt x="24" y="798"/>
                  </a:lnTo>
                  <a:lnTo>
                    <a:pt x="18" y="798"/>
                  </a:lnTo>
                  <a:lnTo>
                    <a:pt x="18" y="804"/>
                  </a:lnTo>
                  <a:lnTo>
                    <a:pt x="12" y="810"/>
                  </a:lnTo>
                  <a:lnTo>
                    <a:pt x="0" y="834"/>
                  </a:lnTo>
                  <a:lnTo>
                    <a:pt x="0" y="864"/>
                  </a:lnTo>
                  <a:lnTo>
                    <a:pt x="30" y="834"/>
                  </a:lnTo>
                  <a:lnTo>
                    <a:pt x="30" y="816"/>
                  </a:lnTo>
                  <a:lnTo>
                    <a:pt x="36" y="810"/>
                  </a:lnTo>
                  <a:lnTo>
                    <a:pt x="42" y="810"/>
                  </a:lnTo>
                  <a:lnTo>
                    <a:pt x="78" y="798"/>
                  </a:lnTo>
                  <a:lnTo>
                    <a:pt x="84" y="792"/>
                  </a:lnTo>
                  <a:lnTo>
                    <a:pt x="84" y="762"/>
                  </a:lnTo>
                  <a:lnTo>
                    <a:pt x="90" y="750"/>
                  </a:lnTo>
                  <a:lnTo>
                    <a:pt x="96" y="744"/>
                  </a:lnTo>
                  <a:lnTo>
                    <a:pt x="114" y="738"/>
                  </a:lnTo>
                  <a:lnTo>
                    <a:pt x="126" y="732"/>
                  </a:lnTo>
                  <a:lnTo>
                    <a:pt x="144" y="720"/>
                  </a:lnTo>
                  <a:lnTo>
                    <a:pt x="162" y="714"/>
                  </a:lnTo>
                  <a:lnTo>
                    <a:pt x="168" y="702"/>
                  </a:lnTo>
                  <a:lnTo>
                    <a:pt x="174" y="696"/>
                  </a:lnTo>
                  <a:lnTo>
                    <a:pt x="174" y="684"/>
                  </a:lnTo>
                  <a:lnTo>
                    <a:pt x="156" y="648"/>
                  </a:lnTo>
                  <a:lnTo>
                    <a:pt x="156" y="624"/>
                  </a:lnTo>
                  <a:lnTo>
                    <a:pt x="162" y="612"/>
                  </a:lnTo>
                  <a:lnTo>
                    <a:pt x="162" y="600"/>
                  </a:lnTo>
                  <a:close/>
                  <a:moveTo>
                    <a:pt x="330" y="1026"/>
                  </a:moveTo>
                  <a:lnTo>
                    <a:pt x="372" y="1056"/>
                  </a:lnTo>
                  <a:lnTo>
                    <a:pt x="372" y="1020"/>
                  </a:lnTo>
                  <a:lnTo>
                    <a:pt x="348" y="1002"/>
                  </a:lnTo>
                  <a:lnTo>
                    <a:pt x="330" y="1026"/>
                  </a:lnTo>
                  <a:close/>
                  <a:moveTo>
                    <a:pt x="660" y="840"/>
                  </a:moveTo>
                  <a:lnTo>
                    <a:pt x="660" y="816"/>
                  </a:lnTo>
                  <a:lnTo>
                    <a:pt x="654" y="804"/>
                  </a:lnTo>
                  <a:lnTo>
                    <a:pt x="654" y="792"/>
                  </a:lnTo>
                  <a:lnTo>
                    <a:pt x="642" y="780"/>
                  </a:lnTo>
                  <a:lnTo>
                    <a:pt x="630" y="774"/>
                  </a:lnTo>
                  <a:lnTo>
                    <a:pt x="600" y="744"/>
                  </a:lnTo>
                  <a:lnTo>
                    <a:pt x="588" y="738"/>
                  </a:lnTo>
                  <a:lnTo>
                    <a:pt x="582" y="738"/>
                  </a:lnTo>
                  <a:lnTo>
                    <a:pt x="576" y="744"/>
                  </a:lnTo>
                  <a:lnTo>
                    <a:pt x="582" y="750"/>
                  </a:lnTo>
                  <a:lnTo>
                    <a:pt x="588" y="762"/>
                  </a:lnTo>
                  <a:lnTo>
                    <a:pt x="594" y="768"/>
                  </a:lnTo>
                  <a:lnTo>
                    <a:pt x="606" y="774"/>
                  </a:lnTo>
                  <a:lnTo>
                    <a:pt x="606" y="786"/>
                  </a:lnTo>
                  <a:lnTo>
                    <a:pt x="600" y="786"/>
                  </a:lnTo>
                  <a:lnTo>
                    <a:pt x="588" y="792"/>
                  </a:lnTo>
                  <a:lnTo>
                    <a:pt x="570" y="792"/>
                  </a:lnTo>
                  <a:lnTo>
                    <a:pt x="558" y="798"/>
                  </a:lnTo>
                  <a:lnTo>
                    <a:pt x="546" y="798"/>
                  </a:lnTo>
                  <a:lnTo>
                    <a:pt x="546" y="828"/>
                  </a:lnTo>
                  <a:lnTo>
                    <a:pt x="528" y="828"/>
                  </a:lnTo>
                  <a:lnTo>
                    <a:pt x="522" y="846"/>
                  </a:lnTo>
                  <a:lnTo>
                    <a:pt x="498" y="864"/>
                  </a:lnTo>
                  <a:lnTo>
                    <a:pt x="492" y="864"/>
                  </a:lnTo>
                  <a:lnTo>
                    <a:pt x="486" y="858"/>
                  </a:lnTo>
                  <a:lnTo>
                    <a:pt x="474" y="852"/>
                  </a:lnTo>
                  <a:lnTo>
                    <a:pt x="462" y="852"/>
                  </a:lnTo>
                  <a:lnTo>
                    <a:pt x="450" y="846"/>
                  </a:lnTo>
                  <a:lnTo>
                    <a:pt x="438" y="858"/>
                  </a:lnTo>
                  <a:lnTo>
                    <a:pt x="432" y="870"/>
                  </a:lnTo>
                  <a:lnTo>
                    <a:pt x="420" y="882"/>
                  </a:lnTo>
                  <a:lnTo>
                    <a:pt x="414" y="894"/>
                  </a:lnTo>
                  <a:lnTo>
                    <a:pt x="408" y="900"/>
                  </a:lnTo>
                  <a:lnTo>
                    <a:pt x="408" y="906"/>
                  </a:lnTo>
                  <a:lnTo>
                    <a:pt x="408" y="900"/>
                  </a:lnTo>
                  <a:lnTo>
                    <a:pt x="396" y="888"/>
                  </a:lnTo>
                  <a:lnTo>
                    <a:pt x="384" y="888"/>
                  </a:lnTo>
                  <a:lnTo>
                    <a:pt x="378" y="900"/>
                  </a:lnTo>
                  <a:lnTo>
                    <a:pt x="378" y="912"/>
                  </a:lnTo>
                  <a:lnTo>
                    <a:pt x="372" y="924"/>
                  </a:lnTo>
                  <a:lnTo>
                    <a:pt x="366" y="930"/>
                  </a:lnTo>
                  <a:lnTo>
                    <a:pt x="360" y="942"/>
                  </a:lnTo>
                  <a:lnTo>
                    <a:pt x="384" y="960"/>
                  </a:lnTo>
                  <a:lnTo>
                    <a:pt x="402" y="942"/>
                  </a:lnTo>
                  <a:lnTo>
                    <a:pt x="414" y="966"/>
                  </a:lnTo>
                  <a:lnTo>
                    <a:pt x="420" y="960"/>
                  </a:lnTo>
                  <a:lnTo>
                    <a:pt x="432" y="954"/>
                  </a:lnTo>
                  <a:lnTo>
                    <a:pt x="450" y="936"/>
                  </a:lnTo>
                  <a:lnTo>
                    <a:pt x="462" y="930"/>
                  </a:lnTo>
                  <a:lnTo>
                    <a:pt x="474" y="930"/>
                  </a:lnTo>
                  <a:lnTo>
                    <a:pt x="498" y="954"/>
                  </a:lnTo>
                  <a:lnTo>
                    <a:pt x="510" y="960"/>
                  </a:lnTo>
                  <a:lnTo>
                    <a:pt x="492" y="978"/>
                  </a:lnTo>
                  <a:lnTo>
                    <a:pt x="492" y="990"/>
                  </a:lnTo>
                  <a:lnTo>
                    <a:pt x="510" y="1026"/>
                  </a:lnTo>
                  <a:lnTo>
                    <a:pt x="522" y="1044"/>
                  </a:lnTo>
                  <a:lnTo>
                    <a:pt x="534" y="1056"/>
                  </a:lnTo>
                  <a:lnTo>
                    <a:pt x="546" y="1062"/>
                  </a:lnTo>
                  <a:lnTo>
                    <a:pt x="558" y="1062"/>
                  </a:lnTo>
                  <a:lnTo>
                    <a:pt x="570" y="1068"/>
                  </a:lnTo>
                  <a:lnTo>
                    <a:pt x="582" y="1068"/>
                  </a:lnTo>
                  <a:lnTo>
                    <a:pt x="606" y="1050"/>
                  </a:lnTo>
                  <a:lnTo>
                    <a:pt x="606" y="1074"/>
                  </a:lnTo>
                  <a:lnTo>
                    <a:pt x="630" y="1074"/>
                  </a:lnTo>
                  <a:lnTo>
                    <a:pt x="630" y="1038"/>
                  </a:lnTo>
                  <a:lnTo>
                    <a:pt x="624" y="1032"/>
                  </a:lnTo>
                  <a:lnTo>
                    <a:pt x="606" y="996"/>
                  </a:lnTo>
                  <a:lnTo>
                    <a:pt x="606" y="984"/>
                  </a:lnTo>
                  <a:lnTo>
                    <a:pt x="612" y="972"/>
                  </a:lnTo>
                  <a:lnTo>
                    <a:pt x="624" y="960"/>
                  </a:lnTo>
                  <a:lnTo>
                    <a:pt x="654" y="1014"/>
                  </a:lnTo>
                  <a:lnTo>
                    <a:pt x="654" y="1008"/>
                  </a:lnTo>
                  <a:lnTo>
                    <a:pt x="660" y="1002"/>
                  </a:lnTo>
                  <a:lnTo>
                    <a:pt x="672" y="978"/>
                  </a:lnTo>
                  <a:lnTo>
                    <a:pt x="678" y="960"/>
                  </a:lnTo>
                  <a:lnTo>
                    <a:pt x="678" y="936"/>
                  </a:lnTo>
                  <a:lnTo>
                    <a:pt x="672" y="918"/>
                  </a:lnTo>
                  <a:lnTo>
                    <a:pt x="666" y="912"/>
                  </a:lnTo>
                  <a:lnTo>
                    <a:pt x="660" y="900"/>
                  </a:lnTo>
                  <a:lnTo>
                    <a:pt x="660" y="840"/>
                  </a:lnTo>
                  <a:close/>
                  <a:moveTo>
                    <a:pt x="330" y="384"/>
                  </a:moveTo>
                  <a:lnTo>
                    <a:pt x="348" y="384"/>
                  </a:lnTo>
                  <a:lnTo>
                    <a:pt x="354" y="390"/>
                  </a:lnTo>
                  <a:lnTo>
                    <a:pt x="366" y="396"/>
                  </a:lnTo>
                  <a:lnTo>
                    <a:pt x="366" y="408"/>
                  </a:lnTo>
                  <a:lnTo>
                    <a:pt x="372" y="420"/>
                  </a:lnTo>
                  <a:lnTo>
                    <a:pt x="384" y="438"/>
                  </a:lnTo>
                  <a:lnTo>
                    <a:pt x="396" y="450"/>
                  </a:lnTo>
                  <a:lnTo>
                    <a:pt x="414" y="462"/>
                  </a:lnTo>
                  <a:lnTo>
                    <a:pt x="432" y="462"/>
                  </a:lnTo>
                  <a:lnTo>
                    <a:pt x="444" y="438"/>
                  </a:lnTo>
                  <a:lnTo>
                    <a:pt x="444" y="426"/>
                  </a:lnTo>
                  <a:lnTo>
                    <a:pt x="432" y="402"/>
                  </a:lnTo>
                  <a:lnTo>
                    <a:pt x="420" y="396"/>
                  </a:lnTo>
                  <a:lnTo>
                    <a:pt x="408" y="396"/>
                  </a:lnTo>
                  <a:lnTo>
                    <a:pt x="408" y="390"/>
                  </a:lnTo>
                  <a:lnTo>
                    <a:pt x="414" y="384"/>
                  </a:lnTo>
                  <a:lnTo>
                    <a:pt x="414" y="378"/>
                  </a:lnTo>
                  <a:lnTo>
                    <a:pt x="420" y="372"/>
                  </a:lnTo>
                  <a:lnTo>
                    <a:pt x="408" y="372"/>
                  </a:lnTo>
                  <a:lnTo>
                    <a:pt x="396" y="366"/>
                  </a:lnTo>
                  <a:lnTo>
                    <a:pt x="390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42" y="360"/>
                  </a:lnTo>
                  <a:lnTo>
                    <a:pt x="330" y="354"/>
                  </a:lnTo>
                  <a:lnTo>
                    <a:pt x="312" y="354"/>
                  </a:lnTo>
                  <a:lnTo>
                    <a:pt x="300" y="366"/>
                  </a:lnTo>
                  <a:lnTo>
                    <a:pt x="288" y="372"/>
                  </a:lnTo>
                  <a:lnTo>
                    <a:pt x="282" y="372"/>
                  </a:lnTo>
                  <a:lnTo>
                    <a:pt x="264" y="354"/>
                  </a:lnTo>
                  <a:lnTo>
                    <a:pt x="258" y="342"/>
                  </a:lnTo>
                  <a:lnTo>
                    <a:pt x="258" y="252"/>
                  </a:lnTo>
                  <a:lnTo>
                    <a:pt x="270" y="22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74"/>
                  </a:lnTo>
                  <a:lnTo>
                    <a:pt x="276" y="150"/>
                  </a:lnTo>
                  <a:lnTo>
                    <a:pt x="276" y="126"/>
                  </a:lnTo>
                  <a:lnTo>
                    <a:pt x="282" y="108"/>
                  </a:lnTo>
                  <a:lnTo>
                    <a:pt x="282" y="72"/>
                  </a:lnTo>
                  <a:lnTo>
                    <a:pt x="264" y="54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24"/>
                  </a:lnTo>
                  <a:lnTo>
                    <a:pt x="192" y="18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62" y="36"/>
                  </a:lnTo>
                  <a:lnTo>
                    <a:pt x="156" y="42"/>
                  </a:lnTo>
                  <a:lnTo>
                    <a:pt x="156" y="48"/>
                  </a:lnTo>
                  <a:lnTo>
                    <a:pt x="144" y="72"/>
                  </a:lnTo>
                  <a:lnTo>
                    <a:pt x="132" y="84"/>
                  </a:lnTo>
                  <a:lnTo>
                    <a:pt x="132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56" y="150"/>
                  </a:lnTo>
                  <a:lnTo>
                    <a:pt x="150" y="162"/>
                  </a:lnTo>
                  <a:lnTo>
                    <a:pt x="150" y="168"/>
                  </a:lnTo>
                  <a:lnTo>
                    <a:pt x="144" y="174"/>
                  </a:lnTo>
                  <a:lnTo>
                    <a:pt x="138" y="186"/>
                  </a:lnTo>
                  <a:lnTo>
                    <a:pt x="138" y="198"/>
                  </a:lnTo>
                  <a:lnTo>
                    <a:pt x="150" y="210"/>
                  </a:lnTo>
                  <a:lnTo>
                    <a:pt x="150" y="216"/>
                  </a:lnTo>
                  <a:lnTo>
                    <a:pt x="144" y="222"/>
                  </a:lnTo>
                  <a:lnTo>
                    <a:pt x="138" y="222"/>
                  </a:lnTo>
                  <a:lnTo>
                    <a:pt x="126" y="228"/>
                  </a:lnTo>
                  <a:lnTo>
                    <a:pt x="120" y="228"/>
                  </a:lnTo>
                  <a:lnTo>
                    <a:pt x="120" y="210"/>
                  </a:lnTo>
                  <a:lnTo>
                    <a:pt x="114" y="204"/>
                  </a:lnTo>
                  <a:lnTo>
                    <a:pt x="114" y="252"/>
                  </a:lnTo>
                  <a:lnTo>
                    <a:pt x="150" y="306"/>
                  </a:lnTo>
                  <a:lnTo>
                    <a:pt x="174" y="330"/>
                  </a:lnTo>
                  <a:lnTo>
                    <a:pt x="186" y="348"/>
                  </a:lnTo>
                  <a:lnTo>
                    <a:pt x="204" y="384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52" y="408"/>
                  </a:lnTo>
                  <a:lnTo>
                    <a:pt x="258" y="396"/>
                  </a:lnTo>
                  <a:lnTo>
                    <a:pt x="270" y="390"/>
                  </a:lnTo>
                  <a:lnTo>
                    <a:pt x="276" y="384"/>
                  </a:lnTo>
                  <a:lnTo>
                    <a:pt x="288" y="384"/>
                  </a:lnTo>
                  <a:lnTo>
                    <a:pt x="294" y="396"/>
                  </a:lnTo>
                  <a:lnTo>
                    <a:pt x="306" y="402"/>
                  </a:lnTo>
                  <a:lnTo>
                    <a:pt x="324" y="420"/>
                  </a:lnTo>
                  <a:lnTo>
                    <a:pt x="342" y="420"/>
                  </a:lnTo>
                  <a:lnTo>
                    <a:pt x="342" y="402"/>
                  </a:lnTo>
                  <a:lnTo>
                    <a:pt x="336" y="396"/>
                  </a:lnTo>
                  <a:lnTo>
                    <a:pt x="330" y="384"/>
                  </a:lnTo>
                  <a:close/>
                  <a:moveTo>
                    <a:pt x="258" y="432"/>
                  </a:moveTo>
                  <a:lnTo>
                    <a:pt x="246" y="426"/>
                  </a:lnTo>
                  <a:lnTo>
                    <a:pt x="204" y="426"/>
                  </a:lnTo>
                  <a:lnTo>
                    <a:pt x="234" y="468"/>
                  </a:lnTo>
                  <a:lnTo>
                    <a:pt x="258" y="534"/>
                  </a:lnTo>
                  <a:lnTo>
                    <a:pt x="270" y="528"/>
                  </a:lnTo>
                  <a:lnTo>
                    <a:pt x="276" y="516"/>
                  </a:lnTo>
                  <a:lnTo>
                    <a:pt x="282" y="510"/>
                  </a:lnTo>
                  <a:lnTo>
                    <a:pt x="282" y="486"/>
                  </a:lnTo>
                  <a:lnTo>
                    <a:pt x="276" y="480"/>
                  </a:lnTo>
                  <a:lnTo>
                    <a:pt x="270" y="468"/>
                  </a:lnTo>
                  <a:lnTo>
                    <a:pt x="270" y="450"/>
                  </a:lnTo>
                  <a:lnTo>
                    <a:pt x="264" y="438"/>
                  </a:lnTo>
                  <a:lnTo>
                    <a:pt x="258" y="432"/>
                  </a:lnTo>
                  <a:close/>
                  <a:moveTo>
                    <a:pt x="330" y="648"/>
                  </a:moveTo>
                  <a:lnTo>
                    <a:pt x="336" y="660"/>
                  </a:lnTo>
                  <a:lnTo>
                    <a:pt x="354" y="678"/>
                  </a:lnTo>
                  <a:lnTo>
                    <a:pt x="360" y="672"/>
                  </a:lnTo>
                  <a:lnTo>
                    <a:pt x="372" y="666"/>
                  </a:lnTo>
                  <a:lnTo>
                    <a:pt x="378" y="660"/>
                  </a:lnTo>
                  <a:lnTo>
                    <a:pt x="384" y="660"/>
                  </a:lnTo>
                  <a:lnTo>
                    <a:pt x="390" y="666"/>
                  </a:lnTo>
                  <a:lnTo>
                    <a:pt x="390" y="696"/>
                  </a:lnTo>
                  <a:lnTo>
                    <a:pt x="402" y="708"/>
                  </a:lnTo>
                  <a:lnTo>
                    <a:pt x="396" y="720"/>
                  </a:lnTo>
                  <a:lnTo>
                    <a:pt x="390" y="726"/>
                  </a:lnTo>
                  <a:lnTo>
                    <a:pt x="372" y="762"/>
                  </a:lnTo>
                  <a:lnTo>
                    <a:pt x="372" y="786"/>
                  </a:lnTo>
                  <a:lnTo>
                    <a:pt x="378" y="792"/>
                  </a:lnTo>
                  <a:lnTo>
                    <a:pt x="384" y="804"/>
                  </a:lnTo>
                  <a:lnTo>
                    <a:pt x="396" y="804"/>
                  </a:lnTo>
                  <a:lnTo>
                    <a:pt x="408" y="798"/>
                  </a:lnTo>
                  <a:lnTo>
                    <a:pt x="420" y="798"/>
                  </a:lnTo>
                  <a:lnTo>
                    <a:pt x="432" y="792"/>
                  </a:lnTo>
                  <a:lnTo>
                    <a:pt x="438" y="786"/>
                  </a:lnTo>
                  <a:lnTo>
                    <a:pt x="438" y="768"/>
                  </a:lnTo>
                  <a:lnTo>
                    <a:pt x="432" y="756"/>
                  </a:lnTo>
                  <a:lnTo>
                    <a:pt x="426" y="738"/>
                  </a:lnTo>
                  <a:lnTo>
                    <a:pt x="426" y="726"/>
                  </a:lnTo>
                  <a:lnTo>
                    <a:pt x="432" y="714"/>
                  </a:lnTo>
                  <a:lnTo>
                    <a:pt x="444" y="678"/>
                  </a:lnTo>
                  <a:lnTo>
                    <a:pt x="444" y="660"/>
                  </a:lnTo>
                  <a:lnTo>
                    <a:pt x="438" y="648"/>
                  </a:lnTo>
                  <a:lnTo>
                    <a:pt x="432" y="642"/>
                  </a:lnTo>
                  <a:lnTo>
                    <a:pt x="426" y="642"/>
                  </a:lnTo>
                  <a:lnTo>
                    <a:pt x="414" y="654"/>
                  </a:lnTo>
                  <a:lnTo>
                    <a:pt x="402" y="660"/>
                  </a:lnTo>
                  <a:lnTo>
                    <a:pt x="396" y="660"/>
                  </a:lnTo>
                  <a:lnTo>
                    <a:pt x="396" y="648"/>
                  </a:lnTo>
                  <a:lnTo>
                    <a:pt x="408" y="624"/>
                  </a:lnTo>
                  <a:lnTo>
                    <a:pt x="408" y="612"/>
                  </a:lnTo>
                  <a:lnTo>
                    <a:pt x="414" y="600"/>
                  </a:lnTo>
                  <a:lnTo>
                    <a:pt x="414" y="594"/>
                  </a:lnTo>
                  <a:lnTo>
                    <a:pt x="408" y="588"/>
                  </a:lnTo>
                  <a:lnTo>
                    <a:pt x="372" y="570"/>
                  </a:lnTo>
                  <a:lnTo>
                    <a:pt x="366" y="564"/>
                  </a:lnTo>
                  <a:lnTo>
                    <a:pt x="330" y="564"/>
                  </a:lnTo>
                  <a:lnTo>
                    <a:pt x="324" y="570"/>
                  </a:lnTo>
                  <a:lnTo>
                    <a:pt x="324" y="576"/>
                  </a:lnTo>
                  <a:lnTo>
                    <a:pt x="330" y="582"/>
                  </a:lnTo>
                  <a:lnTo>
                    <a:pt x="336" y="582"/>
                  </a:lnTo>
                  <a:lnTo>
                    <a:pt x="342" y="594"/>
                  </a:lnTo>
                  <a:lnTo>
                    <a:pt x="342" y="600"/>
                  </a:lnTo>
                  <a:lnTo>
                    <a:pt x="336" y="606"/>
                  </a:lnTo>
                  <a:lnTo>
                    <a:pt x="336" y="618"/>
                  </a:lnTo>
                  <a:lnTo>
                    <a:pt x="330" y="630"/>
                  </a:lnTo>
                  <a:lnTo>
                    <a:pt x="330" y="64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67" name="Peru" descr="© INSCALE GmbH, 05.05.2010&#10;http://www.presentationload.com/"/>
            <p:cNvSpPr>
              <a:spLocks/>
            </p:cNvSpPr>
            <p:nvPr/>
          </p:nvSpPr>
          <p:spPr bwMode="gray">
            <a:xfrm>
              <a:off x="2589493" y="4303795"/>
              <a:ext cx="305882" cy="461745"/>
            </a:xfrm>
            <a:custGeom>
              <a:avLst/>
              <a:gdLst>
                <a:gd name="T0" fmla="*/ 2147483647 w 942"/>
                <a:gd name="T1" fmla="*/ 2147483647 h 1488"/>
                <a:gd name="T2" fmla="*/ 2147483647 w 942"/>
                <a:gd name="T3" fmla="*/ 2147483647 h 1488"/>
                <a:gd name="T4" fmla="*/ 2147483647 w 942"/>
                <a:gd name="T5" fmla="*/ 2147483647 h 1488"/>
                <a:gd name="T6" fmla="*/ 2147483647 w 942"/>
                <a:gd name="T7" fmla="*/ 2147483647 h 1488"/>
                <a:gd name="T8" fmla="*/ 2147483647 w 942"/>
                <a:gd name="T9" fmla="*/ 2147483647 h 1488"/>
                <a:gd name="T10" fmla="*/ 2147483647 w 942"/>
                <a:gd name="T11" fmla="*/ 2147483647 h 1488"/>
                <a:gd name="T12" fmla="*/ 2147483647 w 942"/>
                <a:gd name="T13" fmla="*/ 2147483647 h 1488"/>
                <a:gd name="T14" fmla="*/ 2147483647 w 942"/>
                <a:gd name="T15" fmla="*/ 2147483647 h 1488"/>
                <a:gd name="T16" fmla="*/ 2147483647 w 942"/>
                <a:gd name="T17" fmla="*/ 2147483647 h 1488"/>
                <a:gd name="T18" fmla="*/ 2147483647 w 942"/>
                <a:gd name="T19" fmla="*/ 2147483647 h 1488"/>
                <a:gd name="T20" fmla="*/ 2147483647 w 942"/>
                <a:gd name="T21" fmla="*/ 2147483647 h 1488"/>
                <a:gd name="T22" fmla="*/ 2147483647 w 942"/>
                <a:gd name="T23" fmla="*/ 2147483647 h 1488"/>
                <a:gd name="T24" fmla="*/ 2147483647 w 942"/>
                <a:gd name="T25" fmla="*/ 2147483647 h 1488"/>
                <a:gd name="T26" fmla="*/ 2147483647 w 942"/>
                <a:gd name="T27" fmla="*/ 2147483647 h 1488"/>
                <a:gd name="T28" fmla="*/ 2147483647 w 942"/>
                <a:gd name="T29" fmla="*/ 2147483647 h 1488"/>
                <a:gd name="T30" fmla="*/ 2147483647 w 942"/>
                <a:gd name="T31" fmla="*/ 2147483647 h 1488"/>
                <a:gd name="T32" fmla="*/ 2147483647 w 942"/>
                <a:gd name="T33" fmla="*/ 2147483647 h 1488"/>
                <a:gd name="T34" fmla="*/ 2147483647 w 942"/>
                <a:gd name="T35" fmla="*/ 2147483647 h 1488"/>
                <a:gd name="T36" fmla="*/ 2147483647 w 942"/>
                <a:gd name="T37" fmla="*/ 2147483647 h 1488"/>
                <a:gd name="T38" fmla="*/ 2147483647 w 942"/>
                <a:gd name="T39" fmla="*/ 2147483647 h 1488"/>
                <a:gd name="T40" fmla="*/ 2147483647 w 942"/>
                <a:gd name="T41" fmla="*/ 2147483647 h 1488"/>
                <a:gd name="T42" fmla="*/ 2147483647 w 942"/>
                <a:gd name="T43" fmla="*/ 2147483647 h 1488"/>
                <a:gd name="T44" fmla="*/ 2147483647 w 942"/>
                <a:gd name="T45" fmla="*/ 2147483647 h 1488"/>
                <a:gd name="T46" fmla="*/ 2147483647 w 942"/>
                <a:gd name="T47" fmla="*/ 2147483647 h 1488"/>
                <a:gd name="T48" fmla="*/ 2147483647 w 942"/>
                <a:gd name="T49" fmla="*/ 2147483647 h 1488"/>
                <a:gd name="T50" fmla="*/ 2147483647 w 942"/>
                <a:gd name="T51" fmla="*/ 2147483647 h 1488"/>
                <a:gd name="T52" fmla="*/ 2147483647 w 942"/>
                <a:gd name="T53" fmla="*/ 2147483647 h 1488"/>
                <a:gd name="T54" fmla="*/ 2147483647 w 942"/>
                <a:gd name="T55" fmla="*/ 2147483647 h 1488"/>
                <a:gd name="T56" fmla="*/ 2147483647 w 942"/>
                <a:gd name="T57" fmla="*/ 2147483647 h 1488"/>
                <a:gd name="T58" fmla="*/ 2147483647 w 942"/>
                <a:gd name="T59" fmla="*/ 2147483647 h 1488"/>
                <a:gd name="T60" fmla="*/ 2147483647 w 942"/>
                <a:gd name="T61" fmla="*/ 2147483647 h 1488"/>
                <a:gd name="T62" fmla="*/ 2147483647 w 942"/>
                <a:gd name="T63" fmla="*/ 0 h 1488"/>
                <a:gd name="T64" fmla="*/ 2147483647 w 942"/>
                <a:gd name="T65" fmla="*/ 2147483647 h 1488"/>
                <a:gd name="T66" fmla="*/ 2147483647 w 942"/>
                <a:gd name="T67" fmla="*/ 2147483647 h 1488"/>
                <a:gd name="T68" fmla="*/ 2147483647 w 942"/>
                <a:gd name="T69" fmla="*/ 2147483647 h 1488"/>
                <a:gd name="T70" fmla="*/ 2147483647 w 942"/>
                <a:gd name="T71" fmla="*/ 2147483647 h 1488"/>
                <a:gd name="T72" fmla="*/ 2147483647 w 942"/>
                <a:gd name="T73" fmla="*/ 2147483647 h 1488"/>
                <a:gd name="T74" fmla="*/ 2147483647 w 942"/>
                <a:gd name="T75" fmla="*/ 2147483647 h 1488"/>
                <a:gd name="T76" fmla="*/ 2147483647 w 942"/>
                <a:gd name="T77" fmla="*/ 2147483647 h 1488"/>
                <a:gd name="T78" fmla="*/ 2147483647 w 942"/>
                <a:gd name="T79" fmla="*/ 2147483647 h 1488"/>
                <a:gd name="T80" fmla="*/ 2147483647 w 942"/>
                <a:gd name="T81" fmla="*/ 2147483647 h 1488"/>
                <a:gd name="T82" fmla="*/ 2147483647 w 942"/>
                <a:gd name="T83" fmla="*/ 2147483647 h 1488"/>
                <a:gd name="T84" fmla="*/ 0 w 942"/>
                <a:gd name="T85" fmla="*/ 2147483647 h 1488"/>
                <a:gd name="T86" fmla="*/ 2147483647 w 942"/>
                <a:gd name="T87" fmla="*/ 2147483647 h 1488"/>
                <a:gd name="T88" fmla="*/ 2147483647 w 942"/>
                <a:gd name="T89" fmla="*/ 2147483647 h 1488"/>
                <a:gd name="T90" fmla="*/ 2147483647 w 942"/>
                <a:gd name="T91" fmla="*/ 2147483647 h 1488"/>
                <a:gd name="T92" fmla="*/ 2147483647 w 942"/>
                <a:gd name="T93" fmla="*/ 2147483647 h 1488"/>
                <a:gd name="T94" fmla="*/ 2147483647 w 942"/>
                <a:gd name="T95" fmla="*/ 2147483647 h 1488"/>
                <a:gd name="T96" fmla="*/ 2147483647 w 942"/>
                <a:gd name="T97" fmla="*/ 2147483647 h 1488"/>
                <a:gd name="T98" fmla="*/ 2147483647 w 942"/>
                <a:gd name="T99" fmla="*/ 2147483647 h 1488"/>
                <a:gd name="T100" fmla="*/ 2147483647 w 942"/>
                <a:gd name="T101" fmla="*/ 2147483647 h 1488"/>
                <a:gd name="T102" fmla="*/ 2147483647 w 942"/>
                <a:gd name="T103" fmla="*/ 2147483647 h 1488"/>
                <a:gd name="T104" fmla="*/ 2147483647 w 942"/>
                <a:gd name="T105" fmla="*/ 2147483647 h 1488"/>
                <a:gd name="T106" fmla="*/ 2147483647 w 942"/>
                <a:gd name="T107" fmla="*/ 2147483647 h 1488"/>
                <a:gd name="T108" fmla="*/ 2147483647 w 942"/>
                <a:gd name="T109" fmla="*/ 2147483647 h 1488"/>
                <a:gd name="T110" fmla="*/ 2147483647 w 942"/>
                <a:gd name="T111" fmla="*/ 2147483647 h 1488"/>
                <a:gd name="T112" fmla="*/ 2147483647 w 942"/>
                <a:gd name="T113" fmla="*/ 2147483647 h 1488"/>
                <a:gd name="T114" fmla="*/ 2147483647 w 942"/>
                <a:gd name="T115" fmla="*/ 2147483647 h 1488"/>
                <a:gd name="T116" fmla="*/ 2147483647 w 942"/>
                <a:gd name="T117" fmla="*/ 2147483647 h 1488"/>
                <a:gd name="T118" fmla="*/ 2147483647 w 942"/>
                <a:gd name="T119" fmla="*/ 2147483647 h 1488"/>
                <a:gd name="T120" fmla="*/ 2147483647 w 942"/>
                <a:gd name="T121" fmla="*/ 2147483647 h 14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42"/>
                <a:gd name="T184" fmla="*/ 0 h 1488"/>
                <a:gd name="T185" fmla="*/ 942 w 942"/>
                <a:gd name="T186" fmla="*/ 1488 h 14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42" h="1488">
                  <a:moveTo>
                    <a:pt x="930" y="1320"/>
                  </a:moveTo>
                  <a:lnTo>
                    <a:pt x="924" y="1314"/>
                  </a:lnTo>
                  <a:lnTo>
                    <a:pt x="912" y="1308"/>
                  </a:lnTo>
                  <a:lnTo>
                    <a:pt x="888" y="1284"/>
                  </a:lnTo>
                  <a:lnTo>
                    <a:pt x="864" y="1284"/>
                  </a:lnTo>
                  <a:lnTo>
                    <a:pt x="858" y="1278"/>
                  </a:lnTo>
                  <a:lnTo>
                    <a:pt x="870" y="1260"/>
                  </a:lnTo>
                  <a:lnTo>
                    <a:pt x="870" y="1230"/>
                  </a:lnTo>
                  <a:lnTo>
                    <a:pt x="882" y="1230"/>
                  </a:lnTo>
                  <a:lnTo>
                    <a:pt x="906" y="1254"/>
                  </a:lnTo>
                  <a:lnTo>
                    <a:pt x="918" y="1236"/>
                  </a:lnTo>
                  <a:lnTo>
                    <a:pt x="918" y="1230"/>
                  </a:lnTo>
                  <a:lnTo>
                    <a:pt x="912" y="1224"/>
                  </a:lnTo>
                  <a:lnTo>
                    <a:pt x="906" y="1212"/>
                  </a:lnTo>
                  <a:lnTo>
                    <a:pt x="900" y="1194"/>
                  </a:lnTo>
                  <a:lnTo>
                    <a:pt x="912" y="1170"/>
                  </a:lnTo>
                  <a:lnTo>
                    <a:pt x="924" y="1158"/>
                  </a:lnTo>
                  <a:lnTo>
                    <a:pt x="930" y="1146"/>
                  </a:lnTo>
                  <a:lnTo>
                    <a:pt x="930" y="1140"/>
                  </a:lnTo>
                  <a:lnTo>
                    <a:pt x="924" y="1128"/>
                  </a:lnTo>
                  <a:lnTo>
                    <a:pt x="912" y="1116"/>
                  </a:lnTo>
                  <a:lnTo>
                    <a:pt x="906" y="1116"/>
                  </a:lnTo>
                  <a:lnTo>
                    <a:pt x="924" y="1086"/>
                  </a:lnTo>
                  <a:lnTo>
                    <a:pt x="912" y="1038"/>
                  </a:lnTo>
                  <a:lnTo>
                    <a:pt x="918" y="1032"/>
                  </a:lnTo>
                  <a:lnTo>
                    <a:pt x="924" y="1020"/>
                  </a:lnTo>
                  <a:lnTo>
                    <a:pt x="930" y="1014"/>
                  </a:lnTo>
                  <a:lnTo>
                    <a:pt x="930" y="1002"/>
                  </a:lnTo>
                  <a:lnTo>
                    <a:pt x="918" y="978"/>
                  </a:lnTo>
                  <a:lnTo>
                    <a:pt x="906" y="960"/>
                  </a:lnTo>
                  <a:lnTo>
                    <a:pt x="894" y="948"/>
                  </a:lnTo>
                  <a:lnTo>
                    <a:pt x="882" y="930"/>
                  </a:lnTo>
                  <a:lnTo>
                    <a:pt x="870" y="918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28" y="882"/>
                  </a:lnTo>
                  <a:lnTo>
                    <a:pt x="822" y="888"/>
                  </a:lnTo>
                  <a:lnTo>
                    <a:pt x="816" y="888"/>
                  </a:lnTo>
                  <a:lnTo>
                    <a:pt x="816" y="894"/>
                  </a:lnTo>
                  <a:lnTo>
                    <a:pt x="804" y="894"/>
                  </a:lnTo>
                  <a:lnTo>
                    <a:pt x="798" y="888"/>
                  </a:lnTo>
                  <a:lnTo>
                    <a:pt x="798" y="882"/>
                  </a:lnTo>
                  <a:lnTo>
                    <a:pt x="786" y="888"/>
                  </a:lnTo>
                  <a:lnTo>
                    <a:pt x="786" y="858"/>
                  </a:lnTo>
                  <a:lnTo>
                    <a:pt x="780" y="840"/>
                  </a:lnTo>
                  <a:lnTo>
                    <a:pt x="780" y="828"/>
                  </a:lnTo>
                  <a:lnTo>
                    <a:pt x="786" y="816"/>
                  </a:lnTo>
                  <a:lnTo>
                    <a:pt x="786" y="804"/>
                  </a:lnTo>
                  <a:lnTo>
                    <a:pt x="792" y="798"/>
                  </a:lnTo>
                  <a:lnTo>
                    <a:pt x="792" y="780"/>
                  </a:lnTo>
                  <a:lnTo>
                    <a:pt x="786" y="768"/>
                  </a:lnTo>
                  <a:lnTo>
                    <a:pt x="786" y="756"/>
                  </a:lnTo>
                  <a:lnTo>
                    <a:pt x="732" y="804"/>
                  </a:lnTo>
                  <a:lnTo>
                    <a:pt x="672" y="810"/>
                  </a:lnTo>
                  <a:lnTo>
                    <a:pt x="672" y="804"/>
                  </a:lnTo>
                  <a:lnTo>
                    <a:pt x="666" y="798"/>
                  </a:lnTo>
                  <a:lnTo>
                    <a:pt x="660" y="786"/>
                  </a:lnTo>
                  <a:lnTo>
                    <a:pt x="660" y="774"/>
                  </a:lnTo>
                  <a:lnTo>
                    <a:pt x="654" y="768"/>
                  </a:lnTo>
                  <a:lnTo>
                    <a:pt x="648" y="768"/>
                  </a:lnTo>
                  <a:lnTo>
                    <a:pt x="636" y="762"/>
                  </a:lnTo>
                  <a:lnTo>
                    <a:pt x="594" y="762"/>
                  </a:lnTo>
                  <a:lnTo>
                    <a:pt x="600" y="756"/>
                  </a:lnTo>
                  <a:lnTo>
                    <a:pt x="612" y="750"/>
                  </a:lnTo>
                  <a:lnTo>
                    <a:pt x="618" y="738"/>
                  </a:lnTo>
                  <a:lnTo>
                    <a:pt x="624" y="732"/>
                  </a:lnTo>
                  <a:lnTo>
                    <a:pt x="600" y="708"/>
                  </a:lnTo>
                  <a:lnTo>
                    <a:pt x="588" y="702"/>
                  </a:lnTo>
                  <a:lnTo>
                    <a:pt x="576" y="690"/>
                  </a:lnTo>
                  <a:lnTo>
                    <a:pt x="564" y="666"/>
                  </a:lnTo>
                  <a:lnTo>
                    <a:pt x="558" y="660"/>
                  </a:lnTo>
                  <a:lnTo>
                    <a:pt x="558" y="654"/>
                  </a:lnTo>
                  <a:lnTo>
                    <a:pt x="552" y="630"/>
                  </a:lnTo>
                  <a:lnTo>
                    <a:pt x="540" y="624"/>
                  </a:lnTo>
                  <a:lnTo>
                    <a:pt x="534" y="618"/>
                  </a:lnTo>
                  <a:lnTo>
                    <a:pt x="534" y="606"/>
                  </a:lnTo>
                  <a:lnTo>
                    <a:pt x="540" y="600"/>
                  </a:lnTo>
                  <a:lnTo>
                    <a:pt x="552" y="594"/>
                  </a:lnTo>
                  <a:lnTo>
                    <a:pt x="546" y="588"/>
                  </a:lnTo>
                  <a:lnTo>
                    <a:pt x="546" y="564"/>
                  </a:lnTo>
                  <a:lnTo>
                    <a:pt x="552" y="552"/>
                  </a:lnTo>
                  <a:lnTo>
                    <a:pt x="582" y="522"/>
                  </a:lnTo>
                  <a:lnTo>
                    <a:pt x="588" y="528"/>
                  </a:lnTo>
                  <a:lnTo>
                    <a:pt x="594" y="528"/>
                  </a:lnTo>
                  <a:lnTo>
                    <a:pt x="588" y="522"/>
                  </a:lnTo>
                  <a:lnTo>
                    <a:pt x="588" y="504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0" y="414"/>
                  </a:lnTo>
                  <a:lnTo>
                    <a:pt x="624" y="414"/>
                  </a:lnTo>
                  <a:lnTo>
                    <a:pt x="624" y="408"/>
                  </a:lnTo>
                  <a:lnTo>
                    <a:pt x="630" y="402"/>
                  </a:lnTo>
                  <a:lnTo>
                    <a:pt x="630" y="396"/>
                  </a:lnTo>
                  <a:lnTo>
                    <a:pt x="642" y="384"/>
                  </a:lnTo>
                  <a:lnTo>
                    <a:pt x="654" y="378"/>
                  </a:lnTo>
                  <a:lnTo>
                    <a:pt x="660" y="372"/>
                  </a:lnTo>
                  <a:lnTo>
                    <a:pt x="672" y="366"/>
                  </a:lnTo>
                  <a:lnTo>
                    <a:pt x="702" y="366"/>
                  </a:lnTo>
                  <a:lnTo>
                    <a:pt x="708" y="354"/>
                  </a:lnTo>
                  <a:lnTo>
                    <a:pt x="738" y="360"/>
                  </a:lnTo>
                  <a:lnTo>
                    <a:pt x="744" y="354"/>
                  </a:lnTo>
                  <a:lnTo>
                    <a:pt x="750" y="342"/>
                  </a:lnTo>
                  <a:lnTo>
                    <a:pt x="756" y="336"/>
                  </a:lnTo>
                  <a:lnTo>
                    <a:pt x="774" y="336"/>
                  </a:lnTo>
                  <a:lnTo>
                    <a:pt x="786" y="348"/>
                  </a:lnTo>
                  <a:lnTo>
                    <a:pt x="786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798" y="330"/>
                  </a:lnTo>
                  <a:lnTo>
                    <a:pt x="786" y="312"/>
                  </a:lnTo>
                  <a:lnTo>
                    <a:pt x="768" y="312"/>
                  </a:lnTo>
                  <a:lnTo>
                    <a:pt x="762" y="306"/>
                  </a:lnTo>
                  <a:lnTo>
                    <a:pt x="762" y="288"/>
                  </a:lnTo>
                  <a:lnTo>
                    <a:pt x="774" y="264"/>
                  </a:lnTo>
                  <a:lnTo>
                    <a:pt x="774" y="258"/>
                  </a:lnTo>
                  <a:lnTo>
                    <a:pt x="780" y="252"/>
                  </a:lnTo>
                  <a:lnTo>
                    <a:pt x="786" y="252"/>
                  </a:lnTo>
                  <a:lnTo>
                    <a:pt x="792" y="246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792" y="210"/>
                  </a:lnTo>
                  <a:lnTo>
                    <a:pt x="780" y="204"/>
                  </a:lnTo>
                  <a:lnTo>
                    <a:pt x="756" y="204"/>
                  </a:lnTo>
                  <a:lnTo>
                    <a:pt x="750" y="198"/>
                  </a:lnTo>
                  <a:lnTo>
                    <a:pt x="744" y="186"/>
                  </a:lnTo>
                  <a:lnTo>
                    <a:pt x="744" y="180"/>
                  </a:lnTo>
                  <a:lnTo>
                    <a:pt x="732" y="180"/>
                  </a:lnTo>
                  <a:lnTo>
                    <a:pt x="726" y="186"/>
                  </a:lnTo>
                  <a:lnTo>
                    <a:pt x="714" y="192"/>
                  </a:lnTo>
                  <a:lnTo>
                    <a:pt x="702" y="192"/>
                  </a:lnTo>
                  <a:lnTo>
                    <a:pt x="696" y="186"/>
                  </a:lnTo>
                  <a:lnTo>
                    <a:pt x="690" y="186"/>
                  </a:lnTo>
                  <a:lnTo>
                    <a:pt x="684" y="180"/>
                  </a:lnTo>
                  <a:lnTo>
                    <a:pt x="660" y="180"/>
                  </a:lnTo>
                  <a:lnTo>
                    <a:pt x="648" y="192"/>
                  </a:lnTo>
                  <a:lnTo>
                    <a:pt x="648" y="204"/>
                  </a:lnTo>
                  <a:lnTo>
                    <a:pt x="612" y="204"/>
                  </a:lnTo>
                  <a:lnTo>
                    <a:pt x="588" y="198"/>
                  </a:lnTo>
                  <a:lnTo>
                    <a:pt x="576" y="192"/>
                  </a:lnTo>
                  <a:lnTo>
                    <a:pt x="576" y="168"/>
                  </a:lnTo>
                  <a:lnTo>
                    <a:pt x="582" y="162"/>
                  </a:lnTo>
                  <a:lnTo>
                    <a:pt x="582" y="156"/>
                  </a:lnTo>
                  <a:lnTo>
                    <a:pt x="576" y="150"/>
                  </a:lnTo>
                  <a:lnTo>
                    <a:pt x="564" y="144"/>
                  </a:lnTo>
                  <a:lnTo>
                    <a:pt x="552" y="144"/>
                  </a:lnTo>
                  <a:lnTo>
                    <a:pt x="552" y="138"/>
                  </a:lnTo>
                  <a:lnTo>
                    <a:pt x="546" y="132"/>
                  </a:lnTo>
                  <a:lnTo>
                    <a:pt x="546" y="108"/>
                  </a:lnTo>
                  <a:lnTo>
                    <a:pt x="540" y="102"/>
                  </a:lnTo>
                  <a:lnTo>
                    <a:pt x="528" y="102"/>
                  </a:lnTo>
                  <a:lnTo>
                    <a:pt x="516" y="84"/>
                  </a:lnTo>
                  <a:lnTo>
                    <a:pt x="498" y="84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68" y="36"/>
                  </a:lnTo>
                  <a:lnTo>
                    <a:pt x="450" y="18"/>
                  </a:lnTo>
                  <a:lnTo>
                    <a:pt x="438" y="12"/>
                  </a:lnTo>
                  <a:lnTo>
                    <a:pt x="426" y="0"/>
                  </a:lnTo>
                  <a:lnTo>
                    <a:pt x="396" y="0"/>
                  </a:lnTo>
                  <a:lnTo>
                    <a:pt x="414" y="0"/>
                  </a:lnTo>
                  <a:lnTo>
                    <a:pt x="414" y="24"/>
                  </a:lnTo>
                  <a:lnTo>
                    <a:pt x="408" y="24"/>
                  </a:lnTo>
                  <a:lnTo>
                    <a:pt x="408" y="30"/>
                  </a:lnTo>
                  <a:lnTo>
                    <a:pt x="402" y="30"/>
                  </a:lnTo>
                  <a:lnTo>
                    <a:pt x="426" y="48"/>
                  </a:lnTo>
                  <a:lnTo>
                    <a:pt x="426" y="78"/>
                  </a:lnTo>
                  <a:lnTo>
                    <a:pt x="414" y="84"/>
                  </a:lnTo>
                  <a:lnTo>
                    <a:pt x="402" y="126"/>
                  </a:lnTo>
                  <a:lnTo>
                    <a:pt x="396" y="138"/>
                  </a:lnTo>
                  <a:lnTo>
                    <a:pt x="384" y="150"/>
                  </a:lnTo>
                  <a:lnTo>
                    <a:pt x="378" y="162"/>
                  </a:lnTo>
                  <a:lnTo>
                    <a:pt x="366" y="174"/>
                  </a:lnTo>
                  <a:lnTo>
                    <a:pt x="354" y="192"/>
                  </a:lnTo>
                  <a:lnTo>
                    <a:pt x="336" y="204"/>
                  </a:lnTo>
                  <a:lnTo>
                    <a:pt x="276" y="234"/>
                  </a:lnTo>
                  <a:lnTo>
                    <a:pt x="258" y="240"/>
                  </a:lnTo>
                  <a:lnTo>
                    <a:pt x="240" y="252"/>
                  </a:lnTo>
                  <a:lnTo>
                    <a:pt x="222" y="270"/>
                  </a:lnTo>
                  <a:lnTo>
                    <a:pt x="222" y="276"/>
                  </a:lnTo>
                  <a:lnTo>
                    <a:pt x="210" y="282"/>
                  </a:lnTo>
                  <a:lnTo>
                    <a:pt x="210" y="300"/>
                  </a:lnTo>
                  <a:lnTo>
                    <a:pt x="198" y="312"/>
                  </a:lnTo>
                  <a:lnTo>
                    <a:pt x="198" y="336"/>
                  </a:lnTo>
                  <a:lnTo>
                    <a:pt x="192" y="348"/>
                  </a:lnTo>
                  <a:lnTo>
                    <a:pt x="192" y="378"/>
                  </a:lnTo>
                  <a:lnTo>
                    <a:pt x="174" y="378"/>
                  </a:lnTo>
                  <a:lnTo>
                    <a:pt x="168" y="384"/>
                  </a:lnTo>
                  <a:lnTo>
                    <a:pt x="168" y="390"/>
                  </a:lnTo>
                  <a:lnTo>
                    <a:pt x="162" y="396"/>
                  </a:lnTo>
                  <a:lnTo>
                    <a:pt x="162" y="402"/>
                  </a:lnTo>
                  <a:lnTo>
                    <a:pt x="144" y="402"/>
                  </a:lnTo>
                  <a:lnTo>
                    <a:pt x="138" y="390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02" y="360"/>
                  </a:lnTo>
                  <a:lnTo>
                    <a:pt x="90" y="348"/>
                  </a:lnTo>
                  <a:lnTo>
                    <a:pt x="78" y="360"/>
                  </a:lnTo>
                  <a:lnTo>
                    <a:pt x="66" y="366"/>
                  </a:lnTo>
                  <a:lnTo>
                    <a:pt x="60" y="366"/>
                  </a:lnTo>
                  <a:lnTo>
                    <a:pt x="54" y="360"/>
                  </a:lnTo>
                  <a:lnTo>
                    <a:pt x="66" y="348"/>
                  </a:lnTo>
                  <a:lnTo>
                    <a:pt x="54" y="336"/>
                  </a:lnTo>
                  <a:lnTo>
                    <a:pt x="60" y="330"/>
                  </a:lnTo>
                  <a:lnTo>
                    <a:pt x="66" y="318"/>
                  </a:lnTo>
                  <a:lnTo>
                    <a:pt x="78" y="312"/>
                  </a:lnTo>
                  <a:lnTo>
                    <a:pt x="84" y="300"/>
                  </a:lnTo>
                  <a:lnTo>
                    <a:pt x="90" y="294"/>
                  </a:lnTo>
                  <a:lnTo>
                    <a:pt x="90" y="288"/>
                  </a:lnTo>
                  <a:lnTo>
                    <a:pt x="84" y="288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6" y="342"/>
                  </a:lnTo>
                  <a:lnTo>
                    <a:pt x="0" y="354"/>
                  </a:lnTo>
                  <a:lnTo>
                    <a:pt x="0" y="390"/>
                  </a:lnTo>
                  <a:lnTo>
                    <a:pt x="6" y="396"/>
                  </a:lnTo>
                  <a:lnTo>
                    <a:pt x="18" y="396"/>
                  </a:lnTo>
                  <a:lnTo>
                    <a:pt x="12" y="420"/>
                  </a:lnTo>
                  <a:lnTo>
                    <a:pt x="36" y="444"/>
                  </a:lnTo>
                  <a:lnTo>
                    <a:pt x="36" y="462"/>
                  </a:lnTo>
                  <a:lnTo>
                    <a:pt x="12" y="486"/>
                  </a:lnTo>
                  <a:lnTo>
                    <a:pt x="12" y="492"/>
                  </a:lnTo>
                  <a:lnTo>
                    <a:pt x="18" y="504"/>
                  </a:lnTo>
                  <a:lnTo>
                    <a:pt x="24" y="510"/>
                  </a:lnTo>
                  <a:lnTo>
                    <a:pt x="36" y="516"/>
                  </a:lnTo>
                  <a:lnTo>
                    <a:pt x="54" y="522"/>
                  </a:lnTo>
                  <a:lnTo>
                    <a:pt x="66" y="522"/>
                  </a:lnTo>
                  <a:lnTo>
                    <a:pt x="108" y="564"/>
                  </a:lnTo>
                  <a:lnTo>
                    <a:pt x="114" y="576"/>
                  </a:lnTo>
                  <a:lnTo>
                    <a:pt x="132" y="594"/>
                  </a:lnTo>
                  <a:lnTo>
                    <a:pt x="138" y="612"/>
                  </a:lnTo>
                  <a:lnTo>
                    <a:pt x="144" y="624"/>
                  </a:lnTo>
                  <a:lnTo>
                    <a:pt x="144" y="642"/>
                  </a:lnTo>
                  <a:lnTo>
                    <a:pt x="150" y="648"/>
                  </a:lnTo>
                  <a:lnTo>
                    <a:pt x="156" y="660"/>
                  </a:lnTo>
                  <a:lnTo>
                    <a:pt x="168" y="666"/>
                  </a:lnTo>
                  <a:lnTo>
                    <a:pt x="174" y="678"/>
                  </a:lnTo>
                  <a:lnTo>
                    <a:pt x="192" y="696"/>
                  </a:lnTo>
                  <a:lnTo>
                    <a:pt x="204" y="720"/>
                  </a:lnTo>
                  <a:lnTo>
                    <a:pt x="216" y="732"/>
                  </a:lnTo>
                  <a:lnTo>
                    <a:pt x="222" y="744"/>
                  </a:lnTo>
                  <a:lnTo>
                    <a:pt x="234" y="762"/>
                  </a:lnTo>
                  <a:lnTo>
                    <a:pt x="240" y="768"/>
                  </a:lnTo>
                  <a:lnTo>
                    <a:pt x="246" y="780"/>
                  </a:lnTo>
                  <a:lnTo>
                    <a:pt x="252" y="822"/>
                  </a:lnTo>
                  <a:lnTo>
                    <a:pt x="252" y="828"/>
                  </a:lnTo>
                  <a:lnTo>
                    <a:pt x="258" y="834"/>
                  </a:lnTo>
                  <a:lnTo>
                    <a:pt x="264" y="846"/>
                  </a:lnTo>
                  <a:lnTo>
                    <a:pt x="270" y="864"/>
                  </a:lnTo>
                  <a:lnTo>
                    <a:pt x="282" y="876"/>
                  </a:lnTo>
                  <a:lnTo>
                    <a:pt x="288" y="894"/>
                  </a:lnTo>
                  <a:lnTo>
                    <a:pt x="294" y="906"/>
                  </a:lnTo>
                  <a:lnTo>
                    <a:pt x="294" y="918"/>
                  </a:lnTo>
                  <a:lnTo>
                    <a:pt x="300" y="924"/>
                  </a:lnTo>
                  <a:lnTo>
                    <a:pt x="312" y="924"/>
                  </a:lnTo>
                  <a:lnTo>
                    <a:pt x="324" y="936"/>
                  </a:lnTo>
                  <a:lnTo>
                    <a:pt x="324" y="948"/>
                  </a:lnTo>
                  <a:lnTo>
                    <a:pt x="330" y="954"/>
                  </a:lnTo>
                  <a:lnTo>
                    <a:pt x="330" y="966"/>
                  </a:lnTo>
                  <a:lnTo>
                    <a:pt x="336" y="984"/>
                  </a:lnTo>
                  <a:lnTo>
                    <a:pt x="360" y="1014"/>
                  </a:lnTo>
                  <a:lnTo>
                    <a:pt x="378" y="1050"/>
                  </a:lnTo>
                  <a:lnTo>
                    <a:pt x="396" y="1074"/>
                  </a:lnTo>
                  <a:lnTo>
                    <a:pt x="402" y="1086"/>
                  </a:lnTo>
                  <a:lnTo>
                    <a:pt x="408" y="1104"/>
                  </a:lnTo>
                  <a:lnTo>
                    <a:pt x="408" y="1116"/>
                  </a:lnTo>
                  <a:lnTo>
                    <a:pt x="402" y="1128"/>
                  </a:lnTo>
                  <a:lnTo>
                    <a:pt x="402" y="1146"/>
                  </a:lnTo>
                  <a:lnTo>
                    <a:pt x="414" y="1158"/>
                  </a:lnTo>
                  <a:lnTo>
                    <a:pt x="420" y="1170"/>
                  </a:lnTo>
                  <a:lnTo>
                    <a:pt x="444" y="1194"/>
                  </a:lnTo>
                  <a:lnTo>
                    <a:pt x="456" y="1200"/>
                  </a:lnTo>
                  <a:lnTo>
                    <a:pt x="468" y="1212"/>
                  </a:lnTo>
                  <a:lnTo>
                    <a:pt x="474" y="1224"/>
                  </a:lnTo>
                  <a:lnTo>
                    <a:pt x="498" y="1248"/>
                  </a:lnTo>
                  <a:lnTo>
                    <a:pt x="516" y="1260"/>
                  </a:lnTo>
                  <a:lnTo>
                    <a:pt x="546" y="1278"/>
                  </a:lnTo>
                  <a:lnTo>
                    <a:pt x="576" y="1290"/>
                  </a:lnTo>
                  <a:lnTo>
                    <a:pt x="600" y="1302"/>
                  </a:lnTo>
                  <a:lnTo>
                    <a:pt x="642" y="1320"/>
                  </a:lnTo>
                  <a:lnTo>
                    <a:pt x="696" y="1350"/>
                  </a:lnTo>
                  <a:lnTo>
                    <a:pt x="708" y="1362"/>
                  </a:lnTo>
                  <a:lnTo>
                    <a:pt x="726" y="1374"/>
                  </a:lnTo>
                  <a:lnTo>
                    <a:pt x="738" y="1380"/>
                  </a:lnTo>
                  <a:lnTo>
                    <a:pt x="750" y="1392"/>
                  </a:lnTo>
                  <a:lnTo>
                    <a:pt x="774" y="1404"/>
                  </a:lnTo>
                  <a:lnTo>
                    <a:pt x="780" y="1428"/>
                  </a:lnTo>
                  <a:lnTo>
                    <a:pt x="792" y="1434"/>
                  </a:lnTo>
                  <a:lnTo>
                    <a:pt x="798" y="1446"/>
                  </a:lnTo>
                  <a:lnTo>
                    <a:pt x="810" y="1452"/>
                  </a:lnTo>
                  <a:lnTo>
                    <a:pt x="816" y="1458"/>
                  </a:lnTo>
                  <a:lnTo>
                    <a:pt x="840" y="1470"/>
                  </a:lnTo>
                  <a:lnTo>
                    <a:pt x="846" y="1482"/>
                  </a:lnTo>
                  <a:lnTo>
                    <a:pt x="858" y="1488"/>
                  </a:lnTo>
                  <a:lnTo>
                    <a:pt x="894" y="1464"/>
                  </a:lnTo>
                  <a:lnTo>
                    <a:pt x="900" y="1458"/>
                  </a:lnTo>
                  <a:lnTo>
                    <a:pt x="900" y="1440"/>
                  </a:lnTo>
                  <a:lnTo>
                    <a:pt x="894" y="1428"/>
                  </a:lnTo>
                  <a:lnTo>
                    <a:pt x="912" y="1416"/>
                  </a:lnTo>
                  <a:lnTo>
                    <a:pt x="900" y="1392"/>
                  </a:lnTo>
                  <a:lnTo>
                    <a:pt x="918" y="1374"/>
                  </a:lnTo>
                  <a:lnTo>
                    <a:pt x="930" y="1368"/>
                  </a:lnTo>
                  <a:lnTo>
                    <a:pt x="942" y="1344"/>
                  </a:lnTo>
                  <a:lnTo>
                    <a:pt x="942" y="1332"/>
                  </a:lnTo>
                  <a:lnTo>
                    <a:pt x="930" y="132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68" name="Paraguay" descr="© INSCALE GmbH, 05.05.2010&#10;http://www.presentationload.com/"/>
            <p:cNvSpPr>
              <a:spLocks/>
            </p:cNvSpPr>
            <p:nvPr/>
          </p:nvSpPr>
          <p:spPr bwMode="gray">
            <a:xfrm>
              <a:off x="3056635" y="4786362"/>
              <a:ext cx="194535" cy="210664"/>
            </a:xfrm>
            <a:custGeom>
              <a:avLst/>
              <a:gdLst>
                <a:gd name="T0" fmla="*/ 2147483647 w 600"/>
                <a:gd name="T1" fmla="*/ 2147483647 h 678"/>
                <a:gd name="T2" fmla="*/ 2147483647 w 600"/>
                <a:gd name="T3" fmla="*/ 2147483647 h 678"/>
                <a:gd name="T4" fmla="*/ 2147483647 w 600"/>
                <a:gd name="T5" fmla="*/ 2147483647 h 678"/>
                <a:gd name="T6" fmla="*/ 2147483647 w 600"/>
                <a:gd name="T7" fmla="*/ 2147483647 h 678"/>
                <a:gd name="T8" fmla="*/ 2147483647 w 600"/>
                <a:gd name="T9" fmla="*/ 2147483647 h 678"/>
                <a:gd name="T10" fmla="*/ 2147483647 w 600"/>
                <a:gd name="T11" fmla="*/ 2147483647 h 678"/>
                <a:gd name="T12" fmla="*/ 2147483647 w 600"/>
                <a:gd name="T13" fmla="*/ 2147483647 h 678"/>
                <a:gd name="T14" fmla="*/ 2147483647 w 600"/>
                <a:gd name="T15" fmla="*/ 2147483647 h 678"/>
                <a:gd name="T16" fmla="*/ 2147483647 w 600"/>
                <a:gd name="T17" fmla="*/ 2147483647 h 678"/>
                <a:gd name="T18" fmla="*/ 2147483647 w 600"/>
                <a:gd name="T19" fmla="*/ 2147483647 h 678"/>
                <a:gd name="T20" fmla="*/ 2147483647 w 600"/>
                <a:gd name="T21" fmla="*/ 2147483647 h 678"/>
                <a:gd name="T22" fmla="*/ 2147483647 w 600"/>
                <a:gd name="T23" fmla="*/ 2147483647 h 678"/>
                <a:gd name="T24" fmla="*/ 2147483647 w 600"/>
                <a:gd name="T25" fmla="*/ 2147483647 h 678"/>
                <a:gd name="T26" fmla="*/ 2147483647 w 600"/>
                <a:gd name="T27" fmla="*/ 2147483647 h 678"/>
                <a:gd name="T28" fmla="*/ 2147483647 w 600"/>
                <a:gd name="T29" fmla="*/ 2147483647 h 678"/>
                <a:gd name="T30" fmla="*/ 2147483647 w 600"/>
                <a:gd name="T31" fmla="*/ 2147483647 h 678"/>
                <a:gd name="T32" fmla="*/ 2147483647 w 600"/>
                <a:gd name="T33" fmla="*/ 2147483647 h 678"/>
                <a:gd name="T34" fmla="*/ 2147483647 w 600"/>
                <a:gd name="T35" fmla="*/ 2147483647 h 678"/>
                <a:gd name="T36" fmla="*/ 2147483647 w 600"/>
                <a:gd name="T37" fmla="*/ 2147483647 h 678"/>
                <a:gd name="T38" fmla="*/ 2147483647 w 600"/>
                <a:gd name="T39" fmla="*/ 2147483647 h 678"/>
                <a:gd name="T40" fmla="*/ 2147483647 w 600"/>
                <a:gd name="T41" fmla="*/ 2147483647 h 678"/>
                <a:gd name="T42" fmla="*/ 2147483647 w 600"/>
                <a:gd name="T43" fmla="*/ 2147483647 h 678"/>
                <a:gd name="T44" fmla="*/ 2147483647 w 600"/>
                <a:gd name="T45" fmla="*/ 2147483647 h 678"/>
                <a:gd name="T46" fmla="*/ 2147483647 w 600"/>
                <a:gd name="T47" fmla="*/ 2147483647 h 678"/>
                <a:gd name="T48" fmla="*/ 2147483647 w 600"/>
                <a:gd name="T49" fmla="*/ 2147483647 h 678"/>
                <a:gd name="T50" fmla="*/ 2147483647 w 600"/>
                <a:gd name="T51" fmla="*/ 2147483647 h 678"/>
                <a:gd name="T52" fmla="*/ 2147483647 w 600"/>
                <a:gd name="T53" fmla="*/ 0 h 678"/>
                <a:gd name="T54" fmla="*/ 2147483647 w 600"/>
                <a:gd name="T55" fmla="*/ 2147483647 h 678"/>
                <a:gd name="T56" fmla="*/ 2147483647 w 600"/>
                <a:gd name="T57" fmla="*/ 2147483647 h 678"/>
                <a:gd name="T58" fmla="*/ 0 w 600"/>
                <a:gd name="T59" fmla="*/ 2147483647 h 678"/>
                <a:gd name="T60" fmla="*/ 2147483647 w 600"/>
                <a:gd name="T61" fmla="*/ 2147483647 h 678"/>
                <a:gd name="T62" fmla="*/ 2147483647 w 600"/>
                <a:gd name="T63" fmla="*/ 2147483647 h 678"/>
                <a:gd name="T64" fmla="*/ 2147483647 w 600"/>
                <a:gd name="T65" fmla="*/ 2147483647 h 678"/>
                <a:gd name="T66" fmla="*/ 2147483647 w 600"/>
                <a:gd name="T67" fmla="*/ 2147483647 h 678"/>
                <a:gd name="T68" fmla="*/ 2147483647 w 600"/>
                <a:gd name="T69" fmla="*/ 2147483647 h 678"/>
                <a:gd name="T70" fmla="*/ 2147483647 w 600"/>
                <a:gd name="T71" fmla="*/ 2147483647 h 678"/>
                <a:gd name="T72" fmla="*/ 2147483647 w 600"/>
                <a:gd name="T73" fmla="*/ 2147483647 h 678"/>
                <a:gd name="T74" fmla="*/ 2147483647 w 600"/>
                <a:gd name="T75" fmla="*/ 2147483647 h 678"/>
                <a:gd name="T76" fmla="*/ 2147483647 w 600"/>
                <a:gd name="T77" fmla="*/ 2147483647 h 678"/>
                <a:gd name="T78" fmla="*/ 2147483647 w 600"/>
                <a:gd name="T79" fmla="*/ 2147483647 h 678"/>
                <a:gd name="T80" fmla="*/ 2147483647 w 600"/>
                <a:gd name="T81" fmla="*/ 2147483647 h 678"/>
                <a:gd name="T82" fmla="*/ 2147483647 w 600"/>
                <a:gd name="T83" fmla="*/ 2147483647 h 678"/>
                <a:gd name="T84" fmla="*/ 2147483647 w 600"/>
                <a:gd name="T85" fmla="*/ 2147483647 h 678"/>
                <a:gd name="T86" fmla="*/ 2147483647 w 600"/>
                <a:gd name="T87" fmla="*/ 2147483647 h 678"/>
                <a:gd name="T88" fmla="*/ 2147483647 w 600"/>
                <a:gd name="T89" fmla="*/ 2147483647 h 678"/>
                <a:gd name="T90" fmla="*/ 2147483647 w 600"/>
                <a:gd name="T91" fmla="*/ 2147483647 h 678"/>
                <a:gd name="T92" fmla="*/ 2147483647 w 600"/>
                <a:gd name="T93" fmla="*/ 2147483647 h 678"/>
                <a:gd name="T94" fmla="*/ 2147483647 w 600"/>
                <a:gd name="T95" fmla="*/ 2147483647 h 678"/>
                <a:gd name="T96" fmla="*/ 2147483647 w 600"/>
                <a:gd name="T97" fmla="*/ 2147483647 h 678"/>
                <a:gd name="T98" fmla="*/ 2147483647 w 600"/>
                <a:gd name="T99" fmla="*/ 2147483647 h 678"/>
                <a:gd name="T100" fmla="*/ 2147483647 w 600"/>
                <a:gd name="T101" fmla="*/ 2147483647 h 678"/>
                <a:gd name="T102" fmla="*/ 2147483647 w 600"/>
                <a:gd name="T103" fmla="*/ 2147483647 h 678"/>
                <a:gd name="T104" fmla="*/ 2147483647 w 600"/>
                <a:gd name="T105" fmla="*/ 2147483647 h 678"/>
                <a:gd name="T106" fmla="*/ 2147483647 w 600"/>
                <a:gd name="T107" fmla="*/ 2147483647 h 678"/>
                <a:gd name="T108" fmla="*/ 2147483647 w 600"/>
                <a:gd name="T109" fmla="*/ 2147483647 h 678"/>
                <a:gd name="T110" fmla="*/ 2147483647 w 600"/>
                <a:gd name="T111" fmla="*/ 2147483647 h 678"/>
                <a:gd name="T112" fmla="*/ 2147483647 w 600"/>
                <a:gd name="T113" fmla="*/ 2147483647 h 678"/>
                <a:gd name="T114" fmla="*/ 2147483647 w 600"/>
                <a:gd name="T115" fmla="*/ 2147483647 h 678"/>
                <a:gd name="T116" fmla="*/ 2147483647 w 600"/>
                <a:gd name="T117" fmla="*/ 2147483647 h 678"/>
                <a:gd name="T118" fmla="*/ 2147483647 w 600"/>
                <a:gd name="T119" fmla="*/ 2147483647 h 67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00"/>
                <a:gd name="T181" fmla="*/ 0 h 678"/>
                <a:gd name="T182" fmla="*/ 600 w 600"/>
                <a:gd name="T183" fmla="*/ 678 h 67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00" h="678">
                  <a:moveTo>
                    <a:pt x="480" y="660"/>
                  </a:moveTo>
                  <a:lnTo>
                    <a:pt x="492" y="678"/>
                  </a:lnTo>
                  <a:lnTo>
                    <a:pt x="492" y="660"/>
                  </a:lnTo>
                  <a:lnTo>
                    <a:pt x="498" y="654"/>
                  </a:lnTo>
                  <a:lnTo>
                    <a:pt x="510" y="654"/>
                  </a:lnTo>
                  <a:lnTo>
                    <a:pt x="516" y="660"/>
                  </a:lnTo>
                  <a:lnTo>
                    <a:pt x="516" y="666"/>
                  </a:lnTo>
                  <a:lnTo>
                    <a:pt x="522" y="660"/>
                  </a:lnTo>
                  <a:lnTo>
                    <a:pt x="534" y="636"/>
                  </a:lnTo>
                  <a:lnTo>
                    <a:pt x="546" y="624"/>
                  </a:lnTo>
                  <a:lnTo>
                    <a:pt x="552" y="624"/>
                  </a:lnTo>
                  <a:lnTo>
                    <a:pt x="558" y="618"/>
                  </a:lnTo>
                  <a:lnTo>
                    <a:pt x="570" y="612"/>
                  </a:lnTo>
                  <a:lnTo>
                    <a:pt x="576" y="600"/>
                  </a:lnTo>
                  <a:lnTo>
                    <a:pt x="588" y="594"/>
                  </a:lnTo>
                  <a:lnTo>
                    <a:pt x="588" y="516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588" y="474"/>
                  </a:lnTo>
                  <a:lnTo>
                    <a:pt x="588" y="468"/>
                  </a:lnTo>
                  <a:lnTo>
                    <a:pt x="594" y="462"/>
                  </a:lnTo>
                  <a:lnTo>
                    <a:pt x="594" y="432"/>
                  </a:lnTo>
                  <a:lnTo>
                    <a:pt x="600" y="414"/>
                  </a:lnTo>
                  <a:lnTo>
                    <a:pt x="600" y="396"/>
                  </a:lnTo>
                  <a:lnTo>
                    <a:pt x="594" y="384"/>
                  </a:lnTo>
                  <a:lnTo>
                    <a:pt x="582" y="372"/>
                  </a:lnTo>
                  <a:lnTo>
                    <a:pt x="570" y="366"/>
                  </a:lnTo>
                  <a:lnTo>
                    <a:pt x="558" y="366"/>
                  </a:lnTo>
                  <a:lnTo>
                    <a:pt x="540" y="384"/>
                  </a:lnTo>
                  <a:lnTo>
                    <a:pt x="528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504" y="336"/>
                  </a:lnTo>
                  <a:lnTo>
                    <a:pt x="498" y="318"/>
                  </a:lnTo>
                  <a:lnTo>
                    <a:pt x="498" y="294"/>
                  </a:lnTo>
                  <a:lnTo>
                    <a:pt x="492" y="276"/>
                  </a:lnTo>
                  <a:lnTo>
                    <a:pt x="492" y="252"/>
                  </a:lnTo>
                  <a:lnTo>
                    <a:pt x="486" y="246"/>
                  </a:lnTo>
                  <a:lnTo>
                    <a:pt x="474" y="240"/>
                  </a:lnTo>
                  <a:lnTo>
                    <a:pt x="402" y="240"/>
                  </a:lnTo>
                  <a:lnTo>
                    <a:pt x="360" y="234"/>
                  </a:lnTo>
                  <a:lnTo>
                    <a:pt x="324" y="222"/>
                  </a:lnTo>
                  <a:lnTo>
                    <a:pt x="318" y="216"/>
                  </a:lnTo>
                  <a:lnTo>
                    <a:pt x="312" y="204"/>
                  </a:lnTo>
                  <a:lnTo>
                    <a:pt x="312" y="162"/>
                  </a:lnTo>
                  <a:lnTo>
                    <a:pt x="318" y="150"/>
                  </a:lnTo>
                  <a:lnTo>
                    <a:pt x="318" y="132"/>
                  </a:lnTo>
                  <a:lnTo>
                    <a:pt x="306" y="132"/>
                  </a:lnTo>
                  <a:lnTo>
                    <a:pt x="306" y="96"/>
                  </a:lnTo>
                  <a:lnTo>
                    <a:pt x="294" y="90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0" y="42"/>
                  </a:lnTo>
                  <a:lnTo>
                    <a:pt x="216" y="0"/>
                  </a:lnTo>
                  <a:lnTo>
                    <a:pt x="138" y="12"/>
                  </a:lnTo>
                  <a:lnTo>
                    <a:pt x="36" y="30"/>
                  </a:lnTo>
                  <a:lnTo>
                    <a:pt x="30" y="60"/>
                  </a:lnTo>
                  <a:lnTo>
                    <a:pt x="18" y="72"/>
                  </a:lnTo>
                  <a:lnTo>
                    <a:pt x="6" y="78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12" y="120"/>
                  </a:lnTo>
                  <a:lnTo>
                    <a:pt x="12" y="126"/>
                  </a:lnTo>
                  <a:lnTo>
                    <a:pt x="18" y="132"/>
                  </a:lnTo>
                  <a:lnTo>
                    <a:pt x="18" y="156"/>
                  </a:lnTo>
                  <a:lnTo>
                    <a:pt x="6" y="228"/>
                  </a:lnTo>
                  <a:lnTo>
                    <a:pt x="6" y="246"/>
                  </a:lnTo>
                  <a:lnTo>
                    <a:pt x="24" y="264"/>
                  </a:lnTo>
                  <a:lnTo>
                    <a:pt x="24" y="270"/>
                  </a:lnTo>
                  <a:lnTo>
                    <a:pt x="30" y="276"/>
                  </a:lnTo>
                  <a:lnTo>
                    <a:pt x="36" y="288"/>
                  </a:lnTo>
                  <a:lnTo>
                    <a:pt x="48" y="294"/>
                  </a:lnTo>
                  <a:lnTo>
                    <a:pt x="54" y="306"/>
                  </a:lnTo>
                  <a:lnTo>
                    <a:pt x="60" y="312"/>
                  </a:lnTo>
                  <a:lnTo>
                    <a:pt x="84" y="324"/>
                  </a:lnTo>
                  <a:lnTo>
                    <a:pt x="102" y="342"/>
                  </a:lnTo>
                  <a:lnTo>
                    <a:pt x="114" y="348"/>
                  </a:lnTo>
                  <a:lnTo>
                    <a:pt x="120" y="366"/>
                  </a:lnTo>
                  <a:lnTo>
                    <a:pt x="126" y="366"/>
                  </a:lnTo>
                  <a:lnTo>
                    <a:pt x="132" y="372"/>
                  </a:lnTo>
                  <a:lnTo>
                    <a:pt x="168" y="390"/>
                  </a:lnTo>
                  <a:lnTo>
                    <a:pt x="198" y="390"/>
                  </a:lnTo>
                  <a:lnTo>
                    <a:pt x="210" y="396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34" y="414"/>
                  </a:lnTo>
                  <a:lnTo>
                    <a:pt x="240" y="414"/>
                  </a:lnTo>
                  <a:lnTo>
                    <a:pt x="246" y="420"/>
                  </a:lnTo>
                  <a:lnTo>
                    <a:pt x="258" y="426"/>
                  </a:lnTo>
                  <a:lnTo>
                    <a:pt x="276" y="438"/>
                  </a:lnTo>
                  <a:lnTo>
                    <a:pt x="312" y="456"/>
                  </a:lnTo>
                  <a:lnTo>
                    <a:pt x="318" y="462"/>
                  </a:lnTo>
                  <a:lnTo>
                    <a:pt x="330" y="462"/>
                  </a:lnTo>
                  <a:lnTo>
                    <a:pt x="342" y="468"/>
                  </a:lnTo>
                  <a:lnTo>
                    <a:pt x="360" y="474"/>
                  </a:lnTo>
                  <a:lnTo>
                    <a:pt x="372" y="480"/>
                  </a:lnTo>
                  <a:lnTo>
                    <a:pt x="378" y="486"/>
                  </a:lnTo>
                  <a:lnTo>
                    <a:pt x="372" y="492"/>
                  </a:lnTo>
                  <a:lnTo>
                    <a:pt x="372" y="504"/>
                  </a:lnTo>
                  <a:lnTo>
                    <a:pt x="366" y="510"/>
                  </a:lnTo>
                  <a:lnTo>
                    <a:pt x="360" y="522"/>
                  </a:lnTo>
                  <a:lnTo>
                    <a:pt x="366" y="528"/>
                  </a:lnTo>
                  <a:lnTo>
                    <a:pt x="372" y="540"/>
                  </a:lnTo>
                  <a:lnTo>
                    <a:pt x="372" y="546"/>
                  </a:lnTo>
                  <a:lnTo>
                    <a:pt x="366" y="552"/>
                  </a:lnTo>
                  <a:lnTo>
                    <a:pt x="348" y="552"/>
                  </a:lnTo>
                  <a:lnTo>
                    <a:pt x="348" y="588"/>
                  </a:lnTo>
                  <a:lnTo>
                    <a:pt x="342" y="594"/>
                  </a:lnTo>
                  <a:lnTo>
                    <a:pt x="336" y="606"/>
                  </a:lnTo>
                  <a:lnTo>
                    <a:pt x="330" y="612"/>
                  </a:lnTo>
                  <a:lnTo>
                    <a:pt x="324" y="624"/>
                  </a:lnTo>
                  <a:lnTo>
                    <a:pt x="324" y="636"/>
                  </a:lnTo>
                  <a:lnTo>
                    <a:pt x="330" y="642"/>
                  </a:lnTo>
                  <a:lnTo>
                    <a:pt x="354" y="642"/>
                  </a:lnTo>
                  <a:lnTo>
                    <a:pt x="366" y="636"/>
                  </a:lnTo>
                  <a:lnTo>
                    <a:pt x="372" y="636"/>
                  </a:lnTo>
                  <a:lnTo>
                    <a:pt x="384" y="642"/>
                  </a:lnTo>
                  <a:lnTo>
                    <a:pt x="390" y="648"/>
                  </a:lnTo>
                  <a:lnTo>
                    <a:pt x="402" y="654"/>
                  </a:lnTo>
                  <a:lnTo>
                    <a:pt x="420" y="660"/>
                  </a:lnTo>
                  <a:lnTo>
                    <a:pt x="480" y="66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69" name="Papua New Guinea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7708856" y="4350337"/>
              <a:ext cx="353236" cy="226586"/>
            </a:xfrm>
            <a:custGeom>
              <a:avLst/>
              <a:gdLst>
                <a:gd name="T0" fmla="*/ 2147483647 w 1086"/>
                <a:gd name="T1" fmla="*/ 2147483647 h 726"/>
                <a:gd name="T2" fmla="*/ 2147483647 w 1086"/>
                <a:gd name="T3" fmla="*/ 2147483647 h 726"/>
                <a:gd name="T4" fmla="*/ 2147483647 w 1086"/>
                <a:gd name="T5" fmla="*/ 2147483647 h 726"/>
                <a:gd name="T6" fmla="*/ 2147483647 w 1086"/>
                <a:gd name="T7" fmla="*/ 2147483647 h 726"/>
                <a:gd name="T8" fmla="*/ 2147483647 w 1086"/>
                <a:gd name="T9" fmla="*/ 2147483647 h 726"/>
                <a:gd name="T10" fmla="*/ 2147483647 w 1086"/>
                <a:gd name="T11" fmla="*/ 2147483647 h 726"/>
                <a:gd name="T12" fmla="*/ 2147483647 w 1086"/>
                <a:gd name="T13" fmla="*/ 2147483647 h 726"/>
                <a:gd name="T14" fmla="*/ 2147483647 w 1086"/>
                <a:gd name="T15" fmla="*/ 2147483647 h 726"/>
                <a:gd name="T16" fmla="*/ 2147483647 w 1086"/>
                <a:gd name="T17" fmla="*/ 2147483647 h 726"/>
                <a:gd name="T18" fmla="*/ 2147483647 w 1086"/>
                <a:gd name="T19" fmla="*/ 2147483647 h 726"/>
                <a:gd name="T20" fmla="*/ 2147483647 w 1086"/>
                <a:gd name="T21" fmla="*/ 2147483647 h 726"/>
                <a:gd name="T22" fmla="*/ 2147483647 w 1086"/>
                <a:gd name="T23" fmla="*/ 2147483647 h 726"/>
                <a:gd name="T24" fmla="*/ 2147483647 w 1086"/>
                <a:gd name="T25" fmla="*/ 2147483647 h 726"/>
                <a:gd name="T26" fmla="*/ 2147483647 w 1086"/>
                <a:gd name="T27" fmla="*/ 2147483647 h 726"/>
                <a:gd name="T28" fmla="*/ 2147483647 w 1086"/>
                <a:gd name="T29" fmla="*/ 2147483647 h 726"/>
                <a:gd name="T30" fmla="*/ 2147483647 w 1086"/>
                <a:gd name="T31" fmla="*/ 2147483647 h 726"/>
                <a:gd name="T32" fmla="*/ 2147483647 w 1086"/>
                <a:gd name="T33" fmla="*/ 2147483647 h 726"/>
                <a:gd name="T34" fmla="*/ 2147483647 w 1086"/>
                <a:gd name="T35" fmla="*/ 2147483647 h 726"/>
                <a:gd name="T36" fmla="*/ 2147483647 w 1086"/>
                <a:gd name="T37" fmla="*/ 2147483647 h 726"/>
                <a:gd name="T38" fmla="*/ 2147483647 w 1086"/>
                <a:gd name="T39" fmla="*/ 2147483647 h 726"/>
                <a:gd name="T40" fmla="*/ 2147483647 w 1086"/>
                <a:gd name="T41" fmla="*/ 2147483647 h 726"/>
                <a:gd name="T42" fmla="*/ 2147483647 w 1086"/>
                <a:gd name="T43" fmla="*/ 2147483647 h 726"/>
                <a:gd name="T44" fmla="*/ 2147483647 w 1086"/>
                <a:gd name="T45" fmla="*/ 2147483647 h 726"/>
                <a:gd name="T46" fmla="*/ 2147483647 w 1086"/>
                <a:gd name="T47" fmla="*/ 2147483647 h 726"/>
                <a:gd name="T48" fmla="*/ 2147483647 w 1086"/>
                <a:gd name="T49" fmla="*/ 2147483647 h 726"/>
                <a:gd name="T50" fmla="*/ 2147483647 w 1086"/>
                <a:gd name="T51" fmla="*/ 2147483647 h 726"/>
                <a:gd name="T52" fmla="*/ 2147483647 w 1086"/>
                <a:gd name="T53" fmla="*/ 2147483647 h 726"/>
                <a:gd name="T54" fmla="*/ 2147483647 w 1086"/>
                <a:gd name="T55" fmla="*/ 2147483647 h 726"/>
                <a:gd name="T56" fmla="*/ 2147483647 w 1086"/>
                <a:gd name="T57" fmla="*/ 2147483647 h 726"/>
                <a:gd name="T58" fmla="*/ 2147483647 w 1086"/>
                <a:gd name="T59" fmla="*/ 2147483647 h 726"/>
                <a:gd name="T60" fmla="*/ 2147483647 w 1086"/>
                <a:gd name="T61" fmla="*/ 2147483647 h 726"/>
                <a:gd name="T62" fmla="*/ 2147483647 w 1086"/>
                <a:gd name="T63" fmla="*/ 2147483647 h 726"/>
                <a:gd name="T64" fmla="*/ 2147483647 w 1086"/>
                <a:gd name="T65" fmla="*/ 2147483647 h 726"/>
                <a:gd name="T66" fmla="*/ 2147483647 w 1086"/>
                <a:gd name="T67" fmla="*/ 2147483647 h 726"/>
                <a:gd name="T68" fmla="*/ 2147483647 w 1086"/>
                <a:gd name="T69" fmla="*/ 2147483647 h 726"/>
                <a:gd name="T70" fmla="*/ 2147483647 w 1086"/>
                <a:gd name="T71" fmla="*/ 2147483647 h 726"/>
                <a:gd name="T72" fmla="*/ 2147483647 w 1086"/>
                <a:gd name="T73" fmla="*/ 2147483647 h 726"/>
                <a:gd name="T74" fmla="*/ 2147483647 w 1086"/>
                <a:gd name="T75" fmla="*/ 2147483647 h 726"/>
                <a:gd name="T76" fmla="*/ 2147483647 w 1086"/>
                <a:gd name="T77" fmla="*/ 2147483647 h 726"/>
                <a:gd name="T78" fmla="*/ 2147483647 w 1086"/>
                <a:gd name="T79" fmla="*/ 2147483647 h 726"/>
                <a:gd name="T80" fmla="*/ 2147483647 w 1086"/>
                <a:gd name="T81" fmla="*/ 2147483647 h 726"/>
                <a:gd name="T82" fmla="*/ 2147483647 w 1086"/>
                <a:gd name="T83" fmla="*/ 2147483647 h 726"/>
                <a:gd name="T84" fmla="*/ 2147483647 w 1086"/>
                <a:gd name="T85" fmla="*/ 2147483647 h 726"/>
                <a:gd name="T86" fmla="*/ 2147483647 w 1086"/>
                <a:gd name="T87" fmla="*/ 2147483647 h 726"/>
                <a:gd name="T88" fmla="*/ 2147483647 w 1086"/>
                <a:gd name="T89" fmla="*/ 2147483647 h 726"/>
                <a:gd name="T90" fmla="*/ 2147483647 w 1086"/>
                <a:gd name="T91" fmla="*/ 2147483647 h 726"/>
                <a:gd name="T92" fmla="*/ 2147483647 w 1086"/>
                <a:gd name="T93" fmla="*/ 2147483647 h 726"/>
                <a:gd name="T94" fmla="*/ 2147483647 w 1086"/>
                <a:gd name="T95" fmla="*/ 2147483647 h 726"/>
                <a:gd name="T96" fmla="*/ 2147483647 w 1086"/>
                <a:gd name="T97" fmla="*/ 2147483647 h 726"/>
                <a:gd name="T98" fmla="*/ 2147483647 w 1086"/>
                <a:gd name="T99" fmla="*/ 2147483647 h 726"/>
                <a:gd name="T100" fmla="*/ 2147483647 w 1086"/>
                <a:gd name="T101" fmla="*/ 2147483647 h 726"/>
                <a:gd name="T102" fmla="*/ 2147483647 w 1086"/>
                <a:gd name="T103" fmla="*/ 2147483647 h 726"/>
                <a:gd name="T104" fmla="*/ 2147483647 w 1086"/>
                <a:gd name="T105" fmla="*/ 2147483647 h 726"/>
                <a:gd name="T106" fmla="*/ 2147483647 w 1086"/>
                <a:gd name="T107" fmla="*/ 2147483647 h 726"/>
                <a:gd name="T108" fmla="*/ 2147483647 w 1086"/>
                <a:gd name="T109" fmla="*/ 2147483647 h 726"/>
                <a:gd name="T110" fmla="*/ 2147483647 w 1086"/>
                <a:gd name="T111" fmla="*/ 2147483647 h 726"/>
                <a:gd name="T112" fmla="*/ 2147483647 w 1086"/>
                <a:gd name="T113" fmla="*/ 2147483647 h 7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86"/>
                <a:gd name="T172" fmla="*/ 0 h 726"/>
                <a:gd name="T173" fmla="*/ 1086 w 1086"/>
                <a:gd name="T174" fmla="*/ 726 h 7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86" h="726">
                  <a:moveTo>
                    <a:pt x="486" y="0"/>
                  </a:moveTo>
                  <a:lnTo>
                    <a:pt x="462" y="0"/>
                  </a:lnTo>
                  <a:lnTo>
                    <a:pt x="450" y="6"/>
                  </a:lnTo>
                  <a:lnTo>
                    <a:pt x="444" y="12"/>
                  </a:lnTo>
                  <a:lnTo>
                    <a:pt x="432" y="18"/>
                  </a:lnTo>
                  <a:lnTo>
                    <a:pt x="462" y="36"/>
                  </a:lnTo>
                  <a:lnTo>
                    <a:pt x="474" y="36"/>
                  </a:lnTo>
                  <a:lnTo>
                    <a:pt x="486" y="30"/>
                  </a:lnTo>
                  <a:lnTo>
                    <a:pt x="498" y="18"/>
                  </a:lnTo>
                  <a:lnTo>
                    <a:pt x="492" y="6"/>
                  </a:lnTo>
                  <a:lnTo>
                    <a:pt x="486" y="0"/>
                  </a:lnTo>
                  <a:close/>
                  <a:moveTo>
                    <a:pt x="756" y="216"/>
                  </a:moveTo>
                  <a:lnTo>
                    <a:pt x="750" y="222"/>
                  </a:lnTo>
                  <a:lnTo>
                    <a:pt x="750" y="228"/>
                  </a:lnTo>
                  <a:lnTo>
                    <a:pt x="756" y="234"/>
                  </a:lnTo>
                  <a:lnTo>
                    <a:pt x="768" y="240"/>
                  </a:lnTo>
                  <a:lnTo>
                    <a:pt x="774" y="246"/>
                  </a:lnTo>
                  <a:lnTo>
                    <a:pt x="774" y="264"/>
                  </a:lnTo>
                  <a:lnTo>
                    <a:pt x="702" y="300"/>
                  </a:lnTo>
                  <a:lnTo>
                    <a:pt x="666" y="300"/>
                  </a:lnTo>
                  <a:lnTo>
                    <a:pt x="630" y="312"/>
                  </a:lnTo>
                  <a:lnTo>
                    <a:pt x="594" y="330"/>
                  </a:lnTo>
                  <a:lnTo>
                    <a:pt x="588" y="336"/>
                  </a:lnTo>
                  <a:lnTo>
                    <a:pt x="570" y="336"/>
                  </a:lnTo>
                  <a:lnTo>
                    <a:pt x="564" y="342"/>
                  </a:lnTo>
                  <a:lnTo>
                    <a:pt x="588" y="378"/>
                  </a:lnTo>
                  <a:lnTo>
                    <a:pt x="684" y="378"/>
                  </a:lnTo>
                  <a:lnTo>
                    <a:pt x="702" y="366"/>
                  </a:lnTo>
                  <a:lnTo>
                    <a:pt x="738" y="366"/>
                  </a:lnTo>
                  <a:lnTo>
                    <a:pt x="750" y="360"/>
                  </a:lnTo>
                  <a:lnTo>
                    <a:pt x="774" y="336"/>
                  </a:lnTo>
                  <a:lnTo>
                    <a:pt x="774" y="330"/>
                  </a:lnTo>
                  <a:lnTo>
                    <a:pt x="804" y="324"/>
                  </a:lnTo>
                  <a:lnTo>
                    <a:pt x="798" y="300"/>
                  </a:lnTo>
                  <a:lnTo>
                    <a:pt x="822" y="300"/>
                  </a:lnTo>
                  <a:lnTo>
                    <a:pt x="822" y="288"/>
                  </a:lnTo>
                  <a:lnTo>
                    <a:pt x="828" y="258"/>
                  </a:lnTo>
                  <a:lnTo>
                    <a:pt x="828" y="228"/>
                  </a:lnTo>
                  <a:lnTo>
                    <a:pt x="822" y="198"/>
                  </a:lnTo>
                  <a:lnTo>
                    <a:pt x="816" y="192"/>
                  </a:lnTo>
                  <a:lnTo>
                    <a:pt x="804" y="186"/>
                  </a:lnTo>
                  <a:lnTo>
                    <a:pt x="792" y="192"/>
                  </a:lnTo>
                  <a:lnTo>
                    <a:pt x="786" y="198"/>
                  </a:lnTo>
                  <a:lnTo>
                    <a:pt x="762" y="210"/>
                  </a:lnTo>
                  <a:lnTo>
                    <a:pt x="756" y="216"/>
                  </a:lnTo>
                  <a:close/>
                  <a:moveTo>
                    <a:pt x="834" y="132"/>
                  </a:moveTo>
                  <a:lnTo>
                    <a:pt x="822" y="132"/>
                  </a:lnTo>
                  <a:lnTo>
                    <a:pt x="816" y="120"/>
                  </a:lnTo>
                  <a:lnTo>
                    <a:pt x="804" y="108"/>
                  </a:lnTo>
                  <a:lnTo>
                    <a:pt x="792" y="102"/>
                  </a:lnTo>
                  <a:lnTo>
                    <a:pt x="786" y="90"/>
                  </a:lnTo>
                  <a:lnTo>
                    <a:pt x="774" y="78"/>
                  </a:lnTo>
                  <a:lnTo>
                    <a:pt x="768" y="78"/>
                  </a:lnTo>
                  <a:lnTo>
                    <a:pt x="762" y="72"/>
                  </a:lnTo>
                  <a:lnTo>
                    <a:pt x="756" y="72"/>
                  </a:lnTo>
                  <a:lnTo>
                    <a:pt x="732" y="36"/>
                  </a:lnTo>
                  <a:lnTo>
                    <a:pt x="720" y="84"/>
                  </a:lnTo>
                  <a:lnTo>
                    <a:pt x="762" y="96"/>
                  </a:lnTo>
                  <a:lnTo>
                    <a:pt x="816" y="150"/>
                  </a:lnTo>
                  <a:lnTo>
                    <a:pt x="828" y="150"/>
                  </a:lnTo>
                  <a:lnTo>
                    <a:pt x="834" y="156"/>
                  </a:lnTo>
                  <a:lnTo>
                    <a:pt x="846" y="162"/>
                  </a:lnTo>
                  <a:lnTo>
                    <a:pt x="852" y="174"/>
                  </a:lnTo>
                  <a:lnTo>
                    <a:pt x="852" y="180"/>
                  </a:lnTo>
                  <a:lnTo>
                    <a:pt x="858" y="192"/>
                  </a:lnTo>
                  <a:lnTo>
                    <a:pt x="852" y="204"/>
                  </a:lnTo>
                  <a:lnTo>
                    <a:pt x="852" y="240"/>
                  </a:lnTo>
                  <a:lnTo>
                    <a:pt x="858" y="252"/>
                  </a:lnTo>
                  <a:lnTo>
                    <a:pt x="864" y="258"/>
                  </a:lnTo>
                  <a:lnTo>
                    <a:pt x="882" y="258"/>
                  </a:lnTo>
                  <a:lnTo>
                    <a:pt x="894" y="246"/>
                  </a:lnTo>
                  <a:lnTo>
                    <a:pt x="900" y="234"/>
                  </a:lnTo>
                  <a:lnTo>
                    <a:pt x="900" y="222"/>
                  </a:lnTo>
                  <a:lnTo>
                    <a:pt x="888" y="186"/>
                  </a:lnTo>
                  <a:lnTo>
                    <a:pt x="876" y="174"/>
                  </a:lnTo>
                  <a:lnTo>
                    <a:pt x="864" y="156"/>
                  </a:lnTo>
                  <a:lnTo>
                    <a:pt x="852" y="150"/>
                  </a:lnTo>
                  <a:lnTo>
                    <a:pt x="846" y="138"/>
                  </a:lnTo>
                  <a:lnTo>
                    <a:pt x="834" y="132"/>
                  </a:lnTo>
                  <a:close/>
                  <a:moveTo>
                    <a:pt x="1086" y="360"/>
                  </a:moveTo>
                  <a:lnTo>
                    <a:pt x="1020" y="294"/>
                  </a:lnTo>
                  <a:lnTo>
                    <a:pt x="1020" y="288"/>
                  </a:lnTo>
                  <a:lnTo>
                    <a:pt x="1002" y="270"/>
                  </a:lnTo>
                  <a:lnTo>
                    <a:pt x="984" y="270"/>
                  </a:lnTo>
                  <a:lnTo>
                    <a:pt x="978" y="276"/>
                  </a:lnTo>
                  <a:lnTo>
                    <a:pt x="978" y="300"/>
                  </a:lnTo>
                  <a:lnTo>
                    <a:pt x="996" y="330"/>
                  </a:lnTo>
                  <a:lnTo>
                    <a:pt x="1020" y="378"/>
                  </a:lnTo>
                  <a:lnTo>
                    <a:pt x="1086" y="438"/>
                  </a:lnTo>
                  <a:lnTo>
                    <a:pt x="1086" y="360"/>
                  </a:lnTo>
                  <a:close/>
                  <a:moveTo>
                    <a:pt x="672" y="672"/>
                  </a:moveTo>
                  <a:lnTo>
                    <a:pt x="630" y="642"/>
                  </a:lnTo>
                  <a:lnTo>
                    <a:pt x="648" y="630"/>
                  </a:lnTo>
                  <a:lnTo>
                    <a:pt x="636" y="630"/>
                  </a:lnTo>
                  <a:lnTo>
                    <a:pt x="624" y="624"/>
                  </a:lnTo>
                  <a:lnTo>
                    <a:pt x="612" y="624"/>
                  </a:lnTo>
                  <a:lnTo>
                    <a:pt x="600" y="618"/>
                  </a:lnTo>
                  <a:lnTo>
                    <a:pt x="594" y="606"/>
                  </a:lnTo>
                  <a:lnTo>
                    <a:pt x="594" y="594"/>
                  </a:lnTo>
                  <a:lnTo>
                    <a:pt x="600" y="582"/>
                  </a:lnTo>
                  <a:lnTo>
                    <a:pt x="600" y="564"/>
                  </a:lnTo>
                  <a:lnTo>
                    <a:pt x="588" y="570"/>
                  </a:lnTo>
                  <a:lnTo>
                    <a:pt x="582" y="570"/>
                  </a:lnTo>
                  <a:lnTo>
                    <a:pt x="570" y="576"/>
                  </a:lnTo>
                  <a:lnTo>
                    <a:pt x="564" y="576"/>
                  </a:lnTo>
                  <a:lnTo>
                    <a:pt x="552" y="582"/>
                  </a:lnTo>
                  <a:lnTo>
                    <a:pt x="552" y="552"/>
                  </a:lnTo>
                  <a:lnTo>
                    <a:pt x="528" y="540"/>
                  </a:lnTo>
                  <a:lnTo>
                    <a:pt x="528" y="492"/>
                  </a:lnTo>
                  <a:lnTo>
                    <a:pt x="474" y="456"/>
                  </a:lnTo>
                  <a:lnTo>
                    <a:pt x="450" y="402"/>
                  </a:lnTo>
                  <a:lnTo>
                    <a:pt x="474" y="390"/>
                  </a:lnTo>
                  <a:lnTo>
                    <a:pt x="480" y="384"/>
                  </a:lnTo>
                  <a:lnTo>
                    <a:pt x="492" y="378"/>
                  </a:lnTo>
                  <a:lnTo>
                    <a:pt x="504" y="366"/>
                  </a:lnTo>
                  <a:lnTo>
                    <a:pt x="504" y="360"/>
                  </a:lnTo>
                  <a:lnTo>
                    <a:pt x="492" y="336"/>
                  </a:lnTo>
                  <a:lnTo>
                    <a:pt x="468" y="324"/>
                  </a:lnTo>
                  <a:lnTo>
                    <a:pt x="462" y="318"/>
                  </a:lnTo>
                  <a:lnTo>
                    <a:pt x="456" y="318"/>
                  </a:lnTo>
                  <a:lnTo>
                    <a:pt x="450" y="312"/>
                  </a:lnTo>
                  <a:lnTo>
                    <a:pt x="438" y="312"/>
                  </a:lnTo>
                  <a:lnTo>
                    <a:pt x="402" y="300"/>
                  </a:lnTo>
                  <a:lnTo>
                    <a:pt x="390" y="300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72" y="234"/>
                  </a:lnTo>
                  <a:lnTo>
                    <a:pt x="366" y="222"/>
                  </a:lnTo>
                  <a:lnTo>
                    <a:pt x="354" y="210"/>
                  </a:lnTo>
                  <a:lnTo>
                    <a:pt x="342" y="210"/>
                  </a:lnTo>
                  <a:lnTo>
                    <a:pt x="288" y="156"/>
                  </a:lnTo>
                  <a:lnTo>
                    <a:pt x="252" y="162"/>
                  </a:lnTo>
                  <a:lnTo>
                    <a:pt x="216" y="126"/>
                  </a:lnTo>
                  <a:lnTo>
                    <a:pt x="186" y="120"/>
                  </a:lnTo>
                  <a:lnTo>
                    <a:pt x="66" y="60"/>
                  </a:lnTo>
                  <a:lnTo>
                    <a:pt x="42" y="72"/>
                  </a:lnTo>
                  <a:lnTo>
                    <a:pt x="0" y="42"/>
                  </a:lnTo>
                  <a:lnTo>
                    <a:pt x="42" y="72"/>
                  </a:lnTo>
                  <a:lnTo>
                    <a:pt x="36" y="102"/>
                  </a:lnTo>
                  <a:lnTo>
                    <a:pt x="36" y="240"/>
                  </a:lnTo>
                  <a:lnTo>
                    <a:pt x="30" y="258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6" y="408"/>
                  </a:lnTo>
                  <a:lnTo>
                    <a:pt x="18" y="414"/>
                  </a:lnTo>
                  <a:lnTo>
                    <a:pt x="30" y="414"/>
                  </a:lnTo>
                  <a:lnTo>
                    <a:pt x="30" y="444"/>
                  </a:lnTo>
                  <a:lnTo>
                    <a:pt x="24" y="456"/>
                  </a:lnTo>
                  <a:lnTo>
                    <a:pt x="24" y="480"/>
                  </a:lnTo>
                  <a:lnTo>
                    <a:pt x="18" y="492"/>
                  </a:lnTo>
                  <a:lnTo>
                    <a:pt x="18" y="504"/>
                  </a:lnTo>
                  <a:lnTo>
                    <a:pt x="12" y="510"/>
                  </a:lnTo>
                  <a:lnTo>
                    <a:pt x="12" y="516"/>
                  </a:lnTo>
                  <a:lnTo>
                    <a:pt x="18" y="540"/>
                  </a:lnTo>
                  <a:lnTo>
                    <a:pt x="18" y="588"/>
                  </a:lnTo>
                  <a:lnTo>
                    <a:pt x="30" y="594"/>
                  </a:lnTo>
                  <a:lnTo>
                    <a:pt x="48" y="594"/>
                  </a:lnTo>
                  <a:lnTo>
                    <a:pt x="60" y="588"/>
                  </a:lnTo>
                  <a:lnTo>
                    <a:pt x="90" y="588"/>
                  </a:lnTo>
                  <a:lnTo>
                    <a:pt x="96" y="582"/>
                  </a:lnTo>
                  <a:lnTo>
                    <a:pt x="102" y="582"/>
                  </a:lnTo>
                  <a:lnTo>
                    <a:pt x="126" y="600"/>
                  </a:lnTo>
                  <a:lnTo>
                    <a:pt x="132" y="600"/>
                  </a:lnTo>
                  <a:lnTo>
                    <a:pt x="138" y="594"/>
                  </a:lnTo>
                  <a:lnTo>
                    <a:pt x="156" y="588"/>
                  </a:lnTo>
                  <a:lnTo>
                    <a:pt x="168" y="582"/>
                  </a:lnTo>
                  <a:lnTo>
                    <a:pt x="180" y="570"/>
                  </a:lnTo>
                  <a:lnTo>
                    <a:pt x="180" y="564"/>
                  </a:lnTo>
                  <a:lnTo>
                    <a:pt x="168" y="552"/>
                  </a:lnTo>
                  <a:lnTo>
                    <a:pt x="150" y="540"/>
                  </a:lnTo>
                  <a:lnTo>
                    <a:pt x="138" y="534"/>
                  </a:lnTo>
                  <a:lnTo>
                    <a:pt x="120" y="522"/>
                  </a:lnTo>
                  <a:lnTo>
                    <a:pt x="108" y="516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108" y="510"/>
                  </a:lnTo>
                  <a:lnTo>
                    <a:pt x="138" y="516"/>
                  </a:lnTo>
                  <a:lnTo>
                    <a:pt x="204" y="516"/>
                  </a:lnTo>
                  <a:lnTo>
                    <a:pt x="204" y="510"/>
                  </a:lnTo>
                  <a:lnTo>
                    <a:pt x="198" y="504"/>
                  </a:lnTo>
                  <a:lnTo>
                    <a:pt x="198" y="498"/>
                  </a:lnTo>
                  <a:lnTo>
                    <a:pt x="186" y="486"/>
                  </a:lnTo>
                  <a:lnTo>
                    <a:pt x="192" y="492"/>
                  </a:lnTo>
                  <a:lnTo>
                    <a:pt x="204" y="492"/>
                  </a:lnTo>
                  <a:lnTo>
                    <a:pt x="210" y="498"/>
                  </a:lnTo>
                  <a:lnTo>
                    <a:pt x="216" y="498"/>
                  </a:lnTo>
                  <a:lnTo>
                    <a:pt x="222" y="492"/>
                  </a:lnTo>
                  <a:lnTo>
                    <a:pt x="222" y="486"/>
                  </a:lnTo>
                  <a:lnTo>
                    <a:pt x="216" y="480"/>
                  </a:lnTo>
                  <a:lnTo>
                    <a:pt x="216" y="468"/>
                  </a:lnTo>
                  <a:lnTo>
                    <a:pt x="210" y="462"/>
                  </a:lnTo>
                  <a:lnTo>
                    <a:pt x="222" y="468"/>
                  </a:lnTo>
                  <a:lnTo>
                    <a:pt x="228" y="474"/>
                  </a:lnTo>
                  <a:lnTo>
                    <a:pt x="246" y="474"/>
                  </a:lnTo>
                  <a:lnTo>
                    <a:pt x="252" y="468"/>
                  </a:lnTo>
                  <a:lnTo>
                    <a:pt x="264" y="462"/>
                  </a:lnTo>
                  <a:lnTo>
                    <a:pt x="270" y="456"/>
                  </a:lnTo>
                  <a:lnTo>
                    <a:pt x="288" y="474"/>
                  </a:lnTo>
                  <a:lnTo>
                    <a:pt x="300" y="480"/>
                  </a:lnTo>
                  <a:lnTo>
                    <a:pt x="306" y="486"/>
                  </a:lnTo>
                  <a:lnTo>
                    <a:pt x="312" y="486"/>
                  </a:lnTo>
                  <a:lnTo>
                    <a:pt x="330" y="492"/>
                  </a:lnTo>
                  <a:lnTo>
                    <a:pt x="342" y="492"/>
                  </a:lnTo>
                  <a:lnTo>
                    <a:pt x="378" y="504"/>
                  </a:lnTo>
                  <a:lnTo>
                    <a:pt x="390" y="510"/>
                  </a:lnTo>
                  <a:lnTo>
                    <a:pt x="402" y="534"/>
                  </a:lnTo>
                  <a:lnTo>
                    <a:pt x="402" y="558"/>
                  </a:lnTo>
                  <a:lnTo>
                    <a:pt x="408" y="570"/>
                  </a:lnTo>
                  <a:lnTo>
                    <a:pt x="420" y="582"/>
                  </a:lnTo>
                  <a:lnTo>
                    <a:pt x="438" y="582"/>
                  </a:lnTo>
                  <a:lnTo>
                    <a:pt x="450" y="594"/>
                  </a:lnTo>
                  <a:lnTo>
                    <a:pt x="450" y="606"/>
                  </a:lnTo>
                  <a:lnTo>
                    <a:pt x="456" y="618"/>
                  </a:lnTo>
                  <a:lnTo>
                    <a:pt x="468" y="654"/>
                  </a:lnTo>
                  <a:lnTo>
                    <a:pt x="486" y="672"/>
                  </a:lnTo>
                  <a:lnTo>
                    <a:pt x="516" y="678"/>
                  </a:lnTo>
                  <a:lnTo>
                    <a:pt x="558" y="684"/>
                  </a:lnTo>
                  <a:lnTo>
                    <a:pt x="618" y="684"/>
                  </a:lnTo>
                  <a:lnTo>
                    <a:pt x="630" y="690"/>
                  </a:lnTo>
                  <a:lnTo>
                    <a:pt x="654" y="714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84" y="720"/>
                  </a:lnTo>
                  <a:lnTo>
                    <a:pt x="678" y="708"/>
                  </a:lnTo>
                  <a:lnTo>
                    <a:pt x="678" y="702"/>
                  </a:lnTo>
                  <a:lnTo>
                    <a:pt x="672" y="690"/>
                  </a:lnTo>
                  <a:lnTo>
                    <a:pt x="666" y="684"/>
                  </a:lnTo>
                  <a:lnTo>
                    <a:pt x="672" y="67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70" name="Panama" descr="© INSCALE GmbH, 05.05.2010&#10;http://www.presentationload.com/"/>
            <p:cNvSpPr>
              <a:spLocks/>
            </p:cNvSpPr>
            <p:nvPr/>
          </p:nvSpPr>
          <p:spPr bwMode="gray">
            <a:xfrm>
              <a:off x="2557497" y="4063737"/>
              <a:ext cx="131824" cy="61239"/>
            </a:xfrm>
            <a:custGeom>
              <a:avLst/>
              <a:gdLst>
                <a:gd name="T0" fmla="*/ 2147483647 w 408"/>
                <a:gd name="T1" fmla="*/ 2147483647 h 198"/>
                <a:gd name="T2" fmla="*/ 2147483647 w 408"/>
                <a:gd name="T3" fmla="*/ 2147483647 h 198"/>
                <a:gd name="T4" fmla="*/ 2147483647 w 408"/>
                <a:gd name="T5" fmla="*/ 2147483647 h 198"/>
                <a:gd name="T6" fmla="*/ 2147483647 w 408"/>
                <a:gd name="T7" fmla="*/ 2147483647 h 198"/>
                <a:gd name="T8" fmla="*/ 2147483647 w 408"/>
                <a:gd name="T9" fmla="*/ 2147483647 h 198"/>
                <a:gd name="T10" fmla="*/ 2147483647 w 408"/>
                <a:gd name="T11" fmla="*/ 2147483647 h 198"/>
                <a:gd name="T12" fmla="*/ 2147483647 w 408"/>
                <a:gd name="T13" fmla="*/ 2147483647 h 198"/>
                <a:gd name="T14" fmla="*/ 2147483647 w 408"/>
                <a:gd name="T15" fmla="*/ 2147483647 h 198"/>
                <a:gd name="T16" fmla="*/ 2147483647 w 408"/>
                <a:gd name="T17" fmla="*/ 2147483647 h 198"/>
                <a:gd name="T18" fmla="*/ 2147483647 w 408"/>
                <a:gd name="T19" fmla="*/ 2147483647 h 198"/>
                <a:gd name="T20" fmla="*/ 2147483647 w 408"/>
                <a:gd name="T21" fmla="*/ 2147483647 h 198"/>
                <a:gd name="T22" fmla="*/ 2147483647 w 408"/>
                <a:gd name="T23" fmla="*/ 2147483647 h 198"/>
                <a:gd name="T24" fmla="*/ 2147483647 w 408"/>
                <a:gd name="T25" fmla="*/ 2147483647 h 198"/>
                <a:gd name="T26" fmla="*/ 2147483647 w 408"/>
                <a:gd name="T27" fmla="*/ 2147483647 h 198"/>
                <a:gd name="T28" fmla="*/ 2147483647 w 408"/>
                <a:gd name="T29" fmla="*/ 2147483647 h 198"/>
                <a:gd name="T30" fmla="*/ 2147483647 w 408"/>
                <a:gd name="T31" fmla="*/ 2147483647 h 198"/>
                <a:gd name="T32" fmla="*/ 2147483647 w 408"/>
                <a:gd name="T33" fmla="*/ 0 h 198"/>
                <a:gd name="T34" fmla="*/ 2147483647 w 408"/>
                <a:gd name="T35" fmla="*/ 2147483647 h 198"/>
                <a:gd name="T36" fmla="*/ 2147483647 w 408"/>
                <a:gd name="T37" fmla="*/ 2147483647 h 198"/>
                <a:gd name="T38" fmla="*/ 2147483647 w 408"/>
                <a:gd name="T39" fmla="*/ 2147483647 h 198"/>
                <a:gd name="T40" fmla="*/ 2147483647 w 408"/>
                <a:gd name="T41" fmla="*/ 2147483647 h 198"/>
                <a:gd name="T42" fmla="*/ 2147483647 w 408"/>
                <a:gd name="T43" fmla="*/ 2147483647 h 198"/>
                <a:gd name="T44" fmla="*/ 2147483647 w 408"/>
                <a:gd name="T45" fmla="*/ 2147483647 h 198"/>
                <a:gd name="T46" fmla="*/ 2147483647 w 408"/>
                <a:gd name="T47" fmla="*/ 2147483647 h 198"/>
                <a:gd name="T48" fmla="*/ 2147483647 w 408"/>
                <a:gd name="T49" fmla="*/ 2147483647 h 198"/>
                <a:gd name="T50" fmla="*/ 2147483647 w 408"/>
                <a:gd name="T51" fmla="*/ 2147483647 h 198"/>
                <a:gd name="T52" fmla="*/ 2147483647 w 408"/>
                <a:gd name="T53" fmla="*/ 2147483647 h 198"/>
                <a:gd name="T54" fmla="*/ 2147483647 w 408"/>
                <a:gd name="T55" fmla="*/ 2147483647 h 198"/>
                <a:gd name="T56" fmla="*/ 0 w 408"/>
                <a:gd name="T57" fmla="*/ 2147483647 h 198"/>
                <a:gd name="T58" fmla="*/ 2147483647 w 408"/>
                <a:gd name="T59" fmla="*/ 2147483647 h 198"/>
                <a:gd name="T60" fmla="*/ 2147483647 w 408"/>
                <a:gd name="T61" fmla="*/ 2147483647 h 198"/>
                <a:gd name="T62" fmla="*/ 2147483647 w 408"/>
                <a:gd name="T63" fmla="*/ 2147483647 h 198"/>
                <a:gd name="T64" fmla="*/ 0 w 408"/>
                <a:gd name="T65" fmla="*/ 2147483647 h 198"/>
                <a:gd name="T66" fmla="*/ 2147483647 w 408"/>
                <a:gd name="T67" fmla="*/ 2147483647 h 198"/>
                <a:gd name="T68" fmla="*/ 2147483647 w 408"/>
                <a:gd name="T69" fmla="*/ 2147483647 h 198"/>
                <a:gd name="T70" fmla="*/ 2147483647 w 408"/>
                <a:gd name="T71" fmla="*/ 2147483647 h 198"/>
                <a:gd name="T72" fmla="*/ 2147483647 w 408"/>
                <a:gd name="T73" fmla="*/ 2147483647 h 198"/>
                <a:gd name="T74" fmla="*/ 2147483647 w 408"/>
                <a:gd name="T75" fmla="*/ 2147483647 h 198"/>
                <a:gd name="T76" fmla="*/ 2147483647 w 408"/>
                <a:gd name="T77" fmla="*/ 2147483647 h 198"/>
                <a:gd name="T78" fmla="*/ 2147483647 w 408"/>
                <a:gd name="T79" fmla="*/ 2147483647 h 198"/>
                <a:gd name="T80" fmla="*/ 2147483647 w 408"/>
                <a:gd name="T81" fmla="*/ 2147483647 h 198"/>
                <a:gd name="T82" fmla="*/ 2147483647 w 408"/>
                <a:gd name="T83" fmla="*/ 2147483647 h 198"/>
                <a:gd name="T84" fmla="*/ 2147483647 w 408"/>
                <a:gd name="T85" fmla="*/ 2147483647 h 198"/>
                <a:gd name="T86" fmla="*/ 2147483647 w 408"/>
                <a:gd name="T87" fmla="*/ 2147483647 h 198"/>
                <a:gd name="T88" fmla="*/ 2147483647 w 408"/>
                <a:gd name="T89" fmla="*/ 2147483647 h 198"/>
                <a:gd name="T90" fmla="*/ 2147483647 w 408"/>
                <a:gd name="T91" fmla="*/ 2147483647 h 198"/>
                <a:gd name="T92" fmla="*/ 2147483647 w 408"/>
                <a:gd name="T93" fmla="*/ 2147483647 h 198"/>
                <a:gd name="T94" fmla="*/ 2147483647 w 408"/>
                <a:gd name="T95" fmla="*/ 2147483647 h 198"/>
                <a:gd name="T96" fmla="*/ 2147483647 w 408"/>
                <a:gd name="T97" fmla="*/ 2147483647 h 198"/>
                <a:gd name="T98" fmla="*/ 2147483647 w 408"/>
                <a:gd name="T99" fmla="*/ 2147483647 h 198"/>
                <a:gd name="T100" fmla="*/ 2147483647 w 408"/>
                <a:gd name="T101" fmla="*/ 2147483647 h 19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08"/>
                <a:gd name="T154" fmla="*/ 0 h 198"/>
                <a:gd name="T155" fmla="*/ 408 w 408"/>
                <a:gd name="T156" fmla="*/ 198 h 19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08" h="198">
                  <a:moveTo>
                    <a:pt x="306" y="66"/>
                  </a:moveTo>
                  <a:lnTo>
                    <a:pt x="318" y="78"/>
                  </a:lnTo>
                  <a:lnTo>
                    <a:pt x="324" y="90"/>
                  </a:lnTo>
                  <a:lnTo>
                    <a:pt x="330" y="96"/>
                  </a:lnTo>
                  <a:lnTo>
                    <a:pt x="342" y="90"/>
                  </a:lnTo>
                  <a:lnTo>
                    <a:pt x="372" y="120"/>
                  </a:lnTo>
                  <a:lnTo>
                    <a:pt x="342" y="102"/>
                  </a:lnTo>
                  <a:lnTo>
                    <a:pt x="342" y="120"/>
                  </a:lnTo>
                  <a:lnTo>
                    <a:pt x="336" y="132"/>
                  </a:lnTo>
                  <a:lnTo>
                    <a:pt x="336" y="162"/>
                  </a:lnTo>
                  <a:lnTo>
                    <a:pt x="342" y="168"/>
                  </a:lnTo>
                  <a:lnTo>
                    <a:pt x="348" y="180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56"/>
                  </a:lnTo>
                  <a:lnTo>
                    <a:pt x="378" y="162"/>
                  </a:lnTo>
                  <a:lnTo>
                    <a:pt x="390" y="168"/>
                  </a:lnTo>
                  <a:lnTo>
                    <a:pt x="396" y="162"/>
                  </a:lnTo>
                  <a:lnTo>
                    <a:pt x="408" y="138"/>
                  </a:lnTo>
                  <a:lnTo>
                    <a:pt x="408" y="126"/>
                  </a:lnTo>
                  <a:lnTo>
                    <a:pt x="396" y="120"/>
                  </a:lnTo>
                  <a:lnTo>
                    <a:pt x="390" y="108"/>
                  </a:lnTo>
                  <a:lnTo>
                    <a:pt x="390" y="90"/>
                  </a:lnTo>
                  <a:lnTo>
                    <a:pt x="396" y="84"/>
                  </a:lnTo>
                  <a:lnTo>
                    <a:pt x="372" y="66"/>
                  </a:lnTo>
                  <a:lnTo>
                    <a:pt x="372" y="60"/>
                  </a:lnTo>
                  <a:lnTo>
                    <a:pt x="366" y="54"/>
                  </a:lnTo>
                  <a:lnTo>
                    <a:pt x="366" y="42"/>
                  </a:lnTo>
                  <a:lnTo>
                    <a:pt x="360" y="30"/>
                  </a:lnTo>
                  <a:lnTo>
                    <a:pt x="348" y="24"/>
                  </a:lnTo>
                  <a:lnTo>
                    <a:pt x="330" y="18"/>
                  </a:lnTo>
                  <a:lnTo>
                    <a:pt x="288" y="18"/>
                  </a:lnTo>
                  <a:lnTo>
                    <a:pt x="282" y="0"/>
                  </a:lnTo>
                  <a:lnTo>
                    <a:pt x="246" y="0"/>
                  </a:lnTo>
                  <a:lnTo>
                    <a:pt x="234" y="6"/>
                  </a:lnTo>
                  <a:lnTo>
                    <a:pt x="228" y="12"/>
                  </a:lnTo>
                  <a:lnTo>
                    <a:pt x="222" y="24"/>
                  </a:lnTo>
                  <a:lnTo>
                    <a:pt x="210" y="36"/>
                  </a:lnTo>
                  <a:lnTo>
                    <a:pt x="204" y="36"/>
                  </a:lnTo>
                  <a:lnTo>
                    <a:pt x="198" y="30"/>
                  </a:lnTo>
                  <a:lnTo>
                    <a:pt x="192" y="30"/>
                  </a:lnTo>
                  <a:lnTo>
                    <a:pt x="168" y="42"/>
                  </a:lnTo>
                  <a:lnTo>
                    <a:pt x="144" y="66"/>
                  </a:lnTo>
                  <a:lnTo>
                    <a:pt x="132" y="72"/>
                  </a:lnTo>
                  <a:lnTo>
                    <a:pt x="120" y="72"/>
                  </a:lnTo>
                  <a:lnTo>
                    <a:pt x="114" y="66"/>
                  </a:lnTo>
                  <a:lnTo>
                    <a:pt x="102" y="60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0" y="54"/>
                  </a:lnTo>
                  <a:lnTo>
                    <a:pt x="48" y="42"/>
                  </a:lnTo>
                  <a:lnTo>
                    <a:pt x="48" y="18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18" y="12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36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24" y="48"/>
                  </a:lnTo>
                  <a:lnTo>
                    <a:pt x="30" y="54"/>
                  </a:lnTo>
                  <a:lnTo>
                    <a:pt x="12" y="72"/>
                  </a:lnTo>
                  <a:lnTo>
                    <a:pt x="6" y="72"/>
                  </a:lnTo>
                  <a:lnTo>
                    <a:pt x="6" y="96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48" y="102"/>
                  </a:lnTo>
                  <a:lnTo>
                    <a:pt x="60" y="120"/>
                  </a:lnTo>
                  <a:lnTo>
                    <a:pt x="90" y="114"/>
                  </a:lnTo>
                  <a:lnTo>
                    <a:pt x="90" y="126"/>
                  </a:lnTo>
                  <a:lnTo>
                    <a:pt x="84" y="132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56"/>
                  </a:lnTo>
                  <a:lnTo>
                    <a:pt x="114" y="150"/>
                  </a:lnTo>
                  <a:lnTo>
                    <a:pt x="120" y="150"/>
                  </a:lnTo>
                  <a:lnTo>
                    <a:pt x="120" y="132"/>
                  </a:lnTo>
                  <a:lnTo>
                    <a:pt x="138" y="126"/>
                  </a:lnTo>
                  <a:lnTo>
                    <a:pt x="138" y="150"/>
                  </a:lnTo>
                  <a:lnTo>
                    <a:pt x="144" y="168"/>
                  </a:lnTo>
                  <a:lnTo>
                    <a:pt x="144" y="180"/>
                  </a:lnTo>
                  <a:lnTo>
                    <a:pt x="150" y="192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80" y="192"/>
                  </a:lnTo>
                  <a:lnTo>
                    <a:pt x="198" y="174"/>
                  </a:lnTo>
                  <a:lnTo>
                    <a:pt x="204" y="174"/>
                  </a:lnTo>
                  <a:lnTo>
                    <a:pt x="198" y="168"/>
                  </a:lnTo>
                  <a:lnTo>
                    <a:pt x="186" y="162"/>
                  </a:lnTo>
                  <a:lnTo>
                    <a:pt x="180" y="150"/>
                  </a:lnTo>
                  <a:lnTo>
                    <a:pt x="174" y="144"/>
                  </a:lnTo>
                  <a:lnTo>
                    <a:pt x="168" y="132"/>
                  </a:lnTo>
                  <a:lnTo>
                    <a:pt x="162" y="126"/>
                  </a:lnTo>
                  <a:lnTo>
                    <a:pt x="186" y="102"/>
                  </a:lnTo>
                  <a:lnTo>
                    <a:pt x="222" y="84"/>
                  </a:lnTo>
                  <a:lnTo>
                    <a:pt x="228" y="72"/>
                  </a:lnTo>
                  <a:lnTo>
                    <a:pt x="246" y="54"/>
                  </a:lnTo>
                  <a:lnTo>
                    <a:pt x="258" y="48"/>
                  </a:lnTo>
                  <a:lnTo>
                    <a:pt x="276" y="54"/>
                  </a:lnTo>
                  <a:lnTo>
                    <a:pt x="288" y="60"/>
                  </a:lnTo>
                  <a:lnTo>
                    <a:pt x="306" y="6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71" name="Pakistan" descr="© INSCALE GmbH, 05.05.2010&#10;http://www.presentationload.com/"/>
            <p:cNvSpPr>
              <a:spLocks/>
            </p:cNvSpPr>
            <p:nvPr/>
          </p:nvSpPr>
          <p:spPr bwMode="gray">
            <a:xfrm>
              <a:off x="5828771" y="3377855"/>
              <a:ext cx="341717" cy="328244"/>
            </a:xfrm>
            <a:custGeom>
              <a:avLst/>
              <a:gdLst>
                <a:gd name="T0" fmla="*/ 2147483647 w 1050"/>
                <a:gd name="T1" fmla="*/ 2147483647 h 1056"/>
                <a:gd name="T2" fmla="*/ 2147483647 w 1050"/>
                <a:gd name="T3" fmla="*/ 2147483647 h 1056"/>
                <a:gd name="T4" fmla="*/ 2147483647 w 1050"/>
                <a:gd name="T5" fmla="*/ 2147483647 h 1056"/>
                <a:gd name="T6" fmla="*/ 2147483647 w 1050"/>
                <a:gd name="T7" fmla="*/ 2147483647 h 1056"/>
                <a:gd name="T8" fmla="*/ 2147483647 w 1050"/>
                <a:gd name="T9" fmla="*/ 2147483647 h 1056"/>
                <a:gd name="T10" fmla="*/ 2147483647 w 1050"/>
                <a:gd name="T11" fmla="*/ 2147483647 h 1056"/>
                <a:gd name="T12" fmla="*/ 2147483647 w 1050"/>
                <a:gd name="T13" fmla="*/ 2147483647 h 1056"/>
                <a:gd name="T14" fmla="*/ 2147483647 w 1050"/>
                <a:gd name="T15" fmla="*/ 2147483647 h 1056"/>
                <a:gd name="T16" fmla="*/ 2147483647 w 1050"/>
                <a:gd name="T17" fmla="*/ 2147483647 h 1056"/>
                <a:gd name="T18" fmla="*/ 2147483647 w 1050"/>
                <a:gd name="T19" fmla="*/ 2147483647 h 1056"/>
                <a:gd name="T20" fmla="*/ 2147483647 w 1050"/>
                <a:gd name="T21" fmla="*/ 2147483647 h 1056"/>
                <a:gd name="T22" fmla="*/ 2147483647 w 1050"/>
                <a:gd name="T23" fmla="*/ 2147483647 h 1056"/>
                <a:gd name="T24" fmla="*/ 2147483647 w 1050"/>
                <a:gd name="T25" fmla="*/ 2147483647 h 1056"/>
                <a:gd name="T26" fmla="*/ 2147483647 w 1050"/>
                <a:gd name="T27" fmla="*/ 2147483647 h 1056"/>
                <a:gd name="T28" fmla="*/ 2147483647 w 1050"/>
                <a:gd name="T29" fmla="*/ 2147483647 h 1056"/>
                <a:gd name="T30" fmla="*/ 2147483647 w 1050"/>
                <a:gd name="T31" fmla="*/ 2147483647 h 1056"/>
                <a:gd name="T32" fmla="*/ 2147483647 w 1050"/>
                <a:gd name="T33" fmla="*/ 2147483647 h 1056"/>
                <a:gd name="T34" fmla="*/ 2147483647 w 1050"/>
                <a:gd name="T35" fmla="*/ 2147483647 h 1056"/>
                <a:gd name="T36" fmla="*/ 2147483647 w 1050"/>
                <a:gd name="T37" fmla="*/ 2147483647 h 1056"/>
                <a:gd name="T38" fmla="*/ 2147483647 w 1050"/>
                <a:gd name="T39" fmla="*/ 2147483647 h 1056"/>
                <a:gd name="T40" fmla="*/ 2147483647 w 1050"/>
                <a:gd name="T41" fmla="*/ 2147483647 h 1056"/>
                <a:gd name="T42" fmla="*/ 2147483647 w 1050"/>
                <a:gd name="T43" fmla="*/ 2147483647 h 1056"/>
                <a:gd name="T44" fmla="*/ 0 w 1050"/>
                <a:gd name="T45" fmla="*/ 2147483647 h 1056"/>
                <a:gd name="T46" fmla="*/ 2147483647 w 1050"/>
                <a:gd name="T47" fmla="*/ 2147483647 h 1056"/>
                <a:gd name="T48" fmla="*/ 2147483647 w 1050"/>
                <a:gd name="T49" fmla="*/ 2147483647 h 1056"/>
                <a:gd name="T50" fmla="*/ 2147483647 w 1050"/>
                <a:gd name="T51" fmla="*/ 2147483647 h 1056"/>
                <a:gd name="T52" fmla="*/ 2147483647 w 1050"/>
                <a:gd name="T53" fmla="*/ 2147483647 h 1056"/>
                <a:gd name="T54" fmla="*/ 2147483647 w 1050"/>
                <a:gd name="T55" fmla="*/ 2147483647 h 1056"/>
                <a:gd name="T56" fmla="*/ 2147483647 w 1050"/>
                <a:gd name="T57" fmla="*/ 2147483647 h 1056"/>
                <a:gd name="T58" fmla="*/ 2147483647 w 1050"/>
                <a:gd name="T59" fmla="*/ 2147483647 h 1056"/>
                <a:gd name="T60" fmla="*/ 2147483647 w 1050"/>
                <a:gd name="T61" fmla="*/ 2147483647 h 1056"/>
                <a:gd name="T62" fmla="*/ 2147483647 w 1050"/>
                <a:gd name="T63" fmla="*/ 2147483647 h 1056"/>
                <a:gd name="T64" fmla="*/ 2147483647 w 1050"/>
                <a:gd name="T65" fmla="*/ 2147483647 h 1056"/>
                <a:gd name="T66" fmla="*/ 2147483647 w 1050"/>
                <a:gd name="T67" fmla="*/ 2147483647 h 1056"/>
                <a:gd name="T68" fmla="*/ 2147483647 w 1050"/>
                <a:gd name="T69" fmla="*/ 2147483647 h 1056"/>
                <a:gd name="T70" fmla="*/ 2147483647 w 1050"/>
                <a:gd name="T71" fmla="*/ 2147483647 h 1056"/>
                <a:gd name="T72" fmla="*/ 2147483647 w 1050"/>
                <a:gd name="T73" fmla="*/ 2147483647 h 1056"/>
                <a:gd name="T74" fmla="*/ 2147483647 w 1050"/>
                <a:gd name="T75" fmla="*/ 2147483647 h 1056"/>
                <a:gd name="T76" fmla="*/ 2147483647 w 1050"/>
                <a:gd name="T77" fmla="*/ 2147483647 h 1056"/>
                <a:gd name="T78" fmla="*/ 2147483647 w 1050"/>
                <a:gd name="T79" fmla="*/ 2147483647 h 1056"/>
                <a:gd name="T80" fmla="*/ 2147483647 w 1050"/>
                <a:gd name="T81" fmla="*/ 2147483647 h 1056"/>
                <a:gd name="T82" fmla="*/ 2147483647 w 1050"/>
                <a:gd name="T83" fmla="*/ 2147483647 h 1056"/>
                <a:gd name="T84" fmla="*/ 2147483647 w 1050"/>
                <a:gd name="T85" fmla="*/ 2147483647 h 1056"/>
                <a:gd name="T86" fmla="*/ 2147483647 w 1050"/>
                <a:gd name="T87" fmla="*/ 2147483647 h 1056"/>
                <a:gd name="T88" fmla="*/ 2147483647 w 1050"/>
                <a:gd name="T89" fmla="*/ 2147483647 h 1056"/>
                <a:gd name="T90" fmla="*/ 2147483647 w 1050"/>
                <a:gd name="T91" fmla="*/ 2147483647 h 1056"/>
                <a:gd name="T92" fmla="*/ 2147483647 w 1050"/>
                <a:gd name="T93" fmla="*/ 2147483647 h 1056"/>
                <a:gd name="T94" fmla="*/ 2147483647 w 1050"/>
                <a:gd name="T95" fmla="*/ 2147483647 h 1056"/>
                <a:gd name="T96" fmla="*/ 2147483647 w 1050"/>
                <a:gd name="T97" fmla="*/ 2147483647 h 1056"/>
                <a:gd name="T98" fmla="*/ 2147483647 w 1050"/>
                <a:gd name="T99" fmla="*/ 2147483647 h 1056"/>
                <a:gd name="T100" fmla="*/ 2147483647 w 1050"/>
                <a:gd name="T101" fmla="*/ 2147483647 h 1056"/>
                <a:gd name="T102" fmla="*/ 2147483647 w 1050"/>
                <a:gd name="T103" fmla="*/ 2147483647 h 1056"/>
                <a:gd name="T104" fmla="*/ 2147483647 w 1050"/>
                <a:gd name="T105" fmla="*/ 2147483647 h 1056"/>
                <a:gd name="T106" fmla="*/ 2147483647 w 1050"/>
                <a:gd name="T107" fmla="*/ 2147483647 h 1056"/>
                <a:gd name="T108" fmla="*/ 2147483647 w 1050"/>
                <a:gd name="T109" fmla="*/ 2147483647 h 1056"/>
                <a:gd name="T110" fmla="*/ 2147483647 w 1050"/>
                <a:gd name="T111" fmla="*/ 2147483647 h 1056"/>
                <a:gd name="T112" fmla="*/ 2147483647 w 1050"/>
                <a:gd name="T113" fmla="*/ 2147483647 h 1056"/>
                <a:gd name="T114" fmla="*/ 2147483647 w 1050"/>
                <a:gd name="T115" fmla="*/ 2147483647 h 1056"/>
                <a:gd name="T116" fmla="*/ 2147483647 w 1050"/>
                <a:gd name="T117" fmla="*/ 2147483647 h 1056"/>
                <a:gd name="T118" fmla="*/ 2147483647 w 1050"/>
                <a:gd name="T119" fmla="*/ 2147483647 h 1056"/>
                <a:gd name="T120" fmla="*/ 2147483647 w 1050"/>
                <a:gd name="T121" fmla="*/ 2147483647 h 1056"/>
                <a:gd name="T122" fmla="*/ 2147483647 w 1050"/>
                <a:gd name="T123" fmla="*/ 2147483647 h 105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0"/>
                <a:gd name="T187" fmla="*/ 0 h 1056"/>
                <a:gd name="T188" fmla="*/ 1050 w 1050"/>
                <a:gd name="T189" fmla="*/ 1056 h 105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0" h="1056">
                  <a:moveTo>
                    <a:pt x="1008" y="120"/>
                  </a:moveTo>
                  <a:lnTo>
                    <a:pt x="996" y="120"/>
                  </a:lnTo>
                  <a:lnTo>
                    <a:pt x="984" y="114"/>
                  </a:lnTo>
                  <a:lnTo>
                    <a:pt x="978" y="102"/>
                  </a:lnTo>
                  <a:lnTo>
                    <a:pt x="972" y="96"/>
                  </a:lnTo>
                  <a:lnTo>
                    <a:pt x="972" y="90"/>
                  </a:lnTo>
                  <a:lnTo>
                    <a:pt x="960" y="96"/>
                  </a:lnTo>
                  <a:lnTo>
                    <a:pt x="924" y="84"/>
                  </a:lnTo>
                  <a:lnTo>
                    <a:pt x="924" y="60"/>
                  </a:lnTo>
                  <a:lnTo>
                    <a:pt x="912" y="36"/>
                  </a:lnTo>
                  <a:lnTo>
                    <a:pt x="900" y="24"/>
                  </a:lnTo>
                  <a:lnTo>
                    <a:pt x="888" y="18"/>
                  </a:lnTo>
                  <a:lnTo>
                    <a:pt x="876" y="18"/>
                  </a:lnTo>
                  <a:lnTo>
                    <a:pt x="870" y="6"/>
                  </a:lnTo>
                  <a:lnTo>
                    <a:pt x="822" y="6"/>
                  </a:lnTo>
                  <a:lnTo>
                    <a:pt x="810" y="0"/>
                  </a:lnTo>
                  <a:lnTo>
                    <a:pt x="804" y="6"/>
                  </a:lnTo>
                  <a:lnTo>
                    <a:pt x="792" y="6"/>
                  </a:lnTo>
                  <a:lnTo>
                    <a:pt x="786" y="12"/>
                  </a:lnTo>
                  <a:lnTo>
                    <a:pt x="774" y="12"/>
                  </a:lnTo>
                  <a:lnTo>
                    <a:pt x="762" y="6"/>
                  </a:lnTo>
                  <a:lnTo>
                    <a:pt x="738" y="6"/>
                  </a:lnTo>
                  <a:lnTo>
                    <a:pt x="732" y="12"/>
                  </a:lnTo>
                  <a:lnTo>
                    <a:pt x="690" y="12"/>
                  </a:lnTo>
                  <a:lnTo>
                    <a:pt x="684" y="18"/>
                  </a:lnTo>
                  <a:lnTo>
                    <a:pt x="678" y="18"/>
                  </a:lnTo>
                  <a:lnTo>
                    <a:pt x="654" y="30"/>
                  </a:lnTo>
                  <a:lnTo>
                    <a:pt x="648" y="36"/>
                  </a:lnTo>
                  <a:lnTo>
                    <a:pt x="624" y="48"/>
                  </a:lnTo>
                  <a:lnTo>
                    <a:pt x="618" y="54"/>
                  </a:lnTo>
                  <a:lnTo>
                    <a:pt x="612" y="66"/>
                  </a:lnTo>
                  <a:lnTo>
                    <a:pt x="606" y="72"/>
                  </a:lnTo>
                  <a:lnTo>
                    <a:pt x="606" y="78"/>
                  </a:lnTo>
                  <a:lnTo>
                    <a:pt x="636" y="108"/>
                  </a:lnTo>
                  <a:lnTo>
                    <a:pt x="636" y="138"/>
                  </a:lnTo>
                  <a:lnTo>
                    <a:pt x="642" y="144"/>
                  </a:lnTo>
                  <a:lnTo>
                    <a:pt x="648" y="156"/>
                  </a:lnTo>
                  <a:lnTo>
                    <a:pt x="648" y="162"/>
                  </a:lnTo>
                  <a:lnTo>
                    <a:pt x="624" y="186"/>
                  </a:lnTo>
                  <a:lnTo>
                    <a:pt x="618" y="198"/>
                  </a:lnTo>
                  <a:lnTo>
                    <a:pt x="618" y="210"/>
                  </a:lnTo>
                  <a:lnTo>
                    <a:pt x="624" y="216"/>
                  </a:lnTo>
                  <a:lnTo>
                    <a:pt x="624" y="246"/>
                  </a:lnTo>
                  <a:lnTo>
                    <a:pt x="606" y="246"/>
                  </a:lnTo>
                  <a:lnTo>
                    <a:pt x="600" y="252"/>
                  </a:lnTo>
                  <a:lnTo>
                    <a:pt x="594" y="252"/>
                  </a:lnTo>
                  <a:lnTo>
                    <a:pt x="576" y="246"/>
                  </a:lnTo>
                  <a:lnTo>
                    <a:pt x="570" y="240"/>
                  </a:lnTo>
                  <a:lnTo>
                    <a:pt x="552" y="240"/>
                  </a:lnTo>
                  <a:lnTo>
                    <a:pt x="552" y="252"/>
                  </a:lnTo>
                  <a:lnTo>
                    <a:pt x="564" y="264"/>
                  </a:lnTo>
                  <a:lnTo>
                    <a:pt x="576" y="270"/>
                  </a:lnTo>
                  <a:lnTo>
                    <a:pt x="576" y="276"/>
                  </a:lnTo>
                  <a:lnTo>
                    <a:pt x="582" y="282"/>
                  </a:lnTo>
                  <a:lnTo>
                    <a:pt x="582" y="288"/>
                  </a:lnTo>
                  <a:lnTo>
                    <a:pt x="594" y="294"/>
                  </a:lnTo>
                  <a:lnTo>
                    <a:pt x="600" y="294"/>
                  </a:lnTo>
                  <a:lnTo>
                    <a:pt x="570" y="312"/>
                  </a:lnTo>
                  <a:lnTo>
                    <a:pt x="552" y="312"/>
                  </a:lnTo>
                  <a:lnTo>
                    <a:pt x="546" y="318"/>
                  </a:lnTo>
                  <a:lnTo>
                    <a:pt x="546" y="354"/>
                  </a:lnTo>
                  <a:lnTo>
                    <a:pt x="540" y="354"/>
                  </a:lnTo>
                  <a:lnTo>
                    <a:pt x="534" y="360"/>
                  </a:lnTo>
                  <a:lnTo>
                    <a:pt x="534" y="378"/>
                  </a:lnTo>
                  <a:lnTo>
                    <a:pt x="540" y="390"/>
                  </a:lnTo>
                  <a:lnTo>
                    <a:pt x="540" y="402"/>
                  </a:lnTo>
                  <a:lnTo>
                    <a:pt x="546" y="408"/>
                  </a:lnTo>
                  <a:lnTo>
                    <a:pt x="546" y="414"/>
                  </a:lnTo>
                  <a:lnTo>
                    <a:pt x="540" y="420"/>
                  </a:lnTo>
                  <a:lnTo>
                    <a:pt x="534" y="432"/>
                  </a:lnTo>
                  <a:lnTo>
                    <a:pt x="522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504" y="420"/>
                  </a:lnTo>
                  <a:lnTo>
                    <a:pt x="474" y="420"/>
                  </a:lnTo>
                  <a:lnTo>
                    <a:pt x="462" y="426"/>
                  </a:lnTo>
                  <a:lnTo>
                    <a:pt x="456" y="432"/>
                  </a:lnTo>
                  <a:lnTo>
                    <a:pt x="444" y="438"/>
                  </a:lnTo>
                  <a:lnTo>
                    <a:pt x="438" y="438"/>
                  </a:lnTo>
                  <a:lnTo>
                    <a:pt x="432" y="444"/>
                  </a:lnTo>
                  <a:lnTo>
                    <a:pt x="432" y="450"/>
                  </a:lnTo>
                  <a:lnTo>
                    <a:pt x="438" y="450"/>
                  </a:lnTo>
                  <a:lnTo>
                    <a:pt x="444" y="456"/>
                  </a:lnTo>
                  <a:lnTo>
                    <a:pt x="444" y="462"/>
                  </a:lnTo>
                  <a:lnTo>
                    <a:pt x="438" y="468"/>
                  </a:lnTo>
                  <a:lnTo>
                    <a:pt x="396" y="468"/>
                  </a:lnTo>
                  <a:lnTo>
                    <a:pt x="396" y="456"/>
                  </a:lnTo>
                  <a:lnTo>
                    <a:pt x="378" y="456"/>
                  </a:lnTo>
                  <a:lnTo>
                    <a:pt x="372" y="468"/>
                  </a:lnTo>
                  <a:lnTo>
                    <a:pt x="360" y="474"/>
                  </a:lnTo>
                  <a:lnTo>
                    <a:pt x="354" y="486"/>
                  </a:lnTo>
                  <a:lnTo>
                    <a:pt x="354" y="504"/>
                  </a:lnTo>
                  <a:lnTo>
                    <a:pt x="360" y="516"/>
                  </a:lnTo>
                  <a:lnTo>
                    <a:pt x="360" y="534"/>
                  </a:lnTo>
                  <a:lnTo>
                    <a:pt x="366" y="540"/>
                  </a:lnTo>
                  <a:lnTo>
                    <a:pt x="366" y="570"/>
                  </a:lnTo>
                  <a:lnTo>
                    <a:pt x="360" y="576"/>
                  </a:lnTo>
                  <a:lnTo>
                    <a:pt x="354" y="576"/>
                  </a:lnTo>
                  <a:lnTo>
                    <a:pt x="306" y="600"/>
                  </a:lnTo>
                  <a:lnTo>
                    <a:pt x="276" y="600"/>
                  </a:lnTo>
                  <a:lnTo>
                    <a:pt x="258" y="606"/>
                  </a:lnTo>
                  <a:lnTo>
                    <a:pt x="234" y="606"/>
                  </a:lnTo>
                  <a:lnTo>
                    <a:pt x="228" y="612"/>
                  </a:lnTo>
                  <a:lnTo>
                    <a:pt x="204" y="612"/>
                  </a:lnTo>
                  <a:lnTo>
                    <a:pt x="204" y="606"/>
                  </a:lnTo>
                  <a:lnTo>
                    <a:pt x="150" y="606"/>
                  </a:lnTo>
                  <a:lnTo>
                    <a:pt x="144" y="612"/>
                  </a:lnTo>
                  <a:lnTo>
                    <a:pt x="138" y="612"/>
                  </a:lnTo>
                  <a:lnTo>
                    <a:pt x="120" y="618"/>
                  </a:lnTo>
                  <a:lnTo>
                    <a:pt x="102" y="618"/>
                  </a:lnTo>
                  <a:lnTo>
                    <a:pt x="78" y="606"/>
                  </a:lnTo>
                  <a:lnTo>
                    <a:pt x="60" y="600"/>
                  </a:lnTo>
                  <a:lnTo>
                    <a:pt x="42" y="588"/>
                  </a:lnTo>
                  <a:lnTo>
                    <a:pt x="30" y="582"/>
                  </a:lnTo>
                  <a:lnTo>
                    <a:pt x="0" y="582"/>
                  </a:lnTo>
                  <a:lnTo>
                    <a:pt x="24" y="606"/>
                  </a:lnTo>
                  <a:lnTo>
                    <a:pt x="30" y="618"/>
                  </a:lnTo>
                  <a:lnTo>
                    <a:pt x="36" y="624"/>
                  </a:lnTo>
                  <a:lnTo>
                    <a:pt x="48" y="642"/>
                  </a:lnTo>
                  <a:lnTo>
                    <a:pt x="60" y="654"/>
                  </a:lnTo>
                  <a:lnTo>
                    <a:pt x="66" y="672"/>
                  </a:lnTo>
                  <a:lnTo>
                    <a:pt x="78" y="690"/>
                  </a:lnTo>
                  <a:lnTo>
                    <a:pt x="84" y="696"/>
                  </a:lnTo>
                  <a:lnTo>
                    <a:pt x="102" y="696"/>
                  </a:lnTo>
                  <a:lnTo>
                    <a:pt x="114" y="690"/>
                  </a:lnTo>
                  <a:lnTo>
                    <a:pt x="126" y="708"/>
                  </a:lnTo>
                  <a:lnTo>
                    <a:pt x="150" y="708"/>
                  </a:lnTo>
                  <a:lnTo>
                    <a:pt x="144" y="738"/>
                  </a:lnTo>
                  <a:lnTo>
                    <a:pt x="150" y="738"/>
                  </a:lnTo>
                  <a:lnTo>
                    <a:pt x="150" y="762"/>
                  </a:lnTo>
                  <a:lnTo>
                    <a:pt x="156" y="774"/>
                  </a:lnTo>
                  <a:lnTo>
                    <a:pt x="156" y="786"/>
                  </a:lnTo>
                  <a:lnTo>
                    <a:pt x="174" y="786"/>
                  </a:lnTo>
                  <a:lnTo>
                    <a:pt x="180" y="792"/>
                  </a:lnTo>
                  <a:lnTo>
                    <a:pt x="186" y="804"/>
                  </a:lnTo>
                  <a:lnTo>
                    <a:pt x="192" y="822"/>
                  </a:lnTo>
                  <a:lnTo>
                    <a:pt x="192" y="834"/>
                  </a:lnTo>
                  <a:lnTo>
                    <a:pt x="186" y="840"/>
                  </a:lnTo>
                  <a:lnTo>
                    <a:pt x="180" y="840"/>
                  </a:lnTo>
                  <a:lnTo>
                    <a:pt x="180" y="834"/>
                  </a:lnTo>
                  <a:lnTo>
                    <a:pt x="150" y="834"/>
                  </a:lnTo>
                  <a:lnTo>
                    <a:pt x="138" y="840"/>
                  </a:lnTo>
                  <a:lnTo>
                    <a:pt x="132" y="846"/>
                  </a:lnTo>
                  <a:lnTo>
                    <a:pt x="132" y="852"/>
                  </a:lnTo>
                  <a:lnTo>
                    <a:pt x="126" y="852"/>
                  </a:lnTo>
                  <a:lnTo>
                    <a:pt x="126" y="858"/>
                  </a:lnTo>
                  <a:lnTo>
                    <a:pt x="120" y="864"/>
                  </a:lnTo>
                  <a:lnTo>
                    <a:pt x="108" y="864"/>
                  </a:lnTo>
                  <a:lnTo>
                    <a:pt x="102" y="882"/>
                  </a:lnTo>
                  <a:lnTo>
                    <a:pt x="96" y="888"/>
                  </a:lnTo>
                  <a:lnTo>
                    <a:pt x="96" y="894"/>
                  </a:lnTo>
                  <a:lnTo>
                    <a:pt x="84" y="906"/>
                  </a:lnTo>
                  <a:lnTo>
                    <a:pt x="84" y="936"/>
                  </a:lnTo>
                  <a:lnTo>
                    <a:pt x="90" y="948"/>
                  </a:lnTo>
                  <a:lnTo>
                    <a:pt x="90" y="954"/>
                  </a:lnTo>
                  <a:lnTo>
                    <a:pt x="96" y="948"/>
                  </a:lnTo>
                  <a:lnTo>
                    <a:pt x="108" y="948"/>
                  </a:lnTo>
                  <a:lnTo>
                    <a:pt x="114" y="942"/>
                  </a:lnTo>
                  <a:lnTo>
                    <a:pt x="120" y="942"/>
                  </a:lnTo>
                  <a:lnTo>
                    <a:pt x="126" y="948"/>
                  </a:lnTo>
                  <a:lnTo>
                    <a:pt x="138" y="948"/>
                  </a:lnTo>
                  <a:lnTo>
                    <a:pt x="150" y="954"/>
                  </a:lnTo>
                  <a:lnTo>
                    <a:pt x="174" y="954"/>
                  </a:lnTo>
                  <a:lnTo>
                    <a:pt x="210" y="936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76" y="936"/>
                  </a:lnTo>
                  <a:lnTo>
                    <a:pt x="288" y="930"/>
                  </a:lnTo>
                  <a:lnTo>
                    <a:pt x="300" y="930"/>
                  </a:lnTo>
                  <a:lnTo>
                    <a:pt x="306" y="924"/>
                  </a:lnTo>
                  <a:lnTo>
                    <a:pt x="312" y="924"/>
                  </a:lnTo>
                  <a:lnTo>
                    <a:pt x="348" y="930"/>
                  </a:lnTo>
                  <a:lnTo>
                    <a:pt x="354" y="924"/>
                  </a:lnTo>
                  <a:lnTo>
                    <a:pt x="366" y="918"/>
                  </a:lnTo>
                  <a:lnTo>
                    <a:pt x="372" y="912"/>
                  </a:lnTo>
                  <a:lnTo>
                    <a:pt x="384" y="912"/>
                  </a:lnTo>
                  <a:lnTo>
                    <a:pt x="396" y="918"/>
                  </a:lnTo>
                  <a:lnTo>
                    <a:pt x="408" y="930"/>
                  </a:lnTo>
                  <a:lnTo>
                    <a:pt x="432" y="978"/>
                  </a:lnTo>
                  <a:lnTo>
                    <a:pt x="444" y="984"/>
                  </a:lnTo>
                  <a:lnTo>
                    <a:pt x="450" y="990"/>
                  </a:lnTo>
                  <a:lnTo>
                    <a:pt x="468" y="996"/>
                  </a:lnTo>
                  <a:lnTo>
                    <a:pt x="486" y="996"/>
                  </a:lnTo>
                  <a:lnTo>
                    <a:pt x="522" y="1008"/>
                  </a:lnTo>
                  <a:lnTo>
                    <a:pt x="540" y="1044"/>
                  </a:lnTo>
                  <a:lnTo>
                    <a:pt x="552" y="1056"/>
                  </a:lnTo>
                  <a:lnTo>
                    <a:pt x="570" y="1056"/>
                  </a:lnTo>
                  <a:lnTo>
                    <a:pt x="588" y="1050"/>
                  </a:lnTo>
                  <a:lnTo>
                    <a:pt x="582" y="1044"/>
                  </a:lnTo>
                  <a:lnTo>
                    <a:pt x="582" y="1032"/>
                  </a:lnTo>
                  <a:lnTo>
                    <a:pt x="594" y="1020"/>
                  </a:lnTo>
                  <a:lnTo>
                    <a:pt x="606" y="1020"/>
                  </a:lnTo>
                  <a:lnTo>
                    <a:pt x="618" y="1026"/>
                  </a:lnTo>
                  <a:lnTo>
                    <a:pt x="624" y="1032"/>
                  </a:lnTo>
                  <a:lnTo>
                    <a:pt x="648" y="1020"/>
                  </a:lnTo>
                  <a:lnTo>
                    <a:pt x="648" y="1026"/>
                  </a:lnTo>
                  <a:lnTo>
                    <a:pt x="654" y="1032"/>
                  </a:lnTo>
                  <a:lnTo>
                    <a:pt x="678" y="1032"/>
                  </a:lnTo>
                  <a:lnTo>
                    <a:pt x="690" y="1020"/>
                  </a:lnTo>
                  <a:lnTo>
                    <a:pt x="702" y="1014"/>
                  </a:lnTo>
                  <a:lnTo>
                    <a:pt x="708" y="1014"/>
                  </a:lnTo>
                  <a:lnTo>
                    <a:pt x="708" y="1026"/>
                  </a:lnTo>
                  <a:lnTo>
                    <a:pt x="714" y="1032"/>
                  </a:lnTo>
                  <a:lnTo>
                    <a:pt x="732" y="1032"/>
                  </a:lnTo>
                  <a:lnTo>
                    <a:pt x="738" y="1026"/>
                  </a:lnTo>
                  <a:lnTo>
                    <a:pt x="750" y="1020"/>
                  </a:lnTo>
                  <a:lnTo>
                    <a:pt x="750" y="996"/>
                  </a:lnTo>
                  <a:lnTo>
                    <a:pt x="744" y="990"/>
                  </a:lnTo>
                  <a:lnTo>
                    <a:pt x="738" y="978"/>
                  </a:lnTo>
                  <a:lnTo>
                    <a:pt x="714" y="936"/>
                  </a:lnTo>
                  <a:lnTo>
                    <a:pt x="714" y="912"/>
                  </a:lnTo>
                  <a:lnTo>
                    <a:pt x="690" y="912"/>
                  </a:lnTo>
                  <a:lnTo>
                    <a:pt x="678" y="900"/>
                  </a:lnTo>
                  <a:lnTo>
                    <a:pt x="672" y="888"/>
                  </a:lnTo>
                  <a:lnTo>
                    <a:pt x="666" y="882"/>
                  </a:lnTo>
                  <a:lnTo>
                    <a:pt x="672" y="852"/>
                  </a:lnTo>
                  <a:lnTo>
                    <a:pt x="672" y="834"/>
                  </a:lnTo>
                  <a:lnTo>
                    <a:pt x="642" y="840"/>
                  </a:lnTo>
                  <a:lnTo>
                    <a:pt x="636" y="840"/>
                  </a:lnTo>
                  <a:lnTo>
                    <a:pt x="624" y="834"/>
                  </a:lnTo>
                  <a:lnTo>
                    <a:pt x="618" y="828"/>
                  </a:lnTo>
                  <a:lnTo>
                    <a:pt x="618" y="804"/>
                  </a:lnTo>
                  <a:lnTo>
                    <a:pt x="624" y="792"/>
                  </a:lnTo>
                  <a:lnTo>
                    <a:pt x="636" y="780"/>
                  </a:lnTo>
                  <a:lnTo>
                    <a:pt x="642" y="768"/>
                  </a:lnTo>
                  <a:lnTo>
                    <a:pt x="648" y="762"/>
                  </a:lnTo>
                  <a:lnTo>
                    <a:pt x="654" y="750"/>
                  </a:lnTo>
                  <a:lnTo>
                    <a:pt x="654" y="744"/>
                  </a:lnTo>
                  <a:lnTo>
                    <a:pt x="666" y="732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90" y="732"/>
                  </a:lnTo>
                  <a:lnTo>
                    <a:pt x="690" y="744"/>
                  </a:lnTo>
                  <a:lnTo>
                    <a:pt x="696" y="750"/>
                  </a:lnTo>
                  <a:lnTo>
                    <a:pt x="702" y="750"/>
                  </a:lnTo>
                  <a:lnTo>
                    <a:pt x="726" y="738"/>
                  </a:lnTo>
                  <a:lnTo>
                    <a:pt x="732" y="732"/>
                  </a:lnTo>
                  <a:lnTo>
                    <a:pt x="738" y="738"/>
                  </a:lnTo>
                  <a:lnTo>
                    <a:pt x="756" y="738"/>
                  </a:lnTo>
                  <a:lnTo>
                    <a:pt x="762" y="732"/>
                  </a:lnTo>
                  <a:lnTo>
                    <a:pt x="768" y="720"/>
                  </a:lnTo>
                  <a:lnTo>
                    <a:pt x="774" y="714"/>
                  </a:lnTo>
                  <a:lnTo>
                    <a:pt x="774" y="708"/>
                  </a:lnTo>
                  <a:lnTo>
                    <a:pt x="792" y="696"/>
                  </a:lnTo>
                  <a:lnTo>
                    <a:pt x="792" y="678"/>
                  </a:lnTo>
                  <a:lnTo>
                    <a:pt x="798" y="672"/>
                  </a:lnTo>
                  <a:lnTo>
                    <a:pt x="798" y="666"/>
                  </a:lnTo>
                  <a:lnTo>
                    <a:pt x="804" y="660"/>
                  </a:lnTo>
                  <a:lnTo>
                    <a:pt x="828" y="648"/>
                  </a:lnTo>
                  <a:lnTo>
                    <a:pt x="840" y="636"/>
                  </a:lnTo>
                  <a:lnTo>
                    <a:pt x="846" y="618"/>
                  </a:lnTo>
                  <a:lnTo>
                    <a:pt x="846" y="606"/>
                  </a:lnTo>
                  <a:lnTo>
                    <a:pt x="852" y="588"/>
                  </a:lnTo>
                  <a:lnTo>
                    <a:pt x="852" y="576"/>
                  </a:lnTo>
                  <a:lnTo>
                    <a:pt x="858" y="570"/>
                  </a:lnTo>
                  <a:lnTo>
                    <a:pt x="870" y="564"/>
                  </a:lnTo>
                  <a:lnTo>
                    <a:pt x="876" y="558"/>
                  </a:lnTo>
                  <a:lnTo>
                    <a:pt x="888" y="558"/>
                  </a:lnTo>
                  <a:lnTo>
                    <a:pt x="870" y="534"/>
                  </a:lnTo>
                  <a:lnTo>
                    <a:pt x="894" y="498"/>
                  </a:lnTo>
                  <a:lnTo>
                    <a:pt x="924" y="480"/>
                  </a:lnTo>
                  <a:lnTo>
                    <a:pt x="924" y="474"/>
                  </a:lnTo>
                  <a:lnTo>
                    <a:pt x="912" y="462"/>
                  </a:lnTo>
                  <a:lnTo>
                    <a:pt x="906" y="450"/>
                  </a:lnTo>
                  <a:lnTo>
                    <a:pt x="906" y="414"/>
                  </a:lnTo>
                  <a:lnTo>
                    <a:pt x="912" y="408"/>
                  </a:lnTo>
                  <a:lnTo>
                    <a:pt x="924" y="408"/>
                  </a:lnTo>
                  <a:lnTo>
                    <a:pt x="948" y="396"/>
                  </a:lnTo>
                  <a:lnTo>
                    <a:pt x="954" y="390"/>
                  </a:lnTo>
                  <a:lnTo>
                    <a:pt x="954" y="384"/>
                  </a:lnTo>
                  <a:lnTo>
                    <a:pt x="948" y="378"/>
                  </a:lnTo>
                  <a:lnTo>
                    <a:pt x="936" y="372"/>
                  </a:lnTo>
                  <a:lnTo>
                    <a:pt x="900" y="372"/>
                  </a:lnTo>
                  <a:lnTo>
                    <a:pt x="894" y="336"/>
                  </a:lnTo>
                  <a:lnTo>
                    <a:pt x="876" y="336"/>
                  </a:lnTo>
                  <a:lnTo>
                    <a:pt x="864" y="318"/>
                  </a:lnTo>
                  <a:lnTo>
                    <a:pt x="846" y="318"/>
                  </a:lnTo>
                  <a:lnTo>
                    <a:pt x="846" y="306"/>
                  </a:lnTo>
                  <a:lnTo>
                    <a:pt x="852" y="294"/>
                  </a:lnTo>
                  <a:lnTo>
                    <a:pt x="852" y="288"/>
                  </a:lnTo>
                  <a:lnTo>
                    <a:pt x="846" y="288"/>
                  </a:lnTo>
                  <a:lnTo>
                    <a:pt x="834" y="276"/>
                  </a:lnTo>
                  <a:lnTo>
                    <a:pt x="834" y="270"/>
                  </a:lnTo>
                  <a:lnTo>
                    <a:pt x="840" y="264"/>
                  </a:lnTo>
                  <a:lnTo>
                    <a:pt x="846" y="252"/>
                  </a:lnTo>
                  <a:lnTo>
                    <a:pt x="852" y="246"/>
                  </a:lnTo>
                  <a:lnTo>
                    <a:pt x="822" y="240"/>
                  </a:lnTo>
                  <a:lnTo>
                    <a:pt x="828" y="228"/>
                  </a:lnTo>
                  <a:lnTo>
                    <a:pt x="804" y="210"/>
                  </a:lnTo>
                  <a:lnTo>
                    <a:pt x="804" y="204"/>
                  </a:lnTo>
                  <a:lnTo>
                    <a:pt x="810" y="192"/>
                  </a:lnTo>
                  <a:lnTo>
                    <a:pt x="834" y="180"/>
                  </a:lnTo>
                  <a:lnTo>
                    <a:pt x="876" y="180"/>
                  </a:lnTo>
                  <a:lnTo>
                    <a:pt x="894" y="186"/>
                  </a:lnTo>
                  <a:lnTo>
                    <a:pt x="912" y="186"/>
                  </a:lnTo>
                  <a:lnTo>
                    <a:pt x="918" y="192"/>
                  </a:lnTo>
                  <a:lnTo>
                    <a:pt x="918" y="204"/>
                  </a:lnTo>
                  <a:lnTo>
                    <a:pt x="930" y="204"/>
                  </a:lnTo>
                  <a:lnTo>
                    <a:pt x="942" y="198"/>
                  </a:lnTo>
                  <a:lnTo>
                    <a:pt x="948" y="192"/>
                  </a:lnTo>
                  <a:lnTo>
                    <a:pt x="960" y="186"/>
                  </a:lnTo>
                  <a:lnTo>
                    <a:pt x="966" y="180"/>
                  </a:lnTo>
                  <a:lnTo>
                    <a:pt x="972" y="186"/>
                  </a:lnTo>
                  <a:lnTo>
                    <a:pt x="978" y="180"/>
                  </a:lnTo>
                  <a:lnTo>
                    <a:pt x="1002" y="180"/>
                  </a:lnTo>
                  <a:lnTo>
                    <a:pt x="1002" y="162"/>
                  </a:lnTo>
                  <a:lnTo>
                    <a:pt x="1026" y="156"/>
                  </a:lnTo>
                  <a:lnTo>
                    <a:pt x="1050" y="120"/>
                  </a:lnTo>
                  <a:lnTo>
                    <a:pt x="1008" y="12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72" name="Parcel Islands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7008784" y="3872669"/>
              <a:ext cx="30716" cy="18372"/>
            </a:xfrm>
            <a:custGeom>
              <a:avLst/>
              <a:gdLst>
                <a:gd name="T0" fmla="*/ 2147483647 w 96"/>
                <a:gd name="T1" fmla="*/ 2147483647 h 66"/>
                <a:gd name="T2" fmla="*/ 2147483647 w 96"/>
                <a:gd name="T3" fmla="*/ 2147483647 h 66"/>
                <a:gd name="T4" fmla="*/ 0 w 96"/>
                <a:gd name="T5" fmla="*/ 2147483647 h 66"/>
                <a:gd name="T6" fmla="*/ 0 w 96"/>
                <a:gd name="T7" fmla="*/ 2147483647 h 66"/>
                <a:gd name="T8" fmla="*/ 2147483647 w 96"/>
                <a:gd name="T9" fmla="*/ 2147483647 h 66"/>
                <a:gd name="T10" fmla="*/ 2147483647 w 96"/>
                <a:gd name="T11" fmla="*/ 2147483647 h 66"/>
                <a:gd name="T12" fmla="*/ 2147483647 w 96"/>
                <a:gd name="T13" fmla="*/ 2147483647 h 66"/>
                <a:gd name="T14" fmla="*/ 2147483647 w 96"/>
                <a:gd name="T15" fmla="*/ 2147483647 h 66"/>
                <a:gd name="T16" fmla="*/ 2147483647 w 96"/>
                <a:gd name="T17" fmla="*/ 2147483647 h 66"/>
                <a:gd name="T18" fmla="*/ 2147483647 w 96"/>
                <a:gd name="T19" fmla="*/ 0 h 66"/>
                <a:gd name="T20" fmla="*/ 2147483647 w 96"/>
                <a:gd name="T21" fmla="*/ 2147483647 h 66"/>
                <a:gd name="T22" fmla="*/ 2147483647 w 96"/>
                <a:gd name="T23" fmla="*/ 2147483647 h 66"/>
                <a:gd name="T24" fmla="*/ 2147483647 w 96"/>
                <a:gd name="T25" fmla="*/ 2147483647 h 66"/>
                <a:gd name="T26" fmla="*/ 2147483647 w 96"/>
                <a:gd name="T27" fmla="*/ 2147483647 h 66"/>
                <a:gd name="T28" fmla="*/ 2147483647 w 96"/>
                <a:gd name="T29" fmla="*/ 0 h 66"/>
                <a:gd name="T30" fmla="*/ 2147483647 w 96"/>
                <a:gd name="T31" fmla="*/ 0 h 66"/>
                <a:gd name="T32" fmla="*/ 2147483647 w 96"/>
                <a:gd name="T33" fmla="*/ 2147483647 h 66"/>
                <a:gd name="T34" fmla="*/ 2147483647 w 96"/>
                <a:gd name="T35" fmla="*/ 2147483647 h 66"/>
                <a:gd name="T36" fmla="*/ 2147483647 w 96"/>
                <a:gd name="T37" fmla="*/ 2147483647 h 66"/>
                <a:gd name="T38" fmla="*/ 2147483647 w 96"/>
                <a:gd name="T39" fmla="*/ 2147483647 h 66"/>
                <a:gd name="T40" fmla="*/ 2147483647 w 96"/>
                <a:gd name="T41" fmla="*/ 2147483647 h 66"/>
                <a:gd name="T42" fmla="*/ 2147483647 w 96"/>
                <a:gd name="T43" fmla="*/ 2147483647 h 66"/>
                <a:gd name="T44" fmla="*/ 2147483647 w 96"/>
                <a:gd name="T45" fmla="*/ 2147483647 h 6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96"/>
                <a:gd name="T70" fmla="*/ 0 h 66"/>
                <a:gd name="T71" fmla="*/ 96 w 96"/>
                <a:gd name="T72" fmla="*/ 66 h 6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96" h="66">
                  <a:moveTo>
                    <a:pt x="12" y="42"/>
                  </a:moveTo>
                  <a:lnTo>
                    <a:pt x="6" y="42"/>
                  </a:lnTo>
                  <a:lnTo>
                    <a:pt x="0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54"/>
                  </a:lnTo>
                  <a:lnTo>
                    <a:pt x="24" y="42"/>
                  </a:lnTo>
                  <a:lnTo>
                    <a:pt x="12" y="42"/>
                  </a:lnTo>
                  <a:close/>
                  <a:moveTo>
                    <a:pt x="42" y="0"/>
                  </a:moveTo>
                  <a:lnTo>
                    <a:pt x="42" y="18"/>
                  </a:lnTo>
                  <a:lnTo>
                    <a:pt x="54" y="30"/>
                  </a:lnTo>
                  <a:lnTo>
                    <a:pt x="60" y="30"/>
                  </a:lnTo>
                  <a:lnTo>
                    <a:pt x="72" y="24"/>
                  </a:lnTo>
                  <a:lnTo>
                    <a:pt x="48" y="0"/>
                  </a:lnTo>
                  <a:lnTo>
                    <a:pt x="42" y="0"/>
                  </a:lnTo>
                  <a:close/>
                  <a:moveTo>
                    <a:pt x="96" y="36"/>
                  </a:moveTo>
                  <a:lnTo>
                    <a:pt x="78" y="36"/>
                  </a:lnTo>
                  <a:lnTo>
                    <a:pt x="72" y="42"/>
                  </a:lnTo>
                  <a:lnTo>
                    <a:pt x="72" y="54"/>
                  </a:lnTo>
                  <a:lnTo>
                    <a:pt x="84" y="60"/>
                  </a:lnTo>
                  <a:lnTo>
                    <a:pt x="96" y="48"/>
                  </a:lnTo>
                  <a:lnTo>
                    <a:pt x="96" y="3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73" name="Oman" descr="© INSCALE GmbH, 05.05.2010&#10;http://www.presentationload.com/"/>
            <p:cNvSpPr>
              <a:spLocks/>
            </p:cNvSpPr>
            <p:nvPr/>
          </p:nvSpPr>
          <p:spPr bwMode="gray">
            <a:xfrm>
              <a:off x="5653433" y="3677927"/>
              <a:ext cx="175338" cy="208215"/>
            </a:xfrm>
            <a:custGeom>
              <a:avLst/>
              <a:gdLst>
                <a:gd name="T0" fmla="*/ 2147483647 w 540"/>
                <a:gd name="T1" fmla="*/ 2147483647 h 672"/>
                <a:gd name="T2" fmla="*/ 2147483647 w 540"/>
                <a:gd name="T3" fmla="*/ 2147483647 h 672"/>
                <a:gd name="T4" fmla="*/ 2147483647 w 540"/>
                <a:gd name="T5" fmla="*/ 2147483647 h 672"/>
                <a:gd name="T6" fmla="*/ 2147483647 w 540"/>
                <a:gd name="T7" fmla="*/ 2147483647 h 672"/>
                <a:gd name="T8" fmla="*/ 2147483647 w 540"/>
                <a:gd name="T9" fmla="*/ 2147483647 h 672"/>
                <a:gd name="T10" fmla="*/ 2147483647 w 540"/>
                <a:gd name="T11" fmla="*/ 2147483647 h 672"/>
                <a:gd name="T12" fmla="*/ 2147483647 w 540"/>
                <a:gd name="T13" fmla="*/ 2147483647 h 672"/>
                <a:gd name="T14" fmla="*/ 2147483647 w 540"/>
                <a:gd name="T15" fmla="*/ 2147483647 h 672"/>
                <a:gd name="T16" fmla="*/ 2147483647 w 540"/>
                <a:gd name="T17" fmla="*/ 2147483647 h 672"/>
                <a:gd name="T18" fmla="*/ 2147483647 w 540"/>
                <a:gd name="T19" fmla="*/ 2147483647 h 672"/>
                <a:gd name="T20" fmla="*/ 2147483647 w 540"/>
                <a:gd name="T21" fmla="*/ 2147483647 h 672"/>
                <a:gd name="T22" fmla="*/ 2147483647 w 540"/>
                <a:gd name="T23" fmla="*/ 2147483647 h 672"/>
                <a:gd name="T24" fmla="*/ 2147483647 w 540"/>
                <a:gd name="T25" fmla="*/ 2147483647 h 672"/>
                <a:gd name="T26" fmla="*/ 2147483647 w 540"/>
                <a:gd name="T27" fmla="*/ 2147483647 h 672"/>
                <a:gd name="T28" fmla="*/ 2147483647 w 540"/>
                <a:gd name="T29" fmla="*/ 2147483647 h 672"/>
                <a:gd name="T30" fmla="*/ 2147483647 w 540"/>
                <a:gd name="T31" fmla="*/ 2147483647 h 672"/>
                <a:gd name="T32" fmla="*/ 2147483647 w 540"/>
                <a:gd name="T33" fmla="*/ 2147483647 h 672"/>
                <a:gd name="T34" fmla="*/ 2147483647 w 540"/>
                <a:gd name="T35" fmla="*/ 2147483647 h 672"/>
                <a:gd name="T36" fmla="*/ 2147483647 w 540"/>
                <a:gd name="T37" fmla="*/ 2147483647 h 672"/>
                <a:gd name="T38" fmla="*/ 2147483647 w 540"/>
                <a:gd name="T39" fmla="*/ 2147483647 h 672"/>
                <a:gd name="T40" fmla="*/ 2147483647 w 540"/>
                <a:gd name="T41" fmla="*/ 2147483647 h 672"/>
                <a:gd name="T42" fmla="*/ 2147483647 w 540"/>
                <a:gd name="T43" fmla="*/ 2147483647 h 672"/>
                <a:gd name="T44" fmla="*/ 2147483647 w 540"/>
                <a:gd name="T45" fmla="*/ 2147483647 h 672"/>
                <a:gd name="T46" fmla="*/ 2147483647 w 540"/>
                <a:gd name="T47" fmla="*/ 2147483647 h 672"/>
                <a:gd name="T48" fmla="*/ 2147483647 w 540"/>
                <a:gd name="T49" fmla="*/ 2147483647 h 672"/>
                <a:gd name="T50" fmla="*/ 2147483647 w 540"/>
                <a:gd name="T51" fmla="*/ 0 h 672"/>
                <a:gd name="T52" fmla="*/ 2147483647 w 540"/>
                <a:gd name="T53" fmla="*/ 2147483647 h 672"/>
                <a:gd name="T54" fmla="*/ 2147483647 w 540"/>
                <a:gd name="T55" fmla="*/ 2147483647 h 672"/>
                <a:gd name="T56" fmla="*/ 2147483647 w 540"/>
                <a:gd name="T57" fmla="*/ 2147483647 h 672"/>
                <a:gd name="T58" fmla="*/ 2147483647 w 540"/>
                <a:gd name="T59" fmla="*/ 2147483647 h 672"/>
                <a:gd name="T60" fmla="*/ 2147483647 w 540"/>
                <a:gd name="T61" fmla="*/ 2147483647 h 672"/>
                <a:gd name="T62" fmla="*/ 2147483647 w 540"/>
                <a:gd name="T63" fmla="*/ 2147483647 h 672"/>
                <a:gd name="T64" fmla="*/ 2147483647 w 540"/>
                <a:gd name="T65" fmla="*/ 2147483647 h 672"/>
                <a:gd name="T66" fmla="*/ 2147483647 w 540"/>
                <a:gd name="T67" fmla="*/ 2147483647 h 672"/>
                <a:gd name="T68" fmla="*/ 2147483647 w 540"/>
                <a:gd name="T69" fmla="*/ 2147483647 h 672"/>
                <a:gd name="T70" fmla="*/ 2147483647 w 540"/>
                <a:gd name="T71" fmla="*/ 2147483647 h 672"/>
                <a:gd name="T72" fmla="*/ 2147483647 w 540"/>
                <a:gd name="T73" fmla="*/ 2147483647 h 672"/>
                <a:gd name="T74" fmla="*/ 2147483647 w 540"/>
                <a:gd name="T75" fmla="*/ 2147483647 h 672"/>
                <a:gd name="T76" fmla="*/ 2147483647 w 540"/>
                <a:gd name="T77" fmla="*/ 2147483647 h 672"/>
                <a:gd name="T78" fmla="*/ 2147483647 w 540"/>
                <a:gd name="T79" fmla="*/ 2147483647 h 672"/>
                <a:gd name="T80" fmla="*/ 2147483647 w 540"/>
                <a:gd name="T81" fmla="*/ 2147483647 h 672"/>
                <a:gd name="T82" fmla="*/ 2147483647 w 540"/>
                <a:gd name="T83" fmla="*/ 2147483647 h 672"/>
                <a:gd name="T84" fmla="*/ 2147483647 w 540"/>
                <a:gd name="T85" fmla="*/ 2147483647 h 672"/>
                <a:gd name="T86" fmla="*/ 2147483647 w 540"/>
                <a:gd name="T87" fmla="*/ 2147483647 h 67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540"/>
                <a:gd name="T133" fmla="*/ 0 h 672"/>
                <a:gd name="T134" fmla="*/ 540 w 540"/>
                <a:gd name="T135" fmla="*/ 672 h 67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540" h="672">
                  <a:moveTo>
                    <a:pt x="258" y="564"/>
                  </a:moveTo>
                  <a:lnTo>
                    <a:pt x="276" y="564"/>
                  </a:lnTo>
                  <a:lnTo>
                    <a:pt x="288" y="558"/>
                  </a:lnTo>
                  <a:lnTo>
                    <a:pt x="306" y="552"/>
                  </a:lnTo>
                  <a:lnTo>
                    <a:pt x="330" y="540"/>
                  </a:lnTo>
                  <a:lnTo>
                    <a:pt x="336" y="528"/>
                  </a:lnTo>
                  <a:lnTo>
                    <a:pt x="342" y="510"/>
                  </a:lnTo>
                  <a:lnTo>
                    <a:pt x="342" y="498"/>
                  </a:lnTo>
                  <a:lnTo>
                    <a:pt x="348" y="498"/>
                  </a:lnTo>
                  <a:lnTo>
                    <a:pt x="354" y="492"/>
                  </a:lnTo>
                  <a:lnTo>
                    <a:pt x="366" y="486"/>
                  </a:lnTo>
                  <a:lnTo>
                    <a:pt x="384" y="480"/>
                  </a:lnTo>
                  <a:lnTo>
                    <a:pt x="408" y="456"/>
                  </a:lnTo>
                  <a:lnTo>
                    <a:pt x="414" y="444"/>
                  </a:lnTo>
                  <a:lnTo>
                    <a:pt x="414" y="426"/>
                  </a:lnTo>
                  <a:lnTo>
                    <a:pt x="420" y="408"/>
                  </a:lnTo>
                  <a:lnTo>
                    <a:pt x="420" y="378"/>
                  </a:lnTo>
                  <a:lnTo>
                    <a:pt x="426" y="372"/>
                  </a:lnTo>
                  <a:lnTo>
                    <a:pt x="432" y="372"/>
                  </a:lnTo>
                  <a:lnTo>
                    <a:pt x="444" y="378"/>
                  </a:lnTo>
                  <a:lnTo>
                    <a:pt x="450" y="384"/>
                  </a:lnTo>
                  <a:lnTo>
                    <a:pt x="462" y="384"/>
                  </a:lnTo>
                  <a:lnTo>
                    <a:pt x="468" y="378"/>
                  </a:lnTo>
                  <a:lnTo>
                    <a:pt x="480" y="354"/>
                  </a:lnTo>
                  <a:lnTo>
                    <a:pt x="480" y="330"/>
                  </a:lnTo>
                  <a:lnTo>
                    <a:pt x="534" y="276"/>
                  </a:lnTo>
                  <a:lnTo>
                    <a:pt x="534" y="264"/>
                  </a:lnTo>
                  <a:lnTo>
                    <a:pt x="540" y="252"/>
                  </a:lnTo>
                  <a:lnTo>
                    <a:pt x="540" y="204"/>
                  </a:lnTo>
                  <a:lnTo>
                    <a:pt x="528" y="192"/>
                  </a:lnTo>
                  <a:lnTo>
                    <a:pt x="510" y="192"/>
                  </a:lnTo>
                  <a:lnTo>
                    <a:pt x="510" y="186"/>
                  </a:lnTo>
                  <a:lnTo>
                    <a:pt x="492" y="168"/>
                  </a:lnTo>
                  <a:lnTo>
                    <a:pt x="486" y="150"/>
                  </a:lnTo>
                  <a:lnTo>
                    <a:pt x="462" y="126"/>
                  </a:lnTo>
                  <a:lnTo>
                    <a:pt x="456" y="114"/>
                  </a:lnTo>
                  <a:lnTo>
                    <a:pt x="432" y="96"/>
                  </a:lnTo>
                  <a:lnTo>
                    <a:pt x="396" y="84"/>
                  </a:lnTo>
                  <a:lnTo>
                    <a:pt x="366" y="78"/>
                  </a:lnTo>
                  <a:lnTo>
                    <a:pt x="348" y="78"/>
                  </a:lnTo>
                  <a:lnTo>
                    <a:pt x="342" y="72"/>
                  </a:lnTo>
                  <a:lnTo>
                    <a:pt x="330" y="72"/>
                  </a:lnTo>
                  <a:lnTo>
                    <a:pt x="318" y="60"/>
                  </a:lnTo>
                  <a:lnTo>
                    <a:pt x="294" y="48"/>
                  </a:lnTo>
                  <a:lnTo>
                    <a:pt x="288" y="36"/>
                  </a:lnTo>
                  <a:lnTo>
                    <a:pt x="288" y="30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52" y="18"/>
                  </a:lnTo>
                  <a:lnTo>
                    <a:pt x="246" y="6"/>
                  </a:lnTo>
                  <a:lnTo>
                    <a:pt x="246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24"/>
                  </a:lnTo>
                  <a:lnTo>
                    <a:pt x="228" y="54"/>
                  </a:lnTo>
                  <a:lnTo>
                    <a:pt x="246" y="72"/>
                  </a:lnTo>
                  <a:lnTo>
                    <a:pt x="246" y="78"/>
                  </a:lnTo>
                  <a:lnTo>
                    <a:pt x="240" y="78"/>
                  </a:lnTo>
                  <a:lnTo>
                    <a:pt x="240" y="72"/>
                  </a:lnTo>
                  <a:lnTo>
                    <a:pt x="228" y="72"/>
                  </a:lnTo>
                  <a:lnTo>
                    <a:pt x="228" y="78"/>
                  </a:lnTo>
                  <a:lnTo>
                    <a:pt x="222" y="84"/>
                  </a:lnTo>
                  <a:lnTo>
                    <a:pt x="222" y="96"/>
                  </a:lnTo>
                  <a:lnTo>
                    <a:pt x="216" y="108"/>
                  </a:lnTo>
                  <a:lnTo>
                    <a:pt x="216" y="120"/>
                  </a:lnTo>
                  <a:lnTo>
                    <a:pt x="210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2" y="156"/>
                  </a:lnTo>
                  <a:lnTo>
                    <a:pt x="192" y="168"/>
                  </a:lnTo>
                  <a:lnTo>
                    <a:pt x="210" y="204"/>
                  </a:lnTo>
                  <a:lnTo>
                    <a:pt x="216" y="210"/>
                  </a:lnTo>
                  <a:lnTo>
                    <a:pt x="216" y="222"/>
                  </a:lnTo>
                  <a:lnTo>
                    <a:pt x="222" y="228"/>
                  </a:lnTo>
                  <a:lnTo>
                    <a:pt x="234" y="234"/>
                  </a:lnTo>
                  <a:lnTo>
                    <a:pt x="240" y="240"/>
                  </a:lnTo>
                  <a:lnTo>
                    <a:pt x="204" y="414"/>
                  </a:lnTo>
                  <a:lnTo>
                    <a:pt x="0" y="486"/>
                  </a:lnTo>
                  <a:lnTo>
                    <a:pt x="84" y="672"/>
                  </a:lnTo>
                  <a:lnTo>
                    <a:pt x="114" y="660"/>
                  </a:lnTo>
                  <a:lnTo>
                    <a:pt x="198" y="636"/>
                  </a:lnTo>
                  <a:lnTo>
                    <a:pt x="228" y="624"/>
                  </a:lnTo>
                  <a:lnTo>
                    <a:pt x="246" y="618"/>
                  </a:lnTo>
                  <a:lnTo>
                    <a:pt x="252" y="606"/>
                  </a:lnTo>
                  <a:lnTo>
                    <a:pt x="252" y="594"/>
                  </a:lnTo>
                  <a:lnTo>
                    <a:pt x="258" y="582"/>
                  </a:lnTo>
                  <a:lnTo>
                    <a:pt x="258" y="56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74" name="Norway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4609082" y="2401697"/>
              <a:ext cx="440265" cy="464195"/>
            </a:xfrm>
            <a:custGeom>
              <a:avLst/>
              <a:gdLst>
                <a:gd name="T0" fmla="*/ 2147483647 w 1362"/>
                <a:gd name="T1" fmla="*/ 2147483647 h 1500"/>
                <a:gd name="T2" fmla="*/ 2147483647 w 1362"/>
                <a:gd name="T3" fmla="*/ 2147483647 h 1500"/>
                <a:gd name="T4" fmla="*/ 2147483647 w 1362"/>
                <a:gd name="T5" fmla="*/ 2147483647 h 1500"/>
                <a:gd name="T6" fmla="*/ 2147483647 w 1362"/>
                <a:gd name="T7" fmla="*/ 2147483647 h 1500"/>
                <a:gd name="T8" fmla="*/ 2147483647 w 1362"/>
                <a:gd name="T9" fmla="*/ 0 h 1500"/>
                <a:gd name="T10" fmla="*/ 2147483647 w 1362"/>
                <a:gd name="T11" fmla="*/ 2147483647 h 1500"/>
                <a:gd name="T12" fmla="*/ 2147483647 w 1362"/>
                <a:gd name="T13" fmla="*/ 2147483647 h 1500"/>
                <a:gd name="T14" fmla="*/ 2147483647 w 1362"/>
                <a:gd name="T15" fmla="*/ 2147483647 h 1500"/>
                <a:gd name="T16" fmla="*/ 2147483647 w 1362"/>
                <a:gd name="T17" fmla="*/ 2147483647 h 1500"/>
                <a:gd name="T18" fmla="*/ 2147483647 w 1362"/>
                <a:gd name="T19" fmla="*/ 2147483647 h 1500"/>
                <a:gd name="T20" fmla="*/ 2147483647 w 1362"/>
                <a:gd name="T21" fmla="*/ 2147483647 h 1500"/>
                <a:gd name="T22" fmla="*/ 2147483647 w 1362"/>
                <a:gd name="T23" fmla="*/ 2147483647 h 1500"/>
                <a:gd name="T24" fmla="*/ 2147483647 w 1362"/>
                <a:gd name="T25" fmla="*/ 2147483647 h 1500"/>
                <a:gd name="T26" fmla="*/ 2147483647 w 1362"/>
                <a:gd name="T27" fmla="*/ 2147483647 h 1500"/>
                <a:gd name="T28" fmla="*/ 2147483647 w 1362"/>
                <a:gd name="T29" fmla="*/ 2147483647 h 1500"/>
                <a:gd name="T30" fmla="*/ 2147483647 w 1362"/>
                <a:gd name="T31" fmla="*/ 2147483647 h 1500"/>
                <a:gd name="T32" fmla="*/ 2147483647 w 1362"/>
                <a:gd name="T33" fmla="*/ 2147483647 h 1500"/>
                <a:gd name="T34" fmla="*/ 2147483647 w 1362"/>
                <a:gd name="T35" fmla="*/ 2147483647 h 1500"/>
                <a:gd name="T36" fmla="*/ 2147483647 w 1362"/>
                <a:gd name="T37" fmla="*/ 2147483647 h 1500"/>
                <a:gd name="T38" fmla="*/ 2147483647 w 1362"/>
                <a:gd name="T39" fmla="*/ 2147483647 h 1500"/>
                <a:gd name="T40" fmla="*/ 2147483647 w 1362"/>
                <a:gd name="T41" fmla="*/ 2147483647 h 1500"/>
                <a:gd name="T42" fmla="*/ 2147483647 w 1362"/>
                <a:gd name="T43" fmla="*/ 2147483647 h 1500"/>
                <a:gd name="T44" fmla="*/ 2147483647 w 1362"/>
                <a:gd name="T45" fmla="*/ 2147483647 h 1500"/>
                <a:gd name="T46" fmla="*/ 2147483647 w 1362"/>
                <a:gd name="T47" fmla="*/ 2147483647 h 1500"/>
                <a:gd name="T48" fmla="*/ 2147483647 w 1362"/>
                <a:gd name="T49" fmla="*/ 2147483647 h 1500"/>
                <a:gd name="T50" fmla="*/ 2147483647 w 1362"/>
                <a:gd name="T51" fmla="*/ 2147483647 h 1500"/>
                <a:gd name="T52" fmla="*/ 2147483647 w 1362"/>
                <a:gd name="T53" fmla="*/ 2147483647 h 1500"/>
                <a:gd name="T54" fmla="*/ 2147483647 w 1362"/>
                <a:gd name="T55" fmla="*/ 2147483647 h 1500"/>
                <a:gd name="T56" fmla="*/ 2147483647 w 1362"/>
                <a:gd name="T57" fmla="*/ 2147483647 h 1500"/>
                <a:gd name="T58" fmla="*/ 2147483647 w 1362"/>
                <a:gd name="T59" fmla="*/ 2147483647 h 1500"/>
                <a:gd name="T60" fmla="*/ 2147483647 w 1362"/>
                <a:gd name="T61" fmla="*/ 2147483647 h 1500"/>
                <a:gd name="T62" fmla="*/ 2147483647 w 1362"/>
                <a:gd name="T63" fmla="*/ 2147483647 h 1500"/>
                <a:gd name="T64" fmla="*/ 2147483647 w 1362"/>
                <a:gd name="T65" fmla="*/ 2147483647 h 1500"/>
                <a:gd name="T66" fmla="*/ 2147483647 w 1362"/>
                <a:gd name="T67" fmla="*/ 2147483647 h 1500"/>
                <a:gd name="T68" fmla="*/ 2147483647 w 1362"/>
                <a:gd name="T69" fmla="*/ 2147483647 h 1500"/>
                <a:gd name="T70" fmla="*/ 2147483647 w 1362"/>
                <a:gd name="T71" fmla="*/ 2147483647 h 1500"/>
                <a:gd name="T72" fmla="*/ 2147483647 w 1362"/>
                <a:gd name="T73" fmla="*/ 2147483647 h 1500"/>
                <a:gd name="T74" fmla="*/ 2147483647 w 1362"/>
                <a:gd name="T75" fmla="*/ 2147483647 h 1500"/>
                <a:gd name="T76" fmla="*/ 2147483647 w 1362"/>
                <a:gd name="T77" fmla="*/ 2147483647 h 1500"/>
                <a:gd name="T78" fmla="*/ 2147483647 w 1362"/>
                <a:gd name="T79" fmla="*/ 2147483647 h 1500"/>
                <a:gd name="T80" fmla="*/ 2147483647 w 1362"/>
                <a:gd name="T81" fmla="*/ 2147483647 h 1500"/>
                <a:gd name="T82" fmla="*/ 2147483647 w 1362"/>
                <a:gd name="T83" fmla="*/ 2147483647 h 1500"/>
                <a:gd name="T84" fmla="*/ 2147483647 w 1362"/>
                <a:gd name="T85" fmla="*/ 2147483647 h 1500"/>
                <a:gd name="T86" fmla="*/ 2147483647 w 1362"/>
                <a:gd name="T87" fmla="*/ 2147483647 h 1500"/>
                <a:gd name="T88" fmla="*/ 2147483647 w 1362"/>
                <a:gd name="T89" fmla="*/ 2147483647 h 1500"/>
                <a:gd name="T90" fmla="*/ 2147483647 w 1362"/>
                <a:gd name="T91" fmla="*/ 2147483647 h 1500"/>
                <a:gd name="T92" fmla="*/ 2147483647 w 1362"/>
                <a:gd name="T93" fmla="*/ 2147483647 h 1500"/>
                <a:gd name="T94" fmla="*/ 2147483647 w 1362"/>
                <a:gd name="T95" fmla="*/ 2147483647 h 1500"/>
                <a:gd name="T96" fmla="*/ 2147483647 w 1362"/>
                <a:gd name="T97" fmla="*/ 2147483647 h 1500"/>
                <a:gd name="T98" fmla="*/ 2147483647 w 1362"/>
                <a:gd name="T99" fmla="*/ 2147483647 h 1500"/>
                <a:gd name="T100" fmla="*/ 2147483647 w 1362"/>
                <a:gd name="T101" fmla="*/ 2147483647 h 1500"/>
                <a:gd name="T102" fmla="*/ 2147483647 w 1362"/>
                <a:gd name="T103" fmla="*/ 2147483647 h 1500"/>
                <a:gd name="T104" fmla="*/ 2147483647 w 1362"/>
                <a:gd name="T105" fmla="*/ 2147483647 h 1500"/>
                <a:gd name="T106" fmla="*/ 2147483647 w 1362"/>
                <a:gd name="T107" fmla="*/ 2147483647 h 1500"/>
                <a:gd name="T108" fmla="*/ 2147483647 w 1362"/>
                <a:gd name="T109" fmla="*/ 2147483647 h 1500"/>
                <a:gd name="T110" fmla="*/ 2147483647 w 1362"/>
                <a:gd name="T111" fmla="*/ 2147483647 h 1500"/>
                <a:gd name="T112" fmla="*/ 2147483647 w 1362"/>
                <a:gd name="T113" fmla="*/ 2147483647 h 1500"/>
                <a:gd name="T114" fmla="*/ 2147483647 w 1362"/>
                <a:gd name="T115" fmla="*/ 2147483647 h 150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62"/>
                <a:gd name="T175" fmla="*/ 0 h 1500"/>
                <a:gd name="T176" fmla="*/ 1362 w 1362"/>
                <a:gd name="T177" fmla="*/ 1500 h 150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62" h="1500">
                  <a:moveTo>
                    <a:pt x="324" y="120"/>
                  </a:moveTo>
                  <a:lnTo>
                    <a:pt x="336" y="126"/>
                  </a:lnTo>
                  <a:lnTo>
                    <a:pt x="354" y="132"/>
                  </a:lnTo>
                  <a:lnTo>
                    <a:pt x="378" y="132"/>
                  </a:lnTo>
                  <a:lnTo>
                    <a:pt x="294" y="90"/>
                  </a:lnTo>
                  <a:lnTo>
                    <a:pt x="294" y="102"/>
                  </a:lnTo>
                  <a:lnTo>
                    <a:pt x="306" y="108"/>
                  </a:lnTo>
                  <a:lnTo>
                    <a:pt x="312" y="114"/>
                  </a:lnTo>
                  <a:lnTo>
                    <a:pt x="324" y="120"/>
                  </a:lnTo>
                  <a:close/>
                  <a:moveTo>
                    <a:pt x="684" y="48"/>
                  </a:moveTo>
                  <a:lnTo>
                    <a:pt x="732" y="48"/>
                  </a:lnTo>
                  <a:lnTo>
                    <a:pt x="738" y="54"/>
                  </a:lnTo>
                  <a:lnTo>
                    <a:pt x="750" y="54"/>
                  </a:lnTo>
                  <a:lnTo>
                    <a:pt x="774" y="66"/>
                  </a:lnTo>
                  <a:lnTo>
                    <a:pt x="786" y="66"/>
                  </a:lnTo>
                  <a:lnTo>
                    <a:pt x="798" y="60"/>
                  </a:lnTo>
                  <a:lnTo>
                    <a:pt x="804" y="60"/>
                  </a:lnTo>
                  <a:lnTo>
                    <a:pt x="816" y="54"/>
                  </a:lnTo>
                  <a:lnTo>
                    <a:pt x="828" y="54"/>
                  </a:lnTo>
                  <a:lnTo>
                    <a:pt x="840" y="60"/>
                  </a:lnTo>
                  <a:lnTo>
                    <a:pt x="876" y="72"/>
                  </a:lnTo>
                  <a:lnTo>
                    <a:pt x="888" y="78"/>
                  </a:lnTo>
                  <a:lnTo>
                    <a:pt x="894" y="84"/>
                  </a:lnTo>
                  <a:lnTo>
                    <a:pt x="900" y="84"/>
                  </a:lnTo>
                  <a:lnTo>
                    <a:pt x="924" y="60"/>
                  </a:lnTo>
                  <a:lnTo>
                    <a:pt x="984" y="66"/>
                  </a:lnTo>
                  <a:lnTo>
                    <a:pt x="984" y="42"/>
                  </a:lnTo>
                  <a:lnTo>
                    <a:pt x="1014" y="42"/>
                  </a:lnTo>
                  <a:lnTo>
                    <a:pt x="1026" y="36"/>
                  </a:lnTo>
                  <a:lnTo>
                    <a:pt x="1032" y="24"/>
                  </a:lnTo>
                  <a:lnTo>
                    <a:pt x="1038" y="18"/>
                  </a:lnTo>
                  <a:lnTo>
                    <a:pt x="1032" y="12"/>
                  </a:lnTo>
                  <a:lnTo>
                    <a:pt x="1002" y="12"/>
                  </a:lnTo>
                  <a:lnTo>
                    <a:pt x="990" y="18"/>
                  </a:lnTo>
                  <a:lnTo>
                    <a:pt x="984" y="18"/>
                  </a:lnTo>
                  <a:lnTo>
                    <a:pt x="972" y="6"/>
                  </a:lnTo>
                  <a:lnTo>
                    <a:pt x="960" y="0"/>
                  </a:lnTo>
                  <a:lnTo>
                    <a:pt x="918" y="0"/>
                  </a:lnTo>
                  <a:lnTo>
                    <a:pt x="900" y="6"/>
                  </a:lnTo>
                  <a:lnTo>
                    <a:pt x="882" y="18"/>
                  </a:lnTo>
                  <a:lnTo>
                    <a:pt x="870" y="18"/>
                  </a:lnTo>
                  <a:lnTo>
                    <a:pt x="864" y="12"/>
                  </a:lnTo>
                  <a:lnTo>
                    <a:pt x="864" y="6"/>
                  </a:lnTo>
                  <a:lnTo>
                    <a:pt x="858" y="6"/>
                  </a:lnTo>
                  <a:lnTo>
                    <a:pt x="852" y="0"/>
                  </a:lnTo>
                  <a:lnTo>
                    <a:pt x="822" y="0"/>
                  </a:lnTo>
                  <a:lnTo>
                    <a:pt x="804" y="18"/>
                  </a:lnTo>
                  <a:lnTo>
                    <a:pt x="738" y="0"/>
                  </a:lnTo>
                  <a:lnTo>
                    <a:pt x="726" y="0"/>
                  </a:lnTo>
                  <a:lnTo>
                    <a:pt x="708" y="6"/>
                  </a:lnTo>
                  <a:lnTo>
                    <a:pt x="690" y="6"/>
                  </a:lnTo>
                  <a:lnTo>
                    <a:pt x="672" y="12"/>
                  </a:lnTo>
                  <a:lnTo>
                    <a:pt x="660" y="12"/>
                  </a:lnTo>
                  <a:lnTo>
                    <a:pt x="660" y="6"/>
                  </a:lnTo>
                  <a:lnTo>
                    <a:pt x="666" y="0"/>
                  </a:lnTo>
                  <a:lnTo>
                    <a:pt x="630" y="12"/>
                  </a:lnTo>
                  <a:lnTo>
                    <a:pt x="648" y="36"/>
                  </a:lnTo>
                  <a:lnTo>
                    <a:pt x="684" y="48"/>
                  </a:lnTo>
                  <a:close/>
                  <a:moveTo>
                    <a:pt x="324" y="66"/>
                  </a:moveTo>
                  <a:lnTo>
                    <a:pt x="342" y="66"/>
                  </a:lnTo>
                  <a:lnTo>
                    <a:pt x="348" y="72"/>
                  </a:lnTo>
                  <a:lnTo>
                    <a:pt x="360" y="72"/>
                  </a:lnTo>
                  <a:lnTo>
                    <a:pt x="360" y="78"/>
                  </a:lnTo>
                  <a:lnTo>
                    <a:pt x="342" y="96"/>
                  </a:lnTo>
                  <a:lnTo>
                    <a:pt x="336" y="96"/>
                  </a:lnTo>
                  <a:lnTo>
                    <a:pt x="378" y="114"/>
                  </a:lnTo>
                  <a:lnTo>
                    <a:pt x="390" y="120"/>
                  </a:lnTo>
                  <a:lnTo>
                    <a:pt x="396" y="126"/>
                  </a:lnTo>
                  <a:lnTo>
                    <a:pt x="414" y="126"/>
                  </a:lnTo>
                  <a:lnTo>
                    <a:pt x="426" y="132"/>
                  </a:lnTo>
                  <a:lnTo>
                    <a:pt x="438" y="132"/>
                  </a:lnTo>
                  <a:lnTo>
                    <a:pt x="462" y="108"/>
                  </a:lnTo>
                  <a:lnTo>
                    <a:pt x="504" y="96"/>
                  </a:lnTo>
                  <a:lnTo>
                    <a:pt x="534" y="120"/>
                  </a:lnTo>
                  <a:lnTo>
                    <a:pt x="528" y="120"/>
                  </a:lnTo>
                  <a:lnTo>
                    <a:pt x="516" y="126"/>
                  </a:lnTo>
                  <a:lnTo>
                    <a:pt x="504" y="126"/>
                  </a:lnTo>
                  <a:lnTo>
                    <a:pt x="480" y="132"/>
                  </a:lnTo>
                  <a:lnTo>
                    <a:pt x="468" y="138"/>
                  </a:lnTo>
                  <a:lnTo>
                    <a:pt x="456" y="150"/>
                  </a:lnTo>
                  <a:lnTo>
                    <a:pt x="486" y="150"/>
                  </a:lnTo>
                  <a:lnTo>
                    <a:pt x="498" y="156"/>
                  </a:lnTo>
                  <a:lnTo>
                    <a:pt x="522" y="156"/>
                  </a:lnTo>
                  <a:lnTo>
                    <a:pt x="516" y="162"/>
                  </a:lnTo>
                  <a:lnTo>
                    <a:pt x="504" y="162"/>
                  </a:lnTo>
                  <a:lnTo>
                    <a:pt x="486" y="168"/>
                  </a:lnTo>
                  <a:lnTo>
                    <a:pt x="474" y="174"/>
                  </a:lnTo>
                  <a:lnTo>
                    <a:pt x="468" y="180"/>
                  </a:lnTo>
                  <a:lnTo>
                    <a:pt x="462" y="180"/>
                  </a:lnTo>
                  <a:lnTo>
                    <a:pt x="516" y="198"/>
                  </a:lnTo>
                  <a:lnTo>
                    <a:pt x="522" y="198"/>
                  </a:lnTo>
                  <a:lnTo>
                    <a:pt x="528" y="204"/>
                  </a:lnTo>
                  <a:lnTo>
                    <a:pt x="540" y="210"/>
                  </a:lnTo>
                  <a:lnTo>
                    <a:pt x="558" y="210"/>
                  </a:lnTo>
                  <a:lnTo>
                    <a:pt x="576" y="216"/>
                  </a:lnTo>
                  <a:lnTo>
                    <a:pt x="594" y="210"/>
                  </a:lnTo>
                  <a:lnTo>
                    <a:pt x="606" y="204"/>
                  </a:lnTo>
                  <a:lnTo>
                    <a:pt x="612" y="204"/>
                  </a:lnTo>
                  <a:lnTo>
                    <a:pt x="618" y="198"/>
                  </a:lnTo>
                  <a:lnTo>
                    <a:pt x="612" y="192"/>
                  </a:lnTo>
                  <a:lnTo>
                    <a:pt x="612" y="186"/>
                  </a:lnTo>
                  <a:lnTo>
                    <a:pt x="606" y="180"/>
                  </a:lnTo>
                  <a:lnTo>
                    <a:pt x="606" y="174"/>
                  </a:lnTo>
                  <a:lnTo>
                    <a:pt x="612" y="168"/>
                  </a:lnTo>
                  <a:lnTo>
                    <a:pt x="618" y="168"/>
                  </a:lnTo>
                  <a:lnTo>
                    <a:pt x="630" y="162"/>
                  </a:lnTo>
                  <a:lnTo>
                    <a:pt x="648" y="162"/>
                  </a:lnTo>
                  <a:lnTo>
                    <a:pt x="648" y="144"/>
                  </a:lnTo>
                  <a:lnTo>
                    <a:pt x="678" y="132"/>
                  </a:lnTo>
                  <a:lnTo>
                    <a:pt x="690" y="102"/>
                  </a:lnTo>
                  <a:lnTo>
                    <a:pt x="714" y="114"/>
                  </a:lnTo>
                  <a:lnTo>
                    <a:pt x="738" y="102"/>
                  </a:lnTo>
                  <a:lnTo>
                    <a:pt x="750" y="114"/>
                  </a:lnTo>
                  <a:lnTo>
                    <a:pt x="762" y="120"/>
                  </a:lnTo>
                  <a:lnTo>
                    <a:pt x="780" y="126"/>
                  </a:lnTo>
                  <a:lnTo>
                    <a:pt x="792" y="138"/>
                  </a:lnTo>
                  <a:lnTo>
                    <a:pt x="792" y="144"/>
                  </a:lnTo>
                  <a:lnTo>
                    <a:pt x="786" y="150"/>
                  </a:lnTo>
                  <a:lnTo>
                    <a:pt x="786" y="162"/>
                  </a:lnTo>
                  <a:lnTo>
                    <a:pt x="774" y="174"/>
                  </a:lnTo>
                  <a:lnTo>
                    <a:pt x="828" y="174"/>
                  </a:lnTo>
                  <a:lnTo>
                    <a:pt x="834" y="180"/>
                  </a:lnTo>
                  <a:lnTo>
                    <a:pt x="846" y="186"/>
                  </a:lnTo>
                  <a:lnTo>
                    <a:pt x="852" y="192"/>
                  </a:lnTo>
                  <a:lnTo>
                    <a:pt x="858" y="192"/>
                  </a:lnTo>
                  <a:lnTo>
                    <a:pt x="864" y="186"/>
                  </a:lnTo>
                  <a:lnTo>
                    <a:pt x="876" y="186"/>
                  </a:lnTo>
                  <a:lnTo>
                    <a:pt x="894" y="174"/>
                  </a:lnTo>
                  <a:lnTo>
                    <a:pt x="906" y="168"/>
                  </a:lnTo>
                  <a:lnTo>
                    <a:pt x="924" y="162"/>
                  </a:lnTo>
                  <a:lnTo>
                    <a:pt x="936" y="156"/>
                  </a:lnTo>
                  <a:lnTo>
                    <a:pt x="942" y="150"/>
                  </a:lnTo>
                  <a:lnTo>
                    <a:pt x="942" y="144"/>
                  </a:lnTo>
                  <a:lnTo>
                    <a:pt x="936" y="144"/>
                  </a:lnTo>
                  <a:lnTo>
                    <a:pt x="924" y="138"/>
                  </a:lnTo>
                  <a:lnTo>
                    <a:pt x="888" y="138"/>
                  </a:lnTo>
                  <a:lnTo>
                    <a:pt x="882" y="120"/>
                  </a:lnTo>
                  <a:lnTo>
                    <a:pt x="828" y="114"/>
                  </a:lnTo>
                  <a:lnTo>
                    <a:pt x="828" y="96"/>
                  </a:lnTo>
                  <a:lnTo>
                    <a:pt x="798" y="102"/>
                  </a:lnTo>
                  <a:lnTo>
                    <a:pt x="798" y="84"/>
                  </a:lnTo>
                  <a:lnTo>
                    <a:pt x="726" y="84"/>
                  </a:lnTo>
                  <a:lnTo>
                    <a:pt x="720" y="72"/>
                  </a:lnTo>
                  <a:lnTo>
                    <a:pt x="684" y="72"/>
                  </a:lnTo>
                  <a:lnTo>
                    <a:pt x="678" y="60"/>
                  </a:lnTo>
                  <a:lnTo>
                    <a:pt x="654" y="48"/>
                  </a:lnTo>
                  <a:lnTo>
                    <a:pt x="624" y="48"/>
                  </a:lnTo>
                  <a:lnTo>
                    <a:pt x="624" y="30"/>
                  </a:lnTo>
                  <a:lnTo>
                    <a:pt x="618" y="30"/>
                  </a:lnTo>
                  <a:lnTo>
                    <a:pt x="612" y="24"/>
                  </a:lnTo>
                  <a:lnTo>
                    <a:pt x="540" y="24"/>
                  </a:lnTo>
                  <a:lnTo>
                    <a:pt x="534" y="30"/>
                  </a:lnTo>
                  <a:lnTo>
                    <a:pt x="534" y="36"/>
                  </a:lnTo>
                  <a:lnTo>
                    <a:pt x="540" y="42"/>
                  </a:lnTo>
                  <a:lnTo>
                    <a:pt x="546" y="54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6" y="60"/>
                  </a:lnTo>
                  <a:lnTo>
                    <a:pt x="528" y="48"/>
                  </a:lnTo>
                  <a:lnTo>
                    <a:pt x="492" y="30"/>
                  </a:lnTo>
                  <a:lnTo>
                    <a:pt x="480" y="30"/>
                  </a:lnTo>
                  <a:lnTo>
                    <a:pt x="474" y="36"/>
                  </a:lnTo>
                  <a:lnTo>
                    <a:pt x="468" y="48"/>
                  </a:lnTo>
                  <a:lnTo>
                    <a:pt x="462" y="54"/>
                  </a:lnTo>
                  <a:lnTo>
                    <a:pt x="450" y="54"/>
                  </a:lnTo>
                  <a:lnTo>
                    <a:pt x="438" y="48"/>
                  </a:lnTo>
                  <a:lnTo>
                    <a:pt x="420" y="48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8" y="30"/>
                  </a:lnTo>
                  <a:lnTo>
                    <a:pt x="384" y="30"/>
                  </a:lnTo>
                  <a:lnTo>
                    <a:pt x="372" y="42"/>
                  </a:lnTo>
                  <a:lnTo>
                    <a:pt x="366" y="30"/>
                  </a:lnTo>
                  <a:lnTo>
                    <a:pt x="354" y="30"/>
                  </a:lnTo>
                  <a:lnTo>
                    <a:pt x="318" y="48"/>
                  </a:lnTo>
                  <a:lnTo>
                    <a:pt x="318" y="60"/>
                  </a:lnTo>
                  <a:lnTo>
                    <a:pt x="324" y="66"/>
                  </a:lnTo>
                  <a:close/>
                  <a:moveTo>
                    <a:pt x="642" y="708"/>
                  </a:moveTo>
                  <a:lnTo>
                    <a:pt x="666" y="696"/>
                  </a:lnTo>
                  <a:lnTo>
                    <a:pt x="666" y="690"/>
                  </a:lnTo>
                  <a:lnTo>
                    <a:pt x="678" y="690"/>
                  </a:lnTo>
                  <a:lnTo>
                    <a:pt x="678" y="678"/>
                  </a:lnTo>
                  <a:lnTo>
                    <a:pt x="672" y="672"/>
                  </a:lnTo>
                  <a:lnTo>
                    <a:pt x="630" y="690"/>
                  </a:lnTo>
                  <a:lnTo>
                    <a:pt x="642" y="708"/>
                  </a:lnTo>
                  <a:close/>
                  <a:moveTo>
                    <a:pt x="774" y="648"/>
                  </a:moveTo>
                  <a:lnTo>
                    <a:pt x="780" y="642"/>
                  </a:lnTo>
                  <a:lnTo>
                    <a:pt x="786" y="642"/>
                  </a:lnTo>
                  <a:lnTo>
                    <a:pt x="792" y="636"/>
                  </a:lnTo>
                  <a:lnTo>
                    <a:pt x="792" y="630"/>
                  </a:lnTo>
                  <a:lnTo>
                    <a:pt x="786" y="624"/>
                  </a:lnTo>
                  <a:lnTo>
                    <a:pt x="774" y="624"/>
                  </a:lnTo>
                  <a:lnTo>
                    <a:pt x="768" y="630"/>
                  </a:lnTo>
                  <a:lnTo>
                    <a:pt x="768" y="642"/>
                  </a:lnTo>
                  <a:lnTo>
                    <a:pt x="774" y="648"/>
                  </a:lnTo>
                  <a:close/>
                  <a:moveTo>
                    <a:pt x="594" y="696"/>
                  </a:moveTo>
                  <a:lnTo>
                    <a:pt x="576" y="696"/>
                  </a:lnTo>
                  <a:lnTo>
                    <a:pt x="552" y="708"/>
                  </a:lnTo>
                  <a:lnTo>
                    <a:pt x="546" y="714"/>
                  </a:lnTo>
                  <a:lnTo>
                    <a:pt x="570" y="720"/>
                  </a:lnTo>
                  <a:lnTo>
                    <a:pt x="576" y="714"/>
                  </a:lnTo>
                  <a:lnTo>
                    <a:pt x="588" y="714"/>
                  </a:lnTo>
                  <a:lnTo>
                    <a:pt x="600" y="702"/>
                  </a:lnTo>
                  <a:lnTo>
                    <a:pt x="594" y="696"/>
                  </a:lnTo>
                  <a:close/>
                  <a:moveTo>
                    <a:pt x="918" y="612"/>
                  </a:moveTo>
                  <a:lnTo>
                    <a:pt x="936" y="618"/>
                  </a:lnTo>
                  <a:lnTo>
                    <a:pt x="942" y="606"/>
                  </a:lnTo>
                  <a:lnTo>
                    <a:pt x="948" y="600"/>
                  </a:lnTo>
                  <a:lnTo>
                    <a:pt x="948" y="594"/>
                  </a:lnTo>
                  <a:lnTo>
                    <a:pt x="918" y="594"/>
                  </a:lnTo>
                  <a:lnTo>
                    <a:pt x="918" y="612"/>
                  </a:lnTo>
                  <a:close/>
                  <a:moveTo>
                    <a:pt x="486" y="756"/>
                  </a:moveTo>
                  <a:lnTo>
                    <a:pt x="474" y="756"/>
                  </a:lnTo>
                  <a:lnTo>
                    <a:pt x="438" y="774"/>
                  </a:lnTo>
                  <a:lnTo>
                    <a:pt x="432" y="780"/>
                  </a:lnTo>
                  <a:lnTo>
                    <a:pt x="432" y="786"/>
                  </a:lnTo>
                  <a:lnTo>
                    <a:pt x="444" y="786"/>
                  </a:lnTo>
                  <a:lnTo>
                    <a:pt x="456" y="780"/>
                  </a:lnTo>
                  <a:lnTo>
                    <a:pt x="462" y="774"/>
                  </a:lnTo>
                  <a:lnTo>
                    <a:pt x="474" y="768"/>
                  </a:lnTo>
                  <a:lnTo>
                    <a:pt x="510" y="768"/>
                  </a:lnTo>
                  <a:lnTo>
                    <a:pt x="510" y="762"/>
                  </a:lnTo>
                  <a:lnTo>
                    <a:pt x="504" y="762"/>
                  </a:lnTo>
                  <a:lnTo>
                    <a:pt x="504" y="756"/>
                  </a:lnTo>
                  <a:lnTo>
                    <a:pt x="486" y="756"/>
                  </a:lnTo>
                  <a:close/>
                  <a:moveTo>
                    <a:pt x="1356" y="660"/>
                  </a:moveTo>
                  <a:lnTo>
                    <a:pt x="1326" y="666"/>
                  </a:lnTo>
                  <a:lnTo>
                    <a:pt x="1290" y="654"/>
                  </a:lnTo>
                  <a:lnTo>
                    <a:pt x="1260" y="642"/>
                  </a:lnTo>
                  <a:lnTo>
                    <a:pt x="1302" y="642"/>
                  </a:lnTo>
                  <a:lnTo>
                    <a:pt x="1326" y="630"/>
                  </a:lnTo>
                  <a:lnTo>
                    <a:pt x="1344" y="630"/>
                  </a:lnTo>
                  <a:lnTo>
                    <a:pt x="1350" y="624"/>
                  </a:lnTo>
                  <a:lnTo>
                    <a:pt x="1356" y="624"/>
                  </a:lnTo>
                  <a:lnTo>
                    <a:pt x="1344" y="618"/>
                  </a:lnTo>
                  <a:lnTo>
                    <a:pt x="1338" y="612"/>
                  </a:lnTo>
                  <a:lnTo>
                    <a:pt x="1320" y="606"/>
                  </a:lnTo>
                  <a:lnTo>
                    <a:pt x="1308" y="600"/>
                  </a:lnTo>
                  <a:lnTo>
                    <a:pt x="1284" y="600"/>
                  </a:lnTo>
                  <a:lnTo>
                    <a:pt x="1260" y="588"/>
                  </a:lnTo>
                  <a:lnTo>
                    <a:pt x="1254" y="588"/>
                  </a:lnTo>
                  <a:lnTo>
                    <a:pt x="1242" y="582"/>
                  </a:lnTo>
                  <a:lnTo>
                    <a:pt x="1242" y="588"/>
                  </a:lnTo>
                  <a:lnTo>
                    <a:pt x="1236" y="594"/>
                  </a:lnTo>
                  <a:lnTo>
                    <a:pt x="1236" y="600"/>
                  </a:lnTo>
                  <a:lnTo>
                    <a:pt x="1218" y="618"/>
                  </a:lnTo>
                  <a:lnTo>
                    <a:pt x="1206" y="618"/>
                  </a:lnTo>
                  <a:lnTo>
                    <a:pt x="1200" y="612"/>
                  </a:lnTo>
                  <a:lnTo>
                    <a:pt x="1224" y="588"/>
                  </a:lnTo>
                  <a:lnTo>
                    <a:pt x="1158" y="564"/>
                  </a:lnTo>
                  <a:lnTo>
                    <a:pt x="1158" y="576"/>
                  </a:lnTo>
                  <a:lnTo>
                    <a:pt x="1152" y="594"/>
                  </a:lnTo>
                  <a:lnTo>
                    <a:pt x="1134" y="630"/>
                  </a:lnTo>
                  <a:lnTo>
                    <a:pt x="1128" y="630"/>
                  </a:lnTo>
                  <a:lnTo>
                    <a:pt x="1122" y="624"/>
                  </a:lnTo>
                  <a:lnTo>
                    <a:pt x="1116" y="612"/>
                  </a:lnTo>
                  <a:lnTo>
                    <a:pt x="1116" y="594"/>
                  </a:lnTo>
                  <a:lnTo>
                    <a:pt x="1122" y="582"/>
                  </a:lnTo>
                  <a:lnTo>
                    <a:pt x="1116" y="594"/>
                  </a:lnTo>
                  <a:lnTo>
                    <a:pt x="1104" y="600"/>
                  </a:lnTo>
                  <a:lnTo>
                    <a:pt x="1080" y="624"/>
                  </a:lnTo>
                  <a:lnTo>
                    <a:pt x="1056" y="636"/>
                  </a:lnTo>
                  <a:lnTo>
                    <a:pt x="1050" y="636"/>
                  </a:lnTo>
                  <a:lnTo>
                    <a:pt x="1050" y="630"/>
                  </a:lnTo>
                  <a:lnTo>
                    <a:pt x="1056" y="618"/>
                  </a:lnTo>
                  <a:lnTo>
                    <a:pt x="1086" y="588"/>
                  </a:lnTo>
                  <a:lnTo>
                    <a:pt x="1092" y="576"/>
                  </a:lnTo>
                  <a:lnTo>
                    <a:pt x="1104" y="570"/>
                  </a:lnTo>
                  <a:lnTo>
                    <a:pt x="1068" y="570"/>
                  </a:lnTo>
                  <a:lnTo>
                    <a:pt x="1050" y="582"/>
                  </a:lnTo>
                  <a:lnTo>
                    <a:pt x="1026" y="582"/>
                  </a:lnTo>
                  <a:lnTo>
                    <a:pt x="984" y="606"/>
                  </a:lnTo>
                  <a:lnTo>
                    <a:pt x="960" y="606"/>
                  </a:lnTo>
                  <a:lnTo>
                    <a:pt x="954" y="636"/>
                  </a:lnTo>
                  <a:lnTo>
                    <a:pt x="918" y="624"/>
                  </a:lnTo>
                  <a:lnTo>
                    <a:pt x="882" y="630"/>
                  </a:lnTo>
                  <a:lnTo>
                    <a:pt x="894" y="660"/>
                  </a:lnTo>
                  <a:lnTo>
                    <a:pt x="846" y="648"/>
                  </a:lnTo>
                  <a:lnTo>
                    <a:pt x="828" y="654"/>
                  </a:lnTo>
                  <a:lnTo>
                    <a:pt x="834" y="678"/>
                  </a:lnTo>
                  <a:lnTo>
                    <a:pt x="792" y="690"/>
                  </a:lnTo>
                  <a:lnTo>
                    <a:pt x="792" y="654"/>
                  </a:lnTo>
                  <a:lnTo>
                    <a:pt x="762" y="654"/>
                  </a:lnTo>
                  <a:lnTo>
                    <a:pt x="774" y="678"/>
                  </a:lnTo>
                  <a:lnTo>
                    <a:pt x="750" y="660"/>
                  </a:lnTo>
                  <a:lnTo>
                    <a:pt x="750" y="690"/>
                  </a:lnTo>
                  <a:lnTo>
                    <a:pt x="726" y="690"/>
                  </a:lnTo>
                  <a:lnTo>
                    <a:pt x="726" y="660"/>
                  </a:lnTo>
                  <a:lnTo>
                    <a:pt x="738" y="654"/>
                  </a:lnTo>
                  <a:lnTo>
                    <a:pt x="744" y="648"/>
                  </a:lnTo>
                  <a:lnTo>
                    <a:pt x="708" y="642"/>
                  </a:lnTo>
                  <a:lnTo>
                    <a:pt x="708" y="684"/>
                  </a:lnTo>
                  <a:lnTo>
                    <a:pt x="678" y="696"/>
                  </a:lnTo>
                  <a:lnTo>
                    <a:pt x="696" y="708"/>
                  </a:lnTo>
                  <a:lnTo>
                    <a:pt x="660" y="714"/>
                  </a:lnTo>
                  <a:lnTo>
                    <a:pt x="672" y="726"/>
                  </a:lnTo>
                  <a:lnTo>
                    <a:pt x="630" y="726"/>
                  </a:lnTo>
                  <a:lnTo>
                    <a:pt x="630" y="738"/>
                  </a:lnTo>
                  <a:lnTo>
                    <a:pt x="660" y="750"/>
                  </a:lnTo>
                  <a:lnTo>
                    <a:pt x="654" y="762"/>
                  </a:lnTo>
                  <a:lnTo>
                    <a:pt x="618" y="744"/>
                  </a:lnTo>
                  <a:lnTo>
                    <a:pt x="600" y="750"/>
                  </a:lnTo>
                  <a:lnTo>
                    <a:pt x="624" y="762"/>
                  </a:lnTo>
                  <a:lnTo>
                    <a:pt x="606" y="780"/>
                  </a:lnTo>
                  <a:lnTo>
                    <a:pt x="594" y="762"/>
                  </a:lnTo>
                  <a:lnTo>
                    <a:pt x="576" y="768"/>
                  </a:lnTo>
                  <a:lnTo>
                    <a:pt x="576" y="780"/>
                  </a:lnTo>
                  <a:lnTo>
                    <a:pt x="546" y="780"/>
                  </a:lnTo>
                  <a:lnTo>
                    <a:pt x="540" y="792"/>
                  </a:lnTo>
                  <a:lnTo>
                    <a:pt x="564" y="804"/>
                  </a:lnTo>
                  <a:lnTo>
                    <a:pt x="564" y="822"/>
                  </a:lnTo>
                  <a:lnTo>
                    <a:pt x="528" y="810"/>
                  </a:lnTo>
                  <a:lnTo>
                    <a:pt x="522" y="822"/>
                  </a:lnTo>
                  <a:lnTo>
                    <a:pt x="552" y="834"/>
                  </a:lnTo>
                  <a:lnTo>
                    <a:pt x="504" y="834"/>
                  </a:lnTo>
                  <a:lnTo>
                    <a:pt x="504" y="852"/>
                  </a:lnTo>
                  <a:lnTo>
                    <a:pt x="492" y="846"/>
                  </a:lnTo>
                  <a:lnTo>
                    <a:pt x="486" y="846"/>
                  </a:lnTo>
                  <a:lnTo>
                    <a:pt x="474" y="852"/>
                  </a:lnTo>
                  <a:lnTo>
                    <a:pt x="468" y="858"/>
                  </a:lnTo>
                  <a:lnTo>
                    <a:pt x="456" y="858"/>
                  </a:lnTo>
                  <a:lnTo>
                    <a:pt x="456" y="870"/>
                  </a:lnTo>
                  <a:lnTo>
                    <a:pt x="462" y="876"/>
                  </a:lnTo>
                  <a:lnTo>
                    <a:pt x="456" y="876"/>
                  </a:lnTo>
                  <a:lnTo>
                    <a:pt x="450" y="882"/>
                  </a:lnTo>
                  <a:lnTo>
                    <a:pt x="444" y="882"/>
                  </a:lnTo>
                  <a:lnTo>
                    <a:pt x="444" y="900"/>
                  </a:lnTo>
                  <a:lnTo>
                    <a:pt x="480" y="900"/>
                  </a:lnTo>
                  <a:lnTo>
                    <a:pt x="468" y="912"/>
                  </a:lnTo>
                  <a:lnTo>
                    <a:pt x="432" y="906"/>
                  </a:lnTo>
                  <a:lnTo>
                    <a:pt x="420" y="912"/>
                  </a:lnTo>
                  <a:lnTo>
                    <a:pt x="414" y="918"/>
                  </a:lnTo>
                  <a:lnTo>
                    <a:pt x="414" y="930"/>
                  </a:lnTo>
                  <a:lnTo>
                    <a:pt x="420" y="936"/>
                  </a:lnTo>
                  <a:lnTo>
                    <a:pt x="420" y="948"/>
                  </a:lnTo>
                  <a:lnTo>
                    <a:pt x="408" y="954"/>
                  </a:lnTo>
                  <a:lnTo>
                    <a:pt x="390" y="954"/>
                  </a:lnTo>
                  <a:lnTo>
                    <a:pt x="390" y="972"/>
                  </a:lnTo>
                  <a:lnTo>
                    <a:pt x="408" y="990"/>
                  </a:lnTo>
                  <a:lnTo>
                    <a:pt x="408" y="996"/>
                  </a:lnTo>
                  <a:lnTo>
                    <a:pt x="402" y="1002"/>
                  </a:lnTo>
                  <a:lnTo>
                    <a:pt x="366" y="1002"/>
                  </a:lnTo>
                  <a:lnTo>
                    <a:pt x="360" y="1008"/>
                  </a:lnTo>
                  <a:lnTo>
                    <a:pt x="360" y="1026"/>
                  </a:lnTo>
                  <a:lnTo>
                    <a:pt x="354" y="1032"/>
                  </a:lnTo>
                  <a:lnTo>
                    <a:pt x="342" y="1032"/>
                  </a:lnTo>
                  <a:lnTo>
                    <a:pt x="336" y="1026"/>
                  </a:lnTo>
                  <a:lnTo>
                    <a:pt x="318" y="1026"/>
                  </a:lnTo>
                  <a:lnTo>
                    <a:pt x="294" y="1050"/>
                  </a:lnTo>
                  <a:lnTo>
                    <a:pt x="282" y="1050"/>
                  </a:lnTo>
                  <a:lnTo>
                    <a:pt x="270" y="1062"/>
                  </a:lnTo>
                  <a:lnTo>
                    <a:pt x="270" y="1068"/>
                  </a:lnTo>
                  <a:lnTo>
                    <a:pt x="276" y="1074"/>
                  </a:lnTo>
                  <a:lnTo>
                    <a:pt x="276" y="1080"/>
                  </a:lnTo>
                  <a:lnTo>
                    <a:pt x="264" y="1092"/>
                  </a:lnTo>
                  <a:lnTo>
                    <a:pt x="252" y="1092"/>
                  </a:lnTo>
                  <a:lnTo>
                    <a:pt x="246" y="1086"/>
                  </a:lnTo>
                  <a:lnTo>
                    <a:pt x="234" y="1080"/>
                  </a:lnTo>
                  <a:lnTo>
                    <a:pt x="234" y="1074"/>
                  </a:lnTo>
                  <a:lnTo>
                    <a:pt x="228" y="1074"/>
                  </a:lnTo>
                  <a:lnTo>
                    <a:pt x="204" y="1086"/>
                  </a:lnTo>
                  <a:lnTo>
                    <a:pt x="198" y="1092"/>
                  </a:lnTo>
                  <a:lnTo>
                    <a:pt x="180" y="1092"/>
                  </a:lnTo>
                  <a:lnTo>
                    <a:pt x="180" y="1110"/>
                  </a:lnTo>
                  <a:lnTo>
                    <a:pt x="186" y="1116"/>
                  </a:lnTo>
                  <a:lnTo>
                    <a:pt x="192" y="1116"/>
                  </a:lnTo>
                  <a:lnTo>
                    <a:pt x="192" y="1128"/>
                  </a:lnTo>
                  <a:lnTo>
                    <a:pt x="186" y="1128"/>
                  </a:lnTo>
                  <a:lnTo>
                    <a:pt x="174" y="1116"/>
                  </a:lnTo>
                  <a:lnTo>
                    <a:pt x="162" y="1116"/>
                  </a:lnTo>
                  <a:lnTo>
                    <a:pt x="156" y="1122"/>
                  </a:lnTo>
                  <a:lnTo>
                    <a:pt x="156" y="1134"/>
                  </a:lnTo>
                  <a:lnTo>
                    <a:pt x="168" y="1134"/>
                  </a:lnTo>
                  <a:lnTo>
                    <a:pt x="174" y="1140"/>
                  </a:lnTo>
                  <a:lnTo>
                    <a:pt x="180" y="1140"/>
                  </a:lnTo>
                  <a:lnTo>
                    <a:pt x="180" y="1152"/>
                  </a:lnTo>
                  <a:lnTo>
                    <a:pt x="138" y="1152"/>
                  </a:lnTo>
                  <a:lnTo>
                    <a:pt x="138" y="1146"/>
                  </a:lnTo>
                  <a:lnTo>
                    <a:pt x="132" y="1146"/>
                  </a:lnTo>
                  <a:lnTo>
                    <a:pt x="126" y="1158"/>
                  </a:lnTo>
                  <a:lnTo>
                    <a:pt x="126" y="1170"/>
                  </a:lnTo>
                  <a:lnTo>
                    <a:pt x="120" y="1164"/>
                  </a:lnTo>
                  <a:lnTo>
                    <a:pt x="102" y="1164"/>
                  </a:lnTo>
                  <a:lnTo>
                    <a:pt x="96" y="1158"/>
                  </a:lnTo>
                  <a:lnTo>
                    <a:pt x="90" y="1158"/>
                  </a:lnTo>
                  <a:lnTo>
                    <a:pt x="90" y="1164"/>
                  </a:lnTo>
                  <a:lnTo>
                    <a:pt x="96" y="1170"/>
                  </a:lnTo>
                  <a:lnTo>
                    <a:pt x="120" y="1182"/>
                  </a:lnTo>
                  <a:lnTo>
                    <a:pt x="132" y="1182"/>
                  </a:lnTo>
                  <a:lnTo>
                    <a:pt x="108" y="1200"/>
                  </a:lnTo>
                  <a:lnTo>
                    <a:pt x="108" y="1188"/>
                  </a:lnTo>
                  <a:lnTo>
                    <a:pt x="90" y="1188"/>
                  </a:lnTo>
                  <a:lnTo>
                    <a:pt x="84" y="1194"/>
                  </a:lnTo>
                  <a:lnTo>
                    <a:pt x="60" y="1182"/>
                  </a:lnTo>
                  <a:lnTo>
                    <a:pt x="54" y="1194"/>
                  </a:lnTo>
                  <a:lnTo>
                    <a:pt x="66" y="1200"/>
                  </a:lnTo>
                  <a:lnTo>
                    <a:pt x="30" y="1194"/>
                  </a:lnTo>
                  <a:lnTo>
                    <a:pt x="30" y="1212"/>
                  </a:lnTo>
                  <a:lnTo>
                    <a:pt x="78" y="1212"/>
                  </a:lnTo>
                  <a:lnTo>
                    <a:pt x="54" y="1218"/>
                  </a:lnTo>
                  <a:lnTo>
                    <a:pt x="18" y="1212"/>
                  </a:lnTo>
                  <a:lnTo>
                    <a:pt x="6" y="1224"/>
                  </a:lnTo>
                  <a:lnTo>
                    <a:pt x="6" y="1230"/>
                  </a:lnTo>
                  <a:lnTo>
                    <a:pt x="18" y="1242"/>
                  </a:lnTo>
                  <a:lnTo>
                    <a:pt x="36" y="1242"/>
                  </a:lnTo>
                  <a:lnTo>
                    <a:pt x="18" y="1248"/>
                  </a:lnTo>
                  <a:lnTo>
                    <a:pt x="12" y="1254"/>
                  </a:lnTo>
                  <a:lnTo>
                    <a:pt x="12" y="1260"/>
                  </a:lnTo>
                  <a:lnTo>
                    <a:pt x="66" y="1260"/>
                  </a:lnTo>
                  <a:lnTo>
                    <a:pt x="78" y="1272"/>
                  </a:lnTo>
                  <a:lnTo>
                    <a:pt x="96" y="1260"/>
                  </a:lnTo>
                  <a:lnTo>
                    <a:pt x="108" y="1272"/>
                  </a:lnTo>
                  <a:lnTo>
                    <a:pt x="138" y="1260"/>
                  </a:lnTo>
                  <a:lnTo>
                    <a:pt x="132" y="1266"/>
                  </a:lnTo>
                  <a:lnTo>
                    <a:pt x="126" y="1278"/>
                  </a:lnTo>
                  <a:lnTo>
                    <a:pt x="60" y="1278"/>
                  </a:lnTo>
                  <a:lnTo>
                    <a:pt x="54" y="1272"/>
                  </a:lnTo>
                  <a:lnTo>
                    <a:pt x="24" y="1272"/>
                  </a:lnTo>
                  <a:lnTo>
                    <a:pt x="12" y="1278"/>
                  </a:lnTo>
                  <a:lnTo>
                    <a:pt x="0" y="1278"/>
                  </a:lnTo>
                  <a:lnTo>
                    <a:pt x="6" y="1284"/>
                  </a:lnTo>
                  <a:lnTo>
                    <a:pt x="6" y="1296"/>
                  </a:lnTo>
                  <a:lnTo>
                    <a:pt x="12" y="1296"/>
                  </a:lnTo>
                  <a:lnTo>
                    <a:pt x="18" y="1302"/>
                  </a:lnTo>
                  <a:lnTo>
                    <a:pt x="30" y="1302"/>
                  </a:lnTo>
                  <a:lnTo>
                    <a:pt x="24" y="1308"/>
                  </a:lnTo>
                  <a:lnTo>
                    <a:pt x="18" y="1320"/>
                  </a:lnTo>
                  <a:lnTo>
                    <a:pt x="36" y="1338"/>
                  </a:lnTo>
                  <a:lnTo>
                    <a:pt x="48" y="1338"/>
                  </a:lnTo>
                  <a:lnTo>
                    <a:pt x="72" y="1320"/>
                  </a:lnTo>
                  <a:lnTo>
                    <a:pt x="102" y="1314"/>
                  </a:lnTo>
                  <a:lnTo>
                    <a:pt x="90" y="1338"/>
                  </a:lnTo>
                  <a:lnTo>
                    <a:pt x="78" y="1332"/>
                  </a:lnTo>
                  <a:lnTo>
                    <a:pt x="66" y="1350"/>
                  </a:lnTo>
                  <a:lnTo>
                    <a:pt x="30" y="1350"/>
                  </a:lnTo>
                  <a:lnTo>
                    <a:pt x="48" y="1368"/>
                  </a:lnTo>
                  <a:lnTo>
                    <a:pt x="24" y="1380"/>
                  </a:lnTo>
                  <a:lnTo>
                    <a:pt x="6" y="1380"/>
                  </a:lnTo>
                  <a:lnTo>
                    <a:pt x="6" y="1398"/>
                  </a:lnTo>
                  <a:lnTo>
                    <a:pt x="66" y="1398"/>
                  </a:lnTo>
                  <a:lnTo>
                    <a:pt x="54" y="1422"/>
                  </a:lnTo>
                  <a:lnTo>
                    <a:pt x="66" y="1422"/>
                  </a:lnTo>
                  <a:lnTo>
                    <a:pt x="54" y="1440"/>
                  </a:lnTo>
                  <a:lnTo>
                    <a:pt x="42" y="1434"/>
                  </a:lnTo>
                  <a:lnTo>
                    <a:pt x="36" y="1434"/>
                  </a:lnTo>
                  <a:lnTo>
                    <a:pt x="30" y="1428"/>
                  </a:lnTo>
                  <a:lnTo>
                    <a:pt x="18" y="1428"/>
                  </a:lnTo>
                  <a:lnTo>
                    <a:pt x="18" y="1440"/>
                  </a:lnTo>
                  <a:lnTo>
                    <a:pt x="24" y="1452"/>
                  </a:lnTo>
                  <a:lnTo>
                    <a:pt x="36" y="1464"/>
                  </a:lnTo>
                  <a:lnTo>
                    <a:pt x="84" y="1482"/>
                  </a:lnTo>
                  <a:lnTo>
                    <a:pt x="78" y="1488"/>
                  </a:lnTo>
                  <a:lnTo>
                    <a:pt x="84" y="1494"/>
                  </a:lnTo>
                  <a:lnTo>
                    <a:pt x="126" y="1494"/>
                  </a:lnTo>
                  <a:lnTo>
                    <a:pt x="132" y="1500"/>
                  </a:lnTo>
                  <a:lnTo>
                    <a:pt x="144" y="1500"/>
                  </a:lnTo>
                  <a:lnTo>
                    <a:pt x="192" y="1476"/>
                  </a:lnTo>
                  <a:lnTo>
                    <a:pt x="204" y="1464"/>
                  </a:lnTo>
                  <a:lnTo>
                    <a:pt x="216" y="1458"/>
                  </a:lnTo>
                  <a:lnTo>
                    <a:pt x="222" y="1452"/>
                  </a:lnTo>
                  <a:lnTo>
                    <a:pt x="258" y="1422"/>
                  </a:lnTo>
                  <a:lnTo>
                    <a:pt x="282" y="1422"/>
                  </a:lnTo>
                  <a:lnTo>
                    <a:pt x="294" y="1416"/>
                  </a:lnTo>
                  <a:lnTo>
                    <a:pt x="300" y="1410"/>
                  </a:lnTo>
                  <a:lnTo>
                    <a:pt x="300" y="1386"/>
                  </a:lnTo>
                  <a:lnTo>
                    <a:pt x="294" y="1380"/>
                  </a:lnTo>
                  <a:lnTo>
                    <a:pt x="294" y="1374"/>
                  </a:lnTo>
                  <a:lnTo>
                    <a:pt x="312" y="1368"/>
                  </a:lnTo>
                  <a:lnTo>
                    <a:pt x="306" y="1374"/>
                  </a:lnTo>
                  <a:lnTo>
                    <a:pt x="306" y="1380"/>
                  </a:lnTo>
                  <a:lnTo>
                    <a:pt x="300" y="1386"/>
                  </a:lnTo>
                  <a:lnTo>
                    <a:pt x="300" y="1392"/>
                  </a:lnTo>
                  <a:lnTo>
                    <a:pt x="312" y="1404"/>
                  </a:lnTo>
                  <a:lnTo>
                    <a:pt x="330" y="1410"/>
                  </a:lnTo>
                  <a:lnTo>
                    <a:pt x="342" y="1410"/>
                  </a:lnTo>
                  <a:lnTo>
                    <a:pt x="348" y="1416"/>
                  </a:lnTo>
                  <a:lnTo>
                    <a:pt x="354" y="1416"/>
                  </a:lnTo>
                  <a:lnTo>
                    <a:pt x="372" y="1434"/>
                  </a:lnTo>
                  <a:lnTo>
                    <a:pt x="378" y="1422"/>
                  </a:lnTo>
                  <a:lnTo>
                    <a:pt x="384" y="1416"/>
                  </a:lnTo>
                  <a:lnTo>
                    <a:pt x="384" y="1398"/>
                  </a:lnTo>
                  <a:lnTo>
                    <a:pt x="372" y="1386"/>
                  </a:lnTo>
                  <a:lnTo>
                    <a:pt x="372" y="1380"/>
                  </a:lnTo>
                  <a:lnTo>
                    <a:pt x="378" y="1374"/>
                  </a:lnTo>
                  <a:lnTo>
                    <a:pt x="384" y="1374"/>
                  </a:lnTo>
                  <a:lnTo>
                    <a:pt x="384" y="1368"/>
                  </a:lnTo>
                  <a:lnTo>
                    <a:pt x="378" y="1356"/>
                  </a:lnTo>
                  <a:lnTo>
                    <a:pt x="414" y="1356"/>
                  </a:lnTo>
                  <a:lnTo>
                    <a:pt x="420" y="1350"/>
                  </a:lnTo>
                  <a:lnTo>
                    <a:pt x="420" y="1326"/>
                  </a:lnTo>
                  <a:lnTo>
                    <a:pt x="426" y="1326"/>
                  </a:lnTo>
                  <a:lnTo>
                    <a:pt x="420" y="1314"/>
                  </a:lnTo>
                  <a:lnTo>
                    <a:pt x="420" y="1308"/>
                  </a:lnTo>
                  <a:lnTo>
                    <a:pt x="414" y="1302"/>
                  </a:lnTo>
                  <a:lnTo>
                    <a:pt x="414" y="1296"/>
                  </a:lnTo>
                  <a:lnTo>
                    <a:pt x="408" y="1284"/>
                  </a:lnTo>
                  <a:lnTo>
                    <a:pt x="402" y="1278"/>
                  </a:lnTo>
                  <a:lnTo>
                    <a:pt x="426" y="1272"/>
                  </a:lnTo>
                  <a:lnTo>
                    <a:pt x="438" y="1260"/>
                  </a:lnTo>
                  <a:lnTo>
                    <a:pt x="438" y="1248"/>
                  </a:lnTo>
                  <a:lnTo>
                    <a:pt x="420" y="1230"/>
                  </a:lnTo>
                  <a:lnTo>
                    <a:pt x="414" y="1230"/>
                  </a:lnTo>
                  <a:lnTo>
                    <a:pt x="402" y="1218"/>
                  </a:lnTo>
                  <a:lnTo>
                    <a:pt x="402" y="1200"/>
                  </a:lnTo>
                  <a:lnTo>
                    <a:pt x="408" y="1188"/>
                  </a:lnTo>
                  <a:lnTo>
                    <a:pt x="408" y="1176"/>
                  </a:lnTo>
                  <a:lnTo>
                    <a:pt x="384" y="1152"/>
                  </a:lnTo>
                  <a:lnTo>
                    <a:pt x="384" y="1140"/>
                  </a:lnTo>
                  <a:lnTo>
                    <a:pt x="390" y="1134"/>
                  </a:lnTo>
                  <a:lnTo>
                    <a:pt x="396" y="1134"/>
                  </a:lnTo>
                  <a:lnTo>
                    <a:pt x="402" y="1128"/>
                  </a:lnTo>
                  <a:lnTo>
                    <a:pt x="402" y="1122"/>
                  </a:lnTo>
                  <a:lnTo>
                    <a:pt x="396" y="1116"/>
                  </a:lnTo>
                  <a:lnTo>
                    <a:pt x="390" y="1116"/>
                  </a:lnTo>
                  <a:lnTo>
                    <a:pt x="384" y="1110"/>
                  </a:lnTo>
                  <a:lnTo>
                    <a:pt x="426" y="1068"/>
                  </a:lnTo>
                  <a:lnTo>
                    <a:pt x="438" y="1062"/>
                  </a:lnTo>
                  <a:lnTo>
                    <a:pt x="444" y="1056"/>
                  </a:lnTo>
                  <a:lnTo>
                    <a:pt x="456" y="1050"/>
                  </a:lnTo>
                  <a:lnTo>
                    <a:pt x="498" y="1050"/>
                  </a:lnTo>
                  <a:lnTo>
                    <a:pt x="504" y="1044"/>
                  </a:lnTo>
                  <a:lnTo>
                    <a:pt x="504" y="1038"/>
                  </a:lnTo>
                  <a:lnTo>
                    <a:pt x="486" y="1020"/>
                  </a:lnTo>
                  <a:lnTo>
                    <a:pt x="474" y="1014"/>
                  </a:lnTo>
                  <a:lnTo>
                    <a:pt x="486" y="1008"/>
                  </a:lnTo>
                  <a:lnTo>
                    <a:pt x="492" y="1008"/>
                  </a:lnTo>
                  <a:lnTo>
                    <a:pt x="522" y="978"/>
                  </a:lnTo>
                  <a:lnTo>
                    <a:pt x="528" y="936"/>
                  </a:lnTo>
                  <a:lnTo>
                    <a:pt x="528" y="900"/>
                  </a:lnTo>
                  <a:lnTo>
                    <a:pt x="546" y="912"/>
                  </a:lnTo>
                  <a:lnTo>
                    <a:pt x="558" y="906"/>
                  </a:lnTo>
                  <a:lnTo>
                    <a:pt x="564" y="906"/>
                  </a:lnTo>
                  <a:lnTo>
                    <a:pt x="570" y="900"/>
                  </a:lnTo>
                  <a:lnTo>
                    <a:pt x="576" y="900"/>
                  </a:lnTo>
                  <a:lnTo>
                    <a:pt x="576" y="894"/>
                  </a:lnTo>
                  <a:lnTo>
                    <a:pt x="570" y="888"/>
                  </a:lnTo>
                  <a:lnTo>
                    <a:pt x="570" y="882"/>
                  </a:lnTo>
                  <a:lnTo>
                    <a:pt x="564" y="876"/>
                  </a:lnTo>
                  <a:lnTo>
                    <a:pt x="582" y="876"/>
                  </a:lnTo>
                  <a:lnTo>
                    <a:pt x="588" y="870"/>
                  </a:lnTo>
                  <a:lnTo>
                    <a:pt x="588" y="864"/>
                  </a:lnTo>
                  <a:lnTo>
                    <a:pt x="594" y="858"/>
                  </a:lnTo>
                  <a:lnTo>
                    <a:pt x="606" y="852"/>
                  </a:lnTo>
                  <a:lnTo>
                    <a:pt x="612" y="852"/>
                  </a:lnTo>
                  <a:lnTo>
                    <a:pt x="618" y="834"/>
                  </a:lnTo>
                  <a:lnTo>
                    <a:pt x="612" y="828"/>
                  </a:lnTo>
                  <a:lnTo>
                    <a:pt x="600" y="822"/>
                  </a:lnTo>
                  <a:lnTo>
                    <a:pt x="600" y="810"/>
                  </a:lnTo>
                  <a:lnTo>
                    <a:pt x="606" y="810"/>
                  </a:lnTo>
                  <a:lnTo>
                    <a:pt x="618" y="804"/>
                  </a:lnTo>
                  <a:lnTo>
                    <a:pt x="636" y="786"/>
                  </a:lnTo>
                  <a:lnTo>
                    <a:pt x="678" y="780"/>
                  </a:lnTo>
                  <a:lnTo>
                    <a:pt x="696" y="780"/>
                  </a:lnTo>
                  <a:lnTo>
                    <a:pt x="702" y="774"/>
                  </a:lnTo>
                  <a:lnTo>
                    <a:pt x="702" y="744"/>
                  </a:lnTo>
                  <a:lnTo>
                    <a:pt x="714" y="732"/>
                  </a:lnTo>
                  <a:lnTo>
                    <a:pt x="720" y="738"/>
                  </a:lnTo>
                  <a:lnTo>
                    <a:pt x="720" y="750"/>
                  </a:lnTo>
                  <a:lnTo>
                    <a:pt x="744" y="744"/>
                  </a:lnTo>
                  <a:lnTo>
                    <a:pt x="768" y="750"/>
                  </a:lnTo>
                  <a:lnTo>
                    <a:pt x="792" y="750"/>
                  </a:lnTo>
                  <a:lnTo>
                    <a:pt x="798" y="756"/>
                  </a:lnTo>
                  <a:lnTo>
                    <a:pt x="810" y="756"/>
                  </a:lnTo>
                  <a:lnTo>
                    <a:pt x="816" y="750"/>
                  </a:lnTo>
                  <a:lnTo>
                    <a:pt x="810" y="750"/>
                  </a:lnTo>
                  <a:lnTo>
                    <a:pt x="798" y="738"/>
                  </a:lnTo>
                  <a:lnTo>
                    <a:pt x="798" y="732"/>
                  </a:lnTo>
                  <a:lnTo>
                    <a:pt x="810" y="732"/>
                  </a:lnTo>
                  <a:lnTo>
                    <a:pt x="810" y="708"/>
                  </a:lnTo>
                  <a:lnTo>
                    <a:pt x="840" y="714"/>
                  </a:lnTo>
                  <a:lnTo>
                    <a:pt x="834" y="708"/>
                  </a:lnTo>
                  <a:lnTo>
                    <a:pt x="840" y="702"/>
                  </a:lnTo>
                  <a:lnTo>
                    <a:pt x="858" y="708"/>
                  </a:lnTo>
                  <a:lnTo>
                    <a:pt x="858" y="696"/>
                  </a:lnTo>
                  <a:lnTo>
                    <a:pt x="864" y="690"/>
                  </a:lnTo>
                  <a:lnTo>
                    <a:pt x="882" y="690"/>
                  </a:lnTo>
                  <a:lnTo>
                    <a:pt x="888" y="696"/>
                  </a:lnTo>
                  <a:lnTo>
                    <a:pt x="894" y="708"/>
                  </a:lnTo>
                  <a:lnTo>
                    <a:pt x="906" y="714"/>
                  </a:lnTo>
                  <a:lnTo>
                    <a:pt x="918" y="726"/>
                  </a:lnTo>
                  <a:lnTo>
                    <a:pt x="930" y="726"/>
                  </a:lnTo>
                  <a:lnTo>
                    <a:pt x="942" y="732"/>
                  </a:lnTo>
                  <a:lnTo>
                    <a:pt x="960" y="732"/>
                  </a:lnTo>
                  <a:lnTo>
                    <a:pt x="966" y="738"/>
                  </a:lnTo>
                  <a:lnTo>
                    <a:pt x="978" y="738"/>
                  </a:lnTo>
                  <a:lnTo>
                    <a:pt x="990" y="732"/>
                  </a:lnTo>
                  <a:lnTo>
                    <a:pt x="996" y="726"/>
                  </a:lnTo>
                  <a:lnTo>
                    <a:pt x="1026" y="726"/>
                  </a:lnTo>
                  <a:lnTo>
                    <a:pt x="1038" y="732"/>
                  </a:lnTo>
                  <a:lnTo>
                    <a:pt x="1044" y="738"/>
                  </a:lnTo>
                  <a:lnTo>
                    <a:pt x="1062" y="738"/>
                  </a:lnTo>
                  <a:lnTo>
                    <a:pt x="1062" y="726"/>
                  </a:lnTo>
                  <a:lnTo>
                    <a:pt x="1068" y="720"/>
                  </a:lnTo>
                  <a:lnTo>
                    <a:pt x="1068" y="714"/>
                  </a:lnTo>
                  <a:lnTo>
                    <a:pt x="1092" y="714"/>
                  </a:lnTo>
                  <a:lnTo>
                    <a:pt x="1092" y="678"/>
                  </a:lnTo>
                  <a:lnTo>
                    <a:pt x="1098" y="672"/>
                  </a:lnTo>
                  <a:lnTo>
                    <a:pt x="1098" y="660"/>
                  </a:lnTo>
                  <a:lnTo>
                    <a:pt x="1110" y="654"/>
                  </a:lnTo>
                  <a:lnTo>
                    <a:pt x="1116" y="654"/>
                  </a:lnTo>
                  <a:lnTo>
                    <a:pt x="1128" y="648"/>
                  </a:lnTo>
                  <a:lnTo>
                    <a:pt x="1158" y="648"/>
                  </a:lnTo>
                  <a:lnTo>
                    <a:pt x="1170" y="642"/>
                  </a:lnTo>
                  <a:lnTo>
                    <a:pt x="1206" y="642"/>
                  </a:lnTo>
                  <a:lnTo>
                    <a:pt x="1206" y="654"/>
                  </a:lnTo>
                  <a:lnTo>
                    <a:pt x="1242" y="660"/>
                  </a:lnTo>
                  <a:lnTo>
                    <a:pt x="1248" y="660"/>
                  </a:lnTo>
                  <a:lnTo>
                    <a:pt x="1260" y="672"/>
                  </a:lnTo>
                  <a:lnTo>
                    <a:pt x="1266" y="684"/>
                  </a:lnTo>
                  <a:lnTo>
                    <a:pt x="1266" y="702"/>
                  </a:lnTo>
                  <a:lnTo>
                    <a:pt x="1260" y="702"/>
                  </a:lnTo>
                  <a:lnTo>
                    <a:pt x="1260" y="696"/>
                  </a:lnTo>
                  <a:lnTo>
                    <a:pt x="1254" y="696"/>
                  </a:lnTo>
                  <a:lnTo>
                    <a:pt x="1254" y="708"/>
                  </a:lnTo>
                  <a:lnTo>
                    <a:pt x="1278" y="708"/>
                  </a:lnTo>
                  <a:lnTo>
                    <a:pt x="1284" y="696"/>
                  </a:lnTo>
                  <a:lnTo>
                    <a:pt x="1284" y="690"/>
                  </a:lnTo>
                  <a:lnTo>
                    <a:pt x="1308" y="684"/>
                  </a:lnTo>
                  <a:lnTo>
                    <a:pt x="1314" y="672"/>
                  </a:lnTo>
                  <a:lnTo>
                    <a:pt x="1350" y="672"/>
                  </a:lnTo>
                  <a:lnTo>
                    <a:pt x="1362" y="660"/>
                  </a:lnTo>
                  <a:lnTo>
                    <a:pt x="1356" y="660"/>
                  </a:lnTo>
                  <a:close/>
                  <a:moveTo>
                    <a:pt x="564" y="726"/>
                  </a:moveTo>
                  <a:lnTo>
                    <a:pt x="540" y="738"/>
                  </a:lnTo>
                  <a:lnTo>
                    <a:pt x="546" y="756"/>
                  </a:lnTo>
                  <a:lnTo>
                    <a:pt x="576" y="756"/>
                  </a:lnTo>
                  <a:lnTo>
                    <a:pt x="570" y="738"/>
                  </a:lnTo>
                  <a:lnTo>
                    <a:pt x="564" y="726"/>
                  </a:lnTo>
                  <a:close/>
                  <a:moveTo>
                    <a:pt x="522" y="714"/>
                  </a:moveTo>
                  <a:lnTo>
                    <a:pt x="516" y="720"/>
                  </a:lnTo>
                  <a:lnTo>
                    <a:pt x="510" y="732"/>
                  </a:lnTo>
                  <a:lnTo>
                    <a:pt x="510" y="750"/>
                  </a:lnTo>
                  <a:lnTo>
                    <a:pt x="528" y="768"/>
                  </a:lnTo>
                  <a:lnTo>
                    <a:pt x="528" y="756"/>
                  </a:lnTo>
                  <a:lnTo>
                    <a:pt x="534" y="744"/>
                  </a:lnTo>
                  <a:lnTo>
                    <a:pt x="534" y="720"/>
                  </a:lnTo>
                  <a:lnTo>
                    <a:pt x="528" y="714"/>
                  </a:lnTo>
                  <a:lnTo>
                    <a:pt x="522" y="714"/>
                  </a:lnTo>
                  <a:close/>
                  <a:moveTo>
                    <a:pt x="606" y="738"/>
                  </a:moveTo>
                  <a:lnTo>
                    <a:pt x="618" y="732"/>
                  </a:lnTo>
                  <a:lnTo>
                    <a:pt x="624" y="732"/>
                  </a:lnTo>
                  <a:lnTo>
                    <a:pt x="630" y="726"/>
                  </a:lnTo>
                  <a:lnTo>
                    <a:pt x="618" y="720"/>
                  </a:lnTo>
                  <a:lnTo>
                    <a:pt x="588" y="720"/>
                  </a:lnTo>
                  <a:lnTo>
                    <a:pt x="576" y="732"/>
                  </a:lnTo>
                  <a:lnTo>
                    <a:pt x="582" y="744"/>
                  </a:lnTo>
                  <a:lnTo>
                    <a:pt x="606" y="73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75" name="Nigeria" descr="© INSCALE GmbH, 05.05.2010&#10;http://www.presentationload.com/"/>
            <p:cNvSpPr>
              <a:spLocks/>
            </p:cNvSpPr>
            <p:nvPr/>
          </p:nvSpPr>
          <p:spPr bwMode="gray">
            <a:xfrm>
              <a:off x="4531012" y="3957179"/>
              <a:ext cx="271326" cy="238834"/>
            </a:xfrm>
            <a:custGeom>
              <a:avLst/>
              <a:gdLst>
                <a:gd name="T0" fmla="*/ 2147483647 w 840"/>
                <a:gd name="T1" fmla="*/ 2147483647 h 768"/>
                <a:gd name="T2" fmla="*/ 2147483647 w 840"/>
                <a:gd name="T3" fmla="*/ 2147483647 h 768"/>
                <a:gd name="T4" fmla="*/ 2147483647 w 840"/>
                <a:gd name="T5" fmla="*/ 2147483647 h 768"/>
                <a:gd name="T6" fmla="*/ 2147483647 w 840"/>
                <a:gd name="T7" fmla="*/ 2147483647 h 768"/>
                <a:gd name="T8" fmla="*/ 2147483647 w 840"/>
                <a:gd name="T9" fmla="*/ 2147483647 h 768"/>
                <a:gd name="T10" fmla="*/ 2147483647 w 840"/>
                <a:gd name="T11" fmla="*/ 2147483647 h 768"/>
                <a:gd name="T12" fmla="*/ 2147483647 w 840"/>
                <a:gd name="T13" fmla="*/ 2147483647 h 768"/>
                <a:gd name="T14" fmla="*/ 2147483647 w 840"/>
                <a:gd name="T15" fmla="*/ 2147483647 h 768"/>
                <a:gd name="T16" fmla="*/ 2147483647 w 840"/>
                <a:gd name="T17" fmla="*/ 2147483647 h 768"/>
                <a:gd name="T18" fmla="*/ 2147483647 w 840"/>
                <a:gd name="T19" fmla="*/ 2147483647 h 768"/>
                <a:gd name="T20" fmla="*/ 2147483647 w 840"/>
                <a:gd name="T21" fmla="*/ 2147483647 h 768"/>
                <a:gd name="T22" fmla="*/ 2147483647 w 840"/>
                <a:gd name="T23" fmla="*/ 2147483647 h 768"/>
                <a:gd name="T24" fmla="*/ 2147483647 w 840"/>
                <a:gd name="T25" fmla="*/ 2147483647 h 768"/>
                <a:gd name="T26" fmla="*/ 2147483647 w 840"/>
                <a:gd name="T27" fmla="*/ 2147483647 h 768"/>
                <a:gd name="T28" fmla="*/ 2147483647 w 840"/>
                <a:gd name="T29" fmla="*/ 2147483647 h 768"/>
                <a:gd name="T30" fmla="*/ 2147483647 w 840"/>
                <a:gd name="T31" fmla="*/ 2147483647 h 768"/>
                <a:gd name="T32" fmla="*/ 2147483647 w 840"/>
                <a:gd name="T33" fmla="*/ 2147483647 h 768"/>
                <a:gd name="T34" fmla="*/ 2147483647 w 840"/>
                <a:gd name="T35" fmla="*/ 2147483647 h 768"/>
                <a:gd name="T36" fmla="*/ 2147483647 w 840"/>
                <a:gd name="T37" fmla="*/ 2147483647 h 768"/>
                <a:gd name="T38" fmla="*/ 2147483647 w 840"/>
                <a:gd name="T39" fmla="*/ 2147483647 h 768"/>
                <a:gd name="T40" fmla="*/ 2147483647 w 840"/>
                <a:gd name="T41" fmla="*/ 2147483647 h 768"/>
                <a:gd name="T42" fmla="*/ 2147483647 w 840"/>
                <a:gd name="T43" fmla="*/ 2147483647 h 768"/>
                <a:gd name="T44" fmla="*/ 2147483647 w 840"/>
                <a:gd name="T45" fmla="*/ 2147483647 h 768"/>
                <a:gd name="T46" fmla="*/ 2147483647 w 840"/>
                <a:gd name="T47" fmla="*/ 2147483647 h 768"/>
                <a:gd name="T48" fmla="*/ 2147483647 w 840"/>
                <a:gd name="T49" fmla="*/ 2147483647 h 768"/>
                <a:gd name="T50" fmla="*/ 2147483647 w 840"/>
                <a:gd name="T51" fmla="*/ 2147483647 h 768"/>
                <a:gd name="T52" fmla="*/ 2147483647 w 840"/>
                <a:gd name="T53" fmla="*/ 2147483647 h 768"/>
                <a:gd name="T54" fmla="*/ 2147483647 w 840"/>
                <a:gd name="T55" fmla="*/ 2147483647 h 768"/>
                <a:gd name="T56" fmla="*/ 2147483647 w 840"/>
                <a:gd name="T57" fmla="*/ 2147483647 h 768"/>
                <a:gd name="T58" fmla="*/ 2147483647 w 840"/>
                <a:gd name="T59" fmla="*/ 2147483647 h 768"/>
                <a:gd name="T60" fmla="*/ 2147483647 w 840"/>
                <a:gd name="T61" fmla="*/ 2147483647 h 768"/>
                <a:gd name="T62" fmla="*/ 2147483647 w 840"/>
                <a:gd name="T63" fmla="*/ 2147483647 h 768"/>
                <a:gd name="T64" fmla="*/ 2147483647 w 840"/>
                <a:gd name="T65" fmla="*/ 2147483647 h 768"/>
                <a:gd name="T66" fmla="*/ 2147483647 w 840"/>
                <a:gd name="T67" fmla="*/ 2147483647 h 768"/>
                <a:gd name="T68" fmla="*/ 2147483647 w 840"/>
                <a:gd name="T69" fmla="*/ 2147483647 h 768"/>
                <a:gd name="T70" fmla="*/ 2147483647 w 840"/>
                <a:gd name="T71" fmla="*/ 2147483647 h 768"/>
                <a:gd name="T72" fmla="*/ 2147483647 w 840"/>
                <a:gd name="T73" fmla="*/ 2147483647 h 768"/>
                <a:gd name="T74" fmla="*/ 2147483647 w 840"/>
                <a:gd name="T75" fmla="*/ 2147483647 h 768"/>
                <a:gd name="T76" fmla="*/ 2147483647 w 840"/>
                <a:gd name="T77" fmla="*/ 2147483647 h 768"/>
                <a:gd name="T78" fmla="*/ 2147483647 w 840"/>
                <a:gd name="T79" fmla="*/ 2147483647 h 768"/>
                <a:gd name="T80" fmla="*/ 2147483647 w 840"/>
                <a:gd name="T81" fmla="*/ 2147483647 h 768"/>
                <a:gd name="T82" fmla="*/ 2147483647 w 840"/>
                <a:gd name="T83" fmla="*/ 2147483647 h 768"/>
                <a:gd name="T84" fmla="*/ 2147483647 w 840"/>
                <a:gd name="T85" fmla="*/ 2147483647 h 768"/>
                <a:gd name="T86" fmla="*/ 2147483647 w 840"/>
                <a:gd name="T87" fmla="*/ 2147483647 h 768"/>
                <a:gd name="T88" fmla="*/ 2147483647 w 840"/>
                <a:gd name="T89" fmla="*/ 2147483647 h 768"/>
                <a:gd name="T90" fmla="*/ 2147483647 w 840"/>
                <a:gd name="T91" fmla="*/ 2147483647 h 768"/>
                <a:gd name="T92" fmla="*/ 2147483647 w 840"/>
                <a:gd name="T93" fmla="*/ 2147483647 h 768"/>
                <a:gd name="T94" fmla="*/ 2147483647 w 840"/>
                <a:gd name="T95" fmla="*/ 2147483647 h 768"/>
                <a:gd name="T96" fmla="*/ 2147483647 w 840"/>
                <a:gd name="T97" fmla="*/ 2147483647 h 768"/>
                <a:gd name="T98" fmla="*/ 2147483647 w 840"/>
                <a:gd name="T99" fmla="*/ 2147483647 h 768"/>
                <a:gd name="T100" fmla="*/ 2147483647 w 840"/>
                <a:gd name="T101" fmla="*/ 2147483647 h 768"/>
                <a:gd name="T102" fmla="*/ 2147483647 w 840"/>
                <a:gd name="T103" fmla="*/ 2147483647 h 768"/>
                <a:gd name="T104" fmla="*/ 2147483647 w 840"/>
                <a:gd name="T105" fmla="*/ 2147483647 h 768"/>
                <a:gd name="T106" fmla="*/ 2147483647 w 840"/>
                <a:gd name="T107" fmla="*/ 2147483647 h 768"/>
                <a:gd name="T108" fmla="*/ 2147483647 w 840"/>
                <a:gd name="T109" fmla="*/ 2147483647 h 768"/>
                <a:gd name="T110" fmla="*/ 2147483647 w 840"/>
                <a:gd name="T111" fmla="*/ 2147483647 h 768"/>
                <a:gd name="T112" fmla="*/ 2147483647 w 840"/>
                <a:gd name="T113" fmla="*/ 2147483647 h 768"/>
                <a:gd name="T114" fmla="*/ 2147483647 w 840"/>
                <a:gd name="T115" fmla="*/ 2147483647 h 768"/>
                <a:gd name="T116" fmla="*/ 2147483647 w 840"/>
                <a:gd name="T117" fmla="*/ 2147483647 h 768"/>
                <a:gd name="T118" fmla="*/ 2147483647 w 840"/>
                <a:gd name="T119" fmla="*/ 2147483647 h 76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40"/>
                <a:gd name="T181" fmla="*/ 0 h 768"/>
                <a:gd name="T182" fmla="*/ 840 w 840"/>
                <a:gd name="T183" fmla="*/ 768 h 76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40" h="768">
                  <a:moveTo>
                    <a:pt x="420" y="738"/>
                  </a:moveTo>
                  <a:lnTo>
                    <a:pt x="420" y="732"/>
                  </a:lnTo>
                  <a:lnTo>
                    <a:pt x="426" y="726"/>
                  </a:lnTo>
                  <a:lnTo>
                    <a:pt x="426" y="714"/>
                  </a:lnTo>
                  <a:lnTo>
                    <a:pt x="432" y="702"/>
                  </a:lnTo>
                  <a:lnTo>
                    <a:pt x="432" y="648"/>
                  </a:lnTo>
                  <a:lnTo>
                    <a:pt x="498" y="594"/>
                  </a:lnTo>
                  <a:lnTo>
                    <a:pt x="498" y="588"/>
                  </a:lnTo>
                  <a:lnTo>
                    <a:pt x="504" y="582"/>
                  </a:lnTo>
                  <a:lnTo>
                    <a:pt x="516" y="558"/>
                  </a:lnTo>
                  <a:lnTo>
                    <a:pt x="522" y="552"/>
                  </a:lnTo>
                  <a:lnTo>
                    <a:pt x="528" y="552"/>
                  </a:lnTo>
                  <a:lnTo>
                    <a:pt x="534" y="558"/>
                  </a:lnTo>
                  <a:lnTo>
                    <a:pt x="546" y="564"/>
                  </a:lnTo>
                  <a:lnTo>
                    <a:pt x="552" y="564"/>
                  </a:lnTo>
                  <a:lnTo>
                    <a:pt x="558" y="558"/>
                  </a:lnTo>
                  <a:lnTo>
                    <a:pt x="558" y="546"/>
                  </a:lnTo>
                  <a:lnTo>
                    <a:pt x="552" y="540"/>
                  </a:lnTo>
                  <a:lnTo>
                    <a:pt x="564" y="540"/>
                  </a:lnTo>
                  <a:lnTo>
                    <a:pt x="570" y="552"/>
                  </a:lnTo>
                  <a:lnTo>
                    <a:pt x="582" y="564"/>
                  </a:lnTo>
                  <a:lnTo>
                    <a:pt x="588" y="576"/>
                  </a:lnTo>
                  <a:lnTo>
                    <a:pt x="588" y="582"/>
                  </a:lnTo>
                  <a:lnTo>
                    <a:pt x="594" y="594"/>
                  </a:lnTo>
                  <a:lnTo>
                    <a:pt x="600" y="600"/>
                  </a:lnTo>
                  <a:lnTo>
                    <a:pt x="606" y="600"/>
                  </a:lnTo>
                  <a:lnTo>
                    <a:pt x="624" y="582"/>
                  </a:lnTo>
                  <a:lnTo>
                    <a:pt x="624" y="570"/>
                  </a:lnTo>
                  <a:lnTo>
                    <a:pt x="630" y="558"/>
                  </a:lnTo>
                  <a:lnTo>
                    <a:pt x="642" y="552"/>
                  </a:lnTo>
                  <a:lnTo>
                    <a:pt x="648" y="546"/>
                  </a:lnTo>
                  <a:lnTo>
                    <a:pt x="648" y="516"/>
                  </a:lnTo>
                  <a:lnTo>
                    <a:pt x="672" y="486"/>
                  </a:lnTo>
                  <a:lnTo>
                    <a:pt x="684" y="438"/>
                  </a:lnTo>
                  <a:lnTo>
                    <a:pt x="696" y="432"/>
                  </a:lnTo>
                  <a:lnTo>
                    <a:pt x="702" y="426"/>
                  </a:lnTo>
                  <a:lnTo>
                    <a:pt x="714" y="420"/>
                  </a:lnTo>
                  <a:lnTo>
                    <a:pt x="720" y="414"/>
                  </a:lnTo>
                  <a:lnTo>
                    <a:pt x="720" y="402"/>
                  </a:lnTo>
                  <a:lnTo>
                    <a:pt x="726" y="384"/>
                  </a:lnTo>
                  <a:lnTo>
                    <a:pt x="726" y="354"/>
                  </a:lnTo>
                  <a:lnTo>
                    <a:pt x="744" y="354"/>
                  </a:lnTo>
                  <a:lnTo>
                    <a:pt x="750" y="348"/>
                  </a:lnTo>
                  <a:lnTo>
                    <a:pt x="756" y="330"/>
                  </a:lnTo>
                  <a:lnTo>
                    <a:pt x="756" y="300"/>
                  </a:lnTo>
                  <a:lnTo>
                    <a:pt x="762" y="294"/>
                  </a:lnTo>
                  <a:lnTo>
                    <a:pt x="768" y="264"/>
                  </a:lnTo>
                  <a:lnTo>
                    <a:pt x="774" y="252"/>
                  </a:lnTo>
                  <a:lnTo>
                    <a:pt x="786" y="240"/>
                  </a:lnTo>
                  <a:lnTo>
                    <a:pt x="786" y="234"/>
                  </a:lnTo>
                  <a:lnTo>
                    <a:pt x="792" y="228"/>
                  </a:lnTo>
                  <a:lnTo>
                    <a:pt x="792" y="222"/>
                  </a:lnTo>
                  <a:lnTo>
                    <a:pt x="798" y="216"/>
                  </a:lnTo>
                  <a:lnTo>
                    <a:pt x="798" y="210"/>
                  </a:lnTo>
                  <a:lnTo>
                    <a:pt x="810" y="210"/>
                  </a:lnTo>
                  <a:lnTo>
                    <a:pt x="822" y="204"/>
                  </a:lnTo>
                  <a:lnTo>
                    <a:pt x="840" y="186"/>
                  </a:lnTo>
                  <a:lnTo>
                    <a:pt x="840" y="174"/>
                  </a:lnTo>
                  <a:lnTo>
                    <a:pt x="834" y="168"/>
                  </a:lnTo>
                  <a:lnTo>
                    <a:pt x="834" y="162"/>
                  </a:lnTo>
                  <a:lnTo>
                    <a:pt x="840" y="156"/>
                  </a:lnTo>
                  <a:lnTo>
                    <a:pt x="840" y="126"/>
                  </a:lnTo>
                  <a:lnTo>
                    <a:pt x="810" y="126"/>
                  </a:lnTo>
                  <a:lnTo>
                    <a:pt x="810" y="120"/>
                  </a:lnTo>
                  <a:lnTo>
                    <a:pt x="804" y="108"/>
                  </a:lnTo>
                  <a:lnTo>
                    <a:pt x="804" y="60"/>
                  </a:lnTo>
                  <a:lnTo>
                    <a:pt x="774" y="12"/>
                  </a:lnTo>
                  <a:lnTo>
                    <a:pt x="756" y="12"/>
                  </a:lnTo>
                  <a:lnTo>
                    <a:pt x="750" y="18"/>
                  </a:lnTo>
                  <a:lnTo>
                    <a:pt x="750" y="24"/>
                  </a:lnTo>
                  <a:lnTo>
                    <a:pt x="744" y="30"/>
                  </a:lnTo>
                  <a:lnTo>
                    <a:pt x="744" y="36"/>
                  </a:lnTo>
                  <a:lnTo>
                    <a:pt x="720" y="36"/>
                  </a:lnTo>
                  <a:lnTo>
                    <a:pt x="714" y="42"/>
                  </a:lnTo>
                  <a:lnTo>
                    <a:pt x="702" y="48"/>
                  </a:lnTo>
                  <a:lnTo>
                    <a:pt x="696" y="54"/>
                  </a:lnTo>
                  <a:lnTo>
                    <a:pt x="684" y="60"/>
                  </a:lnTo>
                  <a:lnTo>
                    <a:pt x="654" y="60"/>
                  </a:lnTo>
                  <a:lnTo>
                    <a:pt x="648" y="54"/>
                  </a:lnTo>
                  <a:lnTo>
                    <a:pt x="636" y="48"/>
                  </a:lnTo>
                  <a:lnTo>
                    <a:pt x="600" y="36"/>
                  </a:lnTo>
                  <a:lnTo>
                    <a:pt x="546" y="36"/>
                  </a:lnTo>
                  <a:lnTo>
                    <a:pt x="528" y="42"/>
                  </a:lnTo>
                  <a:lnTo>
                    <a:pt x="516" y="54"/>
                  </a:lnTo>
                  <a:lnTo>
                    <a:pt x="504" y="60"/>
                  </a:lnTo>
                  <a:lnTo>
                    <a:pt x="492" y="84"/>
                  </a:lnTo>
                  <a:lnTo>
                    <a:pt x="486" y="90"/>
                  </a:lnTo>
                  <a:lnTo>
                    <a:pt x="480" y="90"/>
                  </a:lnTo>
                  <a:lnTo>
                    <a:pt x="468" y="84"/>
                  </a:lnTo>
                  <a:lnTo>
                    <a:pt x="438" y="84"/>
                  </a:lnTo>
                  <a:lnTo>
                    <a:pt x="414" y="72"/>
                  </a:lnTo>
                  <a:lnTo>
                    <a:pt x="402" y="60"/>
                  </a:lnTo>
                  <a:lnTo>
                    <a:pt x="390" y="54"/>
                  </a:lnTo>
                  <a:lnTo>
                    <a:pt x="384" y="48"/>
                  </a:lnTo>
                  <a:lnTo>
                    <a:pt x="372" y="42"/>
                  </a:lnTo>
                  <a:lnTo>
                    <a:pt x="360" y="42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12" y="72"/>
                  </a:lnTo>
                  <a:lnTo>
                    <a:pt x="306" y="72"/>
                  </a:lnTo>
                  <a:lnTo>
                    <a:pt x="294" y="66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82" y="42"/>
                  </a:lnTo>
                  <a:lnTo>
                    <a:pt x="258" y="18"/>
                  </a:lnTo>
                  <a:lnTo>
                    <a:pt x="222" y="18"/>
                  </a:lnTo>
                  <a:lnTo>
                    <a:pt x="222" y="12"/>
                  </a:lnTo>
                  <a:lnTo>
                    <a:pt x="210" y="0"/>
                  </a:lnTo>
                  <a:lnTo>
                    <a:pt x="198" y="0"/>
                  </a:lnTo>
                  <a:lnTo>
                    <a:pt x="186" y="6"/>
                  </a:lnTo>
                  <a:lnTo>
                    <a:pt x="180" y="6"/>
                  </a:lnTo>
                  <a:lnTo>
                    <a:pt x="180" y="12"/>
                  </a:lnTo>
                  <a:lnTo>
                    <a:pt x="126" y="12"/>
                  </a:lnTo>
                  <a:lnTo>
                    <a:pt x="102" y="36"/>
                  </a:lnTo>
                  <a:lnTo>
                    <a:pt x="102" y="60"/>
                  </a:lnTo>
                  <a:lnTo>
                    <a:pt x="96" y="78"/>
                  </a:lnTo>
                  <a:lnTo>
                    <a:pt x="90" y="90"/>
                  </a:lnTo>
                  <a:lnTo>
                    <a:pt x="84" y="96"/>
                  </a:lnTo>
                  <a:lnTo>
                    <a:pt x="78" y="108"/>
                  </a:lnTo>
                  <a:lnTo>
                    <a:pt x="72" y="114"/>
                  </a:lnTo>
                  <a:lnTo>
                    <a:pt x="66" y="114"/>
                  </a:lnTo>
                  <a:lnTo>
                    <a:pt x="66" y="168"/>
                  </a:lnTo>
                  <a:lnTo>
                    <a:pt x="60" y="180"/>
                  </a:lnTo>
                  <a:lnTo>
                    <a:pt x="60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84" y="252"/>
                  </a:lnTo>
                  <a:lnTo>
                    <a:pt x="84" y="264"/>
                  </a:lnTo>
                  <a:lnTo>
                    <a:pt x="78" y="270"/>
                  </a:lnTo>
                  <a:lnTo>
                    <a:pt x="72" y="270"/>
                  </a:lnTo>
                  <a:lnTo>
                    <a:pt x="60" y="276"/>
                  </a:lnTo>
                  <a:lnTo>
                    <a:pt x="60" y="318"/>
                  </a:lnTo>
                  <a:lnTo>
                    <a:pt x="48" y="324"/>
                  </a:lnTo>
                  <a:lnTo>
                    <a:pt x="42" y="336"/>
                  </a:lnTo>
                  <a:lnTo>
                    <a:pt x="36" y="342"/>
                  </a:lnTo>
                  <a:lnTo>
                    <a:pt x="36" y="372"/>
                  </a:lnTo>
                  <a:lnTo>
                    <a:pt x="24" y="396"/>
                  </a:lnTo>
                  <a:lnTo>
                    <a:pt x="6" y="39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0" y="492"/>
                  </a:lnTo>
                  <a:lnTo>
                    <a:pt x="0" y="606"/>
                  </a:lnTo>
                  <a:lnTo>
                    <a:pt x="6" y="612"/>
                  </a:lnTo>
                  <a:lnTo>
                    <a:pt x="30" y="612"/>
                  </a:lnTo>
                  <a:lnTo>
                    <a:pt x="54" y="600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108" y="600"/>
                  </a:lnTo>
                  <a:lnTo>
                    <a:pt x="126" y="606"/>
                  </a:lnTo>
                  <a:lnTo>
                    <a:pt x="138" y="618"/>
                  </a:lnTo>
                  <a:lnTo>
                    <a:pt x="150" y="636"/>
                  </a:lnTo>
                  <a:lnTo>
                    <a:pt x="156" y="648"/>
                  </a:lnTo>
                  <a:lnTo>
                    <a:pt x="168" y="660"/>
                  </a:lnTo>
                  <a:lnTo>
                    <a:pt x="186" y="660"/>
                  </a:lnTo>
                  <a:lnTo>
                    <a:pt x="180" y="666"/>
                  </a:lnTo>
                  <a:lnTo>
                    <a:pt x="180" y="678"/>
                  </a:lnTo>
                  <a:lnTo>
                    <a:pt x="174" y="684"/>
                  </a:lnTo>
                  <a:lnTo>
                    <a:pt x="186" y="684"/>
                  </a:lnTo>
                  <a:lnTo>
                    <a:pt x="198" y="678"/>
                  </a:lnTo>
                  <a:lnTo>
                    <a:pt x="198" y="684"/>
                  </a:lnTo>
                  <a:lnTo>
                    <a:pt x="192" y="690"/>
                  </a:lnTo>
                  <a:lnTo>
                    <a:pt x="186" y="702"/>
                  </a:lnTo>
                  <a:lnTo>
                    <a:pt x="186" y="714"/>
                  </a:lnTo>
                  <a:lnTo>
                    <a:pt x="204" y="750"/>
                  </a:lnTo>
                  <a:lnTo>
                    <a:pt x="216" y="762"/>
                  </a:lnTo>
                  <a:lnTo>
                    <a:pt x="234" y="768"/>
                  </a:lnTo>
                  <a:lnTo>
                    <a:pt x="270" y="768"/>
                  </a:lnTo>
                  <a:lnTo>
                    <a:pt x="276" y="762"/>
                  </a:lnTo>
                  <a:lnTo>
                    <a:pt x="282" y="762"/>
                  </a:lnTo>
                  <a:lnTo>
                    <a:pt x="288" y="738"/>
                  </a:lnTo>
                  <a:lnTo>
                    <a:pt x="312" y="750"/>
                  </a:lnTo>
                  <a:lnTo>
                    <a:pt x="336" y="744"/>
                  </a:lnTo>
                  <a:lnTo>
                    <a:pt x="354" y="756"/>
                  </a:lnTo>
                  <a:lnTo>
                    <a:pt x="396" y="756"/>
                  </a:lnTo>
                  <a:lnTo>
                    <a:pt x="396" y="732"/>
                  </a:lnTo>
                  <a:lnTo>
                    <a:pt x="420" y="732"/>
                  </a:lnTo>
                  <a:lnTo>
                    <a:pt x="420" y="73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76" name="Niger" descr="© INSCALE GmbH, 05.05.2010&#10;http://www.presentationload.com/"/>
            <p:cNvSpPr>
              <a:spLocks/>
            </p:cNvSpPr>
            <p:nvPr/>
          </p:nvSpPr>
          <p:spPr bwMode="gray">
            <a:xfrm>
              <a:off x="4473419" y="3717121"/>
              <a:ext cx="360915" cy="292725"/>
            </a:xfrm>
            <a:custGeom>
              <a:avLst/>
              <a:gdLst>
                <a:gd name="T0" fmla="*/ 2147483647 w 1110"/>
                <a:gd name="T1" fmla="*/ 2147483647 h 942"/>
                <a:gd name="T2" fmla="*/ 2147483647 w 1110"/>
                <a:gd name="T3" fmla="*/ 2147483647 h 942"/>
                <a:gd name="T4" fmla="*/ 2147483647 w 1110"/>
                <a:gd name="T5" fmla="*/ 2147483647 h 942"/>
                <a:gd name="T6" fmla="*/ 2147483647 w 1110"/>
                <a:gd name="T7" fmla="*/ 2147483647 h 942"/>
                <a:gd name="T8" fmla="*/ 2147483647 w 1110"/>
                <a:gd name="T9" fmla="*/ 2147483647 h 942"/>
                <a:gd name="T10" fmla="*/ 2147483647 w 1110"/>
                <a:gd name="T11" fmla="*/ 2147483647 h 942"/>
                <a:gd name="T12" fmla="*/ 2147483647 w 1110"/>
                <a:gd name="T13" fmla="*/ 2147483647 h 942"/>
                <a:gd name="T14" fmla="*/ 2147483647 w 1110"/>
                <a:gd name="T15" fmla="*/ 2147483647 h 942"/>
                <a:gd name="T16" fmla="*/ 2147483647 w 1110"/>
                <a:gd name="T17" fmla="*/ 2147483647 h 942"/>
                <a:gd name="T18" fmla="*/ 2147483647 w 1110"/>
                <a:gd name="T19" fmla="*/ 2147483647 h 942"/>
                <a:gd name="T20" fmla="*/ 2147483647 w 1110"/>
                <a:gd name="T21" fmla="*/ 2147483647 h 942"/>
                <a:gd name="T22" fmla="*/ 2147483647 w 1110"/>
                <a:gd name="T23" fmla="*/ 2147483647 h 942"/>
                <a:gd name="T24" fmla="*/ 2147483647 w 1110"/>
                <a:gd name="T25" fmla="*/ 2147483647 h 942"/>
                <a:gd name="T26" fmla="*/ 2147483647 w 1110"/>
                <a:gd name="T27" fmla="*/ 2147483647 h 942"/>
                <a:gd name="T28" fmla="*/ 2147483647 w 1110"/>
                <a:gd name="T29" fmla="*/ 2147483647 h 942"/>
                <a:gd name="T30" fmla="*/ 2147483647 w 1110"/>
                <a:gd name="T31" fmla="*/ 2147483647 h 942"/>
                <a:gd name="T32" fmla="*/ 2147483647 w 1110"/>
                <a:gd name="T33" fmla="*/ 2147483647 h 942"/>
                <a:gd name="T34" fmla="*/ 2147483647 w 1110"/>
                <a:gd name="T35" fmla="*/ 2147483647 h 942"/>
                <a:gd name="T36" fmla="*/ 2147483647 w 1110"/>
                <a:gd name="T37" fmla="*/ 2147483647 h 942"/>
                <a:gd name="T38" fmla="*/ 2147483647 w 1110"/>
                <a:gd name="T39" fmla="*/ 2147483647 h 942"/>
                <a:gd name="T40" fmla="*/ 2147483647 w 1110"/>
                <a:gd name="T41" fmla="*/ 2147483647 h 942"/>
                <a:gd name="T42" fmla="*/ 2147483647 w 1110"/>
                <a:gd name="T43" fmla="*/ 2147483647 h 942"/>
                <a:gd name="T44" fmla="*/ 2147483647 w 1110"/>
                <a:gd name="T45" fmla="*/ 2147483647 h 942"/>
                <a:gd name="T46" fmla="*/ 2147483647 w 1110"/>
                <a:gd name="T47" fmla="*/ 2147483647 h 942"/>
                <a:gd name="T48" fmla="*/ 2147483647 w 1110"/>
                <a:gd name="T49" fmla="*/ 2147483647 h 942"/>
                <a:gd name="T50" fmla="*/ 2147483647 w 1110"/>
                <a:gd name="T51" fmla="*/ 2147483647 h 942"/>
                <a:gd name="T52" fmla="*/ 2147483647 w 1110"/>
                <a:gd name="T53" fmla="*/ 2147483647 h 942"/>
                <a:gd name="T54" fmla="*/ 2147483647 w 1110"/>
                <a:gd name="T55" fmla="*/ 2147483647 h 942"/>
                <a:gd name="T56" fmla="*/ 2147483647 w 1110"/>
                <a:gd name="T57" fmla="*/ 2147483647 h 942"/>
                <a:gd name="T58" fmla="*/ 2147483647 w 1110"/>
                <a:gd name="T59" fmla="*/ 2147483647 h 942"/>
                <a:gd name="T60" fmla="*/ 2147483647 w 1110"/>
                <a:gd name="T61" fmla="*/ 2147483647 h 942"/>
                <a:gd name="T62" fmla="*/ 2147483647 w 1110"/>
                <a:gd name="T63" fmla="*/ 2147483647 h 942"/>
                <a:gd name="T64" fmla="*/ 2147483647 w 1110"/>
                <a:gd name="T65" fmla="*/ 2147483647 h 942"/>
                <a:gd name="T66" fmla="*/ 2147483647 w 1110"/>
                <a:gd name="T67" fmla="*/ 2147483647 h 942"/>
                <a:gd name="T68" fmla="*/ 2147483647 w 1110"/>
                <a:gd name="T69" fmla="*/ 2147483647 h 942"/>
                <a:gd name="T70" fmla="*/ 2147483647 w 1110"/>
                <a:gd name="T71" fmla="*/ 2147483647 h 942"/>
                <a:gd name="T72" fmla="*/ 2147483647 w 1110"/>
                <a:gd name="T73" fmla="*/ 2147483647 h 942"/>
                <a:gd name="T74" fmla="*/ 2147483647 w 1110"/>
                <a:gd name="T75" fmla="*/ 2147483647 h 942"/>
                <a:gd name="T76" fmla="*/ 2147483647 w 1110"/>
                <a:gd name="T77" fmla="*/ 2147483647 h 942"/>
                <a:gd name="T78" fmla="*/ 2147483647 w 1110"/>
                <a:gd name="T79" fmla="*/ 2147483647 h 942"/>
                <a:gd name="T80" fmla="*/ 2147483647 w 1110"/>
                <a:gd name="T81" fmla="*/ 2147483647 h 942"/>
                <a:gd name="T82" fmla="*/ 2147483647 w 1110"/>
                <a:gd name="T83" fmla="*/ 2147483647 h 942"/>
                <a:gd name="T84" fmla="*/ 2147483647 w 1110"/>
                <a:gd name="T85" fmla="*/ 2147483647 h 942"/>
                <a:gd name="T86" fmla="*/ 2147483647 w 1110"/>
                <a:gd name="T87" fmla="*/ 2147483647 h 942"/>
                <a:gd name="T88" fmla="*/ 2147483647 w 1110"/>
                <a:gd name="T89" fmla="*/ 2147483647 h 942"/>
                <a:gd name="T90" fmla="*/ 2147483647 w 1110"/>
                <a:gd name="T91" fmla="*/ 2147483647 h 942"/>
                <a:gd name="T92" fmla="*/ 2147483647 w 1110"/>
                <a:gd name="T93" fmla="*/ 2147483647 h 942"/>
                <a:gd name="T94" fmla="*/ 2147483647 w 1110"/>
                <a:gd name="T95" fmla="*/ 2147483647 h 942"/>
                <a:gd name="T96" fmla="*/ 2147483647 w 1110"/>
                <a:gd name="T97" fmla="*/ 2147483647 h 942"/>
                <a:gd name="T98" fmla="*/ 0 w 1110"/>
                <a:gd name="T99" fmla="*/ 2147483647 h 942"/>
                <a:gd name="T100" fmla="*/ 2147483647 w 1110"/>
                <a:gd name="T101" fmla="*/ 2147483647 h 94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110"/>
                <a:gd name="T154" fmla="*/ 0 h 942"/>
                <a:gd name="T155" fmla="*/ 1110 w 1110"/>
                <a:gd name="T156" fmla="*/ 942 h 94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110" h="942">
                  <a:moveTo>
                    <a:pt x="54" y="792"/>
                  </a:moveTo>
                  <a:lnTo>
                    <a:pt x="54" y="810"/>
                  </a:lnTo>
                  <a:lnTo>
                    <a:pt x="66" y="810"/>
                  </a:lnTo>
                  <a:lnTo>
                    <a:pt x="48" y="828"/>
                  </a:lnTo>
                  <a:lnTo>
                    <a:pt x="48" y="834"/>
                  </a:lnTo>
                  <a:lnTo>
                    <a:pt x="72" y="858"/>
                  </a:lnTo>
                  <a:lnTo>
                    <a:pt x="84" y="864"/>
                  </a:lnTo>
                  <a:lnTo>
                    <a:pt x="90" y="876"/>
                  </a:lnTo>
                  <a:lnTo>
                    <a:pt x="108" y="876"/>
                  </a:lnTo>
                  <a:lnTo>
                    <a:pt x="120" y="864"/>
                  </a:lnTo>
                  <a:lnTo>
                    <a:pt x="132" y="864"/>
                  </a:lnTo>
                  <a:lnTo>
                    <a:pt x="144" y="876"/>
                  </a:lnTo>
                  <a:lnTo>
                    <a:pt x="150" y="888"/>
                  </a:lnTo>
                  <a:lnTo>
                    <a:pt x="126" y="894"/>
                  </a:lnTo>
                  <a:lnTo>
                    <a:pt x="150" y="930"/>
                  </a:lnTo>
                  <a:lnTo>
                    <a:pt x="150" y="906"/>
                  </a:lnTo>
                  <a:lnTo>
                    <a:pt x="180" y="894"/>
                  </a:lnTo>
                  <a:lnTo>
                    <a:pt x="192" y="906"/>
                  </a:lnTo>
                  <a:lnTo>
                    <a:pt x="198" y="918"/>
                  </a:lnTo>
                  <a:lnTo>
                    <a:pt x="204" y="924"/>
                  </a:lnTo>
                  <a:lnTo>
                    <a:pt x="210" y="924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40" y="942"/>
                  </a:lnTo>
                  <a:lnTo>
                    <a:pt x="240" y="888"/>
                  </a:lnTo>
                  <a:lnTo>
                    <a:pt x="246" y="888"/>
                  </a:lnTo>
                  <a:lnTo>
                    <a:pt x="252" y="882"/>
                  </a:lnTo>
                  <a:lnTo>
                    <a:pt x="258" y="870"/>
                  </a:lnTo>
                  <a:lnTo>
                    <a:pt x="264" y="864"/>
                  </a:lnTo>
                  <a:lnTo>
                    <a:pt x="270" y="852"/>
                  </a:lnTo>
                  <a:lnTo>
                    <a:pt x="276" y="834"/>
                  </a:lnTo>
                  <a:lnTo>
                    <a:pt x="276" y="810"/>
                  </a:lnTo>
                  <a:lnTo>
                    <a:pt x="300" y="786"/>
                  </a:lnTo>
                  <a:lnTo>
                    <a:pt x="354" y="786"/>
                  </a:lnTo>
                  <a:lnTo>
                    <a:pt x="354" y="780"/>
                  </a:lnTo>
                  <a:lnTo>
                    <a:pt x="360" y="780"/>
                  </a:lnTo>
                  <a:lnTo>
                    <a:pt x="372" y="774"/>
                  </a:lnTo>
                  <a:lnTo>
                    <a:pt x="384" y="774"/>
                  </a:lnTo>
                  <a:lnTo>
                    <a:pt x="396" y="786"/>
                  </a:lnTo>
                  <a:lnTo>
                    <a:pt x="396" y="792"/>
                  </a:lnTo>
                  <a:lnTo>
                    <a:pt x="432" y="792"/>
                  </a:lnTo>
                  <a:lnTo>
                    <a:pt x="456" y="816"/>
                  </a:lnTo>
                  <a:lnTo>
                    <a:pt x="456" y="822"/>
                  </a:lnTo>
                  <a:lnTo>
                    <a:pt x="462" y="828"/>
                  </a:lnTo>
                  <a:lnTo>
                    <a:pt x="462" y="834"/>
                  </a:lnTo>
                  <a:lnTo>
                    <a:pt x="468" y="840"/>
                  </a:lnTo>
                  <a:lnTo>
                    <a:pt x="480" y="846"/>
                  </a:lnTo>
                  <a:lnTo>
                    <a:pt x="486" y="846"/>
                  </a:lnTo>
                  <a:lnTo>
                    <a:pt x="498" y="840"/>
                  </a:lnTo>
                  <a:lnTo>
                    <a:pt x="510" y="828"/>
                  </a:lnTo>
                  <a:lnTo>
                    <a:pt x="534" y="816"/>
                  </a:lnTo>
                  <a:lnTo>
                    <a:pt x="546" y="816"/>
                  </a:lnTo>
                  <a:lnTo>
                    <a:pt x="558" y="822"/>
                  </a:lnTo>
                  <a:lnTo>
                    <a:pt x="564" y="828"/>
                  </a:lnTo>
                  <a:lnTo>
                    <a:pt x="576" y="834"/>
                  </a:lnTo>
                  <a:lnTo>
                    <a:pt x="588" y="846"/>
                  </a:lnTo>
                  <a:lnTo>
                    <a:pt x="612" y="858"/>
                  </a:lnTo>
                  <a:lnTo>
                    <a:pt x="642" y="858"/>
                  </a:lnTo>
                  <a:lnTo>
                    <a:pt x="654" y="864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78" y="834"/>
                  </a:lnTo>
                  <a:lnTo>
                    <a:pt x="690" y="828"/>
                  </a:lnTo>
                  <a:lnTo>
                    <a:pt x="702" y="816"/>
                  </a:lnTo>
                  <a:lnTo>
                    <a:pt x="720" y="810"/>
                  </a:lnTo>
                  <a:lnTo>
                    <a:pt x="774" y="810"/>
                  </a:lnTo>
                  <a:lnTo>
                    <a:pt x="810" y="822"/>
                  </a:lnTo>
                  <a:lnTo>
                    <a:pt x="822" y="828"/>
                  </a:lnTo>
                  <a:lnTo>
                    <a:pt x="828" y="834"/>
                  </a:lnTo>
                  <a:lnTo>
                    <a:pt x="858" y="834"/>
                  </a:lnTo>
                  <a:lnTo>
                    <a:pt x="870" y="828"/>
                  </a:lnTo>
                  <a:lnTo>
                    <a:pt x="876" y="822"/>
                  </a:lnTo>
                  <a:lnTo>
                    <a:pt x="888" y="816"/>
                  </a:lnTo>
                  <a:lnTo>
                    <a:pt x="894" y="810"/>
                  </a:lnTo>
                  <a:lnTo>
                    <a:pt x="918" y="810"/>
                  </a:lnTo>
                  <a:lnTo>
                    <a:pt x="918" y="804"/>
                  </a:lnTo>
                  <a:lnTo>
                    <a:pt x="924" y="798"/>
                  </a:lnTo>
                  <a:lnTo>
                    <a:pt x="924" y="792"/>
                  </a:lnTo>
                  <a:lnTo>
                    <a:pt x="930" y="786"/>
                  </a:lnTo>
                  <a:lnTo>
                    <a:pt x="936" y="786"/>
                  </a:lnTo>
                  <a:lnTo>
                    <a:pt x="930" y="726"/>
                  </a:lnTo>
                  <a:lnTo>
                    <a:pt x="948" y="720"/>
                  </a:lnTo>
                  <a:lnTo>
                    <a:pt x="948" y="714"/>
                  </a:lnTo>
                  <a:lnTo>
                    <a:pt x="954" y="708"/>
                  </a:lnTo>
                  <a:lnTo>
                    <a:pt x="954" y="696"/>
                  </a:lnTo>
                  <a:lnTo>
                    <a:pt x="960" y="678"/>
                  </a:lnTo>
                  <a:lnTo>
                    <a:pt x="966" y="666"/>
                  </a:lnTo>
                  <a:lnTo>
                    <a:pt x="978" y="648"/>
                  </a:lnTo>
                  <a:lnTo>
                    <a:pt x="984" y="636"/>
                  </a:lnTo>
                  <a:lnTo>
                    <a:pt x="1002" y="618"/>
                  </a:lnTo>
                  <a:lnTo>
                    <a:pt x="1026" y="588"/>
                  </a:lnTo>
                  <a:lnTo>
                    <a:pt x="1050" y="564"/>
                  </a:lnTo>
                  <a:lnTo>
                    <a:pt x="1068" y="540"/>
                  </a:lnTo>
                  <a:lnTo>
                    <a:pt x="1074" y="534"/>
                  </a:lnTo>
                  <a:lnTo>
                    <a:pt x="1092" y="288"/>
                  </a:lnTo>
                  <a:lnTo>
                    <a:pt x="1110" y="252"/>
                  </a:lnTo>
                  <a:lnTo>
                    <a:pt x="1080" y="216"/>
                  </a:lnTo>
                  <a:lnTo>
                    <a:pt x="1074" y="192"/>
                  </a:lnTo>
                  <a:lnTo>
                    <a:pt x="1044" y="156"/>
                  </a:lnTo>
                  <a:lnTo>
                    <a:pt x="1056" y="108"/>
                  </a:lnTo>
                  <a:lnTo>
                    <a:pt x="1038" y="42"/>
                  </a:lnTo>
                  <a:lnTo>
                    <a:pt x="1020" y="48"/>
                  </a:lnTo>
                  <a:lnTo>
                    <a:pt x="1002" y="60"/>
                  </a:lnTo>
                  <a:lnTo>
                    <a:pt x="990" y="66"/>
                  </a:lnTo>
                  <a:lnTo>
                    <a:pt x="984" y="66"/>
                  </a:lnTo>
                  <a:lnTo>
                    <a:pt x="978" y="60"/>
                  </a:lnTo>
                  <a:lnTo>
                    <a:pt x="966" y="54"/>
                  </a:lnTo>
                  <a:lnTo>
                    <a:pt x="960" y="42"/>
                  </a:lnTo>
                  <a:lnTo>
                    <a:pt x="954" y="36"/>
                  </a:lnTo>
                  <a:lnTo>
                    <a:pt x="942" y="30"/>
                  </a:lnTo>
                  <a:lnTo>
                    <a:pt x="936" y="24"/>
                  </a:lnTo>
                  <a:lnTo>
                    <a:pt x="930" y="24"/>
                  </a:lnTo>
                  <a:lnTo>
                    <a:pt x="918" y="18"/>
                  </a:lnTo>
                  <a:lnTo>
                    <a:pt x="900" y="12"/>
                  </a:lnTo>
                  <a:lnTo>
                    <a:pt x="888" y="12"/>
                  </a:lnTo>
                  <a:lnTo>
                    <a:pt x="876" y="6"/>
                  </a:lnTo>
                  <a:lnTo>
                    <a:pt x="864" y="6"/>
                  </a:lnTo>
                  <a:lnTo>
                    <a:pt x="828" y="0"/>
                  </a:lnTo>
                  <a:lnTo>
                    <a:pt x="816" y="6"/>
                  </a:lnTo>
                  <a:lnTo>
                    <a:pt x="786" y="30"/>
                  </a:lnTo>
                  <a:lnTo>
                    <a:pt x="738" y="66"/>
                  </a:lnTo>
                  <a:lnTo>
                    <a:pt x="684" y="102"/>
                  </a:lnTo>
                  <a:lnTo>
                    <a:pt x="624" y="144"/>
                  </a:lnTo>
                  <a:lnTo>
                    <a:pt x="576" y="180"/>
                  </a:lnTo>
                  <a:lnTo>
                    <a:pt x="534" y="210"/>
                  </a:lnTo>
                  <a:lnTo>
                    <a:pt x="510" y="222"/>
                  </a:lnTo>
                  <a:lnTo>
                    <a:pt x="480" y="246"/>
                  </a:lnTo>
                  <a:lnTo>
                    <a:pt x="450" y="282"/>
                  </a:lnTo>
                  <a:lnTo>
                    <a:pt x="414" y="312"/>
                  </a:lnTo>
                  <a:lnTo>
                    <a:pt x="390" y="330"/>
                  </a:lnTo>
                  <a:lnTo>
                    <a:pt x="366" y="336"/>
                  </a:lnTo>
                  <a:lnTo>
                    <a:pt x="324" y="342"/>
                  </a:lnTo>
                  <a:lnTo>
                    <a:pt x="282" y="354"/>
                  </a:lnTo>
                  <a:lnTo>
                    <a:pt x="282" y="558"/>
                  </a:lnTo>
                  <a:lnTo>
                    <a:pt x="264" y="582"/>
                  </a:lnTo>
                  <a:lnTo>
                    <a:pt x="264" y="594"/>
                  </a:lnTo>
                  <a:lnTo>
                    <a:pt x="258" y="606"/>
                  </a:lnTo>
                  <a:lnTo>
                    <a:pt x="258" y="624"/>
                  </a:lnTo>
                  <a:lnTo>
                    <a:pt x="252" y="636"/>
                  </a:lnTo>
                  <a:lnTo>
                    <a:pt x="240" y="642"/>
                  </a:lnTo>
                  <a:lnTo>
                    <a:pt x="222" y="648"/>
                  </a:lnTo>
                  <a:lnTo>
                    <a:pt x="198" y="648"/>
                  </a:lnTo>
                  <a:lnTo>
                    <a:pt x="186" y="654"/>
                  </a:lnTo>
                  <a:lnTo>
                    <a:pt x="138" y="648"/>
                  </a:lnTo>
                  <a:lnTo>
                    <a:pt x="138" y="666"/>
                  </a:lnTo>
                  <a:lnTo>
                    <a:pt x="72" y="660"/>
                  </a:lnTo>
                  <a:lnTo>
                    <a:pt x="48" y="678"/>
                  </a:lnTo>
                  <a:lnTo>
                    <a:pt x="0" y="690"/>
                  </a:lnTo>
                  <a:lnTo>
                    <a:pt x="0" y="726"/>
                  </a:lnTo>
                  <a:lnTo>
                    <a:pt x="6" y="738"/>
                  </a:lnTo>
                  <a:lnTo>
                    <a:pt x="6" y="762"/>
                  </a:lnTo>
                  <a:lnTo>
                    <a:pt x="18" y="786"/>
                  </a:lnTo>
                  <a:lnTo>
                    <a:pt x="30" y="792"/>
                  </a:lnTo>
                  <a:lnTo>
                    <a:pt x="54" y="79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77" name="Nicaragua" descr="© INSCALE GmbH, 05.05.2010&#10;http://www.presentationload.com/"/>
            <p:cNvSpPr>
              <a:spLocks/>
            </p:cNvSpPr>
            <p:nvPr/>
          </p:nvSpPr>
          <p:spPr bwMode="gray">
            <a:xfrm>
              <a:off x="2458950" y="3932684"/>
              <a:ext cx="106226" cy="102883"/>
            </a:xfrm>
            <a:custGeom>
              <a:avLst/>
              <a:gdLst>
                <a:gd name="T0" fmla="*/ 2147483647 w 324"/>
                <a:gd name="T1" fmla="*/ 2147483647 h 330"/>
                <a:gd name="T2" fmla="*/ 2147483647 w 324"/>
                <a:gd name="T3" fmla="*/ 0 h 330"/>
                <a:gd name="T4" fmla="*/ 2147483647 w 324"/>
                <a:gd name="T5" fmla="*/ 2147483647 h 330"/>
                <a:gd name="T6" fmla="*/ 2147483647 w 324"/>
                <a:gd name="T7" fmla="*/ 2147483647 h 330"/>
                <a:gd name="T8" fmla="*/ 2147483647 w 324"/>
                <a:gd name="T9" fmla="*/ 0 h 330"/>
                <a:gd name="T10" fmla="*/ 2147483647 w 324"/>
                <a:gd name="T11" fmla="*/ 2147483647 h 330"/>
                <a:gd name="T12" fmla="*/ 2147483647 w 324"/>
                <a:gd name="T13" fmla="*/ 2147483647 h 330"/>
                <a:gd name="T14" fmla="*/ 2147483647 w 324"/>
                <a:gd name="T15" fmla="*/ 2147483647 h 330"/>
                <a:gd name="T16" fmla="*/ 2147483647 w 324"/>
                <a:gd name="T17" fmla="*/ 2147483647 h 330"/>
                <a:gd name="T18" fmla="*/ 2147483647 w 324"/>
                <a:gd name="T19" fmla="*/ 2147483647 h 330"/>
                <a:gd name="T20" fmla="*/ 2147483647 w 324"/>
                <a:gd name="T21" fmla="*/ 2147483647 h 330"/>
                <a:gd name="T22" fmla="*/ 2147483647 w 324"/>
                <a:gd name="T23" fmla="*/ 2147483647 h 330"/>
                <a:gd name="T24" fmla="*/ 2147483647 w 324"/>
                <a:gd name="T25" fmla="*/ 2147483647 h 330"/>
                <a:gd name="T26" fmla="*/ 2147483647 w 324"/>
                <a:gd name="T27" fmla="*/ 2147483647 h 330"/>
                <a:gd name="T28" fmla="*/ 2147483647 w 324"/>
                <a:gd name="T29" fmla="*/ 2147483647 h 330"/>
                <a:gd name="T30" fmla="*/ 2147483647 w 324"/>
                <a:gd name="T31" fmla="*/ 2147483647 h 330"/>
                <a:gd name="T32" fmla="*/ 2147483647 w 324"/>
                <a:gd name="T33" fmla="*/ 2147483647 h 330"/>
                <a:gd name="T34" fmla="*/ 2147483647 w 324"/>
                <a:gd name="T35" fmla="*/ 2147483647 h 330"/>
                <a:gd name="T36" fmla="*/ 2147483647 w 324"/>
                <a:gd name="T37" fmla="*/ 2147483647 h 330"/>
                <a:gd name="T38" fmla="*/ 2147483647 w 324"/>
                <a:gd name="T39" fmla="*/ 2147483647 h 330"/>
                <a:gd name="T40" fmla="*/ 2147483647 w 324"/>
                <a:gd name="T41" fmla="*/ 2147483647 h 330"/>
                <a:gd name="T42" fmla="*/ 2147483647 w 324"/>
                <a:gd name="T43" fmla="*/ 2147483647 h 330"/>
                <a:gd name="T44" fmla="*/ 2147483647 w 324"/>
                <a:gd name="T45" fmla="*/ 2147483647 h 330"/>
                <a:gd name="T46" fmla="*/ 2147483647 w 324"/>
                <a:gd name="T47" fmla="*/ 2147483647 h 330"/>
                <a:gd name="T48" fmla="*/ 2147483647 w 324"/>
                <a:gd name="T49" fmla="*/ 2147483647 h 330"/>
                <a:gd name="T50" fmla="*/ 2147483647 w 324"/>
                <a:gd name="T51" fmla="*/ 2147483647 h 330"/>
                <a:gd name="T52" fmla="*/ 2147483647 w 324"/>
                <a:gd name="T53" fmla="*/ 2147483647 h 330"/>
                <a:gd name="T54" fmla="*/ 2147483647 w 324"/>
                <a:gd name="T55" fmla="*/ 2147483647 h 330"/>
                <a:gd name="T56" fmla="*/ 2147483647 w 324"/>
                <a:gd name="T57" fmla="*/ 2147483647 h 330"/>
                <a:gd name="T58" fmla="*/ 2147483647 w 324"/>
                <a:gd name="T59" fmla="*/ 2147483647 h 330"/>
                <a:gd name="T60" fmla="*/ 2147483647 w 324"/>
                <a:gd name="T61" fmla="*/ 2147483647 h 330"/>
                <a:gd name="T62" fmla="*/ 2147483647 w 324"/>
                <a:gd name="T63" fmla="*/ 2147483647 h 330"/>
                <a:gd name="T64" fmla="*/ 2147483647 w 324"/>
                <a:gd name="T65" fmla="*/ 2147483647 h 330"/>
                <a:gd name="T66" fmla="*/ 2147483647 w 324"/>
                <a:gd name="T67" fmla="*/ 2147483647 h 330"/>
                <a:gd name="T68" fmla="*/ 2147483647 w 324"/>
                <a:gd name="T69" fmla="*/ 2147483647 h 330"/>
                <a:gd name="T70" fmla="*/ 2147483647 w 324"/>
                <a:gd name="T71" fmla="*/ 2147483647 h 330"/>
                <a:gd name="T72" fmla="*/ 2147483647 w 324"/>
                <a:gd name="T73" fmla="*/ 2147483647 h 330"/>
                <a:gd name="T74" fmla="*/ 2147483647 w 324"/>
                <a:gd name="T75" fmla="*/ 2147483647 h 330"/>
                <a:gd name="T76" fmla="*/ 2147483647 w 324"/>
                <a:gd name="T77" fmla="*/ 2147483647 h 330"/>
                <a:gd name="T78" fmla="*/ 2147483647 w 324"/>
                <a:gd name="T79" fmla="*/ 2147483647 h 330"/>
                <a:gd name="T80" fmla="*/ 2147483647 w 324"/>
                <a:gd name="T81" fmla="*/ 2147483647 h 33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24"/>
                <a:gd name="T124" fmla="*/ 0 h 330"/>
                <a:gd name="T125" fmla="*/ 324 w 324"/>
                <a:gd name="T126" fmla="*/ 330 h 33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24" h="330">
                  <a:moveTo>
                    <a:pt x="324" y="18"/>
                  </a:moveTo>
                  <a:lnTo>
                    <a:pt x="318" y="12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264" y="0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40" y="18"/>
                  </a:lnTo>
                  <a:lnTo>
                    <a:pt x="222" y="0"/>
                  </a:lnTo>
                  <a:lnTo>
                    <a:pt x="210" y="0"/>
                  </a:lnTo>
                  <a:lnTo>
                    <a:pt x="198" y="12"/>
                  </a:lnTo>
                  <a:lnTo>
                    <a:pt x="198" y="30"/>
                  </a:lnTo>
                  <a:lnTo>
                    <a:pt x="180" y="30"/>
                  </a:lnTo>
                  <a:lnTo>
                    <a:pt x="168" y="54"/>
                  </a:lnTo>
                  <a:lnTo>
                    <a:pt x="144" y="78"/>
                  </a:lnTo>
                  <a:lnTo>
                    <a:pt x="126" y="78"/>
                  </a:lnTo>
                  <a:lnTo>
                    <a:pt x="120" y="72"/>
                  </a:lnTo>
                  <a:lnTo>
                    <a:pt x="120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6" y="84"/>
                  </a:lnTo>
                  <a:lnTo>
                    <a:pt x="60" y="84"/>
                  </a:lnTo>
                  <a:lnTo>
                    <a:pt x="54" y="90"/>
                  </a:lnTo>
                  <a:lnTo>
                    <a:pt x="54" y="102"/>
                  </a:lnTo>
                  <a:lnTo>
                    <a:pt x="60" y="108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48" y="126"/>
                  </a:lnTo>
                  <a:lnTo>
                    <a:pt x="48" y="144"/>
                  </a:lnTo>
                  <a:lnTo>
                    <a:pt x="36" y="150"/>
                  </a:lnTo>
                  <a:lnTo>
                    <a:pt x="0" y="150"/>
                  </a:lnTo>
                  <a:lnTo>
                    <a:pt x="48" y="204"/>
                  </a:lnTo>
                  <a:lnTo>
                    <a:pt x="48" y="210"/>
                  </a:lnTo>
                  <a:lnTo>
                    <a:pt x="54" y="216"/>
                  </a:lnTo>
                  <a:lnTo>
                    <a:pt x="54" y="228"/>
                  </a:lnTo>
                  <a:lnTo>
                    <a:pt x="66" y="252"/>
                  </a:lnTo>
                  <a:lnTo>
                    <a:pt x="72" y="258"/>
                  </a:lnTo>
                  <a:lnTo>
                    <a:pt x="96" y="270"/>
                  </a:lnTo>
                  <a:lnTo>
                    <a:pt x="108" y="282"/>
                  </a:lnTo>
                  <a:lnTo>
                    <a:pt x="114" y="294"/>
                  </a:lnTo>
                  <a:lnTo>
                    <a:pt x="138" y="294"/>
                  </a:lnTo>
                  <a:lnTo>
                    <a:pt x="132" y="294"/>
                  </a:lnTo>
                  <a:lnTo>
                    <a:pt x="120" y="282"/>
                  </a:lnTo>
                  <a:lnTo>
                    <a:pt x="120" y="276"/>
                  </a:lnTo>
                  <a:lnTo>
                    <a:pt x="126" y="270"/>
                  </a:lnTo>
                  <a:lnTo>
                    <a:pt x="138" y="270"/>
                  </a:lnTo>
                  <a:lnTo>
                    <a:pt x="138" y="264"/>
                  </a:lnTo>
                  <a:lnTo>
                    <a:pt x="132" y="258"/>
                  </a:lnTo>
                  <a:lnTo>
                    <a:pt x="126" y="258"/>
                  </a:lnTo>
                  <a:lnTo>
                    <a:pt x="120" y="264"/>
                  </a:lnTo>
                  <a:lnTo>
                    <a:pt x="114" y="264"/>
                  </a:lnTo>
                  <a:lnTo>
                    <a:pt x="114" y="222"/>
                  </a:lnTo>
                  <a:lnTo>
                    <a:pt x="120" y="222"/>
                  </a:lnTo>
                  <a:lnTo>
                    <a:pt x="132" y="228"/>
                  </a:lnTo>
                  <a:lnTo>
                    <a:pt x="144" y="240"/>
                  </a:lnTo>
                  <a:lnTo>
                    <a:pt x="156" y="246"/>
                  </a:lnTo>
                  <a:lnTo>
                    <a:pt x="180" y="270"/>
                  </a:lnTo>
                  <a:lnTo>
                    <a:pt x="192" y="306"/>
                  </a:lnTo>
                  <a:lnTo>
                    <a:pt x="210" y="306"/>
                  </a:lnTo>
                  <a:lnTo>
                    <a:pt x="216" y="312"/>
                  </a:lnTo>
                  <a:lnTo>
                    <a:pt x="222" y="312"/>
                  </a:lnTo>
                  <a:lnTo>
                    <a:pt x="222" y="318"/>
                  </a:lnTo>
                  <a:lnTo>
                    <a:pt x="234" y="330"/>
                  </a:lnTo>
                  <a:lnTo>
                    <a:pt x="270" y="330"/>
                  </a:lnTo>
                  <a:lnTo>
                    <a:pt x="270" y="324"/>
                  </a:lnTo>
                  <a:lnTo>
                    <a:pt x="258" y="312"/>
                  </a:lnTo>
                  <a:lnTo>
                    <a:pt x="252" y="300"/>
                  </a:lnTo>
                  <a:lnTo>
                    <a:pt x="252" y="276"/>
                  </a:lnTo>
                  <a:lnTo>
                    <a:pt x="264" y="264"/>
                  </a:lnTo>
                  <a:lnTo>
                    <a:pt x="270" y="264"/>
                  </a:lnTo>
                  <a:lnTo>
                    <a:pt x="270" y="246"/>
                  </a:lnTo>
                  <a:lnTo>
                    <a:pt x="264" y="234"/>
                  </a:lnTo>
                  <a:lnTo>
                    <a:pt x="264" y="222"/>
                  </a:lnTo>
                  <a:lnTo>
                    <a:pt x="270" y="174"/>
                  </a:lnTo>
                  <a:lnTo>
                    <a:pt x="282" y="192"/>
                  </a:lnTo>
                  <a:lnTo>
                    <a:pt x="288" y="108"/>
                  </a:lnTo>
                  <a:lnTo>
                    <a:pt x="288" y="102"/>
                  </a:lnTo>
                  <a:lnTo>
                    <a:pt x="294" y="96"/>
                  </a:lnTo>
                  <a:lnTo>
                    <a:pt x="306" y="72"/>
                  </a:lnTo>
                  <a:lnTo>
                    <a:pt x="312" y="66"/>
                  </a:lnTo>
                  <a:lnTo>
                    <a:pt x="324" y="42"/>
                  </a:lnTo>
                  <a:lnTo>
                    <a:pt x="324" y="1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78" name="New Zealand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7912351" y="5163597"/>
              <a:ext cx="412109" cy="304973"/>
            </a:xfrm>
            <a:custGeom>
              <a:avLst/>
              <a:gdLst>
                <a:gd name="T0" fmla="*/ 2147483647 w 1272"/>
                <a:gd name="T1" fmla="*/ 2147483647 h 984"/>
                <a:gd name="T2" fmla="*/ 2147483647 w 1272"/>
                <a:gd name="T3" fmla="*/ 2147483647 h 984"/>
                <a:gd name="T4" fmla="*/ 2147483647 w 1272"/>
                <a:gd name="T5" fmla="*/ 2147483647 h 984"/>
                <a:gd name="T6" fmla="*/ 2147483647 w 1272"/>
                <a:gd name="T7" fmla="*/ 2147483647 h 984"/>
                <a:gd name="T8" fmla="*/ 2147483647 w 1272"/>
                <a:gd name="T9" fmla="*/ 2147483647 h 984"/>
                <a:gd name="T10" fmla="*/ 2147483647 w 1272"/>
                <a:gd name="T11" fmla="*/ 2147483647 h 984"/>
                <a:gd name="T12" fmla="*/ 2147483647 w 1272"/>
                <a:gd name="T13" fmla="*/ 2147483647 h 984"/>
                <a:gd name="T14" fmla="*/ 2147483647 w 1272"/>
                <a:gd name="T15" fmla="*/ 2147483647 h 984"/>
                <a:gd name="T16" fmla="*/ 2147483647 w 1272"/>
                <a:gd name="T17" fmla="*/ 2147483647 h 984"/>
                <a:gd name="T18" fmla="*/ 2147483647 w 1272"/>
                <a:gd name="T19" fmla="*/ 2147483647 h 984"/>
                <a:gd name="T20" fmla="*/ 2147483647 w 1272"/>
                <a:gd name="T21" fmla="*/ 2147483647 h 984"/>
                <a:gd name="T22" fmla="*/ 2147483647 w 1272"/>
                <a:gd name="T23" fmla="*/ 2147483647 h 984"/>
                <a:gd name="T24" fmla="*/ 2147483647 w 1272"/>
                <a:gd name="T25" fmla="*/ 2147483647 h 984"/>
                <a:gd name="T26" fmla="*/ 2147483647 w 1272"/>
                <a:gd name="T27" fmla="*/ 2147483647 h 984"/>
                <a:gd name="T28" fmla="*/ 2147483647 w 1272"/>
                <a:gd name="T29" fmla="*/ 2147483647 h 984"/>
                <a:gd name="T30" fmla="*/ 2147483647 w 1272"/>
                <a:gd name="T31" fmla="*/ 2147483647 h 984"/>
                <a:gd name="T32" fmla="*/ 2147483647 w 1272"/>
                <a:gd name="T33" fmla="*/ 2147483647 h 984"/>
                <a:gd name="T34" fmla="*/ 2147483647 w 1272"/>
                <a:gd name="T35" fmla="*/ 2147483647 h 984"/>
                <a:gd name="T36" fmla="*/ 2147483647 w 1272"/>
                <a:gd name="T37" fmla="*/ 2147483647 h 984"/>
                <a:gd name="T38" fmla="*/ 2147483647 w 1272"/>
                <a:gd name="T39" fmla="*/ 2147483647 h 984"/>
                <a:gd name="T40" fmla="*/ 2147483647 w 1272"/>
                <a:gd name="T41" fmla="*/ 2147483647 h 984"/>
                <a:gd name="T42" fmla="*/ 2147483647 w 1272"/>
                <a:gd name="T43" fmla="*/ 2147483647 h 984"/>
                <a:gd name="T44" fmla="*/ 2147483647 w 1272"/>
                <a:gd name="T45" fmla="*/ 2147483647 h 984"/>
                <a:gd name="T46" fmla="*/ 2147483647 w 1272"/>
                <a:gd name="T47" fmla="*/ 2147483647 h 984"/>
                <a:gd name="T48" fmla="*/ 2147483647 w 1272"/>
                <a:gd name="T49" fmla="*/ 2147483647 h 984"/>
                <a:gd name="T50" fmla="*/ 2147483647 w 1272"/>
                <a:gd name="T51" fmla="*/ 2147483647 h 984"/>
                <a:gd name="T52" fmla="*/ 2147483647 w 1272"/>
                <a:gd name="T53" fmla="*/ 2147483647 h 984"/>
                <a:gd name="T54" fmla="*/ 2147483647 w 1272"/>
                <a:gd name="T55" fmla="*/ 2147483647 h 984"/>
                <a:gd name="T56" fmla="*/ 2147483647 w 1272"/>
                <a:gd name="T57" fmla="*/ 2147483647 h 984"/>
                <a:gd name="T58" fmla="*/ 2147483647 w 1272"/>
                <a:gd name="T59" fmla="*/ 2147483647 h 984"/>
                <a:gd name="T60" fmla="*/ 2147483647 w 1272"/>
                <a:gd name="T61" fmla="*/ 2147483647 h 984"/>
                <a:gd name="T62" fmla="*/ 2147483647 w 1272"/>
                <a:gd name="T63" fmla="*/ 2147483647 h 984"/>
                <a:gd name="T64" fmla="*/ 2147483647 w 1272"/>
                <a:gd name="T65" fmla="*/ 2147483647 h 984"/>
                <a:gd name="T66" fmla="*/ 2147483647 w 1272"/>
                <a:gd name="T67" fmla="*/ 2147483647 h 984"/>
                <a:gd name="T68" fmla="*/ 2147483647 w 1272"/>
                <a:gd name="T69" fmla="*/ 2147483647 h 984"/>
                <a:gd name="T70" fmla="*/ 2147483647 w 1272"/>
                <a:gd name="T71" fmla="*/ 2147483647 h 984"/>
                <a:gd name="T72" fmla="*/ 2147483647 w 1272"/>
                <a:gd name="T73" fmla="*/ 2147483647 h 984"/>
                <a:gd name="T74" fmla="*/ 2147483647 w 1272"/>
                <a:gd name="T75" fmla="*/ 2147483647 h 984"/>
                <a:gd name="T76" fmla="*/ 2147483647 w 1272"/>
                <a:gd name="T77" fmla="*/ 2147483647 h 984"/>
                <a:gd name="T78" fmla="*/ 2147483647 w 1272"/>
                <a:gd name="T79" fmla="*/ 2147483647 h 984"/>
                <a:gd name="T80" fmla="*/ 2147483647 w 1272"/>
                <a:gd name="T81" fmla="*/ 2147483647 h 984"/>
                <a:gd name="T82" fmla="*/ 2147483647 w 1272"/>
                <a:gd name="T83" fmla="*/ 2147483647 h 984"/>
                <a:gd name="T84" fmla="*/ 2147483647 w 1272"/>
                <a:gd name="T85" fmla="*/ 2147483647 h 984"/>
                <a:gd name="T86" fmla="*/ 2147483647 w 1272"/>
                <a:gd name="T87" fmla="*/ 2147483647 h 984"/>
                <a:gd name="T88" fmla="*/ 2147483647 w 1272"/>
                <a:gd name="T89" fmla="*/ 2147483647 h 984"/>
                <a:gd name="T90" fmla="*/ 2147483647 w 1272"/>
                <a:gd name="T91" fmla="*/ 2147483647 h 984"/>
                <a:gd name="T92" fmla="*/ 2147483647 w 1272"/>
                <a:gd name="T93" fmla="*/ 2147483647 h 984"/>
                <a:gd name="T94" fmla="*/ 2147483647 w 1272"/>
                <a:gd name="T95" fmla="*/ 2147483647 h 984"/>
                <a:gd name="T96" fmla="*/ 2147483647 w 1272"/>
                <a:gd name="T97" fmla="*/ 2147483647 h 984"/>
                <a:gd name="T98" fmla="*/ 2147483647 w 1272"/>
                <a:gd name="T99" fmla="*/ 2147483647 h 984"/>
                <a:gd name="T100" fmla="*/ 2147483647 w 1272"/>
                <a:gd name="T101" fmla="*/ 2147483647 h 984"/>
                <a:gd name="T102" fmla="*/ 2147483647 w 1272"/>
                <a:gd name="T103" fmla="*/ 2147483647 h 984"/>
                <a:gd name="T104" fmla="*/ 2147483647 w 1272"/>
                <a:gd name="T105" fmla="*/ 2147483647 h 984"/>
                <a:gd name="T106" fmla="*/ 2147483647 w 1272"/>
                <a:gd name="T107" fmla="*/ 2147483647 h 984"/>
                <a:gd name="T108" fmla="*/ 2147483647 w 1272"/>
                <a:gd name="T109" fmla="*/ 2147483647 h 984"/>
                <a:gd name="T110" fmla="*/ 2147483647 w 1272"/>
                <a:gd name="T111" fmla="*/ 2147483647 h 984"/>
                <a:gd name="T112" fmla="*/ 2147483647 w 1272"/>
                <a:gd name="T113" fmla="*/ 2147483647 h 984"/>
                <a:gd name="T114" fmla="*/ 2147483647 w 1272"/>
                <a:gd name="T115" fmla="*/ 2147483647 h 984"/>
                <a:gd name="T116" fmla="*/ 2147483647 w 1272"/>
                <a:gd name="T117" fmla="*/ 2147483647 h 984"/>
                <a:gd name="T118" fmla="*/ 2147483647 w 1272"/>
                <a:gd name="T119" fmla="*/ 2147483647 h 984"/>
                <a:gd name="T120" fmla="*/ 2147483647 w 1272"/>
                <a:gd name="T121" fmla="*/ 2147483647 h 98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72"/>
                <a:gd name="T184" fmla="*/ 0 h 984"/>
                <a:gd name="T185" fmla="*/ 1272 w 1272"/>
                <a:gd name="T186" fmla="*/ 984 h 98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72" h="984">
                  <a:moveTo>
                    <a:pt x="750" y="564"/>
                  </a:moveTo>
                  <a:lnTo>
                    <a:pt x="738" y="564"/>
                  </a:lnTo>
                  <a:lnTo>
                    <a:pt x="744" y="528"/>
                  </a:lnTo>
                  <a:lnTo>
                    <a:pt x="720" y="546"/>
                  </a:lnTo>
                  <a:lnTo>
                    <a:pt x="726" y="540"/>
                  </a:lnTo>
                  <a:lnTo>
                    <a:pt x="726" y="504"/>
                  </a:lnTo>
                  <a:lnTo>
                    <a:pt x="708" y="504"/>
                  </a:lnTo>
                  <a:lnTo>
                    <a:pt x="702" y="510"/>
                  </a:lnTo>
                  <a:lnTo>
                    <a:pt x="696" y="522"/>
                  </a:lnTo>
                  <a:lnTo>
                    <a:pt x="690" y="528"/>
                  </a:lnTo>
                  <a:lnTo>
                    <a:pt x="672" y="540"/>
                  </a:lnTo>
                  <a:lnTo>
                    <a:pt x="660" y="546"/>
                  </a:lnTo>
                  <a:lnTo>
                    <a:pt x="654" y="558"/>
                  </a:lnTo>
                  <a:lnTo>
                    <a:pt x="642" y="570"/>
                  </a:lnTo>
                  <a:lnTo>
                    <a:pt x="630" y="576"/>
                  </a:lnTo>
                  <a:lnTo>
                    <a:pt x="618" y="588"/>
                  </a:lnTo>
                  <a:lnTo>
                    <a:pt x="606" y="588"/>
                  </a:lnTo>
                  <a:lnTo>
                    <a:pt x="588" y="600"/>
                  </a:lnTo>
                  <a:lnTo>
                    <a:pt x="576" y="606"/>
                  </a:lnTo>
                  <a:lnTo>
                    <a:pt x="546" y="636"/>
                  </a:lnTo>
                  <a:lnTo>
                    <a:pt x="540" y="648"/>
                  </a:lnTo>
                  <a:lnTo>
                    <a:pt x="534" y="648"/>
                  </a:lnTo>
                  <a:lnTo>
                    <a:pt x="528" y="654"/>
                  </a:lnTo>
                  <a:lnTo>
                    <a:pt x="510" y="660"/>
                  </a:lnTo>
                  <a:lnTo>
                    <a:pt x="498" y="666"/>
                  </a:lnTo>
                  <a:lnTo>
                    <a:pt x="462" y="678"/>
                  </a:lnTo>
                  <a:lnTo>
                    <a:pt x="438" y="690"/>
                  </a:lnTo>
                  <a:lnTo>
                    <a:pt x="426" y="702"/>
                  </a:lnTo>
                  <a:lnTo>
                    <a:pt x="414" y="708"/>
                  </a:lnTo>
                  <a:lnTo>
                    <a:pt x="408" y="720"/>
                  </a:lnTo>
                  <a:lnTo>
                    <a:pt x="396" y="726"/>
                  </a:lnTo>
                  <a:lnTo>
                    <a:pt x="378" y="726"/>
                  </a:lnTo>
                  <a:lnTo>
                    <a:pt x="366" y="732"/>
                  </a:lnTo>
                  <a:lnTo>
                    <a:pt x="312" y="750"/>
                  </a:lnTo>
                  <a:lnTo>
                    <a:pt x="288" y="762"/>
                  </a:lnTo>
                  <a:lnTo>
                    <a:pt x="270" y="774"/>
                  </a:lnTo>
                  <a:lnTo>
                    <a:pt x="246" y="786"/>
                  </a:lnTo>
                  <a:lnTo>
                    <a:pt x="222" y="792"/>
                  </a:lnTo>
                  <a:lnTo>
                    <a:pt x="198" y="804"/>
                  </a:lnTo>
                  <a:lnTo>
                    <a:pt x="180" y="810"/>
                  </a:lnTo>
                  <a:lnTo>
                    <a:pt x="174" y="816"/>
                  </a:lnTo>
                  <a:lnTo>
                    <a:pt x="168" y="828"/>
                  </a:lnTo>
                  <a:lnTo>
                    <a:pt x="168" y="846"/>
                  </a:lnTo>
                  <a:lnTo>
                    <a:pt x="156" y="834"/>
                  </a:lnTo>
                  <a:lnTo>
                    <a:pt x="150" y="834"/>
                  </a:lnTo>
                  <a:lnTo>
                    <a:pt x="144" y="840"/>
                  </a:lnTo>
                  <a:lnTo>
                    <a:pt x="120" y="852"/>
                  </a:lnTo>
                  <a:lnTo>
                    <a:pt x="108" y="864"/>
                  </a:lnTo>
                  <a:lnTo>
                    <a:pt x="72" y="882"/>
                  </a:lnTo>
                  <a:lnTo>
                    <a:pt x="66" y="882"/>
                  </a:lnTo>
                  <a:lnTo>
                    <a:pt x="54" y="888"/>
                  </a:lnTo>
                  <a:lnTo>
                    <a:pt x="36" y="888"/>
                  </a:lnTo>
                  <a:lnTo>
                    <a:pt x="18" y="894"/>
                  </a:lnTo>
                  <a:lnTo>
                    <a:pt x="12" y="906"/>
                  </a:lnTo>
                  <a:lnTo>
                    <a:pt x="0" y="912"/>
                  </a:lnTo>
                  <a:lnTo>
                    <a:pt x="18" y="912"/>
                  </a:lnTo>
                  <a:lnTo>
                    <a:pt x="24" y="918"/>
                  </a:lnTo>
                  <a:lnTo>
                    <a:pt x="30" y="918"/>
                  </a:lnTo>
                  <a:lnTo>
                    <a:pt x="24" y="924"/>
                  </a:lnTo>
                  <a:lnTo>
                    <a:pt x="24" y="942"/>
                  </a:lnTo>
                  <a:lnTo>
                    <a:pt x="30" y="948"/>
                  </a:lnTo>
                  <a:lnTo>
                    <a:pt x="42" y="948"/>
                  </a:lnTo>
                  <a:lnTo>
                    <a:pt x="54" y="942"/>
                  </a:lnTo>
                  <a:lnTo>
                    <a:pt x="60" y="936"/>
                  </a:lnTo>
                  <a:lnTo>
                    <a:pt x="72" y="948"/>
                  </a:lnTo>
                  <a:lnTo>
                    <a:pt x="96" y="948"/>
                  </a:lnTo>
                  <a:lnTo>
                    <a:pt x="102" y="954"/>
                  </a:lnTo>
                  <a:lnTo>
                    <a:pt x="132" y="954"/>
                  </a:lnTo>
                  <a:lnTo>
                    <a:pt x="150" y="972"/>
                  </a:lnTo>
                  <a:lnTo>
                    <a:pt x="180" y="966"/>
                  </a:lnTo>
                  <a:lnTo>
                    <a:pt x="192" y="972"/>
                  </a:lnTo>
                  <a:lnTo>
                    <a:pt x="198" y="978"/>
                  </a:lnTo>
                  <a:lnTo>
                    <a:pt x="216" y="984"/>
                  </a:lnTo>
                  <a:lnTo>
                    <a:pt x="228" y="984"/>
                  </a:lnTo>
                  <a:lnTo>
                    <a:pt x="252" y="972"/>
                  </a:lnTo>
                  <a:lnTo>
                    <a:pt x="264" y="948"/>
                  </a:lnTo>
                  <a:lnTo>
                    <a:pt x="288" y="936"/>
                  </a:lnTo>
                  <a:lnTo>
                    <a:pt x="312" y="936"/>
                  </a:lnTo>
                  <a:lnTo>
                    <a:pt x="336" y="924"/>
                  </a:lnTo>
                  <a:lnTo>
                    <a:pt x="342" y="912"/>
                  </a:lnTo>
                  <a:lnTo>
                    <a:pt x="342" y="894"/>
                  </a:lnTo>
                  <a:lnTo>
                    <a:pt x="348" y="882"/>
                  </a:lnTo>
                  <a:lnTo>
                    <a:pt x="372" y="870"/>
                  </a:lnTo>
                  <a:lnTo>
                    <a:pt x="396" y="870"/>
                  </a:lnTo>
                  <a:lnTo>
                    <a:pt x="408" y="858"/>
                  </a:lnTo>
                  <a:lnTo>
                    <a:pt x="408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80" y="792"/>
                  </a:lnTo>
                  <a:lnTo>
                    <a:pt x="462" y="774"/>
                  </a:lnTo>
                  <a:lnTo>
                    <a:pt x="504" y="792"/>
                  </a:lnTo>
                  <a:lnTo>
                    <a:pt x="504" y="774"/>
                  </a:lnTo>
                  <a:lnTo>
                    <a:pt x="510" y="768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58" y="780"/>
                  </a:lnTo>
                  <a:lnTo>
                    <a:pt x="570" y="780"/>
                  </a:lnTo>
                  <a:lnTo>
                    <a:pt x="576" y="774"/>
                  </a:lnTo>
                  <a:lnTo>
                    <a:pt x="576" y="768"/>
                  </a:lnTo>
                  <a:lnTo>
                    <a:pt x="582" y="762"/>
                  </a:lnTo>
                  <a:lnTo>
                    <a:pt x="582" y="756"/>
                  </a:lnTo>
                  <a:lnTo>
                    <a:pt x="570" y="744"/>
                  </a:lnTo>
                  <a:lnTo>
                    <a:pt x="612" y="702"/>
                  </a:lnTo>
                  <a:lnTo>
                    <a:pt x="618" y="702"/>
                  </a:lnTo>
                  <a:lnTo>
                    <a:pt x="624" y="696"/>
                  </a:lnTo>
                  <a:lnTo>
                    <a:pt x="660" y="678"/>
                  </a:lnTo>
                  <a:lnTo>
                    <a:pt x="666" y="666"/>
                  </a:lnTo>
                  <a:lnTo>
                    <a:pt x="672" y="660"/>
                  </a:lnTo>
                  <a:lnTo>
                    <a:pt x="672" y="654"/>
                  </a:lnTo>
                  <a:lnTo>
                    <a:pt x="696" y="654"/>
                  </a:lnTo>
                  <a:lnTo>
                    <a:pt x="708" y="648"/>
                  </a:lnTo>
                  <a:lnTo>
                    <a:pt x="738" y="618"/>
                  </a:lnTo>
                  <a:lnTo>
                    <a:pt x="738" y="612"/>
                  </a:lnTo>
                  <a:lnTo>
                    <a:pt x="744" y="612"/>
                  </a:lnTo>
                  <a:lnTo>
                    <a:pt x="750" y="606"/>
                  </a:lnTo>
                  <a:lnTo>
                    <a:pt x="768" y="594"/>
                  </a:lnTo>
                  <a:lnTo>
                    <a:pt x="780" y="582"/>
                  </a:lnTo>
                  <a:lnTo>
                    <a:pt x="786" y="570"/>
                  </a:lnTo>
                  <a:lnTo>
                    <a:pt x="786" y="546"/>
                  </a:lnTo>
                  <a:lnTo>
                    <a:pt x="780" y="540"/>
                  </a:lnTo>
                  <a:lnTo>
                    <a:pt x="780" y="534"/>
                  </a:lnTo>
                  <a:lnTo>
                    <a:pt x="750" y="564"/>
                  </a:lnTo>
                  <a:close/>
                  <a:moveTo>
                    <a:pt x="1224" y="324"/>
                  </a:moveTo>
                  <a:lnTo>
                    <a:pt x="1236" y="318"/>
                  </a:lnTo>
                  <a:lnTo>
                    <a:pt x="1242" y="318"/>
                  </a:lnTo>
                  <a:lnTo>
                    <a:pt x="1266" y="306"/>
                  </a:lnTo>
                  <a:lnTo>
                    <a:pt x="1272" y="300"/>
                  </a:lnTo>
                  <a:lnTo>
                    <a:pt x="1272" y="282"/>
                  </a:lnTo>
                  <a:lnTo>
                    <a:pt x="1266" y="270"/>
                  </a:lnTo>
                  <a:lnTo>
                    <a:pt x="1260" y="264"/>
                  </a:lnTo>
                  <a:lnTo>
                    <a:pt x="1248" y="264"/>
                  </a:lnTo>
                  <a:lnTo>
                    <a:pt x="1236" y="276"/>
                  </a:lnTo>
                  <a:lnTo>
                    <a:pt x="1236" y="282"/>
                  </a:lnTo>
                  <a:lnTo>
                    <a:pt x="1224" y="282"/>
                  </a:lnTo>
                  <a:lnTo>
                    <a:pt x="1212" y="276"/>
                  </a:lnTo>
                  <a:lnTo>
                    <a:pt x="1200" y="276"/>
                  </a:lnTo>
                  <a:lnTo>
                    <a:pt x="1194" y="282"/>
                  </a:lnTo>
                  <a:lnTo>
                    <a:pt x="1176" y="288"/>
                  </a:lnTo>
                  <a:lnTo>
                    <a:pt x="1158" y="288"/>
                  </a:lnTo>
                  <a:lnTo>
                    <a:pt x="1146" y="276"/>
                  </a:lnTo>
                  <a:lnTo>
                    <a:pt x="1146" y="222"/>
                  </a:lnTo>
                  <a:lnTo>
                    <a:pt x="1170" y="180"/>
                  </a:lnTo>
                  <a:lnTo>
                    <a:pt x="1170" y="174"/>
                  </a:lnTo>
                  <a:lnTo>
                    <a:pt x="1164" y="162"/>
                  </a:lnTo>
                  <a:lnTo>
                    <a:pt x="1158" y="156"/>
                  </a:lnTo>
                  <a:lnTo>
                    <a:pt x="1146" y="156"/>
                  </a:lnTo>
                  <a:lnTo>
                    <a:pt x="1140" y="168"/>
                  </a:lnTo>
                  <a:lnTo>
                    <a:pt x="1134" y="174"/>
                  </a:lnTo>
                  <a:lnTo>
                    <a:pt x="1134" y="204"/>
                  </a:lnTo>
                  <a:lnTo>
                    <a:pt x="1128" y="216"/>
                  </a:lnTo>
                  <a:lnTo>
                    <a:pt x="1116" y="222"/>
                  </a:lnTo>
                  <a:lnTo>
                    <a:pt x="1116" y="192"/>
                  </a:lnTo>
                  <a:lnTo>
                    <a:pt x="1092" y="174"/>
                  </a:lnTo>
                  <a:lnTo>
                    <a:pt x="1104" y="150"/>
                  </a:lnTo>
                  <a:lnTo>
                    <a:pt x="1116" y="138"/>
                  </a:lnTo>
                  <a:lnTo>
                    <a:pt x="1122" y="126"/>
                  </a:lnTo>
                  <a:lnTo>
                    <a:pt x="1128" y="108"/>
                  </a:lnTo>
                  <a:lnTo>
                    <a:pt x="1128" y="84"/>
                  </a:lnTo>
                  <a:lnTo>
                    <a:pt x="1116" y="78"/>
                  </a:lnTo>
                  <a:lnTo>
                    <a:pt x="1110" y="72"/>
                  </a:lnTo>
                  <a:lnTo>
                    <a:pt x="1098" y="66"/>
                  </a:lnTo>
                  <a:lnTo>
                    <a:pt x="1092" y="60"/>
                  </a:lnTo>
                  <a:lnTo>
                    <a:pt x="1080" y="60"/>
                  </a:lnTo>
                  <a:lnTo>
                    <a:pt x="1086" y="42"/>
                  </a:lnTo>
                  <a:lnTo>
                    <a:pt x="1062" y="42"/>
                  </a:lnTo>
                  <a:lnTo>
                    <a:pt x="1044" y="18"/>
                  </a:lnTo>
                  <a:lnTo>
                    <a:pt x="1050" y="0"/>
                  </a:lnTo>
                  <a:lnTo>
                    <a:pt x="1020" y="18"/>
                  </a:lnTo>
                  <a:lnTo>
                    <a:pt x="1044" y="54"/>
                  </a:lnTo>
                  <a:lnTo>
                    <a:pt x="1032" y="90"/>
                  </a:lnTo>
                  <a:lnTo>
                    <a:pt x="1056" y="102"/>
                  </a:lnTo>
                  <a:lnTo>
                    <a:pt x="1044" y="108"/>
                  </a:lnTo>
                  <a:lnTo>
                    <a:pt x="1044" y="126"/>
                  </a:lnTo>
                  <a:lnTo>
                    <a:pt x="1068" y="132"/>
                  </a:lnTo>
                  <a:lnTo>
                    <a:pt x="1044" y="150"/>
                  </a:lnTo>
                  <a:lnTo>
                    <a:pt x="1062" y="156"/>
                  </a:lnTo>
                  <a:lnTo>
                    <a:pt x="1062" y="168"/>
                  </a:lnTo>
                  <a:lnTo>
                    <a:pt x="1056" y="174"/>
                  </a:lnTo>
                  <a:lnTo>
                    <a:pt x="1056" y="192"/>
                  </a:lnTo>
                  <a:lnTo>
                    <a:pt x="1068" y="198"/>
                  </a:lnTo>
                  <a:lnTo>
                    <a:pt x="1074" y="204"/>
                  </a:lnTo>
                  <a:lnTo>
                    <a:pt x="1056" y="210"/>
                  </a:lnTo>
                  <a:lnTo>
                    <a:pt x="1044" y="222"/>
                  </a:lnTo>
                  <a:lnTo>
                    <a:pt x="1062" y="234"/>
                  </a:lnTo>
                  <a:lnTo>
                    <a:pt x="1038" y="258"/>
                  </a:lnTo>
                  <a:lnTo>
                    <a:pt x="1032" y="270"/>
                  </a:lnTo>
                  <a:lnTo>
                    <a:pt x="1026" y="276"/>
                  </a:lnTo>
                  <a:lnTo>
                    <a:pt x="1026" y="288"/>
                  </a:lnTo>
                  <a:lnTo>
                    <a:pt x="1038" y="300"/>
                  </a:lnTo>
                  <a:lnTo>
                    <a:pt x="1026" y="300"/>
                  </a:lnTo>
                  <a:lnTo>
                    <a:pt x="1014" y="306"/>
                  </a:lnTo>
                  <a:lnTo>
                    <a:pt x="1002" y="306"/>
                  </a:lnTo>
                  <a:lnTo>
                    <a:pt x="978" y="318"/>
                  </a:lnTo>
                  <a:lnTo>
                    <a:pt x="948" y="348"/>
                  </a:lnTo>
                  <a:lnTo>
                    <a:pt x="930" y="360"/>
                  </a:lnTo>
                  <a:lnTo>
                    <a:pt x="894" y="372"/>
                  </a:lnTo>
                  <a:lnTo>
                    <a:pt x="870" y="384"/>
                  </a:lnTo>
                  <a:lnTo>
                    <a:pt x="858" y="396"/>
                  </a:lnTo>
                  <a:lnTo>
                    <a:pt x="858" y="432"/>
                  </a:lnTo>
                  <a:lnTo>
                    <a:pt x="864" y="444"/>
                  </a:lnTo>
                  <a:lnTo>
                    <a:pt x="870" y="450"/>
                  </a:lnTo>
                  <a:lnTo>
                    <a:pt x="870" y="456"/>
                  </a:lnTo>
                  <a:lnTo>
                    <a:pt x="924" y="456"/>
                  </a:lnTo>
                  <a:lnTo>
                    <a:pt x="924" y="474"/>
                  </a:lnTo>
                  <a:lnTo>
                    <a:pt x="918" y="486"/>
                  </a:lnTo>
                  <a:lnTo>
                    <a:pt x="918" y="522"/>
                  </a:lnTo>
                  <a:lnTo>
                    <a:pt x="894" y="534"/>
                  </a:lnTo>
                  <a:lnTo>
                    <a:pt x="882" y="534"/>
                  </a:lnTo>
                  <a:lnTo>
                    <a:pt x="864" y="540"/>
                  </a:lnTo>
                  <a:lnTo>
                    <a:pt x="852" y="546"/>
                  </a:lnTo>
                  <a:lnTo>
                    <a:pt x="852" y="558"/>
                  </a:lnTo>
                  <a:lnTo>
                    <a:pt x="840" y="570"/>
                  </a:lnTo>
                  <a:lnTo>
                    <a:pt x="852" y="576"/>
                  </a:lnTo>
                  <a:lnTo>
                    <a:pt x="858" y="582"/>
                  </a:lnTo>
                  <a:lnTo>
                    <a:pt x="876" y="588"/>
                  </a:lnTo>
                  <a:lnTo>
                    <a:pt x="888" y="588"/>
                  </a:lnTo>
                  <a:lnTo>
                    <a:pt x="912" y="576"/>
                  </a:lnTo>
                  <a:lnTo>
                    <a:pt x="924" y="558"/>
                  </a:lnTo>
                  <a:lnTo>
                    <a:pt x="972" y="510"/>
                  </a:lnTo>
                  <a:lnTo>
                    <a:pt x="996" y="498"/>
                  </a:lnTo>
                  <a:lnTo>
                    <a:pt x="1014" y="492"/>
                  </a:lnTo>
                  <a:lnTo>
                    <a:pt x="1026" y="486"/>
                  </a:lnTo>
                  <a:lnTo>
                    <a:pt x="1032" y="480"/>
                  </a:lnTo>
                  <a:lnTo>
                    <a:pt x="1038" y="480"/>
                  </a:lnTo>
                  <a:lnTo>
                    <a:pt x="1044" y="474"/>
                  </a:lnTo>
                  <a:lnTo>
                    <a:pt x="1050" y="462"/>
                  </a:lnTo>
                  <a:lnTo>
                    <a:pt x="1056" y="462"/>
                  </a:lnTo>
                  <a:lnTo>
                    <a:pt x="1062" y="456"/>
                  </a:lnTo>
                  <a:lnTo>
                    <a:pt x="1074" y="450"/>
                  </a:lnTo>
                  <a:lnTo>
                    <a:pt x="1080" y="444"/>
                  </a:lnTo>
                  <a:lnTo>
                    <a:pt x="1080" y="420"/>
                  </a:lnTo>
                  <a:lnTo>
                    <a:pt x="1074" y="414"/>
                  </a:lnTo>
                  <a:lnTo>
                    <a:pt x="1080" y="414"/>
                  </a:lnTo>
                  <a:lnTo>
                    <a:pt x="1086" y="408"/>
                  </a:lnTo>
                  <a:lnTo>
                    <a:pt x="1110" y="396"/>
                  </a:lnTo>
                  <a:lnTo>
                    <a:pt x="1140" y="396"/>
                  </a:lnTo>
                  <a:lnTo>
                    <a:pt x="1152" y="402"/>
                  </a:lnTo>
                  <a:lnTo>
                    <a:pt x="1164" y="402"/>
                  </a:lnTo>
                  <a:lnTo>
                    <a:pt x="1176" y="390"/>
                  </a:lnTo>
                  <a:lnTo>
                    <a:pt x="1176" y="360"/>
                  </a:lnTo>
                  <a:lnTo>
                    <a:pt x="1200" y="360"/>
                  </a:lnTo>
                  <a:lnTo>
                    <a:pt x="1212" y="354"/>
                  </a:lnTo>
                  <a:lnTo>
                    <a:pt x="1218" y="354"/>
                  </a:lnTo>
                  <a:lnTo>
                    <a:pt x="1224" y="348"/>
                  </a:lnTo>
                  <a:lnTo>
                    <a:pt x="1224" y="32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79" name="Newfoundland" descr="© INSCALE GmbH, 05.05.2010&#10;http://www.presentationload.com/"/>
            <p:cNvSpPr>
              <a:spLocks/>
            </p:cNvSpPr>
            <p:nvPr/>
          </p:nvSpPr>
          <p:spPr bwMode="gray">
            <a:xfrm>
              <a:off x="3287007" y="3021441"/>
              <a:ext cx="138223" cy="120029"/>
            </a:xfrm>
            <a:custGeom>
              <a:avLst/>
              <a:gdLst>
                <a:gd name="T0" fmla="*/ 2147483647 w 426"/>
                <a:gd name="T1" fmla="*/ 2147483647 h 384"/>
                <a:gd name="T2" fmla="*/ 2147483647 w 426"/>
                <a:gd name="T3" fmla="*/ 2147483647 h 384"/>
                <a:gd name="T4" fmla="*/ 2147483647 w 426"/>
                <a:gd name="T5" fmla="*/ 0 h 384"/>
                <a:gd name="T6" fmla="*/ 2147483647 w 426"/>
                <a:gd name="T7" fmla="*/ 2147483647 h 384"/>
                <a:gd name="T8" fmla="*/ 2147483647 w 426"/>
                <a:gd name="T9" fmla="*/ 2147483647 h 384"/>
                <a:gd name="T10" fmla="*/ 2147483647 w 426"/>
                <a:gd name="T11" fmla="*/ 2147483647 h 384"/>
                <a:gd name="T12" fmla="*/ 2147483647 w 426"/>
                <a:gd name="T13" fmla="*/ 2147483647 h 384"/>
                <a:gd name="T14" fmla="*/ 2147483647 w 426"/>
                <a:gd name="T15" fmla="*/ 2147483647 h 384"/>
                <a:gd name="T16" fmla="*/ 2147483647 w 426"/>
                <a:gd name="T17" fmla="*/ 2147483647 h 384"/>
                <a:gd name="T18" fmla="*/ 2147483647 w 426"/>
                <a:gd name="T19" fmla="*/ 2147483647 h 384"/>
                <a:gd name="T20" fmla="*/ 2147483647 w 426"/>
                <a:gd name="T21" fmla="*/ 2147483647 h 384"/>
                <a:gd name="T22" fmla="*/ 2147483647 w 426"/>
                <a:gd name="T23" fmla="*/ 2147483647 h 384"/>
                <a:gd name="T24" fmla="*/ 2147483647 w 426"/>
                <a:gd name="T25" fmla="*/ 2147483647 h 384"/>
                <a:gd name="T26" fmla="*/ 2147483647 w 426"/>
                <a:gd name="T27" fmla="*/ 2147483647 h 384"/>
                <a:gd name="T28" fmla="*/ 2147483647 w 426"/>
                <a:gd name="T29" fmla="*/ 2147483647 h 384"/>
                <a:gd name="T30" fmla="*/ 2147483647 w 426"/>
                <a:gd name="T31" fmla="*/ 2147483647 h 384"/>
                <a:gd name="T32" fmla="*/ 2147483647 w 426"/>
                <a:gd name="T33" fmla="*/ 2147483647 h 384"/>
                <a:gd name="T34" fmla="*/ 2147483647 w 426"/>
                <a:gd name="T35" fmla="*/ 2147483647 h 384"/>
                <a:gd name="T36" fmla="*/ 2147483647 w 426"/>
                <a:gd name="T37" fmla="*/ 2147483647 h 384"/>
                <a:gd name="T38" fmla="*/ 2147483647 w 426"/>
                <a:gd name="T39" fmla="*/ 2147483647 h 384"/>
                <a:gd name="T40" fmla="*/ 2147483647 w 426"/>
                <a:gd name="T41" fmla="*/ 2147483647 h 384"/>
                <a:gd name="T42" fmla="*/ 2147483647 w 426"/>
                <a:gd name="T43" fmla="*/ 2147483647 h 384"/>
                <a:gd name="T44" fmla="*/ 2147483647 w 426"/>
                <a:gd name="T45" fmla="*/ 2147483647 h 384"/>
                <a:gd name="T46" fmla="*/ 2147483647 w 426"/>
                <a:gd name="T47" fmla="*/ 2147483647 h 384"/>
                <a:gd name="T48" fmla="*/ 2147483647 w 426"/>
                <a:gd name="T49" fmla="*/ 2147483647 h 384"/>
                <a:gd name="T50" fmla="*/ 2147483647 w 426"/>
                <a:gd name="T51" fmla="*/ 2147483647 h 384"/>
                <a:gd name="T52" fmla="*/ 2147483647 w 426"/>
                <a:gd name="T53" fmla="*/ 2147483647 h 384"/>
                <a:gd name="T54" fmla="*/ 2147483647 w 426"/>
                <a:gd name="T55" fmla="*/ 2147483647 h 384"/>
                <a:gd name="T56" fmla="*/ 2147483647 w 426"/>
                <a:gd name="T57" fmla="*/ 2147483647 h 384"/>
                <a:gd name="T58" fmla="*/ 2147483647 w 426"/>
                <a:gd name="T59" fmla="*/ 2147483647 h 384"/>
                <a:gd name="T60" fmla="*/ 2147483647 w 426"/>
                <a:gd name="T61" fmla="*/ 2147483647 h 384"/>
                <a:gd name="T62" fmla="*/ 2147483647 w 426"/>
                <a:gd name="T63" fmla="*/ 2147483647 h 384"/>
                <a:gd name="T64" fmla="*/ 2147483647 w 426"/>
                <a:gd name="T65" fmla="*/ 2147483647 h 384"/>
                <a:gd name="T66" fmla="*/ 2147483647 w 426"/>
                <a:gd name="T67" fmla="*/ 2147483647 h 384"/>
                <a:gd name="T68" fmla="*/ 2147483647 w 426"/>
                <a:gd name="T69" fmla="*/ 2147483647 h 384"/>
                <a:gd name="T70" fmla="*/ 2147483647 w 426"/>
                <a:gd name="T71" fmla="*/ 2147483647 h 384"/>
                <a:gd name="T72" fmla="*/ 2147483647 w 426"/>
                <a:gd name="T73" fmla="*/ 2147483647 h 384"/>
                <a:gd name="T74" fmla="*/ 2147483647 w 426"/>
                <a:gd name="T75" fmla="*/ 2147483647 h 384"/>
                <a:gd name="T76" fmla="*/ 2147483647 w 426"/>
                <a:gd name="T77" fmla="*/ 2147483647 h 384"/>
                <a:gd name="T78" fmla="*/ 2147483647 w 426"/>
                <a:gd name="T79" fmla="*/ 2147483647 h 384"/>
                <a:gd name="T80" fmla="*/ 2147483647 w 426"/>
                <a:gd name="T81" fmla="*/ 2147483647 h 384"/>
                <a:gd name="T82" fmla="*/ 2147483647 w 426"/>
                <a:gd name="T83" fmla="*/ 2147483647 h 38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26"/>
                <a:gd name="T127" fmla="*/ 0 h 384"/>
                <a:gd name="T128" fmla="*/ 426 w 426"/>
                <a:gd name="T129" fmla="*/ 384 h 38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26" h="384">
                  <a:moveTo>
                    <a:pt x="258" y="18"/>
                  </a:moveTo>
                  <a:lnTo>
                    <a:pt x="270" y="12"/>
                  </a:lnTo>
                  <a:lnTo>
                    <a:pt x="276" y="12"/>
                  </a:lnTo>
                  <a:lnTo>
                    <a:pt x="294" y="6"/>
                  </a:lnTo>
                  <a:lnTo>
                    <a:pt x="306" y="0"/>
                  </a:lnTo>
                  <a:lnTo>
                    <a:pt x="330" y="0"/>
                  </a:lnTo>
                  <a:lnTo>
                    <a:pt x="342" y="6"/>
                  </a:lnTo>
                  <a:lnTo>
                    <a:pt x="342" y="18"/>
                  </a:lnTo>
                  <a:lnTo>
                    <a:pt x="336" y="24"/>
                  </a:lnTo>
                  <a:lnTo>
                    <a:pt x="312" y="42"/>
                  </a:lnTo>
                  <a:lnTo>
                    <a:pt x="312" y="48"/>
                  </a:lnTo>
                  <a:lnTo>
                    <a:pt x="306" y="54"/>
                  </a:lnTo>
                  <a:lnTo>
                    <a:pt x="300" y="72"/>
                  </a:lnTo>
                  <a:lnTo>
                    <a:pt x="276" y="96"/>
                  </a:lnTo>
                  <a:lnTo>
                    <a:pt x="258" y="102"/>
                  </a:lnTo>
                  <a:lnTo>
                    <a:pt x="246" y="102"/>
                  </a:lnTo>
                  <a:lnTo>
                    <a:pt x="210" y="150"/>
                  </a:lnTo>
                  <a:lnTo>
                    <a:pt x="210" y="174"/>
                  </a:lnTo>
                  <a:lnTo>
                    <a:pt x="234" y="156"/>
                  </a:lnTo>
                  <a:lnTo>
                    <a:pt x="264" y="108"/>
                  </a:lnTo>
                  <a:lnTo>
                    <a:pt x="282" y="126"/>
                  </a:lnTo>
                  <a:lnTo>
                    <a:pt x="306" y="138"/>
                  </a:lnTo>
                  <a:lnTo>
                    <a:pt x="294" y="168"/>
                  </a:lnTo>
                  <a:lnTo>
                    <a:pt x="324" y="168"/>
                  </a:lnTo>
                  <a:lnTo>
                    <a:pt x="330" y="192"/>
                  </a:lnTo>
                  <a:lnTo>
                    <a:pt x="384" y="162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90" y="192"/>
                  </a:lnTo>
                  <a:lnTo>
                    <a:pt x="378" y="204"/>
                  </a:lnTo>
                  <a:lnTo>
                    <a:pt x="372" y="204"/>
                  </a:lnTo>
                  <a:lnTo>
                    <a:pt x="384" y="204"/>
                  </a:lnTo>
                  <a:lnTo>
                    <a:pt x="396" y="210"/>
                  </a:lnTo>
                  <a:lnTo>
                    <a:pt x="408" y="210"/>
                  </a:lnTo>
                  <a:lnTo>
                    <a:pt x="408" y="216"/>
                  </a:lnTo>
                  <a:lnTo>
                    <a:pt x="396" y="240"/>
                  </a:lnTo>
                  <a:lnTo>
                    <a:pt x="384" y="252"/>
                  </a:lnTo>
                  <a:lnTo>
                    <a:pt x="378" y="264"/>
                  </a:lnTo>
                  <a:lnTo>
                    <a:pt x="366" y="276"/>
                  </a:lnTo>
                  <a:lnTo>
                    <a:pt x="360" y="288"/>
                  </a:lnTo>
                  <a:lnTo>
                    <a:pt x="354" y="294"/>
                  </a:lnTo>
                  <a:lnTo>
                    <a:pt x="390" y="294"/>
                  </a:lnTo>
                  <a:lnTo>
                    <a:pt x="354" y="312"/>
                  </a:lnTo>
                  <a:lnTo>
                    <a:pt x="384" y="312"/>
                  </a:lnTo>
                  <a:lnTo>
                    <a:pt x="420" y="300"/>
                  </a:lnTo>
                  <a:lnTo>
                    <a:pt x="426" y="324"/>
                  </a:lnTo>
                  <a:lnTo>
                    <a:pt x="360" y="384"/>
                  </a:lnTo>
                  <a:lnTo>
                    <a:pt x="318" y="378"/>
                  </a:lnTo>
                  <a:lnTo>
                    <a:pt x="336" y="354"/>
                  </a:lnTo>
                  <a:lnTo>
                    <a:pt x="306" y="360"/>
                  </a:lnTo>
                  <a:lnTo>
                    <a:pt x="300" y="348"/>
                  </a:lnTo>
                  <a:lnTo>
                    <a:pt x="228" y="360"/>
                  </a:lnTo>
                  <a:lnTo>
                    <a:pt x="192" y="354"/>
                  </a:lnTo>
                  <a:lnTo>
                    <a:pt x="186" y="348"/>
                  </a:lnTo>
                  <a:lnTo>
                    <a:pt x="228" y="336"/>
                  </a:lnTo>
                  <a:lnTo>
                    <a:pt x="234" y="330"/>
                  </a:lnTo>
                  <a:lnTo>
                    <a:pt x="234" y="324"/>
                  </a:lnTo>
                  <a:lnTo>
                    <a:pt x="228" y="324"/>
                  </a:lnTo>
                  <a:lnTo>
                    <a:pt x="222" y="318"/>
                  </a:lnTo>
                  <a:lnTo>
                    <a:pt x="198" y="318"/>
                  </a:lnTo>
                  <a:lnTo>
                    <a:pt x="162" y="312"/>
                  </a:lnTo>
                  <a:lnTo>
                    <a:pt x="126" y="300"/>
                  </a:lnTo>
                  <a:lnTo>
                    <a:pt x="96" y="294"/>
                  </a:lnTo>
                  <a:lnTo>
                    <a:pt x="78" y="294"/>
                  </a:lnTo>
                  <a:lnTo>
                    <a:pt x="72" y="300"/>
                  </a:lnTo>
                  <a:lnTo>
                    <a:pt x="48" y="300"/>
                  </a:lnTo>
                  <a:lnTo>
                    <a:pt x="36" y="306"/>
                  </a:lnTo>
                  <a:lnTo>
                    <a:pt x="24" y="306"/>
                  </a:lnTo>
                  <a:lnTo>
                    <a:pt x="12" y="300"/>
                  </a:lnTo>
                  <a:lnTo>
                    <a:pt x="6" y="294"/>
                  </a:lnTo>
                  <a:lnTo>
                    <a:pt x="18" y="282"/>
                  </a:lnTo>
                  <a:lnTo>
                    <a:pt x="24" y="282"/>
                  </a:lnTo>
                  <a:lnTo>
                    <a:pt x="30" y="276"/>
                  </a:lnTo>
                  <a:lnTo>
                    <a:pt x="42" y="276"/>
                  </a:lnTo>
                  <a:lnTo>
                    <a:pt x="30" y="276"/>
                  </a:lnTo>
                  <a:lnTo>
                    <a:pt x="12" y="270"/>
                  </a:lnTo>
                  <a:lnTo>
                    <a:pt x="0" y="258"/>
                  </a:lnTo>
                  <a:lnTo>
                    <a:pt x="6" y="252"/>
                  </a:lnTo>
                  <a:lnTo>
                    <a:pt x="18" y="252"/>
                  </a:lnTo>
                  <a:lnTo>
                    <a:pt x="54" y="234"/>
                  </a:lnTo>
                  <a:lnTo>
                    <a:pt x="60" y="228"/>
                  </a:lnTo>
                  <a:lnTo>
                    <a:pt x="66" y="228"/>
                  </a:lnTo>
                  <a:lnTo>
                    <a:pt x="204" y="90"/>
                  </a:lnTo>
                  <a:lnTo>
                    <a:pt x="258" y="1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80" name="Netherlands" descr="© INSCALE GmbH, 05.05.2010&#10;http://www.presentationload.com/"/>
            <p:cNvSpPr>
              <a:spLocks/>
            </p:cNvSpPr>
            <p:nvPr/>
          </p:nvSpPr>
          <p:spPr bwMode="gray">
            <a:xfrm>
              <a:off x="4557889" y="2974898"/>
              <a:ext cx="87029" cy="64914"/>
            </a:xfrm>
            <a:custGeom>
              <a:avLst/>
              <a:gdLst>
                <a:gd name="T0" fmla="*/ 0 w 270"/>
                <a:gd name="T1" fmla="*/ 2147483647 h 210"/>
                <a:gd name="T2" fmla="*/ 2147483647 w 270"/>
                <a:gd name="T3" fmla="*/ 2147483647 h 210"/>
                <a:gd name="T4" fmla="*/ 2147483647 w 270"/>
                <a:gd name="T5" fmla="*/ 2147483647 h 210"/>
                <a:gd name="T6" fmla="*/ 2147483647 w 270"/>
                <a:gd name="T7" fmla="*/ 2147483647 h 210"/>
                <a:gd name="T8" fmla="*/ 2147483647 w 270"/>
                <a:gd name="T9" fmla="*/ 2147483647 h 210"/>
                <a:gd name="T10" fmla="*/ 2147483647 w 270"/>
                <a:gd name="T11" fmla="*/ 2147483647 h 210"/>
                <a:gd name="T12" fmla="*/ 2147483647 w 270"/>
                <a:gd name="T13" fmla="*/ 2147483647 h 210"/>
                <a:gd name="T14" fmla="*/ 2147483647 w 270"/>
                <a:gd name="T15" fmla="*/ 2147483647 h 210"/>
                <a:gd name="T16" fmla="*/ 2147483647 w 270"/>
                <a:gd name="T17" fmla="*/ 2147483647 h 210"/>
                <a:gd name="T18" fmla="*/ 2147483647 w 270"/>
                <a:gd name="T19" fmla="*/ 2147483647 h 210"/>
                <a:gd name="T20" fmla="*/ 2147483647 w 270"/>
                <a:gd name="T21" fmla="*/ 2147483647 h 210"/>
                <a:gd name="T22" fmla="*/ 2147483647 w 270"/>
                <a:gd name="T23" fmla="*/ 2147483647 h 210"/>
                <a:gd name="T24" fmla="*/ 2147483647 w 270"/>
                <a:gd name="T25" fmla="*/ 2147483647 h 210"/>
                <a:gd name="T26" fmla="*/ 2147483647 w 270"/>
                <a:gd name="T27" fmla="*/ 2147483647 h 210"/>
                <a:gd name="T28" fmla="*/ 2147483647 w 270"/>
                <a:gd name="T29" fmla="*/ 2147483647 h 210"/>
                <a:gd name="T30" fmla="*/ 2147483647 w 270"/>
                <a:gd name="T31" fmla="*/ 2147483647 h 210"/>
                <a:gd name="T32" fmla="*/ 2147483647 w 270"/>
                <a:gd name="T33" fmla="*/ 2147483647 h 210"/>
                <a:gd name="T34" fmla="*/ 2147483647 w 270"/>
                <a:gd name="T35" fmla="*/ 2147483647 h 210"/>
                <a:gd name="T36" fmla="*/ 2147483647 w 270"/>
                <a:gd name="T37" fmla="*/ 2147483647 h 210"/>
                <a:gd name="T38" fmla="*/ 2147483647 w 270"/>
                <a:gd name="T39" fmla="*/ 2147483647 h 210"/>
                <a:gd name="T40" fmla="*/ 2147483647 w 270"/>
                <a:gd name="T41" fmla="*/ 2147483647 h 210"/>
                <a:gd name="T42" fmla="*/ 2147483647 w 270"/>
                <a:gd name="T43" fmla="*/ 2147483647 h 210"/>
                <a:gd name="T44" fmla="*/ 2147483647 w 270"/>
                <a:gd name="T45" fmla="*/ 2147483647 h 210"/>
                <a:gd name="T46" fmla="*/ 2147483647 w 270"/>
                <a:gd name="T47" fmla="*/ 2147483647 h 210"/>
                <a:gd name="T48" fmla="*/ 2147483647 w 270"/>
                <a:gd name="T49" fmla="*/ 2147483647 h 210"/>
                <a:gd name="T50" fmla="*/ 2147483647 w 270"/>
                <a:gd name="T51" fmla="*/ 2147483647 h 210"/>
                <a:gd name="T52" fmla="*/ 2147483647 w 270"/>
                <a:gd name="T53" fmla="*/ 2147483647 h 210"/>
                <a:gd name="T54" fmla="*/ 2147483647 w 270"/>
                <a:gd name="T55" fmla="*/ 2147483647 h 210"/>
                <a:gd name="T56" fmla="*/ 2147483647 w 270"/>
                <a:gd name="T57" fmla="*/ 2147483647 h 210"/>
                <a:gd name="T58" fmla="*/ 2147483647 w 270"/>
                <a:gd name="T59" fmla="*/ 0 h 210"/>
                <a:gd name="T60" fmla="*/ 2147483647 w 270"/>
                <a:gd name="T61" fmla="*/ 2147483647 h 210"/>
                <a:gd name="T62" fmla="*/ 2147483647 w 270"/>
                <a:gd name="T63" fmla="*/ 2147483647 h 210"/>
                <a:gd name="T64" fmla="*/ 2147483647 w 270"/>
                <a:gd name="T65" fmla="*/ 2147483647 h 210"/>
                <a:gd name="T66" fmla="*/ 2147483647 w 270"/>
                <a:gd name="T67" fmla="*/ 2147483647 h 210"/>
                <a:gd name="T68" fmla="*/ 2147483647 w 270"/>
                <a:gd name="T69" fmla="*/ 2147483647 h 210"/>
                <a:gd name="T70" fmla="*/ 2147483647 w 270"/>
                <a:gd name="T71" fmla="*/ 2147483647 h 210"/>
                <a:gd name="T72" fmla="*/ 2147483647 w 270"/>
                <a:gd name="T73" fmla="*/ 2147483647 h 210"/>
                <a:gd name="T74" fmla="*/ 2147483647 w 270"/>
                <a:gd name="T75" fmla="*/ 2147483647 h 210"/>
                <a:gd name="T76" fmla="*/ 2147483647 w 270"/>
                <a:gd name="T77" fmla="*/ 2147483647 h 210"/>
                <a:gd name="T78" fmla="*/ 2147483647 w 270"/>
                <a:gd name="T79" fmla="*/ 2147483647 h 210"/>
                <a:gd name="T80" fmla="*/ 2147483647 w 270"/>
                <a:gd name="T81" fmla="*/ 2147483647 h 210"/>
                <a:gd name="T82" fmla="*/ 2147483647 w 270"/>
                <a:gd name="T83" fmla="*/ 2147483647 h 210"/>
                <a:gd name="T84" fmla="*/ 2147483647 w 270"/>
                <a:gd name="T85" fmla="*/ 2147483647 h 210"/>
                <a:gd name="T86" fmla="*/ 2147483647 w 270"/>
                <a:gd name="T87" fmla="*/ 2147483647 h 210"/>
                <a:gd name="T88" fmla="*/ 2147483647 w 270"/>
                <a:gd name="T89" fmla="*/ 2147483647 h 21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70"/>
                <a:gd name="T136" fmla="*/ 0 h 210"/>
                <a:gd name="T137" fmla="*/ 270 w 270"/>
                <a:gd name="T138" fmla="*/ 210 h 21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70" h="210">
                  <a:moveTo>
                    <a:pt x="18" y="156"/>
                  </a:moveTo>
                  <a:lnTo>
                    <a:pt x="0" y="174"/>
                  </a:lnTo>
                  <a:lnTo>
                    <a:pt x="12" y="162"/>
                  </a:lnTo>
                  <a:lnTo>
                    <a:pt x="24" y="162"/>
                  </a:lnTo>
                  <a:lnTo>
                    <a:pt x="30" y="168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62"/>
                  </a:lnTo>
                  <a:lnTo>
                    <a:pt x="84" y="168"/>
                  </a:lnTo>
                  <a:lnTo>
                    <a:pt x="84" y="156"/>
                  </a:lnTo>
                  <a:lnTo>
                    <a:pt x="96" y="162"/>
                  </a:lnTo>
                  <a:lnTo>
                    <a:pt x="96" y="156"/>
                  </a:lnTo>
                  <a:lnTo>
                    <a:pt x="132" y="156"/>
                  </a:lnTo>
                  <a:lnTo>
                    <a:pt x="132" y="168"/>
                  </a:lnTo>
                  <a:lnTo>
                    <a:pt x="138" y="174"/>
                  </a:lnTo>
                  <a:lnTo>
                    <a:pt x="150" y="174"/>
                  </a:lnTo>
                  <a:lnTo>
                    <a:pt x="162" y="168"/>
                  </a:lnTo>
                  <a:lnTo>
                    <a:pt x="168" y="168"/>
                  </a:lnTo>
                  <a:lnTo>
                    <a:pt x="174" y="174"/>
                  </a:lnTo>
                  <a:lnTo>
                    <a:pt x="174" y="192"/>
                  </a:lnTo>
                  <a:lnTo>
                    <a:pt x="168" y="198"/>
                  </a:lnTo>
                  <a:lnTo>
                    <a:pt x="168" y="210"/>
                  </a:lnTo>
                  <a:lnTo>
                    <a:pt x="180" y="210"/>
                  </a:lnTo>
                  <a:lnTo>
                    <a:pt x="180" y="198"/>
                  </a:lnTo>
                  <a:lnTo>
                    <a:pt x="186" y="192"/>
                  </a:lnTo>
                  <a:lnTo>
                    <a:pt x="186" y="180"/>
                  </a:lnTo>
                  <a:lnTo>
                    <a:pt x="180" y="174"/>
                  </a:lnTo>
                  <a:lnTo>
                    <a:pt x="186" y="168"/>
                  </a:lnTo>
                  <a:lnTo>
                    <a:pt x="198" y="162"/>
                  </a:lnTo>
                  <a:lnTo>
                    <a:pt x="198" y="156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22" y="126"/>
                  </a:lnTo>
                  <a:lnTo>
                    <a:pt x="222" y="120"/>
                  </a:lnTo>
                  <a:lnTo>
                    <a:pt x="228" y="114"/>
                  </a:lnTo>
                  <a:lnTo>
                    <a:pt x="234" y="114"/>
                  </a:lnTo>
                  <a:lnTo>
                    <a:pt x="240" y="102"/>
                  </a:lnTo>
                  <a:lnTo>
                    <a:pt x="246" y="96"/>
                  </a:lnTo>
                  <a:lnTo>
                    <a:pt x="252" y="96"/>
                  </a:lnTo>
                  <a:lnTo>
                    <a:pt x="252" y="90"/>
                  </a:lnTo>
                  <a:lnTo>
                    <a:pt x="240" y="78"/>
                  </a:lnTo>
                  <a:lnTo>
                    <a:pt x="234" y="78"/>
                  </a:lnTo>
                  <a:lnTo>
                    <a:pt x="228" y="72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46" y="60"/>
                  </a:lnTo>
                  <a:lnTo>
                    <a:pt x="258" y="60"/>
                  </a:lnTo>
                  <a:lnTo>
                    <a:pt x="252" y="54"/>
                  </a:lnTo>
                  <a:lnTo>
                    <a:pt x="252" y="36"/>
                  </a:lnTo>
                  <a:lnTo>
                    <a:pt x="258" y="36"/>
                  </a:lnTo>
                  <a:lnTo>
                    <a:pt x="270" y="30"/>
                  </a:lnTo>
                  <a:lnTo>
                    <a:pt x="264" y="18"/>
                  </a:lnTo>
                  <a:lnTo>
                    <a:pt x="270" y="12"/>
                  </a:lnTo>
                  <a:lnTo>
                    <a:pt x="264" y="12"/>
                  </a:lnTo>
                  <a:lnTo>
                    <a:pt x="252" y="6"/>
                  </a:lnTo>
                  <a:lnTo>
                    <a:pt x="246" y="6"/>
                  </a:lnTo>
                  <a:lnTo>
                    <a:pt x="234" y="0"/>
                  </a:lnTo>
                  <a:lnTo>
                    <a:pt x="180" y="0"/>
                  </a:lnTo>
                  <a:lnTo>
                    <a:pt x="168" y="12"/>
                  </a:lnTo>
                  <a:lnTo>
                    <a:pt x="156" y="18"/>
                  </a:lnTo>
                  <a:lnTo>
                    <a:pt x="156" y="30"/>
                  </a:lnTo>
                  <a:lnTo>
                    <a:pt x="162" y="36"/>
                  </a:lnTo>
                  <a:lnTo>
                    <a:pt x="162" y="54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80" y="66"/>
                  </a:lnTo>
                  <a:lnTo>
                    <a:pt x="180" y="78"/>
                  </a:lnTo>
                  <a:lnTo>
                    <a:pt x="168" y="84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84"/>
                  </a:lnTo>
                  <a:lnTo>
                    <a:pt x="138" y="66"/>
                  </a:lnTo>
                  <a:lnTo>
                    <a:pt x="150" y="54"/>
                  </a:lnTo>
                  <a:lnTo>
                    <a:pt x="150" y="36"/>
                  </a:lnTo>
                  <a:lnTo>
                    <a:pt x="144" y="30"/>
                  </a:lnTo>
                  <a:lnTo>
                    <a:pt x="144" y="24"/>
                  </a:lnTo>
                  <a:lnTo>
                    <a:pt x="132" y="36"/>
                  </a:lnTo>
                  <a:lnTo>
                    <a:pt x="120" y="42"/>
                  </a:lnTo>
                  <a:lnTo>
                    <a:pt x="114" y="48"/>
                  </a:lnTo>
                  <a:lnTo>
                    <a:pt x="102" y="54"/>
                  </a:lnTo>
                  <a:lnTo>
                    <a:pt x="96" y="66"/>
                  </a:lnTo>
                  <a:lnTo>
                    <a:pt x="96" y="84"/>
                  </a:lnTo>
                  <a:lnTo>
                    <a:pt x="90" y="90"/>
                  </a:lnTo>
                  <a:lnTo>
                    <a:pt x="90" y="102"/>
                  </a:lnTo>
                  <a:lnTo>
                    <a:pt x="60" y="132"/>
                  </a:lnTo>
                  <a:lnTo>
                    <a:pt x="72" y="144"/>
                  </a:lnTo>
                  <a:lnTo>
                    <a:pt x="42" y="144"/>
                  </a:lnTo>
                  <a:lnTo>
                    <a:pt x="18" y="15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81" name="Nepal" descr="© INSCALE GmbH, 05.05.2010&#10;http://www.presentationload.com/"/>
            <p:cNvSpPr>
              <a:spLocks/>
            </p:cNvSpPr>
            <p:nvPr/>
          </p:nvSpPr>
          <p:spPr bwMode="gray">
            <a:xfrm>
              <a:off x="6257517" y="3541976"/>
              <a:ext cx="190696" cy="101657"/>
            </a:xfrm>
            <a:custGeom>
              <a:avLst/>
              <a:gdLst>
                <a:gd name="T0" fmla="*/ 2147483647 w 588"/>
                <a:gd name="T1" fmla="*/ 2147483647 h 330"/>
                <a:gd name="T2" fmla="*/ 2147483647 w 588"/>
                <a:gd name="T3" fmla="*/ 2147483647 h 330"/>
                <a:gd name="T4" fmla="*/ 2147483647 w 588"/>
                <a:gd name="T5" fmla="*/ 2147483647 h 330"/>
                <a:gd name="T6" fmla="*/ 2147483647 w 588"/>
                <a:gd name="T7" fmla="*/ 2147483647 h 330"/>
                <a:gd name="T8" fmla="*/ 2147483647 w 588"/>
                <a:gd name="T9" fmla="*/ 2147483647 h 330"/>
                <a:gd name="T10" fmla="*/ 2147483647 w 588"/>
                <a:gd name="T11" fmla="*/ 2147483647 h 330"/>
                <a:gd name="T12" fmla="*/ 2147483647 w 588"/>
                <a:gd name="T13" fmla="*/ 2147483647 h 330"/>
                <a:gd name="T14" fmla="*/ 2147483647 w 588"/>
                <a:gd name="T15" fmla="*/ 2147483647 h 330"/>
                <a:gd name="T16" fmla="*/ 2147483647 w 588"/>
                <a:gd name="T17" fmla="*/ 2147483647 h 330"/>
                <a:gd name="T18" fmla="*/ 2147483647 w 588"/>
                <a:gd name="T19" fmla="*/ 2147483647 h 330"/>
                <a:gd name="T20" fmla="*/ 2147483647 w 588"/>
                <a:gd name="T21" fmla="*/ 2147483647 h 330"/>
                <a:gd name="T22" fmla="*/ 2147483647 w 588"/>
                <a:gd name="T23" fmla="*/ 2147483647 h 330"/>
                <a:gd name="T24" fmla="*/ 2147483647 w 588"/>
                <a:gd name="T25" fmla="*/ 2147483647 h 330"/>
                <a:gd name="T26" fmla="*/ 2147483647 w 588"/>
                <a:gd name="T27" fmla="*/ 2147483647 h 330"/>
                <a:gd name="T28" fmla="*/ 2147483647 w 588"/>
                <a:gd name="T29" fmla="*/ 2147483647 h 330"/>
                <a:gd name="T30" fmla="*/ 2147483647 w 588"/>
                <a:gd name="T31" fmla="*/ 2147483647 h 330"/>
                <a:gd name="T32" fmla="*/ 2147483647 w 588"/>
                <a:gd name="T33" fmla="*/ 2147483647 h 330"/>
                <a:gd name="T34" fmla="*/ 2147483647 w 588"/>
                <a:gd name="T35" fmla="*/ 2147483647 h 330"/>
                <a:gd name="T36" fmla="*/ 2147483647 w 588"/>
                <a:gd name="T37" fmla="*/ 2147483647 h 330"/>
                <a:gd name="T38" fmla="*/ 2147483647 w 588"/>
                <a:gd name="T39" fmla="*/ 2147483647 h 330"/>
                <a:gd name="T40" fmla="*/ 2147483647 w 588"/>
                <a:gd name="T41" fmla="*/ 2147483647 h 330"/>
                <a:gd name="T42" fmla="*/ 2147483647 w 588"/>
                <a:gd name="T43" fmla="*/ 2147483647 h 330"/>
                <a:gd name="T44" fmla="*/ 2147483647 w 588"/>
                <a:gd name="T45" fmla="*/ 2147483647 h 330"/>
                <a:gd name="T46" fmla="*/ 2147483647 w 588"/>
                <a:gd name="T47" fmla="*/ 2147483647 h 330"/>
                <a:gd name="T48" fmla="*/ 2147483647 w 588"/>
                <a:gd name="T49" fmla="*/ 2147483647 h 330"/>
                <a:gd name="T50" fmla="*/ 2147483647 w 588"/>
                <a:gd name="T51" fmla="*/ 2147483647 h 330"/>
                <a:gd name="T52" fmla="*/ 2147483647 w 588"/>
                <a:gd name="T53" fmla="*/ 2147483647 h 330"/>
                <a:gd name="T54" fmla="*/ 2147483647 w 588"/>
                <a:gd name="T55" fmla="*/ 2147483647 h 330"/>
                <a:gd name="T56" fmla="*/ 2147483647 w 588"/>
                <a:gd name="T57" fmla="*/ 2147483647 h 330"/>
                <a:gd name="T58" fmla="*/ 2147483647 w 588"/>
                <a:gd name="T59" fmla="*/ 2147483647 h 330"/>
                <a:gd name="T60" fmla="*/ 2147483647 w 588"/>
                <a:gd name="T61" fmla="*/ 2147483647 h 330"/>
                <a:gd name="T62" fmla="*/ 2147483647 w 588"/>
                <a:gd name="T63" fmla="*/ 2147483647 h 330"/>
                <a:gd name="T64" fmla="*/ 2147483647 w 588"/>
                <a:gd name="T65" fmla="*/ 2147483647 h 330"/>
                <a:gd name="T66" fmla="*/ 2147483647 w 588"/>
                <a:gd name="T67" fmla="*/ 2147483647 h 330"/>
                <a:gd name="T68" fmla="*/ 2147483647 w 588"/>
                <a:gd name="T69" fmla="*/ 2147483647 h 330"/>
                <a:gd name="T70" fmla="*/ 2147483647 w 588"/>
                <a:gd name="T71" fmla="*/ 0 h 330"/>
                <a:gd name="T72" fmla="*/ 2147483647 w 588"/>
                <a:gd name="T73" fmla="*/ 2147483647 h 330"/>
                <a:gd name="T74" fmla="*/ 2147483647 w 588"/>
                <a:gd name="T75" fmla="*/ 2147483647 h 330"/>
                <a:gd name="T76" fmla="*/ 2147483647 w 588"/>
                <a:gd name="T77" fmla="*/ 2147483647 h 330"/>
                <a:gd name="T78" fmla="*/ 2147483647 w 588"/>
                <a:gd name="T79" fmla="*/ 2147483647 h 330"/>
                <a:gd name="T80" fmla="*/ 2147483647 w 588"/>
                <a:gd name="T81" fmla="*/ 2147483647 h 330"/>
                <a:gd name="T82" fmla="*/ 2147483647 w 588"/>
                <a:gd name="T83" fmla="*/ 2147483647 h 330"/>
                <a:gd name="T84" fmla="*/ 0 w 588"/>
                <a:gd name="T85" fmla="*/ 2147483647 h 330"/>
                <a:gd name="T86" fmla="*/ 2147483647 w 588"/>
                <a:gd name="T87" fmla="*/ 2147483647 h 330"/>
                <a:gd name="T88" fmla="*/ 2147483647 w 588"/>
                <a:gd name="T89" fmla="*/ 2147483647 h 330"/>
                <a:gd name="T90" fmla="*/ 2147483647 w 588"/>
                <a:gd name="T91" fmla="*/ 2147483647 h 330"/>
                <a:gd name="T92" fmla="*/ 2147483647 w 588"/>
                <a:gd name="T93" fmla="*/ 2147483647 h 330"/>
                <a:gd name="T94" fmla="*/ 2147483647 w 588"/>
                <a:gd name="T95" fmla="*/ 2147483647 h 330"/>
                <a:gd name="T96" fmla="*/ 2147483647 w 588"/>
                <a:gd name="T97" fmla="*/ 2147483647 h 330"/>
                <a:gd name="T98" fmla="*/ 2147483647 w 588"/>
                <a:gd name="T99" fmla="*/ 2147483647 h 330"/>
                <a:gd name="T100" fmla="*/ 2147483647 w 588"/>
                <a:gd name="T101" fmla="*/ 2147483647 h 330"/>
                <a:gd name="T102" fmla="*/ 2147483647 w 588"/>
                <a:gd name="T103" fmla="*/ 2147483647 h 330"/>
                <a:gd name="T104" fmla="*/ 2147483647 w 588"/>
                <a:gd name="T105" fmla="*/ 2147483647 h 330"/>
                <a:gd name="T106" fmla="*/ 2147483647 w 588"/>
                <a:gd name="T107" fmla="*/ 2147483647 h 330"/>
                <a:gd name="T108" fmla="*/ 2147483647 w 588"/>
                <a:gd name="T109" fmla="*/ 2147483647 h 3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88"/>
                <a:gd name="T166" fmla="*/ 0 h 330"/>
                <a:gd name="T167" fmla="*/ 588 w 588"/>
                <a:gd name="T168" fmla="*/ 330 h 33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88" h="330">
                  <a:moveTo>
                    <a:pt x="294" y="234"/>
                  </a:moveTo>
                  <a:lnTo>
                    <a:pt x="306" y="246"/>
                  </a:lnTo>
                  <a:lnTo>
                    <a:pt x="306" y="252"/>
                  </a:lnTo>
                  <a:lnTo>
                    <a:pt x="330" y="252"/>
                  </a:lnTo>
                  <a:lnTo>
                    <a:pt x="384" y="306"/>
                  </a:lnTo>
                  <a:lnTo>
                    <a:pt x="402" y="294"/>
                  </a:lnTo>
                  <a:lnTo>
                    <a:pt x="432" y="312"/>
                  </a:lnTo>
                  <a:lnTo>
                    <a:pt x="438" y="306"/>
                  </a:lnTo>
                  <a:lnTo>
                    <a:pt x="456" y="306"/>
                  </a:lnTo>
                  <a:lnTo>
                    <a:pt x="474" y="312"/>
                  </a:lnTo>
                  <a:lnTo>
                    <a:pt x="486" y="318"/>
                  </a:lnTo>
                  <a:lnTo>
                    <a:pt x="492" y="330"/>
                  </a:lnTo>
                  <a:lnTo>
                    <a:pt x="498" y="318"/>
                  </a:lnTo>
                  <a:lnTo>
                    <a:pt x="510" y="312"/>
                  </a:lnTo>
                  <a:lnTo>
                    <a:pt x="516" y="312"/>
                  </a:lnTo>
                  <a:lnTo>
                    <a:pt x="522" y="318"/>
                  </a:lnTo>
                  <a:lnTo>
                    <a:pt x="522" y="330"/>
                  </a:lnTo>
                  <a:lnTo>
                    <a:pt x="588" y="330"/>
                  </a:lnTo>
                  <a:lnTo>
                    <a:pt x="588" y="294"/>
                  </a:lnTo>
                  <a:lnTo>
                    <a:pt x="576" y="270"/>
                  </a:lnTo>
                  <a:lnTo>
                    <a:pt x="576" y="222"/>
                  </a:lnTo>
                  <a:lnTo>
                    <a:pt x="564" y="204"/>
                  </a:lnTo>
                  <a:lnTo>
                    <a:pt x="540" y="216"/>
                  </a:lnTo>
                  <a:lnTo>
                    <a:pt x="522" y="216"/>
                  </a:lnTo>
                  <a:lnTo>
                    <a:pt x="498" y="204"/>
                  </a:lnTo>
                  <a:lnTo>
                    <a:pt x="480" y="198"/>
                  </a:lnTo>
                  <a:lnTo>
                    <a:pt x="474" y="192"/>
                  </a:lnTo>
                  <a:lnTo>
                    <a:pt x="462" y="186"/>
                  </a:lnTo>
                  <a:lnTo>
                    <a:pt x="462" y="192"/>
                  </a:lnTo>
                  <a:lnTo>
                    <a:pt x="456" y="198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0"/>
                  </a:lnTo>
                  <a:lnTo>
                    <a:pt x="432" y="186"/>
                  </a:lnTo>
                  <a:lnTo>
                    <a:pt x="420" y="198"/>
                  </a:lnTo>
                  <a:lnTo>
                    <a:pt x="408" y="198"/>
                  </a:lnTo>
                  <a:lnTo>
                    <a:pt x="402" y="192"/>
                  </a:lnTo>
                  <a:lnTo>
                    <a:pt x="402" y="174"/>
                  </a:lnTo>
                  <a:lnTo>
                    <a:pt x="396" y="174"/>
                  </a:lnTo>
                  <a:lnTo>
                    <a:pt x="390" y="180"/>
                  </a:lnTo>
                  <a:lnTo>
                    <a:pt x="378" y="180"/>
                  </a:lnTo>
                  <a:lnTo>
                    <a:pt x="360" y="174"/>
                  </a:lnTo>
                  <a:lnTo>
                    <a:pt x="354" y="168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54" y="156"/>
                  </a:lnTo>
                  <a:lnTo>
                    <a:pt x="354" y="150"/>
                  </a:lnTo>
                  <a:lnTo>
                    <a:pt x="348" y="144"/>
                  </a:lnTo>
                  <a:lnTo>
                    <a:pt x="342" y="144"/>
                  </a:lnTo>
                  <a:lnTo>
                    <a:pt x="330" y="150"/>
                  </a:lnTo>
                  <a:lnTo>
                    <a:pt x="324" y="156"/>
                  </a:lnTo>
                  <a:lnTo>
                    <a:pt x="312" y="150"/>
                  </a:lnTo>
                  <a:lnTo>
                    <a:pt x="282" y="120"/>
                  </a:lnTo>
                  <a:lnTo>
                    <a:pt x="282" y="102"/>
                  </a:lnTo>
                  <a:lnTo>
                    <a:pt x="276" y="90"/>
                  </a:lnTo>
                  <a:lnTo>
                    <a:pt x="270" y="84"/>
                  </a:lnTo>
                  <a:lnTo>
                    <a:pt x="258" y="84"/>
                  </a:lnTo>
                  <a:lnTo>
                    <a:pt x="252" y="96"/>
                  </a:lnTo>
                  <a:lnTo>
                    <a:pt x="246" y="102"/>
                  </a:lnTo>
                  <a:lnTo>
                    <a:pt x="246" y="108"/>
                  </a:lnTo>
                  <a:lnTo>
                    <a:pt x="234" y="108"/>
                  </a:lnTo>
                  <a:lnTo>
                    <a:pt x="234" y="96"/>
                  </a:lnTo>
                  <a:lnTo>
                    <a:pt x="228" y="90"/>
                  </a:lnTo>
                  <a:lnTo>
                    <a:pt x="222" y="78"/>
                  </a:lnTo>
                  <a:lnTo>
                    <a:pt x="216" y="72"/>
                  </a:lnTo>
                  <a:lnTo>
                    <a:pt x="210" y="60"/>
                  </a:lnTo>
                  <a:lnTo>
                    <a:pt x="168" y="54"/>
                  </a:lnTo>
                  <a:lnTo>
                    <a:pt x="150" y="36"/>
                  </a:lnTo>
                  <a:lnTo>
                    <a:pt x="138" y="30"/>
                  </a:lnTo>
                  <a:lnTo>
                    <a:pt x="132" y="18"/>
                  </a:lnTo>
                  <a:lnTo>
                    <a:pt x="120" y="6"/>
                  </a:lnTo>
                  <a:lnTo>
                    <a:pt x="108" y="0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8" y="12"/>
                  </a:lnTo>
                  <a:lnTo>
                    <a:pt x="54" y="30"/>
                  </a:lnTo>
                  <a:lnTo>
                    <a:pt x="36" y="12"/>
                  </a:lnTo>
                  <a:lnTo>
                    <a:pt x="30" y="36"/>
                  </a:lnTo>
                  <a:lnTo>
                    <a:pt x="6" y="60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6" y="84"/>
                  </a:lnTo>
                  <a:lnTo>
                    <a:pt x="18" y="96"/>
                  </a:lnTo>
                  <a:lnTo>
                    <a:pt x="12" y="96"/>
                  </a:lnTo>
                  <a:lnTo>
                    <a:pt x="0" y="108"/>
                  </a:lnTo>
                  <a:lnTo>
                    <a:pt x="0" y="120"/>
                  </a:lnTo>
                  <a:lnTo>
                    <a:pt x="30" y="150"/>
                  </a:lnTo>
                  <a:lnTo>
                    <a:pt x="42" y="144"/>
                  </a:lnTo>
                  <a:lnTo>
                    <a:pt x="60" y="168"/>
                  </a:lnTo>
                  <a:lnTo>
                    <a:pt x="84" y="168"/>
                  </a:lnTo>
                  <a:lnTo>
                    <a:pt x="96" y="186"/>
                  </a:lnTo>
                  <a:lnTo>
                    <a:pt x="138" y="204"/>
                  </a:lnTo>
                  <a:lnTo>
                    <a:pt x="150" y="204"/>
                  </a:lnTo>
                  <a:lnTo>
                    <a:pt x="156" y="210"/>
                  </a:lnTo>
                  <a:lnTo>
                    <a:pt x="162" y="222"/>
                  </a:lnTo>
                  <a:lnTo>
                    <a:pt x="168" y="228"/>
                  </a:lnTo>
                  <a:lnTo>
                    <a:pt x="186" y="228"/>
                  </a:lnTo>
                  <a:lnTo>
                    <a:pt x="192" y="222"/>
                  </a:lnTo>
                  <a:lnTo>
                    <a:pt x="204" y="222"/>
                  </a:lnTo>
                  <a:lnTo>
                    <a:pt x="204" y="234"/>
                  </a:lnTo>
                  <a:lnTo>
                    <a:pt x="210" y="240"/>
                  </a:lnTo>
                  <a:lnTo>
                    <a:pt x="234" y="240"/>
                  </a:lnTo>
                  <a:lnTo>
                    <a:pt x="240" y="246"/>
                  </a:lnTo>
                  <a:lnTo>
                    <a:pt x="246" y="258"/>
                  </a:lnTo>
                  <a:lnTo>
                    <a:pt x="258" y="246"/>
                  </a:lnTo>
                  <a:lnTo>
                    <a:pt x="276" y="246"/>
                  </a:lnTo>
                  <a:lnTo>
                    <a:pt x="282" y="252"/>
                  </a:lnTo>
                  <a:lnTo>
                    <a:pt x="282" y="258"/>
                  </a:lnTo>
                  <a:lnTo>
                    <a:pt x="282" y="240"/>
                  </a:lnTo>
                  <a:lnTo>
                    <a:pt x="288" y="234"/>
                  </a:lnTo>
                  <a:lnTo>
                    <a:pt x="294" y="23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82" name="Namibia" descr="© INSCALE GmbH, 05.05.2010&#10;http://www.presentationload.com/"/>
            <p:cNvSpPr>
              <a:spLocks/>
            </p:cNvSpPr>
            <p:nvPr/>
          </p:nvSpPr>
          <p:spPr bwMode="gray">
            <a:xfrm>
              <a:off x="4735786" y="4728797"/>
              <a:ext cx="309722" cy="302523"/>
            </a:xfrm>
            <a:custGeom>
              <a:avLst/>
              <a:gdLst>
                <a:gd name="T0" fmla="*/ 2147483647 w 954"/>
                <a:gd name="T1" fmla="*/ 2147483647 h 972"/>
                <a:gd name="T2" fmla="*/ 2147483647 w 954"/>
                <a:gd name="T3" fmla="*/ 2147483647 h 972"/>
                <a:gd name="T4" fmla="*/ 2147483647 w 954"/>
                <a:gd name="T5" fmla="*/ 2147483647 h 972"/>
                <a:gd name="T6" fmla="*/ 2147483647 w 954"/>
                <a:gd name="T7" fmla="*/ 2147483647 h 972"/>
                <a:gd name="T8" fmla="*/ 2147483647 w 954"/>
                <a:gd name="T9" fmla="*/ 2147483647 h 972"/>
                <a:gd name="T10" fmla="*/ 2147483647 w 954"/>
                <a:gd name="T11" fmla="*/ 2147483647 h 972"/>
                <a:gd name="T12" fmla="*/ 2147483647 w 954"/>
                <a:gd name="T13" fmla="*/ 2147483647 h 972"/>
                <a:gd name="T14" fmla="*/ 2147483647 w 954"/>
                <a:gd name="T15" fmla="*/ 2147483647 h 972"/>
                <a:gd name="T16" fmla="*/ 2147483647 w 954"/>
                <a:gd name="T17" fmla="*/ 2147483647 h 972"/>
                <a:gd name="T18" fmla="*/ 2147483647 w 954"/>
                <a:gd name="T19" fmla="*/ 2147483647 h 972"/>
                <a:gd name="T20" fmla="*/ 2147483647 w 954"/>
                <a:gd name="T21" fmla="*/ 2147483647 h 972"/>
                <a:gd name="T22" fmla="*/ 2147483647 w 954"/>
                <a:gd name="T23" fmla="*/ 2147483647 h 972"/>
                <a:gd name="T24" fmla="*/ 2147483647 w 954"/>
                <a:gd name="T25" fmla="*/ 2147483647 h 972"/>
                <a:gd name="T26" fmla="*/ 2147483647 w 954"/>
                <a:gd name="T27" fmla="*/ 2147483647 h 972"/>
                <a:gd name="T28" fmla="*/ 2147483647 w 954"/>
                <a:gd name="T29" fmla="*/ 2147483647 h 972"/>
                <a:gd name="T30" fmla="*/ 2147483647 w 954"/>
                <a:gd name="T31" fmla="*/ 2147483647 h 972"/>
                <a:gd name="T32" fmla="*/ 2147483647 w 954"/>
                <a:gd name="T33" fmla="*/ 2147483647 h 972"/>
                <a:gd name="T34" fmla="*/ 2147483647 w 954"/>
                <a:gd name="T35" fmla="*/ 2147483647 h 972"/>
                <a:gd name="T36" fmla="*/ 2147483647 w 954"/>
                <a:gd name="T37" fmla="*/ 2147483647 h 972"/>
                <a:gd name="T38" fmla="*/ 2147483647 w 954"/>
                <a:gd name="T39" fmla="*/ 2147483647 h 972"/>
                <a:gd name="T40" fmla="*/ 2147483647 w 954"/>
                <a:gd name="T41" fmla="*/ 2147483647 h 972"/>
                <a:gd name="T42" fmla="*/ 2147483647 w 954"/>
                <a:gd name="T43" fmla="*/ 2147483647 h 972"/>
                <a:gd name="T44" fmla="*/ 2147483647 w 954"/>
                <a:gd name="T45" fmla="*/ 2147483647 h 972"/>
                <a:gd name="T46" fmla="*/ 2147483647 w 954"/>
                <a:gd name="T47" fmla="*/ 2147483647 h 972"/>
                <a:gd name="T48" fmla="*/ 2147483647 w 954"/>
                <a:gd name="T49" fmla="*/ 2147483647 h 972"/>
                <a:gd name="T50" fmla="*/ 2147483647 w 954"/>
                <a:gd name="T51" fmla="*/ 2147483647 h 972"/>
                <a:gd name="T52" fmla="*/ 2147483647 w 954"/>
                <a:gd name="T53" fmla="*/ 2147483647 h 972"/>
                <a:gd name="T54" fmla="*/ 2147483647 w 954"/>
                <a:gd name="T55" fmla="*/ 2147483647 h 972"/>
                <a:gd name="T56" fmla="*/ 2147483647 w 954"/>
                <a:gd name="T57" fmla="*/ 2147483647 h 972"/>
                <a:gd name="T58" fmla="*/ 2147483647 w 954"/>
                <a:gd name="T59" fmla="*/ 2147483647 h 972"/>
                <a:gd name="T60" fmla="*/ 2147483647 w 954"/>
                <a:gd name="T61" fmla="*/ 2147483647 h 972"/>
                <a:gd name="T62" fmla="*/ 2147483647 w 954"/>
                <a:gd name="T63" fmla="*/ 2147483647 h 972"/>
                <a:gd name="T64" fmla="*/ 2147483647 w 954"/>
                <a:gd name="T65" fmla="*/ 2147483647 h 972"/>
                <a:gd name="T66" fmla="*/ 2147483647 w 954"/>
                <a:gd name="T67" fmla="*/ 0 h 972"/>
                <a:gd name="T68" fmla="*/ 2147483647 w 954"/>
                <a:gd name="T69" fmla="*/ 2147483647 h 972"/>
                <a:gd name="T70" fmla="*/ 2147483647 w 954"/>
                <a:gd name="T71" fmla="*/ 2147483647 h 972"/>
                <a:gd name="T72" fmla="*/ 0 w 954"/>
                <a:gd name="T73" fmla="*/ 2147483647 h 972"/>
                <a:gd name="T74" fmla="*/ 2147483647 w 954"/>
                <a:gd name="T75" fmla="*/ 2147483647 h 972"/>
                <a:gd name="T76" fmla="*/ 2147483647 w 954"/>
                <a:gd name="T77" fmla="*/ 2147483647 h 972"/>
                <a:gd name="T78" fmla="*/ 2147483647 w 954"/>
                <a:gd name="T79" fmla="*/ 2147483647 h 972"/>
                <a:gd name="T80" fmla="*/ 2147483647 w 954"/>
                <a:gd name="T81" fmla="*/ 2147483647 h 972"/>
                <a:gd name="T82" fmla="*/ 2147483647 w 954"/>
                <a:gd name="T83" fmla="*/ 2147483647 h 972"/>
                <a:gd name="T84" fmla="*/ 2147483647 w 954"/>
                <a:gd name="T85" fmla="*/ 2147483647 h 972"/>
                <a:gd name="T86" fmla="*/ 2147483647 w 954"/>
                <a:gd name="T87" fmla="*/ 2147483647 h 972"/>
                <a:gd name="T88" fmla="*/ 2147483647 w 954"/>
                <a:gd name="T89" fmla="*/ 2147483647 h 972"/>
                <a:gd name="T90" fmla="*/ 2147483647 w 954"/>
                <a:gd name="T91" fmla="*/ 2147483647 h 972"/>
                <a:gd name="T92" fmla="*/ 2147483647 w 954"/>
                <a:gd name="T93" fmla="*/ 2147483647 h 972"/>
                <a:gd name="T94" fmla="*/ 2147483647 w 954"/>
                <a:gd name="T95" fmla="*/ 2147483647 h 972"/>
                <a:gd name="T96" fmla="*/ 2147483647 w 954"/>
                <a:gd name="T97" fmla="*/ 2147483647 h 972"/>
                <a:gd name="T98" fmla="*/ 2147483647 w 954"/>
                <a:gd name="T99" fmla="*/ 2147483647 h 972"/>
                <a:gd name="T100" fmla="*/ 2147483647 w 954"/>
                <a:gd name="T101" fmla="*/ 2147483647 h 972"/>
                <a:gd name="T102" fmla="*/ 2147483647 w 954"/>
                <a:gd name="T103" fmla="*/ 2147483647 h 972"/>
                <a:gd name="T104" fmla="*/ 2147483647 w 954"/>
                <a:gd name="T105" fmla="*/ 2147483647 h 972"/>
                <a:gd name="T106" fmla="*/ 2147483647 w 954"/>
                <a:gd name="T107" fmla="*/ 2147483647 h 972"/>
                <a:gd name="T108" fmla="*/ 2147483647 w 954"/>
                <a:gd name="T109" fmla="*/ 2147483647 h 972"/>
                <a:gd name="T110" fmla="*/ 2147483647 w 954"/>
                <a:gd name="T111" fmla="*/ 2147483647 h 972"/>
                <a:gd name="T112" fmla="*/ 2147483647 w 954"/>
                <a:gd name="T113" fmla="*/ 2147483647 h 972"/>
                <a:gd name="T114" fmla="*/ 2147483647 w 954"/>
                <a:gd name="T115" fmla="*/ 2147483647 h 972"/>
                <a:gd name="T116" fmla="*/ 2147483647 w 954"/>
                <a:gd name="T117" fmla="*/ 2147483647 h 972"/>
                <a:gd name="T118" fmla="*/ 2147483647 w 954"/>
                <a:gd name="T119" fmla="*/ 2147483647 h 97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72"/>
                <a:gd name="T182" fmla="*/ 954 w 954"/>
                <a:gd name="T183" fmla="*/ 972 h 97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72">
                  <a:moveTo>
                    <a:pt x="366" y="894"/>
                  </a:moveTo>
                  <a:lnTo>
                    <a:pt x="372" y="894"/>
                  </a:lnTo>
                  <a:lnTo>
                    <a:pt x="390" y="912"/>
                  </a:lnTo>
                  <a:lnTo>
                    <a:pt x="390" y="936"/>
                  </a:lnTo>
                  <a:lnTo>
                    <a:pt x="396" y="948"/>
                  </a:lnTo>
                  <a:lnTo>
                    <a:pt x="402" y="954"/>
                  </a:lnTo>
                  <a:lnTo>
                    <a:pt x="426" y="954"/>
                  </a:lnTo>
                  <a:lnTo>
                    <a:pt x="432" y="960"/>
                  </a:lnTo>
                  <a:lnTo>
                    <a:pt x="432" y="966"/>
                  </a:lnTo>
                  <a:lnTo>
                    <a:pt x="438" y="972"/>
                  </a:lnTo>
                  <a:lnTo>
                    <a:pt x="462" y="972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8" y="972"/>
                  </a:lnTo>
                  <a:lnTo>
                    <a:pt x="522" y="972"/>
                  </a:lnTo>
                  <a:lnTo>
                    <a:pt x="522" y="948"/>
                  </a:lnTo>
                  <a:lnTo>
                    <a:pt x="534" y="948"/>
                  </a:lnTo>
                  <a:lnTo>
                    <a:pt x="534" y="942"/>
                  </a:lnTo>
                  <a:lnTo>
                    <a:pt x="540" y="936"/>
                  </a:lnTo>
                  <a:lnTo>
                    <a:pt x="552" y="930"/>
                  </a:lnTo>
                  <a:lnTo>
                    <a:pt x="570" y="930"/>
                  </a:lnTo>
                  <a:lnTo>
                    <a:pt x="582" y="414"/>
                  </a:lnTo>
                  <a:lnTo>
                    <a:pt x="654" y="414"/>
                  </a:lnTo>
                  <a:lnTo>
                    <a:pt x="648" y="288"/>
                  </a:lnTo>
                  <a:lnTo>
                    <a:pt x="654" y="282"/>
                  </a:lnTo>
                  <a:lnTo>
                    <a:pt x="654" y="108"/>
                  </a:lnTo>
                  <a:lnTo>
                    <a:pt x="690" y="108"/>
                  </a:lnTo>
                  <a:lnTo>
                    <a:pt x="708" y="102"/>
                  </a:lnTo>
                  <a:lnTo>
                    <a:pt x="744" y="102"/>
                  </a:lnTo>
                  <a:lnTo>
                    <a:pt x="792" y="90"/>
                  </a:lnTo>
                  <a:lnTo>
                    <a:pt x="804" y="84"/>
                  </a:lnTo>
                  <a:lnTo>
                    <a:pt x="822" y="84"/>
                  </a:lnTo>
                  <a:lnTo>
                    <a:pt x="828" y="90"/>
                  </a:lnTo>
                  <a:lnTo>
                    <a:pt x="828" y="108"/>
                  </a:lnTo>
                  <a:lnTo>
                    <a:pt x="834" y="108"/>
                  </a:lnTo>
                  <a:lnTo>
                    <a:pt x="834" y="126"/>
                  </a:lnTo>
                  <a:lnTo>
                    <a:pt x="840" y="126"/>
                  </a:lnTo>
                  <a:lnTo>
                    <a:pt x="882" y="84"/>
                  </a:lnTo>
                  <a:lnTo>
                    <a:pt x="906" y="84"/>
                  </a:lnTo>
                  <a:lnTo>
                    <a:pt x="918" y="72"/>
                  </a:lnTo>
                  <a:lnTo>
                    <a:pt x="954" y="66"/>
                  </a:lnTo>
                  <a:lnTo>
                    <a:pt x="936" y="48"/>
                  </a:lnTo>
                  <a:lnTo>
                    <a:pt x="906" y="54"/>
                  </a:lnTo>
                  <a:lnTo>
                    <a:pt x="906" y="48"/>
                  </a:lnTo>
                  <a:lnTo>
                    <a:pt x="900" y="42"/>
                  </a:lnTo>
                  <a:lnTo>
                    <a:pt x="882" y="42"/>
                  </a:lnTo>
                  <a:lnTo>
                    <a:pt x="876" y="48"/>
                  </a:lnTo>
                  <a:lnTo>
                    <a:pt x="870" y="48"/>
                  </a:lnTo>
                  <a:lnTo>
                    <a:pt x="846" y="60"/>
                  </a:lnTo>
                  <a:lnTo>
                    <a:pt x="828" y="54"/>
                  </a:lnTo>
                  <a:lnTo>
                    <a:pt x="816" y="60"/>
                  </a:lnTo>
                  <a:lnTo>
                    <a:pt x="780" y="72"/>
                  </a:lnTo>
                  <a:lnTo>
                    <a:pt x="732" y="78"/>
                  </a:lnTo>
                  <a:lnTo>
                    <a:pt x="696" y="84"/>
                  </a:lnTo>
                  <a:lnTo>
                    <a:pt x="624" y="84"/>
                  </a:lnTo>
                  <a:lnTo>
                    <a:pt x="618" y="72"/>
                  </a:lnTo>
                  <a:lnTo>
                    <a:pt x="546" y="78"/>
                  </a:lnTo>
                  <a:lnTo>
                    <a:pt x="540" y="66"/>
                  </a:lnTo>
                  <a:lnTo>
                    <a:pt x="504" y="66"/>
                  </a:lnTo>
                  <a:lnTo>
                    <a:pt x="480" y="42"/>
                  </a:lnTo>
                  <a:lnTo>
                    <a:pt x="480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56" y="30"/>
                  </a:lnTo>
                  <a:lnTo>
                    <a:pt x="132" y="18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90" y="0"/>
                  </a:lnTo>
                  <a:lnTo>
                    <a:pt x="90" y="6"/>
                  </a:lnTo>
                  <a:lnTo>
                    <a:pt x="72" y="24"/>
                  </a:lnTo>
                  <a:lnTo>
                    <a:pt x="42" y="24"/>
                  </a:lnTo>
                  <a:lnTo>
                    <a:pt x="36" y="18"/>
                  </a:lnTo>
                  <a:lnTo>
                    <a:pt x="18" y="24"/>
                  </a:lnTo>
                  <a:lnTo>
                    <a:pt x="0" y="24"/>
                  </a:lnTo>
                  <a:lnTo>
                    <a:pt x="6" y="96"/>
                  </a:lnTo>
                  <a:lnTo>
                    <a:pt x="12" y="108"/>
                  </a:lnTo>
                  <a:lnTo>
                    <a:pt x="30" y="126"/>
                  </a:lnTo>
                  <a:lnTo>
                    <a:pt x="36" y="138"/>
                  </a:lnTo>
                  <a:lnTo>
                    <a:pt x="54" y="162"/>
                  </a:lnTo>
                  <a:lnTo>
                    <a:pt x="72" y="192"/>
                  </a:lnTo>
                  <a:lnTo>
                    <a:pt x="96" y="228"/>
                  </a:lnTo>
                  <a:lnTo>
                    <a:pt x="102" y="258"/>
                  </a:lnTo>
                  <a:lnTo>
                    <a:pt x="102" y="276"/>
                  </a:lnTo>
                  <a:lnTo>
                    <a:pt x="114" y="294"/>
                  </a:lnTo>
                  <a:lnTo>
                    <a:pt x="120" y="312"/>
                  </a:lnTo>
                  <a:lnTo>
                    <a:pt x="138" y="348"/>
                  </a:lnTo>
                  <a:lnTo>
                    <a:pt x="156" y="366"/>
                  </a:lnTo>
                  <a:lnTo>
                    <a:pt x="156" y="390"/>
                  </a:lnTo>
                  <a:lnTo>
                    <a:pt x="162" y="396"/>
                  </a:lnTo>
                  <a:lnTo>
                    <a:pt x="174" y="402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32"/>
                  </a:lnTo>
                  <a:lnTo>
                    <a:pt x="198" y="582"/>
                  </a:lnTo>
                  <a:lnTo>
                    <a:pt x="222" y="630"/>
                  </a:lnTo>
                  <a:lnTo>
                    <a:pt x="222" y="678"/>
                  </a:lnTo>
                  <a:lnTo>
                    <a:pt x="216" y="678"/>
                  </a:lnTo>
                  <a:lnTo>
                    <a:pt x="228" y="726"/>
                  </a:lnTo>
                  <a:lnTo>
                    <a:pt x="228" y="762"/>
                  </a:lnTo>
                  <a:lnTo>
                    <a:pt x="240" y="762"/>
                  </a:lnTo>
                  <a:lnTo>
                    <a:pt x="240" y="804"/>
                  </a:lnTo>
                  <a:lnTo>
                    <a:pt x="252" y="810"/>
                  </a:lnTo>
                  <a:lnTo>
                    <a:pt x="258" y="816"/>
                  </a:lnTo>
                  <a:lnTo>
                    <a:pt x="258" y="846"/>
                  </a:lnTo>
                  <a:lnTo>
                    <a:pt x="264" y="858"/>
                  </a:lnTo>
                  <a:lnTo>
                    <a:pt x="270" y="864"/>
                  </a:lnTo>
                  <a:lnTo>
                    <a:pt x="276" y="876"/>
                  </a:lnTo>
                  <a:lnTo>
                    <a:pt x="282" y="894"/>
                  </a:lnTo>
                  <a:lnTo>
                    <a:pt x="282" y="900"/>
                  </a:lnTo>
                  <a:lnTo>
                    <a:pt x="288" y="912"/>
                  </a:lnTo>
                  <a:lnTo>
                    <a:pt x="294" y="918"/>
                  </a:lnTo>
                  <a:lnTo>
                    <a:pt x="318" y="930"/>
                  </a:lnTo>
                  <a:lnTo>
                    <a:pt x="324" y="936"/>
                  </a:lnTo>
                  <a:lnTo>
                    <a:pt x="330" y="936"/>
                  </a:lnTo>
                  <a:lnTo>
                    <a:pt x="330" y="942"/>
                  </a:lnTo>
                  <a:lnTo>
                    <a:pt x="348" y="930"/>
                  </a:lnTo>
                  <a:lnTo>
                    <a:pt x="348" y="924"/>
                  </a:lnTo>
                  <a:lnTo>
                    <a:pt x="354" y="918"/>
                  </a:lnTo>
                  <a:lnTo>
                    <a:pt x="360" y="906"/>
                  </a:lnTo>
                  <a:lnTo>
                    <a:pt x="360" y="900"/>
                  </a:lnTo>
                  <a:lnTo>
                    <a:pt x="366" y="89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83" name="Myanmar" descr="© INSCALE GmbH, 05.05.2010&#10;http://www.presentationload.com/"/>
            <p:cNvSpPr>
              <a:spLocks/>
            </p:cNvSpPr>
            <p:nvPr/>
          </p:nvSpPr>
          <p:spPr bwMode="gray">
            <a:xfrm>
              <a:off x="6557000" y="3589743"/>
              <a:ext cx="207335" cy="465420"/>
            </a:xfrm>
            <a:custGeom>
              <a:avLst/>
              <a:gdLst>
                <a:gd name="T0" fmla="*/ 2147483647 w 636"/>
                <a:gd name="T1" fmla="*/ 2147483647 h 1500"/>
                <a:gd name="T2" fmla="*/ 2147483647 w 636"/>
                <a:gd name="T3" fmla="*/ 2147483647 h 1500"/>
                <a:gd name="T4" fmla="*/ 2147483647 w 636"/>
                <a:gd name="T5" fmla="*/ 2147483647 h 1500"/>
                <a:gd name="T6" fmla="*/ 2147483647 w 636"/>
                <a:gd name="T7" fmla="*/ 2147483647 h 1500"/>
                <a:gd name="T8" fmla="*/ 2147483647 w 636"/>
                <a:gd name="T9" fmla="*/ 2147483647 h 1500"/>
                <a:gd name="T10" fmla="*/ 2147483647 w 636"/>
                <a:gd name="T11" fmla="*/ 2147483647 h 1500"/>
                <a:gd name="T12" fmla="*/ 2147483647 w 636"/>
                <a:gd name="T13" fmla="*/ 2147483647 h 1500"/>
                <a:gd name="T14" fmla="*/ 2147483647 w 636"/>
                <a:gd name="T15" fmla="*/ 2147483647 h 1500"/>
                <a:gd name="T16" fmla="*/ 2147483647 w 636"/>
                <a:gd name="T17" fmla="*/ 2147483647 h 1500"/>
                <a:gd name="T18" fmla="*/ 2147483647 w 636"/>
                <a:gd name="T19" fmla="*/ 2147483647 h 1500"/>
                <a:gd name="T20" fmla="*/ 2147483647 w 636"/>
                <a:gd name="T21" fmla="*/ 2147483647 h 1500"/>
                <a:gd name="T22" fmla="*/ 2147483647 w 636"/>
                <a:gd name="T23" fmla="*/ 2147483647 h 1500"/>
                <a:gd name="T24" fmla="*/ 2147483647 w 636"/>
                <a:gd name="T25" fmla="*/ 2147483647 h 1500"/>
                <a:gd name="T26" fmla="*/ 2147483647 w 636"/>
                <a:gd name="T27" fmla="*/ 2147483647 h 1500"/>
                <a:gd name="T28" fmla="*/ 2147483647 w 636"/>
                <a:gd name="T29" fmla="*/ 2147483647 h 1500"/>
                <a:gd name="T30" fmla="*/ 2147483647 w 636"/>
                <a:gd name="T31" fmla="*/ 2147483647 h 1500"/>
                <a:gd name="T32" fmla="*/ 2147483647 w 636"/>
                <a:gd name="T33" fmla="*/ 2147483647 h 1500"/>
                <a:gd name="T34" fmla="*/ 2147483647 w 636"/>
                <a:gd name="T35" fmla="*/ 2147483647 h 1500"/>
                <a:gd name="T36" fmla="*/ 2147483647 w 636"/>
                <a:gd name="T37" fmla="*/ 2147483647 h 1500"/>
                <a:gd name="T38" fmla="*/ 2147483647 w 636"/>
                <a:gd name="T39" fmla="*/ 2147483647 h 1500"/>
                <a:gd name="T40" fmla="*/ 2147483647 w 636"/>
                <a:gd name="T41" fmla="*/ 2147483647 h 1500"/>
                <a:gd name="T42" fmla="*/ 2147483647 w 636"/>
                <a:gd name="T43" fmla="*/ 2147483647 h 1500"/>
                <a:gd name="T44" fmla="*/ 2147483647 w 636"/>
                <a:gd name="T45" fmla="*/ 2147483647 h 1500"/>
                <a:gd name="T46" fmla="*/ 2147483647 w 636"/>
                <a:gd name="T47" fmla="*/ 2147483647 h 1500"/>
                <a:gd name="T48" fmla="*/ 2147483647 w 636"/>
                <a:gd name="T49" fmla="*/ 2147483647 h 1500"/>
                <a:gd name="T50" fmla="*/ 2147483647 w 636"/>
                <a:gd name="T51" fmla="*/ 2147483647 h 1500"/>
                <a:gd name="T52" fmla="*/ 2147483647 w 636"/>
                <a:gd name="T53" fmla="*/ 2147483647 h 1500"/>
                <a:gd name="T54" fmla="*/ 2147483647 w 636"/>
                <a:gd name="T55" fmla="*/ 2147483647 h 1500"/>
                <a:gd name="T56" fmla="*/ 2147483647 w 636"/>
                <a:gd name="T57" fmla="*/ 2147483647 h 1500"/>
                <a:gd name="T58" fmla="*/ 2147483647 w 636"/>
                <a:gd name="T59" fmla="*/ 2147483647 h 1500"/>
                <a:gd name="T60" fmla="*/ 2147483647 w 636"/>
                <a:gd name="T61" fmla="*/ 2147483647 h 1500"/>
                <a:gd name="T62" fmla="*/ 2147483647 w 636"/>
                <a:gd name="T63" fmla="*/ 2147483647 h 1500"/>
                <a:gd name="T64" fmla="*/ 2147483647 w 636"/>
                <a:gd name="T65" fmla="*/ 2147483647 h 1500"/>
                <a:gd name="T66" fmla="*/ 2147483647 w 636"/>
                <a:gd name="T67" fmla="*/ 2147483647 h 1500"/>
                <a:gd name="T68" fmla="*/ 2147483647 w 636"/>
                <a:gd name="T69" fmla="*/ 2147483647 h 1500"/>
                <a:gd name="T70" fmla="*/ 2147483647 w 636"/>
                <a:gd name="T71" fmla="*/ 2147483647 h 1500"/>
                <a:gd name="T72" fmla="*/ 2147483647 w 636"/>
                <a:gd name="T73" fmla="*/ 2147483647 h 1500"/>
                <a:gd name="T74" fmla="*/ 2147483647 w 636"/>
                <a:gd name="T75" fmla="*/ 2147483647 h 1500"/>
                <a:gd name="T76" fmla="*/ 2147483647 w 636"/>
                <a:gd name="T77" fmla="*/ 2147483647 h 1500"/>
                <a:gd name="T78" fmla="*/ 2147483647 w 636"/>
                <a:gd name="T79" fmla="*/ 2147483647 h 1500"/>
                <a:gd name="T80" fmla="*/ 2147483647 w 636"/>
                <a:gd name="T81" fmla="*/ 2147483647 h 1500"/>
                <a:gd name="T82" fmla="*/ 2147483647 w 636"/>
                <a:gd name="T83" fmla="*/ 2147483647 h 1500"/>
                <a:gd name="T84" fmla="*/ 2147483647 w 636"/>
                <a:gd name="T85" fmla="*/ 2147483647 h 1500"/>
                <a:gd name="T86" fmla="*/ 2147483647 w 636"/>
                <a:gd name="T87" fmla="*/ 0 h 1500"/>
                <a:gd name="T88" fmla="*/ 2147483647 w 636"/>
                <a:gd name="T89" fmla="*/ 2147483647 h 1500"/>
                <a:gd name="T90" fmla="*/ 2147483647 w 636"/>
                <a:gd name="T91" fmla="*/ 2147483647 h 1500"/>
                <a:gd name="T92" fmla="*/ 2147483647 w 636"/>
                <a:gd name="T93" fmla="*/ 2147483647 h 1500"/>
                <a:gd name="T94" fmla="*/ 2147483647 w 636"/>
                <a:gd name="T95" fmla="*/ 2147483647 h 1500"/>
                <a:gd name="T96" fmla="*/ 2147483647 w 636"/>
                <a:gd name="T97" fmla="*/ 2147483647 h 1500"/>
                <a:gd name="T98" fmla="*/ 2147483647 w 636"/>
                <a:gd name="T99" fmla="*/ 2147483647 h 1500"/>
                <a:gd name="T100" fmla="*/ 2147483647 w 636"/>
                <a:gd name="T101" fmla="*/ 2147483647 h 1500"/>
                <a:gd name="T102" fmla="*/ 2147483647 w 636"/>
                <a:gd name="T103" fmla="*/ 2147483647 h 1500"/>
                <a:gd name="T104" fmla="*/ 2147483647 w 636"/>
                <a:gd name="T105" fmla="*/ 2147483647 h 1500"/>
                <a:gd name="T106" fmla="*/ 2147483647 w 636"/>
                <a:gd name="T107" fmla="*/ 2147483647 h 1500"/>
                <a:gd name="T108" fmla="*/ 2147483647 w 636"/>
                <a:gd name="T109" fmla="*/ 2147483647 h 15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636"/>
                <a:gd name="T166" fmla="*/ 0 h 1500"/>
                <a:gd name="T167" fmla="*/ 636 w 636"/>
                <a:gd name="T168" fmla="*/ 1500 h 150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636" h="1500">
                  <a:moveTo>
                    <a:pt x="0" y="588"/>
                  </a:moveTo>
                  <a:lnTo>
                    <a:pt x="18" y="588"/>
                  </a:lnTo>
                  <a:lnTo>
                    <a:pt x="12" y="630"/>
                  </a:lnTo>
                  <a:lnTo>
                    <a:pt x="18" y="630"/>
                  </a:lnTo>
                  <a:lnTo>
                    <a:pt x="24" y="636"/>
                  </a:lnTo>
                  <a:lnTo>
                    <a:pt x="42" y="642"/>
                  </a:lnTo>
                  <a:lnTo>
                    <a:pt x="54" y="648"/>
                  </a:lnTo>
                  <a:lnTo>
                    <a:pt x="72" y="666"/>
                  </a:lnTo>
                  <a:lnTo>
                    <a:pt x="84" y="690"/>
                  </a:lnTo>
                  <a:lnTo>
                    <a:pt x="90" y="696"/>
                  </a:lnTo>
                  <a:lnTo>
                    <a:pt x="90" y="702"/>
                  </a:lnTo>
                  <a:lnTo>
                    <a:pt x="126" y="696"/>
                  </a:lnTo>
                  <a:lnTo>
                    <a:pt x="102" y="738"/>
                  </a:lnTo>
                  <a:lnTo>
                    <a:pt x="108" y="738"/>
                  </a:lnTo>
                  <a:lnTo>
                    <a:pt x="114" y="744"/>
                  </a:lnTo>
                  <a:lnTo>
                    <a:pt x="126" y="744"/>
                  </a:lnTo>
                  <a:lnTo>
                    <a:pt x="144" y="750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74" y="780"/>
                  </a:lnTo>
                  <a:lnTo>
                    <a:pt x="186" y="792"/>
                  </a:lnTo>
                  <a:lnTo>
                    <a:pt x="192" y="804"/>
                  </a:lnTo>
                  <a:lnTo>
                    <a:pt x="192" y="822"/>
                  </a:lnTo>
                  <a:lnTo>
                    <a:pt x="198" y="834"/>
                  </a:lnTo>
                  <a:lnTo>
                    <a:pt x="198" y="840"/>
                  </a:lnTo>
                  <a:lnTo>
                    <a:pt x="204" y="846"/>
                  </a:lnTo>
                  <a:lnTo>
                    <a:pt x="210" y="858"/>
                  </a:lnTo>
                  <a:lnTo>
                    <a:pt x="222" y="870"/>
                  </a:lnTo>
                  <a:lnTo>
                    <a:pt x="210" y="888"/>
                  </a:lnTo>
                  <a:lnTo>
                    <a:pt x="216" y="978"/>
                  </a:lnTo>
                  <a:lnTo>
                    <a:pt x="204" y="990"/>
                  </a:lnTo>
                  <a:lnTo>
                    <a:pt x="204" y="1002"/>
                  </a:lnTo>
                  <a:lnTo>
                    <a:pt x="222" y="1020"/>
                  </a:lnTo>
                  <a:lnTo>
                    <a:pt x="234" y="1020"/>
                  </a:lnTo>
                  <a:lnTo>
                    <a:pt x="246" y="1014"/>
                  </a:lnTo>
                  <a:lnTo>
                    <a:pt x="252" y="1008"/>
                  </a:lnTo>
                  <a:lnTo>
                    <a:pt x="258" y="1014"/>
                  </a:lnTo>
                  <a:lnTo>
                    <a:pt x="258" y="1020"/>
                  </a:lnTo>
                  <a:lnTo>
                    <a:pt x="276" y="1020"/>
                  </a:lnTo>
                  <a:lnTo>
                    <a:pt x="282" y="1014"/>
                  </a:lnTo>
                  <a:lnTo>
                    <a:pt x="294" y="1008"/>
                  </a:lnTo>
                  <a:lnTo>
                    <a:pt x="300" y="996"/>
                  </a:lnTo>
                  <a:lnTo>
                    <a:pt x="306" y="990"/>
                  </a:lnTo>
                  <a:lnTo>
                    <a:pt x="312" y="978"/>
                  </a:lnTo>
                  <a:lnTo>
                    <a:pt x="324" y="978"/>
                  </a:lnTo>
                  <a:lnTo>
                    <a:pt x="360" y="960"/>
                  </a:lnTo>
                  <a:lnTo>
                    <a:pt x="366" y="954"/>
                  </a:lnTo>
                  <a:lnTo>
                    <a:pt x="366" y="900"/>
                  </a:lnTo>
                  <a:lnTo>
                    <a:pt x="372" y="894"/>
                  </a:lnTo>
                  <a:lnTo>
                    <a:pt x="378" y="894"/>
                  </a:lnTo>
                  <a:lnTo>
                    <a:pt x="396" y="912"/>
                  </a:lnTo>
                  <a:lnTo>
                    <a:pt x="402" y="924"/>
                  </a:lnTo>
                  <a:lnTo>
                    <a:pt x="402" y="954"/>
                  </a:lnTo>
                  <a:lnTo>
                    <a:pt x="408" y="954"/>
                  </a:lnTo>
                  <a:lnTo>
                    <a:pt x="426" y="972"/>
                  </a:lnTo>
                  <a:lnTo>
                    <a:pt x="432" y="984"/>
                  </a:lnTo>
                  <a:lnTo>
                    <a:pt x="444" y="1014"/>
                  </a:lnTo>
                  <a:lnTo>
                    <a:pt x="450" y="1050"/>
                  </a:lnTo>
                  <a:lnTo>
                    <a:pt x="450" y="1074"/>
                  </a:lnTo>
                  <a:lnTo>
                    <a:pt x="456" y="1092"/>
                  </a:lnTo>
                  <a:lnTo>
                    <a:pt x="456" y="1128"/>
                  </a:lnTo>
                  <a:lnTo>
                    <a:pt x="462" y="1134"/>
                  </a:lnTo>
                  <a:lnTo>
                    <a:pt x="480" y="1170"/>
                  </a:lnTo>
                  <a:lnTo>
                    <a:pt x="486" y="1176"/>
                  </a:lnTo>
                  <a:lnTo>
                    <a:pt x="486" y="1182"/>
                  </a:lnTo>
                  <a:lnTo>
                    <a:pt x="528" y="1272"/>
                  </a:lnTo>
                  <a:lnTo>
                    <a:pt x="540" y="1320"/>
                  </a:lnTo>
                  <a:lnTo>
                    <a:pt x="522" y="1320"/>
                  </a:lnTo>
                  <a:lnTo>
                    <a:pt x="516" y="1326"/>
                  </a:lnTo>
                  <a:lnTo>
                    <a:pt x="516" y="1350"/>
                  </a:lnTo>
                  <a:lnTo>
                    <a:pt x="510" y="1362"/>
                  </a:lnTo>
                  <a:lnTo>
                    <a:pt x="510" y="1374"/>
                  </a:lnTo>
                  <a:lnTo>
                    <a:pt x="552" y="1362"/>
                  </a:lnTo>
                  <a:lnTo>
                    <a:pt x="540" y="1416"/>
                  </a:lnTo>
                  <a:lnTo>
                    <a:pt x="540" y="1428"/>
                  </a:lnTo>
                  <a:lnTo>
                    <a:pt x="534" y="1440"/>
                  </a:lnTo>
                  <a:lnTo>
                    <a:pt x="534" y="1464"/>
                  </a:lnTo>
                  <a:lnTo>
                    <a:pt x="540" y="1482"/>
                  </a:lnTo>
                  <a:lnTo>
                    <a:pt x="540" y="1488"/>
                  </a:lnTo>
                  <a:lnTo>
                    <a:pt x="546" y="1500"/>
                  </a:lnTo>
                  <a:lnTo>
                    <a:pt x="552" y="1488"/>
                  </a:lnTo>
                  <a:lnTo>
                    <a:pt x="558" y="1482"/>
                  </a:lnTo>
                  <a:lnTo>
                    <a:pt x="564" y="1470"/>
                  </a:lnTo>
                  <a:lnTo>
                    <a:pt x="564" y="1458"/>
                  </a:lnTo>
                  <a:lnTo>
                    <a:pt x="558" y="1452"/>
                  </a:lnTo>
                  <a:lnTo>
                    <a:pt x="558" y="1440"/>
                  </a:lnTo>
                  <a:lnTo>
                    <a:pt x="576" y="1422"/>
                  </a:lnTo>
                  <a:lnTo>
                    <a:pt x="594" y="1386"/>
                  </a:lnTo>
                  <a:lnTo>
                    <a:pt x="594" y="1368"/>
                  </a:lnTo>
                  <a:lnTo>
                    <a:pt x="600" y="1356"/>
                  </a:lnTo>
                  <a:lnTo>
                    <a:pt x="600" y="1326"/>
                  </a:lnTo>
                  <a:lnTo>
                    <a:pt x="594" y="1314"/>
                  </a:lnTo>
                  <a:lnTo>
                    <a:pt x="594" y="1290"/>
                  </a:lnTo>
                  <a:lnTo>
                    <a:pt x="570" y="1266"/>
                  </a:lnTo>
                  <a:lnTo>
                    <a:pt x="570" y="1242"/>
                  </a:lnTo>
                  <a:lnTo>
                    <a:pt x="564" y="1224"/>
                  </a:lnTo>
                  <a:lnTo>
                    <a:pt x="564" y="1194"/>
                  </a:lnTo>
                  <a:lnTo>
                    <a:pt x="558" y="1182"/>
                  </a:lnTo>
                  <a:lnTo>
                    <a:pt x="516" y="1140"/>
                  </a:lnTo>
                  <a:lnTo>
                    <a:pt x="510" y="1128"/>
                  </a:lnTo>
                  <a:lnTo>
                    <a:pt x="504" y="1122"/>
                  </a:lnTo>
                  <a:lnTo>
                    <a:pt x="498" y="1110"/>
                  </a:lnTo>
                  <a:lnTo>
                    <a:pt x="492" y="1104"/>
                  </a:lnTo>
                  <a:lnTo>
                    <a:pt x="492" y="1098"/>
                  </a:lnTo>
                  <a:lnTo>
                    <a:pt x="486" y="1092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6" y="1038"/>
                  </a:lnTo>
                  <a:lnTo>
                    <a:pt x="516" y="1014"/>
                  </a:lnTo>
                  <a:lnTo>
                    <a:pt x="510" y="1002"/>
                  </a:lnTo>
                  <a:lnTo>
                    <a:pt x="522" y="1002"/>
                  </a:lnTo>
                  <a:lnTo>
                    <a:pt x="528" y="996"/>
                  </a:lnTo>
                  <a:lnTo>
                    <a:pt x="528" y="978"/>
                  </a:lnTo>
                  <a:lnTo>
                    <a:pt x="522" y="972"/>
                  </a:lnTo>
                  <a:lnTo>
                    <a:pt x="516" y="978"/>
                  </a:lnTo>
                  <a:lnTo>
                    <a:pt x="510" y="978"/>
                  </a:lnTo>
                  <a:lnTo>
                    <a:pt x="504" y="972"/>
                  </a:lnTo>
                  <a:lnTo>
                    <a:pt x="498" y="960"/>
                  </a:lnTo>
                  <a:lnTo>
                    <a:pt x="498" y="942"/>
                  </a:lnTo>
                  <a:lnTo>
                    <a:pt x="504" y="942"/>
                  </a:lnTo>
                  <a:lnTo>
                    <a:pt x="504" y="936"/>
                  </a:lnTo>
                  <a:lnTo>
                    <a:pt x="498" y="930"/>
                  </a:lnTo>
                  <a:lnTo>
                    <a:pt x="486" y="924"/>
                  </a:lnTo>
                  <a:lnTo>
                    <a:pt x="474" y="912"/>
                  </a:lnTo>
                  <a:lnTo>
                    <a:pt x="462" y="906"/>
                  </a:lnTo>
                  <a:lnTo>
                    <a:pt x="444" y="888"/>
                  </a:lnTo>
                  <a:lnTo>
                    <a:pt x="438" y="876"/>
                  </a:lnTo>
                  <a:lnTo>
                    <a:pt x="438" y="870"/>
                  </a:lnTo>
                  <a:lnTo>
                    <a:pt x="432" y="870"/>
                  </a:lnTo>
                  <a:lnTo>
                    <a:pt x="438" y="846"/>
                  </a:lnTo>
                  <a:lnTo>
                    <a:pt x="426" y="840"/>
                  </a:lnTo>
                  <a:lnTo>
                    <a:pt x="402" y="816"/>
                  </a:lnTo>
                  <a:lnTo>
                    <a:pt x="402" y="810"/>
                  </a:lnTo>
                  <a:lnTo>
                    <a:pt x="426" y="810"/>
                  </a:lnTo>
                  <a:lnTo>
                    <a:pt x="426" y="792"/>
                  </a:lnTo>
                  <a:lnTo>
                    <a:pt x="408" y="774"/>
                  </a:lnTo>
                  <a:lnTo>
                    <a:pt x="408" y="768"/>
                  </a:lnTo>
                  <a:lnTo>
                    <a:pt x="414" y="762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26" y="708"/>
                  </a:lnTo>
                  <a:lnTo>
                    <a:pt x="456" y="708"/>
                  </a:lnTo>
                  <a:lnTo>
                    <a:pt x="468" y="714"/>
                  </a:lnTo>
                  <a:lnTo>
                    <a:pt x="480" y="714"/>
                  </a:lnTo>
                  <a:lnTo>
                    <a:pt x="486" y="708"/>
                  </a:lnTo>
                  <a:lnTo>
                    <a:pt x="492" y="696"/>
                  </a:lnTo>
                  <a:lnTo>
                    <a:pt x="498" y="690"/>
                  </a:lnTo>
                  <a:lnTo>
                    <a:pt x="498" y="684"/>
                  </a:lnTo>
                  <a:lnTo>
                    <a:pt x="522" y="684"/>
                  </a:lnTo>
                  <a:lnTo>
                    <a:pt x="528" y="660"/>
                  </a:lnTo>
                  <a:lnTo>
                    <a:pt x="534" y="660"/>
                  </a:lnTo>
                  <a:lnTo>
                    <a:pt x="540" y="654"/>
                  </a:lnTo>
                  <a:lnTo>
                    <a:pt x="564" y="654"/>
                  </a:lnTo>
                  <a:lnTo>
                    <a:pt x="564" y="642"/>
                  </a:lnTo>
                  <a:lnTo>
                    <a:pt x="582" y="624"/>
                  </a:lnTo>
                  <a:lnTo>
                    <a:pt x="594" y="624"/>
                  </a:lnTo>
                  <a:lnTo>
                    <a:pt x="600" y="618"/>
                  </a:lnTo>
                  <a:lnTo>
                    <a:pt x="594" y="612"/>
                  </a:lnTo>
                  <a:lnTo>
                    <a:pt x="600" y="600"/>
                  </a:lnTo>
                  <a:lnTo>
                    <a:pt x="600" y="588"/>
                  </a:lnTo>
                  <a:lnTo>
                    <a:pt x="636" y="570"/>
                  </a:lnTo>
                  <a:lnTo>
                    <a:pt x="636" y="552"/>
                  </a:lnTo>
                  <a:lnTo>
                    <a:pt x="630" y="546"/>
                  </a:lnTo>
                  <a:lnTo>
                    <a:pt x="618" y="546"/>
                  </a:lnTo>
                  <a:lnTo>
                    <a:pt x="600" y="564"/>
                  </a:lnTo>
                  <a:lnTo>
                    <a:pt x="600" y="570"/>
                  </a:lnTo>
                  <a:lnTo>
                    <a:pt x="558" y="570"/>
                  </a:lnTo>
                  <a:lnTo>
                    <a:pt x="558" y="552"/>
                  </a:lnTo>
                  <a:lnTo>
                    <a:pt x="546" y="552"/>
                  </a:lnTo>
                  <a:lnTo>
                    <a:pt x="534" y="522"/>
                  </a:lnTo>
                  <a:lnTo>
                    <a:pt x="480" y="516"/>
                  </a:lnTo>
                  <a:lnTo>
                    <a:pt x="486" y="504"/>
                  </a:lnTo>
                  <a:lnTo>
                    <a:pt x="486" y="498"/>
                  </a:lnTo>
                  <a:lnTo>
                    <a:pt x="492" y="492"/>
                  </a:lnTo>
                  <a:lnTo>
                    <a:pt x="492" y="480"/>
                  </a:lnTo>
                  <a:lnTo>
                    <a:pt x="480" y="468"/>
                  </a:lnTo>
                  <a:lnTo>
                    <a:pt x="486" y="462"/>
                  </a:lnTo>
                  <a:lnTo>
                    <a:pt x="498" y="462"/>
                  </a:lnTo>
                  <a:lnTo>
                    <a:pt x="504" y="456"/>
                  </a:lnTo>
                  <a:lnTo>
                    <a:pt x="504" y="450"/>
                  </a:lnTo>
                  <a:lnTo>
                    <a:pt x="498" y="444"/>
                  </a:lnTo>
                  <a:lnTo>
                    <a:pt x="486" y="438"/>
                  </a:lnTo>
                  <a:lnTo>
                    <a:pt x="456" y="438"/>
                  </a:lnTo>
                  <a:lnTo>
                    <a:pt x="444" y="396"/>
                  </a:lnTo>
                  <a:lnTo>
                    <a:pt x="420" y="378"/>
                  </a:lnTo>
                  <a:lnTo>
                    <a:pt x="450" y="354"/>
                  </a:lnTo>
                  <a:lnTo>
                    <a:pt x="390" y="354"/>
                  </a:lnTo>
                  <a:lnTo>
                    <a:pt x="384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66" y="354"/>
                  </a:lnTo>
                  <a:lnTo>
                    <a:pt x="360" y="342"/>
                  </a:lnTo>
                  <a:lnTo>
                    <a:pt x="342" y="324"/>
                  </a:lnTo>
                  <a:lnTo>
                    <a:pt x="342" y="306"/>
                  </a:lnTo>
                  <a:lnTo>
                    <a:pt x="354" y="306"/>
                  </a:lnTo>
                  <a:lnTo>
                    <a:pt x="348" y="276"/>
                  </a:lnTo>
                  <a:lnTo>
                    <a:pt x="360" y="276"/>
                  </a:lnTo>
                  <a:lnTo>
                    <a:pt x="366" y="270"/>
                  </a:lnTo>
                  <a:lnTo>
                    <a:pt x="366" y="234"/>
                  </a:lnTo>
                  <a:lnTo>
                    <a:pt x="372" y="240"/>
                  </a:lnTo>
                  <a:lnTo>
                    <a:pt x="384" y="240"/>
                  </a:lnTo>
                  <a:lnTo>
                    <a:pt x="390" y="234"/>
                  </a:lnTo>
                  <a:lnTo>
                    <a:pt x="396" y="222"/>
                  </a:lnTo>
                  <a:lnTo>
                    <a:pt x="396" y="216"/>
                  </a:lnTo>
                  <a:lnTo>
                    <a:pt x="378" y="198"/>
                  </a:lnTo>
                  <a:lnTo>
                    <a:pt x="390" y="198"/>
                  </a:lnTo>
                  <a:lnTo>
                    <a:pt x="396" y="192"/>
                  </a:lnTo>
                  <a:lnTo>
                    <a:pt x="408" y="192"/>
                  </a:lnTo>
                  <a:lnTo>
                    <a:pt x="396" y="132"/>
                  </a:lnTo>
                  <a:lnTo>
                    <a:pt x="384" y="10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42" y="72"/>
                  </a:lnTo>
                  <a:lnTo>
                    <a:pt x="342" y="66"/>
                  </a:lnTo>
                  <a:lnTo>
                    <a:pt x="336" y="60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300" y="6"/>
                  </a:lnTo>
                  <a:lnTo>
                    <a:pt x="294" y="0"/>
                  </a:lnTo>
                  <a:lnTo>
                    <a:pt x="288" y="0"/>
                  </a:lnTo>
                  <a:lnTo>
                    <a:pt x="282" y="18"/>
                  </a:lnTo>
                  <a:lnTo>
                    <a:pt x="282" y="48"/>
                  </a:lnTo>
                  <a:lnTo>
                    <a:pt x="276" y="48"/>
                  </a:lnTo>
                  <a:lnTo>
                    <a:pt x="270" y="54"/>
                  </a:lnTo>
                  <a:lnTo>
                    <a:pt x="258" y="60"/>
                  </a:lnTo>
                  <a:lnTo>
                    <a:pt x="246" y="72"/>
                  </a:lnTo>
                  <a:lnTo>
                    <a:pt x="252" y="84"/>
                  </a:lnTo>
                  <a:lnTo>
                    <a:pt x="258" y="90"/>
                  </a:lnTo>
                  <a:lnTo>
                    <a:pt x="270" y="96"/>
                  </a:lnTo>
                  <a:lnTo>
                    <a:pt x="276" y="102"/>
                  </a:lnTo>
                  <a:lnTo>
                    <a:pt x="276" y="108"/>
                  </a:lnTo>
                  <a:lnTo>
                    <a:pt x="258" y="108"/>
                  </a:lnTo>
                  <a:lnTo>
                    <a:pt x="252" y="102"/>
                  </a:lnTo>
                  <a:lnTo>
                    <a:pt x="216" y="102"/>
                  </a:lnTo>
                  <a:lnTo>
                    <a:pt x="204" y="108"/>
                  </a:lnTo>
                  <a:lnTo>
                    <a:pt x="198" y="108"/>
                  </a:lnTo>
                  <a:lnTo>
                    <a:pt x="198" y="126"/>
                  </a:lnTo>
                  <a:lnTo>
                    <a:pt x="186" y="138"/>
                  </a:lnTo>
                  <a:lnTo>
                    <a:pt x="174" y="144"/>
                  </a:lnTo>
                  <a:lnTo>
                    <a:pt x="162" y="144"/>
                  </a:lnTo>
                  <a:lnTo>
                    <a:pt x="156" y="150"/>
                  </a:lnTo>
                  <a:lnTo>
                    <a:pt x="150" y="150"/>
                  </a:lnTo>
                  <a:lnTo>
                    <a:pt x="150" y="174"/>
                  </a:lnTo>
                  <a:lnTo>
                    <a:pt x="156" y="180"/>
                  </a:lnTo>
                  <a:lnTo>
                    <a:pt x="156" y="186"/>
                  </a:lnTo>
                  <a:lnTo>
                    <a:pt x="162" y="192"/>
                  </a:lnTo>
                  <a:lnTo>
                    <a:pt x="162" y="204"/>
                  </a:lnTo>
                  <a:lnTo>
                    <a:pt x="144" y="234"/>
                  </a:lnTo>
                  <a:lnTo>
                    <a:pt x="138" y="240"/>
                  </a:lnTo>
                  <a:lnTo>
                    <a:pt x="126" y="246"/>
                  </a:lnTo>
                  <a:lnTo>
                    <a:pt x="126" y="264"/>
                  </a:lnTo>
                  <a:lnTo>
                    <a:pt x="132" y="276"/>
                  </a:lnTo>
                  <a:lnTo>
                    <a:pt x="138" y="282"/>
                  </a:lnTo>
                  <a:lnTo>
                    <a:pt x="120" y="336"/>
                  </a:lnTo>
                  <a:lnTo>
                    <a:pt x="120" y="372"/>
                  </a:lnTo>
                  <a:lnTo>
                    <a:pt x="108" y="372"/>
                  </a:lnTo>
                  <a:lnTo>
                    <a:pt x="96" y="366"/>
                  </a:lnTo>
                  <a:lnTo>
                    <a:pt x="42" y="366"/>
                  </a:lnTo>
                  <a:lnTo>
                    <a:pt x="48" y="366"/>
                  </a:lnTo>
                  <a:lnTo>
                    <a:pt x="66" y="384"/>
                  </a:lnTo>
                  <a:lnTo>
                    <a:pt x="72" y="432"/>
                  </a:lnTo>
                  <a:lnTo>
                    <a:pt x="66" y="432"/>
                  </a:lnTo>
                  <a:lnTo>
                    <a:pt x="48" y="450"/>
                  </a:lnTo>
                  <a:lnTo>
                    <a:pt x="54" y="462"/>
                  </a:lnTo>
                  <a:lnTo>
                    <a:pt x="54" y="486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0" y="516"/>
                  </a:lnTo>
                  <a:lnTo>
                    <a:pt x="54" y="510"/>
                  </a:lnTo>
                  <a:lnTo>
                    <a:pt x="48" y="510"/>
                  </a:lnTo>
                  <a:lnTo>
                    <a:pt x="48" y="534"/>
                  </a:lnTo>
                  <a:lnTo>
                    <a:pt x="30" y="516"/>
                  </a:lnTo>
                  <a:lnTo>
                    <a:pt x="42" y="576"/>
                  </a:lnTo>
                  <a:lnTo>
                    <a:pt x="6" y="570"/>
                  </a:lnTo>
                  <a:lnTo>
                    <a:pt x="6" y="576"/>
                  </a:lnTo>
                  <a:lnTo>
                    <a:pt x="0" y="58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84" name="Mozambique" descr="© INSCALE GmbH, 05.05.2010&#10;http://www.presentationload.com/"/>
            <p:cNvSpPr>
              <a:spLocks/>
            </p:cNvSpPr>
            <p:nvPr/>
          </p:nvSpPr>
          <p:spPr bwMode="gray">
            <a:xfrm>
              <a:off x="5158133" y="4567125"/>
              <a:ext cx="247009" cy="415204"/>
            </a:xfrm>
            <a:custGeom>
              <a:avLst/>
              <a:gdLst>
                <a:gd name="T0" fmla="*/ 2147483647 w 762"/>
                <a:gd name="T1" fmla="*/ 2147483647 h 1338"/>
                <a:gd name="T2" fmla="*/ 2147483647 w 762"/>
                <a:gd name="T3" fmla="*/ 2147483647 h 1338"/>
                <a:gd name="T4" fmla="*/ 2147483647 w 762"/>
                <a:gd name="T5" fmla="*/ 2147483647 h 1338"/>
                <a:gd name="T6" fmla="*/ 2147483647 w 762"/>
                <a:gd name="T7" fmla="*/ 2147483647 h 1338"/>
                <a:gd name="T8" fmla="*/ 2147483647 w 762"/>
                <a:gd name="T9" fmla="*/ 2147483647 h 1338"/>
                <a:gd name="T10" fmla="*/ 2147483647 w 762"/>
                <a:gd name="T11" fmla="*/ 2147483647 h 1338"/>
                <a:gd name="T12" fmla="*/ 2147483647 w 762"/>
                <a:gd name="T13" fmla="*/ 2147483647 h 1338"/>
                <a:gd name="T14" fmla="*/ 2147483647 w 762"/>
                <a:gd name="T15" fmla="*/ 2147483647 h 1338"/>
                <a:gd name="T16" fmla="*/ 2147483647 w 762"/>
                <a:gd name="T17" fmla="*/ 2147483647 h 1338"/>
                <a:gd name="T18" fmla="*/ 2147483647 w 762"/>
                <a:gd name="T19" fmla="*/ 2147483647 h 1338"/>
                <a:gd name="T20" fmla="*/ 2147483647 w 762"/>
                <a:gd name="T21" fmla="*/ 2147483647 h 1338"/>
                <a:gd name="T22" fmla="*/ 2147483647 w 762"/>
                <a:gd name="T23" fmla="*/ 2147483647 h 1338"/>
                <a:gd name="T24" fmla="*/ 2147483647 w 762"/>
                <a:gd name="T25" fmla="*/ 2147483647 h 1338"/>
                <a:gd name="T26" fmla="*/ 2147483647 w 762"/>
                <a:gd name="T27" fmla="*/ 2147483647 h 1338"/>
                <a:gd name="T28" fmla="*/ 2147483647 w 762"/>
                <a:gd name="T29" fmla="*/ 2147483647 h 1338"/>
                <a:gd name="T30" fmla="*/ 2147483647 w 762"/>
                <a:gd name="T31" fmla="*/ 2147483647 h 1338"/>
                <a:gd name="T32" fmla="*/ 2147483647 w 762"/>
                <a:gd name="T33" fmla="*/ 2147483647 h 1338"/>
                <a:gd name="T34" fmla="*/ 2147483647 w 762"/>
                <a:gd name="T35" fmla="*/ 2147483647 h 1338"/>
                <a:gd name="T36" fmla="*/ 2147483647 w 762"/>
                <a:gd name="T37" fmla="*/ 2147483647 h 1338"/>
                <a:gd name="T38" fmla="*/ 2147483647 w 762"/>
                <a:gd name="T39" fmla="*/ 2147483647 h 1338"/>
                <a:gd name="T40" fmla="*/ 2147483647 w 762"/>
                <a:gd name="T41" fmla="*/ 2147483647 h 1338"/>
                <a:gd name="T42" fmla="*/ 2147483647 w 762"/>
                <a:gd name="T43" fmla="*/ 2147483647 h 1338"/>
                <a:gd name="T44" fmla="*/ 2147483647 w 762"/>
                <a:gd name="T45" fmla="*/ 2147483647 h 1338"/>
                <a:gd name="T46" fmla="*/ 2147483647 w 762"/>
                <a:gd name="T47" fmla="*/ 2147483647 h 1338"/>
                <a:gd name="T48" fmla="*/ 2147483647 w 762"/>
                <a:gd name="T49" fmla="*/ 2147483647 h 1338"/>
                <a:gd name="T50" fmla="*/ 2147483647 w 762"/>
                <a:gd name="T51" fmla="*/ 2147483647 h 1338"/>
                <a:gd name="T52" fmla="*/ 2147483647 w 762"/>
                <a:gd name="T53" fmla="*/ 2147483647 h 1338"/>
                <a:gd name="T54" fmla="*/ 2147483647 w 762"/>
                <a:gd name="T55" fmla="*/ 2147483647 h 1338"/>
                <a:gd name="T56" fmla="*/ 0 w 762"/>
                <a:gd name="T57" fmla="*/ 2147483647 h 1338"/>
                <a:gd name="T58" fmla="*/ 2147483647 w 762"/>
                <a:gd name="T59" fmla="*/ 2147483647 h 1338"/>
                <a:gd name="T60" fmla="*/ 2147483647 w 762"/>
                <a:gd name="T61" fmla="*/ 2147483647 h 1338"/>
                <a:gd name="T62" fmla="*/ 2147483647 w 762"/>
                <a:gd name="T63" fmla="*/ 2147483647 h 1338"/>
                <a:gd name="T64" fmla="*/ 2147483647 w 762"/>
                <a:gd name="T65" fmla="*/ 2147483647 h 1338"/>
                <a:gd name="T66" fmla="*/ 2147483647 w 762"/>
                <a:gd name="T67" fmla="*/ 2147483647 h 1338"/>
                <a:gd name="T68" fmla="*/ 2147483647 w 762"/>
                <a:gd name="T69" fmla="*/ 2147483647 h 1338"/>
                <a:gd name="T70" fmla="*/ 2147483647 w 762"/>
                <a:gd name="T71" fmla="*/ 2147483647 h 1338"/>
                <a:gd name="T72" fmla="*/ 2147483647 w 762"/>
                <a:gd name="T73" fmla="*/ 2147483647 h 1338"/>
                <a:gd name="T74" fmla="*/ 2147483647 w 762"/>
                <a:gd name="T75" fmla="*/ 2147483647 h 1338"/>
                <a:gd name="T76" fmla="*/ 2147483647 w 762"/>
                <a:gd name="T77" fmla="*/ 2147483647 h 1338"/>
                <a:gd name="T78" fmla="*/ 2147483647 w 762"/>
                <a:gd name="T79" fmla="*/ 2147483647 h 1338"/>
                <a:gd name="T80" fmla="*/ 2147483647 w 762"/>
                <a:gd name="T81" fmla="*/ 2147483647 h 1338"/>
                <a:gd name="T82" fmla="*/ 2147483647 w 762"/>
                <a:gd name="T83" fmla="*/ 2147483647 h 1338"/>
                <a:gd name="T84" fmla="*/ 2147483647 w 762"/>
                <a:gd name="T85" fmla="*/ 2147483647 h 1338"/>
                <a:gd name="T86" fmla="*/ 2147483647 w 762"/>
                <a:gd name="T87" fmla="*/ 2147483647 h 1338"/>
                <a:gd name="T88" fmla="*/ 2147483647 w 762"/>
                <a:gd name="T89" fmla="*/ 2147483647 h 1338"/>
                <a:gd name="T90" fmla="*/ 2147483647 w 762"/>
                <a:gd name="T91" fmla="*/ 2147483647 h 1338"/>
                <a:gd name="T92" fmla="*/ 2147483647 w 762"/>
                <a:gd name="T93" fmla="*/ 2147483647 h 1338"/>
                <a:gd name="T94" fmla="*/ 2147483647 w 762"/>
                <a:gd name="T95" fmla="*/ 2147483647 h 1338"/>
                <a:gd name="T96" fmla="*/ 2147483647 w 762"/>
                <a:gd name="T97" fmla="*/ 2147483647 h 1338"/>
                <a:gd name="T98" fmla="*/ 2147483647 w 762"/>
                <a:gd name="T99" fmla="*/ 2147483647 h 1338"/>
                <a:gd name="T100" fmla="*/ 2147483647 w 762"/>
                <a:gd name="T101" fmla="*/ 2147483647 h 1338"/>
                <a:gd name="T102" fmla="*/ 2147483647 w 762"/>
                <a:gd name="T103" fmla="*/ 2147483647 h 1338"/>
                <a:gd name="T104" fmla="*/ 2147483647 w 762"/>
                <a:gd name="T105" fmla="*/ 2147483647 h 1338"/>
                <a:gd name="T106" fmla="*/ 2147483647 w 762"/>
                <a:gd name="T107" fmla="*/ 2147483647 h 1338"/>
                <a:gd name="T108" fmla="*/ 2147483647 w 762"/>
                <a:gd name="T109" fmla="*/ 2147483647 h 1338"/>
                <a:gd name="T110" fmla="*/ 2147483647 w 762"/>
                <a:gd name="T111" fmla="*/ 2147483647 h 1338"/>
                <a:gd name="T112" fmla="*/ 2147483647 w 762"/>
                <a:gd name="T113" fmla="*/ 2147483647 h 1338"/>
                <a:gd name="T114" fmla="*/ 2147483647 w 762"/>
                <a:gd name="T115" fmla="*/ 2147483647 h 1338"/>
                <a:gd name="T116" fmla="*/ 2147483647 w 762"/>
                <a:gd name="T117" fmla="*/ 2147483647 h 1338"/>
                <a:gd name="T118" fmla="*/ 2147483647 w 762"/>
                <a:gd name="T119" fmla="*/ 2147483647 h 1338"/>
                <a:gd name="T120" fmla="*/ 2147483647 w 762"/>
                <a:gd name="T121" fmla="*/ 2147483647 h 1338"/>
                <a:gd name="T122" fmla="*/ 2147483647 w 762"/>
                <a:gd name="T123" fmla="*/ 2147483647 h 133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2"/>
                <a:gd name="T187" fmla="*/ 0 h 1338"/>
                <a:gd name="T188" fmla="*/ 762 w 762"/>
                <a:gd name="T189" fmla="*/ 1338 h 133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2" h="1338">
                  <a:moveTo>
                    <a:pt x="762" y="342"/>
                  </a:moveTo>
                  <a:lnTo>
                    <a:pt x="762" y="324"/>
                  </a:lnTo>
                  <a:lnTo>
                    <a:pt x="756" y="318"/>
                  </a:lnTo>
                  <a:lnTo>
                    <a:pt x="744" y="318"/>
                  </a:lnTo>
                  <a:lnTo>
                    <a:pt x="744" y="258"/>
                  </a:lnTo>
                  <a:lnTo>
                    <a:pt x="732" y="246"/>
                  </a:lnTo>
                  <a:lnTo>
                    <a:pt x="750" y="234"/>
                  </a:lnTo>
                  <a:lnTo>
                    <a:pt x="738" y="186"/>
                  </a:lnTo>
                  <a:lnTo>
                    <a:pt x="750" y="156"/>
                  </a:lnTo>
                  <a:lnTo>
                    <a:pt x="738" y="120"/>
                  </a:lnTo>
                  <a:lnTo>
                    <a:pt x="738" y="108"/>
                  </a:lnTo>
                  <a:lnTo>
                    <a:pt x="750" y="72"/>
                  </a:lnTo>
                  <a:lnTo>
                    <a:pt x="756" y="42"/>
                  </a:lnTo>
                  <a:lnTo>
                    <a:pt x="756" y="12"/>
                  </a:lnTo>
                  <a:lnTo>
                    <a:pt x="744" y="0"/>
                  </a:lnTo>
                  <a:lnTo>
                    <a:pt x="666" y="54"/>
                  </a:lnTo>
                  <a:lnTo>
                    <a:pt x="636" y="60"/>
                  </a:lnTo>
                  <a:lnTo>
                    <a:pt x="630" y="60"/>
                  </a:lnTo>
                  <a:lnTo>
                    <a:pt x="618" y="72"/>
                  </a:lnTo>
                  <a:lnTo>
                    <a:pt x="606" y="78"/>
                  </a:lnTo>
                  <a:lnTo>
                    <a:pt x="594" y="78"/>
                  </a:lnTo>
                  <a:lnTo>
                    <a:pt x="594" y="72"/>
                  </a:lnTo>
                  <a:lnTo>
                    <a:pt x="588" y="66"/>
                  </a:lnTo>
                  <a:lnTo>
                    <a:pt x="564" y="66"/>
                  </a:lnTo>
                  <a:lnTo>
                    <a:pt x="558" y="72"/>
                  </a:lnTo>
                  <a:lnTo>
                    <a:pt x="552" y="84"/>
                  </a:lnTo>
                  <a:lnTo>
                    <a:pt x="540" y="90"/>
                  </a:lnTo>
                  <a:lnTo>
                    <a:pt x="528" y="102"/>
                  </a:lnTo>
                  <a:lnTo>
                    <a:pt x="510" y="102"/>
                  </a:lnTo>
                  <a:lnTo>
                    <a:pt x="498" y="96"/>
                  </a:lnTo>
                  <a:lnTo>
                    <a:pt x="492" y="90"/>
                  </a:lnTo>
                  <a:lnTo>
                    <a:pt x="486" y="90"/>
                  </a:lnTo>
                  <a:lnTo>
                    <a:pt x="468" y="108"/>
                  </a:lnTo>
                  <a:lnTo>
                    <a:pt x="456" y="108"/>
                  </a:lnTo>
                  <a:lnTo>
                    <a:pt x="450" y="102"/>
                  </a:lnTo>
                  <a:lnTo>
                    <a:pt x="438" y="96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8" y="78"/>
                  </a:lnTo>
                  <a:lnTo>
                    <a:pt x="396" y="90"/>
                  </a:lnTo>
                  <a:lnTo>
                    <a:pt x="390" y="90"/>
                  </a:lnTo>
                  <a:lnTo>
                    <a:pt x="384" y="96"/>
                  </a:lnTo>
                  <a:lnTo>
                    <a:pt x="354" y="96"/>
                  </a:lnTo>
                  <a:lnTo>
                    <a:pt x="354" y="114"/>
                  </a:lnTo>
                  <a:lnTo>
                    <a:pt x="330" y="138"/>
                  </a:lnTo>
                  <a:lnTo>
                    <a:pt x="330" y="150"/>
                  </a:lnTo>
                  <a:lnTo>
                    <a:pt x="342" y="162"/>
                  </a:lnTo>
                  <a:lnTo>
                    <a:pt x="348" y="174"/>
                  </a:lnTo>
                  <a:lnTo>
                    <a:pt x="348" y="204"/>
                  </a:lnTo>
                  <a:lnTo>
                    <a:pt x="342" y="216"/>
                  </a:lnTo>
                  <a:lnTo>
                    <a:pt x="336" y="234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2" y="252"/>
                  </a:lnTo>
                  <a:lnTo>
                    <a:pt x="348" y="252"/>
                  </a:lnTo>
                  <a:lnTo>
                    <a:pt x="372" y="276"/>
                  </a:lnTo>
                  <a:lnTo>
                    <a:pt x="384" y="300"/>
                  </a:lnTo>
                  <a:lnTo>
                    <a:pt x="390" y="306"/>
                  </a:lnTo>
                  <a:lnTo>
                    <a:pt x="396" y="318"/>
                  </a:lnTo>
                  <a:lnTo>
                    <a:pt x="408" y="336"/>
                  </a:lnTo>
                  <a:lnTo>
                    <a:pt x="420" y="348"/>
                  </a:lnTo>
                  <a:lnTo>
                    <a:pt x="420" y="366"/>
                  </a:lnTo>
                  <a:lnTo>
                    <a:pt x="414" y="372"/>
                  </a:lnTo>
                  <a:lnTo>
                    <a:pt x="408" y="384"/>
                  </a:lnTo>
                  <a:lnTo>
                    <a:pt x="402" y="390"/>
                  </a:lnTo>
                  <a:lnTo>
                    <a:pt x="402" y="450"/>
                  </a:lnTo>
                  <a:lnTo>
                    <a:pt x="396" y="456"/>
                  </a:lnTo>
                  <a:lnTo>
                    <a:pt x="372" y="456"/>
                  </a:lnTo>
                  <a:lnTo>
                    <a:pt x="360" y="462"/>
                  </a:lnTo>
                  <a:lnTo>
                    <a:pt x="354" y="474"/>
                  </a:lnTo>
                  <a:lnTo>
                    <a:pt x="354" y="492"/>
                  </a:lnTo>
                  <a:lnTo>
                    <a:pt x="360" y="492"/>
                  </a:lnTo>
                  <a:lnTo>
                    <a:pt x="366" y="498"/>
                  </a:lnTo>
                  <a:lnTo>
                    <a:pt x="366" y="528"/>
                  </a:lnTo>
                  <a:lnTo>
                    <a:pt x="354" y="534"/>
                  </a:lnTo>
                  <a:lnTo>
                    <a:pt x="348" y="540"/>
                  </a:lnTo>
                  <a:lnTo>
                    <a:pt x="342" y="534"/>
                  </a:lnTo>
                  <a:lnTo>
                    <a:pt x="342" y="522"/>
                  </a:lnTo>
                  <a:lnTo>
                    <a:pt x="348" y="516"/>
                  </a:lnTo>
                  <a:lnTo>
                    <a:pt x="348" y="504"/>
                  </a:lnTo>
                  <a:lnTo>
                    <a:pt x="336" y="498"/>
                  </a:lnTo>
                  <a:lnTo>
                    <a:pt x="330" y="492"/>
                  </a:lnTo>
                  <a:lnTo>
                    <a:pt x="318" y="486"/>
                  </a:lnTo>
                  <a:lnTo>
                    <a:pt x="312" y="480"/>
                  </a:lnTo>
                  <a:lnTo>
                    <a:pt x="300" y="474"/>
                  </a:lnTo>
                  <a:lnTo>
                    <a:pt x="300" y="444"/>
                  </a:lnTo>
                  <a:lnTo>
                    <a:pt x="288" y="444"/>
                  </a:lnTo>
                  <a:lnTo>
                    <a:pt x="288" y="438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12" y="420"/>
                  </a:lnTo>
                  <a:lnTo>
                    <a:pt x="300" y="402"/>
                  </a:lnTo>
                  <a:lnTo>
                    <a:pt x="312" y="396"/>
                  </a:lnTo>
                  <a:lnTo>
                    <a:pt x="318" y="366"/>
                  </a:lnTo>
                  <a:lnTo>
                    <a:pt x="312" y="366"/>
                  </a:lnTo>
                  <a:lnTo>
                    <a:pt x="312" y="330"/>
                  </a:lnTo>
                  <a:lnTo>
                    <a:pt x="306" y="324"/>
                  </a:lnTo>
                  <a:lnTo>
                    <a:pt x="288" y="324"/>
                  </a:lnTo>
                  <a:lnTo>
                    <a:pt x="282" y="330"/>
                  </a:lnTo>
                  <a:lnTo>
                    <a:pt x="252" y="330"/>
                  </a:lnTo>
                  <a:lnTo>
                    <a:pt x="222" y="282"/>
                  </a:lnTo>
                  <a:lnTo>
                    <a:pt x="216" y="282"/>
                  </a:lnTo>
                  <a:lnTo>
                    <a:pt x="210" y="288"/>
                  </a:lnTo>
                  <a:lnTo>
                    <a:pt x="192" y="294"/>
                  </a:lnTo>
                  <a:lnTo>
                    <a:pt x="180" y="300"/>
                  </a:lnTo>
                  <a:lnTo>
                    <a:pt x="162" y="312"/>
                  </a:lnTo>
                  <a:lnTo>
                    <a:pt x="138" y="324"/>
                  </a:lnTo>
                  <a:lnTo>
                    <a:pt x="132" y="324"/>
                  </a:lnTo>
                  <a:lnTo>
                    <a:pt x="120" y="330"/>
                  </a:lnTo>
                  <a:lnTo>
                    <a:pt x="102" y="336"/>
                  </a:lnTo>
                  <a:lnTo>
                    <a:pt x="84" y="336"/>
                  </a:lnTo>
                  <a:lnTo>
                    <a:pt x="72" y="342"/>
                  </a:lnTo>
                  <a:lnTo>
                    <a:pt x="60" y="342"/>
                  </a:lnTo>
                  <a:lnTo>
                    <a:pt x="42" y="360"/>
                  </a:lnTo>
                  <a:lnTo>
                    <a:pt x="12" y="360"/>
                  </a:lnTo>
                  <a:lnTo>
                    <a:pt x="0" y="372"/>
                  </a:lnTo>
                  <a:lnTo>
                    <a:pt x="18" y="390"/>
                  </a:lnTo>
                  <a:lnTo>
                    <a:pt x="24" y="444"/>
                  </a:lnTo>
                  <a:lnTo>
                    <a:pt x="84" y="444"/>
                  </a:lnTo>
                  <a:lnTo>
                    <a:pt x="96" y="462"/>
                  </a:lnTo>
                  <a:lnTo>
                    <a:pt x="114" y="462"/>
                  </a:lnTo>
                  <a:lnTo>
                    <a:pt x="132" y="486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62" y="480"/>
                  </a:lnTo>
                  <a:lnTo>
                    <a:pt x="180" y="498"/>
                  </a:lnTo>
                  <a:lnTo>
                    <a:pt x="192" y="498"/>
                  </a:lnTo>
                  <a:lnTo>
                    <a:pt x="204" y="510"/>
                  </a:lnTo>
                  <a:lnTo>
                    <a:pt x="204" y="516"/>
                  </a:lnTo>
                  <a:lnTo>
                    <a:pt x="198" y="528"/>
                  </a:lnTo>
                  <a:lnTo>
                    <a:pt x="192" y="534"/>
                  </a:lnTo>
                  <a:lnTo>
                    <a:pt x="204" y="552"/>
                  </a:lnTo>
                  <a:lnTo>
                    <a:pt x="192" y="564"/>
                  </a:lnTo>
                  <a:lnTo>
                    <a:pt x="204" y="576"/>
                  </a:lnTo>
                  <a:lnTo>
                    <a:pt x="198" y="582"/>
                  </a:lnTo>
                  <a:lnTo>
                    <a:pt x="198" y="588"/>
                  </a:lnTo>
                  <a:lnTo>
                    <a:pt x="192" y="594"/>
                  </a:lnTo>
                  <a:lnTo>
                    <a:pt x="192" y="606"/>
                  </a:lnTo>
                  <a:lnTo>
                    <a:pt x="204" y="630"/>
                  </a:lnTo>
                  <a:lnTo>
                    <a:pt x="204" y="642"/>
                  </a:lnTo>
                  <a:lnTo>
                    <a:pt x="198" y="648"/>
                  </a:lnTo>
                  <a:lnTo>
                    <a:pt x="198" y="654"/>
                  </a:lnTo>
                  <a:lnTo>
                    <a:pt x="192" y="654"/>
                  </a:lnTo>
                  <a:lnTo>
                    <a:pt x="192" y="666"/>
                  </a:lnTo>
                  <a:lnTo>
                    <a:pt x="174" y="678"/>
                  </a:lnTo>
                  <a:lnTo>
                    <a:pt x="192" y="702"/>
                  </a:lnTo>
                  <a:lnTo>
                    <a:pt x="174" y="720"/>
                  </a:lnTo>
                  <a:lnTo>
                    <a:pt x="174" y="732"/>
                  </a:lnTo>
                  <a:lnTo>
                    <a:pt x="198" y="756"/>
                  </a:lnTo>
                  <a:lnTo>
                    <a:pt x="198" y="762"/>
                  </a:lnTo>
                  <a:lnTo>
                    <a:pt x="192" y="774"/>
                  </a:lnTo>
                  <a:lnTo>
                    <a:pt x="180" y="786"/>
                  </a:lnTo>
                  <a:lnTo>
                    <a:pt x="180" y="798"/>
                  </a:lnTo>
                  <a:lnTo>
                    <a:pt x="168" y="810"/>
                  </a:lnTo>
                  <a:lnTo>
                    <a:pt x="156" y="816"/>
                  </a:lnTo>
                  <a:lnTo>
                    <a:pt x="156" y="846"/>
                  </a:lnTo>
                  <a:lnTo>
                    <a:pt x="144" y="858"/>
                  </a:lnTo>
                  <a:lnTo>
                    <a:pt x="156" y="876"/>
                  </a:lnTo>
                  <a:lnTo>
                    <a:pt x="138" y="882"/>
                  </a:lnTo>
                  <a:lnTo>
                    <a:pt x="72" y="966"/>
                  </a:lnTo>
                  <a:lnTo>
                    <a:pt x="72" y="996"/>
                  </a:lnTo>
                  <a:lnTo>
                    <a:pt x="78" y="1014"/>
                  </a:lnTo>
                  <a:lnTo>
                    <a:pt x="78" y="1032"/>
                  </a:lnTo>
                  <a:lnTo>
                    <a:pt x="84" y="1044"/>
                  </a:lnTo>
                  <a:lnTo>
                    <a:pt x="84" y="1062"/>
                  </a:lnTo>
                  <a:lnTo>
                    <a:pt x="114" y="1122"/>
                  </a:lnTo>
                  <a:lnTo>
                    <a:pt x="114" y="1212"/>
                  </a:lnTo>
                  <a:lnTo>
                    <a:pt x="90" y="1248"/>
                  </a:lnTo>
                  <a:lnTo>
                    <a:pt x="114" y="1248"/>
                  </a:lnTo>
                  <a:lnTo>
                    <a:pt x="108" y="1260"/>
                  </a:lnTo>
                  <a:lnTo>
                    <a:pt x="108" y="1284"/>
                  </a:lnTo>
                  <a:lnTo>
                    <a:pt x="114" y="1290"/>
                  </a:lnTo>
                  <a:lnTo>
                    <a:pt x="120" y="1290"/>
                  </a:lnTo>
                  <a:lnTo>
                    <a:pt x="126" y="1314"/>
                  </a:lnTo>
                  <a:lnTo>
                    <a:pt x="144" y="1314"/>
                  </a:lnTo>
                  <a:lnTo>
                    <a:pt x="156" y="1326"/>
                  </a:lnTo>
                  <a:lnTo>
                    <a:pt x="162" y="1338"/>
                  </a:lnTo>
                  <a:lnTo>
                    <a:pt x="168" y="1320"/>
                  </a:lnTo>
                  <a:lnTo>
                    <a:pt x="168" y="1284"/>
                  </a:lnTo>
                  <a:lnTo>
                    <a:pt x="162" y="1272"/>
                  </a:lnTo>
                  <a:lnTo>
                    <a:pt x="156" y="1266"/>
                  </a:lnTo>
                  <a:lnTo>
                    <a:pt x="150" y="1266"/>
                  </a:lnTo>
                  <a:lnTo>
                    <a:pt x="150" y="1242"/>
                  </a:lnTo>
                  <a:lnTo>
                    <a:pt x="162" y="1230"/>
                  </a:lnTo>
                  <a:lnTo>
                    <a:pt x="222" y="1188"/>
                  </a:lnTo>
                  <a:lnTo>
                    <a:pt x="276" y="1158"/>
                  </a:lnTo>
                  <a:lnTo>
                    <a:pt x="294" y="1146"/>
                  </a:lnTo>
                  <a:lnTo>
                    <a:pt x="312" y="1140"/>
                  </a:lnTo>
                  <a:lnTo>
                    <a:pt x="330" y="1128"/>
                  </a:lnTo>
                  <a:lnTo>
                    <a:pt x="342" y="1122"/>
                  </a:lnTo>
                  <a:lnTo>
                    <a:pt x="360" y="1104"/>
                  </a:lnTo>
                  <a:lnTo>
                    <a:pt x="360" y="1080"/>
                  </a:lnTo>
                  <a:lnTo>
                    <a:pt x="354" y="1080"/>
                  </a:lnTo>
                  <a:lnTo>
                    <a:pt x="354" y="1086"/>
                  </a:lnTo>
                  <a:lnTo>
                    <a:pt x="348" y="1080"/>
                  </a:lnTo>
                  <a:lnTo>
                    <a:pt x="342" y="1080"/>
                  </a:lnTo>
                  <a:lnTo>
                    <a:pt x="342" y="1068"/>
                  </a:lnTo>
                  <a:lnTo>
                    <a:pt x="366" y="1020"/>
                  </a:lnTo>
                  <a:lnTo>
                    <a:pt x="366" y="990"/>
                  </a:lnTo>
                  <a:lnTo>
                    <a:pt x="360" y="984"/>
                  </a:lnTo>
                  <a:lnTo>
                    <a:pt x="360" y="978"/>
                  </a:lnTo>
                  <a:lnTo>
                    <a:pt x="372" y="948"/>
                  </a:lnTo>
                  <a:lnTo>
                    <a:pt x="366" y="942"/>
                  </a:lnTo>
                  <a:lnTo>
                    <a:pt x="348" y="960"/>
                  </a:lnTo>
                  <a:lnTo>
                    <a:pt x="354" y="918"/>
                  </a:lnTo>
                  <a:lnTo>
                    <a:pt x="348" y="906"/>
                  </a:lnTo>
                  <a:lnTo>
                    <a:pt x="336" y="900"/>
                  </a:lnTo>
                  <a:lnTo>
                    <a:pt x="330" y="888"/>
                  </a:lnTo>
                  <a:lnTo>
                    <a:pt x="330" y="870"/>
                  </a:lnTo>
                  <a:lnTo>
                    <a:pt x="336" y="858"/>
                  </a:lnTo>
                  <a:lnTo>
                    <a:pt x="336" y="834"/>
                  </a:lnTo>
                  <a:lnTo>
                    <a:pt x="324" y="822"/>
                  </a:lnTo>
                  <a:lnTo>
                    <a:pt x="318" y="822"/>
                  </a:lnTo>
                  <a:lnTo>
                    <a:pt x="312" y="816"/>
                  </a:lnTo>
                  <a:lnTo>
                    <a:pt x="312" y="792"/>
                  </a:lnTo>
                  <a:lnTo>
                    <a:pt x="318" y="780"/>
                  </a:lnTo>
                  <a:lnTo>
                    <a:pt x="324" y="762"/>
                  </a:lnTo>
                  <a:lnTo>
                    <a:pt x="336" y="750"/>
                  </a:lnTo>
                  <a:lnTo>
                    <a:pt x="372" y="732"/>
                  </a:lnTo>
                  <a:lnTo>
                    <a:pt x="378" y="726"/>
                  </a:lnTo>
                  <a:lnTo>
                    <a:pt x="378" y="714"/>
                  </a:lnTo>
                  <a:lnTo>
                    <a:pt x="390" y="690"/>
                  </a:lnTo>
                  <a:lnTo>
                    <a:pt x="396" y="684"/>
                  </a:lnTo>
                  <a:lnTo>
                    <a:pt x="402" y="684"/>
                  </a:lnTo>
                  <a:lnTo>
                    <a:pt x="414" y="678"/>
                  </a:lnTo>
                  <a:lnTo>
                    <a:pt x="420" y="678"/>
                  </a:lnTo>
                  <a:lnTo>
                    <a:pt x="426" y="672"/>
                  </a:lnTo>
                  <a:lnTo>
                    <a:pt x="450" y="660"/>
                  </a:lnTo>
                  <a:lnTo>
                    <a:pt x="462" y="648"/>
                  </a:lnTo>
                  <a:lnTo>
                    <a:pt x="474" y="612"/>
                  </a:lnTo>
                  <a:lnTo>
                    <a:pt x="498" y="576"/>
                  </a:lnTo>
                  <a:lnTo>
                    <a:pt x="522" y="564"/>
                  </a:lnTo>
                  <a:lnTo>
                    <a:pt x="558" y="552"/>
                  </a:lnTo>
                  <a:lnTo>
                    <a:pt x="600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66" y="498"/>
                  </a:lnTo>
                  <a:lnTo>
                    <a:pt x="672" y="492"/>
                  </a:lnTo>
                  <a:lnTo>
                    <a:pt x="684" y="486"/>
                  </a:lnTo>
                  <a:lnTo>
                    <a:pt x="684" y="474"/>
                  </a:lnTo>
                  <a:lnTo>
                    <a:pt x="714" y="444"/>
                  </a:lnTo>
                  <a:lnTo>
                    <a:pt x="714" y="432"/>
                  </a:lnTo>
                  <a:lnTo>
                    <a:pt x="720" y="420"/>
                  </a:lnTo>
                  <a:lnTo>
                    <a:pt x="732" y="414"/>
                  </a:lnTo>
                  <a:lnTo>
                    <a:pt x="738" y="402"/>
                  </a:lnTo>
                  <a:lnTo>
                    <a:pt x="744" y="396"/>
                  </a:lnTo>
                  <a:lnTo>
                    <a:pt x="744" y="378"/>
                  </a:lnTo>
                  <a:lnTo>
                    <a:pt x="750" y="372"/>
                  </a:lnTo>
                  <a:lnTo>
                    <a:pt x="762" y="348"/>
                  </a:lnTo>
                  <a:lnTo>
                    <a:pt x="762" y="34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85" name="Morocco" descr="© INSCALE GmbH, 05.05.2010&#10;http://www.presentationload.com/"/>
            <p:cNvSpPr>
              <a:spLocks/>
            </p:cNvSpPr>
            <p:nvPr/>
          </p:nvSpPr>
          <p:spPr bwMode="gray">
            <a:xfrm>
              <a:off x="4179055" y="3407249"/>
              <a:ext cx="276445" cy="204540"/>
            </a:xfrm>
            <a:custGeom>
              <a:avLst/>
              <a:gdLst>
                <a:gd name="T0" fmla="*/ 2147483647 w 846"/>
                <a:gd name="T1" fmla="*/ 2147483647 h 660"/>
                <a:gd name="T2" fmla="*/ 2147483647 w 846"/>
                <a:gd name="T3" fmla="*/ 2147483647 h 660"/>
                <a:gd name="T4" fmla="*/ 2147483647 w 846"/>
                <a:gd name="T5" fmla="*/ 2147483647 h 660"/>
                <a:gd name="T6" fmla="*/ 2147483647 w 846"/>
                <a:gd name="T7" fmla="*/ 2147483647 h 660"/>
                <a:gd name="T8" fmla="*/ 2147483647 w 846"/>
                <a:gd name="T9" fmla="*/ 2147483647 h 660"/>
                <a:gd name="T10" fmla="*/ 2147483647 w 846"/>
                <a:gd name="T11" fmla="*/ 2147483647 h 660"/>
                <a:gd name="T12" fmla="*/ 2147483647 w 846"/>
                <a:gd name="T13" fmla="*/ 2147483647 h 660"/>
                <a:gd name="T14" fmla="*/ 2147483647 w 846"/>
                <a:gd name="T15" fmla="*/ 2147483647 h 660"/>
                <a:gd name="T16" fmla="*/ 2147483647 w 846"/>
                <a:gd name="T17" fmla="*/ 2147483647 h 660"/>
                <a:gd name="T18" fmla="*/ 2147483647 w 846"/>
                <a:gd name="T19" fmla="*/ 0 h 660"/>
                <a:gd name="T20" fmla="*/ 2147483647 w 846"/>
                <a:gd name="T21" fmla="*/ 2147483647 h 660"/>
                <a:gd name="T22" fmla="*/ 2147483647 w 846"/>
                <a:gd name="T23" fmla="*/ 2147483647 h 660"/>
                <a:gd name="T24" fmla="*/ 2147483647 w 846"/>
                <a:gd name="T25" fmla="*/ 2147483647 h 660"/>
                <a:gd name="T26" fmla="*/ 2147483647 w 846"/>
                <a:gd name="T27" fmla="*/ 2147483647 h 660"/>
                <a:gd name="T28" fmla="*/ 2147483647 w 846"/>
                <a:gd name="T29" fmla="*/ 2147483647 h 660"/>
                <a:gd name="T30" fmla="*/ 2147483647 w 846"/>
                <a:gd name="T31" fmla="*/ 2147483647 h 660"/>
                <a:gd name="T32" fmla="*/ 2147483647 w 846"/>
                <a:gd name="T33" fmla="*/ 2147483647 h 660"/>
                <a:gd name="T34" fmla="*/ 2147483647 w 846"/>
                <a:gd name="T35" fmla="*/ 2147483647 h 660"/>
                <a:gd name="T36" fmla="*/ 2147483647 w 846"/>
                <a:gd name="T37" fmla="*/ 2147483647 h 660"/>
                <a:gd name="T38" fmla="*/ 2147483647 w 846"/>
                <a:gd name="T39" fmla="*/ 2147483647 h 660"/>
                <a:gd name="T40" fmla="*/ 2147483647 w 846"/>
                <a:gd name="T41" fmla="*/ 2147483647 h 660"/>
                <a:gd name="T42" fmla="*/ 2147483647 w 846"/>
                <a:gd name="T43" fmla="*/ 2147483647 h 660"/>
                <a:gd name="T44" fmla="*/ 2147483647 w 846"/>
                <a:gd name="T45" fmla="*/ 2147483647 h 660"/>
                <a:gd name="T46" fmla="*/ 2147483647 w 846"/>
                <a:gd name="T47" fmla="*/ 2147483647 h 660"/>
                <a:gd name="T48" fmla="*/ 2147483647 w 846"/>
                <a:gd name="T49" fmla="*/ 2147483647 h 660"/>
                <a:gd name="T50" fmla="*/ 2147483647 w 846"/>
                <a:gd name="T51" fmla="*/ 2147483647 h 660"/>
                <a:gd name="T52" fmla="*/ 2147483647 w 846"/>
                <a:gd name="T53" fmla="*/ 2147483647 h 660"/>
                <a:gd name="T54" fmla="*/ 2147483647 w 846"/>
                <a:gd name="T55" fmla="*/ 2147483647 h 660"/>
                <a:gd name="T56" fmla="*/ 2147483647 w 846"/>
                <a:gd name="T57" fmla="*/ 2147483647 h 660"/>
                <a:gd name="T58" fmla="*/ 2147483647 w 846"/>
                <a:gd name="T59" fmla="*/ 2147483647 h 660"/>
                <a:gd name="T60" fmla="*/ 2147483647 w 846"/>
                <a:gd name="T61" fmla="*/ 2147483647 h 660"/>
                <a:gd name="T62" fmla="*/ 2147483647 w 846"/>
                <a:gd name="T63" fmla="*/ 2147483647 h 660"/>
                <a:gd name="T64" fmla="*/ 2147483647 w 846"/>
                <a:gd name="T65" fmla="*/ 2147483647 h 660"/>
                <a:gd name="T66" fmla="*/ 2147483647 w 846"/>
                <a:gd name="T67" fmla="*/ 2147483647 h 660"/>
                <a:gd name="T68" fmla="*/ 2147483647 w 846"/>
                <a:gd name="T69" fmla="*/ 2147483647 h 660"/>
                <a:gd name="T70" fmla="*/ 2147483647 w 846"/>
                <a:gd name="T71" fmla="*/ 2147483647 h 660"/>
                <a:gd name="T72" fmla="*/ 2147483647 w 846"/>
                <a:gd name="T73" fmla="*/ 2147483647 h 660"/>
                <a:gd name="T74" fmla="*/ 2147483647 w 846"/>
                <a:gd name="T75" fmla="*/ 2147483647 h 660"/>
                <a:gd name="T76" fmla="*/ 2147483647 w 846"/>
                <a:gd name="T77" fmla="*/ 2147483647 h 660"/>
                <a:gd name="T78" fmla="*/ 2147483647 w 846"/>
                <a:gd name="T79" fmla="*/ 2147483647 h 660"/>
                <a:gd name="T80" fmla="*/ 2147483647 w 846"/>
                <a:gd name="T81" fmla="*/ 2147483647 h 660"/>
                <a:gd name="T82" fmla="*/ 2147483647 w 846"/>
                <a:gd name="T83" fmla="*/ 2147483647 h 660"/>
                <a:gd name="T84" fmla="*/ 2147483647 w 846"/>
                <a:gd name="T85" fmla="*/ 2147483647 h 660"/>
                <a:gd name="T86" fmla="*/ 2147483647 w 846"/>
                <a:gd name="T87" fmla="*/ 2147483647 h 660"/>
                <a:gd name="T88" fmla="*/ 2147483647 w 846"/>
                <a:gd name="T89" fmla="*/ 2147483647 h 66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846"/>
                <a:gd name="T136" fmla="*/ 0 h 660"/>
                <a:gd name="T137" fmla="*/ 846 w 846"/>
                <a:gd name="T138" fmla="*/ 660 h 66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846" h="660">
                  <a:moveTo>
                    <a:pt x="822" y="246"/>
                  </a:moveTo>
                  <a:lnTo>
                    <a:pt x="822" y="216"/>
                  </a:lnTo>
                  <a:lnTo>
                    <a:pt x="804" y="216"/>
                  </a:lnTo>
                  <a:lnTo>
                    <a:pt x="816" y="186"/>
                  </a:lnTo>
                  <a:lnTo>
                    <a:pt x="804" y="168"/>
                  </a:lnTo>
                  <a:lnTo>
                    <a:pt x="810" y="102"/>
                  </a:lnTo>
                  <a:lnTo>
                    <a:pt x="798" y="102"/>
                  </a:lnTo>
                  <a:lnTo>
                    <a:pt x="798" y="90"/>
                  </a:lnTo>
                  <a:lnTo>
                    <a:pt x="804" y="84"/>
                  </a:lnTo>
                  <a:lnTo>
                    <a:pt x="792" y="78"/>
                  </a:lnTo>
                  <a:lnTo>
                    <a:pt x="786" y="66"/>
                  </a:lnTo>
                  <a:lnTo>
                    <a:pt x="780" y="60"/>
                  </a:lnTo>
                  <a:lnTo>
                    <a:pt x="744" y="42"/>
                  </a:lnTo>
                  <a:lnTo>
                    <a:pt x="720" y="42"/>
                  </a:lnTo>
                  <a:lnTo>
                    <a:pt x="708" y="48"/>
                  </a:lnTo>
                  <a:lnTo>
                    <a:pt x="702" y="54"/>
                  </a:lnTo>
                  <a:lnTo>
                    <a:pt x="696" y="54"/>
                  </a:lnTo>
                  <a:lnTo>
                    <a:pt x="690" y="48"/>
                  </a:lnTo>
                  <a:lnTo>
                    <a:pt x="678" y="48"/>
                  </a:lnTo>
                  <a:lnTo>
                    <a:pt x="666" y="42"/>
                  </a:lnTo>
                  <a:lnTo>
                    <a:pt x="654" y="42"/>
                  </a:lnTo>
                  <a:lnTo>
                    <a:pt x="642" y="48"/>
                  </a:lnTo>
                  <a:lnTo>
                    <a:pt x="636" y="54"/>
                  </a:lnTo>
                  <a:lnTo>
                    <a:pt x="624" y="54"/>
                  </a:lnTo>
                  <a:lnTo>
                    <a:pt x="588" y="36"/>
                  </a:lnTo>
                  <a:lnTo>
                    <a:pt x="570" y="18"/>
                  </a:lnTo>
                  <a:lnTo>
                    <a:pt x="564" y="6"/>
                  </a:lnTo>
                  <a:lnTo>
                    <a:pt x="558" y="6"/>
                  </a:lnTo>
                  <a:lnTo>
                    <a:pt x="552" y="0"/>
                  </a:lnTo>
                  <a:lnTo>
                    <a:pt x="528" y="0"/>
                  </a:lnTo>
                  <a:lnTo>
                    <a:pt x="528" y="6"/>
                  </a:lnTo>
                  <a:lnTo>
                    <a:pt x="522" y="12"/>
                  </a:lnTo>
                  <a:lnTo>
                    <a:pt x="522" y="30"/>
                  </a:lnTo>
                  <a:lnTo>
                    <a:pt x="516" y="48"/>
                  </a:lnTo>
                  <a:lnTo>
                    <a:pt x="498" y="84"/>
                  </a:lnTo>
                  <a:lnTo>
                    <a:pt x="492" y="102"/>
                  </a:lnTo>
                  <a:lnTo>
                    <a:pt x="468" y="138"/>
                  </a:lnTo>
                  <a:lnTo>
                    <a:pt x="462" y="150"/>
                  </a:lnTo>
                  <a:lnTo>
                    <a:pt x="450" y="162"/>
                  </a:lnTo>
                  <a:lnTo>
                    <a:pt x="438" y="168"/>
                  </a:lnTo>
                  <a:lnTo>
                    <a:pt x="420" y="168"/>
                  </a:lnTo>
                  <a:lnTo>
                    <a:pt x="408" y="174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84" y="186"/>
                  </a:lnTo>
                  <a:lnTo>
                    <a:pt x="378" y="198"/>
                  </a:lnTo>
                  <a:lnTo>
                    <a:pt x="360" y="192"/>
                  </a:lnTo>
                  <a:lnTo>
                    <a:pt x="330" y="204"/>
                  </a:lnTo>
                  <a:lnTo>
                    <a:pt x="330" y="210"/>
                  </a:lnTo>
                  <a:lnTo>
                    <a:pt x="324" y="216"/>
                  </a:lnTo>
                  <a:lnTo>
                    <a:pt x="324" y="228"/>
                  </a:lnTo>
                  <a:lnTo>
                    <a:pt x="318" y="240"/>
                  </a:lnTo>
                  <a:lnTo>
                    <a:pt x="312" y="240"/>
                  </a:lnTo>
                  <a:lnTo>
                    <a:pt x="288" y="264"/>
                  </a:lnTo>
                  <a:lnTo>
                    <a:pt x="288" y="288"/>
                  </a:lnTo>
                  <a:lnTo>
                    <a:pt x="276" y="312"/>
                  </a:lnTo>
                  <a:lnTo>
                    <a:pt x="264" y="324"/>
                  </a:lnTo>
                  <a:lnTo>
                    <a:pt x="258" y="336"/>
                  </a:lnTo>
                  <a:lnTo>
                    <a:pt x="246" y="354"/>
                  </a:lnTo>
                  <a:lnTo>
                    <a:pt x="246" y="402"/>
                  </a:lnTo>
                  <a:lnTo>
                    <a:pt x="240" y="408"/>
                  </a:lnTo>
                  <a:lnTo>
                    <a:pt x="234" y="408"/>
                  </a:lnTo>
                  <a:lnTo>
                    <a:pt x="234" y="414"/>
                  </a:lnTo>
                  <a:lnTo>
                    <a:pt x="240" y="420"/>
                  </a:lnTo>
                  <a:lnTo>
                    <a:pt x="252" y="420"/>
                  </a:lnTo>
                  <a:lnTo>
                    <a:pt x="252" y="474"/>
                  </a:lnTo>
                  <a:lnTo>
                    <a:pt x="240" y="474"/>
                  </a:lnTo>
                  <a:lnTo>
                    <a:pt x="228" y="480"/>
                  </a:lnTo>
                  <a:lnTo>
                    <a:pt x="192" y="540"/>
                  </a:lnTo>
                  <a:lnTo>
                    <a:pt x="180" y="552"/>
                  </a:lnTo>
                  <a:lnTo>
                    <a:pt x="168" y="552"/>
                  </a:lnTo>
                  <a:lnTo>
                    <a:pt x="162" y="558"/>
                  </a:lnTo>
                  <a:lnTo>
                    <a:pt x="150" y="564"/>
                  </a:lnTo>
                  <a:lnTo>
                    <a:pt x="144" y="576"/>
                  </a:lnTo>
                  <a:lnTo>
                    <a:pt x="132" y="588"/>
                  </a:lnTo>
                  <a:lnTo>
                    <a:pt x="126" y="600"/>
                  </a:lnTo>
                  <a:lnTo>
                    <a:pt x="120" y="606"/>
                  </a:lnTo>
                  <a:lnTo>
                    <a:pt x="84" y="624"/>
                  </a:lnTo>
                  <a:lnTo>
                    <a:pt x="66" y="624"/>
                  </a:lnTo>
                  <a:lnTo>
                    <a:pt x="54" y="630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12" y="636"/>
                  </a:lnTo>
                  <a:lnTo>
                    <a:pt x="6" y="642"/>
                  </a:lnTo>
                  <a:lnTo>
                    <a:pt x="6" y="654"/>
                  </a:lnTo>
                  <a:lnTo>
                    <a:pt x="0" y="660"/>
                  </a:lnTo>
                  <a:lnTo>
                    <a:pt x="312" y="660"/>
                  </a:lnTo>
                  <a:lnTo>
                    <a:pt x="312" y="600"/>
                  </a:lnTo>
                  <a:lnTo>
                    <a:pt x="318" y="570"/>
                  </a:lnTo>
                  <a:lnTo>
                    <a:pt x="330" y="564"/>
                  </a:lnTo>
                  <a:lnTo>
                    <a:pt x="336" y="558"/>
                  </a:lnTo>
                  <a:lnTo>
                    <a:pt x="348" y="552"/>
                  </a:lnTo>
                  <a:lnTo>
                    <a:pt x="378" y="522"/>
                  </a:lnTo>
                  <a:lnTo>
                    <a:pt x="378" y="516"/>
                  </a:lnTo>
                  <a:lnTo>
                    <a:pt x="396" y="516"/>
                  </a:lnTo>
                  <a:lnTo>
                    <a:pt x="426" y="498"/>
                  </a:lnTo>
                  <a:lnTo>
                    <a:pt x="438" y="504"/>
                  </a:lnTo>
                  <a:lnTo>
                    <a:pt x="444" y="510"/>
                  </a:lnTo>
                  <a:lnTo>
                    <a:pt x="456" y="510"/>
                  </a:lnTo>
                  <a:lnTo>
                    <a:pt x="462" y="498"/>
                  </a:lnTo>
                  <a:lnTo>
                    <a:pt x="462" y="492"/>
                  </a:lnTo>
                  <a:lnTo>
                    <a:pt x="486" y="486"/>
                  </a:lnTo>
                  <a:lnTo>
                    <a:pt x="492" y="474"/>
                  </a:lnTo>
                  <a:lnTo>
                    <a:pt x="504" y="474"/>
                  </a:lnTo>
                  <a:lnTo>
                    <a:pt x="516" y="480"/>
                  </a:lnTo>
                  <a:lnTo>
                    <a:pt x="540" y="480"/>
                  </a:lnTo>
                  <a:lnTo>
                    <a:pt x="552" y="468"/>
                  </a:lnTo>
                  <a:lnTo>
                    <a:pt x="564" y="444"/>
                  </a:lnTo>
                  <a:lnTo>
                    <a:pt x="570" y="438"/>
                  </a:lnTo>
                  <a:lnTo>
                    <a:pt x="576" y="426"/>
                  </a:lnTo>
                  <a:lnTo>
                    <a:pt x="618" y="426"/>
                  </a:lnTo>
                  <a:lnTo>
                    <a:pt x="624" y="420"/>
                  </a:lnTo>
                  <a:lnTo>
                    <a:pt x="636" y="414"/>
                  </a:lnTo>
                  <a:lnTo>
                    <a:pt x="648" y="402"/>
                  </a:lnTo>
                  <a:lnTo>
                    <a:pt x="648" y="396"/>
                  </a:lnTo>
                  <a:lnTo>
                    <a:pt x="672" y="384"/>
                  </a:lnTo>
                  <a:lnTo>
                    <a:pt x="660" y="366"/>
                  </a:lnTo>
                  <a:lnTo>
                    <a:pt x="654" y="354"/>
                  </a:lnTo>
                  <a:lnTo>
                    <a:pt x="648" y="348"/>
                  </a:lnTo>
                  <a:lnTo>
                    <a:pt x="648" y="336"/>
                  </a:lnTo>
                  <a:lnTo>
                    <a:pt x="654" y="330"/>
                  </a:lnTo>
                  <a:lnTo>
                    <a:pt x="678" y="330"/>
                  </a:lnTo>
                  <a:lnTo>
                    <a:pt x="690" y="324"/>
                  </a:lnTo>
                  <a:lnTo>
                    <a:pt x="714" y="324"/>
                  </a:lnTo>
                  <a:lnTo>
                    <a:pt x="714" y="312"/>
                  </a:lnTo>
                  <a:lnTo>
                    <a:pt x="720" y="306"/>
                  </a:lnTo>
                  <a:lnTo>
                    <a:pt x="720" y="300"/>
                  </a:lnTo>
                  <a:lnTo>
                    <a:pt x="732" y="300"/>
                  </a:lnTo>
                  <a:lnTo>
                    <a:pt x="738" y="306"/>
                  </a:lnTo>
                  <a:lnTo>
                    <a:pt x="744" y="300"/>
                  </a:lnTo>
                  <a:lnTo>
                    <a:pt x="744" y="294"/>
                  </a:lnTo>
                  <a:lnTo>
                    <a:pt x="762" y="294"/>
                  </a:lnTo>
                  <a:lnTo>
                    <a:pt x="774" y="300"/>
                  </a:lnTo>
                  <a:lnTo>
                    <a:pt x="828" y="294"/>
                  </a:lnTo>
                  <a:lnTo>
                    <a:pt x="828" y="282"/>
                  </a:lnTo>
                  <a:lnTo>
                    <a:pt x="846" y="264"/>
                  </a:lnTo>
                  <a:lnTo>
                    <a:pt x="822" y="24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86" name="Montenegro" descr="© INSCALE GmbH, 05.05.2010&#10;http://www.presentationload.com/"/>
            <p:cNvSpPr>
              <a:spLocks/>
            </p:cNvSpPr>
            <p:nvPr/>
          </p:nvSpPr>
          <p:spPr bwMode="gray">
            <a:xfrm>
              <a:off x="4874009" y="3213733"/>
              <a:ext cx="35835" cy="42867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2147483647 w 114"/>
                <a:gd name="T7" fmla="*/ 2147483647 h 138"/>
                <a:gd name="T8" fmla="*/ 2147483647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0 h 138"/>
                <a:gd name="T14" fmla="*/ 2147483647 w 114"/>
                <a:gd name="T15" fmla="*/ 0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0 w 114"/>
                <a:gd name="T29" fmla="*/ 2147483647 h 138"/>
                <a:gd name="T30" fmla="*/ 0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2147483647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2147483647 w 114"/>
                <a:gd name="T61" fmla="*/ 2147483647 h 138"/>
                <a:gd name="T62" fmla="*/ 2147483647 w 114"/>
                <a:gd name="T63" fmla="*/ 2147483647 h 138"/>
                <a:gd name="T64" fmla="*/ 2147483647 w 114"/>
                <a:gd name="T65" fmla="*/ 2147483647 h 138"/>
                <a:gd name="T66" fmla="*/ 2147483647 w 114"/>
                <a:gd name="T67" fmla="*/ 2147483647 h 138"/>
                <a:gd name="T68" fmla="*/ 2147483647 w 114"/>
                <a:gd name="T69" fmla="*/ 2147483647 h 138"/>
                <a:gd name="T70" fmla="*/ 2147483647 w 114"/>
                <a:gd name="T71" fmla="*/ 2147483647 h 13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14"/>
                <a:gd name="T109" fmla="*/ 0 h 138"/>
                <a:gd name="T110" fmla="*/ 114 w 114"/>
                <a:gd name="T111" fmla="*/ 138 h 13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14" h="138">
                  <a:moveTo>
                    <a:pt x="114" y="42"/>
                  </a:moveTo>
                  <a:lnTo>
                    <a:pt x="108" y="48"/>
                  </a:lnTo>
                  <a:lnTo>
                    <a:pt x="96" y="30"/>
                  </a:lnTo>
                  <a:lnTo>
                    <a:pt x="84" y="18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42" y="24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8" y="36"/>
                  </a:lnTo>
                  <a:lnTo>
                    <a:pt x="12" y="48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72"/>
                  </a:lnTo>
                  <a:lnTo>
                    <a:pt x="6" y="102"/>
                  </a:lnTo>
                  <a:lnTo>
                    <a:pt x="18" y="102"/>
                  </a:lnTo>
                  <a:lnTo>
                    <a:pt x="24" y="96"/>
                  </a:lnTo>
                  <a:lnTo>
                    <a:pt x="36" y="96"/>
                  </a:lnTo>
                  <a:lnTo>
                    <a:pt x="36" y="114"/>
                  </a:lnTo>
                  <a:lnTo>
                    <a:pt x="60" y="138"/>
                  </a:lnTo>
                  <a:lnTo>
                    <a:pt x="72" y="126"/>
                  </a:lnTo>
                  <a:lnTo>
                    <a:pt x="66" y="108"/>
                  </a:lnTo>
                  <a:lnTo>
                    <a:pt x="60" y="114"/>
                  </a:lnTo>
                  <a:lnTo>
                    <a:pt x="42" y="102"/>
                  </a:lnTo>
                  <a:lnTo>
                    <a:pt x="66" y="102"/>
                  </a:lnTo>
                  <a:lnTo>
                    <a:pt x="78" y="96"/>
                  </a:lnTo>
                  <a:lnTo>
                    <a:pt x="78" y="78"/>
                  </a:lnTo>
                  <a:lnTo>
                    <a:pt x="108" y="90"/>
                  </a:lnTo>
                  <a:lnTo>
                    <a:pt x="114" y="84"/>
                  </a:lnTo>
                  <a:lnTo>
                    <a:pt x="114" y="90"/>
                  </a:lnTo>
                  <a:lnTo>
                    <a:pt x="114" y="4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87" name="Mongolia" descr="© INSCALE GmbH, 05.05.2010&#10;http://www.presentationload.com/"/>
            <p:cNvSpPr>
              <a:spLocks/>
            </p:cNvSpPr>
            <p:nvPr/>
          </p:nvSpPr>
          <p:spPr bwMode="gray">
            <a:xfrm>
              <a:off x="6269035" y="3004294"/>
              <a:ext cx="680875" cy="259655"/>
            </a:xfrm>
            <a:custGeom>
              <a:avLst/>
              <a:gdLst>
                <a:gd name="T0" fmla="*/ 2147483647 w 2100"/>
                <a:gd name="T1" fmla="*/ 2147483647 h 834"/>
                <a:gd name="T2" fmla="*/ 2147483647 w 2100"/>
                <a:gd name="T3" fmla="*/ 2147483647 h 834"/>
                <a:gd name="T4" fmla="*/ 2147483647 w 2100"/>
                <a:gd name="T5" fmla="*/ 2147483647 h 834"/>
                <a:gd name="T6" fmla="*/ 2147483647 w 2100"/>
                <a:gd name="T7" fmla="*/ 2147483647 h 834"/>
                <a:gd name="T8" fmla="*/ 2147483647 w 2100"/>
                <a:gd name="T9" fmla="*/ 2147483647 h 834"/>
                <a:gd name="T10" fmla="*/ 2147483647 w 2100"/>
                <a:gd name="T11" fmla="*/ 2147483647 h 834"/>
                <a:gd name="T12" fmla="*/ 2147483647 w 2100"/>
                <a:gd name="T13" fmla="*/ 2147483647 h 834"/>
                <a:gd name="T14" fmla="*/ 2147483647 w 2100"/>
                <a:gd name="T15" fmla="*/ 2147483647 h 834"/>
                <a:gd name="T16" fmla="*/ 2147483647 w 2100"/>
                <a:gd name="T17" fmla="*/ 2147483647 h 834"/>
                <a:gd name="T18" fmla="*/ 2147483647 w 2100"/>
                <a:gd name="T19" fmla="*/ 2147483647 h 834"/>
                <a:gd name="T20" fmla="*/ 2147483647 w 2100"/>
                <a:gd name="T21" fmla="*/ 2147483647 h 834"/>
                <a:gd name="T22" fmla="*/ 2147483647 w 2100"/>
                <a:gd name="T23" fmla="*/ 2147483647 h 834"/>
                <a:gd name="T24" fmla="*/ 2147483647 w 2100"/>
                <a:gd name="T25" fmla="*/ 2147483647 h 834"/>
                <a:gd name="T26" fmla="*/ 2147483647 w 2100"/>
                <a:gd name="T27" fmla="*/ 2147483647 h 834"/>
                <a:gd name="T28" fmla="*/ 2147483647 w 2100"/>
                <a:gd name="T29" fmla="*/ 2147483647 h 834"/>
                <a:gd name="T30" fmla="*/ 2147483647 w 2100"/>
                <a:gd name="T31" fmla="*/ 2147483647 h 834"/>
                <a:gd name="T32" fmla="*/ 2147483647 w 2100"/>
                <a:gd name="T33" fmla="*/ 2147483647 h 834"/>
                <a:gd name="T34" fmla="*/ 2147483647 w 2100"/>
                <a:gd name="T35" fmla="*/ 2147483647 h 834"/>
                <a:gd name="T36" fmla="*/ 2147483647 w 2100"/>
                <a:gd name="T37" fmla="*/ 2147483647 h 834"/>
                <a:gd name="T38" fmla="*/ 2147483647 w 2100"/>
                <a:gd name="T39" fmla="*/ 2147483647 h 834"/>
                <a:gd name="T40" fmla="*/ 2147483647 w 2100"/>
                <a:gd name="T41" fmla="*/ 2147483647 h 834"/>
                <a:gd name="T42" fmla="*/ 2147483647 w 2100"/>
                <a:gd name="T43" fmla="*/ 2147483647 h 834"/>
                <a:gd name="T44" fmla="*/ 2147483647 w 2100"/>
                <a:gd name="T45" fmla="*/ 2147483647 h 834"/>
                <a:gd name="T46" fmla="*/ 2147483647 w 2100"/>
                <a:gd name="T47" fmla="*/ 2147483647 h 834"/>
                <a:gd name="T48" fmla="*/ 2147483647 w 2100"/>
                <a:gd name="T49" fmla="*/ 2147483647 h 834"/>
                <a:gd name="T50" fmla="*/ 2147483647 w 2100"/>
                <a:gd name="T51" fmla="*/ 2147483647 h 834"/>
                <a:gd name="T52" fmla="*/ 2147483647 w 2100"/>
                <a:gd name="T53" fmla="*/ 2147483647 h 834"/>
                <a:gd name="T54" fmla="*/ 2147483647 w 2100"/>
                <a:gd name="T55" fmla="*/ 2147483647 h 834"/>
                <a:gd name="T56" fmla="*/ 2147483647 w 2100"/>
                <a:gd name="T57" fmla="*/ 2147483647 h 834"/>
                <a:gd name="T58" fmla="*/ 2147483647 w 2100"/>
                <a:gd name="T59" fmla="*/ 2147483647 h 834"/>
                <a:gd name="T60" fmla="*/ 2147483647 w 2100"/>
                <a:gd name="T61" fmla="*/ 2147483647 h 834"/>
                <a:gd name="T62" fmla="*/ 0 w 2100"/>
                <a:gd name="T63" fmla="*/ 2147483647 h 834"/>
                <a:gd name="T64" fmla="*/ 2147483647 w 2100"/>
                <a:gd name="T65" fmla="*/ 2147483647 h 834"/>
                <a:gd name="T66" fmla="*/ 2147483647 w 2100"/>
                <a:gd name="T67" fmla="*/ 2147483647 h 834"/>
                <a:gd name="T68" fmla="*/ 2147483647 w 2100"/>
                <a:gd name="T69" fmla="*/ 2147483647 h 834"/>
                <a:gd name="T70" fmla="*/ 2147483647 w 2100"/>
                <a:gd name="T71" fmla="*/ 2147483647 h 834"/>
                <a:gd name="T72" fmla="*/ 2147483647 w 2100"/>
                <a:gd name="T73" fmla="*/ 2147483647 h 834"/>
                <a:gd name="T74" fmla="*/ 2147483647 w 2100"/>
                <a:gd name="T75" fmla="*/ 2147483647 h 834"/>
                <a:gd name="T76" fmla="*/ 2147483647 w 2100"/>
                <a:gd name="T77" fmla="*/ 2147483647 h 834"/>
                <a:gd name="T78" fmla="*/ 2147483647 w 2100"/>
                <a:gd name="T79" fmla="*/ 2147483647 h 834"/>
                <a:gd name="T80" fmla="*/ 2147483647 w 2100"/>
                <a:gd name="T81" fmla="*/ 2147483647 h 834"/>
                <a:gd name="T82" fmla="*/ 2147483647 w 2100"/>
                <a:gd name="T83" fmla="*/ 2147483647 h 834"/>
                <a:gd name="T84" fmla="*/ 2147483647 w 2100"/>
                <a:gd name="T85" fmla="*/ 2147483647 h 834"/>
                <a:gd name="T86" fmla="*/ 2147483647 w 2100"/>
                <a:gd name="T87" fmla="*/ 2147483647 h 834"/>
                <a:gd name="T88" fmla="*/ 2147483647 w 2100"/>
                <a:gd name="T89" fmla="*/ 2147483647 h 834"/>
                <a:gd name="T90" fmla="*/ 2147483647 w 2100"/>
                <a:gd name="T91" fmla="*/ 2147483647 h 834"/>
                <a:gd name="T92" fmla="*/ 2147483647 w 2100"/>
                <a:gd name="T93" fmla="*/ 2147483647 h 834"/>
                <a:gd name="T94" fmla="*/ 2147483647 w 2100"/>
                <a:gd name="T95" fmla="*/ 2147483647 h 834"/>
                <a:gd name="T96" fmla="*/ 2147483647 w 2100"/>
                <a:gd name="T97" fmla="*/ 2147483647 h 834"/>
                <a:gd name="T98" fmla="*/ 2147483647 w 2100"/>
                <a:gd name="T99" fmla="*/ 2147483647 h 834"/>
                <a:gd name="T100" fmla="*/ 2147483647 w 2100"/>
                <a:gd name="T101" fmla="*/ 2147483647 h 834"/>
                <a:gd name="T102" fmla="*/ 2147483647 w 2100"/>
                <a:gd name="T103" fmla="*/ 2147483647 h 834"/>
                <a:gd name="T104" fmla="*/ 2147483647 w 2100"/>
                <a:gd name="T105" fmla="*/ 2147483647 h 834"/>
                <a:gd name="T106" fmla="*/ 2147483647 w 2100"/>
                <a:gd name="T107" fmla="*/ 2147483647 h 834"/>
                <a:gd name="T108" fmla="*/ 2147483647 w 2100"/>
                <a:gd name="T109" fmla="*/ 2147483647 h 834"/>
                <a:gd name="T110" fmla="*/ 2147483647 w 2100"/>
                <a:gd name="T111" fmla="*/ 2147483647 h 834"/>
                <a:gd name="T112" fmla="*/ 2147483647 w 2100"/>
                <a:gd name="T113" fmla="*/ 2147483647 h 834"/>
                <a:gd name="T114" fmla="*/ 2147483647 w 2100"/>
                <a:gd name="T115" fmla="*/ 2147483647 h 834"/>
                <a:gd name="T116" fmla="*/ 2147483647 w 2100"/>
                <a:gd name="T117" fmla="*/ 2147483647 h 834"/>
                <a:gd name="T118" fmla="*/ 2147483647 w 2100"/>
                <a:gd name="T119" fmla="*/ 2147483647 h 834"/>
                <a:gd name="T120" fmla="*/ 2147483647 w 2100"/>
                <a:gd name="T121" fmla="*/ 2147483647 h 834"/>
                <a:gd name="T122" fmla="*/ 2147483647 w 2100"/>
                <a:gd name="T123" fmla="*/ 2147483647 h 83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100"/>
                <a:gd name="T187" fmla="*/ 0 h 834"/>
                <a:gd name="T188" fmla="*/ 2100 w 2100"/>
                <a:gd name="T189" fmla="*/ 834 h 83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100" h="834">
                  <a:moveTo>
                    <a:pt x="2088" y="408"/>
                  </a:moveTo>
                  <a:lnTo>
                    <a:pt x="2076" y="396"/>
                  </a:lnTo>
                  <a:lnTo>
                    <a:pt x="2070" y="384"/>
                  </a:lnTo>
                  <a:lnTo>
                    <a:pt x="2058" y="384"/>
                  </a:lnTo>
                  <a:lnTo>
                    <a:pt x="2034" y="372"/>
                  </a:lnTo>
                  <a:lnTo>
                    <a:pt x="2022" y="360"/>
                  </a:lnTo>
                  <a:lnTo>
                    <a:pt x="2010" y="354"/>
                  </a:lnTo>
                  <a:lnTo>
                    <a:pt x="2004" y="348"/>
                  </a:lnTo>
                  <a:lnTo>
                    <a:pt x="1986" y="348"/>
                  </a:lnTo>
                  <a:lnTo>
                    <a:pt x="1974" y="342"/>
                  </a:lnTo>
                  <a:lnTo>
                    <a:pt x="1968" y="336"/>
                  </a:lnTo>
                  <a:lnTo>
                    <a:pt x="1968" y="324"/>
                  </a:lnTo>
                  <a:lnTo>
                    <a:pt x="1902" y="324"/>
                  </a:lnTo>
                  <a:lnTo>
                    <a:pt x="1902" y="348"/>
                  </a:lnTo>
                  <a:lnTo>
                    <a:pt x="1896" y="354"/>
                  </a:lnTo>
                  <a:lnTo>
                    <a:pt x="1890" y="354"/>
                  </a:lnTo>
                  <a:lnTo>
                    <a:pt x="1878" y="348"/>
                  </a:lnTo>
                  <a:lnTo>
                    <a:pt x="1866" y="336"/>
                  </a:lnTo>
                  <a:lnTo>
                    <a:pt x="1812" y="336"/>
                  </a:lnTo>
                  <a:lnTo>
                    <a:pt x="1806" y="342"/>
                  </a:lnTo>
                  <a:lnTo>
                    <a:pt x="1812" y="342"/>
                  </a:lnTo>
                  <a:lnTo>
                    <a:pt x="1812" y="348"/>
                  </a:lnTo>
                  <a:lnTo>
                    <a:pt x="1794" y="348"/>
                  </a:lnTo>
                  <a:lnTo>
                    <a:pt x="1788" y="342"/>
                  </a:lnTo>
                  <a:lnTo>
                    <a:pt x="1776" y="336"/>
                  </a:lnTo>
                  <a:lnTo>
                    <a:pt x="1770" y="324"/>
                  </a:lnTo>
                  <a:lnTo>
                    <a:pt x="1770" y="306"/>
                  </a:lnTo>
                  <a:lnTo>
                    <a:pt x="1776" y="306"/>
                  </a:lnTo>
                  <a:lnTo>
                    <a:pt x="1770" y="294"/>
                  </a:lnTo>
                  <a:lnTo>
                    <a:pt x="1764" y="270"/>
                  </a:lnTo>
                  <a:lnTo>
                    <a:pt x="1758" y="258"/>
                  </a:lnTo>
                  <a:lnTo>
                    <a:pt x="1758" y="174"/>
                  </a:lnTo>
                  <a:lnTo>
                    <a:pt x="1740" y="174"/>
                  </a:lnTo>
                  <a:lnTo>
                    <a:pt x="1716" y="168"/>
                  </a:lnTo>
                  <a:lnTo>
                    <a:pt x="1710" y="174"/>
                  </a:lnTo>
                  <a:lnTo>
                    <a:pt x="1698" y="180"/>
                  </a:lnTo>
                  <a:lnTo>
                    <a:pt x="1674" y="180"/>
                  </a:lnTo>
                  <a:lnTo>
                    <a:pt x="1662" y="174"/>
                  </a:lnTo>
                  <a:lnTo>
                    <a:pt x="1644" y="156"/>
                  </a:lnTo>
                  <a:lnTo>
                    <a:pt x="1608" y="156"/>
                  </a:lnTo>
                  <a:lnTo>
                    <a:pt x="1596" y="150"/>
                  </a:lnTo>
                  <a:lnTo>
                    <a:pt x="1578" y="150"/>
                  </a:lnTo>
                  <a:lnTo>
                    <a:pt x="1548" y="180"/>
                  </a:lnTo>
                  <a:lnTo>
                    <a:pt x="1548" y="192"/>
                  </a:lnTo>
                  <a:lnTo>
                    <a:pt x="1536" y="204"/>
                  </a:lnTo>
                  <a:lnTo>
                    <a:pt x="1500" y="204"/>
                  </a:lnTo>
                  <a:lnTo>
                    <a:pt x="1488" y="216"/>
                  </a:lnTo>
                  <a:lnTo>
                    <a:pt x="1440" y="216"/>
                  </a:lnTo>
                  <a:lnTo>
                    <a:pt x="1440" y="222"/>
                  </a:lnTo>
                  <a:lnTo>
                    <a:pt x="1422" y="240"/>
                  </a:lnTo>
                  <a:lnTo>
                    <a:pt x="1416" y="240"/>
                  </a:lnTo>
                  <a:lnTo>
                    <a:pt x="1416" y="234"/>
                  </a:lnTo>
                  <a:lnTo>
                    <a:pt x="1410" y="228"/>
                  </a:lnTo>
                  <a:lnTo>
                    <a:pt x="1392" y="228"/>
                  </a:lnTo>
                  <a:lnTo>
                    <a:pt x="1380" y="234"/>
                  </a:lnTo>
                  <a:lnTo>
                    <a:pt x="1356" y="234"/>
                  </a:lnTo>
                  <a:lnTo>
                    <a:pt x="1344" y="228"/>
                  </a:lnTo>
                  <a:lnTo>
                    <a:pt x="1338" y="228"/>
                  </a:lnTo>
                  <a:lnTo>
                    <a:pt x="1332" y="222"/>
                  </a:lnTo>
                  <a:lnTo>
                    <a:pt x="1266" y="222"/>
                  </a:lnTo>
                  <a:lnTo>
                    <a:pt x="1260" y="216"/>
                  </a:lnTo>
                  <a:lnTo>
                    <a:pt x="1260" y="204"/>
                  </a:lnTo>
                  <a:lnTo>
                    <a:pt x="1248" y="198"/>
                  </a:lnTo>
                  <a:lnTo>
                    <a:pt x="1230" y="198"/>
                  </a:lnTo>
                  <a:lnTo>
                    <a:pt x="1230" y="192"/>
                  </a:lnTo>
                  <a:lnTo>
                    <a:pt x="1218" y="180"/>
                  </a:lnTo>
                  <a:lnTo>
                    <a:pt x="1218" y="174"/>
                  </a:lnTo>
                  <a:lnTo>
                    <a:pt x="1212" y="168"/>
                  </a:lnTo>
                  <a:lnTo>
                    <a:pt x="1152" y="168"/>
                  </a:lnTo>
                  <a:lnTo>
                    <a:pt x="1128" y="144"/>
                  </a:lnTo>
                  <a:lnTo>
                    <a:pt x="1092" y="144"/>
                  </a:lnTo>
                  <a:lnTo>
                    <a:pt x="1086" y="138"/>
                  </a:lnTo>
                  <a:lnTo>
                    <a:pt x="1080" y="138"/>
                  </a:lnTo>
                  <a:lnTo>
                    <a:pt x="1068" y="132"/>
                  </a:lnTo>
                  <a:lnTo>
                    <a:pt x="1020" y="132"/>
                  </a:lnTo>
                  <a:lnTo>
                    <a:pt x="966" y="150"/>
                  </a:lnTo>
                  <a:lnTo>
                    <a:pt x="954" y="156"/>
                  </a:lnTo>
                  <a:lnTo>
                    <a:pt x="942" y="156"/>
                  </a:lnTo>
                  <a:lnTo>
                    <a:pt x="930" y="150"/>
                  </a:lnTo>
                  <a:lnTo>
                    <a:pt x="918" y="150"/>
                  </a:lnTo>
                  <a:lnTo>
                    <a:pt x="912" y="144"/>
                  </a:lnTo>
                  <a:lnTo>
                    <a:pt x="882" y="144"/>
                  </a:lnTo>
                  <a:lnTo>
                    <a:pt x="864" y="126"/>
                  </a:lnTo>
                  <a:lnTo>
                    <a:pt x="864" y="120"/>
                  </a:lnTo>
                  <a:lnTo>
                    <a:pt x="840" y="126"/>
                  </a:lnTo>
                  <a:lnTo>
                    <a:pt x="840" y="120"/>
                  </a:lnTo>
                  <a:lnTo>
                    <a:pt x="834" y="114"/>
                  </a:lnTo>
                  <a:lnTo>
                    <a:pt x="822" y="90"/>
                  </a:lnTo>
                  <a:lnTo>
                    <a:pt x="810" y="78"/>
                  </a:lnTo>
                  <a:lnTo>
                    <a:pt x="804" y="66"/>
                  </a:lnTo>
                  <a:lnTo>
                    <a:pt x="798" y="60"/>
                  </a:lnTo>
                  <a:lnTo>
                    <a:pt x="786" y="54"/>
                  </a:lnTo>
                  <a:lnTo>
                    <a:pt x="768" y="54"/>
                  </a:lnTo>
                  <a:lnTo>
                    <a:pt x="756" y="60"/>
                  </a:lnTo>
                  <a:lnTo>
                    <a:pt x="750" y="60"/>
                  </a:lnTo>
                  <a:lnTo>
                    <a:pt x="726" y="48"/>
                  </a:lnTo>
                  <a:lnTo>
                    <a:pt x="720" y="42"/>
                  </a:lnTo>
                  <a:lnTo>
                    <a:pt x="708" y="36"/>
                  </a:lnTo>
                  <a:lnTo>
                    <a:pt x="672" y="36"/>
                  </a:lnTo>
                  <a:lnTo>
                    <a:pt x="648" y="30"/>
                  </a:lnTo>
                  <a:lnTo>
                    <a:pt x="636" y="30"/>
                  </a:lnTo>
                  <a:lnTo>
                    <a:pt x="576" y="0"/>
                  </a:lnTo>
                  <a:lnTo>
                    <a:pt x="576" y="18"/>
                  </a:lnTo>
                  <a:lnTo>
                    <a:pt x="570" y="30"/>
                  </a:lnTo>
                  <a:lnTo>
                    <a:pt x="558" y="36"/>
                  </a:lnTo>
                  <a:lnTo>
                    <a:pt x="552" y="36"/>
                  </a:lnTo>
                  <a:lnTo>
                    <a:pt x="558" y="48"/>
                  </a:lnTo>
                  <a:lnTo>
                    <a:pt x="540" y="48"/>
                  </a:lnTo>
                  <a:lnTo>
                    <a:pt x="540" y="60"/>
                  </a:lnTo>
                  <a:lnTo>
                    <a:pt x="552" y="72"/>
                  </a:lnTo>
                  <a:lnTo>
                    <a:pt x="558" y="90"/>
                  </a:lnTo>
                  <a:lnTo>
                    <a:pt x="582" y="126"/>
                  </a:lnTo>
                  <a:lnTo>
                    <a:pt x="588" y="126"/>
                  </a:lnTo>
                  <a:lnTo>
                    <a:pt x="594" y="132"/>
                  </a:lnTo>
                  <a:lnTo>
                    <a:pt x="600" y="144"/>
                  </a:lnTo>
                  <a:lnTo>
                    <a:pt x="600" y="168"/>
                  </a:lnTo>
                  <a:lnTo>
                    <a:pt x="582" y="168"/>
                  </a:lnTo>
                  <a:lnTo>
                    <a:pt x="582" y="174"/>
                  </a:lnTo>
                  <a:lnTo>
                    <a:pt x="576" y="180"/>
                  </a:lnTo>
                  <a:lnTo>
                    <a:pt x="552" y="192"/>
                  </a:lnTo>
                  <a:lnTo>
                    <a:pt x="546" y="186"/>
                  </a:lnTo>
                  <a:lnTo>
                    <a:pt x="546" y="174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456" y="168"/>
                  </a:lnTo>
                  <a:lnTo>
                    <a:pt x="450" y="174"/>
                  </a:lnTo>
                  <a:lnTo>
                    <a:pt x="450" y="180"/>
                  </a:lnTo>
                  <a:lnTo>
                    <a:pt x="444" y="168"/>
                  </a:lnTo>
                  <a:lnTo>
                    <a:pt x="420" y="174"/>
                  </a:lnTo>
                  <a:lnTo>
                    <a:pt x="414" y="162"/>
                  </a:lnTo>
                  <a:lnTo>
                    <a:pt x="384" y="162"/>
                  </a:lnTo>
                  <a:lnTo>
                    <a:pt x="366" y="156"/>
                  </a:lnTo>
                  <a:lnTo>
                    <a:pt x="360" y="150"/>
                  </a:lnTo>
                  <a:lnTo>
                    <a:pt x="360" y="138"/>
                  </a:lnTo>
                  <a:lnTo>
                    <a:pt x="354" y="132"/>
                  </a:lnTo>
                  <a:lnTo>
                    <a:pt x="354" y="126"/>
                  </a:lnTo>
                  <a:lnTo>
                    <a:pt x="312" y="126"/>
                  </a:lnTo>
                  <a:lnTo>
                    <a:pt x="294" y="132"/>
                  </a:lnTo>
                  <a:lnTo>
                    <a:pt x="270" y="132"/>
                  </a:lnTo>
                  <a:lnTo>
                    <a:pt x="264" y="114"/>
                  </a:lnTo>
                  <a:lnTo>
                    <a:pt x="228" y="114"/>
                  </a:lnTo>
                  <a:lnTo>
                    <a:pt x="228" y="108"/>
                  </a:lnTo>
                  <a:lnTo>
                    <a:pt x="210" y="114"/>
                  </a:lnTo>
                  <a:lnTo>
                    <a:pt x="204" y="108"/>
                  </a:lnTo>
                  <a:lnTo>
                    <a:pt x="186" y="108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74" y="126"/>
                  </a:lnTo>
                  <a:lnTo>
                    <a:pt x="174" y="132"/>
                  </a:lnTo>
                  <a:lnTo>
                    <a:pt x="150" y="132"/>
                  </a:lnTo>
                  <a:lnTo>
                    <a:pt x="138" y="150"/>
                  </a:lnTo>
                  <a:lnTo>
                    <a:pt x="120" y="150"/>
                  </a:lnTo>
                  <a:lnTo>
                    <a:pt x="84" y="186"/>
                  </a:lnTo>
                  <a:lnTo>
                    <a:pt x="84" y="192"/>
                  </a:lnTo>
                  <a:lnTo>
                    <a:pt x="90" y="198"/>
                  </a:lnTo>
                  <a:lnTo>
                    <a:pt x="66" y="198"/>
                  </a:lnTo>
                  <a:lnTo>
                    <a:pt x="72" y="210"/>
                  </a:lnTo>
                  <a:lnTo>
                    <a:pt x="12" y="210"/>
                  </a:lnTo>
                  <a:lnTo>
                    <a:pt x="12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58"/>
                  </a:lnTo>
                  <a:lnTo>
                    <a:pt x="0" y="264"/>
                  </a:lnTo>
                  <a:lnTo>
                    <a:pt x="24" y="264"/>
                  </a:lnTo>
                  <a:lnTo>
                    <a:pt x="24" y="282"/>
                  </a:lnTo>
                  <a:lnTo>
                    <a:pt x="36" y="288"/>
                  </a:lnTo>
                  <a:lnTo>
                    <a:pt x="48" y="288"/>
                  </a:lnTo>
                  <a:lnTo>
                    <a:pt x="60" y="294"/>
                  </a:lnTo>
                  <a:lnTo>
                    <a:pt x="72" y="294"/>
                  </a:lnTo>
                  <a:lnTo>
                    <a:pt x="78" y="306"/>
                  </a:lnTo>
                  <a:lnTo>
                    <a:pt x="102" y="330"/>
                  </a:lnTo>
                  <a:lnTo>
                    <a:pt x="138" y="318"/>
                  </a:lnTo>
                  <a:lnTo>
                    <a:pt x="156" y="330"/>
                  </a:lnTo>
                  <a:lnTo>
                    <a:pt x="162" y="336"/>
                  </a:lnTo>
                  <a:lnTo>
                    <a:pt x="174" y="336"/>
                  </a:lnTo>
                  <a:lnTo>
                    <a:pt x="186" y="342"/>
                  </a:lnTo>
                  <a:lnTo>
                    <a:pt x="204" y="348"/>
                  </a:lnTo>
                  <a:lnTo>
                    <a:pt x="222" y="366"/>
                  </a:lnTo>
                  <a:lnTo>
                    <a:pt x="228" y="378"/>
                  </a:lnTo>
                  <a:lnTo>
                    <a:pt x="240" y="396"/>
                  </a:lnTo>
                  <a:lnTo>
                    <a:pt x="264" y="414"/>
                  </a:lnTo>
                  <a:lnTo>
                    <a:pt x="276" y="426"/>
                  </a:lnTo>
                  <a:lnTo>
                    <a:pt x="282" y="438"/>
                  </a:lnTo>
                  <a:lnTo>
                    <a:pt x="282" y="450"/>
                  </a:lnTo>
                  <a:lnTo>
                    <a:pt x="288" y="456"/>
                  </a:lnTo>
                  <a:lnTo>
                    <a:pt x="294" y="468"/>
                  </a:lnTo>
                  <a:lnTo>
                    <a:pt x="300" y="474"/>
                  </a:lnTo>
                  <a:lnTo>
                    <a:pt x="300" y="480"/>
                  </a:lnTo>
                  <a:lnTo>
                    <a:pt x="288" y="492"/>
                  </a:lnTo>
                  <a:lnTo>
                    <a:pt x="288" y="504"/>
                  </a:lnTo>
                  <a:lnTo>
                    <a:pt x="294" y="522"/>
                  </a:lnTo>
                  <a:lnTo>
                    <a:pt x="300" y="534"/>
                  </a:lnTo>
                  <a:lnTo>
                    <a:pt x="306" y="540"/>
                  </a:lnTo>
                  <a:lnTo>
                    <a:pt x="318" y="546"/>
                  </a:lnTo>
                  <a:lnTo>
                    <a:pt x="330" y="546"/>
                  </a:lnTo>
                  <a:lnTo>
                    <a:pt x="342" y="552"/>
                  </a:lnTo>
                  <a:lnTo>
                    <a:pt x="348" y="552"/>
                  </a:lnTo>
                  <a:lnTo>
                    <a:pt x="366" y="558"/>
                  </a:lnTo>
                  <a:lnTo>
                    <a:pt x="390" y="564"/>
                  </a:lnTo>
                  <a:lnTo>
                    <a:pt x="486" y="564"/>
                  </a:lnTo>
                  <a:lnTo>
                    <a:pt x="492" y="570"/>
                  </a:lnTo>
                  <a:lnTo>
                    <a:pt x="498" y="570"/>
                  </a:lnTo>
                  <a:lnTo>
                    <a:pt x="510" y="576"/>
                  </a:lnTo>
                  <a:lnTo>
                    <a:pt x="516" y="576"/>
                  </a:lnTo>
                  <a:lnTo>
                    <a:pt x="528" y="582"/>
                  </a:lnTo>
                  <a:lnTo>
                    <a:pt x="534" y="594"/>
                  </a:lnTo>
                  <a:lnTo>
                    <a:pt x="540" y="594"/>
                  </a:lnTo>
                  <a:lnTo>
                    <a:pt x="546" y="600"/>
                  </a:lnTo>
                  <a:lnTo>
                    <a:pt x="552" y="600"/>
                  </a:lnTo>
                  <a:lnTo>
                    <a:pt x="576" y="612"/>
                  </a:lnTo>
                  <a:lnTo>
                    <a:pt x="588" y="612"/>
                  </a:lnTo>
                  <a:lnTo>
                    <a:pt x="594" y="618"/>
                  </a:lnTo>
                  <a:lnTo>
                    <a:pt x="630" y="618"/>
                  </a:lnTo>
                  <a:lnTo>
                    <a:pt x="642" y="642"/>
                  </a:lnTo>
                  <a:lnTo>
                    <a:pt x="684" y="684"/>
                  </a:lnTo>
                  <a:lnTo>
                    <a:pt x="690" y="696"/>
                  </a:lnTo>
                  <a:lnTo>
                    <a:pt x="720" y="726"/>
                  </a:lnTo>
                  <a:lnTo>
                    <a:pt x="732" y="732"/>
                  </a:lnTo>
                  <a:lnTo>
                    <a:pt x="738" y="744"/>
                  </a:lnTo>
                  <a:lnTo>
                    <a:pt x="750" y="750"/>
                  </a:lnTo>
                  <a:lnTo>
                    <a:pt x="810" y="744"/>
                  </a:lnTo>
                  <a:lnTo>
                    <a:pt x="864" y="750"/>
                  </a:lnTo>
                  <a:lnTo>
                    <a:pt x="912" y="750"/>
                  </a:lnTo>
                  <a:lnTo>
                    <a:pt x="948" y="756"/>
                  </a:lnTo>
                  <a:lnTo>
                    <a:pt x="954" y="750"/>
                  </a:lnTo>
                  <a:lnTo>
                    <a:pt x="966" y="744"/>
                  </a:lnTo>
                  <a:lnTo>
                    <a:pt x="972" y="738"/>
                  </a:lnTo>
                  <a:lnTo>
                    <a:pt x="984" y="738"/>
                  </a:lnTo>
                  <a:lnTo>
                    <a:pt x="996" y="744"/>
                  </a:lnTo>
                  <a:lnTo>
                    <a:pt x="1002" y="744"/>
                  </a:lnTo>
                  <a:lnTo>
                    <a:pt x="1008" y="750"/>
                  </a:lnTo>
                  <a:lnTo>
                    <a:pt x="1062" y="750"/>
                  </a:lnTo>
                  <a:lnTo>
                    <a:pt x="1080" y="756"/>
                  </a:lnTo>
                  <a:lnTo>
                    <a:pt x="1092" y="756"/>
                  </a:lnTo>
                  <a:lnTo>
                    <a:pt x="1110" y="774"/>
                  </a:lnTo>
                  <a:lnTo>
                    <a:pt x="1116" y="786"/>
                  </a:lnTo>
                  <a:lnTo>
                    <a:pt x="1128" y="792"/>
                  </a:lnTo>
                  <a:lnTo>
                    <a:pt x="1152" y="798"/>
                  </a:lnTo>
                  <a:lnTo>
                    <a:pt x="1200" y="798"/>
                  </a:lnTo>
                  <a:lnTo>
                    <a:pt x="1218" y="804"/>
                  </a:lnTo>
                  <a:lnTo>
                    <a:pt x="1242" y="816"/>
                  </a:lnTo>
                  <a:lnTo>
                    <a:pt x="1248" y="822"/>
                  </a:lnTo>
                  <a:lnTo>
                    <a:pt x="1260" y="822"/>
                  </a:lnTo>
                  <a:lnTo>
                    <a:pt x="1266" y="816"/>
                  </a:lnTo>
                  <a:lnTo>
                    <a:pt x="1278" y="816"/>
                  </a:lnTo>
                  <a:lnTo>
                    <a:pt x="1290" y="810"/>
                  </a:lnTo>
                  <a:lnTo>
                    <a:pt x="1302" y="810"/>
                  </a:lnTo>
                  <a:lnTo>
                    <a:pt x="1302" y="816"/>
                  </a:lnTo>
                  <a:lnTo>
                    <a:pt x="1308" y="828"/>
                  </a:lnTo>
                  <a:lnTo>
                    <a:pt x="1314" y="828"/>
                  </a:lnTo>
                  <a:lnTo>
                    <a:pt x="1320" y="834"/>
                  </a:lnTo>
                  <a:lnTo>
                    <a:pt x="1338" y="834"/>
                  </a:lnTo>
                  <a:lnTo>
                    <a:pt x="1344" y="828"/>
                  </a:lnTo>
                  <a:lnTo>
                    <a:pt x="1362" y="816"/>
                  </a:lnTo>
                  <a:lnTo>
                    <a:pt x="1422" y="780"/>
                  </a:lnTo>
                  <a:lnTo>
                    <a:pt x="1440" y="768"/>
                  </a:lnTo>
                  <a:lnTo>
                    <a:pt x="1596" y="768"/>
                  </a:lnTo>
                  <a:lnTo>
                    <a:pt x="1614" y="744"/>
                  </a:lnTo>
                  <a:lnTo>
                    <a:pt x="1638" y="744"/>
                  </a:lnTo>
                  <a:lnTo>
                    <a:pt x="1650" y="738"/>
                  </a:lnTo>
                  <a:lnTo>
                    <a:pt x="1662" y="714"/>
                  </a:lnTo>
                  <a:lnTo>
                    <a:pt x="1662" y="708"/>
                  </a:lnTo>
                  <a:lnTo>
                    <a:pt x="1668" y="696"/>
                  </a:lnTo>
                  <a:lnTo>
                    <a:pt x="1668" y="690"/>
                  </a:lnTo>
                  <a:lnTo>
                    <a:pt x="1692" y="690"/>
                  </a:lnTo>
                  <a:lnTo>
                    <a:pt x="1704" y="678"/>
                  </a:lnTo>
                  <a:lnTo>
                    <a:pt x="1710" y="666"/>
                  </a:lnTo>
                  <a:lnTo>
                    <a:pt x="1716" y="660"/>
                  </a:lnTo>
                  <a:lnTo>
                    <a:pt x="1716" y="654"/>
                  </a:lnTo>
                  <a:lnTo>
                    <a:pt x="1704" y="648"/>
                  </a:lnTo>
                  <a:lnTo>
                    <a:pt x="1686" y="630"/>
                  </a:lnTo>
                  <a:lnTo>
                    <a:pt x="1674" y="624"/>
                  </a:lnTo>
                  <a:lnTo>
                    <a:pt x="1656" y="606"/>
                  </a:lnTo>
                  <a:lnTo>
                    <a:pt x="1650" y="594"/>
                  </a:lnTo>
                  <a:lnTo>
                    <a:pt x="1650" y="582"/>
                  </a:lnTo>
                  <a:lnTo>
                    <a:pt x="1656" y="570"/>
                  </a:lnTo>
                  <a:lnTo>
                    <a:pt x="1656" y="558"/>
                  </a:lnTo>
                  <a:lnTo>
                    <a:pt x="1668" y="552"/>
                  </a:lnTo>
                  <a:lnTo>
                    <a:pt x="1692" y="552"/>
                  </a:lnTo>
                  <a:lnTo>
                    <a:pt x="1698" y="558"/>
                  </a:lnTo>
                  <a:lnTo>
                    <a:pt x="1704" y="558"/>
                  </a:lnTo>
                  <a:lnTo>
                    <a:pt x="1710" y="564"/>
                  </a:lnTo>
                  <a:lnTo>
                    <a:pt x="1722" y="570"/>
                  </a:lnTo>
                  <a:lnTo>
                    <a:pt x="1728" y="576"/>
                  </a:lnTo>
                  <a:lnTo>
                    <a:pt x="1740" y="582"/>
                  </a:lnTo>
                  <a:lnTo>
                    <a:pt x="1764" y="582"/>
                  </a:lnTo>
                  <a:lnTo>
                    <a:pt x="1776" y="576"/>
                  </a:lnTo>
                  <a:lnTo>
                    <a:pt x="1794" y="576"/>
                  </a:lnTo>
                  <a:lnTo>
                    <a:pt x="1806" y="570"/>
                  </a:lnTo>
                  <a:lnTo>
                    <a:pt x="1812" y="558"/>
                  </a:lnTo>
                  <a:lnTo>
                    <a:pt x="1818" y="552"/>
                  </a:lnTo>
                  <a:lnTo>
                    <a:pt x="1818" y="528"/>
                  </a:lnTo>
                  <a:lnTo>
                    <a:pt x="1890" y="528"/>
                  </a:lnTo>
                  <a:lnTo>
                    <a:pt x="1914" y="504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902" y="474"/>
                  </a:lnTo>
                  <a:lnTo>
                    <a:pt x="1938" y="456"/>
                  </a:lnTo>
                  <a:lnTo>
                    <a:pt x="1950" y="456"/>
                  </a:lnTo>
                  <a:lnTo>
                    <a:pt x="1950" y="438"/>
                  </a:lnTo>
                  <a:lnTo>
                    <a:pt x="1980" y="444"/>
                  </a:lnTo>
                  <a:lnTo>
                    <a:pt x="1998" y="426"/>
                  </a:lnTo>
                  <a:lnTo>
                    <a:pt x="2004" y="426"/>
                  </a:lnTo>
                  <a:lnTo>
                    <a:pt x="2010" y="420"/>
                  </a:lnTo>
                  <a:lnTo>
                    <a:pt x="2040" y="420"/>
                  </a:lnTo>
                  <a:lnTo>
                    <a:pt x="2052" y="426"/>
                  </a:lnTo>
                  <a:lnTo>
                    <a:pt x="2058" y="432"/>
                  </a:lnTo>
                  <a:lnTo>
                    <a:pt x="2094" y="432"/>
                  </a:lnTo>
                  <a:lnTo>
                    <a:pt x="2100" y="426"/>
                  </a:lnTo>
                  <a:lnTo>
                    <a:pt x="2100" y="420"/>
                  </a:lnTo>
                  <a:lnTo>
                    <a:pt x="2088" y="40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88" name="Moldova" descr="© INSCALE GmbH, 05.05.2010&#10;http://www.presentationload.com/"/>
            <p:cNvSpPr>
              <a:spLocks/>
            </p:cNvSpPr>
            <p:nvPr/>
          </p:nvSpPr>
          <p:spPr bwMode="gray">
            <a:xfrm>
              <a:off x="5037829" y="3094928"/>
              <a:ext cx="69112" cy="73487"/>
            </a:xfrm>
            <a:custGeom>
              <a:avLst/>
              <a:gdLst>
                <a:gd name="T0" fmla="*/ 2147483647 w 216"/>
                <a:gd name="T1" fmla="*/ 2147483647 h 240"/>
                <a:gd name="T2" fmla="*/ 2147483647 w 216"/>
                <a:gd name="T3" fmla="*/ 2147483647 h 240"/>
                <a:gd name="T4" fmla="*/ 2147483647 w 216"/>
                <a:gd name="T5" fmla="*/ 2147483647 h 240"/>
                <a:gd name="T6" fmla="*/ 2147483647 w 216"/>
                <a:gd name="T7" fmla="*/ 2147483647 h 240"/>
                <a:gd name="T8" fmla="*/ 2147483647 w 216"/>
                <a:gd name="T9" fmla="*/ 2147483647 h 240"/>
                <a:gd name="T10" fmla="*/ 2147483647 w 216"/>
                <a:gd name="T11" fmla="*/ 2147483647 h 240"/>
                <a:gd name="T12" fmla="*/ 2147483647 w 216"/>
                <a:gd name="T13" fmla="*/ 2147483647 h 240"/>
                <a:gd name="T14" fmla="*/ 2147483647 w 216"/>
                <a:gd name="T15" fmla="*/ 2147483647 h 240"/>
                <a:gd name="T16" fmla="*/ 2147483647 w 216"/>
                <a:gd name="T17" fmla="*/ 2147483647 h 240"/>
                <a:gd name="T18" fmla="*/ 2147483647 w 216"/>
                <a:gd name="T19" fmla="*/ 2147483647 h 240"/>
                <a:gd name="T20" fmla="*/ 2147483647 w 216"/>
                <a:gd name="T21" fmla="*/ 2147483647 h 240"/>
                <a:gd name="T22" fmla="*/ 2147483647 w 216"/>
                <a:gd name="T23" fmla="*/ 2147483647 h 240"/>
                <a:gd name="T24" fmla="*/ 2147483647 w 216"/>
                <a:gd name="T25" fmla="*/ 2147483647 h 240"/>
                <a:gd name="T26" fmla="*/ 2147483647 w 216"/>
                <a:gd name="T27" fmla="*/ 2147483647 h 240"/>
                <a:gd name="T28" fmla="*/ 2147483647 w 216"/>
                <a:gd name="T29" fmla="*/ 2147483647 h 240"/>
                <a:gd name="T30" fmla="*/ 2147483647 w 216"/>
                <a:gd name="T31" fmla="*/ 2147483647 h 240"/>
                <a:gd name="T32" fmla="*/ 2147483647 w 216"/>
                <a:gd name="T33" fmla="*/ 2147483647 h 240"/>
                <a:gd name="T34" fmla="*/ 2147483647 w 216"/>
                <a:gd name="T35" fmla="*/ 2147483647 h 240"/>
                <a:gd name="T36" fmla="*/ 2147483647 w 216"/>
                <a:gd name="T37" fmla="*/ 2147483647 h 240"/>
                <a:gd name="T38" fmla="*/ 2147483647 w 216"/>
                <a:gd name="T39" fmla="*/ 2147483647 h 240"/>
                <a:gd name="T40" fmla="*/ 2147483647 w 216"/>
                <a:gd name="T41" fmla="*/ 2147483647 h 240"/>
                <a:gd name="T42" fmla="*/ 2147483647 w 216"/>
                <a:gd name="T43" fmla="*/ 2147483647 h 240"/>
                <a:gd name="T44" fmla="*/ 2147483647 w 216"/>
                <a:gd name="T45" fmla="*/ 2147483647 h 240"/>
                <a:gd name="T46" fmla="*/ 2147483647 w 216"/>
                <a:gd name="T47" fmla="*/ 2147483647 h 240"/>
                <a:gd name="T48" fmla="*/ 2147483647 w 216"/>
                <a:gd name="T49" fmla="*/ 2147483647 h 240"/>
                <a:gd name="T50" fmla="*/ 2147483647 w 216"/>
                <a:gd name="T51" fmla="*/ 2147483647 h 240"/>
                <a:gd name="T52" fmla="*/ 2147483647 w 216"/>
                <a:gd name="T53" fmla="*/ 2147483647 h 240"/>
                <a:gd name="T54" fmla="*/ 2147483647 w 216"/>
                <a:gd name="T55" fmla="*/ 2147483647 h 240"/>
                <a:gd name="T56" fmla="*/ 2147483647 w 216"/>
                <a:gd name="T57" fmla="*/ 2147483647 h 240"/>
                <a:gd name="T58" fmla="*/ 2147483647 w 216"/>
                <a:gd name="T59" fmla="*/ 2147483647 h 240"/>
                <a:gd name="T60" fmla="*/ 2147483647 w 216"/>
                <a:gd name="T61" fmla="*/ 0 h 240"/>
                <a:gd name="T62" fmla="*/ 2147483647 w 216"/>
                <a:gd name="T63" fmla="*/ 2147483647 h 240"/>
                <a:gd name="T64" fmla="*/ 2147483647 w 216"/>
                <a:gd name="T65" fmla="*/ 2147483647 h 240"/>
                <a:gd name="T66" fmla="*/ 2147483647 w 216"/>
                <a:gd name="T67" fmla="*/ 2147483647 h 24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240"/>
                <a:gd name="T104" fmla="*/ 216 w 216"/>
                <a:gd name="T105" fmla="*/ 240 h 24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240">
                  <a:moveTo>
                    <a:pt x="0" y="18"/>
                  </a:moveTo>
                  <a:lnTo>
                    <a:pt x="18" y="24"/>
                  </a:lnTo>
                  <a:lnTo>
                    <a:pt x="24" y="30"/>
                  </a:lnTo>
                  <a:lnTo>
                    <a:pt x="30" y="42"/>
                  </a:lnTo>
                  <a:lnTo>
                    <a:pt x="36" y="48"/>
                  </a:lnTo>
                  <a:lnTo>
                    <a:pt x="36" y="60"/>
                  </a:lnTo>
                  <a:lnTo>
                    <a:pt x="60" y="72"/>
                  </a:lnTo>
                  <a:lnTo>
                    <a:pt x="66" y="96"/>
                  </a:lnTo>
                  <a:lnTo>
                    <a:pt x="78" y="96"/>
                  </a:lnTo>
                  <a:lnTo>
                    <a:pt x="84" y="114"/>
                  </a:lnTo>
                  <a:lnTo>
                    <a:pt x="102" y="114"/>
                  </a:lnTo>
                  <a:lnTo>
                    <a:pt x="108" y="120"/>
                  </a:lnTo>
                  <a:lnTo>
                    <a:pt x="108" y="162"/>
                  </a:lnTo>
                  <a:lnTo>
                    <a:pt x="114" y="162"/>
                  </a:lnTo>
                  <a:lnTo>
                    <a:pt x="108" y="168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102" y="198"/>
                  </a:lnTo>
                  <a:lnTo>
                    <a:pt x="108" y="210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38" y="234"/>
                  </a:lnTo>
                  <a:lnTo>
                    <a:pt x="138" y="222"/>
                  </a:lnTo>
                  <a:lnTo>
                    <a:pt x="132" y="216"/>
                  </a:lnTo>
                  <a:lnTo>
                    <a:pt x="132" y="204"/>
                  </a:lnTo>
                  <a:lnTo>
                    <a:pt x="138" y="204"/>
                  </a:lnTo>
                  <a:lnTo>
                    <a:pt x="150" y="198"/>
                  </a:lnTo>
                  <a:lnTo>
                    <a:pt x="156" y="192"/>
                  </a:lnTo>
                  <a:lnTo>
                    <a:pt x="174" y="180"/>
                  </a:lnTo>
                  <a:lnTo>
                    <a:pt x="168" y="174"/>
                  </a:lnTo>
                  <a:lnTo>
                    <a:pt x="156" y="168"/>
                  </a:lnTo>
                  <a:lnTo>
                    <a:pt x="150" y="168"/>
                  </a:lnTo>
                  <a:lnTo>
                    <a:pt x="150" y="162"/>
                  </a:lnTo>
                  <a:lnTo>
                    <a:pt x="156" y="156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98" y="162"/>
                  </a:lnTo>
                  <a:lnTo>
                    <a:pt x="210" y="156"/>
                  </a:lnTo>
                  <a:lnTo>
                    <a:pt x="216" y="156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20"/>
                  </a:lnTo>
                  <a:lnTo>
                    <a:pt x="192" y="114"/>
                  </a:lnTo>
                  <a:lnTo>
                    <a:pt x="180" y="114"/>
                  </a:lnTo>
                  <a:lnTo>
                    <a:pt x="180" y="96"/>
                  </a:lnTo>
                  <a:lnTo>
                    <a:pt x="186" y="90"/>
                  </a:lnTo>
                  <a:lnTo>
                    <a:pt x="180" y="84"/>
                  </a:lnTo>
                  <a:lnTo>
                    <a:pt x="174" y="84"/>
                  </a:lnTo>
                  <a:lnTo>
                    <a:pt x="162" y="90"/>
                  </a:lnTo>
                  <a:lnTo>
                    <a:pt x="162" y="66"/>
                  </a:lnTo>
                  <a:lnTo>
                    <a:pt x="168" y="60"/>
                  </a:lnTo>
                  <a:lnTo>
                    <a:pt x="162" y="48"/>
                  </a:lnTo>
                  <a:lnTo>
                    <a:pt x="156" y="42"/>
                  </a:lnTo>
                  <a:lnTo>
                    <a:pt x="144" y="36"/>
                  </a:lnTo>
                  <a:lnTo>
                    <a:pt x="126" y="36"/>
                  </a:lnTo>
                  <a:lnTo>
                    <a:pt x="126" y="24"/>
                  </a:lnTo>
                  <a:lnTo>
                    <a:pt x="120" y="18"/>
                  </a:lnTo>
                  <a:lnTo>
                    <a:pt x="78" y="18"/>
                  </a:lnTo>
                  <a:lnTo>
                    <a:pt x="78" y="12"/>
                  </a:lnTo>
                  <a:lnTo>
                    <a:pt x="72" y="12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12"/>
                  </a:lnTo>
                  <a:lnTo>
                    <a:pt x="24" y="12"/>
                  </a:lnTo>
                  <a:lnTo>
                    <a:pt x="12" y="6"/>
                  </a:lnTo>
                  <a:lnTo>
                    <a:pt x="6" y="6"/>
                  </a:lnTo>
                  <a:lnTo>
                    <a:pt x="0" y="1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89" name="Mexico" descr="© INSCALE GmbH, 05.05.2010&#10;http://www.presentationload.com/"/>
            <p:cNvSpPr>
              <a:spLocks/>
            </p:cNvSpPr>
            <p:nvPr/>
          </p:nvSpPr>
          <p:spPr bwMode="gray">
            <a:xfrm>
              <a:off x="1902219" y="3486861"/>
              <a:ext cx="604085" cy="453172"/>
            </a:xfrm>
            <a:custGeom>
              <a:avLst/>
              <a:gdLst>
                <a:gd name="T0" fmla="*/ 2147483647 w 1860"/>
                <a:gd name="T1" fmla="*/ 2147483647 h 1458"/>
                <a:gd name="T2" fmla="*/ 2147483647 w 1860"/>
                <a:gd name="T3" fmla="*/ 2147483647 h 1458"/>
                <a:gd name="T4" fmla="*/ 2147483647 w 1860"/>
                <a:gd name="T5" fmla="*/ 2147483647 h 1458"/>
                <a:gd name="T6" fmla="*/ 2147483647 w 1860"/>
                <a:gd name="T7" fmla="*/ 2147483647 h 1458"/>
                <a:gd name="T8" fmla="*/ 2147483647 w 1860"/>
                <a:gd name="T9" fmla="*/ 2147483647 h 1458"/>
                <a:gd name="T10" fmla="*/ 2147483647 w 1860"/>
                <a:gd name="T11" fmla="*/ 2147483647 h 1458"/>
                <a:gd name="T12" fmla="*/ 2147483647 w 1860"/>
                <a:gd name="T13" fmla="*/ 2147483647 h 1458"/>
                <a:gd name="T14" fmla="*/ 2147483647 w 1860"/>
                <a:gd name="T15" fmla="*/ 2147483647 h 1458"/>
                <a:gd name="T16" fmla="*/ 2147483647 w 1860"/>
                <a:gd name="T17" fmla="*/ 2147483647 h 1458"/>
                <a:gd name="T18" fmla="*/ 2147483647 w 1860"/>
                <a:gd name="T19" fmla="*/ 2147483647 h 1458"/>
                <a:gd name="T20" fmla="*/ 2147483647 w 1860"/>
                <a:gd name="T21" fmla="*/ 2147483647 h 1458"/>
                <a:gd name="T22" fmla="*/ 2147483647 w 1860"/>
                <a:gd name="T23" fmla="*/ 2147483647 h 1458"/>
                <a:gd name="T24" fmla="*/ 2147483647 w 1860"/>
                <a:gd name="T25" fmla="*/ 2147483647 h 1458"/>
                <a:gd name="T26" fmla="*/ 2147483647 w 1860"/>
                <a:gd name="T27" fmla="*/ 2147483647 h 1458"/>
                <a:gd name="T28" fmla="*/ 2147483647 w 1860"/>
                <a:gd name="T29" fmla="*/ 2147483647 h 1458"/>
                <a:gd name="T30" fmla="*/ 2147483647 w 1860"/>
                <a:gd name="T31" fmla="*/ 2147483647 h 1458"/>
                <a:gd name="T32" fmla="*/ 2147483647 w 1860"/>
                <a:gd name="T33" fmla="*/ 2147483647 h 1458"/>
                <a:gd name="T34" fmla="*/ 2147483647 w 1860"/>
                <a:gd name="T35" fmla="*/ 2147483647 h 1458"/>
                <a:gd name="T36" fmla="*/ 2147483647 w 1860"/>
                <a:gd name="T37" fmla="*/ 2147483647 h 1458"/>
                <a:gd name="T38" fmla="*/ 2147483647 w 1860"/>
                <a:gd name="T39" fmla="*/ 2147483647 h 1458"/>
                <a:gd name="T40" fmla="*/ 2147483647 w 1860"/>
                <a:gd name="T41" fmla="*/ 2147483647 h 1458"/>
                <a:gd name="T42" fmla="*/ 2147483647 w 1860"/>
                <a:gd name="T43" fmla="*/ 2147483647 h 1458"/>
                <a:gd name="T44" fmla="*/ 2147483647 w 1860"/>
                <a:gd name="T45" fmla="*/ 2147483647 h 1458"/>
                <a:gd name="T46" fmla="*/ 2147483647 w 1860"/>
                <a:gd name="T47" fmla="*/ 2147483647 h 1458"/>
                <a:gd name="T48" fmla="*/ 2147483647 w 1860"/>
                <a:gd name="T49" fmla="*/ 2147483647 h 1458"/>
                <a:gd name="T50" fmla="*/ 2147483647 w 1860"/>
                <a:gd name="T51" fmla="*/ 2147483647 h 1458"/>
                <a:gd name="T52" fmla="*/ 2147483647 w 1860"/>
                <a:gd name="T53" fmla="*/ 2147483647 h 1458"/>
                <a:gd name="T54" fmla="*/ 2147483647 w 1860"/>
                <a:gd name="T55" fmla="*/ 2147483647 h 1458"/>
                <a:gd name="T56" fmla="*/ 0 w 1860"/>
                <a:gd name="T57" fmla="*/ 2147483647 h 1458"/>
                <a:gd name="T58" fmla="*/ 2147483647 w 1860"/>
                <a:gd name="T59" fmla="*/ 2147483647 h 1458"/>
                <a:gd name="T60" fmla="*/ 2147483647 w 1860"/>
                <a:gd name="T61" fmla="*/ 2147483647 h 1458"/>
                <a:gd name="T62" fmla="*/ 2147483647 w 1860"/>
                <a:gd name="T63" fmla="*/ 2147483647 h 1458"/>
                <a:gd name="T64" fmla="*/ 2147483647 w 1860"/>
                <a:gd name="T65" fmla="*/ 2147483647 h 1458"/>
                <a:gd name="T66" fmla="*/ 2147483647 w 1860"/>
                <a:gd name="T67" fmla="*/ 2147483647 h 1458"/>
                <a:gd name="T68" fmla="*/ 2147483647 w 1860"/>
                <a:gd name="T69" fmla="*/ 2147483647 h 1458"/>
                <a:gd name="T70" fmla="*/ 2147483647 w 1860"/>
                <a:gd name="T71" fmla="*/ 2147483647 h 1458"/>
                <a:gd name="T72" fmla="*/ 2147483647 w 1860"/>
                <a:gd name="T73" fmla="*/ 2147483647 h 1458"/>
                <a:gd name="T74" fmla="*/ 2147483647 w 1860"/>
                <a:gd name="T75" fmla="*/ 2147483647 h 1458"/>
                <a:gd name="T76" fmla="*/ 2147483647 w 1860"/>
                <a:gd name="T77" fmla="*/ 2147483647 h 1458"/>
                <a:gd name="T78" fmla="*/ 2147483647 w 1860"/>
                <a:gd name="T79" fmla="*/ 2147483647 h 1458"/>
                <a:gd name="T80" fmla="*/ 2147483647 w 1860"/>
                <a:gd name="T81" fmla="*/ 2147483647 h 1458"/>
                <a:gd name="T82" fmla="*/ 2147483647 w 1860"/>
                <a:gd name="T83" fmla="*/ 2147483647 h 1458"/>
                <a:gd name="T84" fmla="*/ 2147483647 w 1860"/>
                <a:gd name="T85" fmla="*/ 2147483647 h 1458"/>
                <a:gd name="T86" fmla="*/ 2147483647 w 1860"/>
                <a:gd name="T87" fmla="*/ 2147483647 h 1458"/>
                <a:gd name="T88" fmla="*/ 2147483647 w 1860"/>
                <a:gd name="T89" fmla="*/ 2147483647 h 1458"/>
                <a:gd name="T90" fmla="*/ 2147483647 w 1860"/>
                <a:gd name="T91" fmla="*/ 2147483647 h 1458"/>
                <a:gd name="T92" fmla="*/ 2147483647 w 1860"/>
                <a:gd name="T93" fmla="*/ 2147483647 h 1458"/>
                <a:gd name="T94" fmla="*/ 2147483647 w 1860"/>
                <a:gd name="T95" fmla="*/ 2147483647 h 1458"/>
                <a:gd name="T96" fmla="*/ 2147483647 w 1860"/>
                <a:gd name="T97" fmla="*/ 2147483647 h 1458"/>
                <a:gd name="T98" fmla="*/ 2147483647 w 1860"/>
                <a:gd name="T99" fmla="*/ 2147483647 h 1458"/>
                <a:gd name="T100" fmla="*/ 2147483647 w 1860"/>
                <a:gd name="T101" fmla="*/ 2147483647 h 1458"/>
                <a:gd name="T102" fmla="*/ 2147483647 w 1860"/>
                <a:gd name="T103" fmla="*/ 2147483647 h 1458"/>
                <a:gd name="T104" fmla="*/ 2147483647 w 1860"/>
                <a:gd name="T105" fmla="*/ 2147483647 h 1458"/>
                <a:gd name="T106" fmla="*/ 2147483647 w 1860"/>
                <a:gd name="T107" fmla="*/ 2147483647 h 1458"/>
                <a:gd name="T108" fmla="*/ 2147483647 w 1860"/>
                <a:gd name="T109" fmla="*/ 2147483647 h 1458"/>
                <a:gd name="T110" fmla="*/ 2147483647 w 1860"/>
                <a:gd name="T111" fmla="*/ 2147483647 h 1458"/>
                <a:gd name="T112" fmla="*/ 2147483647 w 1860"/>
                <a:gd name="T113" fmla="*/ 2147483647 h 1458"/>
                <a:gd name="T114" fmla="*/ 2147483647 w 1860"/>
                <a:gd name="T115" fmla="*/ 2147483647 h 1458"/>
                <a:gd name="T116" fmla="*/ 2147483647 w 1860"/>
                <a:gd name="T117" fmla="*/ 2147483647 h 1458"/>
                <a:gd name="T118" fmla="*/ 2147483647 w 1860"/>
                <a:gd name="T119" fmla="*/ 2147483647 h 1458"/>
                <a:gd name="T120" fmla="*/ 2147483647 w 1860"/>
                <a:gd name="T121" fmla="*/ 2147483647 h 145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860"/>
                <a:gd name="T184" fmla="*/ 0 h 1458"/>
                <a:gd name="T185" fmla="*/ 1860 w 1860"/>
                <a:gd name="T186" fmla="*/ 1458 h 145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860" h="1458">
                  <a:moveTo>
                    <a:pt x="1422" y="1440"/>
                  </a:moveTo>
                  <a:lnTo>
                    <a:pt x="1422" y="1380"/>
                  </a:lnTo>
                  <a:lnTo>
                    <a:pt x="1452" y="1332"/>
                  </a:lnTo>
                  <a:lnTo>
                    <a:pt x="1542" y="1338"/>
                  </a:lnTo>
                  <a:lnTo>
                    <a:pt x="1542" y="1320"/>
                  </a:lnTo>
                  <a:lnTo>
                    <a:pt x="1548" y="1320"/>
                  </a:lnTo>
                  <a:lnTo>
                    <a:pt x="1554" y="1314"/>
                  </a:lnTo>
                  <a:lnTo>
                    <a:pt x="1554" y="1302"/>
                  </a:lnTo>
                  <a:lnTo>
                    <a:pt x="1536" y="1302"/>
                  </a:lnTo>
                  <a:lnTo>
                    <a:pt x="1530" y="1278"/>
                  </a:lnTo>
                  <a:lnTo>
                    <a:pt x="1524" y="1278"/>
                  </a:lnTo>
                  <a:lnTo>
                    <a:pt x="1512" y="1272"/>
                  </a:lnTo>
                  <a:lnTo>
                    <a:pt x="1506" y="1272"/>
                  </a:lnTo>
                  <a:lnTo>
                    <a:pt x="1500" y="1266"/>
                  </a:lnTo>
                  <a:lnTo>
                    <a:pt x="1494" y="1254"/>
                  </a:lnTo>
                  <a:lnTo>
                    <a:pt x="1494" y="1248"/>
                  </a:lnTo>
                  <a:lnTo>
                    <a:pt x="1482" y="1242"/>
                  </a:lnTo>
                  <a:lnTo>
                    <a:pt x="1506" y="1242"/>
                  </a:lnTo>
                  <a:lnTo>
                    <a:pt x="1518" y="1236"/>
                  </a:lnTo>
                  <a:lnTo>
                    <a:pt x="1524" y="1236"/>
                  </a:lnTo>
                  <a:lnTo>
                    <a:pt x="1524" y="1212"/>
                  </a:lnTo>
                  <a:lnTo>
                    <a:pt x="1518" y="1200"/>
                  </a:lnTo>
                  <a:lnTo>
                    <a:pt x="1518" y="1188"/>
                  </a:lnTo>
                  <a:lnTo>
                    <a:pt x="1650" y="1194"/>
                  </a:lnTo>
                  <a:lnTo>
                    <a:pt x="1656" y="1182"/>
                  </a:lnTo>
                  <a:lnTo>
                    <a:pt x="1656" y="1176"/>
                  </a:lnTo>
                  <a:lnTo>
                    <a:pt x="1662" y="1176"/>
                  </a:lnTo>
                  <a:lnTo>
                    <a:pt x="1668" y="1182"/>
                  </a:lnTo>
                  <a:lnTo>
                    <a:pt x="1668" y="1188"/>
                  </a:lnTo>
                  <a:lnTo>
                    <a:pt x="1674" y="1188"/>
                  </a:lnTo>
                  <a:lnTo>
                    <a:pt x="1680" y="1182"/>
                  </a:lnTo>
                  <a:lnTo>
                    <a:pt x="1692" y="1176"/>
                  </a:lnTo>
                  <a:lnTo>
                    <a:pt x="1698" y="1164"/>
                  </a:lnTo>
                  <a:lnTo>
                    <a:pt x="1698" y="1152"/>
                  </a:lnTo>
                  <a:lnTo>
                    <a:pt x="1704" y="1146"/>
                  </a:lnTo>
                  <a:lnTo>
                    <a:pt x="1704" y="1140"/>
                  </a:lnTo>
                  <a:lnTo>
                    <a:pt x="1710" y="1152"/>
                  </a:lnTo>
                  <a:lnTo>
                    <a:pt x="1746" y="1116"/>
                  </a:lnTo>
                  <a:lnTo>
                    <a:pt x="1746" y="1122"/>
                  </a:lnTo>
                  <a:lnTo>
                    <a:pt x="1740" y="1128"/>
                  </a:lnTo>
                  <a:lnTo>
                    <a:pt x="1740" y="1146"/>
                  </a:lnTo>
                  <a:lnTo>
                    <a:pt x="1746" y="1152"/>
                  </a:lnTo>
                  <a:lnTo>
                    <a:pt x="1758" y="1152"/>
                  </a:lnTo>
                  <a:lnTo>
                    <a:pt x="1782" y="1086"/>
                  </a:lnTo>
                  <a:lnTo>
                    <a:pt x="1770" y="1074"/>
                  </a:lnTo>
                  <a:lnTo>
                    <a:pt x="1794" y="1068"/>
                  </a:lnTo>
                  <a:lnTo>
                    <a:pt x="1794" y="1056"/>
                  </a:lnTo>
                  <a:lnTo>
                    <a:pt x="1776" y="1050"/>
                  </a:lnTo>
                  <a:lnTo>
                    <a:pt x="1794" y="1032"/>
                  </a:lnTo>
                  <a:lnTo>
                    <a:pt x="1800" y="1008"/>
                  </a:lnTo>
                  <a:lnTo>
                    <a:pt x="1806" y="996"/>
                  </a:lnTo>
                  <a:lnTo>
                    <a:pt x="1818" y="990"/>
                  </a:lnTo>
                  <a:lnTo>
                    <a:pt x="1824" y="978"/>
                  </a:lnTo>
                  <a:lnTo>
                    <a:pt x="1836" y="966"/>
                  </a:lnTo>
                  <a:lnTo>
                    <a:pt x="1842" y="954"/>
                  </a:lnTo>
                  <a:lnTo>
                    <a:pt x="1848" y="948"/>
                  </a:lnTo>
                  <a:lnTo>
                    <a:pt x="1854" y="936"/>
                  </a:lnTo>
                  <a:lnTo>
                    <a:pt x="1854" y="930"/>
                  </a:lnTo>
                  <a:lnTo>
                    <a:pt x="1860" y="918"/>
                  </a:lnTo>
                  <a:lnTo>
                    <a:pt x="1860" y="900"/>
                  </a:lnTo>
                  <a:lnTo>
                    <a:pt x="1854" y="894"/>
                  </a:lnTo>
                  <a:lnTo>
                    <a:pt x="1818" y="894"/>
                  </a:lnTo>
                  <a:lnTo>
                    <a:pt x="1812" y="900"/>
                  </a:lnTo>
                  <a:lnTo>
                    <a:pt x="1800" y="900"/>
                  </a:lnTo>
                  <a:lnTo>
                    <a:pt x="1794" y="894"/>
                  </a:lnTo>
                  <a:lnTo>
                    <a:pt x="1782" y="894"/>
                  </a:lnTo>
                  <a:lnTo>
                    <a:pt x="1770" y="888"/>
                  </a:lnTo>
                  <a:lnTo>
                    <a:pt x="1746" y="888"/>
                  </a:lnTo>
                  <a:lnTo>
                    <a:pt x="1734" y="894"/>
                  </a:lnTo>
                  <a:lnTo>
                    <a:pt x="1716" y="900"/>
                  </a:lnTo>
                  <a:lnTo>
                    <a:pt x="1698" y="900"/>
                  </a:lnTo>
                  <a:lnTo>
                    <a:pt x="1686" y="906"/>
                  </a:lnTo>
                  <a:lnTo>
                    <a:pt x="1668" y="906"/>
                  </a:lnTo>
                  <a:lnTo>
                    <a:pt x="1656" y="912"/>
                  </a:lnTo>
                  <a:lnTo>
                    <a:pt x="1626" y="912"/>
                  </a:lnTo>
                  <a:lnTo>
                    <a:pt x="1614" y="918"/>
                  </a:lnTo>
                  <a:lnTo>
                    <a:pt x="1608" y="924"/>
                  </a:lnTo>
                  <a:lnTo>
                    <a:pt x="1596" y="948"/>
                  </a:lnTo>
                  <a:lnTo>
                    <a:pt x="1590" y="966"/>
                  </a:lnTo>
                  <a:lnTo>
                    <a:pt x="1590" y="1026"/>
                  </a:lnTo>
                  <a:lnTo>
                    <a:pt x="1572" y="1032"/>
                  </a:lnTo>
                  <a:lnTo>
                    <a:pt x="1572" y="1062"/>
                  </a:lnTo>
                  <a:lnTo>
                    <a:pt x="1566" y="1074"/>
                  </a:lnTo>
                  <a:lnTo>
                    <a:pt x="1542" y="1086"/>
                  </a:lnTo>
                  <a:lnTo>
                    <a:pt x="1524" y="1098"/>
                  </a:lnTo>
                  <a:lnTo>
                    <a:pt x="1512" y="1110"/>
                  </a:lnTo>
                  <a:lnTo>
                    <a:pt x="1512" y="1122"/>
                  </a:lnTo>
                  <a:lnTo>
                    <a:pt x="1506" y="1128"/>
                  </a:lnTo>
                  <a:lnTo>
                    <a:pt x="1506" y="1140"/>
                  </a:lnTo>
                  <a:lnTo>
                    <a:pt x="1500" y="1146"/>
                  </a:lnTo>
                  <a:lnTo>
                    <a:pt x="1488" y="1146"/>
                  </a:lnTo>
                  <a:lnTo>
                    <a:pt x="1476" y="1134"/>
                  </a:lnTo>
                  <a:lnTo>
                    <a:pt x="1476" y="1128"/>
                  </a:lnTo>
                  <a:lnTo>
                    <a:pt x="1470" y="1122"/>
                  </a:lnTo>
                  <a:lnTo>
                    <a:pt x="1440" y="1122"/>
                  </a:lnTo>
                  <a:lnTo>
                    <a:pt x="1416" y="1128"/>
                  </a:lnTo>
                  <a:lnTo>
                    <a:pt x="1392" y="1140"/>
                  </a:lnTo>
                  <a:lnTo>
                    <a:pt x="1356" y="1140"/>
                  </a:lnTo>
                  <a:lnTo>
                    <a:pt x="1338" y="1146"/>
                  </a:lnTo>
                  <a:lnTo>
                    <a:pt x="1290" y="1170"/>
                  </a:lnTo>
                  <a:lnTo>
                    <a:pt x="1284" y="1170"/>
                  </a:lnTo>
                  <a:lnTo>
                    <a:pt x="1272" y="1158"/>
                  </a:lnTo>
                  <a:lnTo>
                    <a:pt x="1266" y="1146"/>
                  </a:lnTo>
                  <a:lnTo>
                    <a:pt x="1266" y="1140"/>
                  </a:lnTo>
                  <a:lnTo>
                    <a:pt x="1260" y="1128"/>
                  </a:lnTo>
                  <a:lnTo>
                    <a:pt x="1242" y="1128"/>
                  </a:lnTo>
                  <a:lnTo>
                    <a:pt x="1224" y="1122"/>
                  </a:lnTo>
                  <a:lnTo>
                    <a:pt x="1194" y="1122"/>
                  </a:lnTo>
                  <a:lnTo>
                    <a:pt x="1194" y="1104"/>
                  </a:lnTo>
                  <a:lnTo>
                    <a:pt x="1188" y="1092"/>
                  </a:lnTo>
                  <a:lnTo>
                    <a:pt x="1176" y="1080"/>
                  </a:lnTo>
                  <a:lnTo>
                    <a:pt x="1170" y="1068"/>
                  </a:lnTo>
                  <a:lnTo>
                    <a:pt x="1164" y="1062"/>
                  </a:lnTo>
                  <a:lnTo>
                    <a:pt x="1164" y="1026"/>
                  </a:lnTo>
                  <a:lnTo>
                    <a:pt x="1128" y="966"/>
                  </a:lnTo>
                  <a:lnTo>
                    <a:pt x="1122" y="924"/>
                  </a:lnTo>
                  <a:lnTo>
                    <a:pt x="1110" y="894"/>
                  </a:lnTo>
                  <a:lnTo>
                    <a:pt x="1104" y="804"/>
                  </a:lnTo>
                  <a:lnTo>
                    <a:pt x="1110" y="798"/>
                  </a:lnTo>
                  <a:lnTo>
                    <a:pt x="1122" y="774"/>
                  </a:lnTo>
                  <a:lnTo>
                    <a:pt x="1128" y="768"/>
                  </a:lnTo>
                  <a:lnTo>
                    <a:pt x="1128" y="654"/>
                  </a:lnTo>
                  <a:lnTo>
                    <a:pt x="1152" y="648"/>
                  </a:lnTo>
                  <a:lnTo>
                    <a:pt x="1152" y="612"/>
                  </a:lnTo>
                  <a:lnTo>
                    <a:pt x="1158" y="600"/>
                  </a:lnTo>
                  <a:lnTo>
                    <a:pt x="1158" y="594"/>
                  </a:lnTo>
                  <a:lnTo>
                    <a:pt x="1164" y="588"/>
                  </a:lnTo>
                  <a:lnTo>
                    <a:pt x="1176" y="588"/>
                  </a:lnTo>
                  <a:lnTo>
                    <a:pt x="1182" y="594"/>
                  </a:lnTo>
                  <a:lnTo>
                    <a:pt x="1188" y="594"/>
                  </a:lnTo>
                  <a:lnTo>
                    <a:pt x="1188" y="588"/>
                  </a:lnTo>
                  <a:lnTo>
                    <a:pt x="1194" y="576"/>
                  </a:lnTo>
                  <a:lnTo>
                    <a:pt x="1194" y="564"/>
                  </a:lnTo>
                  <a:lnTo>
                    <a:pt x="1200" y="558"/>
                  </a:lnTo>
                  <a:lnTo>
                    <a:pt x="1206" y="546"/>
                  </a:lnTo>
                  <a:lnTo>
                    <a:pt x="1206" y="540"/>
                  </a:lnTo>
                  <a:lnTo>
                    <a:pt x="1206" y="546"/>
                  </a:lnTo>
                  <a:lnTo>
                    <a:pt x="1182" y="546"/>
                  </a:lnTo>
                  <a:lnTo>
                    <a:pt x="1176" y="534"/>
                  </a:lnTo>
                  <a:lnTo>
                    <a:pt x="1176" y="528"/>
                  </a:lnTo>
                  <a:lnTo>
                    <a:pt x="1134" y="528"/>
                  </a:lnTo>
                  <a:lnTo>
                    <a:pt x="1122" y="516"/>
                  </a:lnTo>
                  <a:lnTo>
                    <a:pt x="1110" y="516"/>
                  </a:lnTo>
                  <a:lnTo>
                    <a:pt x="1092" y="510"/>
                  </a:lnTo>
                  <a:lnTo>
                    <a:pt x="1080" y="498"/>
                  </a:lnTo>
                  <a:lnTo>
                    <a:pt x="1080" y="468"/>
                  </a:lnTo>
                  <a:lnTo>
                    <a:pt x="1068" y="456"/>
                  </a:lnTo>
                  <a:lnTo>
                    <a:pt x="1068" y="420"/>
                  </a:lnTo>
                  <a:lnTo>
                    <a:pt x="1074" y="420"/>
                  </a:lnTo>
                  <a:lnTo>
                    <a:pt x="1080" y="414"/>
                  </a:lnTo>
                  <a:lnTo>
                    <a:pt x="1080" y="408"/>
                  </a:lnTo>
                  <a:lnTo>
                    <a:pt x="1068" y="396"/>
                  </a:lnTo>
                  <a:lnTo>
                    <a:pt x="1056" y="390"/>
                  </a:lnTo>
                  <a:lnTo>
                    <a:pt x="1050" y="384"/>
                  </a:lnTo>
                  <a:lnTo>
                    <a:pt x="1050" y="360"/>
                  </a:lnTo>
                  <a:lnTo>
                    <a:pt x="1038" y="354"/>
                  </a:lnTo>
                  <a:lnTo>
                    <a:pt x="1032" y="342"/>
                  </a:lnTo>
                  <a:lnTo>
                    <a:pt x="1032" y="330"/>
                  </a:lnTo>
                  <a:lnTo>
                    <a:pt x="1038" y="318"/>
                  </a:lnTo>
                  <a:lnTo>
                    <a:pt x="1038" y="294"/>
                  </a:lnTo>
                  <a:lnTo>
                    <a:pt x="1026" y="282"/>
                  </a:lnTo>
                  <a:lnTo>
                    <a:pt x="1020" y="270"/>
                  </a:lnTo>
                  <a:lnTo>
                    <a:pt x="1008" y="258"/>
                  </a:lnTo>
                  <a:lnTo>
                    <a:pt x="1002" y="246"/>
                  </a:lnTo>
                  <a:lnTo>
                    <a:pt x="996" y="240"/>
                  </a:lnTo>
                  <a:lnTo>
                    <a:pt x="990" y="228"/>
                  </a:lnTo>
                  <a:lnTo>
                    <a:pt x="948" y="228"/>
                  </a:lnTo>
                  <a:lnTo>
                    <a:pt x="930" y="222"/>
                  </a:lnTo>
                  <a:lnTo>
                    <a:pt x="930" y="228"/>
                  </a:lnTo>
                  <a:lnTo>
                    <a:pt x="912" y="228"/>
                  </a:lnTo>
                  <a:lnTo>
                    <a:pt x="900" y="240"/>
                  </a:lnTo>
                  <a:lnTo>
                    <a:pt x="888" y="264"/>
                  </a:lnTo>
                  <a:lnTo>
                    <a:pt x="876" y="276"/>
                  </a:lnTo>
                  <a:lnTo>
                    <a:pt x="852" y="288"/>
                  </a:lnTo>
                  <a:lnTo>
                    <a:pt x="840" y="288"/>
                  </a:lnTo>
                  <a:lnTo>
                    <a:pt x="822" y="276"/>
                  </a:lnTo>
                  <a:lnTo>
                    <a:pt x="810" y="270"/>
                  </a:lnTo>
                  <a:lnTo>
                    <a:pt x="780" y="240"/>
                  </a:lnTo>
                  <a:lnTo>
                    <a:pt x="780" y="228"/>
                  </a:lnTo>
                  <a:lnTo>
                    <a:pt x="786" y="216"/>
                  </a:lnTo>
                  <a:lnTo>
                    <a:pt x="786" y="174"/>
                  </a:lnTo>
                  <a:lnTo>
                    <a:pt x="780" y="162"/>
                  </a:lnTo>
                  <a:lnTo>
                    <a:pt x="768" y="150"/>
                  </a:lnTo>
                  <a:lnTo>
                    <a:pt x="756" y="144"/>
                  </a:lnTo>
                  <a:lnTo>
                    <a:pt x="744" y="144"/>
                  </a:lnTo>
                  <a:lnTo>
                    <a:pt x="738" y="114"/>
                  </a:lnTo>
                  <a:lnTo>
                    <a:pt x="708" y="102"/>
                  </a:lnTo>
                  <a:lnTo>
                    <a:pt x="708" y="78"/>
                  </a:lnTo>
                  <a:lnTo>
                    <a:pt x="696" y="66"/>
                  </a:lnTo>
                  <a:lnTo>
                    <a:pt x="582" y="66"/>
                  </a:lnTo>
                  <a:lnTo>
                    <a:pt x="576" y="72"/>
                  </a:lnTo>
                  <a:lnTo>
                    <a:pt x="576" y="90"/>
                  </a:lnTo>
                  <a:lnTo>
                    <a:pt x="570" y="102"/>
                  </a:lnTo>
                  <a:lnTo>
                    <a:pt x="570" y="108"/>
                  </a:lnTo>
                  <a:lnTo>
                    <a:pt x="366" y="108"/>
                  </a:lnTo>
                  <a:lnTo>
                    <a:pt x="156" y="12"/>
                  </a:lnTo>
                  <a:lnTo>
                    <a:pt x="150" y="12"/>
                  </a:lnTo>
                  <a:lnTo>
                    <a:pt x="150" y="6"/>
                  </a:lnTo>
                  <a:lnTo>
                    <a:pt x="156" y="0"/>
                  </a:lnTo>
                  <a:lnTo>
                    <a:pt x="12" y="6"/>
                  </a:lnTo>
                  <a:lnTo>
                    <a:pt x="6" y="0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2" y="66"/>
                  </a:lnTo>
                  <a:lnTo>
                    <a:pt x="18" y="78"/>
                  </a:lnTo>
                  <a:lnTo>
                    <a:pt x="0" y="90"/>
                  </a:lnTo>
                  <a:lnTo>
                    <a:pt x="12" y="114"/>
                  </a:lnTo>
                  <a:lnTo>
                    <a:pt x="6" y="126"/>
                  </a:lnTo>
                  <a:lnTo>
                    <a:pt x="24" y="144"/>
                  </a:lnTo>
                  <a:lnTo>
                    <a:pt x="6" y="174"/>
                  </a:lnTo>
                  <a:lnTo>
                    <a:pt x="18" y="180"/>
                  </a:lnTo>
                  <a:lnTo>
                    <a:pt x="18" y="210"/>
                  </a:lnTo>
                  <a:lnTo>
                    <a:pt x="24" y="228"/>
                  </a:lnTo>
                  <a:lnTo>
                    <a:pt x="24" y="240"/>
                  </a:lnTo>
                  <a:lnTo>
                    <a:pt x="30" y="252"/>
                  </a:lnTo>
                  <a:lnTo>
                    <a:pt x="42" y="264"/>
                  </a:lnTo>
                  <a:lnTo>
                    <a:pt x="60" y="264"/>
                  </a:lnTo>
                  <a:lnTo>
                    <a:pt x="60" y="270"/>
                  </a:lnTo>
                  <a:lnTo>
                    <a:pt x="66" y="276"/>
                  </a:lnTo>
                  <a:lnTo>
                    <a:pt x="72" y="288"/>
                  </a:lnTo>
                  <a:lnTo>
                    <a:pt x="84" y="300"/>
                  </a:lnTo>
                  <a:lnTo>
                    <a:pt x="90" y="318"/>
                  </a:lnTo>
                  <a:lnTo>
                    <a:pt x="96" y="330"/>
                  </a:lnTo>
                  <a:lnTo>
                    <a:pt x="96" y="342"/>
                  </a:lnTo>
                  <a:lnTo>
                    <a:pt x="78" y="378"/>
                  </a:lnTo>
                  <a:lnTo>
                    <a:pt x="72" y="384"/>
                  </a:lnTo>
                  <a:lnTo>
                    <a:pt x="72" y="390"/>
                  </a:lnTo>
                  <a:lnTo>
                    <a:pt x="84" y="396"/>
                  </a:lnTo>
                  <a:lnTo>
                    <a:pt x="72" y="414"/>
                  </a:lnTo>
                  <a:lnTo>
                    <a:pt x="60" y="396"/>
                  </a:lnTo>
                  <a:lnTo>
                    <a:pt x="12" y="390"/>
                  </a:lnTo>
                  <a:lnTo>
                    <a:pt x="36" y="414"/>
                  </a:lnTo>
                  <a:lnTo>
                    <a:pt x="42" y="438"/>
                  </a:lnTo>
                  <a:lnTo>
                    <a:pt x="66" y="444"/>
                  </a:lnTo>
                  <a:lnTo>
                    <a:pt x="78" y="456"/>
                  </a:lnTo>
                  <a:lnTo>
                    <a:pt x="84" y="468"/>
                  </a:lnTo>
                  <a:lnTo>
                    <a:pt x="90" y="474"/>
                  </a:lnTo>
                  <a:lnTo>
                    <a:pt x="96" y="474"/>
                  </a:lnTo>
                  <a:lnTo>
                    <a:pt x="102" y="468"/>
                  </a:lnTo>
                  <a:lnTo>
                    <a:pt x="108" y="468"/>
                  </a:lnTo>
                  <a:lnTo>
                    <a:pt x="120" y="462"/>
                  </a:lnTo>
                  <a:lnTo>
                    <a:pt x="126" y="456"/>
                  </a:lnTo>
                  <a:lnTo>
                    <a:pt x="126" y="480"/>
                  </a:lnTo>
                  <a:lnTo>
                    <a:pt x="144" y="516"/>
                  </a:lnTo>
                  <a:lnTo>
                    <a:pt x="156" y="528"/>
                  </a:lnTo>
                  <a:lnTo>
                    <a:pt x="168" y="552"/>
                  </a:lnTo>
                  <a:lnTo>
                    <a:pt x="168" y="564"/>
                  </a:lnTo>
                  <a:lnTo>
                    <a:pt x="156" y="588"/>
                  </a:lnTo>
                  <a:lnTo>
                    <a:pt x="150" y="606"/>
                  </a:lnTo>
                  <a:lnTo>
                    <a:pt x="150" y="618"/>
                  </a:lnTo>
                  <a:lnTo>
                    <a:pt x="180" y="648"/>
                  </a:lnTo>
                  <a:lnTo>
                    <a:pt x="192" y="666"/>
                  </a:lnTo>
                  <a:lnTo>
                    <a:pt x="222" y="696"/>
                  </a:lnTo>
                  <a:lnTo>
                    <a:pt x="234" y="714"/>
                  </a:lnTo>
                  <a:lnTo>
                    <a:pt x="264" y="744"/>
                  </a:lnTo>
                  <a:lnTo>
                    <a:pt x="258" y="750"/>
                  </a:lnTo>
                  <a:lnTo>
                    <a:pt x="258" y="762"/>
                  </a:lnTo>
                  <a:lnTo>
                    <a:pt x="252" y="768"/>
                  </a:lnTo>
                  <a:lnTo>
                    <a:pt x="252" y="780"/>
                  </a:lnTo>
                  <a:lnTo>
                    <a:pt x="258" y="786"/>
                  </a:lnTo>
                  <a:lnTo>
                    <a:pt x="276" y="786"/>
                  </a:lnTo>
                  <a:lnTo>
                    <a:pt x="288" y="780"/>
                  </a:lnTo>
                  <a:lnTo>
                    <a:pt x="294" y="768"/>
                  </a:lnTo>
                  <a:lnTo>
                    <a:pt x="306" y="762"/>
                  </a:lnTo>
                  <a:lnTo>
                    <a:pt x="312" y="756"/>
                  </a:lnTo>
                  <a:lnTo>
                    <a:pt x="306" y="738"/>
                  </a:lnTo>
                  <a:lnTo>
                    <a:pt x="306" y="732"/>
                  </a:lnTo>
                  <a:lnTo>
                    <a:pt x="300" y="726"/>
                  </a:lnTo>
                  <a:lnTo>
                    <a:pt x="300" y="708"/>
                  </a:lnTo>
                  <a:lnTo>
                    <a:pt x="288" y="684"/>
                  </a:lnTo>
                  <a:lnTo>
                    <a:pt x="282" y="678"/>
                  </a:lnTo>
                  <a:lnTo>
                    <a:pt x="258" y="678"/>
                  </a:lnTo>
                  <a:lnTo>
                    <a:pt x="240" y="648"/>
                  </a:lnTo>
                  <a:lnTo>
                    <a:pt x="240" y="576"/>
                  </a:lnTo>
                  <a:lnTo>
                    <a:pt x="222" y="546"/>
                  </a:lnTo>
                  <a:lnTo>
                    <a:pt x="228" y="534"/>
                  </a:lnTo>
                  <a:lnTo>
                    <a:pt x="228" y="528"/>
                  </a:lnTo>
                  <a:lnTo>
                    <a:pt x="234" y="516"/>
                  </a:lnTo>
                  <a:lnTo>
                    <a:pt x="234" y="492"/>
                  </a:lnTo>
                  <a:lnTo>
                    <a:pt x="228" y="486"/>
                  </a:lnTo>
                  <a:lnTo>
                    <a:pt x="216" y="480"/>
                  </a:lnTo>
                  <a:lnTo>
                    <a:pt x="210" y="474"/>
                  </a:lnTo>
                  <a:lnTo>
                    <a:pt x="198" y="474"/>
                  </a:lnTo>
                  <a:lnTo>
                    <a:pt x="198" y="432"/>
                  </a:lnTo>
                  <a:lnTo>
                    <a:pt x="168" y="396"/>
                  </a:lnTo>
                  <a:lnTo>
                    <a:pt x="174" y="336"/>
                  </a:lnTo>
                  <a:lnTo>
                    <a:pt x="168" y="330"/>
                  </a:lnTo>
                  <a:lnTo>
                    <a:pt x="162" y="318"/>
                  </a:lnTo>
                  <a:lnTo>
                    <a:pt x="144" y="300"/>
                  </a:lnTo>
                  <a:lnTo>
                    <a:pt x="138" y="288"/>
                  </a:lnTo>
                  <a:lnTo>
                    <a:pt x="138" y="276"/>
                  </a:lnTo>
                  <a:lnTo>
                    <a:pt x="132" y="264"/>
                  </a:lnTo>
                  <a:lnTo>
                    <a:pt x="132" y="246"/>
                  </a:lnTo>
                  <a:lnTo>
                    <a:pt x="126" y="240"/>
                  </a:lnTo>
                  <a:lnTo>
                    <a:pt x="120" y="228"/>
                  </a:lnTo>
                  <a:lnTo>
                    <a:pt x="108" y="216"/>
                  </a:lnTo>
                  <a:lnTo>
                    <a:pt x="102" y="204"/>
                  </a:lnTo>
                  <a:lnTo>
                    <a:pt x="96" y="198"/>
                  </a:lnTo>
                  <a:lnTo>
                    <a:pt x="96" y="192"/>
                  </a:lnTo>
                  <a:lnTo>
                    <a:pt x="102" y="186"/>
                  </a:lnTo>
                  <a:lnTo>
                    <a:pt x="114" y="162"/>
                  </a:lnTo>
                  <a:lnTo>
                    <a:pt x="114" y="114"/>
                  </a:lnTo>
                  <a:lnTo>
                    <a:pt x="120" y="108"/>
                  </a:lnTo>
                  <a:lnTo>
                    <a:pt x="126" y="96"/>
                  </a:lnTo>
                  <a:lnTo>
                    <a:pt x="126" y="60"/>
                  </a:lnTo>
                  <a:lnTo>
                    <a:pt x="132" y="66"/>
                  </a:lnTo>
                  <a:lnTo>
                    <a:pt x="144" y="72"/>
                  </a:lnTo>
                  <a:lnTo>
                    <a:pt x="150" y="84"/>
                  </a:lnTo>
                  <a:lnTo>
                    <a:pt x="162" y="90"/>
                  </a:lnTo>
                  <a:lnTo>
                    <a:pt x="180" y="90"/>
                  </a:lnTo>
                  <a:lnTo>
                    <a:pt x="186" y="84"/>
                  </a:lnTo>
                  <a:lnTo>
                    <a:pt x="198" y="84"/>
                  </a:lnTo>
                  <a:lnTo>
                    <a:pt x="198" y="102"/>
                  </a:lnTo>
                  <a:lnTo>
                    <a:pt x="204" y="108"/>
                  </a:lnTo>
                  <a:lnTo>
                    <a:pt x="216" y="114"/>
                  </a:lnTo>
                  <a:lnTo>
                    <a:pt x="234" y="114"/>
                  </a:lnTo>
                  <a:lnTo>
                    <a:pt x="234" y="120"/>
                  </a:lnTo>
                  <a:lnTo>
                    <a:pt x="228" y="126"/>
                  </a:lnTo>
                  <a:lnTo>
                    <a:pt x="228" y="186"/>
                  </a:lnTo>
                  <a:lnTo>
                    <a:pt x="240" y="258"/>
                  </a:lnTo>
                  <a:lnTo>
                    <a:pt x="240" y="270"/>
                  </a:lnTo>
                  <a:lnTo>
                    <a:pt x="246" y="282"/>
                  </a:lnTo>
                  <a:lnTo>
                    <a:pt x="252" y="306"/>
                  </a:lnTo>
                  <a:lnTo>
                    <a:pt x="264" y="342"/>
                  </a:lnTo>
                  <a:lnTo>
                    <a:pt x="276" y="372"/>
                  </a:lnTo>
                  <a:lnTo>
                    <a:pt x="282" y="384"/>
                  </a:lnTo>
                  <a:lnTo>
                    <a:pt x="324" y="384"/>
                  </a:lnTo>
                  <a:lnTo>
                    <a:pt x="318" y="390"/>
                  </a:lnTo>
                  <a:lnTo>
                    <a:pt x="306" y="414"/>
                  </a:lnTo>
                  <a:lnTo>
                    <a:pt x="318" y="438"/>
                  </a:lnTo>
                  <a:lnTo>
                    <a:pt x="330" y="444"/>
                  </a:lnTo>
                  <a:lnTo>
                    <a:pt x="336" y="450"/>
                  </a:lnTo>
                  <a:lnTo>
                    <a:pt x="348" y="450"/>
                  </a:lnTo>
                  <a:lnTo>
                    <a:pt x="354" y="474"/>
                  </a:lnTo>
                  <a:lnTo>
                    <a:pt x="384" y="474"/>
                  </a:lnTo>
                  <a:lnTo>
                    <a:pt x="390" y="516"/>
                  </a:lnTo>
                  <a:lnTo>
                    <a:pt x="384" y="516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lnTo>
                    <a:pt x="354" y="546"/>
                  </a:lnTo>
                  <a:lnTo>
                    <a:pt x="354" y="558"/>
                  </a:lnTo>
                  <a:lnTo>
                    <a:pt x="360" y="564"/>
                  </a:lnTo>
                  <a:lnTo>
                    <a:pt x="372" y="570"/>
                  </a:lnTo>
                  <a:lnTo>
                    <a:pt x="384" y="558"/>
                  </a:lnTo>
                  <a:lnTo>
                    <a:pt x="384" y="564"/>
                  </a:lnTo>
                  <a:lnTo>
                    <a:pt x="396" y="576"/>
                  </a:lnTo>
                  <a:lnTo>
                    <a:pt x="396" y="588"/>
                  </a:lnTo>
                  <a:lnTo>
                    <a:pt x="402" y="594"/>
                  </a:lnTo>
                  <a:lnTo>
                    <a:pt x="414" y="594"/>
                  </a:lnTo>
                  <a:lnTo>
                    <a:pt x="426" y="600"/>
                  </a:lnTo>
                  <a:lnTo>
                    <a:pt x="432" y="600"/>
                  </a:lnTo>
                  <a:lnTo>
                    <a:pt x="438" y="606"/>
                  </a:lnTo>
                  <a:lnTo>
                    <a:pt x="438" y="624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26" y="648"/>
                  </a:lnTo>
                  <a:lnTo>
                    <a:pt x="426" y="654"/>
                  </a:lnTo>
                  <a:lnTo>
                    <a:pt x="468" y="654"/>
                  </a:lnTo>
                  <a:lnTo>
                    <a:pt x="468" y="684"/>
                  </a:lnTo>
                  <a:lnTo>
                    <a:pt x="504" y="720"/>
                  </a:lnTo>
                  <a:lnTo>
                    <a:pt x="510" y="732"/>
                  </a:lnTo>
                  <a:lnTo>
                    <a:pt x="528" y="750"/>
                  </a:lnTo>
                  <a:lnTo>
                    <a:pt x="534" y="768"/>
                  </a:lnTo>
                  <a:lnTo>
                    <a:pt x="546" y="780"/>
                  </a:lnTo>
                  <a:lnTo>
                    <a:pt x="552" y="798"/>
                  </a:lnTo>
                  <a:lnTo>
                    <a:pt x="558" y="810"/>
                  </a:lnTo>
                  <a:lnTo>
                    <a:pt x="558" y="870"/>
                  </a:lnTo>
                  <a:lnTo>
                    <a:pt x="564" y="882"/>
                  </a:lnTo>
                  <a:lnTo>
                    <a:pt x="576" y="894"/>
                  </a:lnTo>
                  <a:lnTo>
                    <a:pt x="576" y="906"/>
                  </a:lnTo>
                  <a:lnTo>
                    <a:pt x="570" y="918"/>
                  </a:lnTo>
                  <a:lnTo>
                    <a:pt x="552" y="936"/>
                  </a:lnTo>
                  <a:lnTo>
                    <a:pt x="546" y="948"/>
                  </a:lnTo>
                  <a:lnTo>
                    <a:pt x="546" y="954"/>
                  </a:lnTo>
                  <a:lnTo>
                    <a:pt x="552" y="960"/>
                  </a:lnTo>
                  <a:lnTo>
                    <a:pt x="564" y="966"/>
                  </a:lnTo>
                  <a:lnTo>
                    <a:pt x="540" y="966"/>
                  </a:lnTo>
                  <a:lnTo>
                    <a:pt x="528" y="972"/>
                  </a:lnTo>
                  <a:lnTo>
                    <a:pt x="528" y="1038"/>
                  </a:lnTo>
                  <a:lnTo>
                    <a:pt x="534" y="1056"/>
                  </a:lnTo>
                  <a:lnTo>
                    <a:pt x="540" y="1062"/>
                  </a:lnTo>
                  <a:lnTo>
                    <a:pt x="546" y="1074"/>
                  </a:lnTo>
                  <a:lnTo>
                    <a:pt x="558" y="1074"/>
                  </a:lnTo>
                  <a:lnTo>
                    <a:pt x="576" y="1080"/>
                  </a:lnTo>
                  <a:lnTo>
                    <a:pt x="600" y="1080"/>
                  </a:lnTo>
                  <a:lnTo>
                    <a:pt x="612" y="1086"/>
                  </a:lnTo>
                  <a:lnTo>
                    <a:pt x="636" y="1110"/>
                  </a:lnTo>
                  <a:lnTo>
                    <a:pt x="642" y="1122"/>
                  </a:lnTo>
                  <a:lnTo>
                    <a:pt x="648" y="1140"/>
                  </a:lnTo>
                  <a:lnTo>
                    <a:pt x="654" y="1152"/>
                  </a:lnTo>
                  <a:lnTo>
                    <a:pt x="666" y="1164"/>
                  </a:lnTo>
                  <a:lnTo>
                    <a:pt x="678" y="1170"/>
                  </a:lnTo>
                  <a:lnTo>
                    <a:pt x="732" y="1170"/>
                  </a:lnTo>
                  <a:lnTo>
                    <a:pt x="750" y="1176"/>
                  </a:lnTo>
                  <a:lnTo>
                    <a:pt x="762" y="1182"/>
                  </a:lnTo>
                  <a:lnTo>
                    <a:pt x="768" y="1188"/>
                  </a:lnTo>
                  <a:lnTo>
                    <a:pt x="774" y="1200"/>
                  </a:lnTo>
                  <a:lnTo>
                    <a:pt x="786" y="1218"/>
                  </a:lnTo>
                  <a:lnTo>
                    <a:pt x="810" y="1242"/>
                  </a:lnTo>
                  <a:lnTo>
                    <a:pt x="834" y="1254"/>
                  </a:lnTo>
                  <a:lnTo>
                    <a:pt x="870" y="1266"/>
                  </a:lnTo>
                  <a:lnTo>
                    <a:pt x="912" y="1272"/>
                  </a:lnTo>
                  <a:lnTo>
                    <a:pt x="942" y="1278"/>
                  </a:lnTo>
                  <a:lnTo>
                    <a:pt x="960" y="1290"/>
                  </a:lnTo>
                  <a:lnTo>
                    <a:pt x="966" y="1302"/>
                  </a:lnTo>
                  <a:lnTo>
                    <a:pt x="978" y="1314"/>
                  </a:lnTo>
                  <a:lnTo>
                    <a:pt x="990" y="1320"/>
                  </a:lnTo>
                  <a:lnTo>
                    <a:pt x="996" y="1320"/>
                  </a:lnTo>
                  <a:lnTo>
                    <a:pt x="1002" y="1326"/>
                  </a:lnTo>
                  <a:lnTo>
                    <a:pt x="1008" y="1338"/>
                  </a:lnTo>
                  <a:lnTo>
                    <a:pt x="1014" y="1344"/>
                  </a:lnTo>
                  <a:lnTo>
                    <a:pt x="1080" y="1344"/>
                  </a:lnTo>
                  <a:lnTo>
                    <a:pt x="1092" y="1356"/>
                  </a:lnTo>
                  <a:lnTo>
                    <a:pt x="1098" y="1368"/>
                  </a:lnTo>
                  <a:lnTo>
                    <a:pt x="1104" y="1374"/>
                  </a:lnTo>
                  <a:lnTo>
                    <a:pt x="1116" y="1374"/>
                  </a:lnTo>
                  <a:lnTo>
                    <a:pt x="1140" y="1362"/>
                  </a:lnTo>
                  <a:lnTo>
                    <a:pt x="1170" y="1350"/>
                  </a:lnTo>
                  <a:lnTo>
                    <a:pt x="1206" y="1332"/>
                  </a:lnTo>
                  <a:lnTo>
                    <a:pt x="1260" y="1314"/>
                  </a:lnTo>
                  <a:lnTo>
                    <a:pt x="1278" y="1326"/>
                  </a:lnTo>
                  <a:lnTo>
                    <a:pt x="1308" y="1350"/>
                  </a:lnTo>
                  <a:lnTo>
                    <a:pt x="1344" y="1374"/>
                  </a:lnTo>
                  <a:lnTo>
                    <a:pt x="1386" y="1416"/>
                  </a:lnTo>
                  <a:lnTo>
                    <a:pt x="1386" y="1428"/>
                  </a:lnTo>
                  <a:lnTo>
                    <a:pt x="1392" y="1446"/>
                  </a:lnTo>
                  <a:lnTo>
                    <a:pt x="1398" y="1458"/>
                  </a:lnTo>
                  <a:lnTo>
                    <a:pt x="1416" y="1458"/>
                  </a:lnTo>
                  <a:lnTo>
                    <a:pt x="1422" y="1452"/>
                  </a:lnTo>
                  <a:lnTo>
                    <a:pt x="1422" y="144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90" name="Malta" descr="© INSCALE GmbH, 05.05.2010&#10;http://www.presentationload.com/"/>
            <p:cNvSpPr>
              <a:spLocks/>
            </p:cNvSpPr>
            <p:nvPr/>
          </p:nvSpPr>
          <p:spPr bwMode="gray">
            <a:xfrm>
              <a:off x="4786980" y="3398676"/>
              <a:ext cx="10239" cy="8574"/>
            </a:xfrm>
            <a:custGeom>
              <a:avLst/>
              <a:gdLst>
                <a:gd name="T0" fmla="*/ 2147483647 w 30"/>
                <a:gd name="T1" fmla="*/ 2147483647 h 30"/>
                <a:gd name="T2" fmla="*/ 2147483647 w 30"/>
                <a:gd name="T3" fmla="*/ 2147483647 h 30"/>
                <a:gd name="T4" fmla="*/ 2147483647 w 30"/>
                <a:gd name="T5" fmla="*/ 2147483647 h 30"/>
                <a:gd name="T6" fmla="*/ 2147483647 w 30"/>
                <a:gd name="T7" fmla="*/ 0 h 30"/>
                <a:gd name="T8" fmla="*/ 2147483647 w 30"/>
                <a:gd name="T9" fmla="*/ 0 h 30"/>
                <a:gd name="T10" fmla="*/ 0 w 30"/>
                <a:gd name="T11" fmla="*/ 2147483647 h 30"/>
                <a:gd name="T12" fmla="*/ 0 w 30"/>
                <a:gd name="T13" fmla="*/ 2147483647 h 30"/>
                <a:gd name="T14" fmla="*/ 2147483647 w 30"/>
                <a:gd name="T15" fmla="*/ 2147483647 h 30"/>
                <a:gd name="T16" fmla="*/ 2147483647 w 30"/>
                <a:gd name="T17" fmla="*/ 2147483647 h 30"/>
                <a:gd name="T18" fmla="*/ 2147483647 w 30"/>
                <a:gd name="T19" fmla="*/ 2147483647 h 3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0"/>
                <a:gd name="T31" fmla="*/ 0 h 30"/>
                <a:gd name="T32" fmla="*/ 30 w 30"/>
                <a:gd name="T33" fmla="*/ 30 h 3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0" h="30">
                  <a:moveTo>
                    <a:pt x="24" y="30"/>
                  </a:moveTo>
                  <a:lnTo>
                    <a:pt x="30" y="24"/>
                  </a:lnTo>
                  <a:lnTo>
                    <a:pt x="30" y="12"/>
                  </a:lnTo>
                  <a:lnTo>
                    <a:pt x="18" y="0"/>
                  </a:lnTo>
                  <a:lnTo>
                    <a:pt x="6" y="0"/>
                  </a:lnTo>
                  <a:lnTo>
                    <a:pt x="0" y="6"/>
                  </a:lnTo>
                  <a:lnTo>
                    <a:pt x="0" y="18"/>
                  </a:lnTo>
                  <a:lnTo>
                    <a:pt x="6" y="24"/>
                  </a:lnTo>
                  <a:lnTo>
                    <a:pt x="18" y="30"/>
                  </a:lnTo>
                  <a:lnTo>
                    <a:pt x="24" y="3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91" name="Mauritania" descr="© INSCALE GmbH, 05.05.2010&#10;http://www.presentationload.com/"/>
            <p:cNvSpPr>
              <a:spLocks/>
            </p:cNvSpPr>
            <p:nvPr/>
          </p:nvSpPr>
          <p:spPr bwMode="gray">
            <a:xfrm>
              <a:off x="4086907" y="3622812"/>
              <a:ext cx="277725" cy="312321"/>
            </a:xfrm>
            <a:custGeom>
              <a:avLst/>
              <a:gdLst>
                <a:gd name="T0" fmla="*/ 2147483647 w 858"/>
                <a:gd name="T1" fmla="*/ 2147483647 h 1002"/>
                <a:gd name="T2" fmla="*/ 2147483647 w 858"/>
                <a:gd name="T3" fmla="*/ 2147483647 h 1002"/>
                <a:gd name="T4" fmla="*/ 2147483647 w 858"/>
                <a:gd name="T5" fmla="*/ 2147483647 h 1002"/>
                <a:gd name="T6" fmla="*/ 2147483647 w 858"/>
                <a:gd name="T7" fmla="*/ 2147483647 h 1002"/>
                <a:gd name="T8" fmla="*/ 2147483647 w 858"/>
                <a:gd name="T9" fmla="*/ 2147483647 h 1002"/>
                <a:gd name="T10" fmla="*/ 2147483647 w 858"/>
                <a:gd name="T11" fmla="*/ 2147483647 h 1002"/>
                <a:gd name="T12" fmla="*/ 2147483647 w 858"/>
                <a:gd name="T13" fmla="*/ 2147483647 h 1002"/>
                <a:gd name="T14" fmla="*/ 2147483647 w 858"/>
                <a:gd name="T15" fmla="*/ 2147483647 h 1002"/>
                <a:gd name="T16" fmla="*/ 2147483647 w 858"/>
                <a:gd name="T17" fmla="*/ 2147483647 h 1002"/>
                <a:gd name="T18" fmla="*/ 2147483647 w 858"/>
                <a:gd name="T19" fmla="*/ 2147483647 h 1002"/>
                <a:gd name="T20" fmla="*/ 2147483647 w 858"/>
                <a:gd name="T21" fmla="*/ 2147483647 h 1002"/>
                <a:gd name="T22" fmla="*/ 2147483647 w 858"/>
                <a:gd name="T23" fmla="*/ 2147483647 h 1002"/>
                <a:gd name="T24" fmla="*/ 2147483647 w 858"/>
                <a:gd name="T25" fmla="*/ 2147483647 h 1002"/>
                <a:gd name="T26" fmla="*/ 2147483647 w 858"/>
                <a:gd name="T27" fmla="*/ 2147483647 h 1002"/>
                <a:gd name="T28" fmla="*/ 2147483647 w 858"/>
                <a:gd name="T29" fmla="*/ 2147483647 h 1002"/>
                <a:gd name="T30" fmla="*/ 2147483647 w 858"/>
                <a:gd name="T31" fmla="*/ 2147483647 h 1002"/>
                <a:gd name="T32" fmla="*/ 2147483647 w 858"/>
                <a:gd name="T33" fmla="*/ 2147483647 h 1002"/>
                <a:gd name="T34" fmla="*/ 2147483647 w 858"/>
                <a:gd name="T35" fmla="*/ 2147483647 h 1002"/>
                <a:gd name="T36" fmla="*/ 2147483647 w 858"/>
                <a:gd name="T37" fmla="*/ 2147483647 h 1002"/>
                <a:gd name="T38" fmla="*/ 2147483647 w 858"/>
                <a:gd name="T39" fmla="*/ 2147483647 h 1002"/>
                <a:gd name="T40" fmla="*/ 2147483647 w 858"/>
                <a:gd name="T41" fmla="*/ 2147483647 h 1002"/>
                <a:gd name="T42" fmla="*/ 2147483647 w 858"/>
                <a:gd name="T43" fmla="*/ 2147483647 h 1002"/>
                <a:gd name="T44" fmla="*/ 2147483647 w 858"/>
                <a:gd name="T45" fmla="*/ 2147483647 h 1002"/>
                <a:gd name="T46" fmla="*/ 2147483647 w 858"/>
                <a:gd name="T47" fmla="*/ 2147483647 h 1002"/>
                <a:gd name="T48" fmla="*/ 2147483647 w 858"/>
                <a:gd name="T49" fmla="*/ 2147483647 h 1002"/>
                <a:gd name="T50" fmla="*/ 2147483647 w 858"/>
                <a:gd name="T51" fmla="*/ 2147483647 h 1002"/>
                <a:gd name="T52" fmla="*/ 2147483647 w 858"/>
                <a:gd name="T53" fmla="*/ 2147483647 h 1002"/>
                <a:gd name="T54" fmla="*/ 2147483647 w 858"/>
                <a:gd name="T55" fmla="*/ 2147483647 h 1002"/>
                <a:gd name="T56" fmla="*/ 2147483647 w 858"/>
                <a:gd name="T57" fmla="*/ 2147483647 h 1002"/>
                <a:gd name="T58" fmla="*/ 2147483647 w 858"/>
                <a:gd name="T59" fmla="*/ 2147483647 h 1002"/>
                <a:gd name="T60" fmla="*/ 2147483647 w 858"/>
                <a:gd name="T61" fmla="*/ 2147483647 h 1002"/>
                <a:gd name="T62" fmla="*/ 2147483647 w 858"/>
                <a:gd name="T63" fmla="*/ 2147483647 h 1002"/>
                <a:gd name="T64" fmla="*/ 2147483647 w 858"/>
                <a:gd name="T65" fmla="*/ 2147483647 h 1002"/>
                <a:gd name="T66" fmla="*/ 2147483647 w 858"/>
                <a:gd name="T67" fmla="*/ 2147483647 h 1002"/>
                <a:gd name="T68" fmla="*/ 2147483647 w 858"/>
                <a:gd name="T69" fmla="*/ 2147483647 h 1002"/>
                <a:gd name="T70" fmla="*/ 2147483647 w 858"/>
                <a:gd name="T71" fmla="*/ 2147483647 h 1002"/>
                <a:gd name="T72" fmla="*/ 2147483647 w 858"/>
                <a:gd name="T73" fmla="*/ 2147483647 h 1002"/>
                <a:gd name="T74" fmla="*/ 2147483647 w 858"/>
                <a:gd name="T75" fmla="*/ 2147483647 h 1002"/>
                <a:gd name="T76" fmla="*/ 2147483647 w 858"/>
                <a:gd name="T77" fmla="*/ 2147483647 h 1002"/>
                <a:gd name="T78" fmla="*/ 2147483647 w 858"/>
                <a:gd name="T79" fmla="*/ 2147483647 h 1002"/>
                <a:gd name="T80" fmla="*/ 2147483647 w 858"/>
                <a:gd name="T81" fmla="*/ 2147483647 h 1002"/>
                <a:gd name="T82" fmla="*/ 2147483647 w 858"/>
                <a:gd name="T83" fmla="*/ 2147483647 h 1002"/>
                <a:gd name="T84" fmla="*/ 2147483647 w 858"/>
                <a:gd name="T85" fmla="*/ 2147483647 h 1002"/>
                <a:gd name="T86" fmla="*/ 2147483647 w 858"/>
                <a:gd name="T87" fmla="*/ 2147483647 h 1002"/>
                <a:gd name="T88" fmla="*/ 2147483647 w 858"/>
                <a:gd name="T89" fmla="*/ 2147483647 h 1002"/>
                <a:gd name="T90" fmla="*/ 2147483647 w 858"/>
                <a:gd name="T91" fmla="*/ 2147483647 h 1002"/>
                <a:gd name="T92" fmla="*/ 2147483647 w 858"/>
                <a:gd name="T93" fmla="*/ 2147483647 h 1002"/>
                <a:gd name="T94" fmla="*/ 2147483647 w 858"/>
                <a:gd name="T95" fmla="*/ 2147483647 h 1002"/>
                <a:gd name="T96" fmla="*/ 2147483647 w 858"/>
                <a:gd name="T97" fmla="*/ 2147483647 h 1002"/>
                <a:gd name="T98" fmla="*/ 0 w 858"/>
                <a:gd name="T99" fmla="*/ 2147483647 h 100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858"/>
                <a:gd name="T151" fmla="*/ 0 h 1002"/>
                <a:gd name="T152" fmla="*/ 858 w 858"/>
                <a:gd name="T153" fmla="*/ 1002 h 1002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858" h="1002">
                  <a:moveTo>
                    <a:pt x="0" y="498"/>
                  </a:moveTo>
                  <a:lnTo>
                    <a:pt x="18" y="498"/>
                  </a:lnTo>
                  <a:lnTo>
                    <a:pt x="18" y="528"/>
                  </a:lnTo>
                  <a:lnTo>
                    <a:pt x="24" y="534"/>
                  </a:lnTo>
                  <a:lnTo>
                    <a:pt x="30" y="534"/>
                  </a:lnTo>
                  <a:lnTo>
                    <a:pt x="30" y="528"/>
                  </a:lnTo>
                  <a:lnTo>
                    <a:pt x="36" y="522"/>
                  </a:lnTo>
                  <a:lnTo>
                    <a:pt x="48" y="558"/>
                  </a:lnTo>
                  <a:lnTo>
                    <a:pt x="42" y="600"/>
                  </a:lnTo>
                  <a:lnTo>
                    <a:pt x="30" y="600"/>
                  </a:lnTo>
                  <a:lnTo>
                    <a:pt x="36" y="624"/>
                  </a:lnTo>
                  <a:lnTo>
                    <a:pt x="24" y="630"/>
                  </a:lnTo>
                  <a:lnTo>
                    <a:pt x="30" y="642"/>
                  </a:lnTo>
                  <a:lnTo>
                    <a:pt x="36" y="648"/>
                  </a:lnTo>
                  <a:lnTo>
                    <a:pt x="48" y="666"/>
                  </a:lnTo>
                  <a:lnTo>
                    <a:pt x="60" y="690"/>
                  </a:lnTo>
                  <a:lnTo>
                    <a:pt x="60" y="720"/>
                  </a:lnTo>
                  <a:lnTo>
                    <a:pt x="54" y="738"/>
                  </a:lnTo>
                  <a:lnTo>
                    <a:pt x="54" y="750"/>
                  </a:lnTo>
                  <a:lnTo>
                    <a:pt x="48" y="756"/>
                  </a:lnTo>
                  <a:lnTo>
                    <a:pt x="48" y="804"/>
                  </a:lnTo>
                  <a:lnTo>
                    <a:pt x="42" y="816"/>
                  </a:lnTo>
                  <a:lnTo>
                    <a:pt x="30" y="822"/>
                  </a:lnTo>
                  <a:lnTo>
                    <a:pt x="24" y="840"/>
                  </a:lnTo>
                  <a:lnTo>
                    <a:pt x="18" y="852"/>
                  </a:lnTo>
                  <a:lnTo>
                    <a:pt x="18" y="864"/>
                  </a:lnTo>
                  <a:lnTo>
                    <a:pt x="12" y="876"/>
                  </a:lnTo>
                  <a:lnTo>
                    <a:pt x="12" y="906"/>
                  </a:lnTo>
                  <a:lnTo>
                    <a:pt x="18" y="900"/>
                  </a:lnTo>
                  <a:lnTo>
                    <a:pt x="36" y="864"/>
                  </a:lnTo>
                  <a:lnTo>
                    <a:pt x="42" y="858"/>
                  </a:lnTo>
                  <a:lnTo>
                    <a:pt x="54" y="852"/>
                  </a:lnTo>
                  <a:lnTo>
                    <a:pt x="60" y="852"/>
                  </a:lnTo>
                  <a:lnTo>
                    <a:pt x="66" y="858"/>
                  </a:lnTo>
                  <a:lnTo>
                    <a:pt x="72" y="858"/>
                  </a:lnTo>
                  <a:lnTo>
                    <a:pt x="84" y="852"/>
                  </a:lnTo>
                  <a:lnTo>
                    <a:pt x="114" y="858"/>
                  </a:lnTo>
                  <a:lnTo>
                    <a:pt x="114" y="840"/>
                  </a:lnTo>
                  <a:lnTo>
                    <a:pt x="138" y="852"/>
                  </a:lnTo>
                  <a:lnTo>
                    <a:pt x="162" y="852"/>
                  </a:lnTo>
                  <a:lnTo>
                    <a:pt x="174" y="858"/>
                  </a:lnTo>
                  <a:lnTo>
                    <a:pt x="180" y="858"/>
                  </a:lnTo>
                  <a:lnTo>
                    <a:pt x="186" y="870"/>
                  </a:lnTo>
                  <a:lnTo>
                    <a:pt x="198" y="882"/>
                  </a:lnTo>
                  <a:lnTo>
                    <a:pt x="204" y="894"/>
                  </a:lnTo>
                  <a:lnTo>
                    <a:pt x="216" y="888"/>
                  </a:lnTo>
                  <a:lnTo>
                    <a:pt x="234" y="888"/>
                  </a:lnTo>
                  <a:lnTo>
                    <a:pt x="240" y="894"/>
                  </a:lnTo>
                  <a:lnTo>
                    <a:pt x="240" y="900"/>
                  </a:lnTo>
                  <a:lnTo>
                    <a:pt x="246" y="912"/>
                  </a:lnTo>
                  <a:lnTo>
                    <a:pt x="246" y="942"/>
                  </a:lnTo>
                  <a:lnTo>
                    <a:pt x="264" y="942"/>
                  </a:lnTo>
                  <a:lnTo>
                    <a:pt x="270" y="948"/>
                  </a:lnTo>
                  <a:lnTo>
                    <a:pt x="270" y="972"/>
                  </a:lnTo>
                  <a:lnTo>
                    <a:pt x="300" y="978"/>
                  </a:lnTo>
                  <a:lnTo>
                    <a:pt x="312" y="1002"/>
                  </a:lnTo>
                  <a:lnTo>
                    <a:pt x="330" y="1002"/>
                  </a:lnTo>
                  <a:lnTo>
                    <a:pt x="342" y="996"/>
                  </a:lnTo>
                  <a:lnTo>
                    <a:pt x="348" y="996"/>
                  </a:lnTo>
                  <a:lnTo>
                    <a:pt x="348" y="948"/>
                  </a:lnTo>
                  <a:lnTo>
                    <a:pt x="360" y="936"/>
                  </a:lnTo>
                  <a:lnTo>
                    <a:pt x="378" y="936"/>
                  </a:lnTo>
                  <a:lnTo>
                    <a:pt x="402" y="960"/>
                  </a:lnTo>
                  <a:lnTo>
                    <a:pt x="408" y="972"/>
                  </a:lnTo>
                  <a:lnTo>
                    <a:pt x="420" y="948"/>
                  </a:lnTo>
                  <a:lnTo>
                    <a:pt x="456" y="948"/>
                  </a:lnTo>
                  <a:lnTo>
                    <a:pt x="462" y="954"/>
                  </a:lnTo>
                  <a:lnTo>
                    <a:pt x="492" y="954"/>
                  </a:lnTo>
                  <a:lnTo>
                    <a:pt x="504" y="948"/>
                  </a:lnTo>
                  <a:lnTo>
                    <a:pt x="510" y="948"/>
                  </a:lnTo>
                  <a:lnTo>
                    <a:pt x="510" y="936"/>
                  </a:lnTo>
                  <a:lnTo>
                    <a:pt x="516" y="930"/>
                  </a:lnTo>
                  <a:lnTo>
                    <a:pt x="522" y="930"/>
                  </a:lnTo>
                  <a:lnTo>
                    <a:pt x="522" y="942"/>
                  </a:lnTo>
                  <a:lnTo>
                    <a:pt x="786" y="942"/>
                  </a:lnTo>
                  <a:lnTo>
                    <a:pt x="798" y="900"/>
                  </a:lnTo>
                  <a:lnTo>
                    <a:pt x="804" y="894"/>
                  </a:lnTo>
                  <a:lnTo>
                    <a:pt x="804" y="882"/>
                  </a:lnTo>
                  <a:lnTo>
                    <a:pt x="786" y="864"/>
                  </a:lnTo>
                  <a:lnTo>
                    <a:pt x="780" y="864"/>
                  </a:lnTo>
                  <a:lnTo>
                    <a:pt x="738" y="174"/>
                  </a:lnTo>
                  <a:lnTo>
                    <a:pt x="858" y="180"/>
                  </a:lnTo>
                  <a:lnTo>
                    <a:pt x="600" y="0"/>
                  </a:lnTo>
                  <a:lnTo>
                    <a:pt x="594" y="48"/>
                  </a:lnTo>
                  <a:lnTo>
                    <a:pt x="588" y="54"/>
                  </a:lnTo>
                  <a:lnTo>
                    <a:pt x="588" y="90"/>
                  </a:lnTo>
                  <a:lnTo>
                    <a:pt x="366" y="96"/>
                  </a:lnTo>
                  <a:lnTo>
                    <a:pt x="366" y="108"/>
                  </a:lnTo>
                  <a:lnTo>
                    <a:pt x="354" y="114"/>
                  </a:lnTo>
                  <a:lnTo>
                    <a:pt x="354" y="306"/>
                  </a:lnTo>
                  <a:lnTo>
                    <a:pt x="348" y="312"/>
                  </a:lnTo>
                  <a:lnTo>
                    <a:pt x="336" y="318"/>
                  </a:lnTo>
                  <a:lnTo>
                    <a:pt x="306" y="318"/>
                  </a:lnTo>
                  <a:lnTo>
                    <a:pt x="282" y="330"/>
                  </a:lnTo>
                  <a:lnTo>
                    <a:pt x="276" y="342"/>
                  </a:lnTo>
                  <a:lnTo>
                    <a:pt x="276" y="360"/>
                  </a:lnTo>
                  <a:lnTo>
                    <a:pt x="282" y="372"/>
                  </a:lnTo>
                  <a:lnTo>
                    <a:pt x="276" y="474"/>
                  </a:lnTo>
                  <a:lnTo>
                    <a:pt x="0" y="474"/>
                  </a:lnTo>
                  <a:lnTo>
                    <a:pt x="0" y="49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92" name="Mali" descr="© INSCALE GmbH, 05.05.2010&#10;http://www.presentationload.com/"/>
            <p:cNvSpPr>
              <a:spLocks/>
            </p:cNvSpPr>
            <p:nvPr/>
          </p:nvSpPr>
          <p:spPr bwMode="gray">
            <a:xfrm>
              <a:off x="4188014" y="3677927"/>
              <a:ext cx="377553" cy="372335"/>
            </a:xfrm>
            <a:custGeom>
              <a:avLst/>
              <a:gdLst>
                <a:gd name="T0" fmla="*/ 2147483647 w 1164"/>
                <a:gd name="T1" fmla="*/ 2147483647 h 1200"/>
                <a:gd name="T2" fmla="*/ 2147483647 w 1164"/>
                <a:gd name="T3" fmla="*/ 2147483647 h 1200"/>
                <a:gd name="T4" fmla="*/ 2147483647 w 1164"/>
                <a:gd name="T5" fmla="*/ 2147483647 h 1200"/>
                <a:gd name="T6" fmla="*/ 2147483647 w 1164"/>
                <a:gd name="T7" fmla="*/ 2147483647 h 1200"/>
                <a:gd name="T8" fmla="*/ 2147483647 w 1164"/>
                <a:gd name="T9" fmla="*/ 2147483647 h 1200"/>
                <a:gd name="T10" fmla="*/ 2147483647 w 1164"/>
                <a:gd name="T11" fmla="*/ 2147483647 h 1200"/>
                <a:gd name="T12" fmla="*/ 2147483647 w 1164"/>
                <a:gd name="T13" fmla="*/ 2147483647 h 1200"/>
                <a:gd name="T14" fmla="*/ 2147483647 w 1164"/>
                <a:gd name="T15" fmla="*/ 2147483647 h 1200"/>
                <a:gd name="T16" fmla="*/ 2147483647 w 1164"/>
                <a:gd name="T17" fmla="*/ 2147483647 h 1200"/>
                <a:gd name="T18" fmla="*/ 2147483647 w 1164"/>
                <a:gd name="T19" fmla="*/ 2147483647 h 1200"/>
                <a:gd name="T20" fmla="*/ 2147483647 w 1164"/>
                <a:gd name="T21" fmla="*/ 2147483647 h 1200"/>
                <a:gd name="T22" fmla="*/ 2147483647 w 1164"/>
                <a:gd name="T23" fmla="*/ 2147483647 h 1200"/>
                <a:gd name="T24" fmla="*/ 2147483647 w 1164"/>
                <a:gd name="T25" fmla="*/ 2147483647 h 1200"/>
                <a:gd name="T26" fmla="*/ 2147483647 w 1164"/>
                <a:gd name="T27" fmla="*/ 2147483647 h 1200"/>
                <a:gd name="T28" fmla="*/ 2147483647 w 1164"/>
                <a:gd name="T29" fmla="*/ 2147483647 h 1200"/>
                <a:gd name="T30" fmla="*/ 2147483647 w 1164"/>
                <a:gd name="T31" fmla="*/ 2147483647 h 1200"/>
                <a:gd name="T32" fmla="*/ 2147483647 w 1164"/>
                <a:gd name="T33" fmla="*/ 2147483647 h 1200"/>
                <a:gd name="T34" fmla="*/ 2147483647 w 1164"/>
                <a:gd name="T35" fmla="*/ 2147483647 h 1200"/>
                <a:gd name="T36" fmla="*/ 2147483647 w 1164"/>
                <a:gd name="T37" fmla="*/ 2147483647 h 1200"/>
                <a:gd name="T38" fmla="*/ 2147483647 w 1164"/>
                <a:gd name="T39" fmla="*/ 2147483647 h 1200"/>
                <a:gd name="T40" fmla="*/ 2147483647 w 1164"/>
                <a:gd name="T41" fmla="*/ 2147483647 h 1200"/>
                <a:gd name="T42" fmla="*/ 2147483647 w 1164"/>
                <a:gd name="T43" fmla="*/ 2147483647 h 1200"/>
                <a:gd name="T44" fmla="*/ 2147483647 w 1164"/>
                <a:gd name="T45" fmla="*/ 2147483647 h 1200"/>
                <a:gd name="T46" fmla="*/ 2147483647 w 1164"/>
                <a:gd name="T47" fmla="*/ 2147483647 h 1200"/>
                <a:gd name="T48" fmla="*/ 2147483647 w 1164"/>
                <a:gd name="T49" fmla="*/ 2147483647 h 1200"/>
                <a:gd name="T50" fmla="*/ 2147483647 w 1164"/>
                <a:gd name="T51" fmla="*/ 2147483647 h 1200"/>
                <a:gd name="T52" fmla="*/ 2147483647 w 1164"/>
                <a:gd name="T53" fmla="*/ 2147483647 h 1200"/>
                <a:gd name="T54" fmla="*/ 0 w 1164"/>
                <a:gd name="T55" fmla="*/ 2147483647 h 1200"/>
                <a:gd name="T56" fmla="*/ 2147483647 w 1164"/>
                <a:gd name="T57" fmla="*/ 2147483647 h 1200"/>
                <a:gd name="T58" fmla="*/ 2147483647 w 1164"/>
                <a:gd name="T59" fmla="*/ 2147483647 h 1200"/>
                <a:gd name="T60" fmla="*/ 2147483647 w 1164"/>
                <a:gd name="T61" fmla="*/ 2147483647 h 1200"/>
                <a:gd name="T62" fmla="*/ 2147483647 w 1164"/>
                <a:gd name="T63" fmla="*/ 2147483647 h 1200"/>
                <a:gd name="T64" fmla="*/ 2147483647 w 1164"/>
                <a:gd name="T65" fmla="*/ 2147483647 h 1200"/>
                <a:gd name="T66" fmla="*/ 2147483647 w 1164"/>
                <a:gd name="T67" fmla="*/ 2147483647 h 1200"/>
                <a:gd name="T68" fmla="*/ 2147483647 w 1164"/>
                <a:gd name="T69" fmla="*/ 2147483647 h 1200"/>
                <a:gd name="T70" fmla="*/ 2147483647 w 1164"/>
                <a:gd name="T71" fmla="*/ 2147483647 h 1200"/>
                <a:gd name="T72" fmla="*/ 2147483647 w 1164"/>
                <a:gd name="T73" fmla="*/ 2147483647 h 1200"/>
                <a:gd name="T74" fmla="*/ 2147483647 w 1164"/>
                <a:gd name="T75" fmla="*/ 2147483647 h 1200"/>
                <a:gd name="T76" fmla="*/ 2147483647 w 1164"/>
                <a:gd name="T77" fmla="*/ 2147483647 h 1200"/>
                <a:gd name="T78" fmla="*/ 2147483647 w 1164"/>
                <a:gd name="T79" fmla="*/ 2147483647 h 1200"/>
                <a:gd name="T80" fmla="*/ 2147483647 w 1164"/>
                <a:gd name="T81" fmla="*/ 2147483647 h 1200"/>
                <a:gd name="T82" fmla="*/ 2147483647 w 1164"/>
                <a:gd name="T83" fmla="*/ 2147483647 h 1200"/>
                <a:gd name="T84" fmla="*/ 2147483647 w 1164"/>
                <a:gd name="T85" fmla="*/ 2147483647 h 1200"/>
                <a:gd name="T86" fmla="*/ 2147483647 w 1164"/>
                <a:gd name="T87" fmla="*/ 2147483647 h 1200"/>
                <a:gd name="T88" fmla="*/ 2147483647 w 1164"/>
                <a:gd name="T89" fmla="*/ 2147483647 h 1200"/>
                <a:gd name="T90" fmla="*/ 2147483647 w 1164"/>
                <a:gd name="T91" fmla="*/ 2147483647 h 1200"/>
                <a:gd name="T92" fmla="*/ 2147483647 w 1164"/>
                <a:gd name="T93" fmla="*/ 2147483647 h 1200"/>
                <a:gd name="T94" fmla="*/ 2147483647 w 1164"/>
                <a:gd name="T95" fmla="*/ 2147483647 h 1200"/>
                <a:gd name="T96" fmla="*/ 2147483647 w 1164"/>
                <a:gd name="T97" fmla="*/ 2147483647 h 1200"/>
                <a:gd name="T98" fmla="*/ 2147483647 w 1164"/>
                <a:gd name="T99" fmla="*/ 2147483647 h 1200"/>
                <a:gd name="T100" fmla="*/ 2147483647 w 1164"/>
                <a:gd name="T101" fmla="*/ 2147483647 h 1200"/>
                <a:gd name="T102" fmla="*/ 2147483647 w 1164"/>
                <a:gd name="T103" fmla="*/ 2147483647 h 1200"/>
                <a:gd name="T104" fmla="*/ 2147483647 w 1164"/>
                <a:gd name="T105" fmla="*/ 2147483647 h 1200"/>
                <a:gd name="T106" fmla="*/ 2147483647 w 1164"/>
                <a:gd name="T107" fmla="*/ 2147483647 h 120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164"/>
                <a:gd name="T163" fmla="*/ 0 h 1200"/>
                <a:gd name="T164" fmla="*/ 1164 w 1164"/>
                <a:gd name="T165" fmla="*/ 1200 h 120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164" h="1200">
                  <a:moveTo>
                    <a:pt x="612" y="954"/>
                  </a:moveTo>
                  <a:lnTo>
                    <a:pt x="636" y="948"/>
                  </a:lnTo>
                  <a:lnTo>
                    <a:pt x="636" y="912"/>
                  </a:lnTo>
                  <a:lnTo>
                    <a:pt x="654" y="912"/>
                  </a:lnTo>
                  <a:lnTo>
                    <a:pt x="654" y="906"/>
                  </a:lnTo>
                  <a:lnTo>
                    <a:pt x="660" y="900"/>
                  </a:lnTo>
                  <a:lnTo>
                    <a:pt x="666" y="888"/>
                  </a:lnTo>
                  <a:lnTo>
                    <a:pt x="678" y="882"/>
                  </a:lnTo>
                  <a:lnTo>
                    <a:pt x="684" y="870"/>
                  </a:lnTo>
                  <a:lnTo>
                    <a:pt x="690" y="864"/>
                  </a:lnTo>
                  <a:lnTo>
                    <a:pt x="696" y="864"/>
                  </a:lnTo>
                  <a:lnTo>
                    <a:pt x="708" y="876"/>
                  </a:lnTo>
                  <a:lnTo>
                    <a:pt x="720" y="876"/>
                  </a:lnTo>
                  <a:lnTo>
                    <a:pt x="720" y="870"/>
                  </a:lnTo>
                  <a:lnTo>
                    <a:pt x="726" y="864"/>
                  </a:lnTo>
                  <a:lnTo>
                    <a:pt x="726" y="846"/>
                  </a:lnTo>
                  <a:lnTo>
                    <a:pt x="750" y="846"/>
                  </a:lnTo>
                  <a:lnTo>
                    <a:pt x="768" y="822"/>
                  </a:lnTo>
                  <a:lnTo>
                    <a:pt x="792" y="822"/>
                  </a:lnTo>
                  <a:lnTo>
                    <a:pt x="810" y="804"/>
                  </a:lnTo>
                  <a:lnTo>
                    <a:pt x="858" y="804"/>
                  </a:lnTo>
                  <a:lnTo>
                    <a:pt x="882" y="816"/>
                  </a:lnTo>
                  <a:lnTo>
                    <a:pt x="930" y="804"/>
                  </a:lnTo>
                  <a:lnTo>
                    <a:pt x="954" y="786"/>
                  </a:lnTo>
                  <a:lnTo>
                    <a:pt x="1020" y="792"/>
                  </a:lnTo>
                  <a:lnTo>
                    <a:pt x="1020" y="774"/>
                  </a:lnTo>
                  <a:lnTo>
                    <a:pt x="1068" y="780"/>
                  </a:lnTo>
                  <a:lnTo>
                    <a:pt x="1080" y="774"/>
                  </a:lnTo>
                  <a:lnTo>
                    <a:pt x="1104" y="774"/>
                  </a:lnTo>
                  <a:lnTo>
                    <a:pt x="1122" y="768"/>
                  </a:lnTo>
                  <a:lnTo>
                    <a:pt x="1134" y="762"/>
                  </a:lnTo>
                  <a:lnTo>
                    <a:pt x="1140" y="750"/>
                  </a:lnTo>
                  <a:lnTo>
                    <a:pt x="1140" y="732"/>
                  </a:lnTo>
                  <a:lnTo>
                    <a:pt x="1146" y="720"/>
                  </a:lnTo>
                  <a:lnTo>
                    <a:pt x="1146" y="708"/>
                  </a:lnTo>
                  <a:lnTo>
                    <a:pt x="1164" y="684"/>
                  </a:lnTo>
                  <a:lnTo>
                    <a:pt x="1164" y="480"/>
                  </a:lnTo>
                  <a:lnTo>
                    <a:pt x="1140" y="480"/>
                  </a:lnTo>
                  <a:lnTo>
                    <a:pt x="1134" y="486"/>
                  </a:lnTo>
                  <a:lnTo>
                    <a:pt x="1104" y="486"/>
                  </a:lnTo>
                  <a:lnTo>
                    <a:pt x="1092" y="480"/>
                  </a:lnTo>
                  <a:lnTo>
                    <a:pt x="1086" y="474"/>
                  </a:lnTo>
                  <a:lnTo>
                    <a:pt x="1086" y="468"/>
                  </a:lnTo>
                  <a:lnTo>
                    <a:pt x="1104" y="450"/>
                  </a:lnTo>
                  <a:lnTo>
                    <a:pt x="1104" y="432"/>
                  </a:lnTo>
                  <a:lnTo>
                    <a:pt x="1092" y="408"/>
                  </a:lnTo>
                  <a:lnTo>
                    <a:pt x="1080" y="402"/>
                  </a:lnTo>
                  <a:lnTo>
                    <a:pt x="1050" y="402"/>
                  </a:lnTo>
                  <a:lnTo>
                    <a:pt x="1044" y="408"/>
                  </a:lnTo>
                  <a:lnTo>
                    <a:pt x="1038" y="408"/>
                  </a:lnTo>
                  <a:lnTo>
                    <a:pt x="1032" y="378"/>
                  </a:lnTo>
                  <a:lnTo>
                    <a:pt x="996" y="378"/>
                  </a:lnTo>
                  <a:lnTo>
                    <a:pt x="984" y="366"/>
                  </a:lnTo>
                  <a:lnTo>
                    <a:pt x="984" y="348"/>
                  </a:lnTo>
                  <a:lnTo>
                    <a:pt x="978" y="342"/>
                  </a:lnTo>
                  <a:lnTo>
                    <a:pt x="954" y="342"/>
                  </a:lnTo>
                  <a:lnTo>
                    <a:pt x="954" y="318"/>
                  </a:lnTo>
                  <a:lnTo>
                    <a:pt x="546" y="6"/>
                  </a:lnTo>
                  <a:lnTo>
                    <a:pt x="426" y="0"/>
                  </a:lnTo>
                  <a:lnTo>
                    <a:pt x="468" y="690"/>
                  </a:lnTo>
                  <a:lnTo>
                    <a:pt x="474" y="690"/>
                  </a:lnTo>
                  <a:lnTo>
                    <a:pt x="492" y="708"/>
                  </a:lnTo>
                  <a:lnTo>
                    <a:pt x="492" y="720"/>
                  </a:lnTo>
                  <a:lnTo>
                    <a:pt x="486" y="726"/>
                  </a:lnTo>
                  <a:lnTo>
                    <a:pt x="474" y="768"/>
                  </a:lnTo>
                  <a:lnTo>
                    <a:pt x="210" y="768"/>
                  </a:lnTo>
                  <a:lnTo>
                    <a:pt x="210" y="756"/>
                  </a:lnTo>
                  <a:lnTo>
                    <a:pt x="204" y="756"/>
                  </a:lnTo>
                  <a:lnTo>
                    <a:pt x="198" y="762"/>
                  </a:lnTo>
                  <a:lnTo>
                    <a:pt x="198" y="774"/>
                  </a:lnTo>
                  <a:lnTo>
                    <a:pt x="192" y="774"/>
                  </a:lnTo>
                  <a:lnTo>
                    <a:pt x="180" y="780"/>
                  </a:lnTo>
                  <a:lnTo>
                    <a:pt x="150" y="780"/>
                  </a:lnTo>
                  <a:lnTo>
                    <a:pt x="144" y="774"/>
                  </a:lnTo>
                  <a:lnTo>
                    <a:pt x="108" y="774"/>
                  </a:lnTo>
                  <a:lnTo>
                    <a:pt x="96" y="798"/>
                  </a:lnTo>
                  <a:lnTo>
                    <a:pt x="90" y="786"/>
                  </a:lnTo>
                  <a:lnTo>
                    <a:pt x="66" y="762"/>
                  </a:lnTo>
                  <a:lnTo>
                    <a:pt x="48" y="762"/>
                  </a:lnTo>
                  <a:lnTo>
                    <a:pt x="36" y="774"/>
                  </a:lnTo>
                  <a:lnTo>
                    <a:pt x="36" y="822"/>
                  </a:lnTo>
                  <a:lnTo>
                    <a:pt x="30" y="822"/>
                  </a:lnTo>
                  <a:lnTo>
                    <a:pt x="18" y="828"/>
                  </a:lnTo>
                  <a:lnTo>
                    <a:pt x="0" y="828"/>
                  </a:lnTo>
                  <a:lnTo>
                    <a:pt x="0" y="852"/>
                  </a:lnTo>
                  <a:lnTo>
                    <a:pt x="12" y="870"/>
                  </a:lnTo>
                  <a:lnTo>
                    <a:pt x="12" y="876"/>
                  </a:lnTo>
                  <a:lnTo>
                    <a:pt x="24" y="888"/>
                  </a:lnTo>
                  <a:lnTo>
                    <a:pt x="24" y="906"/>
                  </a:lnTo>
                  <a:lnTo>
                    <a:pt x="18" y="912"/>
                  </a:lnTo>
                  <a:lnTo>
                    <a:pt x="18" y="936"/>
                  </a:lnTo>
                  <a:lnTo>
                    <a:pt x="24" y="942"/>
                  </a:lnTo>
                  <a:lnTo>
                    <a:pt x="36" y="942"/>
                  </a:lnTo>
                  <a:lnTo>
                    <a:pt x="36" y="936"/>
                  </a:lnTo>
                  <a:lnTo>
                    <a:pt x="42" y="936"/>
                  </a:lnTo>
                  <a:lnTo>
                    <a:pt x="48" y="942"/>
                  </a:lnTo>
                  <a:lnTo>
                    <a:pt x="54" y="954"/>
                  </a:lnTo>
                  <a:lnTo>
                    <a:pt x="54" y="1032"/>
                  </a:lnTo>
                  <a:lnTo>
                    <a:pt x="60" y="1044"/>
                  </a:lnTo>
                  <a:lnTo>
                    <a:pt x="60" y="1050"/>
                  </a:lnTo>
                  <a:lnTo>
                    <a:pt x="66" y="1056"/>
                  </a:lnTo>
                  <a:lnTo>
                    <a:pt x="72" y="1050"/>
                  </a:lnTo>
                  <a:lnTo>
                    <a:pt x="78" y="1038"/>
                  </a:lnTo>
                  <a:lnTo>
                    <a:pt x="90" y="1026"/>
                  </a:lnTo>
                  <a:lnTo>
                    <a:pt x="102" y="1038"/>
                  </a:lnTo>
                  <a:lnTo>
                    <a:pt x="108" y="1050"/>
                  </a:lnTo>
                  <a:lnTo>
                    <a:pt x="108" y="1062"/>
                  </a:lnTo>
                  <a:lnTo>
                    <a:pt x="114" y="1050"/>
                  </a:lnTo>
                  <a:lnTo>
                    <a:pt x="126" y="1038"/>
                  </a:lnTo>
                  <a:lnTo>
                    <a:pt x="132" y="1026"/>
                  </a:lnTo>
                  <a:lnTo>
                    <a:pt x="138" y="1026"/>
                  </a:lnTo>
                  <a:lnTo>
                    <a:pt x="144" y="1032"/>
                  </a:lnTo>
                  <a:lnTo>
                    <a:pt x="150" y="1032"/>
                  </a:lnTo>
                  <a:lnTo>
                    <a:pt x="162" y="1038"/>
                  </a:lnTo>
                  <a:lnTo>
                    <a:pt x="168" y="1044"/>
                  </a:lnTo>
                  <a:lnTo>
                    <a:pt x="180" y="1050"/>
                  </a:lnTo>
                  <a:lnTo>
                    <a:pt x="198" y="1032"/>
                  </a:lnTo>
                  <a:lnTo>
                    <a:pt x="198" y="1014"/>
                  </a:lnTo>
                  <a:lnTo>
                    <a:pt x="204" y="1008"/>
                  </a:lnTo>
                  <a:lnTo>
                    <a:pt x="216" y="1008"/>
                  </a:lnTo>
                  <a:lnTo>
                    <a:pt x="228" y="1014"/>
                  </a:lnTo>
                  <a:lnTo>
                    <a:pt x="228" y="1032"/>
                  </a:lnTo>
                  <a:lnTo>
                    <a:pt x="246" y="1044"/>
                  </a:lnTo>
                  <a:lnTo>
                    <a:pt x="234" y="1074"/>
                  </a:lnTo>
                  <a:lnTo>
                    <a:pt x="270" y="1092"/>
                  </a:lnTo>
                  <a:lnTo>
                    <a:pt x="246" y="1128"/>
                  </a:lnTo>
                  <a:lnTo>
                    <a:pt x="270" y="1128"/>
                  </a:lnTo>
                  <a:lnTo>
                    <a:pt x="270" y="1164"/>
                  </a:lnTo>
                  <a:lnTo>
                    <a:pt x="300" y="1194"/>
                  </a:lnTo>
                  <a:lnTo>
                    <a:pt x="312" y="1200"/>
                  </a:lnTo>
                  <a:lnTo>
                    <a:pt x="312" y="1182"/>
                  </a:lnTo>
                  <a:lnTo>
                    <a:pt x="318" y="1176"/>
                  </a:lnTo>
                  <a:lnTo>
                    <a:pt x="330" y="1176"/>
                  </a:lnTo>
                  <a:lnTo>
                    <a:pt x="348" y="1182"/>
                  </a:lnTo>
                  <a:lnTo>
                    <a:pt x="366" y="1200"/>
                  </a:lnTo>
                  <a:lnTo>
                    <a:pt x="372" y="1182"/>
                  </a:lnTo>
                  <a:lnTo>
                    <a:pt x="390" y="1182"/>
                  </a:lnTo>
                  <a:lnTo>
                    <a:pt x="396" y="1158"/>
                  </a:lnTo>
                  <a:lnTo>
                    <a:pt x="408" y="1176"/>
                  </a:lnTo>
                  <a:lnTo>
                    <a:pt x="420" y="1152"/>
                  </a:lnTo>
                  <a:lnTo>
                    <a:pt x="420" y="1188"/>
                  </a:lnTo>
                  <a:lnTo>
                    <a:pt x="444" y="1194"/>
                  </a:lnTo>
                  <a:lnTo>
                    <a:pt x="450" y="1188"/>
                  </a:lnTo>
                  <a:lnTo>
                    <a:pt x="456" y="1176"/>
                  </a:lnTo>
                  <a:lnTo>
                    <a:pt x="462" y="1170"/>
                  </a:lnTo>
                  <a:lnTo>
                    <a:pt x="474" y="1170"/>
                  </a:lnTo>
                  <a:lnTo>
                    <a:pt x="468" y="1116"/>
                  </a:lnTo>
                  <a:lnTo>
                    <a:pt x="492" y="1116"/>
                  </a:lnTo>
                  <a:lnTo>
                    <a:pt x="504" y="1092"/>
                  </a:lnTo>
                  <a:lnTo>
                    <a:pt x="480" y="1062"/>
                  </a:lnTo>
                  <a:lnTo>
                    <a:pt x="498" y="1050"/>
                  </a:lnTo>
                  <a:lnTo>
                    <a:pt x="504" y="1050"/>
                  </a:lnTo>
                  <a:lnTo>
                    <a:pt x="510" y="1044"/>
                  </a:lnTo>
                  <a:lnTo>
                    <a:pt x="546" y="1044"/>
                  </a:lnTo>
                  <a:lnTo>
                    <a:pt x="546" y="1032"/>
                  </a:lnTo>
                  <a:lnTo>
                    <a:pt x="540" y="1026"/>
                  </a:lnTo>
                  <a:lnTo>
                    <a:pt x="546" y="1026"/>
                  </a:lnTo>
                  <a:lnTo>
                    <a:pt x="552" y="1020"/>
                  </a:lnTo>
                  <a:lnTo>
                    <a:pt x="552" y="990"/>
                  </a:lnTo>
                  <a:lnTo>
                    <a:pt x="570" y="990"/>
                  </a:lnTo>
                  <a:lnTo>
                    <a:pt x="570" y="960"/>
                  </a:lnTo>
                  <a:lnTo>
                    <a:pt x="564" y="954"/>
                  </a:lnTo>
                  <a:lnTo>
                    <a:pt x="582" y="924"/>
                  </a:lnTo>
                  <a:lnTo>
                    <a:pt x="612" y="95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93" name="Malaysia" descr="© INSCALE GmbH, 05.05.2010&#10;http://www.presentationload.com/"/>
            <p:cNvSpPr>
              <a:spLocks/>
            </p:cNvSpPr>
            <p:nvPr/>
          </p:nvSpPr>
          <p:spPr bwMode="gray">
            <a:xfrm>
              <a:off x="6773293" y="4135999"/>
              <a:ext cx="98548" cy="135952"/>
            </a:xfrm>
            <a:custGeom>
              <a:avLst/>
              <a:gdLst>
                <a:gd name="T0" fmla="*/ 2147483647 w 306"/>
                <a:gd name="T1" fmla="*/ 2147483647 h 438"/>
                <a:gd name="T2" fmla="*/ 2147483647 w 306"/>
                <a:gd name="T3" fmla="*/ 2147483647 h 438"/>
                <a:gd name="T4" fmla="*/ 2147483647 w 306"/>
                <a:gd name="T5" fmla="*/ 2147483647 h 438"/>
                <a:gd name="T6" fmla="*/ 2147483647 w 306"/>
                <a:gd name="T7" fmla="*/ 2147483647 h 438"/>
                <a:gd name="T8" fmla="*/ 2147483647 w 306"/>
                <a:gd name="T9" fmla="*/ 2147483647 h 438"/>
                <a:gd name="T10" fmla="*/ 2147483647 w 306"/>
                <a:gd name="T11" fmla="*/ 2147483647 h 438"/>
                <a:gd name="T12" fmla="*/ 2147483647 w 306"/>
                <a:gd name="T13" fmla="*/ 2147483647 h 438"/>
                <a:gd name="T14" fmla="*/ 2147483647 w 306"/>
                <a:gd name="T15" fmla="*/ 2147483647 h 438"/>
                <a:gd name="T16" fmla="*/ 2147483647 w 306"/>
                <a:gd name="T17" fmla="*/ 2147483647 h 438"/>
                <a:gd name="T18" fmla="*/ 2147483647 w 306"/>
                <a:gd name="T19" fmla="*/ 2147483647 h 438"/>
                <a:gd name="T20" fmla="*/ 2147483647 w 306"/>
                <a:gd name="T21" fmla="*/ 2147483647 h 438"/>
                <a:gd name="T22" fmla="*/ 2147483647 w 306"/>
                <a:gd name="T23" fmla="*/ 2147483647 h 438"/>
                <a:gd name="T24" fmla="*/ 2147483647 w 306"/>
                <a:gd name="T25" fmla="*/ 2147483647 h 438"/>
                <a:gd name="T26" fmla="*/ 2147483647 w 306"/>
                <a:gd name="T27" fmla="*/ 2147483647 h 438"/>
                <a:gd name="T28" fmla="*/ 2147483647 w 306"/>
                <a:gd name="T29" fmla="*/ 2147483647 h 438"/>
                <a:gd name="T30" fmla="*/ 2147483647 w 306"/>
                <a:gd name="T31" fmla="*/ 2147483647 h 438"/>
                <a:gd name="T32" fmla="*/ 2147483647 w 306"/>
                <a:gd name="T33" fmla="*/ 2147483647 h 438"/>
                <a:gd name="T34" fmla="*/ 2147483647 w 306"/>
                <a:gd name="T35" fmla="*/ 2147483647 h 438"/>
                <a:gd name="T36" fmla="*/ 2147483647 w 306"/>
                <a:gd name="T37" fmla="*/ 2147483647 h 438"/>
                <a:gd name="T38" fmla="*/ 2147483647 w 306"/>
                <a:gd name="T39" fmla="*/ 2147483647 h 438"/>
                <a:gd name="T40" fmla="*/ 2147483647 w 306"/>
                <a:gd name="T41" fmla="*/ 2147483647 h 438"/>
                <a:gd name="T42" fmla="*/ 2147483647 w 306"/>
                <a:gd name="T43" fmla="*/ 2147483647 h 438"/>
                <a:gd name="T44" fmla="*/ 2147483647 w 306"/>
                <a:gd name="T45" fmla="*/ 2147483647 h 438"/>
                <a:gd name="T46" fmla="*/ 2147483647 w 306"/>
                <a:gd name="T47" fmla="*/ 2147483647 h 438"/>
                <a:gd name="T48" fmla="*/ 2147483647 w 306"/>
                <a:gd name="T49" fmla="*/ 2147483647 h 438"/>
                <a:gd name="T50" fmla="*/ 2147483647 w 306"/>
                <a:gd name="T51" fmla="*/ 2147483647 h 438"/>
                <a:gd name="T52" fmla="*/ 2147483647 w 306"/>
                <a:gd name="T53" fmla="*/ 2147483647 h 438"/>
                <a:gd name="T54" fmla="*/ 2147483647 w 306"/>
                <a:gd name="T55" fmla="*/ 2147483647 h 438"/>
                <a:gd name="T56" fmla="*/ 2147483647 w 306"/>
                <a:gd name="T57" fmla="*/ 2147483647 h 438"/>
                <a:gd name="T58" fmla="*/ 2147483647 w 306"/>
                <a:gd name="T59" fmla="*/ 2147483647 h 438"/>
                <a:gd name="T60" fmla="*/ 2147483647 w 306"/>
                <a:gd name="T61" fmla="*/ 2147483647 h 438"/>
                <a:gd name="T62" fmla="*/ 2147483647 w 306"/>
                <a:gd name="T63" fmla="*/ 2147483647 h 438"/>
                <a:gd name="T64" fmla="*/ 2147483647 w 306"/>
                <a:gd name="T65" fmla="*/ 2147483647 h 438"/>
                <a:gd name="T66" fmla="*/ 2147483647 w 306"/>
                <a:gd name="T67" fmla="*/ 2147483647 h 438"/>
                <a:gd name="T68" fmla="*/ 2147483647 w 306"/>
                <a:gd name="T69" fmla="*/ 2147483647 h 438"/>
                <a:gd name="T70" fmla="*/ 2147483647 w 306"/>
                <a:gd name="T71" fmla="*/ 2147483647 h 438"/>
                <a:gd name="T72" fmla="*/ 2147483647 w 306"/>
                <a:gd name="T73" fmla="*/ 2147483647 h 438"/>
                <a:gd name="T74" fmla="*/ 2147483647 w 306"/>
                <a:gd name="T75" fmla="*/ 2147483647 h 438"/>
                <a:gd name="T76" fmla="*/ 2147483647 w 306"/>
                <a:gd name="T77" fmla="*/ 0 h 438"/>
                <a:gd name="T78" fmla="*/ 2147483647 w 306"/>
                <a:gd name="T79" fmla="*/ 2147483647 h 438"/>
                <a:gd name="T80" fmla="*/ 2147483647 w 306"/>
                <a:gd name="T81" fmla="*/ 2147483647 h 43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06"/>
                <a:gd name="T124" fmla="*/ 0 h 438"/>
                <a:gd name="T125" fmla="*/ 306 w 306"/>
                <a:gd name="T126" fmla="*/ 438 h 43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06" h="438">
                  <a:moveTo>
                    <a:pt x="0" y="42"/>
                  </a:moveTo>
                  <a:lnTo>
                    <a:pt x="6" y="138"/>
                  </a:lnTo>
                  <a:lnTo>
                    <a:pt x="18" y="138"/>
                  </a:lnTo>
                  <a:lnTo>
                    <a:pt x="24" y="132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54" y="168"/>
                  </a:lnTo>
                  <a:lnTo>
                    <a:pt x="48" y="180"/>
                  </a:lnTo>
                  <a:lnTo>
                    <a:pt x="48" y="198"/>
                  </a:lnTo>
                  <a:lnTo>
                    <a:pt x="54" y="216"/>
                  </a:lnTo>
                  <a:lnTo>
                    <a:pt x="60" y="228"/>
                  </a:lnTo>
                  <a:lnTo>
                    <a:pt x="66" y="234"/>
                  </a:lnTo>
                  <a:lnTo>
                    <a:pt x="84" y="234"/>
                  </a:lnTo>
                  <a:lnTo>
                    <a:pt x="90" y="228"/>
                  </a:lnTo>
                  <a:lnTo>
                    <a:pt x="90" y="240"/>
                  </a:lnTo>
                  <a:lnTo>
                    <a:pt x="84" y="252"/>
                  </a:lnTo>
                  <a:lnTo>
                    <a:pt x="84" y="282"/>
                  </a:lnTo>
                  <a:lnTo>
                    <a:pt x="96" y="306"/>
                  </a:lnTo>
                  <a:lnTo>
                    <a:pt x="102" y="312"/>
                  </a:lnTo>
                  <a:lnTo>
                    <a:pt x="114" y="318"/>
                  </a:lnTo>
                  <a:lnTo>
                    <a:pt x="132" y="330"/>
                  </a:lnTo>
                  <a:lnTo>
                    <a:pt x="144" y="336"/>
                  </a:lnTo>
                  <a:lnTo>
                    <a:pt x="162" y="354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2"/>
                  </a:lnTo>
                  <a:lnTo>
                    <a:pt x="174" y="378"/>
                  </a:lnTo>
                  <a:lnTo>
                    <a:pt x="180" y="384"/>
                  </a:lnTo>
                  <a:lnTo>
                    <a:pt x="186" y="384"/>
                  </a:lnTo>
                  <a:lnTo>
                    <a:pt x="198" y="390"/>
                  </a:lnTo>
                  <a:lnTo>
                    <a:pt x="204" y="396"/>
                  </a:lnTo>
                  <a:lnTo>
                    <a:pt x="216" y="396"/>
                  </a:lnTo>
                  <a:lnTo>
                    <a:pt x="222" y="402"/>
                  </a:lnTo>
                  <a:lnTo>
                    <a:pt x="228" y="402"/>
                  </a:lnTo>
                  <a:lnTo>
                    <a:pt x="252" y="438"/>
                  </a:lnTo>
                  <a:lnTo>
                    <a:pt x="300" y="432"/>
                  </a:lnTo>
                  <a:lnTo>
                    <a:pt x="300" y="420"/>
                  </a:lnTo>
                  <a:lnTo>
                    <a:pt x="306" y="408"/>
                  </a:lnTo>
                  <a:lnTo>
                    <a:pt x="306" y="378"/>
                  </a:lnTo>
                  <a:lnTo>
                    <a:pt x="294" y="354"/>
                  </a:lnTo>
                  <a:lnTo>
                    <a:pt x="270" y="330"/>
                  </a:lnTo>
                  <a:lnTo>
                    <a:pt x="264" y="318"/>
                  </a:lnTo>
                  <a:lnTo>
                    <a:pt x="258" y="312"/>
                  </a:lnTo>
                  <a:lnTo>
                    <a:pt x="258" y="288"/>
                  </a:lnTo>
                  <a:lnTo>
                    <a:pt x="252" y="276"/>
                  </a:lnTo>
                  <a:lnTo>
                    <a:pt x="246" y="270"/>
                  </a:lnTo>
                  <a:lnTo>
                    <a:pt x="246" y="258"/>
                  </a:lnTo>
                  <a:lnTo>
                    <a:pt x="252" y="252"/>
                  </a:lnTo>
                  <a:lnTo>
                    <a:pt x="252" y="126"/>
                  </a:lnTo>
                  <a:lnTo>
                    <a:pt x="246" y="114"/>
                  </a:lnTo>
                  <a:lnTo>
                    <a:pt x="222" y="90"/>
                  </a:lnTo>
                  <a:lnTo>
                    <a:pt x="204" y="84"/>
                  </a:lnTo>
                  <a:lnTo>
                    <a:pt x="192" y="72"/>
                  </a:lnTo>
                  <a:lnTo>
                    <a:pt x="180" y="66"/>
                  </a:lnTo>
                  <a:lnTo>
                    <a:pt x="156" y="42"/>
                  </a:lnTo>
                  <a:lnTo>
                    <a:pt x="150" y="54"/>
                  </a:lnTo>
                  <a:lnTo>
                    <a:pt x="144" y="60"/>
                  </a:lnTo>
                  <a:lnTo>
                    <a:pt x="138" y="72"/>
                  </a:lnTo>
                  <a:lnTo>
                    <a:pt x="138" y="78"/>
                  </a:lnTo>
                  <a:lnTo>
                    <a:pt x="132" y="84"/>
                  </a:lnTo>
                  <a:lnTo>
                    <a:pt x="114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0" y="72"/>
                  </a:lnTo>
                  <a:lnTo>
                    <a:pt x="90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66" y="66"/>
                  </a:lnTo>
                  <a:lnTo>
                    <a:pt x="78" y="54"/>
                  </a:lnTo>
                  <a:lnTo>
                    <a:pt x="78" y="42"/>
                  </a:lnTo>
                  <a:lnTo>
                    <a:pt x="66" y="42"/>
                  </a:lnTo>
                  <a:lnTo>
                    <a:pt x="66" y="30"/>
                  </a:lnTo>
                  <a:lnTo>
                    <a:pt x="60" y="24"/>
                  </a:lnTo>
                  <a:lnTo>
                    <a:pt x="48" y="18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24" y="0"/>
                  </a:lnTo>
                  <a:lnTo>
                    <a:pt x="12" y="0"/>
                  </a:lnTo>
                  <a:lnTo>
                    <a:pt x="6" y="6"/>
                  </a:lnTo>
                  <a:lnTo>
                    <a:pt x="6" y="18"/>
                  </a:lnTo>
                  <a:lnTo>
                    <a:pt x="12" y="24"/>
                  </a:lnTo>
                  <a:lnTo>
                    <a:pt x="6" y="36"/>
                  </a:lnTo>
                  <a:lnTo>
                    <a:pt x="0" y="4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94" name="AutoShape 80" descr="© INSCALE GmbH, 05.05.2010&#10;http://www.presentationload.com/"/>
            <p:cNvSpPr>
              <a:spLocks/>
            </p:cNvSpPr>
            <p:nvPr/>
          </p:nvSpPr>
          <p:spPr bwMode="gray">
            <a:xfrm>
              <a:off x="7004944" y="4120077"/>
              <a:ext cx="223972" cy="164122"/>
            </a:xfrm>
            <a:custGeom>
              <a:avLst/>
              <a:gdLst>
                <a:gd name="T0" fmla="*/ 2147483647 w 690"/>
                <a:gd name="T1" fmla="*/ 2147483647 h 528"/>
                <a:gd name="T2" fmla="*/ 2147483647 w 690"/>
                <a:gd name="T3" fmla="*/ 2147483647 h 528"/>
                <a:gd name="T4" fmla="*/ 2147483647 w 690"/>
                <a:gd name="T5" fmla="*/ 2147483647 h 528"/>
                <a:gd name="T6" fmla="*/ 2147483647 w 690"/>
                <a:gd name="T7" fmla="*/ 2147483647 h 528"/>
                <a:gd name="T8" fmla="*/ 2147483647 w 690"/>
                <a:gd name="T9" fmla="*/ 2147483647 h 528"/>
                <a:gd name="T10" fmla="*/ 2147483647 w 690"/>
                <a:gd name="T11" fmla="*/ 2147483647 h 528"/>
                <a:gd name="T12" fmla="*/ 2147483647 w 690"/>
                <a:gd name="T13" fmla="*/ 2147483647 h 528"/>
                <a:gd name="T14" fmla="*/ 2147483647 w 690"/>
                <a:gd name="T15" fmla="*/ 2147483647 h 528"/>
                <a:gd name="T16" fmla="*/ 2147483647 w 690"/>
                <a:gd name="T17" fmla="*/ 2147483647 h 528"/>
                <a:gd name="T18" fmla="*/ 2147483647 w 690"/>
                <a:gd name="T19" fmla="*/ 2147483647 h 528"/>
                <a:gd name="T20" fmla="*/ 2147483647 w 690"/>
                <a:gd name="T21" fmla="*/ 2147483647 h 528"/>
                <a:gd name="T22" fmla="*/ 2147483647 w 690"/>
                <a:gd name="T23" fmla="*/ 2147483647 h 528"/>
                <a:gd name="T24" fmla="*/ 2147483647 w 690"/>
                <a:gd name="T25" fmla="*/ 2147483647 h 528"/>
                <a:gd name="T26" fmla="*/ 2147483647 w 690"/>
                <a:gd name="T27" fmla="*/ 2147483647 h 528"/>
                <a:gd name="T28" fmla="*/ 2147483647 w 690"/>
                <a:gd name="T29" fmla="*/ 2147483647 h 528"/>
                <a:gd name="T30" fmla="*/ 2147483647 w 690"/>
                <a:gd name="T31" fmla="*/ 2147483647 h 528"/>
                <a:gd name="T32" fmla="*/ 2147483647 w 690"/>
                <a:gd name="T33" fmla="*/ 2147483647 h 528"/>
                <a:gd name="T34" fmla="*/ 2147483647 w 690"/>
                <a:gd name="T35" fmla="*/ 2147483647 h 528"/>
                <a:gd name="T36" fmla="*/ 2147483647 w 690"/>
                <a:gd name="T37" fmla="*/ 2147483647 h 528"/>
                <a:gd name="T38" fmla="*/ 2147483647 w 690"/>
                <a:gd name="T39" fmla="*/ 2147483647 h 528"/>
                <a:gd name="T40" fmla="*/ 2147483647 w 690"/>
                <a:gd name="T41" fmla="*/ 2147483647 h 528"/>
                <a:gd name="T42" fmla="*/ 2147483647 w 690"/>
                <a:gd name="T43" fmla="*/ 2147483647 h 528"/>
                <a:gd name="T44" fmla="*/ 2147483647 w 690"/>
                <a:gd name="T45" fmla="*/ 2147483647 h 528"/>
                <a:gd name="T46" fmla="*/ 2147483647 w 690"/>
                <a:gd name="T47" fmla="*/ 2147483647 h 528"/>
                <a:gd name="T48" fmla="*/ 2147483647 w 690"/>
                <a:gd name="T49" fmla="*/ 2147483647 h 528"/>
                <a:gd name="T50" fmla="*/ 2147483647 w 690"/>
                <a:gd name="T51" fmla="*/ 2147483647 h 528"/>
                <a:gd name="T52" fmla="*/ 2147483647 w 690"/>
                <a:gd name="T53" fmla="*/ 2147483647 h 528"/>
                <a:gd name="T54" fmla="*/ 2147483647 w 690"/>
                <a:gd name="T55" fmla="*/ 2147483647 h 528"/>
                <a:gd name="T56" fmla="*/ 2147483647 w 690"/>
                <a:gd name="T57" fmla="*/ 2147483647 h 528"/>
                <a:gd name="T58" fmla="*/ 2147483647 w 690"/>
                <a:gd name="T59" fmla="*/ 2147483647 h 528"/>
                <a:gd name="T60" fmla="*/ 2147483647 w 690"/>
                <a:gd name="T61" fmla="*/ 2147483647 h 528"/>
                <a:gd name="T62" fmla="*/ 2147483647 w 690"/>
                <a:gd name="T63" fmla="*/ 2147483647 h 528"/>
                <a:gd name="T64" fmla="*/ 2147483647 w 690"/>
                <a:gd name="T65" fmla="*/ 2147483647 h 528"/>
                <a:gd name="T66" fmla="*/ 2147483647 w 690"/>
                <a:gd name="T67" fmla="*/ 2147483647 h 528"/>
                <a:gd name="T68" fmla="*/ 2147483647 w 690"/>
                <a:gd name="T69" fmla="*/ 2147483647 h 528"/>
                <a:gd name="T70" fmla="*/ 2147483647 w 690"/>
                <a:gd name="T71" fmla="*/ 0 h 528"/>
                <a:gd name="T72" fmla="*/ 2147483647 w 690"/>
                <a:gd name="T73" fmla="*/ 0 h 528"/>
                <a:gd name="T74" fmla="*/ 2147483647 w 690"/>
                <a:gd name="T75" fmla="*/ 2147483647 h 528"/>
                <a:gd name="T76" fmla="*/ 2147483647 w 690"/>
                <a:gd name="T77" fmla="*/ 2147483647 h 528"/>
                <a:gd name="T78" fmla="*/ 2147483647 w 690"/>
                <a:gd name="T79" fmla="*/ 2147483647 h 528"/>
                <a:gd name="T80" fmla="*/ 2147483647 w 690"/>
                <a:gd name="T81" fmla="*/ 2147483647 h 528"/>
                <a:gd name="T82" fmla="*/ 2147483647 w 690"/>
                <a:gd name="T83" fmla="*/ 2147483647 h 528"/>
                <a:gd name="T84" fmla="*/ 2147483647 w 690"/>
                <a:gd name="T85" fmla="*/ 2147483647 h 528"/>
                <a:gd name="T86" fmla="*/ 2147483647 w 690"/>
                <a:gd name="T87" fmla="*/ 2147483647 h 528"/>
                <a:gd name="T88" fmla="*/ 2147483647 w 690"/>
                <a:gd name="T89" fmla="*/ 2147483647 h 528"/>
                <a:gd name="T90" fmla="*/ 2147483647 w 690"/>
                <a:gd name="T91" fmla="*/ 2147483647 h 528"/>
                <a:gd name="T92" fmla="*/ 2147483647 w 690"/>
                <a:gd name="T93" fmla="*/ 2147483647 h 528"/>
                <a:gd name="T94" fmla="*/ 2147483647 w 690"/>
                <a:gd name="T95" fmla="*/ 2147483647 h 528"/>
                <a:gd name="T96" fmla="*/ 2147483647 w 690"/>
                <a:gd name="T97" fmla="*/ 2147483647 h 528"/>
                <a:gd name="T98" fmla="*/ 2147483647 w 690"/>
                <a:gd name="T99" fmla="*/ 2147483647 h 528"/>
                <a:gd name="T100" fmla="*/ 2147483647 w 690"/>
                <a:gd name="T101" fmla="*/ 2147483647 h 528"/>
                <a:gd name="T102" fmla="*/ 2147483647 w 690"/>
                <a:gd name="T103" fmla="*/ 2147483647 h 528"/>
                <a:gd name="T104" fmla="*/ 2147483647 w 690"/>
                <a:gd name="T105" fmla="*/ 2147483647 h 528"/>
                <a:gd name="T106" fmla="*/ 2147483647 w 690"/>
                <a:gd name="T107" fmla="*/ 2147483647 h 528"/>
                <a:gd name="T108" fmla="*/ 2147483647 w 690"/>
                <a:gd name="T109" fmla="*/ 2147483647 h 528"/>
                <a:gd name="T110" fmla="*/ 2147483647 w 690"/>
                <a:gd name="T111" fmla="*/ 2147483647 h 528"/>
                <a:gd name="T112" fmla="*/ 2147483647 w 690"/>
                <a:gd name="T113" fmla="*/ 2147483647 h 528"/>
                <a:gd name="T114" fmla="*/ 0 w 690"/>
                <a:gd name="T115" fmla="*/ 2147483647 h 52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90"/>
                <a:gd name="T175" fmla="*/ 0 h 528"/>
                <a:gd name="T176" fmla="*/ 690 w 690"/>
                <a:gd name="T177" fmla="*/ 528 h 52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90" h="528">
                  <a:moveTo>
                    <a:pt x="12" y="504"/>
                  </a:moveTo>
                  <a:lnTo>
                    <a:pt x="24" y="510"/>
                  </a:lnTo>
                  <a:lnTo>
                    <a:pt x="30" y="516"/>
                  </a:lnTo>
                  <a:lnTo>
                    <a:pt x="54" y="528"/>
                  </a:lnTo>
                  <a:lnTo>
                    <a:pt x="60" y="528"/>
                  </a:lnTo>
                  <a:lnTo>
                    <a:pt x="78" y="510"/>
                  </a:lnTo>
                  <a:lnTo>
                    <a:pt x="102" y="510"/>
                  </a:lnTo>
                  <a:lnTo>
                    <a:pt x="120" y="516"/>
                  </a:lnTo>
                  <a:lnTo>
                    <a:pt x="144" y="516"/>
                  </a:lnTo>
                  <a:lnTo>
                    <a:pt x="174" y="486"/>
                  </a:lnTo>
                  <a:lnTo>
                    <a:pt x="180" y="474"/>
                  </a:lnTo>
                  <a:lnTo>
                    <a:pt x="222" y="474"/>
                  </a:lnTo>
                  <a:lnTo>
                    <a:pt x="234" y="486"/>
                  </a:lnTo>
                  <a:lnTo>
                    <a:pt x="258" y="498"/>
                  </a:lnTo>
                  <a:lnTo>
                    <a:pt x="264" y="504"/>
                  </a:lnTo>
                  <a:lnTo>
                    <a:pt x="270" y="504"/>
                  </a:lnTo>
                  <a:lnTo>
                    <a:pt x="282" y="492"/>
                  </a:lnTo>
                  <a:lnTo>
                    <a:pt x="294" y="486"/>
                  </a:lnTo>
                  <a:lnTo>
                    <a:pt x="300" y="480"/>
                  </a:lnTo>
                  <a:lnTo>
                    <a:pt x="324" y="480"/>
                  </a:lnTo>
                  <a:lnTo>
                    <a:pt x="354" y="444"/>
                  </a:lnTo>
                  <a:lnTo>
                    <a:pt x="348" y="432"/>
                  </a:lnTo>
                  <a:lnTo>
                    <a:pt x="384" y="402"/>
                  </a:lnTo>
                  <a:lnTo>
                    <a:pt x="378" y="390"/>
                  </a:lnTo>
                  <a:lnTo>
                    <a:pt x="372" y="384"/>
                  </a:lnTo>
                  <a:lnTo>
                    <a:pt x="372" y="360"/>
                  </a:lnTo>
                  <a:lnTo>
                    <a:pt x="378" y="354"/>
                  </a:lnTo>
                  <a:lnTo>
                    <a:pt x="396" y="354"/>
                  </a:lnTo>
                  <a:lnTo>
                    <a:pt x="402" y="342"/>
                  </a:lnTo>
                  <a:lnTo>
                    <a:pt x="402" y="336"/>
                  </a:lnTo>
                  <a:lnTo>
                    <a:pt x="408" y="318"/>
                  </a:lnTo>
                  <a:lnTo>
                    <a:pt x="408" y="264"/>
                  </a:lnTo>
                  <a:lnTo>
                    <a:pt x="414" y="252"/>
                  </a:lnTo>
                  <a:lnTo>
                    <a:pt x="420" y="246"/>
                  </a:lnTo>
                  <a:lnTo>
                    <a:pt x="516" y="246"/>
                  </a:lnTo>
                  <a:lnTo>
                    <a:pt x="540" y="270"/>
                  </a:lnTo>
                  <a:lnTo>
                    <a:pt x="552" y="276"/>
                  </a:lnTo>
                  <a:lnTo>
                    <a:pt x="558" y="282"/>
                  </a:lnTo>
                  <a:lnTo>
                    <a:pt x="576" y="276"/>
                  </a:lnTo>
                  <a:lnTo>
                    <a:pt x="564" y="216"/>
                  </a:lnTo>
                  <a:lnTo>
                    <a:pt x="576" y="222"/>
                  </a:lnTo>
                  <a:lnTo>
                    <a:pt x="582" y="234"/>
                  </a:lnTo>
                  <a:lnTo>
                    <a:pt x="594" y="240"/>
                  </a:lnTo>
                  <a:lnTo>
                    <a:pt x="636" y="240"/>
                  </a:lnTo>
                  <a:lnTo>
                    <a:pt x="630" y="234"/>
                  </a:lnTo>
                  <a:lnTo>
                    <a:pt x="624" y="222"/>
                  </a:lnTo>
                  <a:lnTo>
                    <a:pt x="618" y="216"/>
                  </a:lnTo>
                  <a:lnTo>
                    <a:pt x="606" y="192"/>
                  </a:lnTo>
                  <a:lnTo>
                    <a:pt x="606" y="186"/>
                  </a:lnTo>
                  <a:lnTo>
                    <a:pt x="612" y="180"/>
                  </a:lnTo>
                  <a:lnTo>
                    <a:pt x="624" y="180"/>
                  </a:lnTo>
                  <a:lnTo>
                    <a:pt x="642" y="186"/>
                  </a:lnTo>
                  <a:lnTo>
                    <a:pt x="654" y="186"/>
                  </a:lnTo>
                  <a:lnTo>
                    <a:pt x="660" y="192"/>
                  </a:lnTo>
                  <a:lnTo>
                    <a:pt x="666" y="192"/>
                  </a:lnTo>
                  <a:lnTo>
                    <a:pt x="690" y="162"/>
                  </a:lnTo>
                  <a:lnTo>
                    <a:pt x="666" y="156"/>
                  </a:lnTo>
                  <a:lnTo>
                    <a:pt x="660" y="144"/>
                  </a:lnTo>
                  <a:lnTo>
                    <a:pt x="642" y="126"/>
                  </a:lnTo>
                  <a:lnTo>
                    <a:pt x="630" y="120"/>
                  </a:lnTo>
                  <a:lnTo>
                    <a:pt x="612" y="120"/>
                  </a:lnTo>
                  <a:lnTo>
                    <a:pt x="600" y="114"/>
                  </a:lnTo>
                  <a:lnTo>
                    <a:pt x="588" y="114"/>
                  </a:lnTo>
                  <a:lnTo>
                    <a:pt x="588" y="108"/>
                  </a:lnTo>
                  <a:lnTo>
                    <a:pt x="582" y="102"/>
                  </a:lnTo>
                  <a:lnTo>
                    <a:pt x="582" y="90"/>
                  </a:lnTo>
                  <a:lnTo>
                    <a:pt x="576" y="78"/>
                  </a:lnTo>
                  <a:lnTo>
                    <a:pt x="564" y="66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28" y="60"/>
                  </a:lnTo>
                  <a:lnTo>
                    <a:pt x="510" y="0"/>
                  </a:lnTo>
                  <a:lnTo>
                    <a:pt x="504" y="18"/>
                  </a:lnTo>
                  <a:lnTo>
                    <a:pt x="492" y="0"/>
                  </a:lnTo>
                  <a:lnTo>
                    <a:pt x="480" y="60"/>
                  </a:lnTo>
                  <a:lnTo>
                    <a:pt x="468" y="66"/>
                  </a:lnTo>
                  <a:lnTo>
                    <a:pt x="462" y="66"/>
                  </a:lnTo>
                  <a:lnTo>
                    <a:pt x="450" y="72"/>
                  </a:lnTo>
                  <a:lnTo>
                    <a:pt x="438" y="96"/>
                  </a:lnTo>
                  <a:lnTo>
                    <a:pt x="438" y="114"/>
                  </a:lnTo>
                  <a:lnTo>
                    <a:pt x="408" y="126"/>
                  </a:lnTo>
                  <a:lnTo>
                    <a:pt x="420" y="162"/>
                  </a:lnTo>
                  <a:lnTo>
                    <a:pt x="408" y="162"/>
                  </a:lnTo>
                  <a:lnTo>
                    <a:pt x="390" y="156"/>
                  </a:lnTo>
                  <a:lnTo>
                    <a:pt x="378" y="156"/>
                  </a:lnTo>
                  <a:lnTo>
                    <a:pt x="360" y="150"/>
                  </a:lnTo>
                  <a:lnTo>
                    <a:pt x="354" y="150"/>
                  </a:lnTo>
                  <a:lnTo>
                    <a:pt x="342" y="156"/>
                  </a:lnTo>
                  <a:lnTo>
                    <a:pt x="342" y="168"/>
                  </a:lnTo>
                  <a:lnTo>
                    <a:pt x="336" y="180"/>
                  </a:lnTo>
                  <a:lnTo>
                    <a:pt x="336" y="204"/>
                  </a:lnTo>
                  <a:lnTo>
                    <a:pt x="294" y="246"/>
                  </a:lnTo>
                  <a:lnTo>
                    <a:pt x="294" y="258"/>
                  </a:lnTo>
                  <a:lnTo>
                    <a:pt x="282" y="294"/>
                  </a:lnTo>
                  <a:lnTo>
                    <a:pt x="276" y="306"/>
                  </a:lnTo>
                  <a:lnTo>
                    <a:pt x="264" y="318"/>
                  </a:lnTo>
                  <a:lnTo>
                    <a:pt x="228" y="336"/>
                  </a:lnTo>
                  <a:lnTo>
                    <a:pt x="186" y="342"/>
                  </a:lnTo>
                  <a:lnTo>
                    <a:pt x="162" y="348"/>
                  </a:lnTo>
                  <a:lnTo>
                    <a:pt x="156" y="354"/>
                  </a:lnTo>
                  <a:lnTo>
                    <a:pt x="132" y="366"/>
                  </a:lnTo>
                  <a:lnTo>
                    <a:pt x="114" y="384"/>
                  </a:lnTo>
                  <a:lnTo>
                    <a:pt x="102" y="390"/>
                  </a:lnTo>
                  <a:lnTo>
                    <a:pt x="84" y="426"/>
                  </a:lnTo>
                  <a:lnTo>
                    <a:pt x="102" y="444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84" y="480"/>
                  </a:lnTo>
                  <a:lnTo>
                    <a:pt x="72" y="480"/>
                  </a:lnTo>
                  <a:lnTo>
                    <a:pt x="48" y="468"/>
                  </a:lnTo>
                  <a:lnTo>
                    <a:pt x="42" y="462"/>
                  </a:lnTo>
                  <a:lnTo>
                    <a:pt x="30" y="456"/>
                  </a:lnTo>
                  <a:lnTo>
                    <a:pt x="24" y="456"/>
                  </a:lnTo>
                  <a:lnTo>
                    <a:pt x="12" y="462"/>
                  </a:lnTo>
                  <a:lnTo>
                    <a:pt x="0" y="474"/>
                  </a:lnTo>
                  <a:lnTo>
                    <a:pt x="0" y="492"/>
                  </a:lnTo>
                  <a:lnTo>
                    <a:pt x="12" y="50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95" name="Malawi" descr="© INSCALE GmbH, 05.05.2010&#10;http://www.presentationload.com/"/>
            <p:cNvSpPr>
              <a:spLocks/>
            </p:cNvSpPr>
            <p:nvPr/>
          </p:nvSpPr>
          <p:spPr bwMode="gray">
            <a:xfrm>
              <a:off x="5217006" y="4540179"/>
              <a:ext cx="76790" cy="194742"/>
            </a:xfrm>
            <a:custGeom>
              <a:avLst/>
              <a:gdLst>
                <a:gd name="T0" fmla="*/ 2147483647 w 234"/>
                <a:gd name="T1" fmla="*/ 2147483647 h 624"/>
                <a:gd name="T2" fmla="*/ 2147483647 w 234"/>
                <a:gd name="T3" fmla="*/ 2147483647 h 624"/>
                <a:gd name="T4" fmla="*/ 2147483647 w 234"/>
                <a:gd name="T5" fmla="*/ 2147483647 h 624"/>
                <a:gd name="T6" fmla="*/ 2147483647 w 234"/>
                <a:gd name="T7" fmla="*/ 2147483647 h 624"/>
                <a:gd name="T8" fmla="*/ 2147483647 w 234"/>
                <a:gd name="T9" fmla="*/ 2147483647 h 624"/>
                <a:gd name="T10" fmla="*/ 2147483647 w 234"/>
                <a:gd name="T11" fmla="*/ 2147483647 h 624"/>
                <a:gd name="T12" fmla="*/ 2147483647 w 234"/>
                <a:gd name="T13" fmla="*/ 2147483647 h 624"/>
                <a:gd name="T14" fmla="*/ 2147483647 w 234"/>
                <a:gd name="T15" fmla="*/ 2147483647 h 624"/>
                <a:gd name="T16" fmla="*/ 2147483647 w 234"/>
                <a:gd name="T17" fmla="*/ 2147483647 h 624"/>
                <a:gd name="T18" fmla="*/ 2147483647 w 234"/>
                <a:gd name="T19" fmla="*/ 2147483647 h 624"/>
                <a:gd name="T20" fmla="*/ 2147483647 w 234"/>
                <a:gd name="T21" fmla="*/ 2147483647 h 624"/>
                <a:gd name="T22" fmla="*/ 2147483647 w 234"/>
                <a:gd name="T23" fmla="*/ 2147483647 h 624"/>
                <a:gd name="T24" fmla="*/ 2147483647 w 234"/>
                <a:gd name="T25" fmla="*/ 2147483647 h 624"/>
                <a:gd name="T26" fmla="*/ 2147483647 w 234"/>
                <a:gd name="T27" fmla="*/ 2147483647 h 624"/>
                <a:gd name="T28" fmla="*/ 2147483647 w 234"/>
                <a:gd name="T29" fmla="*/ 2147483647 h 624"/>
                <a:gd name="T30" fmla="*/ 2147483647 w 234"/>
                <a:gd name="T31" fmla="*/ 2147483647 h 624"/>
                <a:gd name="T32" fmla="*/ 2147483647 w 234"/>
                <a:gd name="T33" fmla="*/ 2147483647 h 624"/>
                <a:gd name="T34" fmla="*/ 2147483647 w 234"/>
                <a:gd name="T35" fmla="*/ 2147483647 h 624"/>
                <a:gd name="T36" fmla="*/ 2147483647 w 234"/>
                <a:gd name="T37" fmla="*/ 2147483647 h 624"/>
                <a:gd name="T38" fmla="*/ 2147483647 w 234"/>
                <a:gd name="T39" fmla="*/ 2147483647 h 624"/>
                <a:gd name="T40" fmla="*/ 2147483647 w 234"/>
                <a:gd name="T41" fmla="*/ 2147483647 h 624"/>
                <a:gd name="T42" fmla="*/ 2147483647 w 234"/>
                <a:gd name="T43" fmla="*/ 2147483647 h 624"/>
                <a:gd name="T44" fmla="*/ 2147483647 w 234"/>
                <a:gd name="T45" fmla="*/ 2147483647 h 624"/>
                <a:gd name="T46" fmla="*/ 2147483647 w 234"/>
                <a:gd name="T47" fmla="*/ 0 h 624"/>
                <a:gd name="T48" fmla="*/ 2147483647 w 234"/>
                <a:gd name="T49" fmla="*/ 2147483647 h 624"/>
                <a:gd name="T50" fmla="*/ 2147483647 w 234"/>
                <a:gd name="T51" fmla="*/ 2147483647 h 624"/>
                <a:gd name="T52" fmla="*/ 2147483647 w 234"/>
                <a:gd name="T53" fmla="*/ 2147483647 h 624"/>
                <a:gd name="T54" fmla="*/ 2147483647 w 234"/>
                <a:gd name="T55" fmla="*/ 2147483647 h 624"/>
                <a:gd name="T56" fmla="*/ 2147483647 w 234"/>
                <a:gd name="T57" fmla="*/ 2147483647 h 624"/>
                <a:gd name="T58" fmla="*/ 2147483647 w 234"/>
                <a:gd name="T59" fmla="*/ 2147483647 h 624"/>
                <a:gd name="T60" fmla="*/ 2147483647 w 234"/>
                <a:gd name="T61" fmla="*/ 2147483647 h 624"/>
                <a:gd name="T62" fmla="*/ 2147483647 w 234"/>
                <a:gd name="T63" fmla="*/ 2147483647 h 624"/>
                <a:gd name="T64" fmla="*/ 2147483647 w 234"/>
                <a:gd name="T65" fmla="*/ 2147483647 h 624"/>
                <a:gd name="T66" fmla="*/ 2147483647 w 234"/>
                <a:gd name="T67" fmla="*/ 2147483647 h 624"/>
                <a:gd name="T68" fmla="*/ 2147483647 w 234"/>
                <a:gd name="T69" fmla="*/ 2147483647 h 624"/>
                <a:gd name="T70" fmla="*/ 2147483647 w 234"/>
                <a:gd name="T71" fmla="*/ 2147483647 h 624"/>
                <a:gd name="T72" fmla="*/ 2147483647 w 234"/>
                <a:gd name="T73" fmla="*/ 2147483647 h 624"/>
                <a:gd name="T74" fmla="*/ 0 w 234"/>
                <a:gd name="T75" fmla="*/ 2147483647 h 624"/>
                <a:gd name="T76" fmla="*/ 2147483647 w 234"/>
                <a:gd name="T77" fmla="*/ 2147483647 h 624"/>
                <a:gd name="T78" fmla="*/ 2147483647 w 234"/>
                <a:gd name="T79" fmla="*/ 2147483647 h 624"/>
                <a:gd name="T80" fmla="*/ 2147483647 w 234"/>
                <a:gd name="T81" fmla="*/ 2147483647 h 624"/>
                <a:gd name="T82" fmla="*/ 2147483647 w 234"/>
                <a:gd name="T83" fmla="*/ 2147483647 h 624"/>
                <a:gd name="T84" fmla="*/ 2147483647 w 234"/>
                <a:gd name="T85" fmla="*/ 2147483647 h 624"/>
                <a:gd name="T86" fmla="*/ 2147483647 w 234"/>
                <a:gd name="T87" fmla="*/ 2147483647 h 624"/>
                <a:gd name="T88" fmla="*/ 2147483647 w 234"/>
                <a:gd name="T89" fmla="*/ 2147483647 h 624"/>
                <a:gd name="T90" fmla="*/ 2147483647 w 234"/>
                <a:gd name="T91" fmla="*/ 2147483647 h 624"/>
                <a:gd name="T92" fmla="*/ 2147483647 w 234"/>
                <a:gd name="T93" fmla="*/ 2147483647 h 624"/>
                <a:gd name="T94" fmla="*/ 2147483647 w 234"/>
                <a:gd name="T95" fmla="*/ 2147483647 h 624"/>
                <a:gd name="T96" fmla="*/ 2147483647 w 234"/>
                <a:gd name="T97" fmla="*/ 2147483647 h 624"/>
                <a:gd name="T98" fmla="*/ 2147483647 w 234"/>
                <a:gd name="T99" fmla="*/ 2147483647 h 624"/>
                <a:gd name="T100" fmla="*/ 2147483647 w 234"/>
                <a:gd name="T101" fmla="*/ 2147483647 h 624"/>
                <a:gd name="T102" fmla="*/ 2147483647 w 234"/>
                <a:gd name="T103" fmla="*/ 2147483647 h 624"/>
                <a:gd name="T104" fmla="*/ 2147483647 w 234"/>
                <a:gd name="T105" fmla="*/ 2147483647 h 624"/>
                <a:gd name="T106" fmla="*/ 2147483647 w 234"/>
                <a:gd name="T107" fmla="*/ 2147483647 h 624"/>
                <a:gd name="T108" fmla="*/ 2147483647 w 234"/>
                <a:gd name="T109" fmla="*/ 2147483647 h 624"/>
                <a:gd name="T110" fmla="*/ 2147483647 w 234"/>
                <a:gd name="T111" fmla="*/ 2147483647 h 624"/>
                <a:gd name="T112" fmla="*/ 2147483647 w 234"/>
                <a:gd name="T113" fmla="*/ 2147483647 h 624"/>
                <a:gd name="T114" fmla="*/ 2147483647 w 234"/>
                <a:gd name="T115" fmla="*/ 2147483647 h 624"/>
                <a:gd name="T116" fmla="*/ 2147483647 w 234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34"/>
                <a:gd name="T178" fmla="*/ 0 h 624"/>
                <a:gd name="T179" fmla="*/ 234 w 234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34" h="624">
                  <a:moveTo>
                    <a:pt x="234" y="432"/>
                  </a:moveTo>
                  <a:lnTo>
                    <a:pt x="222" y="420"/>
                  </a:lnTo>
                  <a:lnTo>
                    <a:pt x="210" y="402"/>
                  </a:lnTo>
                  <a:lnTo>
                    <a:pt x="204" y="390"/>
                  </a:lnTo>
                  <a:lnTo>
                    <a:pt x="198" y="384"/>
                  </a:lnTo>
                  <a:lnTo>
                    <a:pt x="186" y="360"/>
                  </a:lnTo>
                  <a:lnTo>
                    <a:pt x="162" y="336"/>
                  </a:lnTo>
                  <a:lnTo>
                    <a:pt x="156" y="336"/>
                  </a:lnTo>
                  <a:lnTo>
                    <a:pt x="156" y="330"/>
                  </a:lnTo>
                  <a:lnTo>
                    <a:pt x="150" y="330"/>
                  </a:lnTo>
                  <a:lnTo>
                    <a:pt x="150" y="342"/>
                  </a:lnTo>
                  <a:lnTo>
                    <a:pt x="156" y="342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8"/>
                  </a:lnTo>
                  <a:lnTo>
                    <a:pt x="174" y="390"/>
                  </a:lnTo>
                  <a:lnTo>
                    <a:pt x="168" y="396"/>
                  </a:lnTo>
                  <a:lnTo>
                    <a:pt x="162" y="396"/>
                  </a:lnTo>
                  <a:lnTo>
                    <a:pt x="162" y="390"/>
                  </a:lnTo>
                  <a:lnTo>
                    <a:pt x="156" y="384"/>
                  </a:lnTo>
                  <a:lnTo>
                    <a:pt x="156" y="378"/>
                  </a:lnTo>
                  <a:lnTo>
                    <a:pt x="144" y="384"/>
                  </a:lnTo>
                  <a:lnTo>
                    <a:pt x="132" y="384"/>
                  </a:lnTo>
                  <a:lnTo>
                    <a:pt x="132" y="360"/>
                  </a:lnTo>
                  <a:lnTo>
                    <a:pt x="126" y="354"/>
                  </a:lnTo>
                  <a:lnTo>
                    <a:pt x="126" y="342"/>
                  </a:lnTo>
                  <a:lnTo>
                    <a:pt x="120" y="330"/>
                  </a:lnTo>
                  <a:lnTo>
                    <a:pt x="120" y="282"/>
                  </a:lnTo>
                  <a:lnTo>
                    <a:pt x="84" y="246"/>
                  </a:lnTo>
                  <a:lnTo>
                    <a:pt x="90" y="240"/>
                  </a:lnTo>
                  <a:lnTo>
                    <a:pt x="90" y="222"/>
                  </a:lnTo>
                  <a:lnTo>
                    <a:pt x="96" y="210"/>
                  </a:lnTo>
                  <a:lnTo>
                    <a:pt x="114" y="192"/>
                  </a:lnTo>
                  <a:lnTo>
                    <a:pt x="120" y="180"/>
                  </a:lnTo>
                  <a:lnTo>
                    <a:pt x="126" y="174"/>
                  </a:lnTo>
                  <a:lnTo>
                    <a:pt x="126" y="156"/>
                  </a:lnTo>
                  <a:lnTo>
                    <a:pt x="120" y="150"/>
                  </a:lnTo>
                  <a:lnTo>
                    <a:pt x="120" y="102"/>
                  </a:lnTo>
                  <a:lnTo>
                    <a:pt x="114" y="78"/>
                  </a:lnTo>
                  <a:lnTo>
                    <a:pt x="114" y="60"/>
                  </a:lnTo>
                  <a:lnTo>
                    <a:pt x="102" y="60"/>
                  </a:lnTo>
                  <a:lnTo>
                    <a:pt x="84" y="42"/>
                  </a:lnTo>
                  <a:lnTo>
                    <a:pt x="84" y="36"/>
                  </a:lnTo>
                  <a:lnTo>
                    <a:pt x="90" y="24"/>
                  </a:lnTo>
                  <a:lnTo>
                    <a:pt x="90" y="18"/>
                  </a:lnTo>
                  <a:lnTo>
                    <a:pt x="60" y="18"/>
                  </a:lnTo>
                  <a:lnTo>
                    <a:pt x="54" y="0"/>
                  </a:lnTo>
                  <a:lnTo>
                    <a:pt x="30" y="0"/>
                  </a:lnTo>
                  <a:lnTo>
                    <a:pt x="30" y="12"/>
                  </a:lnTo>
                  <a:lnTo>
                    <a:pt x="42" y="12"/>
                  </a:lnTo>
                  <a:lnTo>
                    <a:pt x="54" y="24"/>
                  </a:lnTo>
                  <a:lnTo>
                    <a:pt x="54" y="66"/>
                  </a:lnTo>
                  <a:lnTo>
                    <a:pt x="60" y="66"/>
                  </a:lnTo>
                  <a:lnTo>
                    <a:pt x="66" y="60"/>
                  </a:lnTo>
                  <a:lnTo>
                    <a:pt x="66" y="84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54" y="108"/>
                  </a:lnTo>
                  <a:lnTo>
                    <a:pt x="48" y="114"/>
                  </a:lnTo>
                  <a:lnTo>
                    <a:pt x="42" y="114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48" y="156"/>
                  </a:lnTo>
                  <a:lnTo>
                    <a:pt x="48" y="228"/>
                  </a:lnTo>
                  <a:lnTo>
                    <a:pt x="60" y="228"/>
                  </a:lnTo>
                  <a:lnTo>
                    <a:pt x="60" y="234"/>
                  </a:lnTo>
                  <a:lnTo>
                    <a:pt x="42" y="252"/>
                  </a:lnTo>
                  <a:lnTo>
                    <a:pt x="30" y="258"/>
                  </a:lnTo>
                  <a:lnTo>
                    <a:pt x="24" y="264"/>
                  </a:lnTo>
                  <a:lnTo>
                    <a:pt x="18" y="264"/>
                  </a:lnTo>
                  <a:lnTo>
                    <a:pt x="24" y="300"/>
                  </a:lnTo>
                  <a:lnTo>
                    <a:pt x="18" y="312"/>
                  </a:lnTo>
                  <a:lnTo>
                    <a:pt x="12" y="318"/>
                  </a:lnTo>
                  <a:lnTo>
                    <a:pt x="6" y="330"/>
                  </a:lnTo>
                  <a:lnTo>
                    <a:pt x="0" y="336"/>
                  </a:lnTo>
                  <a:lnTo>
                    <a:pt x="0" y="342"/>
                  </a:lnTo>
                  <a:lnTo>
                    <a:pt x="12" y="348"/>
                  </a:lnTo>
                  <a:lnTo>
                    <a:pt x="24" y="360"/>
                  </a:lnTo>
                  <a:lnTo>
                    <a:pt x="36" y="366"/>
                  </a:lnTo>
                  <a:lnTo>
                    <a:pt x="66" y="414"/>
                  </a:lnTo>
                  <a:lnTo>
                    <a:pt x="96" y="414"/>
                  </a:lnTo>
                  <a:lnTo>
                    <a:pt x="102" y="408"/>
                  </a:lnTo>
                  <a:lnTo>
                    <a:pt x="120" y="408"/>
                  </a:lnTo>
                  <a:lnTo>
                    <a:pt x="126" y="414"/>
                  </a:lnTo>
                  <a:lnTo>
                    <a:pt x="126" y="450"/>
                  </a:lnTo>
                  <a:lnTo>
                    <a:pt x="132" y="450"/>
                  </a:lnTo>
                  <a:lnTo>
                    <a:pt x="126" y="480"/>
                  </a:lnTo>
                  <a:lnTo>
                    <a:pt x="114" y="486"/>
                  </a:lnTo>
                  <a:lnTo>
                    <a:pt x="126" y="504"/>
                  </a:lnTo>
                  <a:lnTo>
                    <a:pt x="120" y="510"/>
                  </a:lnTo>
                  <a:lnTo>
                    <a:pt x="108" y="516"/>
                  </a:lnTo>
                  <a:lnTo>
                    <a:pt x="102" y="522"/>
                  </a:lnTo>
                  <a:lnTo>
                    <a:pt x="102" y="528"/>
                  </a:lnTo>
                  <a:lnTo>
                    <a:pt x="114" y="528"/>
                  </a:lnTo>
                  <a:lnTo>
                    <a:pt x="114" y="558"/>
                  </a:lnTo>
                  <a:lnTo>
                    <a:pt x="126" y="564"/>
                  </a:lnTo>
                  <a:lnTo>
                    <a:pt x="132" y="570"/>
                  </a:lnTo>
                  <a:lnTo>
                    <a:pt x="144" y="576"/>
                  </a:lnTo>
                  <a:lnTo>
                    <a:pt x="150" y="582"/>
                  </a:lnTo>
                  <a:lnTo>
                    <a:pt x="162" y="588"/>
                  </a:lnTo>
                  <a:lnTo>
                    <a:pt x="162" y="600"/>
                  </a:lnTo>
                  <a:lnTo>
                    <a:pt x="156" y="606"/>
                  </a:lnTo>
                  <a:lnTo>
                    <a:pt x="156" y="618"/>
                  </a:lnTo>
                  <a:lnTo>
                    <a:pt x="162" y="624"/>
                  </a:lnTo>
                  <a:lnTo>
                    <a:pt x="168" y="618"/>
                  </a:lnTo>
                  <a:lnTo>
                    <a:pt x="180" y="612"/>
                  </a:lnTo>
                  <a:lnTo>
                    <a:pt x="180" y="582"/>
                  </a:lnTo>
                  <a:lnTo>
                    <a:pt x="174" y="576"/>
                  </a:lnTo>
                  <a:lnTo>
                    <a:pt x="168" y="576"/>
                  </a:lnTo>
                  <a:lnTo>
                    <a:pt x="168" y="558"/>
                  </a:lnTo>
                  <a:lnTo>
                    <a:pt x="174" y="546"/>
                  </a:lnTo>
                  <a:lnTo>
                    <a:pt x="186" y="540"/>
                  </a:lnTo>
                  <a:lnTo>
                    <a:pt x="210" y="540"/>
                  </a:lnTo>
                  <a:lnTo>
                    <a:pt x="216" y="534"/>
                  </a:lnTo>
                  <a:lnTo>
                    <a:pt x="216" y="474"/>
                  </a:lnTo>
                  <a:lnTo>
                    <a:pt x="222" y="468"/>
                  </a:lnTo>
                  <a:lnTo>
                    <a:pt x="228" y="456"/>
                  </a:lnTo>
                  <a:lnTo>
                    <a:pt x="234" y="450"/>
                  </a:lnTo>
                  <a:lnTo>
                    <a:pt x="234" y="43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96" name="Madagascar" descr="© INSCALE GmbH, 05.05.2010&#10;http://www.presentationload.com/"/>
            <p:cNvSpPr>
              <a:spLocks/>
            </p:cNvSpPr>
            <p:nvPr/>
          </p:nvSpPr>
          <p:spPr bwMode="gray">
            <a:xfrm>
              <a:off x="5439699" y="4611217"/>
              <a:ext cx="191976" cy="339266"/>
            </a:xfrm>
            <a:custGeom>
              <a:avLst/>
              <a:gdLst>
                <a:gd name="T0" fmla="*/ 2147483647 w 594"/>
                <a:gd name="T1" fmla="*/ 2147483647 h 1092"/>
                <a:gd name="T2" fmla="*/ 2147483647 w 594"/>
                <a:gd name="T3" fmla="*/ 2147483647 h 1092"/>
                <a:gd name="T4" fmla="*/ 2147483647 w 594"/>
                <a:gd name="T5" fmla="*/ 2147483647 h 1092"/>
                <a:gd name="T6" fmla="*/ 2147483647 w 594"/>
                <a:gd name="T7" fmla="*/ 2147483647 h 1092"/>
                <a:gd name="T8" fmla="*/ 2147483647 w 594"/>
                <a:gd name="T9" fmla="*/ 2147483647 h 1092"/>
                <a:gd name="T10" fmla="*/ 2147483647 w 594"/>
                <a:gd name="T11" fmla="*/ 2147483647 h 1092"/>
                <a:gd name="T12" fmla="*/ 2147483647 w 594"/>
                <a:gd name="T13" fmla="*/ 2147483647 h 1092"/>
                <a:gd name="T14" fmla="*/ 2147483647 w 594"/>
                <a:gd name="T15" fmla="*/ 2147483647 h 1092"/>
                <a:gd name="T16" fmla="*/ 2147483647 w 594"/>
                <a:gd name="T17" fmla="*/ 2147483647 h 1092"/>
                <a:gd name="T18" fmla="*/ 2147483647 w 594"/>
                <a:gd name="T19" fmla="*/ 2147483647 h 1092"/>
                <a:gd name="T20" fmla="*/ 2147483647 w 594"/>
                <a:gd name="T21" fmla="*/ 2147483647 h 1092"/>
                <a:gd name="T22" fmla="*/ 2147483647 w 594"/>
                <a:gd name="T23" fmla="*/ 2147483647 h 1092"/>
                <a:gd name="T24" fmla="*/ 2147483647 w 594"/>
                <a:gd name="T25" fmla="*/ 2147483647 h 1092"/>
                <a:gd name="T26" fmla="*/ 2147483647 w 594"/>
                <a:gd name="T27" fmla="*/ 2147483647 h 1092"/>
                <a:gd name="T28" fmla="*/ 2147483647 w 594"/>
                <a:gd name="T29" fmla="*/ 2147483647 h 1092"/>
                <a:gd name="T30" fmla="*/ 2147483647 w 594"/>
                <a:gd name="T31" fmla="*/ 2147483647 h 1092"/>
                <a:gd name="T32" fmla="*/ 2147483647 w 594"/>
                <a:gd name="T33" fmla="*/ 0 h 1092"/>
                <a:gd name="T34" fmla="*/ 2147483647 w 594"/>
                <a:gd name="T35" fmla="*/ 2147483647 h 1092"/>
                <a:gd name="T36" fmla="*/ 2147483647 w 594"/>
                <a:gd name="T37" fmla="*/ 2147483647 h 1092"/>
                <a:gd name="T38" fmla="*/ 2147483647 w 594"/>
                <a:gd name="T39" fmla="*/ 2147483647 h 1092"/>
                <a:gd name="T40" fmla="*/ 2147483647 w 594"/>
                <a:gd name="T41" fmla="*/ 2147483647 h 1092"/>
                <a:gd name="T42" fmla="*/ 2147483647 w 594"/>
                <a:gd name="T43" fmla="*/ 2147483647 h 1092"/>
                <a:gd name="T44" fmla="*/ 2147483647 w 594"/>
                <a:gd name="T45" fmla="*/ 2147483647 h 1092"/>
                <a:gd name="T46" fmla="*/ 2147483647 w 594"/>
                <a:gd name="T47" fmla="*/ 2147483647 h 1092"/>
                <a:gd name="T48" fmla="*/ 2147483647 w 594"/>
                <a:gd name="T49" fmla="*/ 2147483647 h 1092"/>
                <a:gd name="T50" fmla="*/ 2147483647 w 594"/>
                <a:gd name="T51" fmla="*/ 2147483647 h 1092"/>
                <a:gd name="T52" fmla="*/ 2147483647 w 594"/>
                <a:gd name="T53" fmla="*/ 2147483647 h 1092"/>
                <a:gd name="T54" fmla="*/ 2147483647 w 594"/>
                <a:gd name="T55" fmla="*/ 2147483647 h 1092"/>
                <a:gd name="T56" fmla="*/ 2147483647 w 594"/>
                <a:gd name="T57" fmla="*/ 2147483647 h 1092"/>
                <a:gd name="T58" fmla="*/ 2147483647 w 594"/>
                <a:gd name="T59" fmla="*/ 2147483647 h 1092"/>
                <a:gd name="T60" fmla="*/ 2147483647 w 594"/>
                <a:gd name="T61" fmla="*/ 2147483647 h 1092"/>
                <a:gd name="T62" fmla="*/ 2147483647 w 594"/>
                <a:gd name="T63" fmla="*/ 2147483647 h 1092"/>
                <a:gd name="T64" fmla="*/ 2147483647 w 594"/>
                <a:gd name="T65" fmla="*/ 2147483647 h 1092"/>
                <a:gd name="T66" fmla="*/ 2147483647 w 594"/>
                <a:gd name="T67" fmla="*/ 2147483647 h 1092"/>
                <a:gd name="T68" fmla="*/ 2147483647 w 594"/>
                <a:gd name="T69" fmla="*/ 2147483647 h 1092"/>
                <a:gd name="T70" fmla="*/ 2147483647 w 594"/>
                <a:gd name="T71" fmla="*/ 2147483647 h 1092"/>
                <a:gd name="T72" fmla="*/ 2147483647 w 594"/>
                <a:gd name="T73" fmla="*/ 2147483647 h 1092"/>
                <a:gd name="T74" fmla="*/ 2147483647 w 594"/>
                <a:gd name="T75" fmla="*/ 2147483647 h 1092"/>
                <a:gd name="T76" fmla="*/ 2147483647 w 594"/>
                <a:gd name="T77" fmla="*/ 2147483647 h 1092"/>
                <a:gd name="T78" fmla="*/ 2147483647 w 594"/>
                <a:gd name="T79" fmla="*/ 2147483647 h 1092"/>
                <a:gd name="T80" fmla="*/ 2147483647 w 594"/>
                <a:gd name="T81" fmla="*/ 2147483647 h 1092"/>
                <a:gd name="T82" fmla="*/ 2147483647 w 594"/>
                <a:gd name="T83" fmla="*/ 2147483647 h 1092"/>
                <a:gd name="T84" fmla="*/ 2147483647 w 594"/>
                <a:gd name="T85" fmla="*/ 2147483647 h 1092"/>
                <a:gd name="T86" fmla="*/ 0 w 594"/>
                <a:gd name="T87" fmla="*/ 2147483647 h 1092"/>
                <a:gd name="T88" fmla="*/ 2147483647 w 594"/>
                <a:gd name="T89" fmla="*/ 2147483647 h 1092"/>
                <a:gd name="T90" fmla="*/ 2147483647 w 594"/>
                <a:gd name="T91" fmla="*/ 2147483647 h 1092"/>
                <a:gd name="T92" fmla="*/ 2147483647 w 594"/>
                <a:gd name="T93" fmla="*/ 2147483647 h 1092"/>
                <a:gd name="T94" fmla="*/ 2147483647 w 594"/>
                <a:gd name="T95" fmla="*/ 2147483647 h 1092"/>
                <a:gd name="T96" fmla="*/ 2147483647 w 594"/>
                <a:gd name="T97" fmla="*/ 2147483647 h 1092"/>
                <a:gd name="T98" fmla="*/ 2147483647 w 594"/>
                <a:gd name="T99" fmla="*/ 2147483647 h 1092"/>
                <a:gd name="T100" fmla="*/ 2147483647 w 594"/>
                <a:gd name="T101" fmla="*/ 2147483647 h 1092"/>
                <a:gd name="T102" fmla="*/ 2147483647 w 594"/>
                <a:gd name="T103" fmla="*/ 2147483647 h 109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94"/>
                <a:gd name="T157" fmla="*/ 0 h 1092"/>
                <a:gd name="T158" fmla="*/ 594 w 594"/>
                <a:gd name="T159" fmla="*/ 1092 h 109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94" h="1092">
                  <a:moveTo>
                    <a:pt x="120" y="330"/>
                  </a:moveTo>
                  <a:lnTo>
                    <a:pt x="144" y="324"/>
                  </a:lnTo>
                  <a:lnTo>
                    <a:pt x="192" y="324"/>
                  </a:lnTo>
                  <a:lnTo>
                    <a:pt x="192" y="300"/>
                  </a:lnTo>
                  <a:lnTo>
                    <a:pt x="252" y="312"/>
                  </a:lnTo>
                  <a:lnTo>
                    <a:pt x="270" y="282"/>
                  </a:lnTo>
                  <a:lnTo>
                    <a:pt x="312" y="288"/>
                  </a:lnTo>
                  <a:lnTo>
                    <a:pt x="312" y="258"/>
                  </a:lnTo>
                  <a:lnTo>
                    <a:pt x="324" y="228"/>
                  </a:lnTo>
                  <a:lnTo>
                    <a:pt x="324" y="258"/>
                  </a:lnTo>
                  <a:lnTo>
                    <a:pt x="336" y="276"/>
                  </a:lnTo>
                  <a:lnTo>
                    <a:pt x="348" y="240"/>
                  </a:lnTo>
                  <a:lnTo>
                    <a:pt x="348" y="210"/>
                  </a:lnTo>
                  <a:lnTo>
                    <a:pt x="354" y="192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98"/>
                  </a:lnTo>
                  <a:lnTo>
                    <a:pt x="372" y="204"/>
                  </a:lnTo>
                  <a:lnTo>
                    <a:pt x="378" y="204"/>
                  </a:lnTo>
                  <a:lnTo>
                    <a:pt x="402" y="180"/>
                  </a:lnTo>
                  <a:lnTo>
                    <a:pt x="396" y="168"/>
                  </a:lnTo>
                  <a:lnTo>
                    <a:pt x="396" y="150"/>
                  </a:lnTo>
                  <a:lnTo>
                    <a:pt x="390" y="138"/>
                  </a:lnTo>
                  <a:lnTo>
                    <a:pt x="402" y="126"/>
                  </a:lnTo>
                  <a:lnTo>
                    <a:pt x="414" y="126"/>
                  </a:lnTo>
                  <a:lnTo>
                    <a:pt x="420" y="132"/>
                  </a:lnTo>
                  <a:lnTo>
                    <a:pt x="426" y="132"/>
                  </a:lnTo>
                  <a:lnTo>
                    <a:pt x="432" y="126"/>
                  </a:lnTo>
                  <a:lnTo>
                    <a:pt x="438" y="114"/>
                  </a:lnTo>
                  <a:lnTo>
                    <a:pt x="450" y="102"/>
                  </a:lnTo>
                  <a:lnTo>
                    <a:pt x="456" y="90"/>
                  </a:lnTo>
                  <a:lnTo>
                    <a:pt x="462" y="72"/>
                  </a:lnTo>
                  <a:lnTo>
                    <a:pt x="462" y="42"/>
                  </a:lnTo>
                  <a:lnTo>
                    <a:pt x="492" y="0"/>
                  </a:lnTo>
                  <a:lnTo>
                    <a:pt x="546" y="60"/>
                  </a:lnTo>
                  <a:lnTo>
                    <a:pt x="546" y="90"/>
                  </a:lnTo>
                  <a:lnTo>
                    <a:pt x="552" y="96"/>
                  </a:lnTo>
                  <a:lnTo>
                    <a:pt x="558" y="11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2" y="162"/>
                  </a:lnTo>
                  <a:lnTo>
                    <a:pt x="564" y="216"/>
                  </a:lnTo>
                  <a:lnTo>
                    <a:pt x="594" y="276"/>
                  </a:lnTo>
                  <a:lnTo>
                    <a:pt x="594" y="288"/>
                  </a:lnTo>
                  <a:lnTo>
                    <a:pt x="588" y="294"/>
                  </a:lnTo>
                  <a:lnTo>
                    <a:pt x="576" y="294"/>
                  </a:lnTo>
                  <a:lnTo>
                    <a:pt x="564" y="288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22" y="288"/>
                  </a:lnTo>
                  <a:lnTo>
                    <a:pt x="528" y="330"/>
                  </a:lnTo>
                  <a:lnTo>
                    <a:pt x="522" y="336"/>
                  </a:lnTo>
                  <a:lnTo>
                    <a:pt x="516" y="348"/>
                  </a:lnTo>
                  <a:lnTo>
                    <a:pt x="504" y="354"/>
                  </a:lnTo>
                  <a:lnTo>
                    <a:pt x="486" y="390"/>
                  </a:lnTo>
                  <a:lnTo>
                    <a:pt x="486" y="402"/>
                  </a:lnTo>
                  <a:lnTo>
                    <a:pt x="492" y="414"/>
                  </a:lnTo>
                  <a:lnTo>
                    <a:pt x="504" y="450"/>
                  </a:lnTo>
                  <a:lnTo>
                    <a:pt x="498" y="468"/>
                  </a:lnTo>
                  <a:lnTo>
                    <a:pt x="486" y="510"/>
                  </a:lnTo>
                  <a:lnTo>
                    <a:pt x="462" y="570"/>
                  </a:lnTo>
                  <a:lnTo>
                    <a:pt x="432" y="642"/>
                  </a:lnTo>
                  <a:lnTo>
                    <a:pt x="390" y="720"/>
                  </a:lnTo>
                  <a:lnTo>
                    <a:pt x="324" y="852"/>
                  </a:lnTo>
                  <a:lnTo>
                    <a:pt x="312" y="894"/>
                  </a:lnTo>
                  <a:lnTo>
                    <a:pt x="306" y="912"/>
                  </a:lnTo>
                  <a:lnTo>
                    <a:pt x="306" y="948"/>
                  </a:lnTo>
                  <a:lnTo>
                    <a:pt x="294" y="984"/>
                  </a:lnTo>
                  <a:lnTo>
                    <a:pt x="276" y="1014"/>
                  </a:lnTo>
                  <a:lnTo>
                    <a:pt x="258" y="1032"/>
                  </a:lnTo>
                  <a:lnTo>
                    <a:pt x="240" y="1044"/>
                  </a:lnTo>
                  <a:lnTo>
                    <a:pt x="222" y="1062"/>
                  </a:lnTo>
                  <a:lnTo>
                    <a:pt x="216" y="1062"/>
                  </a:lnTo>
                  <a:lnTo>
                    <a:pt x="210" y="1068"/>
                  </a:lnTo>
                  <a:lnTo>
                    <a:pt x="186" y="1068"/>
                  </a:lnTo>
                  <a:lnTo>
                    <a:pt x="150" y="1086"/>
                  </a:lnTo>
                  <a:lnTo>
                    <a:pt x="114" y="1092"/>
                  </a:lnTo>
                  <a:lnTo>
                    <a:pt x="78" y="1074"/>
                  </a:lnTo>
                  <a:lnTo>
                    <a:pt x="60" y="1056"/>
                  </a:lnTo>
                  <a:lnTo>
                    <a:pt x="48" y="1038"/>
                  </a:lnTo>
                  <a:lnTo>
                    <a:pt x="36" y="1026"/>
                  </a:lnTo>
                  <a:lnTo>
                    <a:pt x="36" y="1020"/>
                  </a:lnTo>
                  <a:lnTo>
                    <a:pt x="30" y="1014"/>
                  </a:lnTo>
                  <a:lnTo>
                    <a:pt x="48" y="990"/>
                  </a:lnTo>
                  <a:lnTo>
                    <a:pt x="42" y="978"/>
                  </a:lnTo>
                  <a:lnTo>
                    <a:pt x="24" y="948"/>
                  </a:lnTo>
                  <a:lnTo>
                    <a:pt x="12" y="900"/>
                  </a:lnTo>
                  <a:lnTo>
                    <a:pt x="0" y="834"/>
                  </a:lnTo>
                  <a:lnTo>
                    <a:pt x="0" y="786"/>
                  </a:lnTo>
                  <a:lnTo>
                    <a:pt x="6" y="756"/>
                  </a:lnTo>
                  <a:lnTo>
                    <a:pt x="18" y="738"/>
                  </a:lnTo>
                  <a:lnTo>
                    <a:pt x="60" y="696"/>
                  </a:lnTo>
                  <a:lnTo>
                    <a:pt x="72" y="678"/>
                  </a:lnTo>
                  <a:lnTo>
                    <a:pt x="90" y="672"/>
                  </a:lnTo>
                  <a:lnTo>
                    <a:pt x="96" y="660"/>
                  </a:lnTo>
                  <a:lnTo>
                    <a:pt x="108" y="654"/>
                  </a:lnTo>
                  <a:lnTo>
                    <a:pt x="108" y="636"/>
                  </a:lnTo>
                  <a:lnTo>
                    <a:pt x="102" y="600"/>
                  </a:lnTo>
                  <a:lnTo>
                    <a:pt x="96" y="558"/>
                  </a:lnTo>
                  <a:lnTo>
                    <a:pt x="96" y="522"/>
                  </a:lnTo>
                  <a:lnTo>
                    <a:pt x="78" y="432"/>
                  </a:lnTo>
                  <a:lnTo>
                    <a:pt x="90" y="408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20" y="33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97" name="Macedonia" descr="© INSCALE GmbH, 05.05.2010&#10;http://www.presentationload.com/"/>
            <p:cNvSpPr>
              <a:spLocks/>
            </p:cNvSpPr>
            <p:nvPr/>
          </p:nvSpPr>
          <p:spPr bwMode="gray">
            <a:xfrm>
              <a:off x="4918803" y="3243127"/>
              <a:ext cx="53754" cy="40418"/>
            </a:xfrm>
            <a:custGeom>
              <a:avLst/>
              <a:gdLst>
                <a:gd name="T0" fmla="*/ 2147483647 w 162"/>
                <a:gd name="T1" fmla="*/ 2147483647 h 126"/>
                <a:gd name="T2" fmla="*/ 2147483647 w 162"/>
                <a:gd name="T3" fmla="*/ 2147483647 h 126"/>
                <a:gd name="T4" fmla="*/ 2147483647 w 162"/>
                <a:gd name="T5" fmla="*/ 2147483647 h 126"/>
                <a:gd name="T6" fmla="*/ 2147483647 w 162"/>
                <a:gd name="T7" fmla="*/ 2147483647 h 126"/>
                <a:gd name="T8" fmla="*/ 2147483647 w 162"/>
                <a:gd name="T9" fmla="*/ 0 h 126"/>
                <a:gd name="T10" fmla="*/ 2147483647 w 162"/>
                <a:gd name="T11" fmla="*/ 2147483647 h 126"/>
                <a:gd name="T12" fmla="*/ 2147483647 w 162"/>
                <a:gd name="T13" fmla="*/ 2147483647 h 126"/>
                <a:gd name="T14" fmla="*/ 2147483647 w 162"/>
                <a:gd name="T15" fmla="*/ 2147483647 h 126"/>
                <a:gd name="T16" fmla="*/ 2147483647 w 162"/>
                <a:gd name="T17" fmla="*/ 2147483647 h 126"/>
                <a:gd name="T18" fmla="*/ 2147483647 w 162"/>
                <a:gd name="T19" fmla="*/ 2147483647 h 126"/>
                <a:gd name="T20" fmla="*/ 2147483647 w 162"/>
                <a:gd name="T21" fmla="*/ 2147483647 h 126"/>
                <a:gd name="T22" fmla="*/ 0 w 162"/>
                <a:gd name="T23" fmla="*/ 2147483647 h 126"/>
                <a:gd name="T24" fmla="*/ 0 w 162"/>
                <a:gd name="T25" fmla="*/ 2147483647 h 126"/>
                <a:gd name="T26" fmla="*/ 2147483647 w 162"/>
                <a:gd name="T27" fmla="*/ 2147483647 h 126"/>
                <a:gd name="T28" fmla="*/ 2147483647 w 162"/>
                <a:gd name="T29" fmla="*/ 2147483647 h 126"/>
                <a:gd name="T30" fmla="*/ 2147483647 w 162"/>
                <a:gd name="T31" fmla="*/ 2147483647 h 126"/>
                <a:gd name="T32" fmla="*/ 2147483647 w 162"/>
                <a:gd name="T33" fmla="*/ 2147483647 h 126"/>
                <a:gd name="T34" fmla="*/ 2147483647 w 162"/>
                <a:gd name="T35" fmla="*/ 2147483647 h 126"/>
                <a:gd name="T36" fmla="*/ 2147483647 w 162"/>
                <a:gd name="T37" fmla="*/ 2147483647 h 126"/>
                <a:gd name="T38" fmla="*/ 2147483647 w 162"/>
                <a:gd name="T39" fmla="*/ 2147483647 h 126"/>
                <a:gd name="T40" fmla="*/ 2147483647 w 162"/>
                <a:gd name="T41" fmla="*/ 2147483647 h 126"/>
                <a:gd name="T42" fmla="*/ 2147483647 w 162"/>
                <a:gd name="T43" fmla="*/ 2147483647 h 126"/>
                <a:gd name="T44" fmla="*/ 2147483647 w 162"/>
                <a:gd name="T45" fmla="*/ 2147483647 h 126"/>
                <a:gd name="T46" fmla="*/ 2147483647 w 162"/>
                <a:gd name="T47" fmla="*/ 2147483647 h 126"/>
                <a:gd name="T48" fmla="*/ 2147483647 w 162"/>
                <a:gd name="T49" fmla="*/ 2147483647 h 126"/>
                <a:gd name="T50" fmla="*/ 2147483647 w 162"/>
                <a:gd name="T51" fmla="*/ 2147483647 h 126"/>
                <a:gd name="T52" fmla="*/ 2147483647 w 162"/>
                <a:gd name="T53" fmla="*/ 2147483647 h 126"/>
                <a:gd name="T54" fmla="*/ 2147483647 w 162"/>
                <a:gd name="T55" fmla="*/ 2147483647 h 126"/>
                <a:gd name="T56" fmla="*/ 2147483647 w 162"/>
                <a:gd name="T57" fmla="*/ 2147483647 h 126"/>
                <a:gd name="T58" fmla="*/ 2147483647 w 162"/>
                <a:gd name="T59" fmla="*/ 2147483647 h 126"/>
                <a:gd name="T60" fmla="*/ 2147483647 w 162"/>
                <a:gd name="T61" fmla="*/ 2147483647 h 126"/>
                <a:gd name="T62" fmla="*/ 2147483647 w 162"/>
                <a:gd name="T63" fmla="*/ 2147483647 h 126"/>
                <a:gd name="T64" fmla="*/ 2147483647 w 162"/>
                <a:gd name="T65" fmla="*/ 2147483647 h 12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62"/>
                <a:gd name="T100" fmla="*/ 0 h 126"/>
                <a:gd name="T101" fmla="*/ 162 w 162"/>
                <a:gd name="T102" fmla="*/ 126 h 12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62" h="126">
                  <a:moveTo>
                    <a:pt x="150" y="42"/>
                  </a:moveTo>
                  <a:lnTo>
                    <a:pt x="132" y="30"/>
                  </a:lnTo>
                  <a:lnTo>
                    <a:pt x="132" y="18"/>
                  </a:lnTo>
                  <a:lnTo>
                    <a:pt x="126" y="18"/>
                  </a:lnTo>
                  <a:lnTo>
                    <a:pt x="11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48" y="12"/>
                  </a:lnTo>
                  <a:lnTo>
                    <a:pt x="48" y="24"/>
                  </a:lnTo>
                  <a:lnTo>
                    <a:pt x="24" y="24"/>
                  </a:lnTo>
                  <a:lnTo>
                    <a:pt x="18" y="36"/>
                  </a:lnTo>
                  <a:lnTo>
                    <a:pt x="0" y="42"/>
                  </a:lnTo>
                  <a:lnTo>
                    <a:pt x="0" y="66"/>
                  </a:lnTo>
                  <a:lnTo>
                    <a:pt x="6" y="78"/>
                  </a:lnTo>
                  <a:lnTo>
                    <a:pt x="6" y="102"/>
                  </a:lnTo>
                  <a:lnTo>
                    <a:pt x="12" y="108"/>
                  </a:lnTo>
                  <a:lnTo>
                    <a:pt x="18" y="108"/>
                  </a:lnTo>
                  <a:lnTo>
                    <a:pt x="18" y="126"/>
                  </a:lnTo>
                  <a:lnTo>
                    <a:pt x="42" y="120"/>
                  </a:lnTo>
                  <a:lnTo>
                    <a:pt x="42" y="126"/>
                  </a:lnTo>
                  <a:lnTo>
                    <a:pt x="54" y="120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90" y="126"/>
                  </a:lnTo>
                  <a:lnTo>
                    <a:pt x="96" y="114"/>
                  </a:lnTo>
                  <a:lnTo>
                    <a:pt x="96" y="108"/>
                  </a:lnTo>
                  <a:lnTo>
                    <a:pt x="120" y="108"/>
                  </a:lnTo>
                  <a:lnTo>
                    <a:pt x="132" y="102"/>
                  </a:lnTo>
                  <a:lnTo>
                    <a:pt x="156" y="78"/>
                  </a:lnTo>
                  <a:lnTo>
                    <a:pt x="162" y="66"/>
                  </a:lnTo>
                  <a:lnTo>
                    <a:pt x="162" y="60"/>
                  </a:lnTo>
                  <a:lnTo>
                    <a:pt x="156" y="48"/>
                  </a:lnTo>
                  <a:lnTo>
                    <a:pt x="150" y="4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98" name="Luxembourg" descr="© INSCALE GmbH, 05.05.2010&#10;http://www.presentationload.com/"/>
            <p:cNvSpPr>
              <a:spLocks/>
            </p:cNvSpPr>
            <p:nvPr/>
          </p:nvSpPr>
          <p:spPr bwMode="gray">
            <a:xfrm>
              <a:off x="4610362" y="3054510"/>
              <a:ext cx="16638" cy="13473"/>
            </a:xfrm>
            <a:custGeom>
              <a:avLst/>
              <a:gdLst>
                <a:gd name="T0" fmla="*/ 2147483647 w 54"/>
                <a:gd name="T1" fmla="*/ 2147483647 h 42"/>
                <a:gd name="T2" fmla="*/ 2147483647 w 54"/>
                <a:gd name="T3" fmla="*/ 2147483647 h 42"/>
                <a:gd name="T4" fmla="*/ 2147483647 w 54"/>
                <a:gd name="T5" fmla="*/ 2147483647 h 42"/>
                <a:gd name="T6" fmla="*/ 2147483647 w 54"/>
                <a:gd name="T7" fmla="*/ 2147483647 h 42"/>
                <a:gd name="T8" fmla="*/ 2147483647 w 54"/>
                <a:gd name="T9" fmla="*/ 2147483647 h 42"/>
                <a:gd name="T10" fmla="*/ 2147483647 w 54"/>
                <a:gd name="T11" fmla="*/ 2147483647 h 42"/>
                <a:gd name="T12" fmla="*/ 2147483647 w 54"/>
                <a:gd name="T13" fmla="*/ 2147483647 h 42"/>
                <a:gd name="T14" fmla="*/ 2147483647 w 54"/>
                <a:gd name="T15" fmla="*/ 2147483647 h 42"/>
                <a:gd name="T16" fmla="*/ 2147483647 w 54"/>
                <a:gd name="T17" fmla="*/ 0 h 42"/>
                <a:gd name="T18" fmla="*/ 2147483647 w 54"/>
                <a:gd name="T19" fmla="*/ 0 h 42"/>
                <a:gd name="T20" fmla="*/ 2147483647 w 54"/>
                <a:gd name="T21" fmla="*/ 2147483647 h 42"/>
                <a:gd name="T22" fmla="*/ 2147483647 w 54"/>
                <a:gd name="T23" fmla="*/ 2147483647 h 42"/>
                <a:gd name="T24" fmla="*/ 0 w 54"/>
                <a:gd name="T25" fmla="*/ 2147483647 h 42"/>
                <a:gd name="T26" fmla="*/ 0 w 54"/>
                <a:gd name="T27" fmla="*/ 2147483647 h 42"/>
                <a:gd name="T28" fmla="*/ 2147483647 w 54"/>
                <a:gd name="T29" fmla="*/ 2147483647 h 42"/>
                <a:gd name="T30" fmla="*/ 2147483647 w 54"/>
                <a:gd name="T31" fmla="*/ 2147483647 h 4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4"/>
                <a:gd name="T49" fmla="*/ 0 h 42"/>
                <a:gd name="T50" fmla="*/ 54 w 54"/>
                <a:gd name="T51" fmla="*/ 42 h 4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4" h="42">
                  <a:moveTo>
                    <a:pt x="18" y="42"/>
                  </a:moveTo>
                  <a:lnTo>
                    <a:pt x="30" y="36"/>
                  </a:lnTo>
                  <a:lnTo>
                    <a:pt x="48" y="42"/>
                  </a:lnTo>
                  <a:lnTo>
                    <a:pt x="54" y="36"/>
                  </a:lnTo>
                  <a:lnTo>
                    <a:pt x="54" y="24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18" y="6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12" y="30"/>
                  </a:lnTo>
                  <a:lnTo>
                    <a:pt x="18" y="4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99" name="Liechtenstein" descr="© INSCALE GmbH, 05.05.2010&#10;http://www.presentationload.com/"/>
            <p:cNvSpPr>
              <a:spLocks/>
            </p:cNvSpPr>
            <p:nvPr/>
          </p:nvSpPr>
          <p:spPr bwMode="gray">
            <a:xfrm>
              <a:off x="4684592" y="3123098"/>
              <a:ext cx="5119" cy="7349"/>
            </a:xfrm>
            <a:custGeom>
              <a:avLst/>
              <a:gdLst>
                <a:gd name="T0" fmla="*/ 2147483647 w 18"/>
                <a:gd name="T1" fmla="*/ 0 h 24"/>
                <a:gd name="T2" fmla="*/ 2147483647 w 18"/>
                <a:gd name="T3" fmla="*/ 2147483647 h 24"/>
                <a:gd name="T4" fmla="*/ 0 w 18"/>
                <a:gd name="T5" fmla="*/ 2147483647 h 24"/>
                <a:gd name="T6" fmla="*/ 0 w 18"/>
                <a:gd name="T7" fmla="*/ 2147483647 h 24"/>
                <a:gd name="T8" fmla="*/ 2147483647 w 18"/>
                <a:gd name="T9" fmla="*/ 2147483647 h 24"/>
                <a:gd name="T10" fmla="*/ 2147483647 w 18"/>
                <a:gd name="T11" fmla="*/ 0 h 24"/>
                <a:gd name="T12" fmla="*/ 2147483647 w 18"/>
                <a:gd name="T13" fmla="*/ 0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8"/>
                <a:gd name="T22" fmla="*/ 0 h 24"/>
                <a:gd name="T23" fmla="*/ 18 w 18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8" h="24">
                  <a:moveTo>
                    <a:pt x="12" y="0"/>
                  </a:moveTo>
                  <a:lnTo>
                    <a:pt x="6" y="6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18" y="24"/>
                  </a:lnTo>
                  <a:lnTo>
                    <a:pt x="18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100" name="Libya" descr="© INSCALE GmbH, 05.05.2010&#10;http://www.presentationload.com/"/>
            <p:cNvSpPr>
              <a:spLocks/>
            </p:cNvSpPr>
            <p:nvPr/>
          </p:nvSpPr>
          <p:spPr bwMode="gray">
            <a:xfrm>
              <a:off x="4682033" y="3472163"/>
              <a:ext cx="357075" cy="345391"/>
            </a:xfrm>
            <a:custGeom>
              <a:avLst/>
              <a:gdLst>
                <a:gd name="T0" fmla="*/ 2147483647 w 1098"/>
                <a:gd name="T1" fmla="*/ 2147483647 h 1110"/>
                <a:gd name="T2" fmla="*/ 2147483647 w 1098"/>
                <a:gd name="T3" fmla="*/ 2147483647 h 1110"/>
                <a:gd name="T4" fmla="*/ 2147483647 w 1098"/>
                <a:gd name="T5" fmla="*/ 2147483647 h 1110"/>
                <a:gd name="T6" fmla="*/ 2147483647 w 1098"/>
                <a:gd name="T7" fmla="*/ 2147483647 h 1110"/>
                <a:gd name="T8" fmla="*/ 2147483647 w 1098"/>
                <a:gd name="T9" fmla="*/ 2147483647 h 1110"/>
                <a:gd name="T10" fmla="*/ 2147483647 w 1098"/>
                <a:gd name="T11" fmla="*/ 2147483647 h 1110"/>
                <a:gd name="T12" fmla="*/ 2147483647 w 1098"/>
                <a:gd name="T13" fmla="*/ 2147483647 h 1110"/>
                <a:gd name="T14" fmla="*/ 2147483647 w 1098"/>
                <a:gd name="T15" fmla="*/ 2147483647 h 1110"/>
                <a:gd name="T16" fmla="*/ 2147483647 w 1098"/>
                <a:gd name="T17" fmla="*/ 2147483647 h 1110"/>
                <a:gd name="T18" fmla="*/ 2147483647 w 1098"/>
                <a:gd name="T19" fmla="*/ 2147483647 h 1110"/>
                <a:gd name="T20" fmla="*/ 2147483647 w 1098"/>
                <a:gd name="T21" fmla="*/ 2147483647 h 1110"/>
                <a:gd name="T22" fmla="*/ 2147483647 w 1098"/>
                <a:gd name="T23" fmla="*/ 2147483647 h 1110"/>
                <a:gd name="T24" fmla="*/ 0 w 1098"/>
                <a:gd name="T25" fmla="*/ 2147483647 h 1110"/>
                <a:gd name="T26" fmla="*/ 2147483647 w 1098"/>
                <a:gd name="T27" fmla="*/ 2147483647 h 1110"/>
                <a:gd name="T28" fmla="*/ 2147483647 w 1098"/>
                <a:gd name="T29" fmla="*/ 2147483647 h 1110"/>
                <a:gd name="T30" fmla="*/ 2147483647 w 1098"/>
                <a:gd name="T31" fmla="*/ 2147483647 h 1110"/>
                <a:gd name="T32" fmla="*/ 2147483647 w 1098"/>
                <a:gd name="T33" fmla="*/ 2147483647 h 1110"/>
                <a:gd name="T34" fmla="*/ 2147483647 w 1098"/>
                <a:gd name="T35" fmla="*/ 2147483647 h 1110"/>
                <a:gd name="T36" fmla="*/ 2147483647 w 1098"/>
                <a:gd name="T37" fmla="*/ 2147483647 h 1110"/>
                <a:gd name="T38" fmla="*/ 2147483647 w 1098"/>
                <a:gd name="T39" fmla="*/ 2147483647 h 1110"/>
                <a:gd name="T40" fmla="*/ 2147483647 w 1098"/>
                <a:gd name="T41" fmla="*/ 2147483647 h 1110"/>
                <a:gd name="T42" fmla="*/ 2147483647 w 1098"/>
                <a:gd name="T43" fmla="*/ 2147483647 h 1110"/>
                <a:gd name="T44" fmla="*/ 2147483647 w 1098"/>
                <a:gd name="T45" fmla="*/ 2147483647 h 1110"/>
                <a:gd name="T46" fmla="*/ 2147483647 w 1098"/>
                <a:gd name="T47" fmla="*/ 2147483647 h 1110"/>
                <a:gd name="T48" fmla="*/ 2147483647 w 1098"/>
                <a:gd name="T49" fmla="*/ 2147483647 h 1110"/>
                <a:gd name="T50" fmla="*/ 2147483647 w 1098"/>
                <a:gd name="T51" fmla="*/ 2147483647 h 1110"/>
                <a:gd name="T52" fmla="*/ 2147483647 w 1098"/>
                <a:gd name="T53" fmla="*/ 2147483647 h 1110"/>
                <a:gd name="T54" fmla="*/ 2147483647 w 1098"/>
                <a:gd name="T55" fmla="*/ 2147483647 h 1110"/>
                <a:gd name="T56" fmla="*/ 2147483647 w 1098"/>
                <a:gd name="T57" fmla="*/ 2147483647 h 1110"/>
                <a:gd name="T58" fmla="*/ 2147483647 w 1098"/>
                <a:gd name="T59" fmla="*/ 2147483647 h 1110"/>
                <a:gd name="T60" fmla="*/ 2147483647 w 1098"/>
                <a:gd name="T61" fmla="*/ 2147483647 h 1110"/>
                <a:gd name="T62" fmla="*/ 2147483647 w 1098"/>
                <a:gd name="T63" fmla="*/ 2147483647 h 1110"/>
                <a:gd name="T64" fmla="*/ 2147483647 w 1098"/>
                <a:gd name="T65" fmla="*/ 2147483647 h 1110"/>
                <a:gd name="T66" fmla="*/ 2147483647 w 1098"/>
                <a:gd name="T67" fmla="*/ 2147483647 h 1110"/>
                <a:gd name="T68" fmla="*/ 2147483647 w 1098"/>
                <a:gd name="T69" fmla="*/ 2147483647 h 1110"/>
                <a:gd name="T70" fmla="*/ 2147483647 w 1098"/>
                <a:gd name="T71" fmla="*/ 2147483647 h 1110"/>
                <a:gd name="T72" fmla="*/ 2147483647 w 1098"/>
                <a:gd name="T73" fmla="*/ 2147483647 h 1110"/>
                <a:gd name="T74" fmla="*/ 2147483647 w 1098"/>
                <a:gd name="T75" fmla="*/ 2147483647 h 1110"/>
                <a:gd name="T76" fmla="*/ 2147483647 w 1098"/>
                <a:gd name="T77" fmla="*/ 2147483647 h 1110"/>
                <a:gd name="T78" fmla="*/ 2147483647 w 1098"/>
                <a:gd name="T79" fmla="*/ 2147483647 h 1110"/>
                <a:gd name="T80" fmla="*/ 2147483647 w 1098"/>
                <a:gd name="T81" fmla="*/ 2147483647 h 1110"/>
                <a:gd name="T82" fmla="*/ 2147483647 w 1098"/>
                <a:gd name="T83" fmla="*/ 2147483647 h 1110"/>
                <a:gd name="T84" fmla="*/ 2147483647 w 1098"/>
                <a:gd name="T85" fmla="*/ 2147483647 h 1110"/>
                <a:gd name="T86" fmla="*/ 2147483647 w 1098"/>
                <a:gd name="T87" fmla="*/ 2147483647 h 1110"/>
                <a:gd name="T88" fmla="*/ 2147483647 w 1098"/>
                <a:gd name="T89" fmla="*/ 2147483647 h 1110"/>
                <a:gd name="T90" fmla="*/ 2147483647 w 1098"/>
                <a:gd name="T91" fmla="*/ 2147483647 h 1110"/>
                <a:gd name="T92" fmla="*/ 2147483647 w 1098"/>
                <a:gd name="T93" fmla="*/ 2147483647 h 1110"/>
                <a:gd name="T94" fmla="*/ 2147483647 w 1098"/>
                <a:gd name="T95" fmla="*/ 2147483647 h 1110"/>
                <a:gd name="T96" fmla="*/ 2147483647 w 1098"/>
                <a:gd name="T97" fmla="*/ 2147483647 h 1110"/>
                <a:gd name="T98" fmla="*/ 2147483647 w 1098"/>
                <a:gd name="T99" fmla="*/ 2147483647 h 1110"/>
                <a:gd name="T100" fmla="*/ 2147483647 w 1098"/>
                <a:gd name="T101" fmla="*/ 2147483647 h 1110"/>
                <a:gd name="T102" fmla="*/ 2147483647 w 1098"/>
                <a:gd name="T103" fmla="*/ 2147483647 h 1110"/>
                <a:gd name="T104" fmla="*/ 2147483647 w 1098"/>
                <a:gd name="T105" fmla="*/ 2147483647 h 1110"/>
                <a:gd name="T106" fmla="*/ 2147483647 w 1098"/>
                <a:gd name="T107" fmla="*/ 2147483647 h 1110"/>
                <a:gd name="T108" fmla="*/ 2147483647 w 1098"/>
                <a:gd name="T109" fmla="*/ 2147483647 h 1110"/>
                <a:gd name="T110" fmla="*/ 2147483647 w 1098"/>
                <a:gd name="T111" fmla="*/ 2147483647 h 1110"/>
                <a:gd name="T112" fmla="*/ 2147483647 w 1098"/>
                <a:gd name="T113" fmla="*/ 2147483647 h 111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8"/>
                <a:gd name="T172" fmla="*/ 0 h 1110"/>
                <a:gd name="T173" fmla="*/ 1098 w 1098"/>
                <a:gd name="T174" fmla="*/ 1110 h 111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8" h="1110">
                  <a:moveTo>
                    <a:pt x="156" y="60"/>
                  </a:moveTo>
                  <a:lnTo>
                    <a:pt x="150" y="66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02" y="84"/>
                  </a:lnTo>
                  <a:lnTo>
                    <a:pt x="96" y="90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78" y="120"/>
                  </a:lnTo>
                  <a:lnTo>
                    <a:pt x="72" y="120"/>
                  </a:lnTo>
                  <a:lnTo>
                    <a:pt x="54" y="138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66" y="204"/>
                  </a:lnTo>
                  <a:lnTo>
                    <a:pt x="36" y="234"/>
                  </a:lnTo>
                  <a:lnTo>
                    <a:pt x="30" y="234"/>
                  </a:lnTo>
                  <a:lnTo>
                    <a:pt x="24" y="240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0" y="252"/>
                  </a:lnTo>
                  <a:lnTo>
                    <a:pt x="12" y="270"/>
                  </a:lnTo>
                  <a:lnTo>
                    <a:pt x="36" y="330"/>
                  </a:lnTo>
                  <a:lnTo>
                    <a:pt x="48" y="354"/>
                  </a:lnTo>
                  <a:lnTo>
                    <a:pt x="48" y="360"/>
                  </a:lnTo>
                  <a:lnTo>
                    <a:pt x="42" y="372"/>
                  </a:lnTo>
                  <a:lnTo>
                    <a:pt x="42" y="402"/>
                  </a:lnTo>
                  <a:lnTo>
                    <a:pt x="36" y="408"/>
                  </a:lnTo>
                  <a:lnTo>
                    <a:pt x="36" y="414"/>
                  </a:lnTo>
                  <a:lnTo>
                    <a:pt x="42" y="432"/>
                  </a:lnTo>
                  <a:lnTo>
                    <a:pt x="30" y="456"/>
                  </a:lnTo>
                  <a:lnTo>
                    <a:pt x="36" y="510"/>
                  </a:lnTo>
                  <a:lnTo>
                    <a:pt x="36" y="516"/>
                  </a:lnTo>
                  <a:lnTo>
                    <a:pt x="42" y="522"/>
                  </a:lnTo>
                  <a:lnTo>
                    <a:pt x="42" y="534"/>
                  </a:lnTo>
                  <a:lnTo>
                    <a:pt x="36" y="546"/>
                  </a:lnTo>
                  <a:lnTo>
                    <a:pt x="30" y="552"/>
                  </a:lnTo>
                  <a:lnTo>
                    <a:pt x="18" y="558"/>
                  </a:lnTo>
                  <a:lnTo>
                    <a:pt x="6" y="558"/>
                  </a:lnTo>
                  <a:lnTo>
                    <a:pt x="0" y="564"/>
                  </a:lnTo>
                  <a:lnTo>
                    <a:pt x="0" y="570"/>
                  </a:lnTo>
                  <a:lnTo>
                    <a:pt x="6" y="582"/>
                  </a:lnTo>
                  <a:lnTo>
                    <a:pt x="18" y="594"/>
                  </a:lnTo>
                  <a:lnTo>
                    <a:pt x="24" y="612"/>
                  </a:lnTo>
                  <a:lnTo>
                    <a:pt x="36" y="624"/>
                  </a:lnTo>
                  <a:lnTo>
                    <a:pt x="42" y="636"/>
                  </a:lnTo>
                  <a:lnTo>
                    <a:pt x="48" y="642"/>
                  </a:lnTo>
                  <a:lnTo>
                    <a:pt x="48" y="684"/>
                  </a:lnTo>
                  <a:lnTo>
                    <a:pt x="72" y="708"/>
                  </a:lnTo>
                  <a:lnTo>
                    <a:pt x="96" y="696"/>
                  </a:lnTo>
                  <a:lnTo>
                    <a:pt x="102" y="696"/>
                  </a:lnTo>
                  <a:lnTo>
                    <a:pt x="138" y="714"/>
                  </a:lnTo>
                  <a:lnTo>
                    <a:pt x="150" y="714"/>
                  </a:lnTo>
                  <a:lnTo>
                    <a:pt x="162" y="726"/>
                  </a:lnTo>
                  <a:lnTo>
                    <a:pt x="162" y="732"/>
                  </a:lnTo>
                  <a:lnTo>
                    <a:pt x="168" y="744"/>
                  </a:lnTo>
                  <a:lnTo>
                    <a:pt x="174" y="762"/>
                  </a:lnTo>
                  <a:lnTo>
                    <a:pt x="180" y="774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222" y="792"/>
                  </a:lnTo>
                  <a:lnTo>
                    <a:pt x="234" y="792"/>
                  </a:lnTo>
                  <a:lnTo>
                    <a:pt x="246" y="798"/>
                  </a:lnTo>
                  <a:lnTo>
                    <a:pt x="258" y="798"/>
                  </a:lnTo>
                  <a:lnTo>
                    <a:pt x="276" y="804"/>
                  </a:lnTo>
                  <a:lnTo>
                    <a:pt x="288" y="810"/>
                  </a:lnTo>
                  <a:lnTo>
                    <a:pt x="294" y="810"/>
                  </a:lnTo>
                  <a:lnTo>
                    <a:pt x="300" y="816"/>
                  </a:lnTo>
                  <a:lnTo>
                    <a:pt x="312" y="822"/>
                  </a:lnTo>
                  <a:lnTo>
                    <a:pt x="318" y="828"/>
                  </a:lnTo>
                  <a:lnTo>
                    <a:pt x="324" y="840"/>
                  </a:lnTo>
                  <a:lnTo>
                    <a:pt x="336" y="846"/>
                  </a:lnTo>
                  <a:lnTo>
                    <a:pt x="342" y="852"/>
                  </a:lnTo>
                  <a:lnTo>
                    <a:pt x="360" y="846"/>
                  </a:lnTo>
                  <a:lnTo>
                    <a:pt x="396" y="828"/>
                  </a:lnTo>
                  <a:lnTo>
                    <a:pt x="456" y="792"/>
                  </a:lnTo>
                  <a:lnTo>
                    <a:pt x="468" y="786"/>
                  </a:lnTo>
                  <a:lnTo>
                    <a:pt x="1026" y="1110"/>
                  </a:lnTo>
                  <a:lnTo>
                    <a:pt x="1026" y="1062"/>
                  </a:lnTo>
                  <a:lnTo>
                    <a:pt x="1098" y="1062"/>
                  </a:lnTo>
                  <a:lnTo>
                    <a:pt x="1098" y="828"/>
                  </a:lnTo>
                  <a:lnTo>
                    <a:pt x="1092" y="750"/>
                  </a:lnTo>
                  <a:lnTo>
                    <a:pt x="1092" y="660"/>
                  </a:lnTo>
                  <a:lnTo>
                    <a:pt x="1086" y="564"/>
                  </a:lnTo>
                  <a:lnTo>
                    <a:pt x="1086" y="468"/>
                  </a:lnTo>
                  <a:lnTo>
                    <a:pt x="1080" y="390"/>
                  </a:lnTo>
                  <a:lnTo>
                    <a:pt x="1080" y="306"/>
                  </a:lnTo>
                  <a:lnTo>
                    <a:pt x="1068" y="270"/>
                  </a:lnTo>
                  <a:lnTo>
                    <a:pt x="1056" y="258"/>
                  </a:lnTo>
                  <a:lnTo>
                    <a:pt x="1050" y="246"/>
                  </a:lnTo>
                  <a:lnTo>
                    <a:pt x="1050" y="240"/>
                  </a:lnTo>
                  <a:lnTo>
                    <a:pt x="1056" y="228"/>
                  </a:lnTo>
                  <a:lnTo>
                    <a:pt x="1062" y="222"/>
                  </a:lnTo>
                  <a:lnTo>
                    <a:pt x="1068" y="210"/>
                  </a:lnTo>
                  <a:lnTo>
                    <a:pt x="1074" y="204"/>
                  </a:lnTo>
                  <a:lnTo>
                    <a:pt x="1074" y="198"/>
                  </a:lnTo>
                  <a:lnTo>
                    <a:pt x="1068" y="186"/>
                  </a:lnTo>
                  <a:lnTo>
                    <a:pt x="1056" y="180"/>
                  </a:lnTo>
                  <a:lnTo>
                    <a:pt x="1056" y="150"/>
                  </a:lnTo>
                  <a:lnTo>
                    <a:pt x="1080" y="126"/>
                  </a:lnTo>
                  <a:lnTo>
                    <a:pt x="1074" y="114"/>
                  </a:lnTo>
                  <a:lnTo>
                    <a:pt x="1074" y="96"/>
                  </a:lnTo>
                  <a:lnTo>
                    <a:pt x="1056" y="102"/>
                  </a:lnTo>
                  <a:lnTo>
                    <a:pt x="1044" y="90"/>
                  </a:lnTo>
                  <a:lnTo>
                    <a:pt x="1032" y="102"/>
                  </a:lnTo>
                  <a:lnTo>
                    <a:pt x="1026" y="102"/>
                  </a:lnTo>
                  <a:lnTo>
                    <a:pt x="1020" y="96"/>
                  </a:lnTo>
                  <a:lnTo>
                    <a:pt x="1008" y="90"/>
                  </a:lnTo>
                  <a:lnTo>
                    <a:pt x="1002" y="84"/>
                  </a:lnTo>
                  <a:lnTo>
                    <a:pt x="990" y="78"/>
                  </a:lnTo>
                  <a:lnTo>
                    <a:pt x="978" y="78"/>
                  </a:lnTo>
                  <a:lnTo>
                    <a:pt x="966" y="84"/>
                  </a:lnTo>
                  <a:lnTo>
                    <a:pt x="954" y="84"/>
                  </a:lnTo>
                  <a:lnTo>
                    <a:pt x="942" y="78"/>
                  </a:lnTo>
                  <a:lnTo>
                    <a:pt x="936" y="72"/>
                  </a:lnTo>
                  <a:lnTo>
                    <a:pt x="936" y="48"/>
                  </a:lnTo>
                  <a:lnTo>
                    <a:pt x="930" y="42"/>
                  </a:lnTo>
                  <a:lnTo>
                    <a:pt x="918" y="36"/>
                  </a:lnTo>
                  <a:lnTo>
                    <a:pt x="882" y="36"/>
                  </a:lnTo>
                  <a:lnTo>
                    <a:pt x="876" y="30"/>
                  </a:lnTo>
                  <a:lnTo>
                    <a:pt x="864" y="30"/>
                  </a:lnTo>
                  <a:lnTo>
                    <a:pt x="852" y="24"/>
                  </a:lnTo>
                  <a:lnTo>
                    <a:pt x="840" y="24"/>
                  </a:lnTo>
                  <a:lnTo>
                    <a:pt x="834" y="30"/>
                  </a:lnTo>
                  <a:lnTo>
                    <a:pt x="834" y="36"/>
                  </a:lnTo>
                  <a:lnTo>
                    <a:pt x="798" y="36"/>
                  </a:lnTo>
                  <a:lnTo>
                    <a:pt x="780" y="42"/>
                  </a:lnTo>
                  <a:lnTo>
                    <a:pt x="768" y="48"/>
                  </a:lnTo>
                  <a:lnTo>
                    <a:pt x="732" y="84"/>
                  </a:lnTo>
                  <a:lnTo>
                    <a:pt x="720" y="108"/>
                  </a:lnTo>
                  <a:lnTo>
                    <a:pt x="720" y="120"/>
                  </a:lnTo>
                  <a:lnTo>
                    <a:pt x="726" y="138"/>
                  </a:lnTo>
                  <a:lnTo>
                    <a:pt x="738" y="150"/>
                  </a:lnTo>
                  <a:lnTo>
                    <a:pt x="744" y="162"/>
                  </a:lnTo>
                  <a:lnTo>
                    <a:pt x="744" y="180"/>
                  </a:lnTo>
                  <a:lnTo>
                    <a:pt x="738" y="192"/>
                  </a:lnTo>
                  <a:lnTo>
                    <a:pt x="714" y="216"/>
                  </a:lnTo>
                  <a:lnTo>
                    <a:pt x="708" y="228"/>
                  </a:lnTo>
                  <a:lnTo>
                    <a:pt x="696" y="234"/>
                  </a:lnTo>
                  <a:lnTo>
                    <a:pt x="666" y="234"/>
                  </a:lnTo>
                  <a:lnTo>
                    <a:pt x="648" y="228"/>
                  </a:lnTo>
                  <a:lnTo>
                    <a:pt x="630" y="216"/>
                  </a:lnTo>
                  <a:lnTo>
                    <a:pt x="612" y="198"/>
                  </a:lnTo>
                  <a:lnTo>
                    <a:pt x="582" y="180"/>
                  </a:lnTo>
                  <a:lnTo>
                    <a:pt x="552" y="168"/>
                  </a:lnTo>
                  <a:lnTo>
                    <a:pt x="528" y="162"/>
                  </a:lnTo>
                  <a:lnTo>
                    <a:pt x="462" y="162"/>
                  </a:lnTo>
                  <a:lnTo>
                    <a:pt x="438" y="150"/>
                  </a:lnTo>
                  <a:lnTo>
                    <a:pt x="426" y="138"/>
                  </a:lnTo>
                  <a:lnTo>
                    <a:pt x="420" y="126"/>
                  </a:lnTo>
                  <a:lnTo>
                    <a:pt x="414" y="108"/>
                  </a:lnTo>
                  <a:lnTo>
                    <a:pt x="414" y="96"/>
                  </a:lnTo>
                  <a:lnTo>
                    <a:pt x="402" y="72"/>
                  </a:lnTo>
                  <a:lnTo>
                    <a:pt x="378" y="60"/>
                  </a:lnTo>
                  <a:lnTo>
                    <a:pt x="366" y="60"/>
                  </a:lnTo>
                  <a:lnTo>
                    <a:pt x="354" y="54"/>
                  </a:lnTo>
                  <a:lnTo>
                    <a:pt x="348" y="48"/>
                  </a:lnTo>
                  <a:lnTo>
                    <a:pt x="324" y="36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264" y="30"/>
                  </a:lnTo>
                  <a:lnTo>
                    <a:pt x="252" y="36"/>
                  </a:lnTo>
                  <a:lnTo>
                    <a:pt x="216" y="36"/>
                  </a:lnTo>
                  <a:lnTo>
                    <a:pt x="192" y="24"/>
                  </a:lnTo>
                  <a:lnTo>
                    <a:pt x="180" y="12"/>
                  </a:lnTo>
                  <a:lnTo>
                    <a:pt x="168" y="6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138" y="42"/>
                  </a:lnTo>
                  <a:lnTo>
                    <a:pt x="144" y="42"/>
                  </a:lnTo>
                  <a:lnTo>
                    <a:pt x="156" y="54"/>
                  </a:lnTo>
                  <a:lnTo>
                    <a:pt x="156" y="60"/>
                  </a:lnTo>
                  <a:close/>
                </a:path>
              </a:pathLst>
            </a:custGeom>
            <a:solidFill>
              <a:srgbClr val="78D2D2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101" name="Liberia" descr="© INSCALE GmbH, 05.05.2010&#10;http://www.presentationload.com/"/>
            <p:cNvSpPr>
              <a:spLocks/>
            </p:cNvSpPr>
            <p:nvPr/>
          </p:nvSpPr>
          <p:spPr bwMode="gray">
            <a:xfrm>
              <a:off x="4195693" y="4089457"/>
              <a:ext cx="101107" cy="106556"/>
            </a:xfrm>
            <a:custGeom>
              <a:avLst/>
              <a:gdLst>
                <a:gd name="T0" fmla="*/ 2147483647 w 312"/>
                <a:gd name="T1" fmla="*/ 2147483647 h 342"/>
                <a:gd name="T2" fmla="*/ 2147483647 w 312"/>
                <a:gd name="T3" fmla="*/ 2147483647 h 342"/>
                <a:gd name="T4" fmla="*/ 2147483647 w 312"/>
                <a:gd name="T5" fmla="*/ 2147483647 h 342"/>
                <a:gd name="T6" fmla="*/ 2147483647 w 312"/>
                <a:gd name="T7" fmla="*/ 2147483647 h 342"/>
                <a:gd name="T8" fmla="*/ 2147483647 w 312"/>
                <a:gd name="T9" fmla="*/ 2147483647 h 342"/>
                <a:gd name="T10" fmla="*/ 2147483647 w 312"/>
                <a:gd name="T11" fmla="*/ 2147483647 h 342"/>
                <a:gd name="T12" fmla="*/ 2147483647 w 312"/>
                <a:gd name="T13" fmla="*/ 2147483647 h 342"/>
                <a:gd name="T14" fmla="*/ 2147483647 w 312"/>
                <a:gd name="T15" fmla="*/ 2147483647 h 342"/>
                <a:gd name="T16" fmla="*/ 2147483647 w 312"/>
                <a:gd name="T17" fmla="*/ 2147483647 h 342"/>
                <a:gd name="T18" fmla="*/ 2147483647 w 312"/>
                <a:gd name="T19" fmla="*/ 2147483647 h 342"/>
                <a:gd name="T20" fmla="*/ 2147483647 w 312"/>
                <a:gd name="T21" fmla="*/ 2147483647 h 342"/>
                <a:gd name="T22" fmla="*/ 2147483647 w 312"/>
                <a:gd name="T23" fmla="*/ 2147483647 h 342"/>
                <a:gd name="T24" fmla="*/ 2147483647 w 312"/>
                <a:gd name="T25" fmla="*/ 2147483647 h 342"/>
                <a:gd name="T26" fmla="*/ 2147483647 w 312"/>
                <a:gd name="T27" fmla="*/ 2147483647 h 342"/>
                <a:gd name="T28" fmla="*/ 2147483647 w 312"/>
                <a:gd name="T29" fmla="*/ 2147483647 h 342"/>
                <a:gd name="T30" fmla="*/ 2147483647 w 312"/>
                <a:gd name="T31" fmla="*/ 2147483647 h 342"/>
                <a:gd name="T32" fmla="*/ 2147483647 w 312"/>
                <a:gd name="T33" fmla="*/ 2147483647 h 342"/>
                <a:gd name="T34" fmla="*/ 2147483647 w 312"/>
                <a:gd name="T35" fmla="*/ 2147483647 h 342"/>
                <a:gd name="T36" fmla="*/ 2147483647 w 312"/>
                <a:gd name="T37" fmla="*/ 2147483647 h 342"/>
                <a:gd name="T38" fmla="*/ 2147483647 w 312"/>
                <a:gd name="T39" fmla="*/ 2147483647 h 342"/>
                <a:gd name="T40" fmla="*/ 2147483647 w 312"/>
                <a:gd name="T41" fmla="*/ 2147483647 h 342"/>
                <a:gd name="T42" fmla="*/ 2147483647 w 312"/>
                <a:gd name="T43" fmla="*/ 2147483647 h 342"/>
                <a:gd name="T44" fmla="*/ 2147483647 w 312"/>
                <a:gd name="T45" fmla="*/ 2147483647 h 342"/>
                <a:gd name="T46" fmla="*/ 2147483647 w 312"/>
                <a:gd name="T47" fmla="*/ 2147483647 h 342"/>
                <a:gd name="T48" fmla="*/ 2147483647 w 312"/>
                <a:gd name="T49" fmla="*/ 2147483647 h 342"/>
                <a:gd name="T50" fmla="*/ 2147483647 w 312"/>
                <a:gd name="T51" fmla="*/ 0 h 342"/>
                <a:gd name="T52" fmla="*/ 2147483647 w 312"/>
                <a:gd name="T53" fmla="*/ 0 h 342"/>
                <a:gd name="T54" fmla="*/ 2147483647 w 312"/>
                <a:gd name="T55" fmla="*/ 2147483647 h 342"/>
                <a:gd name="T56" fmla="*/ 2147483647 w 312"/>
                <a:gd name="T57" fmla="*/ 2147483647 h 342"/>
                <a:gd name="T58" fmla="*/ 2147483647 w 312"/>
                <a:gd name="T59" fmla="*/ 2147483647 h 342"/>
                <a:gd name="T60" fmla="*/ 2147483647 w 312"/>
                <a:gd name="T61" fmla="*/ 2147483647 h 342"/>
                <a:gd name="T62" fmla="*/ 2147483647 w 312"/>
                <a:gd name="T63" fmla="*/ 2147483647 h 342"/>
                <a:gd name="T64" fmla="*/ 2147483647 w 312"/>
                <a:gd name="T65" fmla="*/ 2147483647 h 342"/>
                <a:gd name="T66" fmla="*/ 2147483647 w 312"/>
                <a:gd name="T67" fmla="*/ 2147483647 h 342"/>
                <a:gd name="T68" fmla="*/ 2147483647 w 312"/>
                <a:gd name="T69" fmla="*/ 2147483647 h 342"/>
                <a:gd name="T70" fmla="*/ 2147483647 w 312"/>
                <a:gd name="T71" fmla="*/ 2147483647 h 342"/>
                <a:gd name="T72" fmla="*/ 2147483647 w 312"/>
                <a:gd name="T73" fmla="*/ 2147483647 h 342"/>
                <a:gd name="T74" fmla="*/ 2147483647 w 312"/>
                <a:gd name="T75" fmla="*/ 2147483647 h 342"/>
                <a:gd name="T76" fmla="*/ 2147483647 w 312"/>
                <a:gd name="T77" fmla="*/ 2147483647 h 342"/>
                <a:gd name="T78" fmla="*/ 0 w 312"/>
                <a:gd name="T79" fmla="*/ 2147483647 h 342"/>
                <a:gd name="T80" fmla="*/ 2147483647 w 312"/>
                <a:gd name="T81" fmla="*/ 2147483647 h 342"/>
                <a:gd name="T82" fmla="*/ 2147483647 w 312"/>
                <a:gd name="T83" fmla="*/ 2147483647 h 342"/>
                <a:gd name="T84" fmla="*/ 2147483647 w 312"/>
                <a:gd name="T85" fmla="*/ 2147483647 h 342"/>
                <a:gd name="T86" fmla="*/ 2147483647 w 312"/>
                <a:gd name="T87" fmla="*/ 2147483647 h 342"/>
                <a:gd name="T88" fmla="*/ 2147483647 w 312"/>
                <a:gd name="T89" fmla="*/ 2147483647 h 342"/>
                <a:gd name="T90" fmla="*/ 2147483647 w 312"/>
                <a:gd name="T91" fmla="*/ 2147483647 h 342"/>
                <a:gd name="T92" fmla="*/ 2147483647 w 312"/>
                <a:gd name="T93" fmla="*/ 2147483647 h 342"/>
                <a:gd name="T94" fmla="*/ 2147483647 w 312"/>
                <a:gd name="T95" fmla="*/ 2147483647 h 342"/>
                <a:gd name="T96" fmla="*/ 2147483647 w 312"/>
                <a:gd name="T97" fmla="*/ 2147483647 h 342"/>
                <a:gd name="T98" fmla="*/ 2147483647 w 312"/>
                <a:gd name="T99" fmla="*/ 2147483647 h 342"/>
                <a:gd name="T100" fmla="*/ 2147483647 w 312"/>
                <a:gd name="T101" fmla="*/ 2147483647 h 342"/>
                <a:gd name="T102" fmla="*/ 2147483647 w 312"/>
                <a:gd name="T103" fmla="*/ 2147483647 h 342"/>
                <a:gd name="T104" fmla="*/ 2147483647 w 312"/>
                <a:gd name="T105" fmla="*/ 2147483647 h 342"/>
                <a:gd name="T106" fmla="*/ 2147483647 w 312"/>
                <a:gd name="T107" fmla="*/ 2147483647 h 342"/>
                <a:gd name="T108" fmla="*/ 2147483647 w 312"/>
                <a:gd name="T109" fmla="*/ 2147483647 h 342"/>
                <a:gd name="T110" fmla="*/ 2147483647 w 312"/>
                <a:gd name="T111" fmla="*/ 2147483647 h 342"/>
                <a:gd name="T112" fmla="*/ 2147483647 w 312"/>
                <a:gd name="T113" fmla="*/ 2147483647 h 342"/>
                <a:gd name="T114" fmla="*/ 2147483647 w 312"/>
                <a:gd name="T115" fmla="*/ 2147483647 h 342"/>
                <a:gd name="T116" fmla="*/ 2147483647 w 312"/>
                <a:gd name="T117" fmla="*/ 2147483647 h 342"/>
                <a:gd name="T118" fmla="*/ 2147483647 w 312"/>
                <a:gd name="T119" fmla="*/ 2147483647 h 342"/>
                <a:gd name="T120" fmla="*/ 2147483647 w 312"/>
                <a:gd name="T121" fmla="*/ 2147483647 h 34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12"/>
                <a:gd name="T184" fmla="*/ 0 h 342"/>
                <a:gd name="T185" fmla="*/ 312 w 312"/>
                <a:gd name="T186" fmla="*/ 342 h 34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12" h="342">
                  <a:moveTo>
                    <a:pt x="312" y="252"/>
                  </a:moveTo>
                  <a:lnTo>
                    <a:pt x="312" y="240"/>
                  </a:lnTo>
                  <a:lnTo>
                    <a:pt x="282" y="210"/>
                  </a:lnTo>
                  <a:lnTo>
                    <a:pt x="282" y="180"/>
                  </a:lnTo>
                  <a:lnTo>
                    <a:pt x="246" y="186"/>
                  </a:lnTo>
                  <a:lnTo>
                    <a:pt x="246" y="174"/>
                  </a:lnTo>
                  <a:lnTo>
                    <a:pt x="228" y="174"/>
                  </a:lnTo>
                  <a:lnTo>
                    <a:pt x="222" y="168"/>
                  </a:lnTo>
                  <a:lnTo>
                    <a:pt x="228" y="156"/>
                  </a:lnTo>
                  <a:lnTo>
                    <a:pt x="240" y="150"/>
                  </a:lnTo>
                  <a:lnTo>
                    <a:pt x="246" y="132"/>
                  </a:lnTo>
                  <a:lnTo>
                    <a:pt x="246" y="108"/>
                  </a:lnTo>
                  <a:lnTo>
                    <a:pt x="228" y="72"/>
                  </a:lnTo>
                  <a:lnTo>
                    <a:pt x="222" y="72"/>
                  </a:lnTo>
                  <a:lnTo>
                    <a:pt x="216" y="78"/>
                  </a:lnTo>
                  <a:lnTo>
                    <a:pt x="210" y="90"/>
                  </a:lnTo>
                  <a:lnTo>
                    <a:pt x="210" y="102"/>
                  </a:lnTo>
                  <a:lnTo>
                    <a:pt x="198" y="114"/>
                  </a:lnTo>
                  <a:lnTo>
                    <a:pt x="192" y="114"/>
                  </a:lnTo>
                  <a:lnTo>
                    <a:pt x="180" y="102"/>
                  </a:lnTo>
                  <a:lnTo>
                    <a:pt x="180" y="96"/>
                  </a:lnTo>
                  <a:lnTo>
                    <a:pt x="168" y="96"/>
                  </a:lnTo>
                  <a:lnTo>
                    <a:pt x="168" y="36"/>
                  </a:lnTo>
                  <a:lnTo>
                    <a:pt x="162" y="18"/>
                  </a:lnTo>
                  <a:lnTo>
                    <a:pt x="150" y="6"/>
                  </a:lnTo>
                  <a:lnTo>
                    <a:pt x="138" y="0"/>
                  </a:lnTo>
                  <a:lnTo>
                    <a:pt x="132" y="0"/>
                  </a:lnTo>
                  <a:lnTo>
                    <a:pt x="126" y="6"/>
                  </a:lnTo>
                  <a:lnTo>
                    <a:pt x="126" y="18"/>
                  </a:lnTo>
                  <a:lnTo>
                    <a:pt x="102" y="12"/>
                  </a:lnTo>
                  <a:lnTo>
                    <a:pt x="108" y="36"/>
                  </a:lnTo>
                  <a:lnTo>
                    <a:pt x="84" y="42"/>
                  </a:lnTo>
                  <a:lnTo>
                    <a:pt x="84" y="60"/>
                  </a:lnTo>
                  <a:lnTo>
                    <a:pt x="78" y="72"/>
                  </a:lnTo>
                  <a:lnTo>
                    <a:pt x="66" y="78"/>
                  </a:lnTo>
                  <a:lnTo>
                    <a:pt x="54" y="90"/>
                  </a:lnTo>
                  <a:lnTo>
                    <a:pt x="42" y="96"/>
                  </a:lnTo>
                  <a:lnTo>
                    <a:pt x="24" y="114"/>
                  </a:lnTo>
                  <a:lnTo>
                    <a:pt x="24" y="150"/>
                  </a:lnTo>
                  <a:lnTo>
                    <a:pt x="0" y="126"/>
                  </a:lnTo>
                  <a:lnTo>
                    <a:pt x="36" y="162"/>
                  </a:lnTo>
                  <a:lnTo>
                    <a:pt x="60" y="162"/>
                  </a:lnTo>
                  <a:lnTo>
                    <a:pt x="72" y="192"/>
                  </a:lnTo>
                  <a:lnTo>
                    <a:pt x="102" y="192"/>
                  </a:lnTo>
                  <a:lnTo>
                    <a:pt x="108" y="198"/>
                  </a:lnTo>
                  <a:lnTo>
                    <a:pt x="120" y="222"/>
                  </a:lnTo>
                  <a:lnTo>
                    <a:pt x="132" y="240"/>
                  </a:lnTo>
                  <a:lnTo>
                    <a:pt x="150" y="252"/>
                  </a:lnTo>
                  <a:lnTo>
                    <a:pt x="162" y="270"/>
                  </a:lnTo>
                  <a:lnTo>
                    <a:pt x="180" y="282"/>
                  </a:lnTo>
                  <a:lnTo>
                    <a:pt x="198" y="288"/>
                  </a:lnTo>
                  <a:lnTo>
                    <a:pt x="210" y="294"/>
                  </a:lnTo>
                  <a:lnTo>
                    <a:pt x="228" y="300"/>
                  </a:lnTo>
                  <a:lnTo>
                    <a:pt x="258" y="330"/>
                  </a:lnTo>
                  <a:lnTo>
                    <a:pt x="294" y="342"/>
                  </a:lnTo>
                  <a:lnTo>
                    <a:pt x="300" y="342"/>
                  </a:lnTo>
                  <a:lnTo>
                    <a:pt x="300" y="294"/>
                  </a:lnTo>
                  <a:lnTo>
                    <a:pt x="306" y="288"/>
                  </a:lnTo>
                  <a:lnTo>
                    <a:pt x="306" y="276"/>
                  </a:lnTo>
                  <a:lnTo>
                    <a:pt x="312" y="264"/>
                  </a:lnTo>
                  <a:lnTo>
                    <a:pt x="312" y="25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102" name="Lesotho" descr="© INSCALE GmbH, 05.05.2010&#10;http://www.presentationload.com/"/>
            <p:cNvSpPr>
              <a:spLocks/>
            </p:cNvSpPr>
            <p:nvPr/>
          </p:nvSpPr>
          <p:spPr bwMode="gray">
            <a:xfrm>
              <a:off x="5074944" y="5021521"/>
              <a:ext cx="55033" cy="50216"/>
            </a:xfrm>
            <a:custGeom>
              <a:avLst/>
              <a:gdLst>
                <a:gd name="T0" fmla="*/ 0 w 168"/>
                <a:gd name="T1" fmla="*/ 2147483647 h 162"/>
                <a:gd name="T2" fmla="*/ 2147483647 w 168"/>
                <a:gd name="T3" fmla="*/ 2147483647 h 162"/>
                <a:gd name="T4" fmla="*/ 2147483647 w 168"/>
                <a:gd name="T5" fmla="*/ 2147483647 h 162"/>
                <a:gd name="T6" fmla="*/ 2147483647 w 168"/>
                <a:gd name="T7" fmla="*/ 2147483647 h 162"/>
                <a:gd name="T8" fmla="*/ 2147483647 w 168"/>
                <a:gd name="T9" fmla="*/ 2147483647 h 162"/>
                <a:gd name="T10" fmla="*/ 2147483647 w 168"/>
                <a:gd name="T11" fmla="*/ 2147483647 h 162"/>
                <a:gd name="T12" fmla="*/ 2147483647 w 168"/>
                <a:gd name="T13" fmla="*/ 2147483647 h 162"/>
                <a:gd name="T14" fmla="*/ 2147483647 w 168"/>
                <a:gd name="T15" fmla="*/ 2147483647 h 162"/>
                <a:gd name="T16" fmla="*/ 2147483647 w 168"/>
                <a:gd name="T17" fmla="*/ 2147483647 h 162"/>
                <a:gd name="T18" fmla="*/ 2147483647 w 168"/>
                <a:gd name="T19" fmla="*/ 2147483647 h 162"/>
                <a:gd name="T20" fmla="*/ 2147483647 w 168"/>
                <a:gd name="T21" fmla="*/ 2147483647 h 162"/>
                <a:gd name="T22" fmla="*/ 2147483647 w 168"/>
                <a:gd name="T23" fmla="*/ 2147483647 h 162"/>
                <a:gd name="T24" fmla="*/ 2147483647 w 168"/>
                <a:gd name="T25" fmla="*/ 2147483647 h 162"/>
                <a:gd name="T26" fmla="*/ 2147483647 w 168"/>
                <a:gd name="T27" fmla="*/ 2147483647 h 162"/>
                <a:gd name="T28" fmla="*/ 2147483647 w 168"/>
                <a:gd name="T29" fmla="*/ 2147483647 h 162"/>
                <a:gd name="T30" fmla="*/ 2147483647 w 168"/>
                <a:gd name="T31" fmla="*/ 2147483647 h 162"/>
                <a:gd name="T32" fmla="*/ 2147483647 w 168"/>
                <a:gd name="T33" fmla="*/ 2147483647 h 162"/>
                <a:gd name="T34" fmla="*/ 2147483647 w 168"/>
                <a:gd name="T35" fmla="*/ 2147483647 h 162"/>
                <a:gd name="T36" fmla="*/ 2147483647 w 168"/>
                <a:gd name="T37" fmla="*/ 2147483647 h 162"/>
                <a:gd name="T38" fmla="*/ 2147483647 w 168"/>
                <a:gd name="T39" fmla="*/ 2147483647 h 162"/>
                <a:gd name="T40" fmla="*/ 2147483647 w 168"/>
                <a:gd name="T41" fmla="*/ 2147483647 h 162"/>
                <a:gd name="T42" fmla="*/ 2147483647 w 168"/>
                <a:gd name="T43" fmla="*/ 0 h 162"/>
                <a:gd name="T44" fmla="*/ 2147483647 w 168"/>
                <a:gd name="T45" fmla="*/ 0 h 162"/>
                <a:gd name="T46" fmla="*/ 2147483647 w 168"/>
                <a:gd name="T47" fmla="*/ 2147483647 h 162"/>
                <a:gd name="T48" fmla="*/ 2147483647 w 168"/>
                <a:gd name="T49" fmla="*/ 2147483647 h 162"/>
                <a:gd name="T50" fmla="*/ 2147483647 w 168"/>
                <a:gd name="T51" fmla="*/ 2147483647 h 162"/>
                <a:gd name="T52" fmla="*/ 2147483647 w 168"/>
                <a:gd name="T53" fmla="*/ 2147483647 h 162"/>
                <a:gd name="T54" fmla="*/ 2147483647 w 168"/>
                <a:gd name="T55" fmla="*/ 2147483647 h 162"/>
                <a:gd name="T56" fmla="*/ 2147483647 w 168"/>
                <a:gd name="T57" fmla="*/ 2147483647 h 162"/>
                <a:gd name="T58" fmla="*/ 2147483647 w 168"/>
                <a:gd name="T59" fmla="*/ 2147483647 h 162"/>
                <a:gd name="T60" fmla="*/ 0 w 168"/>
                <a:gd name="T61" fmla="*/ 2147483647 h 16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68"/>
                <a:gd name="T94" fmla="*/ 0 h 162"/>
                <a:gd name="T95" fmla="*/ 168 w 168"/>
                <a:gd name="T96" fmla="*/ 162 h 16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68" h="162">
                  <a:moveTo>
                    <a:pt x="0" y="78"/>
                  </a:moveTo>
                  <a:lnTo>
                    <a:pt x="24" y="114"/>
                  </a:lnTo>
                  <a:lnTo>
                    <a:pt x="24" y="132"/>
                  </a:lnTo>
                  <a:lnTo>
                    <a:pt x="54" y="162"/>
                  </a:lnTo>
                  <a:lnTo>
                    <a:pt x="72" y="162"/>
                  </a:lnTo>
                  <a:lnTo>
                    <a:pt x="72" y="150"/>
                  </a:lnTo>
                  <a:lnTo>
                    <a:pt x="78" y="144"/>
                  </a:lnTo>
                  <a:lnTo>
                    <a:pt x="84" y="132"/>
                  </a:lnTo>
                  <a:lnTo>
                    <a:pt x="90" y="126"/>
                  </a:lnTo>
                  <a:lnTo>
                    <a:pt x="102" y="120"/>
                  </a:lnTo>
                  <a:lnTo>
                    <a:pt x="120" y="120"/>
                  </a:lnTo>
                  <a:lnTo>
                    <a:pt x="132" y="114"/>
                  </a:lnTo>
                  <a:lnTo>
                    <a:pt x="138" y="108"/>
                  </a:lnTo>
                  <a:lnTo>
                    <a:pt x="150" y="102"/>
                  </a:lnTo>
                  <a:lnTo>
                    <a:pt x="144" y="84"/>
                  </a:lnTo>
                  <a:lnTo>
                    <a:pt x="168" y="66"/>
                  </a:lnTo>
                  <a:lnTo>
                    <a:pt x="162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90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54" y="18"/>
                  </a:lnTo>
                  <a:lnTo>
                    <a:pt x="48" y="24"/>
                  </a:lnTo>
                  <a:lnTo>
                    <a:pt x="48" y="42"/>
                  </a:lnTo>
                  <a:lnTo>
                    <a:pt x="30" y="60"/>
                  </a:lnTo>
                  <a:lnTo>
                    <a:pt x="24" y="78"/>
                  </a:lnTo>
                  <a:lnTo>
                    <a:pt x="0" y="7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103" name="Lebanon" descr="© INSCALE GmbH, 05.05.2010&#10;http://www.presentationload.com/"/>
            <p:cNvSpPr>
              <a:spLocks/>
            </p:cNvSpPr>
            <p:nvPr/>
          </p:nvSpPr>
          <p:spPr bwMode="gray">
            <a:xfrm>
              <a:off x="5242603" y="3437869"/>
              <a:ext cx="35835" cy="47766"/>
            </a:xfrm>
            <a:custGeom>
              <a:avLst/>
              <a:gdLst>
                <a:gd name="T0" fmla="*/ 2147483647 w 108"/>
                <a:gd name="T1" fmla="*/ 2147483647 h 156"/>
                <a:gd name="T2" fmla="*/ 2147483647 w 108"/>
                <a:gd name="T3" fmla="*/ 2147483647 h 156"/>
                <a:gd name="T4" fmla="*/ 2147483647 w 108"/>
                <a:gd name="T5" fmla="*/ 2147483647 h 156"/>
                <a:gd name="T6" fmla="*/ 2147483647 w 108"/>
                <a:gd name="T7" fmla="*/ 2147483647 h 156"/>
                <a:gd name="T8" fmla="*/ 2147483647 w 108"/>
                <a:gd name="T9" fmla="*/ 2147483647 h 156"/>
                <a:gd name="T10" fmla="*/ 2147483647 w 108"/>
                <a:gd name="T11" fmla="*/ 2147483647 h 156"/>
                <a:gd name="T12" fmla="*/ 2147483647 w 108"/>
                <a:gd name="T13" fmla="*/ 2147483647 h 156"/>
                <a:gd name="T14" fmla="*/ 2147483647 w 108"/>
                <a:gd name="T15" fmla="*/ 2147483647 h 156"/>
                <a:gd name="T16" fmla="*/ 2147483647 w 108"/>
                <a:gd name="T17" fmla="*/ 2147483647 h 156"/>
                <a:gd name="T18" fmla="*/ 2147483647 w 108"/>
                <a:gd name="T19" fmla="*/ 2147483647 h 156"/>
                <a:gd name="T20" fmla="*/ 2147483647 w 108"/>
                <a:gd name="T21" fmla="*/ 0 h 156"/>
                <a:gd name="T22" fmla="*/ 2147483647 w 108"/>
                <a:gd name="T23" fmla="*/ 0 h 156"/>
                <a:gd name="T24" fmla="*/ 2147483647 w 108"/>
                <a:gd name="T25" fmla="*/ 0 h 156"/>
                <a:gd name="T26" fmla="*/ 2147483647 w 108"/>
                <a:gd name="T27" fmla="*/ 2147483647 h 156"/>
                <a:gd name="T28" fmla="*/ 2147483647 w 108"/>
                <a:gd name="T29" fmla="*/ 2147483647 h 156"/>
                <a:gd name="T30" fmla="*/ 2147483647 w 108"/>
                <a:gd name="T31" fmla="*/ 2147483647 h 156"/>
                <a:gd name="T32" fmla="*/ 2147483647 w 108"/>
                <a:gd name="T33" fmla="*/ 2147483647 h 156"/>
                <a:gd name="T34" fmla="*/ 2147483647 w 108"/>
                <a:gd name="T35" fmla="*/ 2147483647 h 156"/>
                <a:gd name="T36" fmla="*/ 2147483647 w 108"/>
                <a:gd name="T37" fmla="*/ 2147483647 h 156"/>
                <a:gd name="T38" fmla="*/ 2147483647 w 108"/>
                <a:gd name="T39" fmla="*/ 2147483647 h 156"/>
                <a:gd name="T40" fmla="*/ 2147483647 w 108"/>
                <a:gd name="T41" fmla="*/ 2147483647 h 156"/>
                <a:gd name="T42" fmla="*/ 0 w 108"/>
                <a:gd name="T43" fmla="*/ 2147483647 h 156"/>
                <a:gd name="T44" fmla="*/ 0 w 108"/>
                <a:gd name="T45" fmla="*/ 2147483647 h 156"/>
                <a:gd name="T46" fmla="*/ 2147483647 w 108"/>
                <a:gd name="T47" fmla="*/ 2147483647 h 156"/>
                <a:gd name="T48" fmla="*/ 2147483647 w 108"/>
                <a:gd name="T49" fmla="*/ 2147483647 h 156"/>
                <a:gd name="T50" fmla="*/ 2147483647 w 108"/>
                <a:gd name="T51" fmla="*/ 2147483647 h 156"/>
                <a:gd name="T52" fmla="*/ 2147483647 w 108"/>
                <a:gd name="T53" fmla="*/ 2147483647 h 156"/>
                <a:gd name="T54" fmla="*/ 2147483647 w 108"/>
                <a:gd name="T55" fmla="*/ 2147483647 h 156"/>
                <a:gd name="T56" fmla="*/ 2147483647 w 108"/>
                <a:gd name="T57" fmla="*/ 2147483647 h 156"/>
                <a:gd name="T58" fmla="*/ 2147483647 w 108"/>
                <a:gd name="T59" fmla="*/ 2147483647 h 156"/>
                <a:gd name="T60" fmla="*/ 2147483647 w 108"/>
                <a:gd name="T61" fmla="*/ 2147483647 h 15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08"/>
                <a:gd name="T94" fmla="*/ 0 h 156"/>
                <a:gd name="T95" fmla="*/ 108 w 108"/>
                <a:gd name="T96" fmla="*/ 156 h 15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08" h="156">
                  <a:moveTo>
                    <a:pt x="72" y="96"/>
                  </a:moveTo>
                  <a:lnTo>
                    <a:pt x="72" y="72"/>
                  </a:lnTo>
                  <a:lnTo>
                    <a:pt x="78" y="66"/>
                  </a:lnTo>
                  <a:lnTo>
                    <a:pt x="84" y="66"/>
                  </a:lnTo>
                  <a:lnTo>
                    <a:pt x="96" y="60"/>
                  </a:lnTo>
                  <a:lnTo>
                    <a:pt x="102" y="60"/>
                  </a:lnTo>
                  <a:lnTo>
                    <a:pt x="108" y="48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102" y="0"/>
                  </a:lnTo>
                  <a:lnTo>
                    <a:pt x="54" y="0"/>
                  </a:lnTo>
                  <a:lnTo>
                    <a:pt x="60" y="0"/>
                  </a:lnTo>
                  <a:lnTo>
                    <a:pt x="60" y="6"/>
                  </a:lnTo>
                  <a:lnTo>
                    <a:pt x="54" y="6"/>
                  </a:lnTo>
                  <a:lnTo>
                    <a:pt x="48" y="18"/>
                  </a:lnTo>
                  <a:lnTo>
                    <a:pt x="36" y="24"/>
                  </a:lnTo>
                  <a:lnTo>
                    <a:pt x="30" y="30"/>
                  </a:lnTo>
                  <a:lnTo>
                    <a:pt x="18" y="66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0" y="114"/>
                  </a:lnTo>
                  <a:lnTo>
                    <a:pt x="0" y="156"/>
                  </a:lnTo>
                  <a:lnTo>
                    <a:pt x="12" y="150"/>
                  </a:lnTo>
                  <a:lnTo>
                    <a:pt x="24" y="126"/>
                  </a:lnTo>
                  <a:lnTo>
                    <a:pt x="30" y="132"/>
                  </a:lnTo>
                  <a:lnTo>
                    <a:pt x="36" y="132"/>
                  </a:lnTo>
                  <a:lnTo>
                    <a:pt x="42" y="126"/>
                  </a:lnTo>
                  <a:lnTo>
                    <a:pt x="48" y="114"/>
                  </a:lnTo>
                  <a:lnTo>
                    <a:pt x="48" y="102"/>
                  </a:lnTo>
                  <a:lnTo>
                    <a:pt x="72" y="9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104" name="Latvia" descr="© INSCALE GmbH, 05.05.2010&#10;http://www.presentationload.com/"/>
            <p:cNvSpPr>
              <a:spLocks/>
            </p:cNvSpPr>
            <p:nvPr/>
          </p:nvSpPr>
          <p:spPr bwMode="gray">
            <a:xfrm>
              <a:off x="4907285" y="2864667"/>
              <a:ext cx="138223" cy="56340"/>
            </a:xfrm>
            <a:custGeom>
              <a:avLst/>
              <a:gdLst>
                <a:gd name="T0" fmla="*/ 2147483647 w 426"/>
                <a:gd name="T1" fmla="*/ 2147483647 h 180"/>
                <a:gd name="T2" fmla="*/ 2147483647 w 426"/>
                <a:gd name="T3" fmla="*/ 2147483647 h 180"/>
                <a:gd name="T4" fmla="*/ 2147483647 w 426"/>
                <a:gd name="T5" fmla="*/ 2147483647 h 180"/>
                <a:gd name="T6" fmla="*/ 2147483647 w 426"/>
                <a:gd name="T7" fmla="*/ 2147483647 h 180"/>
                <a:gd name="T8" fmla="*/ 2147483647 w 426"/>
                <a:gd name="T9" fmla="*/ 2147483647 h 180"/>
                <a:gd name="T10" fmla="*/ 2147483647 w 426"/>
                <a:gd name="T11" fmla="*/ 2147483647 h 180"/>
                <a:gd name="T12" fmla="*/ 2147483647 w 426"/>
                <a:gd name="T13" fmla="*/ 2147483647 h 180"/>
                <a:gd name="T14" fmla="*/ 2147483647 w 426"/>
                <a:gd name="T15" fmla="*/ 2147483647 h 180"/>
                <a:gd name="T16" fmla="*/ 2147483647 w 426"/>
                <a:gd name="T17" fmla="*/ 2147483647 h 180"/>
                <a:gd name="T18" fmla="*/ 2147483647 w 426"/>
                <a:gd name="T19" fmla="*/ 2147483647 h 180"/>
                <a:gd name="T20" fmla="*/ 2147483647 w 426"/>
                <a:gd name="T21" fmla="*/ 2147483647 h 180"/>
                <a:gd name="T22" fmla="*/ 2147483647 w 426"/>
                <a:gd name="T23" fmla="*/ 2147483647 h 180"/>
                <a:gd name="T24" fmla="*/ 2147483647 w 426"/>
                <a:gd name="T25" fmla="*/ 2147483647 h 180"/>
                <a:gd name="T26" fmla="*/ 2147483647 w 426"/>
                <a:gd name="T27" fmla="*/ 2147483647 h 180"/>
                <a:gd name="T28" fmla="*/ 2147483647 w 426"/>
                <a:gd name="T29" fmla="*/ 2147483647 h 180"/>
                <a:gd name="T30" fmla="*/ 2147483647 w 426"/>
                <a:gd name="T31" fmla="*/ 2147483647 h 180"/>
                <a:gd name="T32" fmla="*/ 2147483647 w 426"/>
                <a:gd name="T33" fmla="*/ 2147483647 h 180"/>
                <a:gd name="T34" fmla="*/ 2147483647 w 426"/>
                <a:gd name="T35" fmla="*/ 2147483647 h 180"/>
                <a:gd name="T36" fmla="*/ 2147483647 w 426"/>
                <a:gd name="T37" fmla="*/ 2147483647 h 180"/>
                <a:gd name="T38" fmla="*/ 2147483647 w 426"/>
                <a:gd name="T39" fmla="*/ 2147483647 h 180"/>
                <a:gd name="T40" fmla="*/ 2147483647 w 426"/>
                <a:gd name="T41" fmla="*/ 2147483647 h 180"/>
                <a:gd name="T42" fmla="*/ 2147483647 w 426"/>
                <a:gd name="T43" fmla="*/ 2147483647 h 180"/>
                <a:gd name="T44" fmla="*/ 2147483647 w 426"/>
                <a:gd name="T45" fmla="*/ 2147483647 h 180"/>
                <a:gd name="T46" fmla="*/ 2147483647 w 426"/>
                <a:gd name="T47" fmla="*/ 2147483647 h 180"/>
                <a:gd name="T48" fmla="*/ 2147483647 w 426"/>
                <a:gd name="T49" fmla="*/ 2147483647 h 180"/>
                <a:gd name="T50" fmla="*/ 2147483647 w 426"/>
                <a:gd name="T51" fmla="*/ 2147483647 h 180"/>
                <a:gd name="T52" fmla="*/ 2147483647 w 426"/>
                <a:gd name="T53" fmla="*/ 2147483647 h 180"/>
                <a:gd name="T54" fmla="*/ 2147483647 w 426"/>
                <a:gd name="T55" fmla="*/ 2147483647 h 180"/>
                <a:gd name="T56" fmla="*/ 2147483647 w 426"/>
                <a:gd name="T57" fmla="*/ 2147483647 h 180"/>
                <a:gd name="T58" fmla="*/ 2147483647 w 426"/>
                <a:gd name="T59" fmla="*/ 2147483647 h 180"/>
                <a:gd name="T60" fmla="*/ 2147483647 w 426"/>
                <a:gd name="T61" fmla="*/ 0 h 180"/>
                <a:gd name="T62" fmla="*/ 2147483647 w 426"/>
                <a:gd name="T63" fmla="*/ 2147483647 h 180"/>
                <a:gd name="T64" fmla="*/ 2147483647 w 426"/>
                <a:gd name="T65" fmla="*/ 2147483647 h 180"/>
                <a:gd name="T66" fmla="*/ 2147483647 w 426"/>
                <a:gd name="T67" fmla="*/ 2147483647 h 180"/>
                <a:gd name="T68" fmla="*/ 2147483647 w 426"/>
                <a:gd name="T69" fmla="*/ 2147483647 h 180"/>
                <a:gd name="T70" fmla="*/ 2147483647 w 426"/>
                <a:gd name="T71" fmla="*/ 2147483647 h 180"/>
                <a:gd name="T72" fmla="*/ 2147483647 w 426"/>
                <a:gd name="T73" fmla="*/ 2147483647 h 180"/>
                <a:gd name="T74" fmla="*/ 2147483647 w 426"/>
                <a:gd name="T75" fmla="*/ 2147483647 h 180"/>
                <a:gd name="T76" fmla="*/ 2147483647 w 426"/>
                <a:gd name="T77" fmla="*/ 2147483647 h 180"/>
                <a:gd name="T78" fmla="*/ 2147483647 w 426"/>
                <a:gd name="T79" fmla="*/ 2147483647 h 180"/>
                <a:gd name="T80" fmla="*/ 2147483647 w 426"/>
                <a:gd name="T81" fmla="*/ 2147483647 h 180"/>
                <a:gd name="T82" fmla="*/ 2147483647 w 426"/>
                <a:gd name="T83" fmla="*/ 2147483647 h 180"/>
                <a:gd name="T84" fmla="*/ 0 w 426"/>
                <a:gd name="T85" fmla="*/ 2147483647 h 180"/>
                <a:gd name="T86" fmla="*/ 2147483647 w 426"/>
                <a:gd name="T87" fmla="*/ 2147483647 h 18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26"/>
                <a:gd name="T133" fmla="*/ 0 h 180"/>
                <a:gd name="T134" fmla="*/ 426 w 426"/>
                <a:gd name="T135" fmla="*/ 180 h 18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26" h="180">
                  <a:moveTo>
                    <a:pt x="6" y="144"/>
                  </a:moveTo>
                  <a:lnTo>
                    <a:pt x="6" y="138"/>
                  </a:lnTo>
                  <a:lnTo>
                    <a:pt x="12" y="138"/>
                  </a:lnTo>
                  <a:lnTo>
                    <a:pt x="24" y="132"/>
                  </a:lnTo>
                  <a:lnTo>
                    <a:pt x="66" y="132"/>
                  </a:lnTo>
                  <a:lnTo>
                    <a:pt x="78" y="120"/>
                  </a:lnTo>
                  <a:lnTo>
                    <a:pt x="96" y="120"/>
                  </a:lnTo>
                  <a:lnTo>
                    <a:pt x="102" y="126"/>
                  </a:lnTo>
                  <a:lnTo>
                    <a:pt x="108" y="126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62" y="138"/>
                  </a:lnTo>
                  <a:lnTo>
                    <a:pt x="168" y="132"/>
                  </a:lnTo>
                  <a:lnTo>
                    <a:pt x="180" y="132"/>
                  </a:lnTo>
                  <a:lnTo>
                    <a:pt x="186" y="138"/>
                  </a:lnTo>
                  <a:lnTo>
                    <a:pt x="204" y="138"/>
                  </a:lnTo>
                  <a:lnTo>
                    <a:pt x="216" y="126"/>
                  </a:lnTo>
                  <a:lnTo>
                    <a:pt x="228" y="126"/>
                  </a:lnTo>
                  <a:lnTo>
                    <a:pt x="234" y="132"/>
                  </a:lnTo>
                  <a:lnTo>
                    <a:pt x="240" y="144"/>
                  </a:lnTo>
                  <a:lnTo>
                    <a:pt x="270" y="144"/>
                  </a:lnTo>
                  <a:lnTo>
                    <a:pt x="282" y="150"/>
                  </a:lnTo>
                  <a:lnTo>
                    <a:pt x="288" y="150"/>
                  </a:lnTo>
                  <a:lnTo>
                    <a:pt x="300" y="162"/>
                  </a:lnTo>
                  <a:lnTo>
                    <a:pt x="318" y="174"/>
                  </a:lnTo>
                  <a:lnTo>
                    <a:pt x="336" y="180"/>
                  </a:lnTo>
                  <a:lnTo>
                    <a:pt x="360" y="168"/>
                  </a:lnTo>
                  <a:lnTo>
                    <a:pt x="378" y="168"/>
                  </a:lnTo>
                  <a:lnTo>
                    <a:pt x="384" y="174"/>
                  </a:lnTo>
                  <a:lnTo>
                    <a:pt x="390" y="168"/>
                  </a:lnTo>
                  <a:lnTo>
                    <a:pt x="396" y="168"/>
                  </a:lnTo>
                  <a:lnTo>
                    <a:pt x="402" y="162"/>
                  </a:lnTo>
                  <a:lnTo>
                    <a:pt x="408" y="150"/>
                  </a:lnTo>
                  <a:lnTo>
                    <a:pt x="414" y="144"/>
                  </a:lnTo>
                  <a:lnTo>
                    <a:pt x="420" y="150"/>
                  </a:lnTo>
                  <a:lnTo>
                    <a:pt x="426" y="150"/>
                  </a:lnTo>
                  <a:lnTo>
                    <a:pt x="426" y="126"/>
                  </a:lnTo>
                  <a:lnTo>
                    <a:pt x="414" y="114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78" y="90"/>
                  </a:lnTo>
                  <a:lnTo>
                    <a:pt x="384" y="72"/>
                  </a:lnTo>
                  <a:lnTo>
                    <a:pt x="402" y="72"/>
                  </a:lnTo>
                  <a:lnTo>
                    <a:pt x="402" y="66"/>
                  </a:lnTo>
                  <a:lnTo>
                    <a:pt x="396" y="60"/>
                  </a:lnTo>
                  <a:lnTo>
                    <a:pt x="384" y="54"/>
                  </a:lnTo>
                  <a:lnTo>
                    <a:pt x="372" y="42"/>
                  </a:lnTo>
                  <a:lnTo>
                    <a:pt x="354" y="42"/>
                  </a:lnTo>
                  <a:lnTo>
                    <a:pt x="348" y="36"/>
                  </a:lnTo>
                  <a:lnTo>
                    <a:pt x="330" y="36"/>
                  </a:lnTo>
                  <a:lnTo>
                    <a:pt x="324" y="42"/>
                  </a:lnTo>
                  <a:lnTo>
                    <a:pt x="306" y="42"/>
                  </a:lnTo>
                  <a:lnTo>
                    <a:pt x="288" y="24"/>
                  </a:lnTo>
                  <a:lnTo>
                    <a:pt x="276" y="18"/>
                  </a:lnTo>
                  <a:lnTo>
                    <a:pt x="270" y="12"/>
                  </a:lnTo>
                  <a:lnTo>
                    <a:pt x="246" y="0"/>
                  </a:lnTo>
                  <a:lnTo>
                    <a:pt x="216" y="0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80" y="24"/>
                  </a:lnTo>
                  <a:lnTo>
                    <a:pt x="180" y="30"/>
                  </a:lnTo>
                  <a:lnTo>
                    <a:pt x="186" y="42"/>
                  </a:lnTo>
                  <a:lnTo>
                    <a:pt x="186" y="60"/>
                  </a:lnTo>
                  <a:lnTo>
                    <a:pt x="192" y="66"/>
                  </a:lnTo>
                  <a:lnTo>
                    <a:pt x="186" y="78"/>
                  </a:lnTo>
                  <a:lnTo>
                    <a:pt x="156" y="78"/>
                  </a:lnTo>
                  <a:lnTo>
                    <a:pt x="138" y="72"/>
                  </a:lnTo>
                  <a:lnTo>
                    <a:pt x="126" y="72"/>
                  </a:lnTo>
                  <a:lnTo>
                    <a:pt x="114" y="54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0" y="30"/>
                  </a:lnTo>
                  <a:lnTo>
                    <a:pt x="48" y="30"/>
                  </a:lnTo>
                  <a:lnTo>
                    <a:pt x="36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18" y="78"/>
                  </a:lnTo>
                  <a:lnTo>
                    <a:pt x="6" y="84"/>
                  </a:lnTo>
                  <a:lnTo>
                    <a:pt x="0" y="96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6" y="150"/>
                  </a:lnTo>
                  <a:lnTo>
                    <a:pt x="6" y="14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105" name="Laos" descr="© INSCALE GmbH, 05.05.2010&#10;http://www.presentationload.com/"/>
            <p:cNvSpPr>
              <a:spLocks/>
            </p:cNvSpPr>
            <p:nvPr/>
          </p:nvSpPr>
          <p:spPr bwMode="gray">
            <a:xfrm>
              <a:off x="6740017" y="3740392"/>
              <a:ext cx="195815" cy="216787"/>
            </a:xfrm>
            <a:custGeom>
              <a:avLst/>
              <a:gdLst>
                <a:gd name="T0" fmla="*/ 2147483647 w 600"/>
                <a:gd name="T1" fmla="*/ 2147483647 h 696"/>
                <a:gd name="T2" fmla="*/ 2147483647 w 600"/>
                <a:gd name="T3" fmla="*/ 2147483647 h 696"/>
                <a:gd name="T4" fmla="*/ 2147483647 w 600"/>
                <a:gd name="T5" fmla="*/ 2147483647 h 696"/>
                <a:gd name="T6" fmla="*/ 2147483647 w 600"/>
                <a:gd name="T7" fmla="*/ 2147483647 h 696"/>
                <a:gd name="T8" fmla="*/ 2147483647 w 600"/>
                <a:gd name="T9" fmla="*/ 2147483647 h 696"/>
                <a:gd name="T10" fmla="*/ 2147483647 w 600"/>
                <a:gd name="T11" fmla="*/ 2147483647 h 696"/>
                <a:gd name="T12" fmla="*/ 2147483647 w 600"/>
                <a:gd name="T13" fmla="*/ 2147483647 h 696"/>
                <a:gd name="T14" fmla="*/ 2147483647 w 600"/>
                <a:gd name="T15" fmla="*/ 2147483647 h 696"/>
                <a:gd name="T16" fmla="*/ 2147483647 w 600"/>
                <a:gd name="T17" fmla="*/ 2147483647 h 696"/>
                <a:gd name="T18" fmla="*/ 2147483647 w 600"/>
                <a:gd name="T19" fmla="*/ 2147483647 h 696"/>
                <a:gd name="T20" fmla="*/ 2147483647 w 600"/>
                <a:gd name="T21" fmla="*/ 2147483647 h 696"/>
                <a:gd name="T22" fmla="*/ 2147483647 w 600"/>
                <a:gd name="T23" fmla="*/ 2147483647 h 696"/>
                <a:gd name="T24" fmla="*/ 2147483647 w 600"/>
                <a:gd name="T25" fmla="*/ 2147483647 h 696"/>
                <a:gd name="T26" fmla="*/ 2147483647 w 600"/>
                <a:gd name="T27" fmla="*/ 2147483647 h 696"/>
                <a:gd name="T28" fmla="*/ 2147483647 w 600"/>
                <a:gd name="T29" fmla="*/ 2147483647 h 696"/>
                <a:gd name="T30" fmla="*/ 2147483647 w 600"/>
                <a:gd name="T31" fmla="*/ 2147483647 h 696"/>
                <a:gd name="T32" fmla="*/ 2147483647 w 600"/>
                <a:gd name="T33" fmla="*/ 2147483647 h 696"/>
                <a:gd name="T34" fmla="*/ 2147483647 w 600"/>
                <a:gd name="T35" fmla="*/ 2147483647 h 696"/>
                <a:gd name="T36" fmla="*/ 2147483647 w 600"/>
                <a:gd name="T37" fmla="*/ 2147483647 h 696"/>
                <a:gd name="T38" fmla="*/ 2147483647 w 600"/>
                <a:gd name="T39" fmla="*/ 2147483647 h 696"/>
                <a:gd name="T40" fmla="*/ 2147483647 w 600"/>
                <a:gd name="T41" fmla="*/ 2147483647 h 696"/>
                <a:gd name="T42" fmla="*/ 2147483647 w 600"/>
                <a:gd name="T43" fmla="*/ 2147483647 h 696"/>
                <a:gd name="T44" fmla="*/ 2147483647 w 600"/>
                <a:gd name="T45" fmla="*/ 2147483647 h 696"/>
                <a:gd name="T46" fmla="*/ 2147483647 w 600"/>
                <a:gd name="T47" fmla="*/ 2147483647 h 696"/>
                <a:gd name="T48" fmla="*/ 2147483647 w 600"/>
                <a:gd name="T49" fmla="*/ 2147483647 h 696"/>
                <a:gd name="T50" fmla="*/ 2147483647 w 600"/>
                <a:gd name="T51" fmla="*/ 2147483647 h 696"/>
                <a:gd name="T52" fmla="*/ 2147483647 w 600"/>
                <a:gd name="T53" fmla="*/ 2147483647 h 696"/>
                <a:gd name="T54" fmla="*/ 2147483647 w 600"/>
                <a:gd name="T55" fmla="*/ 2147483647 h 696"/>
                <a:gd name="T56" fmla="*/ 2147483647 w 600"/>
                <a:gd name="T57" fmla="*/ 2147483647 h 696"/>
                <a:gd name="T58" fmla="*/ 2147483647 w 600"/>
                <a:gd name="T59" fmla="*/ 2147483647 h 696"/>
                <a:gd name="T60" fmla="*/ 2147483647 w 600"/>
                <a:gd name="T61" fmla="*/ 2147483647 h 696"/>
                <a:gd name="T62" fmla="*/ 2147483647 w 600"/>
                <a:gd name="T63" fmla="*/ 2147483647 h 696"/>
                <a:gd name="T64" fmla="*/ 2147483647 w 600"/>
                <a:gd name="T65" fmla="*/ 2147483647 h 696"/>
                <a:gd name="T66" fmla="*/ 2147483647 w 600"/>
                <a:gd name="T67" fmla="*/ 2147483647 h 696"/>
                <a:gd name="T68" fmla="*/ 2147483647 w 600"/>
                <a:gd name="T69" fmla="*/ 2147483647 h 696"/>
                <a:gd name="T70" fmla="*/ 2147483647 w 600"/>
                <a:gd name="T71" fmla="*/ 2147483647 h 696"/>
                <a:gd name="T72" fmla="*/ 2147483647 w 600"/>
                <a:gd name="T73" fmla="*/ 2147483647 h 696"/>
                <a:gd name="T74" fmla="*/ 2147483647 w 600"/>
                <a:gd name="T75" fmla="*/ 2147483647 h 696"/>
                <a:gd name="T76" fmla="*/ 2147483647 w 600"/>
                <a:gd name="T77" fmla="*/ 2147483647 h 696"/>
                <a:gd name="T78" fmla="*/ 2147483647 w 600"/>
                <a:gd name="T79" fmla="*/ 2147483647 h 696"/>
                <a:gd name="T80" fmla="*/ 2147483647 w 600"/>
                <a:gd name="T81" fmla="*/ 2147483647 h 696"/>
                <a:gd name="T82" fmla="*/ 2147483647 w 600"/>
                <a:gd name="T83" fmla="*/ 2147483647 h 696"/>
                <a:gd name="T84" fmla="*/ 2147483647 w 600"/>
                <a:gd name="T85" fmla="*/ 2147483647 h 696"/>
                <a:gd name="T86" fmla="*/ 2147483647 w 600"/>
                <a:gd name="T87" fmla="*/ 2147483647 h 696"/>
                <a:gd name="T88" fmla="*/ 2147483647 w 600"/>
                <a:gd name="T89" fmla="*/ 2147483647 h 696"/>
                <a:gd name="T90" fmla="*/ 2147483647 w 600"/>
                <a:gd name="T91" fmla="*/ 2147483647 h 696"/>
                <a:gd name="T92" fmla="*/ 2147483647 w 600"/>
                <a:gd name="T93" fmla="*/ 2147483647 h 696"/>
                <a:gd name="T94" fmla="*/ 2147483647 w 600"/>
                <a:gd name="T95" fmla="*/ 2147483647 h 696"/>
                <a:gd name="T96" fmla="*/ 2147483647 w 600"/>
                <a:gd name="T97" fmla="*/ 2147483647 h 696"/>
                <a:gd name="T98" fmla="*/ 2147483647 w 600"/>
                <a:gd name="T99" fmla="*/ 2147483647 h 696"/>
                <a:gd name="T100" fmla="*/ 2147483647 w 600"/>
                <a:gd name="T101" fmla="*/ 2147483647 h 696"/>
                <a:gd name="T102" fmla="*/ 2147483647 w 600"/>
                <a:gd name="T103" fmla="*/ 2147483647 h 696"/>
                <a:gd name="T104" fmla="*/ 2147483647 w 600"/>
                <a:gd name="T105" fmla="*/ 2147483647 h 696"/>
                <a:gd name="T106" fmla="*/ 2147483647 w 600"/>
                <a:gd name="T107" fmla="*/ 2147483647 h 696"/>
                <a:gd name="T108" fmla="*/ 2147483647 w 600"/>
                <a:gd name="T109" fmla="*/ 2147483647 h 696"/>
                <a:gd name="T110" fmla="*/ 2147483647 w 600"/>
                <a:gd name="T111" fmla="*/ 2147483647 h 696"/>
                <a:gd name="T112" fmla="*/ 2147483647 w 600"/>
                <a:gd name="T113" fmla="*/ 2147483647 h 696"/>
                <a:gd name="T114" fmla="*/ 2147483647 w 600"/>
                <a:gd name="T115" fmla="*/ 2147483647 h 696"/>
                <a:gd name="T116" fmla="*/ 2147483647 w 600"/>
                <a:gd name="T117" fmla="*/ 2147483647 h 696"/>
                <a:gd name="T118" fmla="*/ 0 w 600"/>
                <a:gd name="T119" fmla="*/ 2147483647 h 696"/>
                <a:gd name="T120" fmla="*/ 2147483647 w 600"/>
                <a:gd name="T121" fmla="*/ 2147483647 h 69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600"/>
                <a:gd name="T184" fmla="*/ 0 h 696"/>
                <a:gd name="T185" fmla="*/ 600 w 600"/>
                <a:gd name="T186" fmla="*/ 696 h 69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600" h="696">
                  <a:moveTo>
                    <a:pt x="24" y="180"/>
                  </a:moveTo>
                  <a:lnTo>
                    <a:pt x="36" y="180"/>
                  </a:lnTo>
                  <a:lnTo>
                    <a:pt x="42" y="186"/>
                  </a:lnTo>
                  <a:lnTo>
                    <a:pt x="42" y="198"/>
                  </a:lnTo>
                  <a:lnTo>
                    <a:pt x="36" y="204"/>
                  </a:lnTo>
                  <a:lnTo>
                    <a:pt x="36" y="228"/>
                  </a:lnTo>
                  <a:lnTo>
                    <a:pt x="42" y="240"/>
                  </a:lnTo>
                  <a:lnTo>
                    <a:pt x="48" y="246"/>
                  </a:lnTo>
                  <a:lnTo>
                    <a:pt x="66" y="246"/>
                  </a:lnTo>
                  <a:lnTo>
                    <a:pt x="66" y="234"/>
                  </a:lnTo>
                  <a:lnTo>
                    <a:pt x="78" y="234"/>
                  </a:lnTo>
                  <a:lnTo>
                    <a:pt x="84" y="228"/>
                  </a:lnTo>
                  <a:lnTo>
                    <a:pt x="90" y="228"/>
                  </a:lnTo>
                  <a:lnTo>
                    <a:pt x="102" y="234"/>
                  </a:lnTo>
                  <a:lnTo>
                    <a:pt x="102" y="264"/>
                  </a:lnTo>
                  <a:lnTo>
                    <a:pt x="96" y="270"/>
                  </a:lnTo>
                  <a:lnTo>
                    <a:pt x="102" y="276"/>
                  </a:lnTo>
                  <a:lnTo>
                    <a:pt x="108" y="288"/>
                  </a:lnTo>
                  <a:lnTo>
                    <a:pt x="108" y="300"/>
                  </a:lnTo>
                  <a:lnTo>
                    <a:pt x="102" y="312"/>
                  </a:lnTo>
                  <a:lnTo>
                    <a:pt x="90" y="324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08" y="342"/>
                  </a:lnTo>
                  <a:lnTo>
                    <a:pt x="84" y="390"/>
                  </a:lnTo>
                  <a:lnTo>
                    <a:pt x="84" y="402"/>
                  </a:lnTo>
                  <a:lnTo>
                    <a:pt x="102" y="402"/>
                  </a:lnTo>
                  <a:lnTo>
                    <a:pt x="126" y="390"/>
                  </a:lnTo>
                  <a:lnTo>
                    <a:pt x="132" y="384"/>
                  </a:lnTo>
                  <a:lnTo>
                    <a:pt x="132" y="378"/>
                  </a:lnTo>
                  <a:lnTo>
                    <a:pt x="144" y="366"/>
                  </a:lnTo>
                  <a:lnTo>
                    <a:pt x="150" y="354"/>
                  </a:lnTo>
                  <a:lnTo>
                    <a:pt x="156" y="348"/>
                  </a:lnTo>
                  <a:lnTo>
                    <a:pt x="168" y="348"/>
                  </a:lnTo>
                  <a:lnTo>
                    <a:pt x="174" y="354"/>
                  </a:lnTo>
                  <a:lnTo>
                    <a:pt x="198" y="366"/>
                  </a:lnTo>
                  <a:lnTo>
                    <a:pt x="216" y="366"/>
                  </a:lnTo>
                  <a:lnTo>
                    <a:pt x="234" y="348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58" y="330"/>
                  </a:lnTo>
                  <a:lnTo>
                    <a:pt x="264" y="336"/>
                  </a:lnTo>
                  <a:lnTo>
                    <a:pt x="276" y="342"/>
                  </a:lnTo>
                  <a:lnTo>
                    <a:pt x="300" y="342"/>
                  </a:lnTo>
                  <a:lnTo>
                    <a:pt x="306" y="348"/>
                  </a:lnTo>
                  <a:lnTo>
                    <a:pt x="306" y="360"/>
                  </a:lnTo>
                  <a:lnTo>
                    <a:pt x="318" y="372"/>
                  </a:lnTo>
                  <a:lnTo>
                    <a:pt x="336" y="384"/>
                  </a:lnTo>
                  <a:lnTo>
                    <a:pt x="348" y="390"/>
                  </a:lnTo>
                  <a:lnTo>
                    <a:pt x="366" y="408"/>
                  </a:lnTo>
                  <a:lnTo>
                    <a:pt x="372" y="450"/>
                  </a:lnTo>
                  <a:lnTo>
                    <a:pt x="372" y="462"/>
                  </a:lnTo>
                  <a:lnTo>
                    <a:pt x="384" y="486"/>
                  </a:lnTo>
                  <a:lnTo>
                    <a:pt x="420" y="522"/>
                  </a:lnTo>
                  <a:lnTo>
                    <a:pt x="420" y="528"/>
                  </a:lnTo>
                  <a:lnTo>
                    <a:pt x="426" y="534"/>
                  </a:lnTo>
                  <a:lnTo>
                    <a:pt x="426" y="546"/>
                  </a:lnTo>
                  <a:lnTo>
                    <a:pt x="432" y="540"/>
                  </a:lnTo>
                  <a:lnTo>
                    <a:pt x="432" y="546"/>
                  </a:lnTo>
                  <a:lnTo>
                    <a:pt x="444" y="558"/>
                  </a:lnTo>
                  <a:lnTo>
                    <a:pt x="432" y="582"/>
                  </a:lnTo>
                  <a:lnTo>
                    <a:pt x="426" y="588"/>
                  </a:lnTo>
                  <a:lnTo>
                    <a:pt x="426" y="594"/>
                  </a:lnTo>
                  <a:lnTo>
                    <a:pt x="438" y="606"/>
                  </a:lnTo>
                  <a:lnTo>
                    <a:pt x="450" y="612"/>
                  </a:lnTo>
                  <a:lnTo>
                    <a:pt x="456" y="618"/>
                  </a:lnTo>
                  <a:lnTo>
                    <a:pt x="456" y="630"/>
                  </a:lnTo>
                  <a:lnTo>
                    <a:pt x="450" y="636"/>
                  </a:lnTo>
                  <a:lnTo>
                    <a:pt x="444" y="648"/>
                  </a:lnTo>
                  <a:lnTo>
                    <a:pt x="432" y="654"/>
                  </a:lnTo>
                  <a:lnTo>
                    <a:pt x="426" y="660"/>
                  </a:lnTo>
                  <a:lnTo>
                    <a:pt x="426" y="672"/>
                  </a:lnTo>
                  <a:lnTo>
                    <a:pt x="450" y="672"/>
                  </a:lnTo>
                  <a:lnTo>
                    <a:pt x="456" y="678"/>
                  </a:lnTo>
                  <a:lnTo>
                    <a:pt x="462" y="678"/>
                  </a:lnTo>
                  <a:lnTo>
                    <a:pt x="462" y="684"/>
                  </a:lnTo>
                  <a:lnTo>
                    <a:pt x="474" y="696"/>
                  </a:lnTo>
                  <a:lnTo>
                    <a:pt x="486" y="696"/>
                  </a:lnTo>
                  <a:lnTo>
                    <a:pt x="492" y="690"/>
                  </a:lnTo>
                  <a:lnTo>
                    <a:pt x="492" y="678"/>
                  </a:lnTo>
                  <a:lnTo>
                    <a:pt x="480" y="666"/>
                  </a:lnTo>
                  <a:lnTo>
                    <a:pt x="498" y="654"/>
                  </a:lnTo>
                  <a:lnTo>
                    <a:pt x="510" y="642"/>
                  </a:lnTo>
                  <a:lnTo>
                    <a:pt x="546" y="654"/>
                  </a:lnTo>
                  <a:lnTo>
                    <a:pt x="558" y="642"/>
                  </a:lnTo>
                  <a:lnTo>
                    <a:pt x="582" y="648"/>
                  </a:lnTo>
                  <a:lnTo>
                    <a:pt x="588" y="648"/>
                  </a:lnTo>
                  <a:lnTo>
                    <a:pt x="600" y="636"/>
                  </a:lnTo>
                  <a:lnTo>
                    <a:pt x="600" y="630"/>
                  </a:lnTo>
                  <a:lnTo>
                    <a:pt x="588" y="618"/>
                  </a:lnTo>
                  <a:lnTo>
                    <a:pt x="582" y="618"/>
                  </a:lnTo>
                  <a:lnTo>
                    <a:pt x="600" y="582"/>
                  </a:lnTo>
                  <a:lnTo>
                    <a:pt x="594" y="582"/>
                  </a:lnTo>
                  <a:lnTo>
                    <a:pt x="588" y="576"/>
                  </a:lnTo>
                  <a:lnTo>
                    <a:pt x="564" y="564"/>
                  </a:lnTo>
                  <a:lnTo>
                    <a:pt x="540" y="540"/>
                  </a:lnTo>
                  <a:lnTo>
                    <a:pt x="546" y="540"/>
                  </a:lnTo>
                  <a:lnTo>
                    <a:pt x="552" y="534"/>
                  </a:lnTo>
                  <a:lnTo>
                    <a:pt x="558" y="534"/>
                  </a:lnTo>
                  <a:lnTo>
                    <a:pt x="564" y="528"/>
                  </a:lnTo>
                  <a:lnTo>
                    <a:pt x="564" y="516"/>
                  </a:lnTo>
                  <a:lnTo>
                    <a:pt x="558" y="510"/>
                  </a:lnTo>
                  <a:lnTo>
                    <a:pt x="546" y="504"/>
                  </a:lnTo>
                  <a:lnTo>
                    <a:pt x="540" y="498"/>
                  </a:lnTo>
                  <a:lnTo>
                    <a:pt x="528" y="498"/>
                  </a:lnTo>
                  <a:lnTo>
                    <a:pt x="516" y="486"/>
                  </a:lnTo>
                  <a:lnTo>
                    <a:pt x="504" y="462"/>
                  </a:lnTo>
                  <a:lnTo>
                    <a:pt x="498" y="456"/>
                  </a:lnTo>
                  <a:lnTo>
                    <a:pt x="498" y="450"/>
                  </a:lnTo>
                  <a:lnTo>
                    <a:pt x="480" y="450"/>
                  </a:lnTo>
                  <a:lnTo>
                    <a:pt x="474" y="432"/>
                  </a:lnTo>
                  <a:lnTo>
                    <a:pt x="456" y="414"/>
                  </a:lnTo>
                  <a:lnTo>
                    <a:pt x="438" y="402"/>
                  </a:lnTo>
                  <a:lnTo>
                    <a:pt x="426" y="378"/>
                  </a:lnTo>
                  <a:lnTo>
                    <a:pt x="426" y="354"/>
                  </a:lnTo>
                  <a:lnTo>
                    <a:pt x="420" y="354"/>
                  </a:lnTo>
                  <a:lnTo>
                    <a:pt x="414" y="348"/>
                  </a:lnTo>
                  <a:lnTo>
                    <a:pt x="402" y="342"/>
                  </a:lnTo>
                  <a:lnTo>
                    <a:pt x="390" y="342"/>
                  </a:lnTo>
                  <a:lnTo>
                    <a:pt x="384" y="336"/>
                  </a:lnTo>
                  <a:lnTo>
                    <a:pt x="384" y="306"/>
                  </a:lnTo>
                  <a:lnTo>
                    <a:pt x="372" y="306"/>
                  </a:lnTo>
                  <a:lnTo>
                    <a:pt x="366" y="300"/>
                  </a:lnTo>
                  <a:lnTo>
                    <a:pt x="354" y="294"/>
                  </a:lnTo>
                  <a:lnTo>
                    <a:pt x="342" y="282"/>
                  </a:lnTo>
                  <a:lnTo>
                    <a:pt x="306" y="264"/>
                  </a:lnTo>
                  <a:lnTo>
                    <a:pt x="300" y="258"/>
                  </a:lnTo>
                  <a:lnTo>
                    <a:pt x="288" y="252"/>
                  </a:lnTo>
                  <a:lnTo>
                    <a:pt x="288" y="234"/>
                  </a:lnTo>
                  <a:lnTo>
                    <a:pt x="282" y="228"/>
                  </a:lnTo>
                  <a:lnTo>
                    <a:pt x="306" y="228"/>
                  </a:lnTo>
                  <a:lnTo>
                    <a:pt x="312" y="234"/>
                  </a:lnTo>
                  <a:lnTo>
                    <a:pt x="330" y="234"/>
                  </a:lnTo>
                  <a:lnTo>
                    <a:pt x="336" y="228"/>
                  </a:lnTo>
                  <a:lnTo>
                    <a:pt x="342" y="216"/>
                  </a:lnTo>
                  <a:lnTo>
                    <a:pt x="354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48" y="180"/>
                  </a:lnTo>
                  <a:lnTo>
                    <a:pt x="330" y="174"/>
                  </a:lnTo>
                  <a:lnTo>
                    <a:pt x="306" y="162"/>
                  </a:lnTo>
                  <a:lnTo>
                    <a:pt x="306" y="156"/>
                  </a:lnTo>
                  <a:lnTo>
                    <a:pt x="312" y="150"/>
                  </a:lnTo>
                  <a:lnTo>
                    <a:pt x="318" y="150"/>
                  </a:lnTo>
                  <a:lnTo>
                    <a:pt x="294" y="126"/>
                  </a:lnTo>
                  <a:lnTo>
                    <a:pt x="282" y="120"/>
                  </a:lnTo>
                  <a:lnTo>
                    <a:pt x="270" y="120"/>
                  </a:lnTo>
                  <a:lnTo>
                    <a:pt x="264" y="132"/>
                  </a:lnTo>
                  <a:lnTo>
                    <a:pt x="264" y="138"/>
                  </a:lnTo>
                  <a:lnTo>
                    <a:pt x="258" y="150"/>
                  </a:lnTo>
                  <a:lnTo>
                    <a:pt x="252" y="156"/>
                  </a:lnTo>
                  <a:lnTo>
                    <a:pt x="240" y="144"/>
                  </a:lnTo>
                  <a:lnTo>
                    <a:pt x="240" y="138"/>
                  </a:lnTo>
                  <a:lnTo>
                    <a:pt x="222" y="138"/>
                  </a:lnTo>
                  <a:lnTo>
                    <a:pt x="216" y="126"/>
                  </a:lnTo>
                  <a:lnTo>
                    <a:pt x="198" y="108"/>
                  </a:lnTo>
                  <a:lnTo>
                    <a:pt x="186" y="84"/>
                  </a:lnTo>
                  <a:lnTo>
                    <a:pt x="186" y="54"/>
                  </a:lnTo>
                  <a:lnTo>
                    <a:pt x="180" y="54"/>
                  </a:lnTo>
                  <a:lnTo>
                    <a:pt x="174" y="60"/>
                  </a:lnTo>
                  <a:lnTo>
                    <a:pt x="168" y="48"/>
                  </a:lnTo>
                  <a:lnTo>
                    <a:pt x="156" y="42"/>
                  </a:lnTo>
                  <a:lnTo>
                    <a:pt x="150" y="30"/>
                  </a:lnTo>
                  <a:lnTo>
                    <a:pt x="144" y="24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96" y="0"/>
                  </a:lnTo>
                  <a:lnTo>
                    <a:pt x="90" y="6"/>
                  </a:lnTo>
                  <a:lnTo>
                    <a:pt x="90" y="48"/>
                  </a:lnTo>
                  <a:lnTo>
                    <a:pt x="114" y="72"/>
                  </a:lnTo>
                  <a:lnTo>
                    <a:pt x="114" y="108"/>
                  </a:lnTo>
                  <a:lnTo>
                    <a:pt x="72" y="108"/>
                  </a:lnTo>
                  <a:lnTo>
                    <a:pt x="72" y="84"/>
                  </a:lnTo>
                  <a:lnTo>
                    <a:pt x="36" y="102"/>
                  </a:lnTo>
                  <a:lnTo>
                    <a:pt x="36" y="114"/>
                  </a:lnTo>
                  <a:lnTo>
                    <a:pt x="30" y="126"/>
                  </a:lnTo>
                  <a:lnTo>
                    <a:pt x="36" y="132"/>
                  </a:lnTo>
                  <a:lnTo>
                    <a:pt x="30" y="138"/>
                  </a:lnTo>
                  <a:lnTo>
                    <a:pt x="18" y="138"/>
                  </a:lnTo>
                  <a:lnTo>
                    <a:pt x="0" y="156"/>
                  </a:lnTo>
                  <a:lnTo>
                    <a:pt x="0" y="168"/>
                  </a:lnTo>
                  <a:lnTo>
                    <a:pt x="6" y="168"/>
                  </a:lnTo>
                  <a:lnTo>
                    <a:pt x="12" y="174"/>
                  </a:lnTo>
                  <a:lnTo>
                    <a:pt x="24" y="18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106" name="Kyrgyzstan" descr="© INSCALE GmbH, 05.05.2010&#10;http://www.presentationload.com/"/>
            <p:cNvSpPr>
              <a:spLocks/>
            </p:cNvSpPr>
            <p:nvPr/>
          </p:nvSpPr>
          <p:spPr bwMode="gray">
            <a:xfrm>
              <a:off x="5960594" y="3224756"/>
              <a:ext cx="218853" cy="96758"/>
            </a:xfrm>
            <a:custGeom>
              <a:avLst/>
              <a:gdLst>
                <a:gd name="T0" fmla="*/ 2147483647 w 672"/>
                <a:gd name="T1" fmla="*/ 2147483647 h 312"/>
                <a:gd name="T2" fmla="*/ 2147483647 w 672"/>
                <a:gd name="T3" fmla="*/ 2147483647 h 312"/>
                <a:gd name="T4" fmla="*/ 2147483647 w 672"/>
                <a:gd name="T5" fmla="*/ 2147483647 h 312"/>
                <a:gd name="T6" fmla="*/ 2147483647 w 672"/>
                <a:gd name="T7" fmla="*/ 2147483647 h 312"/>
                <a:gd name="T8" fmla="*/ 2147483647 w 672"/>
                <a:gd name="T9" fmla="*/ 2147483647 h 312"/>
                <a:gd name="T10" fmla="*/ 2147483647 w 672"/>
                <a:gd name="T11" fmla="*/ 2147483647 h 312"/>
                <a:gd name="T12" fmla="*/ 2147483647 w 672"/>
                <a:gd name="T13" fmla="*/ 2147483647 h 312"/>
                <a:gd name="T14" fmla="*/ 2147483647 w 672"/>
                <a:gd name="T15" fmla="*/ 2147483647 h 312"/>
                <a:gd name="T16" fmla="*/ 2147483647 w 672"/>
                <a:gd name="T17" fmla="*/ 2147483647 h 312"/>
                <a:gd name="T18" fmla="*/ 2147483647 w 672"/>
                <a:gd name="T19" fmla="*/ 2147483647 h 312"/>
                <a:gd name="T20" fmla="*/ 2147483647 w 672"/>
                <a:gd name="T21" fmla="*/ 2147483647 h 312"/>
                <a:gd name="T22" fmla="*/ 2147483647 w 672"/>
                <a:gd name="T23" fmla="*/ 2147483647 h 312"/>
                <a:gd name="T24" fmla="*/ 0 w 672"/>
                <a:gd name="T25" fmla="*/ 2147483647 h 312"/>
                <a:gd name="T26" fmla="*/ 2147483647 w 672"/>
                <a:gd name="T27" fmla="*/ 2147483647 h 312"/>
                <a:gd name="T28" fmla="*/ 2147483647 w 672"/>
                <a:gd name="T29" fmla="*/ 2147483647 h 312"/>
                <a:gd name="T30" fmla="*/ 2147483647 w 672"/>
                <a:gd name="T31" fmla="*/ 2147483647 h 312"/>
                <a:gd name="T32" fmla="*/ 2147483647 w 672"/>
                <a:gd name="T33" fmla="*/ 2147483647 h 312"/>
                <a:gd name="T34" fmla="*/ 2147483647 w 672"/>
                <a:gd name="T35" fmla="*/ 2147483647 h 312"/>
                <a:gd name="T36" fmla="*/ 2147483647 w 672"/>
                <a:gd name="T37" fmla="*/ 2147483647 h 312"/>
                <a:gd name="T38" fmla="*/ 2147483647 w 672"/>
                <a:gd name="T39" fmla="*/ 2147483647 h 312"/>
                <a:gd name="T40" fmla="*/ 2147483647 w 672"/>
                <a:gd name="T41" fmla="*/ 2147483647 h 312"/>
                <a:gd name="T42" fmla="*/ 2147483647 w 672"/>
                <a:gd name="T43" fmla="*/ 2147483647 h 312"/>
                <a:gd name="T44" fmla="*/ 2147483647 w 672"/>
                <a:gd name="T45" fmla="*/ 2147483647 h 312"/>
                <a:gd name="T46" fmla="*/ 2147483647 w 672"/>
                <a:gd name="T47" fmla="*/ 2147483647 h 312"/>
                <a:gd name="T48" fmla="*/ 2147483647 w 672"/>
                <a:gd name="T49" fmla="*/ 2147483647 h 312"/>
                <a:gd name="T50" fmla="*/ 2147483647 w 672"/>
                <a:gd name="T51" fmla="*/ 2147483647 h 312"/>
                <a:gd name="T52" fmla="*/ 2147483647 w 672"/>
                <a:gd name="T53" fmla="*/ 2147483647 h 312"/>
                <a:gd name="T54" fmla="*/ 2147483647 w 672"/>
                <a:gd name="T55" fmla="*/ 2147483647 h 312"/>
                <a:gd name="T56" fmla="*/ 2147483647 w 672"/>
                <a:gd name="T57" fmla="*/ 2147483647 h 312"/>
                <a:gd name="T58" fmla="*/ 2147483647 w 672"/>
                <a:gd name="T59" fmla="*/ 2147483647 h 312"/>
                <a:gd name="T60" fmla="*/ 2147483647 w 672"/>
                <a:gd name="T61" fmla="*/ 2147483647 h 312"/>
                <a:gd name="T62" fmla="*/ 2147483647 w 672"/>
                <a:gd name="T63" fmla="*/ 2147483647 h 312"/>
                <a:gd name="T64" fmla="*/ 2147483647 w 672"/>
                <a:gd name="T65" fmla="*/ 2147483647 h 312"/>
                <a:gd name="T66" fmla="*/ 2147483647 w 672"/>
                <a:gd name="T67" fmla="*/ 2147483647 h 312"/>
                <a:gd name="T68" fmla="*/ 2147483647 w 672"/>
                <a:gd name="T69" fmla="*/ 2147483647 h 312"/>
                <a:gd name="T70" fmla="*/ 2147483647 w 672"/>
                <a:gd name="T71" fmla="*/ 2147483647 h 312"/>
                <a:gd name="T72" fmla="*/ 2147483647 w 672"/>
                <a:gd name="T73" fmla="*/ 2147483647 h 312"/>
                <a:gd name="T74" fmla="*/ 2147483647 w 672"/>
                <a:gd name="T75" fmla="*/ 2147483647 h 312"/>
                <a:gd name="T76" fmla="*/ 2147483647 w 672"/>
                <a:gd name="T77" fmla="*/ 0 h 312"/>
                <a:gd name="T78" fmla="*/ 2147483647 w 672"/>
                <a:gd name="T79" fmla="*/ 2147483647 h 312"/>
                <a:gd name="T80" fmla="*/ 2147483647 w 672"/>
                <a:gd name="T81" fmla="*/ 2147483647 h 312"/>
                <a:gd name="T82" fmla="*/ 2147483647 w 672"/>
                <a:gd name="T83" fmla="*/ 2147483647 h 312"/>
                <a:gd name="T84" fmla="*/ 2147483647 w 672"/>
                <a:gd name="T85" fmla="*/ 2147483647 h 312"/>
                <a:gd name="T86" fmla="*/ 2147483647 w 672"/>
                <a:gd name="T87" fmla="*/ 2147483647 h 312"/>
                <a:gd name="T88" fmla="*/ 2147483647 w 672"/>
                <a:gd name="T89" fmla="*/ 2147483647 h 312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672"/>
                <a:gd name="T136" fmla="*/ 0 h 312"/>
                <a:gd name="T137" fmla="*/ 672 w 672"/>
                <a:gd name="T138" fmla="*/ 312 h 312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672" h="312">
                  <a:moveTo>
                    <a:pt x="36" y="132"/>
                  </a:moveTo>
                  <a:lnTo>
                    <a:pt x="66" y="144"/>
                  </a:lnTo>
                  <a:lnTo>
                    <a:pt x="78" y="156"/>
                  </a:lnTo>
                  <a:lnTo>
                    <a:pt x="114" y="156"/>
                  </a:lnTo>
                  <a:lnTo>
                    <a:pt x="114" y="144"/>
                  </a:lnTo>
                  <a:lnTo>
                    <a:pt x="126" y="144"/>
                  </a:lnTo>
                  <a:lnTo>
                    <a:pt x="126" y="132"/>
                  </a:lnTo>
                  <a:lnTo>
                    <a:pt x="144" y="156"/>
                  </a:lnTo>
                  <a:lnTo>
                    <a:pt x="162" y="156"/>
                  </a:lnTo>
                  <a:lnTo>
                    <a:pt x="168" y="174"/>
                  </a:lnTo>
                  <a:lnTo>
                    <a:pt x="192" y="174"/>
                  </a:lnTo>
                  <a:lnTo>
                    <a:pt x="198" y="186"/>
                  </a:lnTo>
                  <a:lnTo>
                    <a:pt x="204" y="186"/>
                  </a:lnTo>
                  <a:lnTo>
                    <a:pt x="216" y="180"/>
                  </a:lnTo>
                  <a:lnTo>
                    <a:pt x="228" y="180"/>
                  </a:lnTo>
                  <a:lnTo>
                    <a:pt x="228" y="192"/>
                  </a:lnTo>
                  <a:lnTo>
                    <a:pt x="216" y="204"/>
                  </a:lnTo>
                  <a:lnTo>
                    <a:pt x="204" y="210"/>
                  </a:lnTo>
                  <a:lnTo>
                    <a:pt x="192" y="210"/>
                  </a:lnTo>
                  <a:lnTo>
                    <a:pt x="192" y="216"/>
                  </a:lnTo>
                  <a:lnTo>
                    <a:pt x="174" y="222"/>
                  </a:lnTo>
                  <a:lnTo>
                    <a:pt x="156" y="240"/>
                  </a:lnTo>
                  <a:lnTo>
                    <a:pt x="150" y="240"/>
                  </a:lnTo>
                  <a:lnTo>
                    <a:pt x="144" y="234"/>
                  </a:lnTo>
                  <a:lnTo>
                    <a:pt x="138" y="234"/>
                  </a:lnTo>
                  <a:lnTo>
                    <a:pt x="132" y="228"/>
                  </a:lnTo>
                  <a:lnTo>
                    <a:pt x="114" y="228"/>
                  </a:lnTo>
                  <a:lnTo>
                    <a:pt x="102" y="234"/>
                  </a:lnTo>
                  <a:lnTo>
                    <a:pt x="96" y="234"/>
                  </a:lnTo>
                  <a:lnTo>
                    <a:pt x="96" y="246"/>
                  </a:lnTo>
                  <a:lnTo>
                    <a:pt x="90" y="252"/>
                  </a:lnTo>
                  <a:lnTo>
                    <a:pt x="84" y="252"/>
                  </a:lnTo>
                  <a:lnTo>
                    <a:pt x="72" y="246"/>
                  </a:lnTo>
                  <a:lnTo>
                    <a:pt x="36" y="234"/>
                  </a:lnTo>
                  <a:lnTo>
                    <a:pt x="24" y="234"/>
                  </a:lnTo>
                  <a:lnTo>
                    <a:pt x="18" y="240"/>
                  </a:lnTo>
                  <a:lnTo>
                    <a:pt x="18" y="252"/>
                  </a:lnTo>
                  <a:lnTo>
                    <a:pt x="12" y="258"/>
                  </a:lnTo>
                  <a:lnTo>
                    <a:pt x="0" y="264"/>
                  </a:lnTo>
                  <a:lnTo>
                    <a:pt x="0" y="276"/>
                  </a:lnTo>
                  <a:lnTo>
                    <a:pt x="6" y="282"/>
                  </a:lnTo>
                  <a:lnTo>
                    <a:pt x="6" y="288"/>
                  </a:lnTo>
                  <a:lnTo>
                    <a:pt x="12" y="294"/>
                  </a:lnTo>
                  <a:lnTo>
                    <a:pt x="24" y="288"/>
                  </a:lnTo>
                  <a:lnTo>
                    <a:pt x="36" y="288"/>
                  </a:lnTo>
                  <a:lnTo>
                    <a:pt x="42" y="282"/>
                  </a:lnTo>
                  <a:lnTo>
                    <a:pt x="60" y="282"/>
                  </a:lnTo>
                  <a:lnTo>
                    <a:pt x="72" y="288"/>
                  </a:lnTo>
                  <a:lnTo>
                    <a:pt x="96" y="288"/>
                  </a:lnTo>
                  <a:lnTo>
                    <a:pt x="108" y="300"/>
                  </a:lnTo>
                  <a:lnTo>
                    <a:pt x="126" y="300"/>
                  </a:lnTo>
                  <a:lnTo>
                    <a:pt x="132" y="294"/>
                  </a:lnTo>
                  <a:lnTo>
                    <a:pt x="144" y="288"/>
                  </a:lnTo>
                  <a:lnTo>
                    <a:pt x="150" y="282"/>
                  </a:lnTo>
                  <a:lnTo>
                    <a:pt x="180" y="312"/>
                  </a:lnTo>
                  <a:lnTo>
                    <a:pt x="192" y="306"/>
                  </a:lnTo>
                  <a:lnTo>
                    <a:pt x="198" y="306"/>
                  </a:lnTo>
                  <a:lnTo>
                    <a:pt x="198" y="312"/>
                  </a:lnTo>
                  <a:lnTo>
                    <a:pt x="210" y="312"/>
                  </a:lnTo>
                  <a:lnTo>
                    <a:pt x="222" y="306"/>
                  </a:lnTo>
                  <a:lnTo>
                    <a:pt x="228" y="300"/>
                  </a:lnTo>
                  <a:lnTo>
                    <a:pt x="270" y="300"/>
                  </a:lnTo>
                  <a:lnTo>
                    <a:pt x="282" y="288"/>
                  </a:lnTo>
                  <a:lnTo>
                    <a:pt x="300" y="294"/>
                  </a:lnTo>
                  <a:lnTo>
                    <a:pt x="318" y="294"/>
                  </a:lnTo>
                  <a:lnTo>
                    <a:pt x="318" y="282"/>
                  </a:lnTo>
                  <a:lnTo>
                    <a:pt x="312" y="270"/>
                  </a:lnTo>
                  <a:lnTo>
                    <a:pt x="300" y="264"/>
                  </a:lnTo>
                  <a:lnTo>
                    <a:pt x="300" y="258"/>
                  </a:lnTo>
                  <a:lnTo>
                    <a:pt x="306" y="252"/>
                  </a:lnTo>
                  <a:lnTo>
                    <a:pt x="318" y="246"/>
                  </a:lnTo>
                  <a:lnTo>
                    <a:pt x="330" y="246"/>
                  </a:lnTo>
                  <a:lnTo>
                    <a:pt x="336" y="240"/>
                  </a:lnTo>
                  <a:lnTo>
                    <a:pt x="348" y="234"/>
                  </a:lnTo>
                  <a:lnTo>
                    <a:pt x="348" y="216"/>
                  </a:lnTo>
                  <a:lnTo>
                    <a:pt x="372" y="216"/>
                  </a:lnTo>
                  <a:lnTo>
                    <a:pt x="384" y="204"/>
                  </a:lnTo>
                  <a:lnTo>
                    <a:pt x="396" y="204"/>
                  </a:lnTo>
                  <a:lnTo>
                    <a:pt x="402" y="210"/>
                  </a:lnTo>
                  <a:lnTo>
                    <a:pt x="408" y="222"/>
                  </a:lnTo>
                  <a:lnTo>
                    <a:pt x="414" y="228"/>
                  </a:lnTo>
                  <a:lnTo>
                    <a:pt x="426" y="222"/>
                  </a:lnTo>
                  <a:lnTo>
                    <a:pt x="456" y="228"/>
                  </a:lnTo>
                  <a:lnTo>
                    <a:pt x="462" y="222"/>
                  </a:lnTo>
                  <a:lnTo>
                    <a:pt x="462" y="198"/>
                  </a:lnTo>
                  <a:lnTo>
                    <a:pt x="468" y="186"/>
                  </a:lnTo>
                  <a:lnTo>
                    <a:pt x="486" y="168"/>
                  </a:lnTo>
                  <a:lnTo>
                    <a:pt x="516" y="168"/>
                  </a:lnTo>
                  <a:lnTo>
                    <a:pt x="534" y="174"/>
                  </a:lnTo>
                  <a:lnTo>
                    <a:pt x="552" y="174"/>
                  </a:lnTo>
                  <a:lnTo>
                    <a:pt x="558" y="168"/>
                  </a:lnTo>
                  <a:lnTo>
                    <a:pt x="564" y="156"/>
                  </a:lnTo>
                  <a:lnTo>
                    <a:pt x="564" y="138"/>
                  </a:lnTo>
                  <a:lnTo>
                    <a:pt x="570" y="132"/>
                  </a:lnTo>
                  <a:lnTo>
                    <a:pt x="582" y="126"/>
                  </a:lnTo>
                  <a:lnTo>
                    <a:pt x="594" y="114"/>
                  </a:lnTo>
                  <a:lnTo>
                    <a:pt x="642" y="96"/>
                  </a:lnTo>
                  <a:lnTo>
                    <a:pt x="666" y="96"/>
                  </a:lnTo>
                  <a:lnTo>
                    <a:pt x="672" y="90"/>
                  </a:lnTo>
                  <a:lnTo>
                    <a:pt x="672" y="78"/>
                  </a:lnTo>
                  <a:lnTo>
                    <a:pt x="660" y="66"/>
                  </a:lnTo>
                  <a:lnTo>
                    <a:pt x="642" y="60"/>
                  </a:lnTo>
                  <a:lnTo>
                    <a:pt x="600" y="60"/>
                  </a:lnTo>
                  <a:lnTo>
                    <a:pt x="576" y="30"/>
                  </a:lnTo>
                  <a:lnTo>
                    <a:pt x="558" y="30"/>
                  </a:lnTo>
                  <a:lnTo>
                    <a:pt x="546" y="18"/>
                  </a:lnTo>
                  <a:lnTo>
                    <a:pt x="498" y="24"/>
                  </a:lnTo>
                  <a:lnTo>
                    <a:pt x="486" y="24"/>
                  </a:lnTo>
                  <a:lnTo>
                    <a:pt x="474" y="18"/>
                  </a:lnTo>
                  <a:lnTo>
                    <a:pt x="354" y="18"/>
                  </a:lnTo>
                  <a:lnTo>
                    <a:pt x="336" y="24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282" y="18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22" y="0"/>
                  </a:lnTo>
                  <a:lnTo>
                    <a:pt x="216" y="6"/>
                  </a:lnTo>
                  <a:lnTo>
                    <a:pt x="216" y="36"/>
                  </a:lnTo>
                  <a:lnTo>
                    <a:pt x="222" y="48"/>
                  </a:lnTo>
                  <a:lnTo>
                    <a:pt x="222" y="60"/>
                  </a:lnTo>
                  <a:lnTo>
                    <a:pt x="204" y="54"/>
                  </a:lnTo>
                  <a:lnTo>
                    <a:pt x="174" y="54"/>
                  </a:lnTo>
                  <a:lnTo>
                    <a:pt x="138" y="36"/>
                  </a:lnTo>
                  <a:lnTo>
                    <a:pt x="120" y="30"/>
                  </a:lnTo>
                  <a:lnTo>
                    <a:pt x="108" y="24"/>
                  </a:lnTo>
                  <a:lnTo>
                    <a:pt x="78" y="24"/>
                  </a:lnTo>
                  <a:lnTo>
                    <a:pt x="60" y="42"/>
                  </a:lnTo>
                  <a:lnTo>
                    <a:pt x="54" y="54"/>
                  </a:lnTo>
                  <a:lnTo>
                    <a:pt x="54" y="72"/>
                  </a:lnTo>
                  <a:lnTo>
                    <a:pt x="72" y="72"/>
                  </a:lnTo>
                  <a:lnTo>
                    <a:pt x="78" y="78"/>
                  </a:lnTo>
                  <a:lnTo>
                    <a:pt x="84" y="78"/>
                  </a:lnTo>
                  <a:lnTo>
                    <a:pt x="84" y="84"/>
                  </a:lnTo>
                  <a:lnTo>
                    <a:pt x="36" y="13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107" name="Kuwait" descr="© INSCALE GmbH, 05.05.2010&#10;http://www.presentationload.com/"/>
            <p:cNvSpPr>
              <a:spLocks/>
            </p:cNvSpPr>
            <p:nvPr/>
          </p:nvSpPr>
          <p:spPr bwMode="gray">
            <a:xfrm>
              <a:off x="5511370" y="3552999"/>
              <a:ext cx="44795" cy="36744"/>
            </a:xfrm>
            <a:custGeom>
              <a:avLst/>
              <a:gdLst>
                <a:gd name="T0" fmla="*/ 2147483647 w 138"/>
                <a:gd name="T1" fmla="*/ 0 h 120"/>
                <a:gd name="T2" fmla="*/ 2147483647 w 138"/>
                <a:gd name="T3" fmla="*/ 0 h 120"/>
                <a:gd name="T4" fmla="*/ 2147483647 w 138"/>
                <a:gd name="T5" fmla="*/ 2147483647 h 120"/>
                <a:gd name="T6" fmla="*/ 2147483647 w 138"/>
                <a:gd name="T7" fmla="*/ 2147483647 h 120"/>
                <a:gd name="T8" fmla="*/ 2147483647 w 138"/>
                <a:gd name="T9" fmla="*/ 2147483647 h 120"/>
                <a:gd name="T10" fmla="*/ 2147483647 w 138"/>
                <a:gd name="T11" fmla="*/ 2147483647 h 120"/>
                <a:gd name="T12" fmla="*/ 0 w 138"/>
                <a:gd name="T13" fmla="*/ 2147483647 h 120"/>
                <a:gd name="T14" fmla="*/ 2147483647 w 138"/>
                <a:gd name="T15" fmla="*/ 2147483647 h 120"/>
                <a:gd name="T16" fmla="*/ 2147483647 w 138"/>
                <a:gd name="T17" fmla="*/ 2147483647 h 120"/>
                <a:gd name="T18" fmla="*/ 2147483647 w 138"/>
                <a:gd name="T19" fmla="*/ 2147483647 h 120"/>
                <a:gd name="T20" fmla="*/ 2147483647 w 138"/>
                <a:gd name="T21" fmla="*/ 2147483647 h 120"/>
                <a:gd name="T22" fmla="*/ 2147483647 w 138"/>
                <a:gd name="T23" fmla="*/ 2147483647 h 120"/>
                <a:gd name="T24" fmla="*/ 2147483647 w 138"/>
                <a:gd name="T25" fmla="*/ 2147483647 h 120"/>
                <a:gd name="T26" fmla="*/ 2147483647 w 138"/>
                <a:gd name="T27" fmla="*/ 2147483647 h 120"/>
                <a:gd name="T28" fmla="*/ 2147483647 w 138"/>
                <a:gd name="T29" fmla="*/ 2147483647 h 120"/>
                <a:gd name="T30" fmla="*/ 2147483647 w 138"/>
                <a:gd name="T31" fmla="*/ 2147483647 h 120"/>
                <a:gd name="T32" fmla="*/ 2147483647 w 138"/>
                <a:gd name="T33" fmla="*/ 2147483647 h 120"/>
                <a:gd name="T34" fmla="*/ 2147483647 w 138"/>
                <a:gd name="T35" fmla="*/ 2147483647 h 120"/>
                <a:gd name="T36" fmla="*/ 2147483647 w 138"/>
                <a:gd name="T37" fmla="*/ 2147483647 h 120"/>
                <a:gd name="T38" fmla="*/ 2147483647 w 138"/>
                <a:gd name="T39" fmla="*/ 2147483647 h 120"/>
                <a:gd name="T40" fmla="*/ 2147483647 w 138"/>
                <a:gd name="T41" fmla="*/ 2147483647 h 120"/>
                <a:gd name="T42" fmla="*/ 2147483647 w 138"/>
                <a:gd name="T43" fmla="*/ 2147483647 h 120"/>
                <a:gd name="T44" fmla="*/ 2147483647 w 138"/>
                <a:gd name="T45" fmla="*/ 2147483647 h 120"/>
                <a:gd name="T46" fmla="*/ 2147483647 w 138"/>
                <a:gd name="T47" fmla="*/ 2147483647 h 120"/>
                <a:gd name="T48" fmla="*/ 2147483647 w 138"/>
                <a:gd name="T49" fmla="*/ 0 h 120"/>
                <a:gd name="T50" fmla="*/ 2147483647 w 138"/>
                <a:gd name="T51" fmla="*/ 0 h 12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38"/>
                <a:gd name="T79" fmla="*/ 0 h 120"/>
                <a:gd name="T80" fmla="*/ 138 w 138"/>
                <a:gd name="T81" fmla="*/ 120 h 12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38" h="120">
                  <a:moveTo>
                    <a:pt x="54" y="0"/>
                  </a:moveTo>
                  <a:lnTo>
                    <a:pt x="36" y="0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6" y="66"/>
                  </a:lnTo>
                  <a:lnTo>
                    <a:pt x="0" y="72"/>
                  </a:lnTo>
                  <a:lnTo>
                    <a:pt x="42" y="72"/>
                  </a:lnTo>
                  <a:lnTo>
                    <a:pt x="60" y="78"/>
                  </a:lnTo>
                  <a:lnTo>
                    <a:pt x="66" y="78"/>
                  </a:lnTo>
                  <a:lnTo>
                    <a:pt x="66" y="114"/>
                  </a:lnTo>
                  <a:lnTo>
                    <a:pt x="72" y="120"/>
                  </a:lnTo>
                  <a:lnTo>
                    <a:pt x="138" y="120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78"/>
                  </a:lnTo>
                  <a:lnTo>
                    <a:pt x="102" y="66"/>
                  </a:lnTo>
                  <a:lnTo>
                    <a:pt x="90" y="60"/>
                  </a:lnTo>
                  <a:lnTo>
                    <a:pt x="84" y="36"/>
                  </a:lnTo>
                  <a:lnTo>
                    <a:pt x="120" y="36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90" y="12"/>
                  </a:lnTo>
                  <a:lnTo>
                    <a:pt x="90" y="18"/>
                  </a:lnTo>
                  <a:lnTo>
                    <a:pt x="84" y="0"/>
                  </a:lnTo>
                  <a:lnTo>
                    <a:pt x="54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108" name="Korea, South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7205879" y="3339886"/>
              <a:ext cx="88309" cy="132277"/>
            </a:xfrm>
            <a:custGeom>
              <a:avLst/>
              <a:gdLst>
                <a:gd name="T0" fmla="*/ 2147483647 w 276"/>
                <a:gd name="T1" fmla="*/ 2147483647 h 426"/>
                <a:gd name="T2" fmla="*/ 2147483647 w 276"/>
                <a:gd name="T3" fmla="*/ 2147483647 h 426"/>
                <a:gd name="T4" fmla="*/ 2147483647 w 276"/>
                <a:gd name="T5" fmla="*/ 2147483647 h 426"/>
                <a:gd name="T6" fmla="*/ 2147483647 w 276"/>
                <a:gd name="T7" fmla="*/ 2147483647 h 426"/>
                <a:gd name="T8" fmla="*/ 2147483647 w 276"/>
                <a:gd name="T9" fmla="*/ 2147483647 h 426"/>
                <a:gd name="T10" fmla="*/ 2147483647 w 276"/>
                <a:gd name="T11" fmla="*/ 2147483647 h 426"/>
                <a:gd name="T12" fmla="*/ 2147483647 w 276"/>
                <a:gd name="T13" fmla="*/ 2147483647 h 426"/>
                <a:gd name="T14" fmla="*/ 2147483647 w 276"/>
                <a:gd name="T15" fmla="*/ 2147483647 h 426"/>
                <a:gd name="T16" fmla="*/ 2147483647 w 276"/>
                <a:gd name="T17" fmla="*/ 2147483647 h 426"/>
                <a:gd name="T18" fmla="*/ 2147483647 w 276"/>
                <a:gd name="T19" fmla="*/ 2147483647 h 426"/>
                <a:gd name="T20" fmla="*/ 2147483647 w 276"/>
                <a:gd name="T21" fmla="*/ 2147483647 h 426"/>
                <a:gd name="T22" fmla="*/ 2147483647 w 276"/>
                <a:gd name="T23" fmla="*/ 2147483647 h 426"/>
                <a:gd name="T24" fmla="*/ 2147483647 w 276"/>
                <a:gd name="T25" fmla="*/ 0 h 426"/>
                <a:gd name="T26" fmla="*/ 2147483647 w 276"/>
                <a:gd name="T27" fmla="*/ 2147483647 h 426"/>
                <a:gd name="T28" fmla="*/ 2147483647 w 276"/>
                <a:gd name="T29" fmla="*/ 2147483647 h 426"/>
                <a:gd name="T30" fmla="*/ 2147483647 w 276"/>
                <a:gd name="T31" fmla="*/ 2147483647 h 426"/>
                <a:gd name="T32" fmla="*/ 2147483647 w 276"/>
                <a:gd name="T33" fmla="*/ 2147483647 h 426"/>
                <a:gd name="T34" fmla="*/ 0 w 276"/>
                <a:gd name="T35" fmla="*/ 2147483647 h 426"/>
                <a:gd name="T36" fmla="*/ 2147483647 w 276"/>
                <a:gd name="T37" fmla="*/ 2147483647 h 426"/>
                <a:gd name="T38" fmla="*/ 2147483647 w 276"/>
                <a:gd name="T39" fmla="*/ 2147483647 h 426"/>
                <a:gd name="T40" fmla="*/ 2147483647 w 276"/>
                <a:gd name="T41" fmla="*/ 2147483647 h 426"/>
                <a:gd name="T42" fmla="*/ 2147483647 w 276"/>
                <a:gd name="T43" fmla="*/ 2147483647 h 426"/>
                <a:gd name="T44" fmla="*/ 2147483647 w 276"/>
                <a:gd name="T45" fmla="*/ 2147483647 h 426"/>
                <a:gd name="T46" fmla="*/ 2147483647 w 276"/>
                <a:gd name="T47" fmla="*/ 2147483647 h 426"/>
                <a:gd name="T48" fmla="*/ 2147483647 w 276"/>
                <a:gd name="T49" fmla="*/ 2147483647 h 426"/>
                <a:gd name="T50" fmla="*/ 2147483647 w 276"/>
                <a:gd name="T51" fmla="*/ 2147483647 h 426"/>
                <a:gd name="T52" fmla="*/ 2147483647 w 276"/>
                <a:gd name="T53" fmla="*/ 2147483647 h 426"/>
                <a:gd name="T54" fmla="*/ 2147483647 w 276"/>
                <a:gd name="T55" fmla="*/ 2147483647 h 426"/>
                <a:gd name="T56" fmla="*/ 2147483647 w 276"/>
                <a:gd name="T57" fmla="*/ 2147483647 h 426"/>
                <a:gd name="T58" fmla="*/ 2147483647 w 276"/>
                <a:gd name="T59" fmla="*/ 2147483647 h 426"/>
                <a:gd name="T60" fmla="*/ 2147483647 w 276"/>
                <a:gd name="T61" fmla="*/ 2147483647 h 426"/>
                <a:gd name="T62" fmla="*/ 2147483647 w 276"/>
                <a:gd name="T63" fmla="*/ 2147483647 h 426"/>
                <a:gd name="T64" fmla="*/ 2147483647 w 276"/>
                <a:gd name="T65" fmla="*/ 2147483647 h 426"/>
                <a:gd name="T66" fmla="*/ 2147483647 w 276"/>
                <a:gd name="T67" fmla="*/ 2147483647 h 426"/>
                <a:gd name="T68" fmla="*/ 2147483647 w 276"/>
                <a:gd name="T69" fmla="*/ 2147483647 h 426"/>
                <a:gd name="T70" fmla="*/ 2147483647 w 276"/>
                <a:gd name="T71" fmla="*/ 2147483647 h 426"/>
                <a:gd name="T72" fmla="*/ 2147483647 w 276"/>
                <a:gd name="T73" fmla="*/ 2147483647 h 426"/>
                <a:gd name="T74" fmla="*/ 2147483647 w 276"/>
                <a:gd name="T75" fmla="*/ 2147483647 h 42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76"/>
                <a:gd name="T115" fmla="*/ 0 h 426"/>
                <a:gd name="T116" fmla="*/ 276 w 276"/>
                <a:gd name="T117" fmla="*/ 426 h 42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76" h="426">
                  <a:moveTo>
                    <a:pt x="150" y="402"/>
                  </a:moveTo>
                  <a:lnTo>
                    <a:pt x="132" y="408"/>
                  </a:lnTo>
                  <a:lnTo>
                    <a:pt x="126" y="414"/>
                  </a:lnTo>
                  <a:lnTo>
                    <a:pt x="138" y="426"/>
                  </a:lnTo>
                  <a:lnTo>
                    <a:pt x="162" y="426"/>
                  </a:lnTo>
                  <a:lnTo>
                    <a:pt x="174" y="414"/>
                  </a:lnTo>
                  <a:lnTo>
                    <a:pt x="174" y="408"/>
                  </a:lnTo>
                  <a:lnTo>
                    <a:pt x="168" y="402"/>
                  </a:lnTo>
                  <a:lnTo>
                    <a:pt x="150" y="402"/>
                  </a:lnTo>
                  <a:close/>
                  <a:moveTo>
                    <a:pt x="276" y="246"/>
                  </a:moveTo>
                  <a:lnTo>
                    <a:pt x="270" y="228"/>
                  </a:lnTo>
                  <a:lnTo>
                    <a:pt x="264" y="216"/>
                  </a:lnTo>
                  <a:lnTo>
                    <a:pt x="246" y="198"/>
                  </a:lnTo>
                  <a:lnTo>
                    <a:pt x="252" y="186"/>
                  </a:lnTo>
                  <a:lnTo>
                    <a:pt x="252" y="180"/>
                  </a:lnTo>
                  <a:lnTo>
                    <a:pt x="246" y="162"/>
                  </a:lnTo>
                  <a:lnTo>
                    <a:pt x="240" y="150"/>
                  </a:lnTo>
                  <a:lnTo>
                    <a:pt x="210" y="120"/>
                  </a:lnTo>
                  <a:lnTo>
                    <a:pt x="198" y="102"/>
                  </a:lnTo>
                  <a:lnTo>
                    <a:pt x="168" y="72"/>
                  </a:lnTo>
                  <a:lnTo>
                    <a:pt x="144" y="66"/>
                  </a:lnTo>
                  <a:lnTo>
                    <a:pt x="144" y="60"/>
                  </a:lnTo>
                  <a:lnTo>
                    <a:pt x="138" y="54"/>
                  </a:lnTo>
                  <a:lnTo>
                    <a:pt x="132" y="42"/>
                  </a:lnTo>
                  <a:lnTo>
                    <a:pt x="102" y="12"/>
                  </a:lnTo>
                  <a:lnTo>
                    <a:pt x="96" y="0"/>
                  </a:lnTo>
                  <a:lnTo>
                    <a:pt x="78" y="12"/>
                  </a:lnTo>
                  <a:lnTo>
                    <a:pt x="48" y="12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2" y="30"/>
                  </a:lnTo>
                  <a:lnTo>
                    <a:pt x="12" y="36"/>
                  </a:lnTo>
                  <a:lnTo>
                    <a:pt x="18" y="42"/>
                  </a:lnTo>
                  <a:lnTo>
                    <a:pt x="18" y="48"/>
                  </a:lnTo>
                  <a:lnTo>
                    <a:pt x="12" y="54"/>
                  </a:lnTo>
                  <a:lnTo>
                    <a:pt x="0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84"/>
                  </a:lnTo>
                  <a:lnTo>
                    <a:pt x="24" y="90"/>
                  </a:lnTo>
                  <a:lnTo>
                    <a:pt x="30" y="90"/>
                  </a:lnTo>
                  <a:lnTo>
                    <a:pt x="42" y="96"/>
                  </a:lnTo>
                  <a:lnTo>
                    <a:pt x="60" y="132"/>
                  </a:lnTo>
                  <a:lnTo>
                    <a:pt x="54" y="132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20"/>
                  </a:lnTo>
                  <a:lnTo>
                    <a:pt x="6" y="120"/>
                  </a:lnTo>
                  <a:lnTo>
                    <a:pt x="6" y="126"/>
                  </a:lnTo>
                  <a:lnTo>
                    <a:pt x="18" y="132"/>
                  </a:lnTo>
                  <a:lnTo>
                    <a:pt x="30" y="144"/>
                  </a:lnTo>
                  <a:lnTo>
                    <a:pt x="42" y="150"/>
                  </a:lnTo>
                  <a:lnTo>
                    <a:pt x="54" y="192"/>
                  </a:lnTo>
                  <a:lnTo>
                    <a:pt x="90" y="198"/>
                  </a:lnTo>
                  <a:lnTo>
                    <a:pt x="90" y="228"/>
                  </a:lnTo>
                  <a:lnTo>
                    <a:pt x="78" y="240"/>
                  </a:lnTo>
                  <a:lnTo>
                    <a:pt x="78" y="270"/>
                  </a:lnTo>
                  <a:lnTo>
                    <a:pt x="84" y="282"/>
                  </a:lnTo>
                  <a:lnTo>
                    <a:pt x="102" y="300"/>
                  </a:lnTo>
                  <a:lnTo>
                    <a:pt x="108" y="300"/>
                  </a:lnTo>
                  <a:lnTo>
                    <a:pt x="108" y="306"/>
                  </a:lnTo>
                  <a:lnTo>
                    <a:pt x="102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32" y="330"/>
                  </a:lnTo>
                  <a:lnTo>
                    <a:pt x="144" y="324"/>
                  </a:lnTo>
                  <a:lnTo>
                    <a:pt x="144" y="318"/>
                  </a:lnTo>
                  <a:lnTo>
                    <a:pt x="150" y="312"/>
                  </a:lnTo>
                  <a:lnTo>
                    <a:pt x="150" y="306"/>
                  </a:lnTo>
                  <a:lnTo>
                    <a:pt x="198" y="282"/>
                  </a:lnTo>
                  <a:lnTo>
                    <a:pt x="222" y="288"/>
                  </a:lnTo>
                  <a:lnTo>
                    <a:pt x="234" y="270"/>
                  </a:lnTo>
                  <a:lnTo>
                    <a:pt x="258" y="270"/>
                  </a:lnTo>
                  <a:lnTo>
                    <a:pt x="270" y="264"/>
                  </a:lnTo>
                  <a:lnTo>
                    <a:pt x="276" y="264"/>
                  </a:lnTo>
                  <a:lnTo>
                    <a:pt x="276" y="24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109" name="Korea, North" descr="© INSCALE GmbH, 05.05.2010&#10;http://www.presentationload.com/"/>
            <p:cNvSpPr>
              <a:spLocks/>
            </p:cNvSpPr>
            <p:nvPr/>
          </p:nvSpPr>
          <p:spPr bwMode="gray">
            <a:xfrm>
              <a:off x="7131648" y="3230879"/>
              <a:ext cx="106226" cy="129827"/>
            </a:xfrm>
            <a:custGeom>
              <a:avLst/>
              <a:gdLst>
                <a:gd name="T0" fmla="*/ 2147483647 w 330"/>
                <a:gd name="T1" fmla="*/ 0 h 420"/>
                <a:gd name="T2" fmla="*/ 2147483647 w 330"/>
                <a:gd name="T3" fmla="*/ 2147483647 h 420"/>
                <a:gd name="T4" fmla="*/ 2147483647 w 330"/>
                <a:gd name="T5" fmla="*/ 2147483647 h 420"/>
                <a:gd name="T6" fmla="*/ 2147483647 w 330"/>
                <a:gd name="T7" fmla="*/ 2147483647 h 420"/>
                <a:gd name="T8" fmla="*/ 2147483647 w 330"/>
                <a:gd name="T9" fmla="*/ 2147483647 h 420"/>
                <a:gd name="T10" fmla="*/ 2147483647 w 330"/>
                <a:gd name="T11" fmla="*/ 2147483647 h 420"/>
                <a:gd name="T12" fmla="*/ 2147483647 w 330"/>
                <a:gd name="T13" fmla="*/ 2147483647 h 420"/>
                <a:gd name="T14" fmla="*/ 2147483647 w 330"/>
                <a:gd name="T15" fmla="*/ 2147483647 h 420"/>
                <a:gd name="T16" fmla="*/ 2147483647 w 330"/>
                <a:gd name="T17" fmla="*/ 2147483647 h 420"/>
                <a:gd name="T18" fmla="*/ 2147483647 w 330"/>
                <a:gd name="T19" fmla="*/ 2147483647 h 420"/>
                <a:gd name="T20" fmla="*/ 2147483647 w 330"/>
                <a:gd name="T21" fmla="*/ 2147483647 h 420"/>
                <a:gd name="T22" fmla="*/ 2147483647 w 330"/>
                <a:gd name="T23" fmla="*/ 2147483647 h 420"/>
                <a:gd name="T24" fmla="*/ 2147483647 w 330"/>
                <a:gd name="T25" fmla="*/ 2147483647 h 420"/>
                <a:gd name="T26" fmla="*/ 2147483647 w 330"/>
                <a:gd name="T27" fmla="*/ 2147483647 h 420"/>
                <a:gd name="T28" fmla="*/ 2147483647 w 330"/>
                <a:gd name="T29" fmla="*/ 2147483647 h 420"/>
                <a:gd name="T30" fmla="*/ 2147483647 w 330"/>
                <a:gd name="T31" fmla="*/ 2147483647 h 420"/>
                <a:gd name="T32" fmla="*/ 2147483647 w 330"/>
                <a:gd name="T33" fmla="*/ 2147483647 h 420"/>
                <a:gd name="T34" fmla="*/ 2147483647 w 330"/>
                <a:gd name="T35" fmla="*/ 2147483647 h 420"/>
                <a:gd name="T36" fmla="*/ 2147483647 w 330"/>
                <a:gd name="T37" fmla="*/ 2147483647 h 420"/>
                <a:gd name="T38" fmla="*/ 2147483647 w 330"/>
                <a:gd name="T39" fmla="*/ 2147483647 h 420"/>
                <a:gd name="T40" fmla="*/ 2147483647 w 330"/>
                <a:gd name="T41" fmla="*/ 2147483647 h 420"/>
                <a:gd name="T42" fmla="*/ 2147483647 w 330"/>
                <a:gd name="T43" fmla="*/ 2147483647 h 420"/>
                <a:gd name="T44" fmla="*/ 2147483647 w 330"/>
                <a:gd name="T45" fmla="*/ 2147483647 h 420"/>
                <a:gd name="T46" fmla="*/ 2147483647 w 330"/>
                <a:gd name="T47" fmla="*/ 2147483647 h 420"/>
                <a:gd name="T48" fmla="*/ 2147483647 w 330"/>
                <a:gd name="T49" fmla="*/ 2147483647 h 420"/>
                <a:gd name="T50" fmla="*/ 2147483647 w 330"/>
                <a:gd name="T51" fmla="*/ 2147483647 h 420"/>
                <a:gd name="T52" fmla="*/ 2147483647 w 330"/>
                <a:gd name="T53" fmla="*/ 2147483647 h 420"/>
                <a:gd name="T54" fmla="*/ 2147483647 w 330"/>
                <a:gd name="T55" fmla="*/ 2147483647 h 420"/>
                <a:gd name="T56" fmla="*/ 2147483647 w 330"/>
                <a:gd name="T57" fmla="*/ 2147483647 h 420"/>
                <a:gd name="T58" fmla="*/ 2147483647 w 330"/>
                <a:gd name="T59" fmla="*/ 2147483647 h 420"/>
                <a:gd name="T60" fmla="*/ 2147483647 w 330"/>
                <a:gd name="T61" fmla="*/ 2147483647 h 420"/>
                <a:gd name="T62" fmla="*/ 2147483647 w 330"/>
                <a:gd name="T63" fmla="*/ 2147483647 h 420"/>
                <a:gd name="T64" fmla="*/ 2147483647 w 330"/>
                <a:gd name="T65" fmla="*/ 2147483647 h 420"/>
                <a:gd name="T66" fmla="*/ 2147483647 w 330"/>
                <a:gd name="T67" fmla="*/ 2147483647 h 420"/>
                <a:gd name="T68" fmla="*/ 2147483647 w 330"/>
                <a:gd name="T69" fmla="*/ 2147483647 h 420"/>
                <a:gd name="T70" fmla="*/ 2147483647 w 330"/>
                <a:gd name="T71" fmla="*/ 2147483647 h 420"/>
                <a:gd name="T72" fmla="*/ 2147483647 w 330"/>
                <a:gd name="T73" fmla="*/ 2147483647 h 420"/>
                <a:gd name="T74" fmla="*/ 2147483647 w 330"/>
                <a:gd name="T75" fmla="*/ 2147483647 h 420"/>
                <a:gd name="T76" fmla="*/ 2147483647 w 330"/>
                <a:gd name="T77" fmla="*/ 2147483647 h 420"/>
                <a:gd name="T78" fmla="*/ 2147483647 w 330"/>
                <a:gd name="T79" fmla="*/ 2147483647 h 420"/>
                <a:gd name="T80" fmla="*/ 2147483647 w 330"/>
                <a:gd name="T81" fmla="*/ 2147483647 h 420"/>
                <a:gd name="T82" fmla="*/ 2147483647 w 330"/>
                <a:gd name="T83" fmla="*/ 2147483647 h 420"/>
                <a:gd name="T84" fmla="*/ 2147483647 w 330"/>
                <a:gd name="T85" fmla="*/ 2147483647 h 420"/>
                <a:gd name="T86" fmla="*/ 2147483647 w 330"/>
                <a:gd name="T87" fmla="*/ 2147483647 h 420"/>
                <a:gd name="T88" fmla="*/ 2147483647 w 330"/>
                <a:gd name="T89" fmla="*/ 2147483647 h 420"/>
                <a:gd name="T90" fmla="*/ 2147483647 w 330"/>
                <a:gd name="T91" fmla="*/ 2147483647 h 420"/>
                <a:gd name="T92" fmla="*/ 2147483647 w 330"/>
                <a:gd name="T93" fmla="*/ 2147483647 h 420"/>
                <a:gd name="T94" fmla="*/ 2147483647 w 330"/>
                <a:gd name="T95" fmla="*/ 2147483647 h 420"/>
                <a:gd name="T96" fmla="*/ 2147483647 w 330"/>
                <a:gd name="T97" fmla="*/ 2147483647 h 420"/>
                <a:gd name="T98" fmla="*/ 2147483647 w 330"/>
                <a:gd name="T99" fmla="*/ 2147483647 h 420"/>
                <a:gd name="T100" fmla="*/ 2147483647 w 330"/>
                <a:gd name="T101" fmla="*/ 2147483647 h 420"/>
                <a:gd name="T102" fmla="*/ 2147483647 w 330"/>
                <a:gd name="T103" fmla="*/ 0 h 42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330"/>
                <a:gd name="T157" fmla="*/ 0 h 420"/>
                <a:gd name="T158" fmla="*/ 330 w 330"/>
                <a:gd name="T159" fmla="*/ 420 h 42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330" h="420">
                  <a:moveTo>
                    <a:pt x="270" y="0"/>
                  </a:moveTo>
                  <a:lnTo>
                    <a:pt x="240" y="0"/>
                  </a:lnTo>
                  <a:lnTo>
                    <a:pt x="240" y="6"/>
                  </a:lnTo>
                  <a:lnTo>
                    <a:pt x="246" y="12"/>
                  </a:lnTo>
                  <a:lnTo>
                    <a:pt x="252" y="24"/>
                  </a:lnTo>
                  <a:lnTo>
                    <a:pt x="252" y="42"/>
                  </a:lnTo>
                  <a:lnTo>
                    <a:pt x="228" y="42"/>
                  </a:lnTo>
                  <a:lnTo>
                    <a:pt x="234" y="54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6" y="78"/>
                  </a:lnTo>
                  <a:lnTo>
                    <a:pt x="204" y="72"/>
                  </a:lnTo>
                  <a:lnTo>
                    <a:pt x="180" y="72"/>
                  </a:lnTo>
                  <a:lnTo>
                    <a:pt x="174" y="66"/>
                  </a:lnTo>
                  <a:lnTo>
                    <a:pt x="168" y="72"/>
                  </a:lnTo>
                  <a:lnTo>
                    <a:pt x="168" y="84"/>
                  </a:lnTo>
                  <a:lnTo>
                    <a:pt x="192" y="108"/>
                  </a:lnTo>
                  <a:lnTo>
                    <a:pt x="198" y="108"/>
                  </a:lnTo>
                  <a:lnTo>
                    <a:pt x="198" y="120"/>
                  </a:lnTo>
                  <a:lnTo>
                    <a:pt x="150" y="120"/>
                  </a:lnTo>
                  <a:lnTo>
                    <a:pt x="138" y="114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96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84" y="138"/>
                  </a:lnTo>
                  <a:lnTo>
                    <a:pt x="66" y="174"/>
                  </a:lnTo>
                  <a:lnTo>
                    <a:pt x="54" y="186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34"/>
                  </a:lnTo>
                  <a:lnTo>
                    <a:pt x="0" y="246"/>
                  </a:lnTo>
                  <a:lnTo>
                    <a:pt x="12" y="228"/>
                  </a:lnTo>
                  <a:lnTo>
                    <a:pt x="18" y="246"/>
                  </a:lnTo>
                  <a:lnTo>
                    <a:pt x="36" y="270"/>
                  </a:lnTo>
                  <a:lnTo>
                    <a:pt x="48" y="252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96" y="270"/>
                  </a:lnTo>
                  <a:lnTo>
                    <a:pt x="96" y="282"/>
                  </a:lnTo>
                  <a:lnTo>
                    <a:pt x="102" y="294"/>
                  </a:lnTo>
                  <a:lnTo>
                    <a:pt x="102" y="336"/>
                  </a:lnTo>
                  <a:lnTo>
                    <a:pt x="138" y="336"/>
                  </a:lnTo>
                  <a:lnTo>
                    <a:pt x="144" y="348"/>
                  </a:lnTo>
                  <a:lnTo>
                    <a:pt x="132" y="342"/>
                  </a:lnTo>
                  <a:lnTo>
                    <a:pt x="108" y="342"/>
                  </a:lnTo>
                  <a:lnTo>
                    <a:pt x="102" y="348"/>
                  </a:lnTo>
                  <a:lnTo>
                    <a:pt x="102" y="360"/>
                  </a:lnTo>
                  <a:lnTo>
                    <a:pt x="108" y="378"/>
                  </a:lnTo>
                  <a:lnTo>
                    <a:pt x="114" y="384"/>
                  </a:lnTo>
                  <a:lnTo>
                    <a:pt x="126" y="408"/>
                  </a:lnTo>
                  <a:lnTo>
                    <a:pt x="156" y="396"/>
                  </a:lnTo>
                  <a:lnTo>
                    <a:pt x="162" y="402"/>
                  </a:lnTo>
                  <a:lnTo>
                    <a:pt x="174" y="408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20"/>
                  </a:lnTo>
                  <a:lnTo>
                    <a:pt x="216" y="414"/>
                  </a:lnTo>
                  <a:lnTo>
                    <a:pt x="228" y="414"/>
                  </a:lnTo>
                  <a:lnTo>
                    <a:pt x="240" y="408"/>
                  </a:lnTo>
                  <a:lnTo>
                    <a:pt x="246" y="402"/>
                  </a:lnTo>
                  <a:lnTo>
                    <a:pt x="246" y="396"/>
                  </a:lnTo>
                  <a:lnTo>
                    <a:pt x="240" y="390"/>
                  </a:lnTo>
                  <a:lnTo>
                    <a:pt x="240" y="384"/>
                  </a:lnTo>
                  <a:lnTo>
                    <a:pt x="246" y="384"/>
                  </a:lnTo>
                  <a:lnTo>
                    <a:pt x="252" y="378"/>
                  </a:lnTo>
                  <a:lnTo>
                    <a:pt x="276" y="366"/>
                  </a:lnTo>
                  <a:lnTo>
                    <a:pt x="306" y="366"/>
                  </a:lnTo>
                  <a:lnTo>
                    <a:pt x="324" y="354"/>
                  </a:lnTo>
                  <a:lnTo>
                    <a:pt x="312" y="342"/>
                  </a:lnTo>
                  <a:lnTo>
                    <a:pt x="312" y="336"/>
                  </a:lnTo>
                  <a:lnTo>
                    <a:pt x="264" y="312"/>
                  </a:lnTo>
                  <a:lnTo>
                    <a:pt x="240" y="312"/>
                  </a:lnTo>
                  <a:lnTo>
                    <a:pt x="240" y="30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46" y="276"/>
                  </a:lnTo>
                  <a:lnTo>
                    <a:pt x="234" y="270"/>
                  </a:lnTo>
                  <a:lnTo>
                    <a:pt x="228" y="264"/>
                  </a:lnTo>
                  <a:lnTo>
                    <a:pt x="228" y="252"/>
                  </a:lnTo>
                  <a:lnTo>
                    <a:pt x="240" y="246"/>
                  </a:lnTo>
                  <a:lnTo>
                    <a:pt x="246" y="240"/>
                  </a:lnTo>
                  <a:lnTo>
                    <a:pt x="258" y="234"/>
                  </a:lnTo>
                  <a:lnTo>
                    <a:pt x="270" y="234"/>
                  </a:lnTo>
                  <a:lnTo>
                    <a:pt x="276" y="228"/>
                  </a:lnTo>
                  <a:lnTo>
                    <a:pt x="288" y="204"/>
                  </a:lnTo>
                  <a:lnTo>
                    <a:pt x="288" y="192"/>
                  </a:lnTo>
                  <a:lnTo>
                    <a:pt x="294" y="186"/>
                  </a:lnTo>
                  <a:lnTo>
                    <a:pt x="300" y="174"/>
                  </a:lnTo>
                  <a:lnTo>
                    <a:pt x="324" y="162"/>
                  </a:lnTo>
                  <a:lnTo>
                    <a:pt x="312" y="132"/>
                  </a:lnTo>
                  <a:lnTo>
                    <a:pt x="306" y="126"/>
                  </a:lnTo>
                  <a:lnTo>
                    <a:pt x="294" y="102"/>
                  </a:lnTo>
                  <a:lnTo>
                    <a:pt x="294" y="90"/>
                  </a:lnTo>
                  <a:lnTo>
                    <a:pt x="306" y="66"/>
                  </a:lnTo>
                  <a:lnTo>
                    <a:pt x="318" y="60"/>
                  </a:lnTo>
                  <a:lnTo>
                    <a:pt x="324" y="54"/>
                  </a:lnTo>
                  <a:lnTo>
                    <a:pt x="330" y="54"/>
                  </a:lnTo>
                  <a:lnTo>
                    <a:pt x="312" y="36"/>
                  </a:lnTo>
                  <a:lnTo>
                    <a:pt x="288" y="24"/>
                  </a:lnTo>
                  <a:lnTo>
                    <a:pt x="270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110" name="Kenya" descr="© INSCALE GmbH, 05.05.2010&#10;http://www.presentationload.com/"/>
            <p:cNvSpPr>
              <a:spLocks/>
            </p:cNvSpPr>
            <p:nvPr/>
          </p:nvSpPr>
          <p:spPr bwMode="gray">
            <a:xfrm>
              <a:off x="5252842" y="4186216"/>
              <a:ext cx="183017" cy="237609"/>
            </a:xfrm>
            <a:custGeom>
              <a:avLst/>
              <a:gdLst>
                <a:gd name="T0" fmla="*/ 2147483647 w 564"/>
                <a:gd name="T1" fmla="*/ 2147483647 h 762"/>
                <a:gd name="T2" fmla="*/ 2147483647 w 564"/>
                <a:gd name="T3" fmla="*/ 2147483647 h 762"/>
                <a:gd name="T4" fmla="*/ 2147483647 w 564"/>
                <a:gd name="T5" fmla="*/ 2147483647 h 762"/>
                <a:gd name="T6" fmla="*/ 2147483647 w 564"/>
                <a:gd name="T7" fmla="*/ 2147483647 h 762"/>
                <a:gd name="T8" fmla="*/ 2147483647 w 564"/>
                <a:gd name="T9" fmla="*/ 2147483647 h 762"/>
                <a:gd name="T10" fmla="*/ 2147483647 w 564"/>
                <a:gd name="T11" fmla="*/ 2147483647 h 762"/>
                <a:gd name="T12" fmla="*/ 2147483647 w 564"/>
                <a:gd name="T13" fmla="*/ 2147483647 h 762"/>
                <a:gd name="T14" fmla="*/ 2147483647 w 564"/>
                <a:gd name="T15" fmla="*/ 2147483647 h 762"/>
                <a:gd name="T16" fmla="*/ 2147483647 w 564"/>
                <a:gd name="T17" fmla="*/ 2147483647 h 762"/>
                <a:gd name="T18" fmla="*/ 2147483647 w 564"/>
                <a:gd name="T19" fmla="*/ 2147483647 h 762"/>
                <a:gd name="T20" fmla="*/ 2147483647 w 564"/>
                <a:gd name="T21" fmla="*/ 2147483647 h 762"/>
                <a:gd name="T22" fmla="*/ 2147483647 w 564"/>
                <a:gd name="T23" fmla="*/ 2147483647 h 762"/>
                <a:gd name="T24" fmla="*/ 2147483647 w 564"/>
                <a:gd name="T25" fmla="*/ 0 h 762"/>
                <a:gd name="T26" fmla="*/ 2147483647 w 564"/>
                <a:gd name="T27" fmla="*/ 2147483647 h 762"/>
                <a:gd name="T28" fmla="*/ 2147483647 w 564"/>
                <a:gd name="T29" fmla="*/ 2147483647 h 762"/>
                <a:gd name="T30" fmla="*/ 2147483647 w 564"/>
                <a:gd name="T31" fmla="*/ 2147483647 h 762"/>
                <a:gd name="T32" fmla="*/ 2147483647 w 564"/>
                <a:gd name="T33" fmla="*/ 2147483647 h 762"/>
                <a:gd name="T34" fmla="*/ 2147483647 w 564"/>
                <a:gd name="T35" fmla="*/ 2147483647 h 762"/>
                <a:gd name="T36" fmla="*/ 2147483647 w 564"/>
                <a:gd name="T37" fmla="*/ 2147483647 h 762"/>
                <a:gd name="T38" fmla="*/ 2147483647 w 564"/>
                <a:gd name="T39" fmla="*/ 2147483647 h 762"/>
                <a:gd name="T40" fmla="*/ 2147483647 w 564"/>
                <a:gd name="T41" fmla="*/ 2147483647 h 762"/>
                <a:gd name="T42" fmla="*/ 2147483647 w 564"/>
                <a:gd name="T43" fmla="*/ 2147483647 h 762"/>
                <a:gd name="T44" fmla="*/ 2147483647 w 564"/>
                <a:gd name="T45" fmla="*/ 2147483647 h 762"/>
                <a:gd name="T46" fmla="*/ 2147483647 w 564"/>
                <a:gd name="T47" fmla="*/ 2147483647 h 762"/>
                <a:gd name="T48" fmla="*/ 2147483647 w 564"/>
                <a:gd name="T49" fmla="*/ 2147483647 h 762"/>
                <a:gd name="T50" fmla="*/ 2147483647 w 564"/>
                <a:gd name="T51" fmla="*/ 2147483647 h 762"/>
                <a:gd name="T52" fmla="*/ 2147483647 w 564"/>
                <a:gd name="T53" fmla="*/ 2147483647 h 762"/>
                <a:gd name="T54" fmla="*/ 2147483647 w 564"/>
                <a:gd name="T55" fmla="*/ 2147483647 h 762"/>
                <a:gd name="T56" fmla="*/ 2147483647 w 564"/>
                <a:gd name="T57" fmla="*/ 2147483647 h 762"/>
                <a:gd name="T58" fmla="*/ 0 w 564"/>
                <a:gd name="T59" fmla="*/ 2147483647 h 762"/>
                <a:gd name="T60" fmla="*/ 2147483647 w 564"/>
                <a:gd name="T61" fmla="*/ 2147483647 h 762"/>
                <a:gd name="T62" fmla="*/ 2147483647 w 564"/>
                <a:gd name="T63" fmla="*/ 2147483647 h 762"/>
                <a:gd name="T64" fmla="*/ 2147483647 w 564"/>
                <a:gd name="T65" fmla="*/ 2147483647 h 762"/>
                <a:gd name="T66" fmla="*/ 2147483647 w 564"/>
                <a:gd name="T67" fmla="*/ 2147483647 h 762"/>
                <a:gd name="T68" fmla="*/ 2147483647 w 564"/>
                <a:gd name="T69" fmla="*/ 2147483647 h 762"/>
                <a:gd name="T70" fmla="*/ 0 w 564"/>
                <a:gd name="T71" fmla="*/ 2147483647 h 762"/>
                <a:gd name="T72" fmla="*/ 2147483647 w 564"/>
                <a:gd name="T73" fmla="*/ 2147483647 h 762"/>
                <a:gd name="T74" fmla="*/ 2147483647 w 564"/>
                <a:gd name="T75" fmla="*/ 2147483647 h 762"/>
                <a:gd name="T76" fmla="*/ 2147483647 w 564"/>
                <a:gd name="T77" fmla="*/ 2147483647 h 762"/>
                <a:gd name="T78" fmla="*/ 2147483647 w 564"/>
                <a:gd name="T79" fmla="*/ 2147483647 h 762"/>
                <a:gd name="T80" fmla="*/ 2147483647 w 564"/>
                <a:gd name="T81" fmla="*/ 2147483647 h 762"/>
                <a:gd name="T82" fmla="*/ 2147483647 w 564"/>
                <a:gd name="T83" fmla="*/ 2147483647 h 762"/>
                <a:gd name="T84" fmla="*/ 2147483647 w 564"/>
                <a:gd name="T85" fmla="*/ 2147483647 h 762"/>
                <a:gd name="T86" fmla="*/ 2147483647 w 564"/>
                <a:gd name="T87" fmla="*/ 2147483647 h 762"/>
                <a:gd name="T88" fmla="*/ 2147483647 w 564"/>
                <a:gd name="T89" fmla="*/ 2147483647 h 762"/>
                <a:gd name="T90" fmla="*/ 2147483647 w 564"/>
                <a:gd name="T91" fmla="*/ 2147483647 h 762"/>
                <a:gd name="T92" fmla="*/ 2147483647 w 564"/>
                <a:gd name="T93" fmla="*/ 2147483647 h 762"/>
                <a:gd name="T94" fmla="*/ 2147483647 w 564"/>
                <a:gd name="T95" fmla="*/ 2147483647 h 762"/>
                <a:gd name="T96" fmla="*/ 2147483647 w 564"/>
                <a:gd name="T97" fmla="*/ 2147483647 h 762"/>
                <a:gd name="T98" fmla="*/ 2147483647 w 564"/>
                <a:gd name="T99" fmla="*/ 2147483647 h 762"/>
                <a:gd name="T100" fmla="*/ 2147483647 w 564"/>
                <a:gd name="T101" fmla="*/ 2147483647 h 76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564"/>
                <a:gd name="T154" fmla="*/ 0 h 762"/>
                <a:gd name="T155" fmla="*/ 564 w 564"/>
                <a:gd name="T156" fmla="*/ 762 h 76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564" h="762">
                  <a:moveTo>
                    <a:pt x="498" y="150"/>
                  </a:moveTo>
                  <a:lnTo>
                    <a:pt x="540" y="108"/>
                  </a:lnTo>
                  <a:lnTo>
                    <a:pt x="558" y="72"/>
                  </a:lnTo>
                  <a:lnTo>
                    <a:pt x="564" y="66"/>
                  </a:lnTo>
                  <a:lnTo>
                    <a:pt x="564" y="60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480" y="30"/>
                  </a:lnTo>
                  <a:lnTo>
                    <a:pt x="462" y="48"/>
                  </a:lnTo>
                  <a:lnTo>
                    <a:pt x="456" y="48"/>
                  </a:lnTo>
                  <a:lnTo>
                    <a:pt x="450" y="54"/>
                  </a:lnTo>
                  <a:lnTo>
                    <a:pt x="438" y="60"/>
                  </a:lnTo>
                  <a:lnTo>
                    <a:pt x="426" y="60"/>
                  </a:lnTo>
                  <a:lnTo>
                    <a:pt x="414" y="72"/>
                  </a:lnTo>
                  <a:lnTo>
                    <a:pt x="414" y="84"/>
                  </a:lnTo>
                  <a:lnTo>
                    <a:pt x="390" y="102"/>
                  </a:lnTo>
                  <a:lnTo>
                    <a:pt x="378" y="96"/>
                  </a:lnTo>
                  <a:lnTo>
                    <a:pt x="372" y="96"/>
                  </a:lnTo>
                  <a:lnTo>
                    <a:pt x="360" y="90"/>
                  </a:lnTo>
                  <a:lnTo>
                    <a:pt x="330" y="90"/>
                  </a:lnTo>
                  <a:lnTo>
                    <a:pt x="318" y="84"/>
                  </a:lnTo>
                  <a:lnTo>
                    <a:pt x="288" y="84"/>
                  </a:lnTo>
                  <a:lnTo>
                    <a:pt x="210" y="24"/>
                  </a:lnTo>
                  <a:lnTo>
                    <a:pt x="138" y="18"/>
                  </a:lnTo>
                  <a:lnTo>
                    <a:pt x="132" y="0"/>
                  </a:lnTo>
                  <a:lnTo>
                    <a:pt x="108" y="12"/>
                  </a:lnTo>
                  <a:lnTo>
                    <a:pt x="18" y="12"/>
                  </a:lnTo>
                  <a:lnTo>
                    <a:pt x="0" y="42"/>
                  </a:lnTo>
                  <a:lnTo>
                    <a:pt x="6" y="48"/>
                  </a:lnTo>
                  <a:lnTo>
                    <a:pt x="12" y="60"/>
                  </a:lnTo>
                  <a:lnTo>
                    <a:pt x="12" y="84"/>
                  </a:lnTo>
                  <a:lnTo>
                    <a:pt x="18" y="84"/>
                  </a:lnTo>
                  <a:lnTo>
                    <a:pt x="24" y="90"/>
                  </a:lnTo>
                  <a:lnTo>
                    <a:pt x="24" y="84"/>
                  </a:lnTo>
                  <a:lnTo>
                    <a:pt x="30" y="84"/>
                  </a:lnTo>
                  <a:lnTo>
                    <a:pt x="30" y="96"/>
                  </a:lnTo>
                  <a:lnTo>
                    <a:pt x="24" y="102"/>
                  </a:lnTo>
                  <a:lnTo>
                    <a:pt x="24" y="108"/>
                  </a:lnTo>
                  <a:lnTo>
                    <a:pt x="42" y="126"/>
                  </a:lnTo>
                  <a:lnTo>
                    <a:pt x="36" y="132"/>
                  </a:lnTo>
                  <a:lnTo>
                    <a:pt x="72" y="174"/>
                  </a:lnTo>
                  <a:lnTo>
                    <a:pt x="66" y="180"/>
                  </a:lnTo>
                  <a:lnTo>
                    <a:pt x="60" y="180"/>
                  </a:lnTo>
                  <a:lnTo>
                    <a:pt x="54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66" y="258"/>
                  </a:lnTo>
                  <a:lnTo>
                    <a:pt x="60" y="282"/>
                  </a:lnTo>
                  <a:lnTo>
                    <a:pt x="42" y="282"/>
                  </a:lnTo>
                  <a:lnTo>
                    <a:pt x="36" y="288"/>
                  </a:lnTo>
                  <a:lnTo>
                    <a:pt x="36" y="312"/>
                  </a:lnTo>
                  <a:lnTo>
                    <a:pt x="18" y="324"/>
                  </a:lnTo>
                  <a:lnTo>
                    <a:pt x="12" y="342"/>
                  </a:lnTo>
                  <a:lnTo>
                    <a:pt x="6" y="348"/>
                  </a:lnTo>
                  <a:lnTo>
                    <a:pt x="0" y="360"/>
                  </a:lnTo>
                  <a:lnTo>
                    <a:pt x="0" y="384"/>
                  </a:lnTo>
                  <a:lnTo>
                    <a:pt x="18" y="402"/>
                  </a:lnTo>
                  <a:lnTo>
                    <a:pt x="30" y="402"/>
                  </a:lnTo>
                  <a:lnTo>
                    <a:pt x="30" y="390"/>
                  </a:lnTo>
                  <a:lnTo>
                    <a:pt x="54" y="390"/>
                  </a:lnTo>
                  <a:lnTo>
                    <a:pt x="60" y="408"/>
                  </a:lnTo>
                  <a:lnTo>
                    <a:pt x="42" y="408"/>
                  </a:lnTo>
                  <a:lnTo>
                    <a:pt x="30" y="420"/>
                  </a:lnTo>
                  <a:lnTo>
                    <a:pt x="24" y="414"/>
                  </a:lnTo>
                  <a:lnTo>
                    <a:pt x="18" y="414"/>
                  </a:lnTo>
                  <a:lnTo>
                    <a:pt x="6" y="420"/>
                  </a:lnTo>
                  <a:lnTo>
                    <a:pt x="0" y="432"/>
                  </a:lnTo>
                  <a:lnTo>
                    <a:pt x="0" y="438"/>
                  </a:lnTo>
                  <a:lnTo>
                    <a:pt x="12" y="450"/>
                  </a:lnTo>
                  <a:lnTo>
                    <a:pt x="6" y="46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270" y="642"/>
                  </a:lnTo>
                  <a:lnTo>
                    <a:pt x="264" y="648"/>
                  </a:lnTo>
                  <a:lnTo>
                    <a:pt x="258" y="648"/>
                  </a:lnTo>
                  <a:lnTo>
                    <a:pt x="252" y="654"/>
                  </a:lnTo>
                  <a:lnTo>
                    <a:pt x="366" y="762"/>
                  </a:lnTo>
                  <a:lnTo>
                    <a:pt x="384" y="756"/>
                  </a:lnTo>
                  <a:lnTo>
                    <a:pt x="414" y="690"/>
                  </a:lnTo>
                  <a:lnTo>
                    <a:pt x="414" y="660"/>
                  </a:lnTo>
                  <a:lnTo>
                    <a:pt x="426" y="648"/>
                  </a:lnTo>
                  <a:lnTo>
                    <a:pt x="432" y="648"/>
                  </a:lnTo>
                  <a:lnTo>
                    <a:pt x="444" y="636"/>
                  </a:lnTo>
                  <a:lnTo>
                    <a:pt x="444" y="624"/>
                  </a:lnTo>
                  <a:lnTo>
                    <a:pt x="438" y="618"/>
                  </a:lnTo>
                  <a:lnTo>
                    <a:pt x="438" y="600"/>
                  </a:lnTo>
                  <a:lnTo>
                    <a:pt x="444" y="594"/>
                  </a:lnTo>
                  <a:lnTo>
                    <a:pt x="456" y="588"/>
                  </a:lnTo>
                  <a:lnTo>
                    <a:pt x="468" y="588"/>
                  </a:lnTo>
                  <a:lnTo>
                    <a:pt x="474" y="582"/>
                  </a:lnTo>
                  <a:lnTo>
                    <a:pt x="480" y="582"/>
                  </a:lnTo>
                  <a:lnTo>
                    <a:pt x="486" y="540"/>
                  </a:lnTo>
                  <a:lnTo>
                    <a:pt x="516" y="540"/>
                  </a:lnTo>
                  <a:lnTo>
                    <a:pt x="528" y="534"/>
                  </a:lnTo>
                  <a:lnTo>
                    <a:pt x="534" y="522"/>
                  </a:lnTo>
                  <a:lnTo>
                    <a:pt x="540" y="516"/>
                  </a:lnTo>
                  <a:lnTo>
                    <a:pt x="498" y="450"/>
                  </a:lnTo>
                  <a:lnTo>
                    <a:pt x="498" y="15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111" name="Kazakhstan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5439699" y="2928356"/>
              <a:ext cx="815258" cy="362537"/>
            </a:xfrm>
            <a:custGeom>
              <a:avLst/>
              <a:gdLst>
                <a:gd name="T0" fmla="*/ 2147483647 w 2514"/>
                <a:gd name="T1" fmla="*/ 2147483647 h 1164"/>
                <a:gd name="T2" fmla="*/ 2147483647 w 2514"/>
                <a:gd name="T3" fmla="*/ 2147483647 h 1164"/>
                <a:gd name="T4" fmla="*/ 2147483647 w 2514"/>
                <a:gd name="T5" fmla="*/ 2147483647 h 1164"/>
                <a:gd name="T6" fmla="*/ 2147483647 w 2514"/>
                <a:gd name="T7" fmla="*/ 2147483647 h 1164"/>
                <a:gd name="T8" fmla="*/ 2147483647 w 2514"/>
                <a:gd name="T9" fmla="*/ 2147483647 h 1164"/>
                <a:gd name="T10" fmla="*/ 2147483647 w 2514"/>
                <a:gd name="T11" fmla="*/ 2147483647 h 1164"/>
                <a:gd name="T12" fmla="*/ 2147483647 w 2514"/>
                <a:gd name="T13" fmla="*/ 2147483647 h 1164"/>
                <a:gd name="T14" fmla="*/ 2147483647 w 2514"/>
                <a:gd name="T15" fmla="*/ 2147483647 h 1164"/>
                <a:gd name="T16" fmla="*/ 2147483647 w 2514"/>
                <a:gd name="T17" fmla="*/ 2147483647 h 1164"/>
                <a:gd name="T18" fmla="*/ 2147483647 w 2514"/>
                <a:gd name="T19" fmla="*/ 2147483647 h 1164"/>
                <a:gd name="T20" fmla="*/ 2147483647 w 2514"/>
                <a:gd name="T21" fmla="*/ 2147483647 h 1164"/>
                <a:gd name="T22" fmla="*/ 2147483647 w 2514"/>
                <a:gd name="T23" fmla="*/ 2147483647 h 1164"/>
                <a:gd name="T24" fmla="*/ 2147483647 w 2514"/>
                <a:gd name="T25" fmla="*/ 2147483647 h 1164"/>
                <a:gd name="T26" fmla="*/ 2147483647 w 2514"/>
                <a:gd name="T27" fmla="*/ 2147483647 h 1164"/>
                <a:gd name="T28" fmla="*/ 2147483647 w 2514"/>
                <a:gd name="T29" fmla="*/ 2147483647 h 1164"/>
                <a:gd name="T30" fmla="*/ 2147483647 w 2514"/>
                <a:gd name="T31" fmla="*/ 2147483647 h 1164"/>
                <a:gd name="T32" fmla="*/ 2147483647 w 2514"/>
                <a:gd name="T33" fmla="*/ 2147483647 h 1164"/>
                <a:gd name="T34" fmla="*/ 2147483647 w 2514"/>
                <a:gd name="T35" fmla="*/ 2147483647 h 1164"/>
                <a:gd name="T36" fmla="*/ 2147483647 w 2514"/>
                <a:gd name="T37" fmla="*/ 2147483647 h 1164"/>
                <a:gd name="T38" fmla="*/ 2147483647 w 2514"/>
                <a:gd name="T39" fmla="*/ 2147483647 h 1164"/>
                <a:gd name="T40" fmla="*/ 2147483647 w 2514"/>
                <a:gd name="T41" fmla="*/ 2147483647 h 1164"/>
                <a:gd name="T42" fmla="*/ 2147483647 w 2514"/>
                <a:gd name="T43" fmla="*/ 2147483647 h 1164"/>
                <a:gd name="T44" fmla="*/ 2147483647 w 2514"/>
                <a:gd name="T45" fmla="*/ 2147483647 h 1164"/>
                <a:gd name="T46" fmla="*/ 2147483647 w 2514"/>
                <a:gd name="T47" fmla="*/ 2147483647 h 1164"/>
                <a:gd name="T48" fmla="*/ 2147483647 w 2514"/>
                <a:gd name="T49" fmla="*/ 2147483647 h 1164"/>
                <a:gd name="T50" fmla="*/ 2147483647 w 2514"/>
                <a:gd name="T51" fmla="*/ 2147483647 h 1164"/>
                <a:gd name="T52" fmla="*/ 2147483647 w 2514"/>
                <a:gd name="T53" fmla="*/ 2147483647 h 1164"/>
                <a:gd name="T54" fmla="*/ 2147483647 w 2514"/>
                <a:gd name="T55" fmla="*/ 2147483647 h 1164"/>
                <a:gd name="T56" fmla="*/ 2147483647 w 2514"/>
                <a:gd name="T57" fmla="*/ 2147483647 h 1164"/>
                <a:gd name="T58" fmla="*/ 2147483647 w 2514"/>
                <a:gd name="T59" fmla="*/ 2147483647 h 1164"/>
                <a:gd name="T60" fmla="*/ 2147483647 w 2514"/>
                <a:gd name="T61" fmla="*/ 2147483647 h 1164"/>
                <a:gd name="T62" fmla="*/ 2147483647 w 2514"/>
                <a:gd name="T63" fmla="*/ 2147483647 h 1164"/>
                <a:gd name="T64" fmla="*/ 2147483647 w 2514"/>
                <a:gd name="T65" fmla="*/ 2147483647 h 1164"/>
                <a:gd name="T66" fmla="*/ 2147483647 w 2514"/>
                <a:gd name="T67" fmla="*/ 2147483647 h 1164"/>
                <a:gd name="T68" fmla="*/ 2147483647 w 2514"/>
                <a:gd name="T69" fmla="*/ 2147483647 h 1164"/>
                <a:gd name="T70" fmla="*/ 2147483647 w 2514"/>
                <a:gd name="T71" fmla="*/ 2147483647 h 1164"/>
                <a:gd name="T72" fmla="*/ 2147483647 w 2514"/>
                <a:gd name="T73" fmla="*/ 2147483647 h 1164"/>
                <a:gd name="T74" fmla="*/ 2147483647 w 2514"/>
                <a:gd name="T75" fmla="*/ 2147483647 h 1164"/>
                <a:gd name="T76" fmla="*/ 2147483647 w 2514"/>
                <a:gd name="T77" fmla="*/ 2147483647 h 1164"/>
                <a:gd name="T78" fmla="*/ 2147483647 w 2514"/>
                <a:gd name="T79" fmla="*/ 2147483647 h 1164"/>
                <a:gd name="T80" fmla="*/ 2147483647 w 2514"/>
                <a:gd name="T81" fmla="*/ 2147483647 h 1164"/>
                <a:gd name="T82" fmla="*/ 2147483647 w 2514"/>
                <a:gd name="T83" fmla="*/ 2147483647 h 1164"/>
                <a:gd name="T84" fmla="*/ 2147483647 w 2514"/>
                <a:gd name="T85" fmla="*/ 2147483647 h 1164"/>
                <a:gd name="T86" fmla="*/ 2147483647 w 2514"/>
                <a:gd name="T87" fmla="*/ 2147483647 h 1164"/>
                <a:gd name="T88" fmla="*/ 2147483647 w 2514"/>
                <a:gd name="T89" fmla="*/ 2147483647 h 1164"/>
                <a:gd name="T90" fmla="*/ 2147483647 w 2514"/>
                <a:gd name="T91" fmla="*/ 2147483647 h 1164"/>
                <a:gd name="T92" fmla="*/ 2147483647 w 2514"/>
                <a:gd name="T93" fmla="*/ 2147483647 h 1164"/>
                <a:gd name="T94" fmla="*/ 2147483647 w 2514"/>
                <a:gd name="T95" fmla="*/ 2147483647 h 1164"/>
                <a:gd name="T96" fmla="*/ 2147483647 w 2514"/>
                <a:gd name="T97" fmla="*/ 2147483647 h 1164"/>
                <a:gd name="T98" fmla="*/ 2147483647 w 2514"/>
                <a:gd name="T99" fmla="*/ 2147483647 h 1164"/>
                <a:gd name="T100" fmla="*/ 2147483647 w 2514"/>
                <a:gd name="T101" fmla="*/ 2147483647 h 1164"/>
                <a:gd name="T102" fmla="*/ 2147483647 w 2514"/>
                <a:gd name="T103" fmla="*/ 2147483647 h 1164"/>
                <a:gd name="T104" fmla="*/ 2147483647 w 2514"/>
                <a:gd name="T105" fmla="*/ 2147483647 h 1164"/>
                <a:gd name="T106" fmla="*/ 2147483647 w 2514"/>
                <a:gd name="T107" fmla="*/ 2147483647 h 1164"/>
                <a:gd name="T108" fmla="*/ 2147483647 w 2514"/>
                <a:gd name="T109" fmla="*/ 2147483647 h 1164"/>
                <a:gd name="T110" fmla="*/ 2147483647 w 2514"/>
                <a:gd name="T111" fmla="*/ 2147483647 h 1164"/>
                <a:gd name="T112" fmla="*/ 2147483647 w 2514"/>
                <a:gd name="T113" fmla="*/ 2147483647 h 1164"/>
                <a:gd name="T114" fmla="*/ 2147483647 w 2514"/>
                <a:gd name="T115" fmla="*/ 2147483647 h 1164"/>
                <a:gd name="T116" fmla="*/ 2147483647 w 2514"/>
                <a:gd name="T117" fmla="*/ 2147483647 h 1164"/>
                <a:gd name="T118" fmla="*/ 2147483647 w 2514"/>
                <a:gd name="T119" fmla="*/ 2147483647 h 1164"/>
                <a:gd name="T120" fmla="*/ 2147483647 w 2514"/>
                <a:gd name="T121" fmla="*/ 2147483647 h 1164"/>
                <a:gd name="T122" fmla="*/ 2147483647 w 2514"/>
                <a:gd name="T123" fmla="*/ 2147483647 h 116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514"/>
                <a:gd name="T187" fmla="*/ 0 h 1164"/>
                <a:gd name="T188" fmla="*/ 2514 w 2514"/>
                <a:gd name="T189" fmla="*/ 1164 h 116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514" h="1164">
                  <a:moveTo>
                    <a:pt x="852" y="756"/>
                  </a:moveTo>
                  <a:lnTo>
                    <a:pt x="840" y="744"/>
                  </a:lnTo>
                  <a:lnTo>
                    <a:pt x="822" y="768"/>
                  </a:lnTo>
                  <a:lnTo>
                    <a:pt x="816" y="780"/>
                  </a:lnTo>
                  <a:lnTo>
                    <a:pt x="870" y="804"/>
                  </a:lnTo>
                  <a:lnTo>
                    <a:pt x="870" y="786"/>
                  </a:lnTo>
                  <a:lnTo>
                    <a:pt x="864" y="780"/>
                  </a:lnTo>
                  <a:lnTo>
                    <a:pt x="858" y="768"/>
                  </a:lnTo>
                  <a:lnTo>
                    <a:pt x="858" y="762"/>
                  </a:lnTo>
                  <a:lnTo>
                    <a:pt x="852" y="756"/>
                  </a:lnTo>
                  <a:close/>
                  <a:moveTo>
                    <a:pt x="2484" y="492"/>
                  </a:moveTo>
                  <a:lnTo>
                    <a:pt x="2484" y="486"/>
                  </a:lnTo>
                  <a:lnTo>
                    <a:pt x="2514" y="486"/>
                  </a:lnTo>
                  <a:lnTo>
                    <a:pt x="2478" y="444"/>
                  </a:lnTo>
                  <a:lnTo>
                    <a:pt x="2454" y="420"/>
                  </a:lnTo>
                  <a:lnTo>
                    <a:pt x="2442" y="456"/>
                  </a:lnTo>
                  <a:lnTo>
                    <a:pt x="2370" y="450"/>
                  </a:lnTo>
                  <a:lnTo>
                    <a:pt x="2370" y="444"/>
                  </a:lnTo>
                  <a:lnTo>
                    <a:pt x="2364" y="438"/>
                  </a:lnTo>
                  <a:lnTo>
                    <a:pt x="2358" y="426"/>
                  </a:lnTo>
                  <a:lnTo>
                    <a:pt x="2352" y="420"/>
                  </a:lnTo>
                  <a:lnTo>
                    <a:pt x="2346" y="408"/>
                  </a:lnTo>
                  <a:lnTo>
                    <a:pt x="2346" y="402"/>
                  </a:lnTo>
                  <a:lnTo>
                    <a:pt x="2340" y="402"/>
                  </a:lnTo>
                  <a:lnTo>
                    <a:pt x="2328" y="396"/>
                  </a:lnTo>
                  <a:lnTo>
                    <a:pt x="2316" y="396"/>
                  </a:lnTo>
                  <a:lnTo>
                    <a:pt x="2304" y="390"/>
                  </a:lnTo>
                  <a:lnTo>
                    <a:pt x="2292" y="390"/>
                  </a:lnTo>
                  <a:lnTo>
                    <a:pt x="2286" y="378"/>
                  </a:lnTo>
                  <a:lnTo>
                    <a:pt x="2274" y="372"/>
                  </a:lnTo>
                  <a:lnTo>
                    <a:pt x="2250" y="348"/>
                  </a:lnTo>
                  <a:lnTo>
                    <a:pt x="2226" y="336"/>
                  </a:lnTo>
                  <a:lnTo>
                    <a:pt x="2208" y="336"/>
                  </a:lnTo>
                  <a:lnTo>
                    <a:pt x="2196" y="342"/>
                  </a:lnTo>
                  <a:lnTo>
                    <a:pt x="2178" y="348"/>
                  </a:lnTo>
                  <a:lnTo>
                    <a:pt x="2166" y="354"/>
                  </a:lnTo>
                  <a:lnTo>
                    <a:pt x="2160" y="366"/>
                  </a:lnTo>
                  <a:lnTo>
                    <a:pt x="2136" y="366"/>
                  </a:lnTo>
                  <a:lnTo>
                    <a:pt x="2124" y="360"/>
                  </a:lnTo>
                  <a:lnTo>
                    <a:pt x="2118" y="348"/>
                  </a:lnTo>
                  <a:lnTo>
                    <a:pt x="2106" y="342"/>
                  </a:lnTo>
                  <a:lnTo>
                    <a:pt x="2076" y="342"/>
                  </a:lnTo>
                  <a:lnTo>
                    <a:pt x="2076" y="336"/>
                  </a:lnTo>
                  <a:lnTo>
                    <a:pt x="2070" y="330"/>
                  </a:lnTo>
                  <a:lnTo>
                    <a:pt x="2070" y="318"/>
                  </a:lnTo>
                  <a:lnTo>
                    <a:pt x="2064" y="312"/>
                  </a:lnTo>
                  <a:lnTo>
                    <a:pt x="2052" y="312"/>
                  </a:lnTo>
                  <a:lnTo>
                    <a:pt x="2052" y="318"/>
                  </a:lnTo>
                  <a:lnTo>
                    <a:pt x="2046" y="324"/>
                  </a:lnTo>
                  <a:lnTo>
                    <a:pt x="2046" y="336"/>
                  </a:lnTo>
                  <a:lnTo>
                    <a:pt x="2034" y="348"/>
                  </a:lnTo>
                  <a:lnTo>
                    <a:pt x="2022" y="354"/>
                  </a:lnTo>
                  <a:lnTo>
                    <a:pt x="2010" y="354"/>
                  </a:lnTo>
                  <a:lnTo>
                    <a:pt x="1998" y="348"/>
                  </a:lnTo>
                  <a:lnTo>
                    <a:pt x="1986" y="336"/>
                  </a:lnTo>
                  <a:lnTo>
                    <a:pt x="1974" y="318"/>
                  </a:lnTo>
                  <a:lnTo>
                    <a:pt x="1938" y="282"/>
                  </a:lnTo>
                  <a:lnTo>
                    <a:pt x="1920" y="258"/>
                  </a:lnTo>
                  <a:lnTo>
                    <a:pt x="1848" y="198"/>
                  </a:lnTo>
                  <a:lnTo>
                    <a:pt x="1818" y="168"/>
                  </a:lnTo>
                  <a:lnTo>
                    <a:pt x="1800" y="156"/>
                  </a:lnTo>
                  <a:lnTo>
                    <a:pt x="1788" y="150"/>
                  </a:lnTo>
                  <a:lnTo>
                    <a:pt x="1758" y="132"/>
                  </a:lnTo>
                  <a:lnTo>
                    <a:pt x="1728" y="120"/>
                  </a:lnTo>
                  <a:lnTo>
                    <a:pt x="1692" y="102"/>
                  </a:lnTo>
                  <a:lnTo>
                    <a:pt x="1698" y="102"/>
                  </a:lnTo>
                  <a:lnTo>
                    <a:pt x="1710" y="90"/>
                  </a:lnTo>
                  <a:lnTo>
                    <a:pt x="1710" y="72"/>
                  </a:lnTo>
                  <a:lnTo>
                    <a:pt x="1704" y="66"/>
                  </a:lnTo>
                  <a:lnTo>
                    <a:pt x="1698" y="66"/>
                  </a:lnTo>
                  <a:lnTo>
                    <a:pt x="1680" y="84"/>
                  </a:lnTo>
                  <a:lnTo>
                    <a:pt x="1644" y="96"/>
                  </a:lnTo>
                  <a:lnTo>
                    <a:pt x="1632" y="114"/>
                  </a:lnTo>
                  <a:lnTo>
                    <a:pt x="1620" y="114"/>
                  </a:lnTo>
                  <a:lnTo>
                    <a:pt x="1608" y="120"/>
                  </a:lnTo>
                  <a:lnTo>
                    <a:pt x="1602" y="126"/>
                  </a:lnTo>
                  <a:lnTo>
                    <a:pt x="1602" y="144"/>
                  </a:lnTo>
                  <a:lnTo>
                    <a:pt x="1590" y="156"/>
                  </a:lnTo>
                  <a:lnTo>
                    <a:pt x="1578" y="150"/>
                  </a:lnTo>
                  <a:lnTo>
                    <a:pt x="1572" y="144"/>
                  </a:lnTo>
                  <a:lnTo>
                    <a:pt x="1560" y="138"/>
                  </a:lnTo>
                  <a:lnTo>
                    <a:pt x="1554" y="132"/>
                  </a:lnTo>
                  <a:lnTo>
                    <a:pt x="1548" y="132"/>
                  </a:lnTo>
                  <a:lnTo>
                    <a:pt x="1542" y="138"/>
                  </a:lnTo>
                  <a:lnTo>
                    <a:pt x="1536" y="138"/>
                  </a:lnTo>
                  <a:lnTo>
                    <a:pt x="1530" y="144"/>
                  </a:lnTo>
                  <a:lnTo>
                    <a:pt x="1524" y="144"/>
                  </a:lnTo>
                  <a:lnTo>
                    <a:pt x="1524" y="138"/>
                  </a:lnTo>
                  <a:lnTo>
                    <a:pt x="1530" y="132"/>
                  </a:lnTo>
                  <a:lnTo>
                    <a:pt x="1530" y="108"/>
                  </a:lnTo>
                  <a:lnTo>
                    <a:pt x="1518" y="102"/>
                  </a:lnTo>
                  <a:lnTo>
                    <a:pt x="1512" y="102"/>
                  </a:lnTo>
                  <a:lnTo>
                    <a:pt x="1506" y="108"/>
                  </a:lnTo>
                  <a:lnTo>
                    <a:pt x="1482" y="96"/>
                  </a:lnTo>
                  <a:lnTo>
                    <a:pt x="1458" y="108"/>
                  </a:lnTo>
                  <a:lnTo>
                    <a:pt x="1434" y="72"/>
                  </a:lnTo>
                  <a:lnTo>
                    <a:pt x="1422" y="90"/>
                  </a:lnTo>
                  <a:lnTo>
                    <a:pt x="1404" y="90"/>
                  </a:lnTo>
                  <a:lnTo>
                    <a:pt x="1392" y="96"/>
                  </a:lnTo>
                  <a:lnTo>
                    <a:pt x="1374" y="96"/>
                  </a:lnTo>
                  <a:lnTo>
                    <a:pt x="1368" y="90"/>
                  </a:lnTo>
                  <a:lnTo>
                    <a:pt x="1368" y="48"/>
                  </a:lnTo>
                  <a:lnTo>
                    <a:pt x="1362" y="42"/>
                  </a:lnTo>
                  <a:lnTo>
                    <a:pt x="1350" y="42"/>
                  </a:lnTo>
                  <a:lnTo>
                    <a:pt x="1344" y="36"/>
                  </a:lnTo>
                  <a:lnTo>
                    <a:pt x="1338" y="24"/>
                  </a:lnTo>
                  <a:lnTo>
                    <a:pt x="1320" y="6"/>
                  </a:lnTo>
                  <a:lnTo>
                    <a:pt x="1314" y="6"/>
                  </a:lnTo>
                  <a:lnTo>
                    <a:pt x="1302" y="18"/>
                  </a:lnTo>
                  <a:lnTo>
                    <a:pt x="1290" y="18"/>
                  </a:lnTo>
                  <a:lnTo>
                    <a:pt x="1278" y="6"/>
                  </a:lnTo>
                  <a:lnTo>
                    <a:pt x="1260" y="6"/>
                  </a:lnTo>
                  <a:lnTo>
                    <a:pt x="1242" y="0"/>
                  </a:lnTo>
                  <a:lnTo>
                    <a:pt x="1218" y="0"/>
                  </a:lnTo>
                  <a:lnTo>
                    <a:pt x="1200" y="6"/>
                  </a:lnTo>
                  <a:lnTo>
                    <a:pt x="1188" y="12"/>
                  </a:lnTo>
                  <a:lnTo>
                    <a:pt x="1176" y="24"/>
                  </a:lnTo>
                  <a:lnTo>
                    <a:pt x="1176" y="36"/>
                  </a:lnTo>
                  <a:lnTo>
                    <a:pt x="1164" y="36"/>
                  </a:lnTo>
                  <a:lnTo>
                    <a:pt x="1110" y="54"/>
                  </a:lnTo>
                  <a:lnTo>
                    <a:pt x="1020" y="54"/>
                  </a:lnTo>
                  <a:lnTo>
                    <a:pt x="1014" y="60"/>
                  </a:lnTo>
                  <a:lnTo>
                    <a:pt x="1014" y="78"/>
                  </a:lnTo>
                  <a:lnTo>
                    <a:pt x="948" y="78"/>
                  </a:lnTo>
                  <a:lnTo>
                    <a:pt x="942" y="96"/>
                  </a:lnTo>
                  <a:lnTo>
                    <a:pt x="888" y="96"/>
                  </a:lnTo>
                  <a:lnTo>
                    <a:pt x="828" y="102"/>
                  </a:lnTo>
                  <a:lnTo>
                    <a:pt x="792" y="114"/>
                  </a:lnTo>
                  <a:lnTo>
                    <a:pt x="780" y="126"/>
                  </a:lnTo>
                  <a:lnTo>
                    <a:pt x="780" y="132"/>
                  </a:lnTo>
                  <a:lnTo>
                    <a:pt x="786" y="138"/>
                  </a:lnTo>
                  <a:lnTo>
                    <a:pt x="786" y="144"/>
                  </a:lnTo>
                  <a:lnTo>
                    <a:pt x="810" y="144"/>
                  </a:lnTo>
                  <a:lnTo>
                    <a:pt x="798" y="162"/>
                  </a:lnTo>
                  <a:lnTo>
                    <a:pt x="810" y="162"/>
                  </a:lnTo>
                  <a:lnTo>
                    <a:pt x="834" y="174"/>
                  </a:lnTo>
                  <a:lnTo>
                    <a:pt x="846" y="174"/>
                  </a:lnTo>
                  <a:lnTo>
                    <a:pt x="858" y="186"/>
                  </a:lnTo>
                  <a:lnTo>
                    <a:pt x="804" y="186"/>
                  </a:lnTo>
                  <a:lnTo>
                    <a:pt x="792" y="198"/>
                  </a:lnTo>
                  <a:lnTo>
                    <a:pt x="798" y="204"/>
                  </a:lnTo>
                  <a:lnTo>
                    <a:pt x="804" y="216"/>
                  </a:lnTo>
                  <a:lnTo>
                    <a:pt x="810" y="222"/>
                  </a:lnTo>
                  <a:lnTo>
                    <a:pt x="810" y="234"/>
                  </a:lnTo>
                  <a:lnTo>
                    <a:pt x="798" y="246"/>
                  </a:lnTo>
                  <a:lnTo>
                    <a:pt x="786" y="246"/>
                  </a:lnTo>
                  <a:lnTo>
                    <a:pt x="774" y="252"/>
                  </a:lnTo>
                  <a:lnTo>
                    <a:pt x="762" y="252"/>
                  </a:lnTo>
                  <a:lnTo>
                    <a:pt x="792" y="282"/>
                  </a:lnTo>
                  <a:lnTo>
                    <a:pt x="816" y="282"/>
                  </a:lnTo>
                  <a:lnTo>
                    <a:pt x="834" y="288"/>
                  </a:lnTo>
                  <a:lnTo>
                    <a:pt x="846" y="294"/>
                  </a:lnTo>
                  <a:lnTo>
                    <a:pt x="870" y="318"/>
                  </a:lnTo>
                  <a:lnTo>
                    <a:pt x="876" y="336"/>
                  </a:lnTo>
                  <a:lnTo>
                    <a:pt x="876" y="348"/>
                  </a:lnTo>
                  <a:lnTo>
                    <a:pt x="870" y="360"/>
                  </a:lnTo>
                  <a:lnTo>
                    <a:pt x="864" y="366"/>
                  </a:lnTo>
                  <a:lnTo>
                    <a:pt x="828" y="366"/>
                  </a:lnTo>
                  <a:lnTo>
                    <a:pt x="816" y="360"/>
                  </a:lnTo>
                  <a:lnTo>
                    <a:pt x="810" y="354"/>
                  </a:lnTo>
                  <a:lnTo>
                    <a:pt x="798" y="354"/>
                  </a:lnTo>
                  <a:lnTo>
                    <a:pt x="792" y="348"/>
                  </a:lnTo>
                  <a:lnTo>
                    <a:pt x="780" y="372"/>
                  </a:lnTo>
                  <a:lnTo>
                    <a:pt x="768" y="372"/>
                  </a:lnTo>
                  <a:lnTo>
                    <a:pt x="756" y="366"/>
                  </a:lnTo>
                  <a:lnTo>
                    <a:pt x="732" y="366"/>
                  </a:lnTo>
                  <a:lnTo>
                    <a:pt x="708" y="354"/>
                  </a:lnTo>
                  <a:lnTo>
                    <a:pt x="702" y="342"/>
                  </a:lnTo>
                  <a:lnTo>
                    <a:pt x="690" y="336"/>
                  </a:lnTo>
                  <a:lnTo>
                    <a:pt x="684" y="330"/>
                  </a:lnTo>
                  <a:lnTo>
                    <a:pt x="672" y="330"/>
                  </a:lnTo>
                  <a:lnTo>
                    <a:pt x="666" y="336"/>
                  </a:lnTo>
                  <a:lnTo>
                    <a:pt x="654" y="342"/>
                  </a:lnTo>
                  <a:lnTo>
                    <a:pt x="636" y="348"/>
                  </a:lnTo>
                  <a:lnTo>
                    <a:pt x="624" y="348"/>
                  </a:lnTo>
                  <a:lnTo>
                    <a:pt x="588" y="330"/>
                  </a:lnTo>
                  <a:lnTo>
                    <a:pt x="582" y="330"/>
                  </a:lnTo>
                  <a:lnTo>
                    <a:pt x="570" y="336"/>
                  </a:lnTo>
                  <a:lnTo>
                    <a:pt x="558" y="348"/>
                  </a:lnTo>
                  <a:lnTo>
                    <a:pt x="546" y="354"/>
                  </a:lnTo>
                  <a:lnTo>
                    <a:pt x="540" y="366"/>
                  </a:lnTo>
                  <a:lnTo>
                    <a:pt x="534" y="372"/>
                  </a:lnTo>
                  <a:lnTo>
                    <a:pt x="462" y="336"/>
                  </a:lnTo>
                  <a:lnTo>
                    <a:pt x="450" y="336"/>
                  </a:lnTo>
                  <a:lnTo>
                    <a:pt x="450" y="342"/>
                  </a:lnTo>
                  <a:lnTo>
                    <a:pt x="462" y="354"/>
                  </a:lnTo>
                  <a:lnTo>
                    <a:pt x="462" y="372"/>
                  </a:lnTo>
                  <a:lnTo>
                    <a:pt x="450" y="372"/>
                  </a:lnTo>
                  <a:lnTo>
                    <a:pt x="438" y="360"/>
                  </a:lnTo>
                  <a:lnTo>
                    <a:pt x="438" y="354"/>
                  </a:lnTo>
                  <a:lnTo>
                    <a:pt x="426" y="324"/>
                  </a:lnTo>
                  <a:lnTo>
                    <a:pt x="390" y="324"/>
                  </a:lnTo>
                  <a:lnTo>
                    <a:pt x="384" y="312"/>
                  </a:lnTo>
                  <a:lnTo>
                    <a:pt x="384" y="306"/>
                  </a:lnTo>
                  <a:lnTo>
                    <a:pt x="378" y="300"/>
                  </a:lnTo>
                  <a:lnTo>
                    <a:pt x="318" y="300"/>
                  </a:lnTo>
                  <a:lnTo>
                    <a:pt x="312" y="288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76" y="288"/>
                  </a:lnTo>
                  <a:lnTo>
                    <a:pt x="264" y="300"/>
                  </a:lnTo>
                  <a:lnTo>
                    <a:pt x="234" y="300"/>
                  </a:lnTo>
                  <a:lnTo>
                    <a:pt x="228" y="294"/>
                  </a:lnTo>
                  <a:lnTo>
                    <a:pt x="228" y="288"/>
                  </a:lnTo>
                  <a:lnTo>
                    <a:pt x="222" y="288"/>
                  </a:lnTo>
                  <a:lnTo>
                    <a:pt x="210" y="282"/>
                  </a:lnTo>
                  <a:lnTo>
                    <a:pt x="180" y="282"/>
                  </a:lnTo>
                  <a:lnTo>
                    <a:pt x="180" y="288"/>
                  </a:lnTo>
                  <a:lnTo>
                    <a:pt x="186" y="294"/>
                  </a:lnTo>
                  <a:lnTo>
                    <a:pt x="186" y="312"/>
                  </a:lnTo>
                  <a:lnTo>
                    <a:pt x="174" y="324"/>
                  </a:lnTo>
                  <a:lnTo>
                    <a:pt x="162" y="330"/>
                  </a:lnTo>
                  <a:lnTo>
                    <a:pt x="150" y="330"/>
                  </a:lnTo>
                  <a:lnTo>
                    <a:pt x="138" y="336"/>
                  </a:lnTo>
                  <a:lnTo>
                    <a:pt x="132" y="336"/>
                  </a:lnTo>
                  <a:lnTo>
                    <a:pt x="132" y="360"/>
                  </a:lnTo>
                  <a:lnTo>
                    <a:pt x="102" y="372"/>
                  </a:lnTo>
                  <a:lnTo>
                    <a:pt x="114" y="384"/>
                  </a:lnTo>
                  <a:lnTo>
                    <a:pt x="120" y="396"/>
                  </a:lnTo>
                  <a:lnTo>
                    <a:pt x="114" y="402"/>
                  </a:lnTo>
                  <a:lnTo>
                    <a:pt x="108" y="414"/>
                  </a:lnTo>
                  <a:lnTo>
                    <a:pt x="102" y="420"/>
                  </a:lnTo>
                  <a:lnTo>
                    <a:pt x="90" y="420"/>
                  </a:lnTo>
                  <a:lnTo>
                    <a:pt x="78" y="414"/>
                  </a:lnTo>
                  <a:lnTo>
                    <a:pt x="72" y="402"/>
                  </a:lnTo>
                  <a:lnTo>
                    <a:pt x="60" y="396"/>
                  </a:lnTo>
                  <a:lnTo>
                    <a:pt x="48" y="384"/>
                  </a:lnTo>
                  <a:lnTo>
                    <a:pt x="36" y="378"/>
                  </a:lnTo>
                  <a:lnTo>
                    <a:pt x="24" y="378"/>
                  </a:lnTo>
                  <a:lnTo>
                    <a:pt x="18" y="384"/>
                  </a:lnTo>
                  <a:lnTo>
                    <a:pt x="18" y="396"/>
                  </a:lnTo>
                  <a:lnTo>
                    <a:pt x="24" y="402"/>
                  </a:lnTo>
                  <a:lnTo>
                    <a:pt x="24" y="42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12" y="468"/>
                  </a:lnTo>
                  <a:lnTo>
                    <a:pt x="12" y="492"/>
                  </a:lnTo>
                  <a:lnTo>
                    <a:pt x="0" y="516"/>
                  </a:lnTo>
                  <a:lnTo>
                    <a:pt x="0" y="546"/>
                  </a:lnTo>
                  <a:lnTo>
                    <a:pt x="6" y="546"/>
                  </a:lnTo>
                  <a:lnTo>
                    <a:pt x="12" y="552"/>
                  </a:lnTo>
                  <a:lnTo>
                    <a:pt x="36" y="552"/>
                  </a:lnTo>
                  <a:lnTo>
                    <a:pt x="42" y="558"/>
                  </a:lnTo>
                  <a:lnTo>
                    <a:pt x="42" y="588"/>
                  </a:lnTo>
                  <a:lnTo>
                    <a:pt x="48" y="594"/>
                  </a:lnTo>
                  <a:lnTo>
                    <a:pt x="90" y="594"/>
                  </a:lnTo>
                  <a:lnTo>
                    <a:pt x="102" y="588"/>
                  </a:lnTo>
                  <a:lnTo>
                    <a:pt x="114" y="588"/>
                  </a:lnTo>
                  <a:lnTo>
                    <a:pt x="162" y="636"/>
                  </a:lnTo>
                  <a:lnTo>
                    <a:pt x="168" y="648"/>
                  </a:lnTo>
                  <a:lnTo>
                    <a:pt x="180" y="660"/>
                  </a:lnTo>
                  <a:lnTo>
                    <a:pt x="180" y="672"/>
                  </a:lnTo>
                  <a:lnTo>
                    <a:pt x="144" y="672"/>
                  </a:lnTo>
                  <a:lnTo>
                    <a:pt x="144" y="678"/>
                  </a:lnTo>
                  <a:lnTo>
                    <a:pt x="156" y="690"/>
                  </a:lnTo>
                  <a:lnTo>
                    <a:pt x="174" y="696"/>
                  </a:lnTo>
                  <a:lnTo>
                    <a:pt x="186" y="696"/>
                  </a:lnTo>
                  <a:lnTo>
                    <a:pt x="192" y="702"/>
                  </a:lnTo>
                  <a:lnTo>
                    <a:pt x="198" y="702"/>
                  </a:lnTo>
                  <a:lnTo>
                    <a:pt x="204" y="690"/>
                  </a:lnTo>
                  <a:lnTo>
                    <a:pt x="222" y="690"/>
                  </a:lnTo>
                  <a:lnTo>
                    <a:pt x="228" y="684"/>
                  </a:lnTo>
                  <a:lnTo>
                    <a:pt x="246" y="672"/>
                  </a:lnTo>
                  <a:lnTo>
                    <a:pt x="306" y="648"/>
                  </a:lnTo>
                  <a:lnTo>
                    <a:pt x="324" y="642"/>
                  </a:lnTo>
                  <a:lnTo>
                    <a:pt x="336" y="648"/>
                  </a:lnTo>
                  <a:lnTo>
                    <a:pt x="342" y="654"/>
                  </a:lnTo>
                  <a:lnTo>
                    <a:pt x="360" y="666"/>
                  </a:lnTo>
                  <a:lnTo>
                    <a:pt x="366" y="672"/>
                  </a:lnTo>
                  <a:lnTo>
                    <a:pt x="384" y="672"/>
                  </a:lnTo>
                  <a:lnTo>
                    <a:pt x="390" y="666"/>
                  </a:lnTo>
                  <a:lnTo>
                    <a:pt x="402" y="666"/>
                  </a:lnTo>
                  <a:lnTo>
                    <a:pt x="408" y="660"/>
                  </a:lnTo>
                  <a:lnTo>
                    <a:pt x="414" y="666"/>
                  </a:lnTo>
                  <a:lnTo>
                    <a:pt x="426" y="672"/>
                  </a:lnTo>
                  <a:lnTo>
                    <a:pt x="450" y="696"/>
                  </a:lnTo>
                  <a:lnTo>
                    <a:pt x="450" y="726"/>
                  </a:lnTo>
                  <a:lnTo>
                    <a:pt x="444" y="732"/>
                  </a:lnTo>
                  <a:lnTo>
                    <a:pt x="444" y="738"/>
                  </a:lnTo>
                  <a:lnTo>
                    <a:pt x="438" y="744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68"/>
                  </a:lnTo>
                  <a:lnTo>
                    <a:pt x="462" y="774"/>
                  </a:lnTo>
                  <a:lnTo>
                    <a:pt x="474" y="786"/>
                  </a:lnTo>
                  <a:lnTo>
                    <a:pt x="486" y="786"/>
                  </a:lnTo>
                  <a:lnTo>
                    <a:pt x="504" y="768"/>
                  </a:lnTo>
                  <a:lnTo>
                    <a:pt x="516" y="762"/>
                  </a:lnTo>
                  <a:lnTo>
                    <a:pt x="528" y="762"/>
                  </a:lnTo>
                  <a:lnTo>
                    <a:pt x="528" y="792"/>
                  </a:lnTo>
                  <a:lnTo>
                    <a:pt x="546" y="810"/>
                  </a:lnTo>
                  <a:lnTo>
                    <a:pt x="510" y="816"/>
                  </a:lnTo>
                  <a:lnTo>
                    <a:pt x="510" y="828"/>
                  </a:lnTo>
                  <a:lnTo>
                    <a:pt x="504" y="834"/>
                  </a:lnTo>
                  <a:lnTo>
                    <a:pt x="498" y="834"/>
                  </a:lnTo>
                  <a:lnTo>
                    <a:pt x="486" y="822"/>
                  </a:lnTo>
                  <a:lnTo>
                    <a:pt x="486" y="816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10" y="798"/>
                  </a:lnTo>
                  <a:lnTo>
                    <a:pt x="480" y="798"/>
                  </a:lnTo>
                  <a:lnTo>
                    <a:pt x="462" y="792"/>
                  </a:lnTo>
                  <a:lnTo>
                    <a:pt x="450" y="792"/>
                  </a:lnTo>
                  <a:lnTo>
                    <a:pt x="432" y="786"/>
                  </a:lnTo>
                  <a:lnTo>
                    <a:pt x="408" y="786"/>
                  </a:lnTo>
                  <a:lnTo>
                    <a:pt x="390" y="780"/>
                  </a:lnTo>
                  <a:lnTo>
                    <a:pt x="372" y="780"/>
                  </a:lnTo>
                  <a:lnTo>
                    <a:pt x="360" y="774"/>
                  </a:lnTo>
                  <a:lnTo>
                    <a:pt x="348" y="774"/>
                  </a:lnTo>
                  <a:lnTo>
                    <a:pt x="360" y="804"/>
                  </a:lnTo>
                  <a:lnTo>
                    <a:pt x="342" y="804"/>
                  </a:lnTo>
                  <a:lnTo>
                    <a:pt x="330" y="816"/>
                  </a:lnTo>
                  <a:lnTo>
                    <a:pt x="330" y="822"/>
                  </a:lnTo>
                  <a:lnTo>
                    <a:pt x="336" y="828"/>
                  </a:lnTo>
                  <a:lnTo>
                    <a:pt x="348" y="834"/>
                  </a:lnTo>
                  <a:lnTo>
                    <a:pt x="354" y="840"/>
                  </a:lnTo>
                  <a:lnTo>
                    <a:pt x="366" y="840"/>
                  </a:lnTo>
                  <a:lnTo>
                    <a:pt x="372" y="846"/>
                  </a:lnTo>
                  <a:lnTo>
                    <a:pt x="372" y="852"/>
                  </a:lnTo>
                  <a:lnTo>
                    <a:pt x="360" y="852"/>
                  </a:lnTo>
                  <a:lnTo>
                    <a:pt x="348" y="846"/>
                  </a:lnTo>
                  <a:lnTo>
                    <a:pt x="336" y="846"/>
                  </a:lnTo>
                  <a:lnTo>
                    <a:pt x="324" y="840"/>
                  </a:lnTo>
                  <a:lnTo>
                    <a:pt x="306" y="834"/>
                  </a:lnTo>
                  <a:lnTo>
                    <a:pt x="300" y="834"/>
                  </a:lnTo>
                  <a:lnTo>
                    <a:pt x="294" y="840"/>
                  </a:lnTo>
                  <a:lnTo>
                    <a:pt x="294" y="846"/>
                  </a:lnTo>
                  <a:lnTo>
                    <a:pt x="306" y="858"/>
                  </a:lnTo>
                  <a:lnTo>
                    <a:pt x="318" y="864"/>
                  </a:lnTo>
                  <a:lnTo>
                    <a:pt x="324" y="870"/>
                  </a:lnTo>
                  <a:lnTo>
                    <a:pt x="336" y="870"/>
                  </a:lnTo>
                  <a:lnTo>
                    <a:pt x="336" y="882"/>
                  </a:lnTo>
                  <a:lnTo>
                    <a:pt x="342" y="894"/>
                  </a:lnTo>
                  <a:lnTo>
                    <a:pt x="366" y="918"/>
                  </a:lnTo>
                  <a:lnTo>
                    <a:pt x="372" y="930"/>
                  </a:lnTo>
                  <a:lnTo>
                    <a:pt x="372" y="954"/>
                  </a:lnTo>
                  <a:lnTo>
                    <a:pt x="408" y="960"/>
                  </a:lnTo>
                  <a:lnTo>
                    <a:pt x="414" y="978"/>
                  </a:lnTo>
                  <a:lnTo>
                    <a:pt x="444" y="978"/>
                  </a:lnTo>
                  <a:lnTo>
                    <a:pt x="480" y="996"/>
                  </a:lnTo>
                  <a:lnTo>
                    <a:pt x="486" y="1002"/>
                  </a:lnTo>
                  <a:lnTo>
                    <a:pt x="486" y="1014"/>
                  </a:lnTo>
                  <a:lnTo>
                    <a:pt x="480" y="1020"/>
                  </a:lnTo>
                  <a:lnTo>
                    <a:pt x="468" y="1026"/>
                  </a:lnTo>
                  <a:lnTo>
                    <a:pt x="462" y="1038"/>
                  </a:lnTo>
                  <a:lnTo>
                    <a:pt x="462" y="1056"/>
                  </a:lnTo>
                  <a:lnTo>
                    <a:pt x="468" y="1062"/>
                  </a:lnTo>
                  <a:lnTo>
                    <a:pt x="492" y="1062"/>
                  </a:lnTo>
                  <a:lnTo>
                    <a:pt x="498" y="1056"/>
                  </a:lnTo>
                  <a:lnTo>
                    <a:pt x="504" y="1038"/>
                  </a:lnTo>
                  <a:lnTo>
                    <a:pt x="510" y="1026"/>
                  </a:lnTo>
                  <a:lnTo>
                    <a:pt x="516" y="1020"/>
                  </a:lnTo>
                  <a:lnTo>
                    <a:pt x="528" y="1020"/>
                  </a:lnTo>
                  <a:lnTo>
                    <a:pt x="546" y="1026"/>
                  </a:lnTo>
                  <a:lnTo>
                    <a:pt x="546" y="1020"/>
                  </a:lnTo>
                  <a:lnTo>
                    <a:pt x="552" y="1014"/>
                  </a:lnTo>
                  <a:lnTo>
                    <a:pt x="570" y="1014"/>
                  </a:lnTo>
                  <a:lnTo>
                    <a:pt x="594" y="1026"/>
                  </a:lnTo>
                  <a:lnTo>
                    <a:pt x="606" y="1026"/>
                  </a:lnTo>
                  <a:lnTo>
                    <a:pt x="618" y="1038"/>
                  </a:lnTo>
                  <a:lnTo>
                    <a:pt x="630" y="1044"/>
                  </a:lnTo>
                  <a:lnTo>
                    <a:pt x="636" y="1056"/>
                  </a:lnTo>
                  <a:lnTo>
                    <a:pt x="642" y="1062"/>
                  </a:lnTo>
                  <a:lnTo>
                    <a:pt x="648" y="1074"/>
                  </a:lnTo>
                  <a:lnTo>
                    <a:pt x="672" y="1098"/>
                  </a:lnTo>
                  <a:lnTo>
                    <a:pt x="684" y="1104"/>
                  </a:lnTo>
                  <a:lnTo>
                    <a:pt x="690" y="1110"/>
                  </a:lnTo>
                  <a:lnTo>
                    <a:pt x="696" y="1104"/>
                  </a:lnTo>
                  <a:lnTo>
                    <a:pt x="696" y="1098"/>
                  </a:lnTo>
                  <a:lnTo>
                    <a:pt x="702" y="1092"/>
                  </a:lnTo>
                  <a:lnTo>
                    <a:pt x="654" y="810"/>
                  </a:lnTo>
                  <a:lnTo>
                    <a:pt x="798" y="768"/>
                  </a:lnTo>
                  <a:lnTo>
                    <a:pt x="804" y="774"/>
                  </a:lnTo>
                  <a:lnTo>
                    <a:pt x="804" y="762"/>
                  </a:lnTo>
                  <a:lnTo>
                    <a:pt x="810" y="756"/>
                  </a:lnTo>
                  <a:lnTo>
                    <a:pt x="810" y="750"/>
                  </a:lnTo>
                  <a:lnTo>
                    <a:pt x="816" y="738"/>
                  </a:lnTo>
                  <a:lnTo>
                    <a:pt x="816" y="732"/>
                  </a:lnTo>
                  <a:lnTo>
                    <a:pt x="822" y="726"/>
                  </a:lnTo>
                  <a:lnTo>
                    <a:pt x="846" y="726"/>
                  </a:lnTo>
                  <a:lnTo>
                    <a:pt x="852" y="750"/>
                  </a:lnTo>
                  <a:lnTo>
                    <a:pt x="864" y="744"/>
                  </a:lnTo>
                  <a:lnTo>
                    <a:pt x="870" y="744"/>
                  </a:lnTo>
                  <a:lnTo>
                    <a:pt x="876" y="738"/>
                  </a:lnTo>
                  <a:lnTo>
                    <a:pt x="876" y="732"/>
                  </a:lnTo>
                  <a:lnTo>
                    <a:pt x="852" y="708"/>
                  </a:lnTo>
                  <a:lnTo>
                    <a:pt x="870" y="708"/>
                  </a:lnTo>
                  <a:lnTo>
                    <a:pt x="882" y="720"/>
                  </a:lnTo>
                  <a:lnTo>
                    <a:pt x="936" y="720"/>
                  </a:lnTo>
                  <a:lnTo>
                    <a:pt x="924" y="708"/>
                  </a:lnTo>
                  <a:lnTo>
                    <a:pt x="918" y="708"/>
                  </a:lnTo>
                  <a:lnTo>
                    <a:pt x="906" y="696"/>
                  </a:lnTo>
                  <a:lnTo>
                    <a:pt x="882" y="696"/>
                  </a:lnTo>
                  <a:lnTo>
                    <a:pt x="876" y="690"/>
                  </a:lnTo>
                  <a:lnTo>
                    <a:pt x="876" y="684"/>
                  </a:lnTo>
                  <a:lnTo>
                    <a:pt x="882" y="678"/>
                  </a:lnTo>
                  <a:lnTo>
                    <a:pt x="906" y="678"/>
                  </a:lnTo>
                  <a:lnTo>
                    <a:pt x="924" y="666"/>
                  </a:lnTo>
                  <a:lnTo>
                    <a:pt x="930" y="672"/>
                  </a:lnTo>
                  <a:lnTo>
                    <a:pt x="936" y="684"/>
                  </a:lnTo>
                  <a:lnTo>
                    <a:pt x="942" y="690"/>
                  </a:lnTo>
                  <a:lnTo>
                    <a:pt x="948" y="690"/>
                  </a:lnTo>
                  <a:lnTo>
                    <a:pt x="954" y="684"/>
                  </a:lnTo>
                  <a:lnTo>
                    <a:pt x="960" y="690"/>
                  </a:lnTo>
                  <a:lnTo>
                    <a:pt x="966" y="702"/>
                  </a:lnTo>
                  <a:lnTo>
                    <a:pt x="966" y="708"/>
                  </a:lnTo>
                  <a:lnTo>
                    <a:pt x="960" y="714"/>
                  </a:lnTo>
                  <a:lnTo>
                    <a:pt x="954" y="714"/>
                  </a:lnTo>
                  <a:lnTo>
                    <a:pt x="942" y="720"/>
                  </a:lnTo>
                  <a:lnTo>
                    <a:pt x="924" y="738"/>
                  </a:lnTo>
                  <a:lnTo>
                    <a:pt x="888" y="738"/>
                  </a:lnTo>
                  <a:lnTo>
                    <a:pt x="882" y="744"/>
                  </a:lnTo>
                  <a:lnTo>
                    <a:pt x="882" y="756"/>
                  </a:lnTo>
                  <a:lnTo>
                    <a:pt x="888" y="762"/>
                  </a:lnTo>
                  <a:lnTo>
                    <a:pt x="900" y="762"/>
                  </a:lnTo>
                  <a:lnTo>
                    <a:pt x="906" y="768"/>
                  </a:lnTo>
                  <a:lnTo>
                    <a:pt x="918" y="768"/>
                  </a:lnTo>
                  <a:lnTo>
                    <a:pt x="918" y="786"/>
                  </a:lnTo>
                  <a:lnTo>
                    <a:pt x="912" y="798"/>
                  </a:lnTo>
                  <a:lnTo>
                    <a:pt x="912" y="816"/>
                  </a:lnTo>
                  <a:lnTo>
                    <a:pt x="918" y="822"/>
                  </a:lnTo>
                  <a:lnTo>
                    <a:pt x="984" y="858"/>
                  </a:lnTo>
                  <a:lnTo>
                    <a:pt x="1062" y="930"/>
                  </a:lnTo>
                  <a:lnTo>
                    <a:pt x="1068" y="930"/>
                  </a:lnTo>
                  <a:lnTo>
                    <a:pt x="1074" y="924"/>
                  </a:lnTo>
                  <a:lnTo>
                    <a:pt x="1110" y="924"/>
                  </a:lnTo>
                  <a:lnTo>
                    <a:pt x="1128" y="918"/>
                  </a:lnTo>
                  <a:lnTo>
                    <a:pt x="1188" y="918"/>
                  </a:lnTo>
                  <a:lnTo>
                    <a:pt x="1206" y="924"/>
                  </a:lnTo>
                  <a:lnTo>
                    <a:pt x="1224" y="924"/>
                  </a:lnTo>
                  <a:lnTo>
                    <a:pt x="1230" y="918"/>
                  </a:lnTo>
                  <a:lnTo>
                    <a:pt x="1254" y="906"/>
                  </a:lnTo>
                  <a:lnTo>
                    <a:pt x="1266" y="906"/>
                  </a:lnTo>
                  <a:lnTo>
                    <a:pt x="1272" y="918"/>
                  </a:lnTo>
                  <a:lnTo>
                    <a:pt x="1290" y="936"/>
                  </a:lnTo>
                  <a:lnTo>
                    <a:pt x="1296" y="954"/>
                  </a:lnTo>
                  <a:lnTo>
                    <a:pt x="1308" y="960"/>
                  </a:lnTo>
                  <a:lnTo>
                    <a:pt x="1314" y="972"/>
                  </a:lnTo>
                  <a:lnTo>
                    <a:pt x="1344" y="972"/>
                  </a:lnTo>
                  <a:lnTo>
                    <a:pt x="1344" y="984"/>
                  </a:lnTo>
                  <a:lnTo>
                    <a:pt x="1350" y="1002"/>
                  </a:lnTo>
                  <a:lnTo>
                    <a:pt x="1350" y="1044"/>
                  </a:lnTo>
                  <a:lnTo>
                    <a:pt x="1356" y="1050"/>
                  </a:lnTo>
                  <a:lnTo>
                    <a:pt x="1362" y="1050"/>
                  </a:lnTo>
                  <a:lnTo>
                    <a:pt x="1368" y="1044"/>
                  </a:lnTo>
                  <a:lnTo>
                    <a:pt x="1380" y="1044"/>
                  </a:lnTo>
                  <a:lnTo>
                    <a:pt x="1386" y="1050"/>
                  </a:lnTo>
                  <a:lnTo>
                    <a:pt x="1416" y="1110"/>
                  </a:lnTo>
                  <a:lnTo>
                    <a:pt x="1494" y="1110"/>
                  </a:lnTo>
                  <a:lnTo>
                    <a:pt x="1512" y="1116"/>
                  </a:lnTo>
                  <a:lnTo>
                    <a:pt x="1512" y="1134"/>
                  </a:lnTo>
                  <a:lnTo>
                    <a:pt x="1506" y="1140"/>
                  </a:lnTo>
                  <a:lnTo>
                    <a:pt x="1506" y="1152"/>
                  </a:lnTo>
                  <a:lnTo>
                    <a:pt x="1512" y="1152"/>
                  </a:lnTo>
                  <a:lnTo>
                    <a:pt x="1524" y="1158"/>
                  </a:lnTo>
                  <a:lnTo>
                    <a:pt x="1536" y="1158"/>
                  </a:lnTo>
                  <a:lnTo>
                    <a:pt x="1542" y="1164"/>
                  </a:lnTo>
                  <a:lnTo>
                    <a:pt x="1542" y="1152"/>
                  </a:lnTo>
                  <a:lnTo>
                    <a:pt x="1536" y="1146"/>
                  </a:lnTo>
                  <a:lnTo>
                    <a:pt x="1536" y="1134"/>
                  </a:lnTo>
                  <a:lnTo>
                    <a:pt x="1548" y="1122"/>
                  </a:lnTo>
                  <a:lnTo>
                    <a:pt x="1560" y="1116"/>
                  </a:lnTo>
                  <a:lnTo>
                    <a:pt x="1566" y="1110"/>
                  </a:lnTo>
                  <a:lnTo>
                    <a:pt x="1572" y="1110"/>
                  </a:lnTo>
                  <a:lnTo>
                    <a:pt x="1572" y="1092"/>
                  </a:lnTo>
                  <a:lnTo>
                    <a:pt x="1584" y="1080"/>
                  </a:lnTo>
                  <a:lnTo>
                    <a:pt x="1596" y="1074"/>
                  </a:lnTo>
                  <a:lnTo>
                    <a:pt x="1608" y="1074"/>
                  </a:lnTo>
                  <a:lnTo>
                    <a:pt x="1614" y="1068"/>
                  </a:lnTo>
                  <a:lnTo>
                    <a:pt x="1620" y="1068"/>
                  </a:lnTo>
                  <a:lnTo>
                    <a:pt x="1632" y="1044"/>
                  </a:lnTo>
                  <a:lnTo>
                    <a:pt x="1656" y="1044"/>
                  </a:lnTo>
                  <a:lnTo>
                    <a:pt x="1686" y="1026"/>
                  </a:lnTo>
                  <a:lnTo>
                    <a:pt x="1662" y="1026"/>
                  </a:lnTo>
                  <a:lnTo>
                    <a:pt x="1662" y="1008"/>
                  </a:lnTo>
                  <a:lnTo>
                    <a:pt x="1668" y="996"/>
                  </a:lnTo>
                  <a:lnTo>
                    <a:pt x="1686" y="978"/>
                  </a:lnTo>
                  <a:lnTo>
                    <a:pt x="1716" y="978"/>
                  </a:lnTo>
                  <a:lnTo>
                    <a:pt x="1728" y="984"/>
                  </a:lnTo>
                  <a:lnTo>
                    <a:pt x="1746" y="990"/>
                  </a:lnTo>
                  <a:lnTo>
                    <a:pt x="1782" y="1008"/>
                  </a:lnTo>
                  <a:lnTo>
                    <a:pt x="1812" y="1008"/>
                  </a:lnTo>
                  <a:lnTo>
                    <a:pt x="1830" y="1014"/>
                  </a:lnTo>
                  <a:lnTo>
                    <a:pt x="1830" y="1002"/>
                  </a:lnTo>
                  <a:lnTo>
                    <a:pt x="1824" y="990"/>
                  </a:lnTo>
                  <a:lnTo>
                    <a:pt x="1824" y="960"/>
                  </a:lnTo>
                  <a:lnTo>
                    <a:pt x="1830" y="954"/>
                  </a:lnTo>
                  <a:lnTo>
                    <a:pt x="1872" y="954"/>
                  </a:lnTo>
                  <a:lnTo>
                    <a:pt x="1884" y="960"/>
                  </a:lnTo>
                  <a:lnTo>
                    <a:pt x="1890" y="972"/>
                  </a:lnTo>
                  <a:lnTo>
                    <a:pt x="1914" y="972"/>
                  </a:lnTo>
                  <a:lnTo>
                    <a:pt x="1926" y="978"/>
                  </a:lnTo>
                  <a:lnTo>
                    <a:pt x="1944" y="978"/>
                  </a:lnTo>
                  <a:lnTo>
                    <a:pt x="1962" y="972"/>
                  </a:lnTo>
                  <a:lnTo>
                    <a:pt x="2082" y="972"/>
                  </a:lnTo>
                  <a:lnTo>
                    <a:pt x="2094" y="978"/>
                  </a:lnTo>
                  <a:lnTo>
                    <a:pt x="2106" y="978"/>
                  </a:lnTo>
                  <a:lnTo>
                    <a:pt x="2154" y="972"/>
                  </a:lnTo>
                  <a:lnTo>
                    <a:pt x="2166" y="984"/>
                  </a:lnTo>
                  <a:lnTo>
                    <a:pt x="2184" y="984"/>
                  </a:lnTo>
                  <a:lnTo>
                    <a:pt x="2208" y="1014"/>
                  </a:lnTo>
                  <a:lnTo>
                    <a:pt x="2250" y="1014"/>
                  </a:lnTo>
                  <a:lnTo>
                    <a:pt x="2268" y="1020"/>
                  </a:lnTo>
                  <a:lnTo>
                    <a:pt x="2262" y="1014"/>
                  </a:lnTo>
                  <a:lnTo>
                    <a:pt x="2262" y="1002"/>
                  </a:lnTo>
                  <a:lnTo>
                    <a:pt x="2256" y="996"/>
                  </a:lnTo>
                  <a:lnTo>
                    <a:pt x="2256" y="984"/>
                  </a:lnTo>
                  <a:lnTo>
                    <a:pt x="2280" y="984"/>
                  </a:lnTo>
                  <a:lnTo>
                    <a:pt x="2262" y="966"/>
                  </a:lnTo>
                  <a:lnTo>
                    <a:pt x="2262" y="960"/>
                  </a:lnTo>
                  <a:lnTo>
                    <a:pt x="2268" y="954"/>
                  </a:lnTo>
                  <a:lnTo>
                    <a:pt x="2286" y="954"/>
                  </a:lnTo>
                  <a:lnTo>
                    <a:pt x="2286" y="942"/>
                  </a:lnTo>
                  <a:lnTo>
                    <a:pt x="2274" y="936"/>
                  </a:lnTo>
                  <a:lnTo>
                    <a:pt x="2268" y="924"/>
                  </a:lnTo>
                  <a:lnTo>
                    <a:pt x="2226" y="882"/>
                  </a:lnTo>
                  <a:lnTo>
                    <a:pt x="2214" y="858"/>
                  </a:lnTo>
                  <a:lnTo>
                    <a:pt x="2214" y="828"/>
                  </a:lnTo>
                  <a:lnTo>
                    <a:pt x="2196" y="828"/>
                  </a:lnTo>
                  <a:lnTo>
                    <a:pt x="2184" y="822"/>
                  </a:lnTo>
                  <a:lnTo>
                    <a:pt x="2178" y="816"/>
                  </a:lnTo>
                  <a:lnTo>
                    <a:pt x="2178" y="810"/>
                  </a:lnTo>
                  <a:lnTo>
                    <a:pt x="2184" y="804"/>
                  </a:lnTo>
                  <a:lnTo>
                    <a:pt x="2196" y="798"/>
                  </a:lnTo>
                  <a:lnTo>
                    <a:pt x="2208" y="798"/>
                  </a:lnTo>
                  <a:lnTo>
                    <a:pt x="2220" y="792"/>
                  </a:lnTo>
                  <a:lnTo>
                    <a:pt x="2232" y="792"/>
                  </a:lnTo>
                  <a:lnTo>
                    <a:pt x="2268" y="774"/>
                  </a:lnTo>
                  <a:lnTo>
                    <a:pt x="2280" y="774"/>
                  </a:lnTo>
                  <a:lnTo>
                    <a:pt x="2286" y="780"/>
                  </a:lnTo>
                  <a:lnTo>
                    <a:pt x="2292" y="792"/>
                  </a:lnTo>
                  <a:lnTo>
                    <a:pt x="2298" y="798"/>
                  </a:lnTo>
                  <a:lnTo>
                    <a:pt x="2316" y="786"/>
                  </a:lnTo>
                  <a:lnTo>
                    <a:pt x="2328" y="798"/>
                  </a:lnTo>
                  <a:lnTo>
                    <a:pt x="2334" y="798"/>
                  </a:lnTo>
                  <a:lnTo>
                    <a:pt x="2340" y="792"/>
                  </a:lnTo>
                  <a:lnTo>
                    <a:pt x="2340" y="780"/>
                  </a:lnTo>
                  <a:lnTo>
                    <a:pt x="2334" y="774"/>
                  </a:lnTo>
                  <a:lnTo>
                    <a:pt x="2328" y="774"/>
                  </a:lnTo>
                  <a:lnTo>
                    <a:pt x="2322" y="768"/>
                  </a:lnTo>
                  <a:lnTo>
                    <a:pt x="2316" y="768"/>
                  </a:lnTo>
                  <a:lnTo>
                    <a:pt x="2316" y="630"/>
                  </a:lnTo>
                  <a:lnTo>
                    <a:pt x="2328" y="630"/>
                  </a:lnTo>
                  <a:lnTo>
                    <a:pt x="2340" y="636"/>
                  </a:lnTo>
                  <a:lnTo>
                    <a:pt x="2352" y="636"/>
                  </a:lnTo>
                  <a:lnTo>
                    <a:pt x="2376" y="648"/>
                  </a:lnTo>
                  <a:lnTo>
                    <a:pt x="2424" y="648"/>
                  </a:lnTo>
                  <a:lnTo>
                    <a:pt x="2436" y="660"/>
                  </a:lnTo>
                  <a:lnTo>
                    <a:pt x="2454" y="642"/>
                  </a:lnTo>
                  <a:lnTo>
                    <a:pt x="2472" y="642"/>
                  </a:lnTo>
                  <a:lnTo>
                    <a:pt x="2478" y="636"/>
                  </a:lnTo>
                  <a:lnTo>
                    <a:pt x="2478" y="618"/>
                  </a:lnTo>
                  <a:lnTo>
                    <a:pt x="2466" y="594"/>
                  </a:lnTo>
                  <a:lnTo>
                    <a:pt x="2454" y="582"/>
                  </a:lnTo>
                  <a:lnTo>
                    <a:pt x="2442" y="558"/>
                  </a:lnTo>
                  <a:lnTo>
                    <a:pt x="2442" y="540"/>
                  </a:lnTo>
                  <a:lnTo>
                    <a:pt x="2454" y="528"/>
                  </a:lnTo>
                  <a:lnTo>
                    <a:pt x="2496" y="528"/>
                  </a:lnTo>
                  <a:lnTo>
                    <a:pt x="2502" y="522"/>
                  </a:lnTo>
                  <a:lnTo>
                    <a:pt x="2502" y="510"/>
                  </a:lnTo>
                  <a:lnTo>
                    <a:pt x="2484" y="492"/>
                  </a:lnTo>
                  <a:close/>
                  <a:moveTo>
                    <a:pt x="2082" y="696"/>
                  </a:moveTo>
                  <a:lnTo>
                    <a:pt x="2046" y="696"/>
                  </a:lnTo>
                  <a:lnTo>
                    <a:pt x="2046" y="702"/>
                  </a:lnTo>
                  <a:lnTo>
                    <a:pt x="2040" y="708"/>
                  </a:lnTo>
                  <a:lnTo>
                    <a:pt x="2028" y="708"/>
                  </a:lnTo>
                  <a:lnTo>
                    <a:pt x="2022" y="702"/>
                  </a:lnTo>
                  <a:lnTo>
                    <a:pt x="2010" y="696"/>
                  </a:lnTo>
                  <a:lnTo>
                    <a:pt x="1980" y="702"/>
                  </a:lnTo>
                  <a:lnTo>
                    <a:pt x="1950" y="696"/>
                  </a:lnTo>
                  <a:lnTo>
                    <a:pt x="1932" y="696"/>
                  </a:lnTo>
                  <a:lnTo>
                    <a:pt x="1908" y="690"/>
                  </a:lnTo>
                  <a:lnTo>
                    <a:pt x="1860" y="690"/>
                  </a:lnTo>
                  <a:lnTo>
                    <a:pt x="1854" y="684"/>
                  </a:lnTo>
                  <a:lnTo>
                    <a:pt x="1854" y="678"/>
                  </a:lnTo>
                  <a:lnTo>
                    <a:pt x="1836" y="696"/>
                  </a:lnTo>
                  <a:lnTo>
                    <a:pt x="1830" y="696"/>
                  </a:lnTo>
                  <a:lnTo>
                    <a:pt x="1824" y="708"/>
                  </a:lnTo>
                  <a:lnTo>
                    <a:pt x="1824" y="714"/>
                  </a:lnTo>
                  <a:lnTo>
                    <a:pt x="1818" y="726"/>
                  </a:lnTo>
                  <a:lnTo>
                    <a:pt x="1812" y="732"/>
                  </a:lnTo>
                  <a:lnTo>
                    <a:pt x="1794" y="732"/>
                  </a:lnTo>
                  <a:lnTo>
                    <a:pt x="1800" y="762"/>
                  </a:lnTo>
                  <a:lnTo>
                    <a:pt x="1788" y="768"/>
                  </a:lnTo>
                  <a:lnTo>
                    <a:pt x="1806" y="786"/>
                  </a:lnTo>
                  <a:lnTo>
                    <a:pt x="1800" y="810"/>
                  </a:lnTo>
                  <a:lnTo>
                    <a:pt x="1794" y="810"/>
                  </a:lnTo>
                  <a:lnTo>
                    <a:pt x="1788" y="798"/>
                  </a:lnTo>
                  <a:lnTo>
                    <a:pt x="1776" y="792"/>
                  </a:lnTo>
                  <a:lnTo>
                    <a:pt x="1770" y="780"/>
                  </a:lnTo>
                  <a:lnTo>
                    <a:pt x="1758" y="774"/>
                  </a:lnTo>
                  <a:lnTo>
                    <a:pt x="1752" y="762"/>
                  </a:lnTo>
                  <a:lnTo>
                    <a:pt x="1752" y="750"/>
                  </a:lnTo>
                  <a:lnTo>
                    <a:pt x="1746" y="732"/>
                  </a:lnTo>
                  <a:lnTo>
                    <a:pt x="1746" y="720"/>
                  </a:lnTo>
                  <a:lnTo>
                    <a:pt x="1764" y="702"/>
                  </a:lnTo>
                  <a:lnTo>
                    <a:pt x="1776" y="702"/>
                  </a:lnTo>
                  <a:lnTo>
                    <a:pt x="1782" y="696"/>
                  </a:lnTo>
                  <a:lnTo>
                    <a:pt x="1788" y="684"/>
                  </a:lnTo>
                  <a:lnTo>
                    <a:pt x="1788" y="678"/>
                  </a:lnTo>
                  <a:lnTo>
                    <a:pt x="1800" y="666"/>
                  </a:lnTo>
                  <a:lnTo>
                    <a:pt x="1818" y="666"/>
                  </a:lnTo>
                  <a:lnTo>
                    <a:pt x="1830" y="672"/>
                  </a:lnTo>
                  <a:lnTo>
                    <a:pt x="1848" y="672"/>
                  </a:lnTo>
                  <a:lnTo>
                    <a:pt x="1854" y="666"/>
                  </a:lnTo>
                  <a:lnTo>
                    <a:pt x="1896" y="666"/>
                  </a:lnTo>
                  <a:lnTo>
                    <a:pt x="1908" y="672"/>
                  </a:lnTo>
                  <a:lnTo>
                    <a:pt x="1914" y="678"/>
                  </a:lnTo>
                  <a:lnTo>
                    <a:pt x="1932" y="678"/>
                  </a:lnTo>
                  <a:lnTo>
                    <a:pt x="1944" y="684"/>
                  </a:lnTo>
                  <a:lnTo>
                    <a:pt x="1974" y="684"/>
                  </a:lnTo>
                  <a:lnTo>
                    <a:pt x="1986" y="672"/>
                  </a:lnTo>
                  <a:lnTo>
                    <a:pt x="2028" y="672"/>
                  </a:lnTo>
                  <a:lnTo>
                    <a:pt x="2034" y="678"/>
                  </a:lnTo>
                  <a:lnTo>
                    <a:pt x="2046" y="678"/>
                  </a:lnTo>
                  <a:lnTo>
                    <a:pt x="2052" y="672"/>
                  </a:lnTo>
                  <a:lnTo>
                    <a:pt x="2064" y="666"/>
                  </a:lnTo>
                  <a:lnTo>
                    <a:pt x="2088" y="666"/>
                  </a:lnTo>
                  <a:lnTo>
                    <a:pt x="2088" y="684"/>
                  </a:lnTo>
                  <a:lnTo>
                    <a:pt x="2082" y="690"/>
                  </a:lnTo>
                  <a:lnTo>
                    <a:pt x="2082" y="69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112" name="Jordan" descr="© INSCALE GmbH, 05.05.2010&#10;http://www.presentationload.com/"/>
            <p:cNvSpPr>
              <a:spLocks/>
            </p:cNvSpPr>
            <p:nvPr/>
          </p:nvSpPr>
          <p:spPr bwMode="gray">
            <a:xfrm>
              <a:off x="5252842" y="3470938"/>
              <a:ext cx="90869" cy="105332"/>
            </a:xfrm>
            <a:custGeom>
              <a:avLst/>
              <a:gdLst>
                <a:gd name="T0" fmla="*/ 2147483647 w 282"/>
                <a:gd name="T1" fmla="*/ 2147483647 h 336"/>
                <a:gd name="T2" fmla="*/ 2147483647 w 282"/>
                <a:gd name="T3" fmla="*/ 2147483647 h 336"/>
                <a:gd name="T4" fmla="*/ 2147483647 w 282"/>
                <a:gd name="T5" fmla="*/ 0 h 336"/>
                <a:gd name="T6" fmla="*/ 2147483647 w 282"/>
                <a:gd name="T7" fmla="*/ 2147483647 h 336"/>
                <a:gd name="T8" fmla="*/ 2147483647 w 282"/>
                <a:gd name="T9" fmla="*/ 2147483647 h 336"/>
                <a:gd name="T10" fmla="*/ 2147483647 w 282"/>
                <a:gd name="T11" fmla="*/ 2147483647 h 336"/>
                <a:gd name="T12" fmla="*/ 2147483647 w 282"/>
                <a:gd name="T13" fmla="*/ 2147483647 h 336"/>
                <a:gd name="T14" fmla="*/ 2147483647 w 282"/>
                <a:gd name="T15" fmla="*/ 2147483647 h 336"/>
                <a:gd name="T16" fmla="*/ 2147483647 w 282"/>
                <a:gd name="T17" fmla="*/ 2147483647 h 336"/>
                <a:gd name="T18" fmla="*/ 2147483647 w 282"/>
                <a:gd name="T19" fmla="*/ 2147483647 h 336"/>
                <a:gd name="T20" fmla="*/ 2147483647 w 282"/>
                <a:gd name="T21" fmla="*/ 2147483647 h 336"/>
                <a:gd name="T22" fmla="*/ 2147483647 w 282"/>
                <a:gd name="T23" fmla="*/ 2147483647 h 336"/>
                <a:gd name="T24" fmla="*/ 2147483647 w 282"/>
                <a:gd name="T25" fmla="*/ 2147483647 h 336"/>
                <a:gd name="T26" fmla="*/ 2147483647 w 282"/>
                <a:gd name="T27" fmla="*/ 2147483647 h 336"/>
                <a:gd name="T28" fmla="*/ 2147483647 w 282"/>
                <a:gd name="T29" fmla="*/ 2147483647 h 336"/>
                <a:gd name="T30" fmla="*/ 2147483647 w 282"/>
                <a:gd name="T31" fmla="*/ 2147483647 h 336"/>
                <a:gd name="T32" fmla="*/ 2147483647 w 282"/>
                <a:gd name="T33" fmla="*/ 2147483647 h 336"/>
                <a:gd name="T34" fmla="*/ 2147483647 w 282"/>
                <a:gd name="T35" fmla="*/ 2147483647 h 336"/>
                <a:gd name="T36" fmla="*/ 2147483647 w 282"/>
                <a:gd name="T37" fmla="*/ 2147483647 h 336"/>
                <a:gd name="T38" fmla="*/ 2147483647 w 282"/>
                <a:gd name="T39" fmla="*/ 2147483647 h 336"/>
                <a:gd name="T40" fmla="*/ 2147483647 w 282"/>
                <a:gd name="T41" fmla="*/ 2147483647 h 336"/>
                <a:gd name="T42" fmla="*/ 2147483647 w 282"/>
                <a:gd name="T43" fmla="*/ 2147483647 h 336"/>
                <a:gd name="T44" fmla="*/ 2147483647 w 282"/>
                <a:gd name="T45" fmla="*/ 2147483647 h 336"/>
                <a:gd name="T46" fmla="*/ 0 w 282"/>
                <a:gd name="T47" fmla="*/ 2147483647 h 336"/>
                <a:gd name="T48" fmla="*/ 0 w 282"/>
                <a:gd name="T49" fmla="*/ 2147483647 h 336"/>
                <a:gd name="T50" fmla="*/ 2147483647 w 282"/>
                <a:gd name="T51" fmla="*/ 2147483647 h 336"/>
                <a:gd name="T52" fmla="*/ 2147483647 w 282"/>
                <a:gd name="T53" fmla="*/ 2147483647 h 336"/>
                <a:gd name="T54" fmla="*/ 2147483647 w 282"/>
                <a:gd name="T55" fmla="*/ 2147483647 h 336"/>
                <a:gd name="T56" fmla="*/ 2147483647 w 282"/>
                <a:gd name="T57" fmla="*/ 2147483647 h 336"/>
                <a:gd name="T58" fmla="*/ 2147483647 w 282"/>
                <a:gd name="T59" fmla="*/ 2147483647 h 336"/>
                <a:gd name="T60" fmla="*/ 2147483647 w 282"/>
                <a:gd name="T61" fmla="*/ 2147483647 h 336"/>
                <a:gd name="T62" fmla="*/ 2147483647 w 282"/>
                <a:gd name="T63" fmla="*/ 2147483647 h 336"/>
                <a:gd name="T64" fmla="*/ 2147483647 w 282"/>
                <a:gd name="T65" fmla="*/ 2147483647 h 336"/>
                <a:gd name="T66" fmla="*/ 2147483647 w 282"/>
                <a:gd name="T67" fmla="*/ 2147483647 h 336"/>
                <a:gd name="T68" fmla="*/ 2147483647 w 282"/>
                <a:gd name="T69" fmla="*/ 2147483647 h 336"/>
                <a:gd name="T70" fmla="*/ 2147483647 w 282"/>
                <a:gd name="T71" fmla="*/ 2147483647 h 336"/>
                <a:gd name="T72" fmla="*/ 2147483647 w 282"/>
                <a:gd name="T73" fmla="*/ 2147483647 h 336"/>
                <a:gd name="T74" fmla="*/ 2147483647 w 282"/>
                <a:gd name="T75" fmla="*/ 2147483647 h 336"/>
                <a:gd name="T76" fmla="*/ 2147483647 w 282"/>
                <a:gd name="T77" fmla="*/ 2147483647 h 336"/>
                <a:gd name="T78" fmla="*/ 2147483647 w 282"/>
                <a:gd name="T79" fmla="*/ 2147483647 h 336"/>
                <a:gd name="T80" fmla="*/ 2147483647 w 282"/>
                <a:gd name="T81" fmla="*/ 2147483647 h 336"/>
                <a:gd name="T82" fmla="*/ 2147483647 w 282"/>
                <a:gd name="T83" fmla="*/ 2147483647 h 336"/>
                <a:gd name="T84" fmla="*/ 2147483647 w 282"/>
                <a:gd name="T85" fmla="*/ 2147483647 h 336"/>
                <a:gd name="T86" fmla="*/ 2147483647 w 282"/>
                <a:gd name="T87" fmla="*/ 2147483647 h 336"/>
                <a:gd name="T88" fmla="*/ 2147483647 w 282"/>
                <a:gd name="T89" fmla="*/ 2147483647 h 336"/>
                <a:gd name="T90" fmla="*/ 2147483647 w 282"/>
                <a:gd name="T91" fmla="*/ 2147483647 h 336"/>
                <a:gd name="T92" fmla="*/ 2147483647 w 282"/>
                <a:gd name="T93" fmla="*/ 2147483647 h 336"/>
                <a:gd name="T94" fmla="*/ 2147483647 w 282"/>
                <a:gd name="T95" fmla="*/ 2147483647 h 336"/>
                <a:gd name="T96" fmla="*/ 2147483647 w 282"/>
                <a:gd name="T97" fmla="*/ 2147483647 h 336"/>
                <a:gd name="T98" fmla="*/ 2147483647 w 282"/>
                <a:gd name="T99" fmla="*/ 2147483647 h 336"/>
                <a:gd name="T100" fmla="*/ 2147483647 w 282"/>
                <a:gd name="T101" fmla="*/ 2147483647 h 336"/>
                <a:gd name="T102" fmla="*/ 2147483647 w 282"/>
                <a:gd name="T103" fmla="*/ 2147483647 h 336"/>
                <a:gd name="T104" fmla="*/ 2147483647 w 282"/>
                <a:gd name="T105" fmla="*/ 2147483647 h 336"/>
                <a:gd name="T106" fmla="*/ 2147483647 w 282"/>
                <a:gd name="T107" fmla="*/ 2147483647 h 336"/>
                <a:gd name="T108" fmla="*/ 2147483647 w 282"/>
                <a:gd name="T109" fmla="*/ 2147483647 h 336"/>
                <a:gd name="T110" fmla="*/ 2147483647 w 282"/>
                <a:gd name="T111" fmla="*/ 2147483647 h 336"/>
                <a:gd name="T112" fmla="*/ 2147483647 w 282"/>
                <a:gd name="T113" fmla="*/ 2147483647 h 336"/>
                <a:gd name="T114" fmla="*/ 2147483647 w 282"/>
                <a:gd name="T115" fmla="*/ 2147483647 h 336"/>
                <a:gd name="T116" fmla="*/ 2147483647 w 282"/>
                <a:gd name="T117" fmla="*/ 2147483647 h 336"/>
                <a:gd name="T118" fmla="*/ 2147483647 w 282"/>
                <a:gd name="T119" fmla="*/ 2147483647 h 336"/>
                <a:gd name="T120" fmla="*/ 2147483647 w 282"/>
                <a:gd name="T121" fmla="*/ 2147483647 h 336"/>
                <a:gd name="T122" fmla="*/ 2147483647 w 282"/>
                <a:gd name="T123" fmla="*/ 2147483647 h 3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82"/>
                <a:gd name="T187" fmla="*/ 0 h 336"/>
                <a:gd name="T188" fmla="*/ 282 w 282"/>
                <a:gd name="T189" fmla="*/ 336 h 3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82" h="336">
                  <a:moveTo>
                    <a:pt x="258" y="60"/>
                  </a:moveTo>
                  <a:lnTo>
                    <a:pt x="258" y="42"/>
                  </a:lnTo>
                  <a:lnTo>
                    <a:pt x="234" y="0"/>
                  </a:lnTo>
                  <a:lnTo>
                    <a:pt x="222" y="6"/>
                  </a:lnTo>
                  <a:lnTo>
                    <a:pt x="198" y="30"/>
                  </a:lnTo>
                  <a:lnTo>
                    <a:pt x="138" y="78"/>
                  </a:lnTo>
                  <a:lnTo>
                    <a:pt x="114" y="84"/>
                  </a:lnTo>
                  <a:lnTo>
                    <a:pt x="96" y="84"/>
                  </a:lnTo>
                  <a:lnTo>
                    <a:pt x="84" y="78"/>
                  </a:lnTo>
                  <a:lnTo>
                    <a:pt x="72" y="66"/>
                  </a:lnTo>
                  <a:lnTo>
                    <a:pt x="36" y="48"/>
                  </a:lnTo>
                  <a:lnTo>
                    <a:pt x="30" y="48"/>
                  </a:lnTo>
                  <a:lnTo>
                    <a:pt x="24" y="66"/>
                  </a:lnTo>
                  <a:lnTo>
                    <a:pt x="30" y="138"/>
                  </a:lnTo>
                  <a:lnTo>
                    <a:pt x="18" y="150"/>
                  </a:lnTo>
                  <a:lnTo>
                    <a:pt x="18" y="162"/>
                  </a:lnTo>
                  <a:lnTo>
                    <a:pt x="30" y="174"/>
                  </a:lnTo>
                  <a:lnTo>
                    <a:pt x="30" y="186"/>
                  </a:lnTo>
                  <a:lnTo>
                    <a:pt x="24" y="198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0" y="312"/>
                  </a:lnTo>
                  <a:lnTo>
                    <a:pt x="6" y="324"/>
                  </a:lnTo>
                  <a:lnTo>
                    <a:pt x="24" y="324"/>
                  </a:lnTo>
                  <a:lnTo>
                    <a:pt x="48" y="336"/>
                  </a:lnTo>
                  <a:lnTo>
                    <a:pt x="84" y="336"/>
                  </a:lnTo>
                  <a:lnTo>
                    <a:pt x="96" y="324"/>
                  </a:lnTo>
                  <a:lnTo>
                    <a:pt x="108" y="300"/>
                  </a:lnTo>
                  <a:lnTo>
                    <a:pt x="108" y="288"/>
                  </a:lnTo>
                  <a:lnTo>
                    <a:pt x="120" y="276"/>
                  </a:lnTo>
                  <a:lnTo>
                    <a:pt x="126" y="276"/>
                  </a:lnTo>
                  <a:lnTo>
                    <a:pt x="138" y="270"/>
                  </a:lnTo>
                  <a:lnTo>
                    <a:pt x="150" y="270"/>
                  </a:lnTo>
                  <a:lnTo>
                    <a:pt x="162" y="264"/>
                  </a:lnTo>
                  <a:lnTo>
                    <a:pt x="168" y="258"/>
                  </a:lnTo>
                  <a:lnTo>
                    <a:pt x="174" y="246"/>
                  </a:lnTo>
                  <a:lnTo>
                    <a:pt x="180" y="240"/>
                  </a:lnTo>
                  <a:lnTo>
                    <a:pt x="180" y="228"/>
                  </a:lnTo>
                  <a:lnTo>
                    <a:pt x="186" y="222"/>
                  </a:lnTo>
                  <a:lnTo>
                    <a:pt x="186" y="210"/>
                  </a:lnTo>
                  <a:lnTo>
                    <a:pt x="180" y="204"/>
                  </a:lnTo>
                  <a:lnTo>
                    <a:pt x="168" y="18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20" y="150"/>
                  </a:lnTo>
                  <a:lnTo>
                    <a:pt x="96" y="150"/>
                  </a:lnTo>
                  <a:lnTo>
                    <a:pt x="96" y="144"/>
                  </a:lnTo>
                  <a:lnTo>
                    <a:pt x="108" y="144"/>
                  </a:lnTo>
                  <a:lnTo>
                    <a:pt x="120" y="138"/>
                  </a:lnTo>
                  <a:lnTo>
                    <a:pt x="186" y="138"/>
                  </a:lnTo>
                  <a:lnTo>
                    <a:pt x="198" y="114"/>
                  </a:lnTo>
                  <a:lnTo>
                    <a:pt x="240" y="114"/>
                  </a:lnTo>
                  <a:lnTo>
                    <a:pt x="252" y="108"/>
                  </a:lnTo>
                  <a:lnTo>
                    <a:pt x="258" y="102"/>
                  </a:lnTo>
                  <a:lnTo>
                    <a:pt x="264" y="102"/>
                  </a:lnTo>
                  <a:lnTo>
                    <a:pt x="276" y="96"/>
                  </a:lnTo>
                  <a:lnTo>
                    <a:pt x="282" y="90"/>
                  </a:lnTo>
                  <a:lnTo>
                    <a:pt x="282" y="78"/>
                  </a:lnTo>
                  <a:lnTo>
                    <a:pt x="258" y="6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113" name="Jamaica" descr="© INSCALE GmbH, 05.05.2010&#10;http://www.presentationload.com/"/>
            <p:cNvSpPr>
              <a:spLocks/>
            </p:cNvSpPr>
            <p:nvPr/>
          </p:nvSpPr>
          <p:spPr bwMode="gray">
            <a:xfrm>
              <a:off x="2682921" y="3844499"/>
              <a:ext cx="49914" cy="15922"/>
            </a:xfrm>
            <a:custGeom>
              <a:avLst/>
              <a:gdLst>
                <a:gd name="T0" fmla="*/ 2147483647 w 156"/>
                <a:gd name="T1" fmla="*/ 2147483647 h 54"/>
                <a:gd name="T2" fmla="*/ 2147483647 w 156"/>
                <a:gd name="T3" fmla="*/ 2147483647 h 54"/>
                <a:gd name="T4" fmla="*/ 2147483647 w 156"/>
                <a:gd name="T5" fmla="*/ 2147483647 h 54"/>
                <a:gd name="T6" fmla="*/ 2147483647 w 156"/>
                <a:gd name="T7" fmla="*/ 2147483647 h 54"/>
                <a:gd name="T8" fmla="*/ 2147483647 w 156"/>
                <a:gd name="T9" fmla="*/ 2147483647 h 54"/>
                <a:gd name="T10" fmla="*/ 2147483647 w 156"/>
                <a:gd name="T11" fmla="*/ 2147483647 h 54"/>
                <a:gd name="T12" fmla="*/ 2147483647 w 156"/>
                <a:gd name="T13" fmla="*/ 2147483647 h 54"/>
                <a:gd name="T14" fmla="*/ 2147483647 w 156"/>
                <a:gd name="T15" fmla="*/ 2147483647 h 54"/>
                <a:gd name="T16" fmla="*/ 2147483647 w 156"/>
                <a:gd name="T17" fmla="*/ 0 h 54"/>
                <a:gd name="T18" fmla="*/ 2147483647 w 156"/>
                <a:gd name="T19" fmla="*/ 0 h 54"/>
                <a:gd name="T20" fmla="*/ 2147483647 w 156"/>
                <a:gd name="T21" fmla="*/ 2147483647 h 54"/>
                <a:gd name="T22" fmla="*/ 0 w 156"/>
                <a:gd name="T23" fmla="*/ 2147483647 h 54"/>
                <a:gd name="T24" fmla="*/ 2147483647 w 156"/>
                <a:gd name="T25" fmla="*/ 2147483647 h 54"/>
                <a:gd name="T26" fmla="*/ 2147483647 w 156"/>
                <a:gd name="T27" fmla="*/ 2147483647 h 54"/>
                <a:gd name="T28" fmla="*/ 2147483647 w 156"/>
                <a:gd name="T29" fmla="*/ 2147483647 h 54"/>
                <a:gd name="T30" fmla="*/ 2147483647 w 156"/>
                <a:gd name="T31" fmla="*/ 2147483647 h 54"/>
                <a:gd name="T32" fmla="*/ 2147483647 w 156"/>
                <a:gd name="T33" fmla="*/ 2147483647 h 54"/>
                <a:gd name="T34" fmla="*/ 2147483647 w 156"/>
                <a:gd name="T35" fmla="*/ 2147483647 h 54"/>
                <a:gd name="T36" fmla="*/ 2147483647 w 156"/>
                <a:gd name="T37" fmla="*/ 2147483647 h 5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56"/>
                <a:gd name="T58" fmla="*/ 0 h 54"/>
                <a:gd name="T59" fmla="*/ 156 w 156"/>
                <a:gd name="T60" fmla="*/ 54 h 5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56" h="54">
                  <a:moveTo>
                    <a:pt x="108" y="54"/>
                  </a:moveTo>
                  <a:lnTo>
                    <a:pt x="114" y="36"/>
                  </a:lnTo>
                  <a:lnTo>
                    <a:pt x="156" y="48"/>
                  </a:lnTo>
                  <a:lnTo>
                    <a:pt x="156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26" y="6"/>
                  </a:lnTo>
                  <a:lnTo>
                    <a:pt x="84" y="6"/>
                  </a:lnTo>
                  <a:lnTo>
                    <a:pt x="66" y="0"/>
                  </a:lnTo>
                  <a:lnTo>
                    <a:pt x="24" y="0"/>
                  </a:lnTo>
                  <a:lnTo>
                    <a:pt x="12" y="6"/>
                  </a:lnTo>
                  <a:lnTo>
                    <a:pt x="0" y="6"/>
                  </a:lnTo>
                  <a:lnTo>
                    <a:pt x="6" y="18"/>
                  </a:lnTo>
                  <a:lnTo>
                    <a:pt x="18" y="24"/>
                  </a:lnTo>
                  <a:lnTo>
                    <a:pt x="24" y="36"/>
                  </a:lnTo>
                  <a:lnTo>
                    <a:pt x="36" y="42"/>
                  </a:lnTo>
                  <a:lnTo>
                    <a:pt x="60" y="42"/>
                  </a:lnTo>
                  <a:lnTo>
                    <a:pt x="78" y="48"/>
                  </a:lnTo>
                  <a:lnTo>
                    <a:pt x="108" y="5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114" name="Japan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7255793" y="3167191"/>
              <a:ext cx="284125" cy="531558"/>
            </a:xfrm>
            <a:custGeom>
              <a:avLst/>
              <a:gdLst>
                <a:gd name="T0" fmla="*/ 2147483647 w 876"/>
                <a:gd name="T1" fmla="*/ 2147483647 h 1710"/>
                <a:gd name="T2" fmla="*/ 2147483647 w 876"/>
                <a:gd name="T3" fmla="*/ 2147483647 h 1710"/>
                <a:gd name="T4" fmla="*/ 2147483647 w 876"/>
                <a:gd name="T5" fmla="*/ 2147483647 h 1710"/>
                <a:gd name="T6" fmla="*/ 2147483647 w 876"/>
                <a:gd name="T7" fmla="*/ 2147483647 h 1710"/>
                <a:gd name="T8" fmla="*/ 2147483647 w 876"/>
                <a:gd name="T9" fmla="*/ 2147483647 h 1710"/>
                <a:gd name="T10" fmla="*/ 2147483647 w 876"/>
                <a:gd name="T11" fmla="*/ 2147483647 h 1710"/>
                <a:gd name="T12" fmla="*/ 2147483647 w 876"/>
                <a:gd name="T13" fmla="*/ 2147483647 h 1710"/>
                <a:gd name="T14" fmla="*/ 2147483647 w 876"/>
                <a:gd name="T15" fmla="*/ 2147483647 h 1710"/>
                <a:gd name="T16" fmla="*/ 2147483647 w 876"/>
                <a:gd name="T17" fmla="*/ 2147483647 h 1710"/>
                <a:gd name="T18" fmla="*/ 2147483647 w 876"/>
                <a:gd name="T19" fmla="*/ 2147483647 h 1710"/>
                <a:gd name="T20" fmla="*/ 2147483647 w 876"/>
                <a:gd name="T21" fmla="*/ 2147483647 h 1710"/>
                <a:gd name="T22" fmla="*/ 2147483647 w 876"/>
                <a:gd name="T23" fmla="*/ 2147483647 h 1710"/>
                <a:gd name="T24" fmla="*/ 2147483647 w 876"/>
                <a:gd name="T25" fmla="*/ 2147483647 h 1710"/>
                <a:gd name="T26" fmla="*/ 2147483647 w 876"/>
                <a:gd name="T27" fmla="*/ 2147483647 h 1710"/>
                <a:gd name="T28" fmla="*/ 2147483647 w 876"/>
                <a:gd name="T29" fmla="*/ 2147483647 h 1710"/>
                <a:gd name="T30" fmla="*/ 2147483647 w 876"/>
                <a:gd name="T31" fmla="*/ 2147483647 h 1710"/>
                <a:gd name="T32" fmla="*/ 2147483647 w 876"/>
                <a:gd name="T33" fmla="*/ 2147483647 h 1710"/>
                <a:gd name="T34" fmla="*/ 2147483647 w 876"/>
                <a:gd name="T35" fmla="*/ 2147483647 h 1710"/>
                <a:gd name="T36" fmla="*/ 2147483647 w 876"/>
                <a:gd name="T37" fmla="*/ 2147483647 h 1710"/>
                <a:gd name="T38" fmla="*/ 2147483647 w 876"/>
                <a:gd name="T39" fmla="*/ 2147483647 h 1710"/>
                <a:gd name="T40" fmla="*/ 2147483647 w 876"/>
                <a:gd name="T41" fmla="*/ 2147483647 h 1710"/>
                <a:gd name="T42" fmla="*/ 2147483647 w 876"/>
                <a:gd name="T43" fmla="*/ 2147483647 h 1710"/>
                <a:gd name="T44" fmla="*/ 2147483647 w 876"/>
                <a:gd name="T45" fmla="*/ 2147483647 h 1710"/>
                <a:gd name="T46" fmla="*/ 2147483647 w 876"/>
                <a:gd name="T47" fmla="*/ 2147483647 h 1710"/>
                <a:gd name="T48" fmla="*/ 2147483647 w 876"/>
                <a:gd name="T49" fmla="*/ 2147483647 h 1710"/>
                <a:gd name="T50" fmla="*/ 2147483647 w 876"/>
                <a:gd name="T51" fmla="*/ 2147483647 h 1710"/>
                <a:gd name="T52" fmla="*/ 2147483647 w 876"/>
                <a:gd name="T53" fmla="*/ 2147483647 h 1710"/>
                <a:gd name="T54" fmla="*/ 2147483647 w 876"/>
                <a:gd name="T55" fmla="*/ 2147483647 h 1710"/>
                <a:gd name="T56" fmla="*/ 2147483647 w 876"/>
                <a:gd name="T57" fmla="*/ 2147483647 h 1710"/>
                <a:gd name="T58" fmla="*/ 2147483647 w 876"/>
                <a:gd name="T59" fmla="*/ 2147483647 h 1710"/>
                <a:gd name="T60" fmla="*/ 2147483647 w 876"/>
                <a:gd name="T61" fmla="*/ 2147483647 h 1710"/>
                <a:gd name="T62" fmla="*/ 2147483647 w 876"/>
                <a:gd name="T63" fmla="*/ 2147483647 h 1710"/>
                <a:gd name="T64" fmla="*/ 2147483647 w 876"/>
                <a:gd name="T65" fmla="*/ 2147483647 h 1710"/>
                <a:gd name="T66" fmla="*/ 2147483647 w 876"/>
                <a:gd name="T67" fmla="*/ 2147483647 h 1710"/>
                <a:gd name="T68" fmla="*/ 2147483647 w 876"/>
                <a:gd name="T69" fmla="*/ 2147483647 h 1710"/>
                <a:gd name="T70" fmla="*/ 2147483647 w 876"/>
                <a:gd name="T71" fmla="*/ 2147483647 h 1710"/>
                <a:gd name="T72" fmla="*/ 2147483647 w 876"/>
                <a:gd name="T73" fmla="*/ 2147483647 h 1710"/>
                <a:gd name="T74" fmla="*/ 2147483647 w 876"/>
                <a:gd name="T75" fmla="*/ 2147483647 h 1710"/>
                <a:gd name="T76" fmla="*/ 2147483647 w 876"/>
                <a:gd name="T77" fmla="*/ 2147483647 h 1710"/>
                <a:gd name="T78" fmla="*/ 2147483647 w 876"/>
                <a:gd name="T79" fmla="*/ 2147483647 h 1710"/>
                <a:gd name="T80" fmla="*/ 2147483647 w 876"/>
                <a:gd name="T81" fmla="*/ 2147483647 h 1710"/>
                <a:gd name="T82" fmla="*/ 2147483647 w 876"/>
                <a:gd name="T83" fmla="*/ 2147483647 h 1710"/>
                <a:gd name="T84" fmla="*/ 2147483647 w 876"/>
                <a:gd name="T85" fmla="*/ 2147483647 h 1710"/>
                <a:gd name="T86" fmla="*/ 2147483647 w 876"/>
                <a:gd name="T87" fmla="*/ 2147483647 h 1710"/>
                <a:gd name="T88" fmla="*/ 2147483647 w 876"/>
                <a:gd name="T89" fmla="*/ 2147483647 h 1710"/>
                <a:gd name="T90" fmla="*/ 2147483647 w 876"/>
                <a:gd name="T91" fmla="*/ 2147483647 h 1710"/>
                <a:gd name="T92" fmla="*/ 2147483647 w 876"/>
                <a:gd name="T93" fmla="*/ 2147483647 h 1710"/>
                <a:gd name="T94" fmla="*/ 2147483647 w 876"/>
                <a:gd name="T95" fmla="*/ 2147483647 h 1710"/>
                <a:gd name="T96" fmla="*/ 2147483647 w 876"/>
                <a:gd name="T97" fmla="*/ 2147483647 h 1710"/>
                <a:gd name="T98" fmla="*/ 2147483647 w 876"/>
                <a:gd name="T99" fmla="*/ 2147483647 h 1710"/>
                <a:gd name="T100" fmla="*/ 2147483647 w 876"/>
                <a:gd name="T101" fmla="*/ 2147483647 h 1710"/>
                <a:gd name="T102" fmla="*/ 2147483647 w 876"/>
                <a:gd name="T103" fmla="*/ 2147483647 h 1710"/>
                <a:gd name="T104" fmla="*/ 2147483647 w 876"/>
                <a:gd name="T105" fmla="*/ 2147483647 h 1710"/>
                <a:gd name="T106" fmla="*/ 2147483647 w 876"/>
                <a:gd name="T107" fmla="*/ 2147483647 h 1710"/>
                <a:gd name="T108" fmla="*/ 2147483647 w 876"/>
                <a:gd name="T109" fmla="*/ 2147483647 h 1710"/>
                <a:gd name="T110" fmla="*/ 2147483647 w 876"/>
                <a:gd name="T111" fmla="*/ 2147483647 h 1710"/>
                <a:gd name="T112" fmla="*/ 2147483647 w 876"/>
                <a:gd name="T113" fmla="*/ 2147483647 h 1710"/>
                <a:gd name="T114" fmla="*/ 2147483647 w 876"/>
                <a:gd name="T115" fmla="*/ 2147483647 h 1710"/>
                <a:gd name="T116" fmla="*/ 2147483647 w 876"/>
                <a:gd name="T117" fmla="*/ 2147483647 h 1710"/>
                <a:gd name="T118" fmla="*/ 2147483647 w 876"/>
                <a:gd name="T119" fmla="*/ 2147483647 h 171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76"/>
                <a:gd name="T181" fmla="*/ 0 h 1710"/>
                <a:gd name="T182" fmla="*/ 876 w 876"/>
                <a:gd name="T183" fmla="*/ 1710 h 171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76" h="1710">
                  <a:moveTo>
                    <a:pt x="876" y="780"/>
                  </a:moveTo>
                  <a:lnTo>
                    <a:pt x="864" y="774"/>
                  </a:lnTo>
                  <a:lnTo>
                    <a:pt x="858" y="768"/>
                  </a:lnTo>
                  <a:lnTo>
                    <a:pt x="846" y="762"/>
                  </a:lnTo>
                  <a:lnTo>
                    <a:pt x="840" y="750"/>
                  </a:lnTo>
                  <a:lnTo>
                    <a:pt x="828" y="744"/>
                  </a:lnTo>
                  <a:lnTo>
                    <a:pt x="828" y="720"/>
                  </a:lnTo>
                  <a:lnTo>
                    <a:pt x="834" y="702"/>
                  </a:lnTo>
                  <a:lnTo>
                    <a:pt x="834" y="684"/>
                  </a:lnTo>
                  <a:lnTo>
                    <a:pt x="828" y="666"/>
                  </a:lnTo>
                  <a:lnTo>
                    <a:pt x="816" y="642"/>
                  </a:lnTo>
                  <a:lnTo>
                    <a:pt x="792" y="618"/>
                  </a:lnTo>
                  <a:lnTo>
                    <a:pt x="786" y="600"/>
                  </a:lnTo>
                  <a:lnTo>
                    <a:pt x="786" y="576"/>
                  </a:lnTo>
                  <a:lnTo>
                    <a:pt x="792" y="570"/>
                  </a:lnTo>
                  <a:lnTo>
                    <a:pt x="810" y="570"/>
                  </a:lnTo>
                  <a:lnTo>
                    <a:pt x="810" y="528"/>
                  </a:lnTo>
                  <a:lnTo>
                    <a:pt x="798" y="516"/>
                  </a:lnTo>
                  <a:lnTo>
                    <a:pt x="810" y="510"/>
                  </a:lnTo>
                  <a:lnTo>
                    <a:pt x="810" y="498"/>
                  </a:lnTo>
                  <a:lnTo>
                    <a:pt x="804" y="486"/>
                  </a:lnTo>
                  <a:lnTo>
                    <a:pt x="804" y="474"/>
                  </a:lnTo>
                  <a:lnTo>
                    <a:pt x="798" y="468"/>
                  </a:lnTo>
                  <a:lnTo>
                    <a:pt x="792" y="456"/>
                  </a:lnTo>
                  <a:lnTo>
                    <a:pt x="786" y="450"/>
                  </a:lnTo>
                  <a:lnTo>
                    <a:pt x="774" y="444"/>
                  </a:lnTo>
                  <a:lnTo>
                    <a:pt x="768" y="438"/>
                  </a:lnTo>
                  <a:lnTo>
                    <a:pt x="762" y="420"/>
                  </a:lnTo>
                  <a:lnTo>
                    <a:pt x="756" y="420"/>
                  </a:lnTo>
                  <a:lnTo>
                    <a:pt x="738" y="402"/>
                  </a:lnTo>
                  <a:lnTo>
                    <a:pt x="714" y="390"/>
                  </a:lnTo>
                  <a:lnTo>
                    <a:pt x="702" y="378"/>
                  </a:lnTo>
                  <a:lnTo>
                    <a:pt x="696" y="360"/>
                  </a:lnTo>
                  <a:lnTo>
                    <a:pt x="690" y="348"/>
                  </a:lnTo>
                  <a:lnTo>
                    <a:pt x="690" y="330"/>
                  </a:lnTo>
                  <a:lnTo>
                    <a:pt x="684" y="324"/>
                  </a:lnTo>
                  <a:lnTo>
                    <a:pt x="678" y="324"/>
                  </a:lnTo>
                  <a:lnTo>
                    <a:pt x="666" y="318"/>
                  </a:lnTo>
                  <a:lnTo>
                    <a:pt x="654" y="318"/>
                  </a:lnTo>
                  <a:lnTo>
                    <a:pt x="648" y="324"/>
                  </a:lnTo>
                  <a:lnTo>
                    <a:pt x="648" y="342"/>
                  </a:lnTo>
                  <a:lnTo>
                    <a:pt x="654" y="342"/>
                  </a:lnTo>
                  <a:lnTo>
                    <a:pt x="660" y="348"/>
                  </a:lnTo>
                  <a:lnTo>
                    <a:pt x="672" y="342"/>
                  </a:lnTo>
                  <a:lnTo>
                    <a:pt x="678" y="348"/>
                  </a:lnTo>
                  <a:lnTo>
                    <a:pt x="678" y="366"/>
                  </a:lnTo>
                  <a:lnTo>
                    <a:pt x="672" y="366"/>
                  </a:lnTo>
                  <a:lnTo>
                    <a:pt x="666" y="360"/>
                  </a:lnTo>
                  <a:lnTo>
                    <a:pt x="654" y="372"/>
                  </a:lnTo>
                  <a:lnTo>
                    <a:pt x="630" y="342"/>
                  </a:lnTo>
                  <a:lnTo>
                    <a:pt x="612" y="342"/>
                  </a:lnTo>
                  <a:lnTo>
                    <a:pt x="636" y="378"/>
                  </a:lnTo>
                  <a:lnTo>
                    <a:pt x="618" y="378"/>
                  </a:lnTo>
                  <a:lnTo>
                    <a:pt x="648" y="426"/>
                  </a:lnTo>
                  <a:lnTo>
                    <a:pt x="636" y="438"/>
                  </a:lnTo>
                  <a:lnTo>
                    <a:pt x="648" y="444"/>
                  </a:lnTo>
                  <a:lnTo>
                    <a:pt x="666" y="462"/>
                  </a:lnTo>
                  <a:lnTo>
                    <a:pt x="678" y="468"/>
                  </a:lnTo>
                  <a:lnTo>
                    <a:pt x="684" y="480"/>
                  </a:lnTo>
                  <a:lnTo>
                    <a:pt x="684" y="504"/>
                  </a:lnTo>
                  <a:lnTo>
                    <a:pt x="678" y="516"/>
                  </a:lnTo>
                  <a:lnTo>
                    <a:pt x="678" y="534"/>
                  </a:lnTo>
                  <a:lnTo>
                    <a:pt x="672" y="540"/>
                  </a:lnTo>
                  <a:lnTo>
                    <a:pt x="672" y="570"/>
                  </a:lnTo>
                  <a:lnTo>
                    <a:pt x="678" y="570"/>
                  </a:lnTo>
                  <a:lnTo>
                    <a:pt x="690" y="582"/>
                  </a:lnTo>
                  <a:lnTo>
                    <a:pt x="690" y="600"/>
                  </a:lnTo>
                  <a:lnTo>
                    <a:pt x="678" y="606"/>
                  </a:lnTo>
                  <a:lnTo>
                    <a:pt x="660" y="606"/>
                  </a:lnTo>
                  <a:lnTo>
                    <a:pt x="660" y="618"/>
                  </a:lnTo>
                  <a:lnTo>
                    <a:pt x="666" y="630"/>
                  </a:lnTo>
                  <a:lnTo>
                    <a:pt x="666" y="642"/>
                  </a:lnTo>
                  <a:lnTo>
                    <a:pt x="660" y="654"/>
                  </a:lnTo>
                  <a:lnTo>
                    <a:pt x="654" y="660"/>
                  </a:lnTo>
                  <a:lnTo>
                    <a:pt x="642" y="666"/>
                  </a:lnTo>
                  <a:lnTo>
                    <a:pt x="630" y="666"/>
                  </a:lnTo>
                  <a:lnTo>
                    <a:pt x="618" y="672"/>
                  </a:lnTo>
                  <a:lnTo>
                    <a:pt x="612" y="678"/>
                  </a:lnTo>
                  <a:lnTo>
                    <a:pt x="606" y="678"/>
                  </a:lnTo>
                  <a:lnTo>
                    <a:pt x="606" y="696"/>
                  </a:lnTo>
                  <a:lnTo>
                    <a:pt x="588" y="696"/>
                  </a:lnTo>
                  <a:lnTo>
                    <a:pt x="564" y="672"/>
                  </a:lnTo>
                  <a:lnTo>
                    <a:pt x="564" y="654"/>
                  </a:lnTo>
                  <a:lnTo>
                    <a:pt x="570" y="636"/>
                  </a:lnTo>
                  <a:lnTo>
                    <a:pt x="558" y="636"/>
                  </a:lnTo>
                  <a:lnTo>
                    <a:pt x="552" y="642"/>
                  </a:lnTo>
                  <a:lnTo>
                    <a:pt x="540" y="648"/>
                  </a:lnTo>
                  <a:lnTo>
                    <a:pt x="534" y="654"/>
                  </a:lnTo>
                  <a:lnTo>
                    <a:pt x="534" y="660"/>
                  </a:lnTo>
                  <a:lnTo>
                    <a:pt x="540" y="666"/>
                  </a:lnTo>
                  <a:lnTo>
                    <a:pt x="558" y="702"/>
                  </a:lnTo>
                  <a:lnTo>
                    <a:pt x="558" y="714"/>
                  </a:lnTo>
                  <a:lnTo>
                    <a:pt x="552" y="720"/>
                  </a:lnTo>
                  <a:lnTo>
                    <a:pt x="540" y="744"/>
                  </a:lnTo>
                  <a:lnTo>
                    <a:pt x="540" y="756"/>
                  </a:lnTo>
                  <a:lnTo>
                    <a:pt x="546" y="762"/>
                  </a:lnTo>
                  <a:lnTo>
                    <a:pt x="546" y="768"/>
                  </a:lnTo>
                  <a:lnTo>
                    <a:pt x="552" y="780"/>
                  </a:lnTo>
                  <a:lnTo>
                    <a:pt x="558" y="786"/>
                  </a:lnTo>
                  <a:lnTo>
                    <a:pt x="558" y="792"/>
                  </a:lnTo>
                  <a:lnTo>
                    <a:pt x="522" y="792"/>
                  </a:lnTo>
                  <a:lnTo>
                    <a:pt x="498" y="780"/>
                  </a:lnTo>
                  <a:lnTo>
                    <a:pt x="474" y="780"/>
                  </a:lnTo>
                  <a:lnTo>
                    <a:pt x="450" y="792"/>
                  </a:lnTo>
                  <a:lnTo>
                    <a:pt x="438" y="792"/>
                  </a:lnTo>
                  <a:lnTo>
                    <a:pt x="420" y="798"/>
                  </a:lnTo>
                  <a:lnTo>
                    <a:pt x="414" y="804"/>
                  </a:lnTo>
                  <a:lnTo>
                    <a:pt x="378" y="804"/>
                  </a:lnTo>
                  <a:lnTo>
                    <a:pt x="366" y="792"/>
                  </a:lnTo>
                  <a:lnTo>
                    <a:pt x="336" y="816"/>
                  </a:lnTo>
                  <a:lnTo>
                    <a:pt x="330" y="828"/>
                  </a:lnTo>
                  <a:lnTo>
                    <a:pt x="312" y="846"/>
                  </a:lnTo>
                  <a:lnTo>
                    <a:pt x="306" y="864"/>
                  </a:lnTo>
                  <a:lnTo>
                    <a:pt x="300" y="870"/>
                  </a:lnTo>
                  <a:lnTo>
                    <a:pt x="294" y="882"/>
                  </a:lnTo>
                  <a:lnTo>
                    <a:pt x="270" y="882"/>
                  </a:lnTo>
                  <a:lnTo>
                    <a:pt x="264" y="888"/>
                  </a:lnTo>
                  <a:lnTo>
                    <a:pt x="258" y="888"/>
                  </a:lnTo>
                  <a:lnTo>
                    <a:pt x="258" y="900"/>
                  </a:lnTo>
                  <a:lnTo>
                    <a:pt x="264" y="912"/>
                  </a:lnTo>
                  <a:lnTo>
                    <a:pt x="276" y="924"/>
                  </a:lnTo>
                  <a:lnTo>
                    <a:pt x="288" y="924"/>
                  </a:lnTo>
                  <a:lnTo>
                    <a:pt x="294" y="918"/>
                  </a:lnTo>
                  <a:lnTo>
                    <a:pt x="312" y="918"/>
                  </a:lnTo>
                  <a:lnTo>
                    <a:pt x="318" y="924"/>
                  </a:lnTo>
                  <a:lnTo>
                    <a:pt x="324" y="924"/>
                  </a:lnTo>
                  <a:lnTo>
                    <a:pt x="336" y="930"/>
                  </a:lnTo>
                  <a:lnTo>
                    <a:pt x="342" y="930"/>
                  </a:lnTo>
                  <a:lnTo>
                    <a:pt x="348" y="924"/>
                  </a:lnTo>
                  <a:lnTo>
                    <a:pt x="348" y="912"/>
                  </a:lnTo>
                  <a:lnTo>
                    <a:pt x="354" y="906"/>
                  </a:lnTo>
                  <a:lnTo>
                    <a:pt x="354" y="894"/>
                  </a:lnTo>
                  <a:lnTo>
                    <a:pt x="372" y="906"/>
                  </a:lnTo>
                  <a:lnTo>
                    <a:pt x="378" y="906"/>
                  </a:lnTo>
                  <a:lnTo>
                    <a:pt x="384" y="900"/>
                  </a:lnTo>
                  <a:lnTo>
                    <a:pt x="420" y="882"/>
                  </a:lnTo>
                  <a:lnTo>
                    <a:pt x="426" y="882"/>
                  </a:lnTo>
                  <a:lnTo>
                    <a:pt x="432" y="876"/>
                  </a:lnTo>
                  <a:lnTo>
                    <a:pt x="444" y="876"/>
                  </a:lnTo>
                  <a:lnTo>
                    <a:pt x="456" y="882"/>
                  </a:lnTo>
                  <a:lnTo>
                    <a:pt x="480" y="882"/>
                  </a:lnTo>
                  <a:lnTo>
                    <a:pt x="480" y="876"/>
                  </a:lnTo>
                  <a:lnTo>
                    <a:pt x="474" y="870"/>
                  </a:lnTo>
                  <a:lnTo>
                    <a:pt x="474" y="864"/>
                  </a:lnTo>
                  <a:lnTo>
                    <a:pt x="480" y="858"/>
                  </a:lnTo>
                  <a:lnTo>
                    <a:pt x="498" y="858"/>
                  </a:lnTo>
                  <a:lnTo>
                    <a:pt x="516" y="876"/>
                  </a:lnTo>
                  <a:lnTo>
                    <a:pt x="522" y="870"/>
                  </a:lnTo>
                  <a:lnTo>
                    <a:pt x="534" y="864"/>
                  </a:lnTo>
                  <a:lnTo>
                    <a:pt x="540" y="864"/>
                  </a:lnTo>
                  <a:lnTo>
                    <a:pt x="546" y="858"/>
                  </a:lnTo>
                  <a:lnTo>
                    <a:pt x="552" y="864"/>
                  </a:lnTo>
                  <a:lnTo>
                    <a:pt x="552" y="882"/>
                  </a:lnTo>
                  <a:lnTo>
                    <a:pt x="546" y="894"/>
                  </a:lnTo>
                  <a:lnTo>
                    <a:pt x="540" y="900"/>
                  </a:lnTo>
                  <a:lnTo>
                    <a:pt x="540" y="912"/>
                  </a:lnTo>
                  <a:lnTo>
                    <a:pt x="546" y="918"/>
                  </a:lnTo>
                  <a:lnTo>
                    <a:pt x="552" y="930"/>
                  </a:lnTo>
                  <a:lnTo>
                    <a:pt x="576" y="954"/>
                  </a:lnTo>
                  <a:lnTo>
                    <a:pt x="600" y="966"/>
                  </a:lnTo>
                  <a:lnTo>
                    <a:pt x="612" y="960"/>
                  </a:lnTo>
                  <a:lnTo>
                    <a:pt x="618" y="954"/>
                  </a:lnTo>
                  <a:lnTo>
                    <a:pt x="630" y="930"/>
                  </a:lnTo>
                  <a:lnTo>
                    <a:pt x="630" y="906"/>
                  </a:lnTo>
                  <a:lnTo>
                    <a:pt x="660" y="900"/>
                  </a:lnTo>
                  <a:lnTo>
                    <a:pt x="654" y="894"/>
                  </a:lnTo>
                  <a:lnTo>
                    <a:pt x="648" y="882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2" y="858"/>
                  </a:lnTo>
                  <a:lnTo>
                    <a:pt x="630" y="834"/>
                  </a:lnTo>
                  <a:lnTo>
                    <a:pt x="636" y="834"/>
                  </a:lnTo>
                  <a:lnTo>
                    <a:pt x="636" y="840"/>
                  </a:lnTo>
                  <a:lnTo>
                    <a:pt x="642" y="852"/>
                  </a:lnTo>
                  <a:lnTo>
                    <a:pt x="642" y="858"/>
                  </a:lnTo>
                  <a:lnTo>
                    <a:pt x="654" y="858"/>
                  </a:lnTo>
                  <a:lnTo>
                    <a:pt x="666" y="870"/>
                  </a:lnTo>
                  <a:lnTo>
                    <a:pt x="666" y="876"/>
                  </a:lnTo>
                  <a:lnTo>
                    <a:pt x="684" y="864"/>
                  </a:lnTo>
                  <a:lnTo>
                    <a:pt x="696" y="870"/>
                  </a:lnTo>
                  <a:lnTo>
                    <a:pt x="732" y="870"/>
                  </a:lnTo>
                  <a:lnTo>
                    <a:pt x="744" y="858"/>
                  </a:lnTo>
                  <a:lnTo>
                    <a:pt x="744" y="852"/>
                  </a:lnTo>
                  <a:lnTo>
                    <a:pt x="738" y="846"/>
                  </a:lnTo>
                  <a:lnTo>
                    <a:pt x="738" y="840"/>
                  </a:lnTo>
                  <a:lnTo>
                    <a:pt x="744" y="834"/>
                  </a:lnTo>
                  <a:lnTo>
                    <a:pt x="762" y="834"/>
                  </a:lnTo>
                  <a:lnTo>
                    <a:pt x="768" y="840"/>
                  </a:lnTo>
                  <a:lnTo>
                    <a:pt x="768" y="858"/>
                  </a:lnTo>
                  <a:lnTo>
                    <a:pt x="774" y="864"/>
                  </a:lnTo>
                  <a:lnTo>
                    <a:pt x="774" y="870"/>
                  </a:lnTo>
                  <a:lnTo>
                    <a:pt x="780" y="870"/>
                  </a:lnTo>
                  <a:lnTo>
                    <a:pt x="786" y="864"/>
                  </a:lnTo>
                  <a:lnTo>
                    <a:pt x="786" y="852"/>
                  </a:lnTo>
                  <a:lnTo>
                    <a:pt x="780" y="840"/>
                  </a:lnTo>
                  <a:lnTo>
                    <a:pt x="780" y="816"/>
                  </a:lnTo>
                  <a:lnTo>
                    <a:pt x="804" y="816"/>
                  </a:lnTo>
                  <a:lnTo>
                    <a:pt x="804" y="798"/>
                  </a:lnTo>
                  <a:lnTo>
                    <a:pt x="810" y="792"/>
                  </a:lnTo>
                  <a:lnTo>
                    <a:pt x="810" y="786"/>
                  </a:lnTo>
                  <a:lnTo>
                    <a:pt x="816" y="780"/>
                  </a:lnTo>
                  <a:lnTo>
                    <a:pt x="828" y="792"/>
                  </a:lnTo>
                  <a:lnTo>
                    <a:pt x="828" y="840"/>
                  </a:lnTo>
                  <a:lnTo>
                    <a:pt x="852" y="840"/>
                  </a:lnTo>
                  <a:lnTo>
                    <a:pt x="858" y="828"/>
                  </a:lnTo>
                  <a:lnTo>
                    <a:pt x="858" y="792"/>
                  </a:lnTo>
                  <a:lnTo>
                    <a:pt x="876" y="780"/>
                  </a:lnTo>
                  <a:close/>
                  <a:moveTo>
                    <a:pt x="498" y="912"/>
                  </a:moveTo>
                  <a:lnTo>
                    <a:pt x="486" y="906"/>
                  </a:lnTo>
                  <a:lnTo>
                    <a:pt x="480" y="900"/>
                  </a:lnTo>
                  <a:lnTo>
                    <a:pt x="468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24"/>
                  </a:lnTo>
                  <a:lnTo>
                    <a:pt x="432" y="924"/>
                  </a:lnTo>
                  <a:lnTo>
                    <a:pt x="426" y="918"/>
                  </a:lnTo>
                  <a:lnTo>
                    <a:pt x="396" y="918"/>
                  </a:lnTo>
                  <a:lnTo>
                    <a:pt x="390" y="924"/>
                  </a:lnTo>
                  <a:lnTo>
                    <a:pt x="390" y="942"/>
                  </a:lnTo>
                  <a:lnTo>
                    <a:pt x="396" y="948"/>
                  </a:lnTo>
                  <a:lnTo>
                    <a:pt x="396" y="954"/>
                  </a:lnTo>
                  <a:lnTo>
                    <a:pt x="378" y="972"/>
                  </a:lnTo>
                  <a:lnTo>
                    <a:pt x="390" y="978"/>
                  </a:lnTo>
                  <a:lnTo>
                    <a:pt x="396" y="990"/>
                  </a:lnTo>
                  <a:lnTo>
                    <a:pt x="408" y="1002"/>
                  </a:lnTo>
                  <a:lnTo>
                    <a:pt x="432" y="1014"/>
                  </a:lnTo>
                  <a:lnTo>
                    <a:pt x="438" y="1020"/>
                  </a:lnTo>
                  <a:lnTo>
                    <a:pt x="450" y="1026"/>
                  </a:lnTo>
                  <a:lnTo>
                    <a:pt x="450" y="984"/>
                  </a:lnTo>
                  <a:lnTo>
                    <a:pt x="456" y="972"/>
                  </a:lnTo>
                  <a:lnTo>
                    <a:pt x="462" y="966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2" y="966"/>
                  </a:lnTo>
                  <a:lnTo>
                    <a:pt x="504" y="972"/>
                  </a:lnTo>
                  <a:lnTo>
                    <a:pt x="510" y="984"/>
                  </a:lnTo>
                  <a:lnTo>
                    <a:pt x="516" y="990"/>
                  </a:lnTo>
                  <a:lnTo>
                    <a:pt x="516" y="978"/>
                  </a:lnTo>
                  <a:lnTo>
                    <a:pt x="522" y="966"/>
                  </a:lnTo>
                  <a:lnTo>
                    <a:pt x="522" y="954"/>
                  </a:lnTo>
                  <a:lnTo>
                    <a:pt x="528" y="942"/>
                  </a:lnTo>
                  <a:lnTo>
                    <a:pt x="528" y="930"/>
                  </a:lnTo>
                  <a:lnTo>
                    <a:pt x="522" y="918"/>
                  </a:lnTo>
                  <a:lnTo>
                    <a:pt x="516" y="912"/>
                  </a:lnTo>
                  <a:lnTo>
                    <a:pt x="516" y="906"/>
                  </a:lnTo>
                  <a:lnTo>
                    <a:pt x="498" y="912"/>
                  </a:lnTo>
                  <a:close/>
                  <a:moveTo>
                    <a:pt x="354" y="1050"/>
                  </a:moveTo>
                  <a:lnTo>
                    <a:pt x="354" y="1038"/>
                  </a:lnTo>
                  <a:lnTo>
                    <a:pt x="372" y="1020"/>
                  </a:lnTo>
                  <a:lnTo>
                    <a:pt x="372" y="1008"/>
                  </a:lnTo>
                  <a:lnTo>
                    <a:pt x="360" y="1002"/>
                  </a:lnTo>
                  <a:lnTo>
                    <a:pt x="354" y="990"/>
                  </a:lnTo>
                  <a:lnTo>
                    <a:pt x="348" y="984"/>
                  </a:lnTo>
                  <a:lnTo>
                    <a:pt x="336" y="978"/>
                  </a:lnTo>
                  <a:lnTo>
                    <a:pt x="336" y="966"/>
                  </a:lnTo>
                  <a:lnTo>
                    <a:pt x="330" y="960"/>
                  </a:lnTo>
                  <a:lnTo>
                    <a:pt x="324" y="960"/>
                  </a:lnTo>
                  <a:lnTo>
                    <a:pt x="318" y="954"/>
                  </a:lnTo>
                  <a:lnTo>
                    <a:pt x="300" y="954"/>
                  </a:lnTo>
                  <a:lnTo>
                    <a:pt x="294" y="948"/>
                  </a:lnTo>
                  <a:lnTo>
                    <a:pt x="270" y="936"/>
                  </a:lnTo>
                  <a:lnTo>
                    <a:pt x="258" y="936"/>
                  </a:lnTo>
                  <a:lnTo>
                    <a:pt x="240" y="954"/>
                  </a:lnTo>
                  <a:lnTo>
                    <a:pt x="204" y="972"/>
                  </a:lnTo>
                  <a:lnTo>
                    <a:pt x="234" y="1026"/>
                  </a:lnTo>
                  <a:lnTo>
                    <a:pt x="252" y="1014"/>
                  </a:lnTo>
                  <a:lnTo>
                    <a:pt x="252" y="1008"/>
                  </a:lnTo>
                  <a:lnTo>
                    <a:pt x="246" y="1002"/>
                  </a:lnTo>
                  <a:lnTo>
                    <a:pt x="246" y="990"/>
                  </a:lnTo>
                  <a:lnTo>
                    <a:pt x="252" y="990"/>
                  </a:lnTo>
                  <a:lnTo>
                    <a:pt x="264" y="1002"/>
                  </a:lnTo>
                  <a:lnTo>
                    <a:pt x="270" y="1014"/>
                  </a:lnTo>
                  <a:lnTo>
                    <a:pt x="276" y="1020"/>
                  </a:lnTo>
                  <a:lnTo>
                    <a:pt x="282" y="1032"/>
                  </a:lnTo>
                  <a:lnTo>
                    <a:pt x="282" y="1068"/>
                  </a:lnTo>
                  <a:lnTo>
                    <a:pt x="264" y="1074"/>
                  </a:lnTo>
                  <a:lnTo>
                    <a:pt x="264" y="1080"/>
                  </a:lnTo>
                  <a:lnTo>
                    <a:pt x="270" y="1086"/>
                  </a:lnTo>
                  <a:lnTo>
                    <a:pt x="270" y="1104"/>
                  </a:lnTo>
                  <a:lnTo>
                    <a:pt x="276" y="1116"/>
                  </a:lnTo>
                  <a:lnTo>
                    <a:pt x="282" y="1134"/>
                  </a:lnTo>
                  <a:lnTo>
                    <a:pt x="294" y="1146"/>
                  </a:lnTo>
                  <a:lnTo>
                    <a:pt x="300" y="1146"/>
                  </a:lnTo>
                  <a:lnTo>
                    <a:pt x="306" y="1140"/>
                  </a:lnTo>
                  <a:lnTo>
                    <a:pt x="306" y="1104"/>
                  </a:lnTo>
                  <a:lnTo>
                    <a:pt x="336" y="1116"/>
                  </a:lnTo>
                  <a:lnTo>
                    <a:pt x="336" y="1140"/>
                  </a:lnTo>
                  <a:lnTo>
                    <a:pt x="342" y="1146"/>
                  </a:lnTo>
                  <a:lnTo>
                    <a:pt x="342" y="1152"/>
                  </a:lnTo>
                  <a:lnTo>
                    <a:pt x="348" y="1152"/>
                  </a:lnTo>
                  <a:lnTo>
                    <a:pt x="348" y="1140"/>
                  </a:lnTo>
                  <a:lnTo>
                    <a:pt x="360" y="1128"/>
                  </a:lnTo>
                  <a:lnTo>
                    <a:pt x="366" y="1116"/>
                  </a:lnTo>
                  <a:lnTo>
                    <a:pt x="366" y="1110"/>
                  </a:lnTo>
                  <a:lnTo>
                    <a:pt x="360" y="1104"/>
                  </a:lnTo>
                  <a:lnTo>
                    <a:pt x="360" y="1074"/>
                  </a:lnTo>
                  <a:lnTo>
                    <a:pt x="354" y="1062"/>
                  </a:lnTo>
                  <a:lnTo>
                    <a:pt x="354" y="1050"/>
                  </a:lnTo>
                  <a:close/>
                  <a:moveTo>
                    <a:pt x="264" y="1026"/>
                  </a:moveTo>
                  <a:lnTo>
                    <a:pt x="246" y="1062"/>
                  </a:lnTo>
                  <a:lnTo>
                    <a:pt x="264" y="1056"/>
                  </a:lnTo>
                  <a:lnTo>
                    <a:pt x="264" y="1026"/>
                  </a:lnTo>
                  <a:close/>
                  <a:moveTo>
                    <a:pt x="624" y="618"/>
                  </a:moveTo>
                  <a:lnTo>
                    <a:pt x="636" y="618"/>
                  </a:lnTo>
                  <a:lnTo>
                    <a:pt x="636" y="594"/>
                  </a:lnTo>
                  <a:lnTo>
                    <a:pt x="630" y="594"/>
                  </a:lnTo>
                  <a:lnTo>
                    <a:pt x="612" y="570"/>
                  </a:lnTo>
                  <a:lnTo>
                    <a:pt x="606" y="582"/>
                  </a:lnTo>
                  <a:lnTo>
                    <a:pt x="618" y="600"/>
                  </a:lnTo>
                  <a:lnTo>
                    <a:pt x="624" y="618"/>
                  </a:lnTo>
                  <a:close/>
                  <a:moveTo>
                    <a:pt x="546" y="72"/>
                  </a:moveTo>
                  <a:lnTo>
                    <a:pt x="552" y="96"/>
                  </a:lnTo>
                  <a:lnTo>
                    <a:pt x="558" y="102"/>
                  </a:lnTo>
                  <a:lnTo>
                    <a:pt x="570" y="108"/>
                  </a:lnTo>
                  <a:lnTo>
                    <a:pt x="576" y="114"/>
                  </a:lnTo>
                  <a:lnTo>
                    <a:pt x="576" y="132"/>
                  </a:lnTo>
                  <a:lnTo>
                    <a:pt x="564" y="144"/>
                  </a:lnTo>
                  <a:lnTo>
                    <a:pt x="564" y="150"/>
                  </a:lnTo>
                  <a:lnTo>
                    <a:pt x="570" y="156"/>
                  </a:lnTo>
                  <a:lnTo>
                    <a:pt x="576" y="168"/>
                  </a:lnTo>
                  <a:lnTo>
                    <a:pt x="582" y="174"/>
                  </a:lnTo>
                  <a:lnTo>
                    <a:pt x="582" y="186"/>
                  </a:lnTo>
                  <a:lnTo>
                    <a:pt x="576" y="186"/>
                  </a:lnTo>
                  <a:lnTo>
                    <a:pt x="564" y="180"/>
                  </a:lnTo>
                  <a:lnTo>
                    <a:pt x="552" y="180"/>
                  </a:lnTo>
                  <a:lnTo>
                    <a:pt x="540" y="174"/>
                  </a:lnTo>
                  <a:lnTo>
                    <a:pt x="528" y="174"/>
                  </a:lnTo>
                  <a:lnTo>
                    <a:pt x="522" y="168"/>
                  </a:lnTo>
                  <a:lnTo>
                    <a:pt x="522" y="180"/>
                  </a:lnTo>
                  <a:lnTo>
                    <a:pt x="540" y="198"/>
                  </a:lnTo>
                  <a:lnTo>
                    <a:pt x="516" y="228"/>
                  </a:lnTo>
                  <a:lnTo>
                    <a:pt x="522" y="240"/>
                  </a:lnTo>
                  <a:lnTo>
                    <a:pt x="528" y="246"/>
                  </a:lnTo>
                  <a:lnTo>
                    <a:pt x="528" y="252"/>
                  </a:lnTo>
                  <a:lnTo>
                    <a:pt x="534" y="258"/>
                  </a:lnTo>
                  <a:lnTo>
                    <a:pt x="546" y="264"/>
                  </a:lnTo>
                  <a:lnTo>
                    <a:pt x="552" y="270"/>
                  </a:lnTo>
                  <a:lnTo>
                    <a:pt x="564" y="276"/>
                  </a:lnTo>
                  <a:lnTo>
                    <a:pt x="570" y="282"/>
                  </a:lnTo>
                  <a:lnTo>
                    <a:pt x="576" y="282"/>
                  </a:lnTo>
                  <a:lnTo>
                    <a:pt x="576" y="318"/>
                  </a:lnTo>
                  <a:lnTo>
                    <a:pt x="582" y="330"/>
                  </a:lnTo>
                  <a:lnTo>
                    <a:pt x="600" y="330"/>
                  </a:lnTo>
                  <a:lnTo>
                    <a:pt x="600" y="300"/>
                  </a:lnTo>
                  <a:lnTo>
                    <a:pt x="636" y="300"/>
                  </a:lnTo>
                  <a:lnTo>
                    <a:pt x="642" y="294"/>
                  </a:lnTo>
                  <a:lnTo>
                    <a:pt x="606" y="270"/>
                  </a:lnTo>
                  <a:lnTo>
                    <a:pt x="588" y="270"/>
                  </a:lnTo>
                  <a:lnTo>
                    <a:pt x="576" y="264"/>
                  </a:lnTo>
                  <a:lnTo>
                    <a:pt x="570" y="264"/>
                  </a:lnTo>
                  <a:lnTo>
                    <a:pt x="558" y="258"/>
                  </a:lnTo>
                  <a:lnTo>
                    <a:pt x="558" y="246"/>
                  </a:lnTo>
                  <a:lnTo>
                    <a:pt x="564" y="240"/>
                  </a:lnTo>
                  <a:lnTo>
                    <a:pt x="576" y="234"/>
                  </a:lnTo>
                  <a:lnTo>
                    <a:pt x="600" y="246"/>
                  </a:lnTo>
                  <a:lnTo>
                    <a:pt x="606" y="252"/>
                  </a:lnTo>
                  <a:lnTo>
                    <a:pt x="618" y="240"/>
                  </a:lnTo>
                  <a:lnTo>
                    <a:pt x="630" y="234"/>
                  </a:lnTo>
                  <a:lnTo>
                    <a:pt x="636" y="234"/>
                  </a:lnTo>
                  <a:lnTo>
                    <a:pt x="690" y="252"/>
                  </a:lnTo>
                  <a:lnTo>
                    <a:pt x="726" y="270"/>
                  </a:lnTo>
                  <a:lnTo>
                    <a:pt x="756" y="282"/>
                  </a:lnTo>
                  <a:lnTo>
                    <a:pt x="768" y="282"/>
                  </a:lnTo>
                  <a:lnTo>
                    <a:pt x="768" y="270"/>
                  </a:lnTo>
                  <a:lnTo>
                    <a:pt x="762" y="258"/>
                  </a:lnTo>
                  <a:lnTo>
                    <a:pt x="762" y="222"/>
                  </a:lnTo>
                  <a:lnTo>
                    <a:pt x="780" y="204"/>
                  </a:lnTo>
                  <a:lnTo>
                    <a:pt x="792" y="204"/>
                  </a:lnTo>
                  <a:lnTo>
                    <a:pt x="798" y="210"/>
                  </a:lnTo>
                  <a:lnTo>
                    <a:pt x="816" y="210"/>
                  </a:lnTo>
                  <a:lnTo>
                    <a:pt x="840" y="198"/>
                  </a:lnTo>
                  <a:lnTo>
                    <a:pt x="858" y="180"/>
                  </a:lnTo>
                  <a:lnTo>
                    <a:pt x="804" y="144"/>
                  </a:lnTo>
                  <a:lnTo>
                    <a:pt x="804" y="120"/>
                  </a:lnTo>
                  <a:lnTo>
                    <a:pt x="798" y="108"/>
                  </a:lnTo>
                  <a:lnTo>
                    <a:pt x="792" y="102"/>
                  </a:lnTo>
                  <a:lnTo>
                    <a:pt x="786" y="102"/>
                  </a:lnTo>
                  <a:lnTo>
                    <a:pt x="774" y="114"/>
                  </a:lnTo>
                  <a:lnTo>
                    <a:pt x="774" y="126"/>
                  </a:lnTo>
                  <a:lnTo>
                    <a:pt x="756" y="120"/>
                  </a:lnTo>
                  <a:lnTo>
                    <a:pt x="720" y="114"/>
                  </a:lnTo>
                  <a:lnTo>
                    <a:pt x="678" y="102"/>
                  </a:lnTo>
                  <a:lnTo>
                    <a:pt x="648" y="90"/>
                  </a:lnTo>
                  <a:lnTo>
                    <a:pt x="624" y="72"/>
                  </a:lnTo>
                  <a:lnTo>
                    <a:pt x="552" y="24"/>
                  </a:lnTo>
                  <a:lnTo>
                    <a:pt x="516" y="6"/>
                  </a:lnTo>
                  <a:lnTo>
                    <a:pt x="498" y="0"/>
                  </a:lnTo>
                  <a:lnTo>
                    <a:pt x="498" y="18"/>
                  </a:lnTo>
                  <a:lnTo>
                    <a:pt x="510" y="30"/>
                  </a:lnTo>
                  <a:lnTo>
                    <a:pt x="516" y="42"/>
                  </a:lnTo>
                  <a:lnTo>
                    <a:pt x="528" y="54"/>
                  </a:lnTo>
                  <a:lnTo>
                    <a:pt x="534" y="66"/>
                  </a:lnTo>
                  <a:lnTo>
                    <a:pt x="546" y="72"/>
                  </a:lnTo>
                  <a:close/>
                  <a:moveTo>
                    <a:pt x="282" y="1458"/>
                  </a:moveTo>
                  <a:lnTo>
                    <a:pt x="306" y="1458"/>
                  </a:lnTo>
                  <a:lnTo>
                    <a:pt x="276" y="1440"/>
                  </a:lnTo>
                  <a:lnTo>
                    <a:pt x="282" y="1458"/>
                  </a:lnTo>
                  <a:close/>
                  <a:moveTo>
                    <a:pt x="300" y="1386"/>
                  </a:moveTo>
                  <a:lnTo>
                    <a:pt x="312" y="1398"/>
                  </a:lnTo>
                  <a:lnTo>
                    <a:pt x="318" y="1398"/>
                  </a:lnTo>
                  <a:lnTo>
                    <a:pt x="330" y="1386"/>
                  </a:lnTo>
                  <a:lnTo>
                    <a:pt x="336" y="1386"/>
                  </a:lnTo>
                  <a:lnTo>
                    <a:pt x="342" y="1380"/>
                  </a:lnTo>
                  <a:lnTo>
                    <a:pt x="342" y="1368"/>
                  </a:lnTo>
                  <a:lnTo>
                    <a:pt x="336" y="1362"/>
                  </a:lnTo>
                  <a:lnTo>
                    <a:pt x="318" y="1362"/>
                  </a:lnTo>
                  <a:lnTo>
                    <a:pt x="306" y="1368"/>
                  </a:lnTo>
                  <a:lnTo>
                    <a:pt x="300" y="1380"/>
                  </a:lnTo>
                  <a:lnTo>
                    <a:pt x="300" y="1386"/>
                  </a:lnTo>
                  <a:close/>
                  <a:moveTo>
                    <a:pt x="312" y="1416"/>
                  </a:moveTo>
                  <a:lnTo>
                    <a:pt x="300" y="1416"/>
                  </a:lnTo>
                  <a:lnTo>
                    <a:pt x="300" y="1428"/>
                  </a:lnTo>
                  <a:lnTo>
                    <a:pt x="318" y="1428"/>
                  </a:lnTo>
                  <a:lnTo>
                    <a:pt x="318" y="1422"/>
                  </a:lnTo>
                  <a:lnTo>
                    <a:pt x="312" y="1416"/>
                  </a:lnTo>
                  <a:close/>
                  <a:moveTo>
                    <a:pt x="336" y="1200"/>
                  </a:moveTo>
                  <a:lnTo>
                    <a:pt x="336" y="1206"/>
                  </a:lnTo>
                  <a:lnTo>
                    <a:pt x="330" y="1206"/>
                  </a:lnTo>
                  <a:lnTo>
                    <a:pt x="318" y="1212"/>
                  </a:lnTo>
                  <a:lnTo>
                    <a:pt x="342" y="1230"/>
                  </a:lnTo>
                  <a:lnTo>
                    <a:pt x="342" y="1218"/>
                  </a:lnTo>
                  <a:lnTo>
                    <a:pt x="336" y="1206"/>
                  </a:lnTo>
                  <a:lnTo>
                    <a:pt x="336" y="1200"/>
                  </a:lnTo>
                  <a:close/>
                  <a:moveTo>
                    <a:pt x="366" y="1170"/>
                  </a:moveTo>
                  <a:lnTo>
                    <a:pt x="366" y="1182"/>
                  </a:lnTo>
                  <a:lnTo>
                    <a:pt x="360" y="1194"/>
                  </a:lnTo>
                  <a:lnTo>
                    <a:pt x="378" y="1224"/>
                  </a:lnTo>
                  <a:lnTo>
                    <a:pt x="378" y="1200"/>
                  </a:lnTo>
                  <a:lnTo>
                    <a:pt x="372" y="1194"/>
                  </a:lnTo>
                  <a:lnTo>
                    <a:pt x="372" y="1176"/>
                  </a:lnTo>
                  <a:lnTo>
                    <a:pt x="366" y="1170"/>
                  </a:lnTo>
                  <a:close/>
                  <a:moveTo>
                    <a:pt x="36" y="1698"/>
                  </a:moveTo>
                  <a:lnTo>
                    <a:pt x="54" y="1698"/>
                  </a:lnTo>
                  <a:lnTo>
                    <a:pt x="60" y="1692"/>
                  </a:lnTo>
                  <a:lnTo>
                    <a:pt x="72" y="1692"/>
                  </a:lnTo>
                  <a:lnTo>
                    <a:pt x="42" y="1680"/>
                  </a:lnTo>
                  <a:lnTo>
                    <a:pt x="36" y="1686"/>
                  </a:lnTo>
                  <a:lnTo>
                    <a:pt x="36" y="1698"/>
                  </a:lnTo>
                  <a:close/>
                  <a:moveTo>
                    <a:pt x="114" y="1662"/>
                  </a:moveTo>
                  <a:lnTo>
                    <a:pt x="96" y="1632"/>
                  </a:lnTo>
                  <a:lnTo>
                    <a:pt x="96" y="1662"/>
                  </a:lnTo>
                  <a:lnTo>
                    <a:pt x="102" y="1674"/>
                  </a:lnTo>
                  <a:lnTo>
                    <a:pt x="114" y="1680"/>
                  </a:lnTo>
                  <a:lnTo>
                    <a:pt x="120" y="1680"/>
                  </a:lnTo>
                  <a:lnTo>
                    <a:pt x="126" y="1674"/>
                  </a:lnTo>
                  <a:lnTo>
                    <a:pt x="126" y="1662"/>
                  </a:lnTo>
                  <a:lnTo>
                    <a:pt x="114" y="1662"/>
                  </a:lnTo>
                  <a:close/>
                  <a:moveTo>
                    <a:pt x="12" y="1686"/>
                  </a:moveTo>
                  <a:lnTo>
                    <a:pt x="6" y="1686"/>
                  </a:lnTo>
                  <a:lnTo>
                    <a:pt x="0" y="1692"/>
                  </a:lnTo>
                  <a:lnTo>
                    <a:pt x="0" y="1704"/>
                  </a:lnTo>
                  <a:lnTo>
                    <a:pt x="6" y="1710"/>
                  </a:lnTo>
                  <a:lnTo>
                    <a:pt x="12" y="1710"/>
                  </a:lnTo>
                  <a:lnTo>
                    <a:pt x="24" y="1698"/>
                  </a:lnTo>
                  <a:lnTo>
                    <a:pt x="24" y="1686"/>
                  </a:lnTo>
                  <a:lnTo>
                    <a:pt x="12" y="1686"/>
                  </a:lnTo>
                  <a:close/>
                  <a:moveTo>
                    <a:pt x="168" y="1536"/>
                  </a:moveTo>
                  <a:lnTo>
                    <a:pt x="168" y="1542"/>
                  </a:lnTo>
                  <a:lnTo>
                    <a:pt x="180" y="1548"/>
                  </a:lnTo>
                  <a:lnTo>
                    <a:pt x="186" y="1548"/>
                  </a:lnTo>
                  <a:lnTo>
                    <a:pt x="186" y="1536"/>
                  </a:lnTo>
                  <a:lnTo>
                    <a:pt x="180" y="1530"/>
                  </a:lnTo>
                  <a:lnTo>
                    <a:pt x="168" y="1530"/>
                  </a:lnTo>
                  <a:lnTo>
                    <a:pt x="168" y="1536"/>
                  </a:lnTo>
                  <a:close/>
                  <a:moveTo>
                    <a:pt x="264" y="1494"/>
                  </a:moveTo>
                  <a:lnTo>
                    <a:pt x="252" y="1518"/>
                  </a:lnTo>
                  <a:lnTo>
                    <a:pt x="246" y="1536"/>
                  </a:lnTo>
                  <a:lnTo>
                    <a:pt x="246" y="1548"/>
                  </a:lnTo>
                  <a:lnTo>
                    <a:pt x="240" y="1554"/>
                  </a:lnTo>
                  <a:lnTo>
                    <a:pt x="240" y="1560"/>
                  </a:lnTo>
                  <a:lnTo>
                    <a:pt x="258" y="1566"/>
                  </a:lnTo>
                  <a:lnTo>
                    <a:pt x="264" y="1554"/>
                  </a:lnTo>
                  <a:lnTo>
                    <a:pt x="264" y="1548"/>
                  </a:lnTo>
                  <a:lnTo>
                    <a:pt x="270" y="1542"/>
                  </a:lnTo>
                  <a:lnTo>
                    <a:pt x="270" y="1524"/>
                  </a:lnTo>
                  <a:lnTo>
                    <a:pt x="288" y="1506"/>
                  </a:lnTo>
                  <a:lnTo>
                    <a:pt x="282" y="1500"/>
                  </a:lnTo>
                  <a:lnTo>
                    <a:pt x="282" y="1494"/>
                  </a:lnTo>
                  <a:lnTo>
                    <a:pt x="276" y="1488"/>
                  </a:lnTo>
                  <a:lnTo>
                    <a:pt x="264" y="149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115" name="Italy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4625720" y="3127997"/>
              <a:ext cx="253408" cy="257205"/>
            </a:xfrm>
            <a:custGeom>
              <a:avLst/>
              <a:gdLst>
                <a:gd name="T0" fmla="*/ 2147483647 w 780"/>
                <a:gd name="T1" fmla="*/ 2147483647 h 828"/>
                <a:gd name="T2" fmla="*/ 2147483647 w 780"/>
                <a:gd name="T3" fmla="*/ 2147483647 h 828"/>
                <a:gd name="T4" fmla="*/ 2147483647 w 780"/>
                <a:gd name="T5" fmla="*/ 2147483647 h 828"/>
                <a:gd name="T6" fmla="*/ 2147483647 w 780"/>
                <a:gd name="T7" fmla="*/ 2147483647 h 828"/>
                <a:gd name="T8" fmla="*/ 2147483647 w 780"/>
                <a:gd name="T9" fmla="*/ 2147483647 h 828"/>
                <a:gd name="T10" fmla="*/ 2147483647 w 780"/>
                <a:gd name="T11" fmla="*/ 2147483647 h 828"/>
                <a:gd name="T12" fmla="*/ 2147483647 w 780"/>
                <a:gd name="T13" fmla="*/ 2147483647 h 828"/>
                <a:gd name="T14" fmla="*/ 2147483647 w 780"/>
                <a:gd name="T15" fmla="*/ 2147483647 h 828"/>
                <a:gd name="T16" fmla="*/ 2147483647 w 780"/>
                <a:gd name="T17" fmla="*/ 2147483647 h 828"/>
                <a:gd name="T18" fmla="*/ 2147483647 w 780"/>
                <a:gd name="T19" fmla="*/ 2147483647 h 828"/>
                <a:gd name="T20" fmla="*/ 2147483647 w 780"/>
                <a:gd name="T21" fmla="*/ 2147483647 h 828"/>
                <a:gd name="T22" fmla="*/ 2147483647 w 780"/>
                <a:gd name="T23" fmla="*/ 2147483647 h 828"/>
                <a:gd name="T24" fmla="*/ 2147483647 w 780"/>
                <a:gd name="T25" fmla="*/ 2147483647 h 828"/>
                <a:gd name="T26" fmla="*/ 2147483647 w 780"/>
                <a:gd name="T27" fmla="*/ 2147483647 h 828"/>
                <a:gd name="T28" fmla="*/ 2147483647 w 780"/>
                <a:gd name="T29" fmla="*/ 2147483647 h 828"/>
                <a:gd name="T30" fmla="*/ 2147483647 w 780"/>
                <a:gd name="T31" fmla="*/ 2147483647 h 828"/>
                <a:gd name="T32" fmla="*/ 2147483647 w 780"/>
                <a:gd name="T33" fmla="*/ 2147483647 h 828"/>
                <a:gd name="T34" fmla="*/ 2147483647 w 780"/>
                <a:gd name="T35" fmla="*/ 2147483647 h 828"/>
                <a:gd name="T36" fmla="*/ 2147483647 w 780"/>
                <a:gd name="T37" fmla="*/ 2147483647 h 828"/>
                <a:gd name="T38" fmla="*/ 2147483647 w 780"/>
                <a:gd name="T39" fmla="*/ 2147483647 h 828"/>
                <a:gd name="T40" fmla="*/ 2147483647 w 780"/>
                <a:gd name="T41" fmla="*/ 2147483647 h 828"/>
                <a:gd name="T42" fmla="*/ 2147483647 w 780"/>
                <a:gd name="T43" fmla="*/ 2147483647 h 828"/>
                <a:gd name="T44" fmla="*/ 2147483647 w 780"/>
                <a:gd name="T45" fmla="*/ 2147483647 h 828"/>
                <a:gd name="T46" fmla="*/ 2147483647 w 780"/>
                <a:gd name="T47" fmla="*/ 2147483647 h 828"/>
                <a:gd name="T48" fmla="*/ 2147483647 w 780"/>
                <a:gd name="T49" fmla="*/ 2147483647 h 828"/>
                <a:gd name="T50" fmla="*/ 2147483647 w 780"/>
                <a:gd name="T51" fmla="*/ 2147483647 h 828"/>
                <a:gd name="T52" fmla="*/ 2147483647 w 780"/>
                <a:gd name="T53" fmla="*/ 2147483647 h 828"/>
                <a:gd name="T54" fmla="*/ 2147483647 w 780"/>
                <a:gd name="T55" fmla="*/ 2147483647 h 828"/>
                <a:gd name="T56" fmla="*/ 2147483647 w 780"/>
                <a:gd name="T57" fmla="*/ 2147483647 h 828"/>
                <a:gd name="T58" fmla="*/ 2147483647 w 780"/>
                <a:gd name="T59" fmla="*/ 2147483647 h 828"/>
                <a:gd name="T60" fmla="*/ 2147483647 w 780"/>
                <a:gd name="T61" fmla="*/ 2147483647 h 828"/>
                <a:gd name="T62" fmla="*/ 2147483647 w 780"/>
                <a:gd name="T63" fmla="*/ 2147483647 h 828"/>
                <a:gd name="T64" fmla="*/ 2147483647 w 780"/>
                <a:gd name="T65" fmla="*/ 2147483647 h 828"/>
                <a:gd name="T66" fmla="*/ 2147483647 w 780"/>
                <a:gd name="T67" fmla="*/ 2147483647 h 828"/>
                <a:gd name="T68" fmla="*/ 2147483647 w 780"/>
                <a:gd name="T69" fmla="*/ 2147483647 h 828"/>
                <a:gd name="T70" fmla="*/ 2147483647 w 780"/>
                <a:gd name="T71" fmla="*/ 2147483647 h 828"/>
                <a:gd name="T72" fmla="*/ 2147483647 w 780"/>
                <a:gd name="T73" fmla="*/ 2147483647 h 828"/>
                <a:gd name="T74" fmla="*/ 2147483647 w 780"/>
                <a:gd name="T75" fmla="*/ 2147483647 h 828"/>
                <a:gd name="T76" fmla="*/ 2147483647 w 780"/>
                <a:gd name="T77" fmla="*/ 2147483647 h 828"/>
                <a:gd name="T78" fmla="*/ 2147483647 w 780"/>
                <a:gd name="T79" fmla="*/ 2147483647 h 828"/>
                <a:gd name="T80" fmla="*/ 2147483647 w 780"/>
                <a:gd name="T81" fmla="*/ 2147483647 h 828"/>
                <a:gd name="T82" fmla="*/ 2147483647 w 780"/>
                <a:gd name="T83" fmla="*/ 2147483647 h 828"/>
                <a:gd name="T84" fmla="*/ 2147483647 w 780"/>
                <a:gd name="T85" fmla="*/ 2147483647 h 828"/>
                <a:gd name="T86" fmla="*/ 2147483647 w 780"/>
                <a:gd name="T87" fmla="*/ 2147483647 h 828"/>
                <a:gd name="T88" fmla="*/ 2147483647 w 780"/>
                <a:gd name="T89" fmla="*/ 2147483647 h 828"/>
                <a:gd name="T90" fmla="*/ 2147483647 w 780"/>
                <a:gd name="T91" fmla="*/ 2147483647 h 828"/>
                <a:gd name="T92" fmla="*/ 2147483647 w 780"/>
                <a:gd name="T93" fmla="*/ 2147483647 h 828"/>
                <a:gd name="T94" fmla="*/ 2147483647 w 780"/>
                <a:gd name="T95" fmla="*/ 2147483647 h 828"/>
                <a:gd name="T96" fmla="*/ 2147483647 w 780"/>
                <a:gd name="T97" fmla="*/ 2147483647 h 828"/>
                <a:gd name="T98" fmla="*/ 2147483647 w 780"/>
                <a:gd name="T99" fmla="*/ 2147483647 h 828"/>
                <a:gd name="T100" fmla="*/ 2147483647 w 780"/>
                <a:gd name="T101" fmla="*/ 2147483647 h 828"/>
                <a:gd name="T102" fmla="*/ 2147483647 w 780"/>
                <a:gd name="T103" fmla="*/ 2147483647 h 828"/>
                <a:gd name="T104" fmla="*/ 2147483647 w 780"/>
                <a:gd name="T105" fmla="*/ 2147483647 h 828"/>
                <a:gd name="T106" fmla="*/ 2147483647 w 780"/>
                <a:gd name="T107" fmla="*/ 2147483647 h 828"/>
                <a:gd name="T108" fmla="*/ 2147483647 w 780"/>
                <a:gd name="T109" fmla="*/ 2147483647 h 828"/>
                <a:gd name="T110" fmla="*/ 2147483647 w 780"/>
                <a:gd name="T111" fmla="*/ 2147483647 h 828"/>
                <a:gd name="T112" fmla="*/ 2147483647 w 780"/>
                <a:gd name="T113" fmla="*/ 2147483647 h 82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780"/>
                <a:gd name="T172" fmla="*/ 0 h 828"/>
                <a:gd name="T173" fmla="*/ 780 w 780"/>
                <a:gd name="T174" fmla="*/ 828 h 82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780" h="828">
                  <a:moveTo>
                    <a:pt x="570" y="720"/>
                  </a:moveTo>
                  <a:lnTo>
                    <a:pt x="558" y="714"/>
                  </a:lnTo>
                  <a:lnTo>
                    <a:pt x="552" y="708"/>
                  </a:lnTo>
                  <a:lnTo>
                    <a:pt x="540" y="708"/>
                  </a:lnTo>
                  <a:lnTo>
                    <a:pt x="534" y="714"/>
                  </a:lnTo>
                  <a:lnTo>
                    <a:pt x="522" y="720"/>
                  </a:lnTo>
                  <a:lnTo>
                    <a:pt x="516" y="726"/>
                  </a:lnTo>
                  <a:lnTo>
                    <a:pt x="468" y="726"/>
                  </a:lnTo>
                  <a:lnTo>
                    <a:pt x="456" y="720"/>
                  </a:lnTo>
                  <a:lnTo>
                    <a:pt x="444" y="708"/>
                  </a:lnTo>
                  <a:lnTo>
                    <a:pt x="438" y="708"/>
                  </a:lnTo>
                  <a:lnTo>
                    <a:pt x="420" y="726"/>
                  </a:lnTo>
                  <a:lnTo>
                    <a:pt x="402" y="714"/>
                  </a:lnTo>
                  <a:lnTo>
                    <a:pt x="396" y="714"/>
                  </a:lnTo>
                  <a:lnTo>
                    <a:pt x="384" y="726"/>
                  </a:lnTo>
                  <a:lnTo>
                    <a:pt x="384" y="738"/>
                  </a:lnTo>
                  <a:lnTo>
                    <a:pt x="396" y="750"/>
                  </a:lnTo>
                  <a:lnTo>
                    <a:pt x="420" y="762"/>
                  </a:lnTo>
                  <a:lnTo>
                    <a:pt x="426" y="762"/>
                  </a:lnTo>
                  <a:lnTo>
                    <a:pt x="444" y="780"/>
                  </a:lnTo>
                  <a:lnTo>
                    <a:pt x="444" y="786"/>
                  </a:lnTo>
                  <a:lnTo>
                    <a:pt x="456" y="786"/>
                  </a:lnTo>
                  <a:lnTo>
                    <a:pt x="468" y="798"/>
                  </a:lnTo>
                  <a:lnTo>
                    <a:pt x="480" y="804"/>
                  </a:lnTo>
                  <a:lnTo>
                    <a:pt x="498" y="798"/>
                  </a:lnTo>
                  <a:lnTo>
                    <a:pt x="504" y="804"/>
                  </a:lnTo>
                  <a:lnTo>
                    <a:pt x="516" y="810"/>
                  </a:lnTo>
                  <a:lnTo>
                    <a:pt x="522" y="822"/>
                  </a:lnTo>
                  <a:lnTo>
                    <a:pt x="534" y="828"/>
                  </a:lnTo>
                  <a:lnTo>
                    <a:pt x="558" y="828"/>
                  </a:lnTo>
                  <a:lnTo>
                    <a:pt x="570" y="816"/>
                  </a:lnTo>
                  <a:lnTo>
                    <a:pt x="570" y="792"/>
                  </a:lnTo>
                  <a:lnTo>
                    <a:pt x="564" y="780"/>
                  </a:lnTo>
                  <a:lnTo>
                    <a:pt x="564" y="768"/>
                  </a:lnTo>
                  <a:lnTo>
                    <a:pt x="570" y="750"/>
                  </a:lnTo>
                  <a:lnTo>
                    <a:pt x="576" y="738"/>
                  </a:lnTo>
                  <a:lnTo>
                    <a:pt x="582" y="732"/>
                  </a:lnTo>
                  <a:lnTo>
                    <a:pt x="582" y="714"/>
                  </a:lnTo>
                  <a:lnTo>
                    <a:pt x="576" y="702"/>
                  </a:lnTo>
                  <a:lnTo>
                    <a:pt x="570" y="720"/>
                  </a:lnTo>
                  <a:close/>
                  <a:moveTo>
                    <a:pt x="180" y="468"/>
                  </a:moveTo>
                  <a:lnTo>
                    <a:pt x="156" y="480"/>
                  </a:lnTo>
                  <a:lnTo>
                    <a:pt x="150" y="486"/>
                  </a:lnTo>
                  <a:lnTo>
                    <a:pt x="138" y="492"/>
                  </a:lnTo>
                  <a:lnTo>
                    <a:pt x="132" y="498"/>
                  </a:lnTo>
                  <a:lnTo>
                    <a:pt x="126" y="498"/>
                  </a:lnTo>
                  <a:lnTo>
                    <a:pt x="114" y="492"/>
                  </a:lnTo>
                  <a:lnTo>
                    <a:pt x="102" y="480"/>
                  </a:lnTo>
                  <a:lnTo>
                    <a:pt x="96" y="498"/>
                  </a:lnTo>
                  <a:lnTo>
                    <a:pt x="102" y="504"/>
                  </a:lnTo>
                  <a:lnTo>
                    <a:pt x="114" y="510"/>
                  </a:lnTo>
                  <a:lnTo>
                    <a:pt x="120" y="522"/>
                  </a:lnTo>
                  <a:lnTo>
                    <a:pt x="120" y="540"/>
                  </a:lnTo>
                  <a:lnTo>
                    <a:pt x="114" y="558"/>
                  </a:lnTo>
                  <a:lnTo>
                    <a:pt x="114" y="570"/>
                  </a:lnTo>
                  <a:lnTo>
                    <a:pt x="126" y="582"/>
                  </a:lnTo>
                  <a:lnTo>
                    <a:pt x="114" y="588"/>
                  </a:lnTo>
                  <a:lnTo>
                    <a:pt x="120" y="636"/>
                  </a:lnTo>
                  <a:lnTo>
                    <a:pt x="108" y="636"/>
                  </a:lnTo>
                  <a:lnTo>
                    <a:pt x="126" y="654"/>
                  </a:lnTo>
                  <a:lnTo>
                    <a:pt x="138" y="654"/>
                  </a:lnTo>
                  <a:lnTo>
                    <a:pt x="144" y="642"/>
                  </a:lnTo>
                  <a:lnTo>
                    <a:pt x="156" y="630"/>
                  </a:lnTo>
                  <a:lnTo>
                    <a:pt x="156" y="618"/>
                  </a:lnTo>
                  <a:lnTo>
                    <a:pt x="168" y="630"/>
                  </a:lnTo>
                  <a:lnTo>
                    <a:pt x="180" y="636"/>
                  </a:lnTo>
                  <a:lnTo>
                    <a:pt x="186" y="636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198" y="594"/>
                  </a:lnTo>
                  <a:lnTo>
                    <a:pt x="204" y="582"/>
                  </a:lnTo>
                  <a:lnTo>
                    <a:pt x="204" y="558"/>
                  </a:lnTo>
                  <a:lnTo>
                    <a:pt x="198" y="552"/>
                  </a:lnTo>
                  <a:lnTo>
                    <a:pt x="192" y="552"/>
                  </a:lnTo>
                  <a:lnTo>
                    <a:pt x="192" y="546"/>
                  </a:lnTo>
                  <a:lnTo>
                    <a:pt x="198" y="540"/>
                  </a:lnTo>
                  <a:lnTo>
                    <a:pt x="204" y="540"/>
                  </a:lnTo>
                  <a:lnTo>
                    <a:pt x="210" y="534"/>
                  </a:lnTo>
                  <a:lnTo>
                    <a:pt x="210" y="522"/>
                  </a:lnTo>
                  <a:lnTo>
                    <a:pt x="204" y="510"/>
                  </a:lnTo>
                  <a:lnTo>
                    <a:pt x="204" y="492"/>
                  </a:lnTo>
                  <a:lnTo>
                    <a:pt x="198" y="480"/>
                  </a:lnTo>
                  <a:lnTo>
                    <a:pt x="186" y="474"/>
                  </a:lnTo>
                  <a:lnTo>
                    <a:pt x="180" y="468"/>
                  </a:lnTo>
                  <a:close/>
                  <a:moveTo>
                    <a:pt x="774" y="546"/>
                  </a:moveTo>
                  <a:lnTo>
                    <a:pt x="768" y="534"/>
                  </a:lnTo>
                  <a:lnTo>
                    <a:pt x="756" y="528"/>
                  </a:lnTo>
                  <a:lnTo>
                    <a:pt x="738" y="510"/>
                  </a:lnTo>
                  <a:lnTo>
                    <a:pt x="678" y="480"/>
                  </a:lnTo>
                  <a:lnTo>
                    <a:pt x="672" y="480"/>
                  </a:lnTo>
                  <a:lnTo>
                    <a:pt x="660" y="474"/>
                  </a:lnTo>
                  <a:lnTo>
                    <a:pt x="648" y="474"/>
                  </a:lnTo>
                  <a:lnTo>
                    <a:pt x="630" y="468"/>
                  </a:lnTo>
                  <a:lnTo>
                    <a:pt x="606" y="456"/>
                  </a:lnTo>
                  <a:lnTo>
                    <a:pt x="606" y="450"/>
                  </a:lnTo>
                  <a:lnTo>
                    <a:pt x="612" y="438"/>
                  </a:lnTo>
                  <a:lnTo>
                    <a:pt x="624" y="426"/>
                  </a:lnTo>
                  <a:lnTo>
                    <a:pt x="624" y="420"/>
                  </a:lnTo>
                  <a:lnTo>
                    <a:pt x="618" y="414"/>
                  </a:lnTo>
                  <a:lnTo>
                    <a:pt x="612" y="414"/>
                  </a:lnTo>
                  <a:lnTo>
                    <a:pt x="594" y="408"/>
                  </a:lnTo>
                  <a:lnTo>
                    <a:pt x="552" y="408"/>
                  </a:lnTo>
                  <a:lnTo>
                    <a:pt x="540" y="402"/>
                  </a:lnTo>
                  <a:lnTo>
                    <a:pt x="534" y="396"/>
                  </a:lnTo>
                  <a:lnTo>
                    <a:pt x="516" y="384"/>
                  </a:lnTo>
                  <a:lnTo>
                    <a:pt x="492" y="360"/>
                  </a:lnTo>
                  <a:lnTo>
                    <a:pt x="480" y="342"/>
                  </a:lnTo>
                  <a:lnTo>
                    <a:pt x="474" y="336"/>
                  </a:lnTo>
                  <a:lnTo>
                    <a:pt x="468" y="324"/>
                  </a:lnTo>
                  <a:lnTo>
                    <a:pt x="468" y="312"/>
                  </a:lnTo>
                  <a:lnTo>
                    <a:pt x="450" y="276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20" y="258"/>
                  </a:lnTo>
                  <a:lnTo>
                    <a:pt x="414" y="252"/>
                  </a:lnTo>
                  <a:lnTo>
                    <a:pt x="378" y="222"/>
                  </a:lnTo>
                  <a:lnTo>
                    <a:pt x="372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66" y="180"/>
                  </a:lnTo>
                  <a:lnTo>
                    <a:pt x="384" y="180"/>
                  </a:lnTo>
                  <a:lnTo>
                    <a:pt x="384" y="174"/>
                  </a:lnTo>
                  <a:lnTo>
                    <a:pt x="372" y="162"/>
                  </a:lnTo>
                  <a:lnTo>
                    <a:pt x="366" y="150"/>
                  </a:lnTo>
                  <a:lnTo>
                    <a:pt x="366" y="138"/>
                  </a:lnTo>
                  <a:lnTo>
                    <a:pt x="402" y="120"/>
                  </a:lnTo>
                  <a:lnTo>
                    <a:pt x="408" y="114"/>
                  </a:lnTo>
                  <a:lnTo>
                    <a:pt x="414" y="114"/>
                  </a:lnTo>
                  <a:lnTo>
                    <a:pt x="438" y="108"/>
                  </a:lnTo>
                  <a:lnTo>
                    <a:pt x="444" y="72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2"/>
                  </a:lnTo>
                  <a:lnTo>
                    <a:pt x="384" y="42"/>
                  </a:lnTo>
                  <a:lnTo>
                    <a:pt x="378" y="24"/>
                  </a:lnTo>
                  <a:lnTo>
                    <a:pt x="366" y="24"/>
                  </a:lnTo>
                  <a:lnTo>
                    <a:pt x="366" y="6"/>
                  </a:lnTo>
                  <a:lnTo>
                    <a:pt x="360" y="0"/>
                  </a:lnTo>
                  <a:lnTo>
                    <a:pt x="342" y="0"/>
                  </a:lnTo>
                  <a:lnTo>
                    <a:pt x="336" y="6"/>
                  </a:lnTo>
                  <a:lnTo>
                    <a:pt x="336" y="12"/>
                  </a:lnTo>
                  <a:lnTo>
                    <a:pt x="294" y="12"/>
                  </a:lnTo>
                  <a:lnTo>
                    <a:pt x="282" y="30"/>
                  </a:lnTo>
                  <a:lnTo>
                    <a:pt x="270" y="24"/>
                  </a:lnTo>
                  <a:lnTo>
                    <a:pt x="252" y="24"/>
                  </a:lnTo>
                  <a:lnTo>
                    <a:pt x="246" y="42"/>
                  </a:lnTo>
                  <a:lnTo>
                    <a:pt x="222" y="42"/>
                  </a:lnTo>
                  <a:lnTo>
                    <a:pt x="222" y="48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0" y="60"/>
                  </a:lnTo>
                  <a:lnTo>
                    <a:pt x="192" y="66"/>
                  </a:lnTo>
                  <a:lnTo>
                    <a:pt x="180" y="48"/>
                  </a:lnTo>
                  <a:lnTo>
                    <a:pt x="174" y="72"/>
                  </a:lnTo>
                  <a:lnTo>
                    <a:pt x="162" y="84"/>
                  </a:lnTo>
                  <a:lnTo>
                    <a:pt x="162" y="102"/>
                  </a:lnTo>
                  <a:lnTo>
                    <a:pt x="138" y="78"/>
                  </a:lnTo>
                  <a:lnTo>
                    <a:pt x="132" y="78"/>
                  </a:lnTo>
                  <a:lnTo>
                    <a:pt x="132" y="72"/>
                  </a:lnTo>
                  <a:lnTo>
                    <a:pt x="126" y="66"/>
                  </a:lnTo>
                  <a:lnTo>
                    <a:pt x="126" y="60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84" y="96"/>
                  </a:lnTo>
                  <a:lnTo>
                    <a:pt x="78" y="96"/>
                  </a:lnTo>
                  <a:lnTo>
                    <a:pt x="66" y="84"/>
                  </a:lnTo>
                  <a:lnTo>
                    <a:pt x="54" y="84"/>
                  </a:lnTo>
                  <a:lnTo>
                    <a:pt x="42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42" y="132"/>
                  </a:lnTo>
                  <a:lnTo>
                    <a:pt x="42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12" y="174"/>
                  </a:lnTo>
                  <a:lnTo>
                    <a:pt x="24" y="174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24" y="198"/>
                  </a:lnTo>
                  <a:lnTo>
                    <a:pt x="24" y="204"/>
                  </a:lnTo>
                  <a:lnTo>
                    <a:pt x="18" y="210"/>
                  </a:lnTo>
                  <a:lnTo>
                    <a:pt x="18" y="216"/>
                  </a:lnTo>
                  <a:lnTo>
                    <a:pt x="24" y="222"/>
                  </a:lnTo>
                  <a:lnTo>
                    <a:pt x="36" y="228"/>
                  </a:lnTo>
                  <a:lnTo>
                    <a:pt x="42" y="228"/>
                  </a:lnTo>
                  <a:lnTo>
                    <a:pt x="42" y="234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2" y="246"/>
                  </a:lnTo>
                  <a:lnTo>
                    <a:pt x="54" y="264"/>
                  </a:lnTo>
                  <a:lnTo>
                    <a:pt x="54" y="270"/>
                  </a:lnTo>
                  <a:lnTo>
                    <a:pt x="66" y="270"/>
                  </a:lnTo>
                  <a:lnTo>
                    <a:pt x="90" y="258"/>
                  </a:lnTo>
                  <a:lnTo>
                    <a:pt x="120" y="228"/>
                  </a:lnTo>
                  <a:lnTo>
                    <a:pt x="144" y="216"/>
                  </a:lnTo>
                  <a:lnTo>
                    <a:pt x="156" y="216"/>
                  </a:lnTo>
                  <a:lnTo>
                    <a:pt x="168" y="222"/>
                  </a:lnTo>
                  <a:lnTo>
                    <a:pt x="204" y="234"/>
                  </a:lnTo>
                  <a:lnTo>
                    <a:pt x="216" y="240"/>
                  </a:lnTo>
                  <a:lnTo>
                    <a:pt x="228" y="252"/>
                  </a:lnTo>
                  <a:lnTo>
                    <a:pt x="234" y="264"/>
                  </a:lnTo>
                  <a:lnTo>
                    <a:pt x="234" y="276"/>
                  </a:lnTo>
                  <a:lnTo>
                    <a:pt x="240" y="282"/>
                  </a:lnTo>
                  <a:lnTo>
                    <a:pt x="240" y="288"/>
                  </a:lnTo>
                  <a:lnTo>
                    <a:pt x="252" y="300"/>
                  </a:lnTo>
                  <a:lnTo>
                    <a:pt x="252" y="306"/>
                  </a:lnTo>
                  <a:lnTo>
                    <a:pt x="246" y="318"/>
                  </a:lnTo>
                  <a:lnTo>
                    <a:pt x="246" y="324"/>
                  </a:lnTo>
                  <a:lnTo>
                    <a:pt x="258" y="336"/>
                  </a:lnTo>
                  <a:lnTo>
                    <a:pt x="282" y="348"/>
                  </a:lnTo>
                  <a:lnTo>
                    <a:pt x="288" y="354"/>
                  </a:lnTo>
                  <a:lnTo>
                    <a:pt x="294" y="354"/>
                  </a:lnTo>
                  <a:lnTo>
                    <a:pt x="300" y="372"/>
                  </a:lnTo>
                  <a:lnTo>
                    <a:pt x="330" y="372"/>
                  </a:lnTo>
                  <a:lnTo>
                    <a:pt x="348" y="390"/>
                  </a:lnTo>
                  <a:lnTo>
                    <a:pt x="354" y="402"/>
                  </a:lnTo>
                  <a:lnTo>
                    <a:pt x="366" y="414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420" y="468"/>
                  </a:lnTo>
                  <a:lnTo>
                    <a:pt x="456" y="468"/>
                  </a:lnTo>
                  <a:lnTo>
                    <a:pt x="462" y="474"/>
                  </a:lnTo>
                  <a:lnTo>
                    <a:pt x="468" y="486"/>
                  </a:lnTo>
                  <a:lnTo>
                    <a:pt x="492" y="498"/>
                  </a:lnTo>
                  <a:lnTo>
                    <a:pt x="510" y="504"/>
                  </a:lnTo>
                  <a:lnTo>
                    <a:pt x="528" y="504"/>
                  </a:lnTo>
                  <a:lnTo>
                    <a:pt x="540" y="510"/>
                  </a:lnTo>
                  <a:lnTo>
                    <a:pt x="546" y="510"/>
                  </a:lnTo>
                  <a:lnTo>
                    <a:pt x="552" y="522"/>
                  </a:lnTo>
                  <a:lnTo>
                    <a:pt x="552" y="534"/>
                  </a:lnTo>
                  <a:lnTo>
                    <a:pt x="564" y="558"/>
                  </a:lnTo>
                  <a:lnTo>
                    <a:pt x="570" y="564"/>
                  </a:lnTo>
                  <a:lnTo>
                    <a:pt x="582" y="564"/>
                  </a:lnTo>
                  <a:lnTo>
                    <a:pt x="594" y="558"/>
                  </a:lnTo>
                  <a:lnTo>
                    <a:pt x="600" y="558"/>
                  </a:lnTo>
                  <a:lnTo>
                    <a:pt x="600" y="570"/>
                  </a:lnTo>
                  <a:lnTo>
                    <a:pt x="606" y="582"/>
                  </a:lnTo>
                  <a:lnTo>
                    <a:pt x="606" y="606"/>
                  </a:lnTo>
                  <a:lnTo>
                    <a:pt x="612" y="618"/>
                  </a:lnTo>
                  <a:lnTo>
                    <a:pt x="630" y="636"/>
                  </a:lnTo>
                  <a:lnTo>
                    <a:pt x="630" y="666"/>
                  </a:lnTo>
                  <a:lnTo>
                    <a:pt x="612" y="666"/>
                  </a:lnTo>
                  <a:lnTo>
                    <a:pt x="612" y="690"/>
                  </a:lnTo>
                  <a:lnTo>
                    <a:pt x="606" y="696"/>
                  </a:lnTo>
                  <a:lnTo>
                    <a:pt x="600" y="708"/>
                  </a:lnTo>
                  <a:lnTo>
                    <a:pt x="594" y="714"/>
                  </a:lnTo>
                  <a:lnTo>
                    <a:pt x="594" y="732"/>
                  </a:lnTo>
                  <a:lnTo>
                    <a:pt x="606" y="732"/>
                  </a:lnTo>
                  <a:lnTo>
                    <a:pt x="618" y="726"/>
                  </a:lnTo>
                  <a:lnTo>
                    <a:pt x="624" y="726"/>
                  </a:lnTo>
                  <a:lnTo>
                    <a:pt x="636" y="702"/>
                  </a:lnTo>
                  <a:lnTo>
                    <a:pt x="654" y="696"/>
                  </a:lnTo>
                  <a:lnTo>
                    <a:pt x="654" y="666"/>
                  </a:lnTo>
                  <a:lnTo>
                    <a:pt x="666" y="654"/>
                  </a:lnTo>
                  <a:lnTo>
                    <a:pt x="678" y="654"/>
                  </a:lnTo>
                  <a:lnTo>
                    <a:pt x="684" y="648"/>
                  </a:lnTo>
                  <a:lnTo>
                    <a:pt x="696" y="648"/>
                  </a:lnTo>
                  <a:lnTo>
                    <a:pt x="696" y="636"/>
                  </a:lnTo>
                  <a:lnTo>
                    <a:pt x="690" y="630"/>
                  </a:lnTo>
                  <a:lnTo>
                    <a:pt x="690" y="618"/>
                  </a:lnTo>
                  <a:lnTo>
                    <a:pt x="678" y="606"/>
                  </a:lnTo>
                  <a:lnTo>
                    <a:pt x="666" y="606"/>
                  </a:lnTo>
                  <a:lnTo>
                    <a:pt x="648" y="588"/>
                  </a:lnTo>
                  <a:lnTo>
                    <a:pt x="654" y="582"/>
                  </a:lnTo>
                  <a:lnTo>
                    <a:pt x="660" y="570"/>
                  </a:lnTo>
                  <a:lnTo>
                    <a:pt x="666" y="552"/>
                  </a:lnTo>
                  <a:lnTo>
                    <a:pt x="672" y="540"/>
                  </a:lnTo>
                  <a:lnTo>
                    <a:pt x="684" y="528"/>
                  </a:lnTo>
                  <a:lnTo>
                    <a:pt x="690" y="534"/>
                  </a:lnTo>
                  <a:lnTo>
                    <a:pt x="702" y="534"/>
                  </a:lnTo>
                  <a:lnTo>
                    <a:pt x="708" y="540"/>
                  </a:lnTo>
                  <a:lnTo>
                    <a:pt x="738" y="540"/>
                  </a:lnTo>
                  <a:lnTo>
                    <a:pt x="738" y="552"/>
                  </a:lnTo>
                  <a:lnTo>
                    <a:pt x="744" y="558"/>
                  </a:lnTo>
                  <a:lnTo>
                    <a:pt x="744" y="564"/>
                  </a:lnTo>
                  <a:lnTo>
                    <a:pt x="750" y="576"/>
                  </a:lnTo>
                  <a:lnTo>
                    <a:pt x="762" y="576"/>
                  </a:lnTo>
                  <a:lnTo>
                    <a:pt x="774" y="570"/>
                  </a:lnTo>
                  <a:lnTo>
                    <a:pt x="780" y="564"/>
                  </a:lnTo>
                  <a:lnTo>
                    <a:pt x="780" y="558"/>
                  </a:lnTo>
                  <a:lnTo>
                    <a:pt x="774" y="54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116" name="Israel" descr="© INSCALE GmbH, 05.05.2010&#10;http://www.presentationload.com/"/>
            <p:cNvSpPr>
              <a:spLocks/>
            </p:cNvSpPr>
            <p:nvPr/>
          </p:nvSpPr>
          <p:spPr bwMode="gray">
            <a:xfrm>
              <a:off x="5233644" y="3467264"/>
              <a:ext cx="33275" cy="100433"/>
            </a:xfrm>
            <a:custGeom>
              <a:avLst/>
              <a:gdLst>
                <a:gd name="T0" fmla="*/ 0 w 102"/>
                <a:gd name="T1" fmla="*/ 2147483647 h 324"/>
                <a:gd name="T2" fmla="*/ 2147483647 w 102"/>
                <a:gd name="T3" fmla="*/ 2147483647 h 324"/>
                <a:gd name="T4" fmla="*/ 2147483647 w 102"/>
                <a:gd name="T5" fmla="*/ 2147483647 h 324"/>
                <a:gd name="T6" fmla="*/ 2147483647 w 102"/>
                <a:gd name="T7" fmla="*/ 2147483647 h 324"/>
                <a:gd name="T8" fmla="*/ 2147483647 w 102"/>
                <a:gd name="T9" fmla="*/ 2147483647 h 324"/>
                <a:gd name="T10" fmla="*/ 2147483647 w 102"/>
                <a:gd name="T11" fmla="*/ 2147483647 h 324"/>
                <a:gd name="T12" fmla="*/ 2147483647 w 102"/>
                <a:gd name="T13" fmla="*/ 2147483647 h 324"/>
                <a:gd name="T14" fmla="*/ 2147483647 w 102"/>
                <a:gd name="T15" fmla="*/ 2147483647 h 324"/>
                <a:gd name="T16" fmla="*/ 2147483647 w 102"/>
                <a:gd name="T17" fmla="*/ 2147483647 h 324"/>
                <a:gd name="T18" fmla="*/ 2147483647 w 102"/>
                <a:gd name="T19" fmla="*/ 2147483647 h 324"/>
                <a:gd name="T20" fmla="*/ 2147483647 w 102"/>
                <a:gd name="T21" fmla="*/ 2147483647 h 324"/>
                <a:gd name="T22" fmla="*/ 2147483647 w 102"/>
                <a:gd name="T23" fmla="*/ 2147483647 h 324"/>
                <a:gd name="T24" fmla="*/ 2147483647 w 102"/>
                <a:gd name="T25" fmla="*/ 2147483647 h 324"/>
                <a:gd name="T26" fmla="*/ 2147483647 w 102"/>
                <a:gd name="T27" fmla="*/ 2147483647 h 324"/>
                <a:gd name="T28" fmla="*/ 2147483647 w 102"/>
                <a:gd name="T29" fmla="*/ 2147483647 h 324"/>
                <a:gd name="T30" fmla="*/ 2147483647 w 102"/>
                <a:gd name="T31" fmla="*/ 2147483647 h 324"/>
                <a:gd name="T32" fmla="*/ 2147483647 w 102"/>
                <a:gd name="T33" fmla="*/ 2147483647 h 324"/>
                <a:gd name="T34" fmla="*/ 2147483647 w 102"/>
                <a:gd name="T35" fmla="*/ 2147483647 h 324"/>
                <a:gd name="T36" fmla="*/ 2147483647 w 102"/>
                <a:gd name="T37" fmla="*/ 2147483647 h 324"/>
                <a:gd name="T38" fmla="*/ 2147483647 w 102"/>
                <a:gd name="T39" fmla="*/ 2147483647 h 324"/>
                <a:gd name="T40" fmla="*/ 2147483647 w 102"/>
                <a:gd name="T41" fmla="*/ 2147483647 h 324"/>
                <a:gd name="T42" fmla="*/ 2147483647 w 102"/>
                <a:gd name="T43" fmla="*/ 2147483647 h 324"/>
                <a:gd name="T44" fmla="*/ 2147483647 w 102"/>
                <a:gd name="T45" fmla="*/ 2147483647 h 324"/>
                <a:gd name="T46" fmla="*/ 2147483647 w 102"/>
                <a:gd name="T47" fmla="*/ 2147483647 h 324"/>
                <a:gd name="T48" fmla="*/ 2147483647 w 102"/>
                <a:gd name="T49" fmla="*/ 0 h 324"/>
                <a:gd name="T50" fmla="*/ 2147483647 w 102"/>
                <a:gd name="T51" fmla="*/ 2147483647 h 324"/>
                <a:gd name="T52" fmla="*/ 2147483647 w 102"/>
                <a:gd name="T53" fmla="*/ 2147483647 h 324"/>
                <a:gd name="T54" fmla="*/ 2147483647 w 102"/>
                <a:gd name="T55" fmla="*/ 2147483647 h 324"/>
                <a:gd name="T56" fmla="*/ 2147483647 w 102"/>
                <a:gd name="T57" fmla="*/ 2147483647 h 324"/>
                <a:gd name="T58" fmla="*/ 2147483647 w 102"/>
                <a:gd name="T59" fmla="*/ 2147483647 h 324"/>
                <a:gd name="T60" fmla="*/ 2147483647 w 102"/>
                <a:gd name="T61" fmla="*/ 2147483647 h 324"/>
                <a:gd name="T62" fmla="*/ 2147483647 w 102"/>
                <a:gd name="T63" fmla="*/ 2147483647 h 324"/>
                <a:gd name="T64" fmla="*/ 2147483647 w 102"/>
                <a:gd name="T65" fmla="*/ 2147483647 h 324"/>
                <a:gd name="T66" fmla="*/ 2147483647 w 102"/>
                <a:gd name="T67" fmla="*/ 2147483647 h 324"/>
                <a:gd name="T68" fmla="*/ 2147483647 w 102"/>
                <a:gd name="T69" fmla="*/ 2147483647 h 324"/>
                <a:gd name="T70" fmla="*/ 2147483647 w 102"/>
                <a:gd name="T71" fmla="*/ 2147483647 h 324"/>
                <a:gd name="T72" fmla="*/ 2147483647 w 102"/>
                <a:gd name="T73" fmla="*/ 2147483647 h 324"/>
                <a:gd name="T74" fmla="*/ 2147483647 w 102"/>
                <a:gd name="T75" fmla="*/ 2147483647 h 324"/>
                <a:gd name="T76" fmla="*/ 2147483647 w 102"/>
                <a:gd name="T77" fmla="*/ 2147483647 h 324"/>
                <a:gd name="T78" fmla="*/ 0 w 102"/>
                <a:gd name="T79" fmla="*/ 2147483647 h 324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02"/>
                <a:gd name="T121" fmla="*/ 0 h 324"/>
                <a:gd name="T122" fmla="*/ 102 w 102"/>
                <a:gd name="T123" fmla="*/ 324 h 324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02" h="324">
                  <a:moveTo>
                    <a:pt x="0" y="168"/>
                  </a:moveTo>
                  <a:lnTo>
                    <a:pt x="54" y="312"/>
                  </a:lnTo>
                  <a:lnTo>
                    <a:pt x="60" y="324"/>
                  </a:lnTo>
                  <a:lnTo>
                    <a:pt x="60" y="306"/>
                  </a:lnTo>
                  <a:lnTo>
                    <a:pt x="66" y="294"/>
                  </a:lnTo>
                  <a:lnTo>
                    <a:pt x="66" y="234"/>
                  </a:lnTo>
                  <a:lnTo>
                    <a:pt x="72" y="228"/>
                  </a:lnTo>
                  <a:lnTo>
                    <a:pt x="78" y="216"/>
                  </a:lnTo>
                  <a:lnTo>
                    <a:pt x="84" y="210"/>
                  </a:lnTo>
                  <a:lnTo>
                    <a:pt x="90" y="198"/>
                  </a:lnTo>
                  <a:lnTo>
                    <a:pt x="90" y="186"/>
                  </a:lnTo>
                  <a:lnTo>
                    <a:pt x="78" y="174"/>
                  </a:lnTo>
                  <a:lnTo>
                    <a:pt x="78" y="162"/>
                  </a:lnTo>
                  <a:lnTo>
                    <a:pt x="72" y="156"/>
                  </a:lnTo>
                  <a:lnTo>
                    <a:pt x="66" y="162"/>
                  </a:lnTo>
                  <a:lnTo>
                    <a:pt x="66" y="168"/>
                  </a:lnTo>
                  <a:lnTo>
                    <a:pt x="60" y="168"/>
                  </a:lnTo>
                  <a:lnTo>
                    <a:pt x="54" y="174"/>
                  </a:lnTo>
                  <a:lnTo>
                    <a:pt x="48" y="168"/>
                  </a:lnTo>
                  <a:lnTo>
                    <a:pt x="48" y="96"/>
                  </a:lnTo>
                  <a:lnTo>
                    <a:pt x="66" y="78"/>
                  </a:lnTo>
                  <a:lnTo>
                    <a:pt x="84" y="78"/>
                  </a:lnTo>
                  <a:lnTo>
                    <a:pt x="90" y="60"/>
                  </a:lnTo>
                  <a:lnTo>
                    <a:pt x="84" y="18"/>
                  </a:lnTo>
                  <a:lnTo>
                    <a:pt x="102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72" y="30"/>
                  </a:lnTo>
                  <a:lnTo>
                    <a:pt x="66" y="36"/>
                  </a:lnTo>
                  <a:lnTo>
                    <a:pt x="60" y="36"/>
                  </a:lnTo>
                  <a:lnTo>
                    <a:pt x="54" y="30"/>
                  </a:lnTo>
                  <a:lnTo>
                    <a:pt x="42" y="54"/>
                  </a:lnTo>
                  <a:lnTo>
                    <a:pt x="30" y="60"/>
                  </a:lnTo>
                  <a:lnTo>
                    <a:pt x="36" y="72"/>
                  </a:lnTo>
                  <a:lnTo>
                    <a:pt x="36" y="84"/>
                  </a:lnTo>
                  <a:lnTo>
                    <a:pt x="42" y="90"/>
                  </a:lnTo>
                  <a:lnTo>
                    <a:pt x="42" y="96"/>
                  </a:lnTo>
                  <a:lnTo>
                    <a:pt x="18" y="138"/>
                  </a:lnTo>
                  <a:lnTo>
                    <a:pt x="18" y="156"/>
                  </a:lnTo>
                  <a:lnTo>
                    <a:pt x="0" y="16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117" name="Ireland" descr="© INSCALE GmbH, 05.05.2010&#10;http://www.presentationload.com/"/>
            <p:cNvSpPr>
              <a:spLocks/>
            </p:cNvSpPr>
            <p:nvPr/>
          </p:nvSpPr>
          <p:spPr bwMode="gray">
            <a:xfrm>
              <a:off x="4295521" y="2930806"/>
              <a:ext cx="90869" cy="91859"/>
            </a:xfrm>
            <a:custGeom>
              <a:avLst/>
              <a:gdLst>
                <a:gd name="T0" fmla="*/ 2147483647 w 282"/>
                <a:gd name="T1" fmla="*/ 2147483647 h 300"/>
                <a:gd name="T2" fmla="*/ 2147483647 w 282"/>
                <a:gd name="T3" fmla="*/ 2147483647 h 300"/>
                <a:gd name="T4" fmla="*/ 2147483647 w 282"/>
                <a:gd name="T5" fmla="*/ 2147483647 h 300"/>
                <a:gd name="T6" fmla="*/ 2147483647 w 282"/>
                <a:gd name="T7" fmla="*/ 2147483647 h 300"/>
                <a:gd name="T8" fmla="*/ 2147483647 w 282"/>
                <a:gd name="T9" fmla="*/ 2147483647 h 300"/>
                <a:gd name="T10" fmla="*/ 2147483647 w 282"/>
                <a:gd name="T11" fmla="*/ 2147483647 h 300"/>
                <a:gd name="T12" fmla="*/ 2147483647 w 282"/>
                <a:gd name="T13" fmla="*/ 2147483647 h 300"/>
                <a:gd name="T14" fmla="*/ 2147483647 w 282"/>
                <a:gd name="T15" fmla="*/ 2147483647 h 300"/>
                <a:gd name="T16" fmla="*/ 2147483647 w 282"/>
                <a:gd name="T17" fmla="*/ 2147483647 h 300"/>
                <a:gd name="T18" fmla="*/ 2147483647 w 282"/>
                <a:gd name="T19" fmla="*/ 2147483647 h 300"/>
                <a:gd name="T20" fmla="*/ 2147483647 w 282"/>
                <a:gd name="T21" fmla="*/ 2147483647 h 300"/>
                <a:gd name="T22" fmla="*/ 2147483647 w 282"/>
                <a:gd name="T23" fmla="*/ 2147483647 h 300"/>
                <a:gd name="T24" fmla="*/ 2147483647 w 282"/>
                <a:gd name="T25" fmla="*/ 0 h 300"/>
                <a:gd name="T26" fmla="*/ 2147483647 w 282"/>
                <a:gd name="T27" fmla="*/ 2147483647 h 300"/>
                <a:gd name="T28" fmla="*/ 2147483647 w 282"/>
                <a:gd name="T29" fmla="*/ 2147483647 h 300"/>
                <a:gd name="T30" fmla="*/ 2147483647 w 282"/>
                <a:gd name="T31" fmla="*/ 2147483647 h 300"/>
                <a:gd name="T32" fmla="*/ 2147483647 w 282"/>
                <a:gd name="T33" fmla="*/ 2147483647 h 300"/>
                <a:gd name="T34" fmla="*/ 2147483647 w 282"/>
                <a:gd name="T35" fmla="*/ 2147483647 h 300"/>
                <a:gd name="T36" fmla="*/ 2147483647 w 282"/>
                <a:gd name="T37" fmla="*/ 2147483647 h 300"/>
                <a:gd name="T38" fmla="*/ 2147483647 w 282"/>
                <a:gd name="T39" fmla="*/ 2147483647 h 300"/>
                <a:gd name="T40" fmla="*/ 2147483647 w 282"/>
                <a:gd name="T41" fmla="*/ 2147483647 h 300"/>
                <a:gd name="T42" fmla="*/ 2147483647 w 282"/>
                <a:gd name="T43" fmla="*/ 2147483647 h 300"/>
                <a:gd name="T44" fmla="*/ 2147483647 w 282"/>
                <a:gd name="T45" fmla="*/ 2147483647 h 300"/>
                <a:gd name="T46" fmla="*/ 2147483647 w 282"/>
                <a:gd name="T47" fmla="*/ 2147483647 h 300"/>
                <a:gd name="T48" fmla="*/ 2147483647 w 282"/>
                <a:gd name="T49" fmla="*/ 2147483647 h 300"/>
                <a:gd name="T50" fmla="*/ 2147483647 w 282"/>
                <a:gd name="T51" fmla="*/ 2147483647 h 300"/>
                <a:gd name="T52" fmla="*/ 2147483647 w 282"/>
                <a:gd name="T53" fmla="*/ 2147483647 h 300"/>
                <a:gd name="T54" fmla="*/ 2147483647 w 282"/>
                <a:gd name="T55" fmla="*/ 2147483647 h 300"/>
                <a:gd name="T56" fmla="*/ 2147483647 w 282"/>
                <a:gd name="T57" fmla="*/ 2147483647 h 300"/>
                <a:gd name="T58" fmla="*/ 2147483647 w 282"/>
                <a:gd name="T59" fmla="*/ 2147483647 h 300"/>
                <a:gd name="T60" fmla="*/ 2147483647 w 282"/>
                <a:gd name="T61" fmla="*/ 2147483647 h 300"/>
                <a:gd name="T62" fmla="*/ 2147483647 w 282"/>
                <a:gd name="T63" fmla="*/ 2147483647 h 300"/>
                <a:gd name="T64" fmla="*/ 2147483647 w 282"/>
                <a:gd name="T65" fmla="*/ 2147483647 h 300"/>
                <a:gd name="T66" fmla="*/ 2147483647 w 282"/>
                <a:gd name="T67" fmla="*/ 2147483647 h 300"/>
                <a:gd name="T68" fmla="*/ 2147483647 w 282"/>
                <a:gd name="T69" fmla="*/ 2147483647 h 300"/>
                <a:gd name="T70" fmla="*/ 2147483647 w 282"/>
                <a:gd name="T71" fmla="*/ 2147483647 h 300"/>
                <a:gd name="T72" fmla="*/ 2147483647 w 282"/>
                <a:gd name="T73" fmla="*/ 2147483647 h 300"/>
                <a:gd name="T74" fmla="*/ 2147483647 w 282"/>
                <a:gd name="T75" fmla="*/ 2147483647 h 300"/>
                <a:gd name="T76" fmla="*/ 2147483647 w 282"/>
                <a:gd name="T77" fmla="*/ 2147483647 h 300"/>
                <a:gd name="T78" fmla="*/ 2147483647 w 282"/>
                <a:gd name="T79" fmla="*/ 2147483647 h 300"/>
                <a:gd name="T80" fmla="*/ 0 w 282"/>
                <a:gd name="T81" fmla="*/ 2147483647 h 300"/>
                <a:gd name="T82" fmla="*/ 2147483647 w 282"/>
                <a:gd name="T83" fmla="*/ 2147483647 h 300"/>
                <a:gd name="T84" fmla="*/ 2147483647 w 282"/>
                <a:gd name="T85" fmla="*/ 2147483647 h 300"/>
                <a:gd name="T86" fmla="*/ 2147483647 w 282"/>
                <a:gd name="T87" fmla="*/ 2147483647 h 300"/>
                <a:gd name="T88" fmla="*/ 2147483647 w 282"/>
                <a:gd name="T89" fmla="*/ 2147483647 h 300"/>
                <a:gd name="T90" fmla="*/ 2147483647 w 282"/>
                <a:gd name="T91" fmla="*/ 2147483647 h 300"/>
                <a:gd name="T92" fmla="*/ 2147483647 w 282"/>
                <a:gd name="T93" fmla="*/ 2147483647 h 300"/>
                <a:gd name="T94" fmla="*/ 2147483647 w 282"/>
                <a:gd name="T95" fmla="*/ 2147483647 h 300"/>
                <a:gd name="T96" fmla="*/ 2147483647 w 282"/>
                <a:gd name="T97" fmla="*/ 2147483647 h 300"/>
                <a:gd name="T98" fmla="*/ 2147483647 w 282"/>
                <a:gd name="T99" fmla="*/ 2147483647 h 300"/>
                <a:gd name="T100" fmla="*/ 2147483647 w 282"/>
                <a:gd name="T101" fmla="*/ 2147483647 h 300"/>
                <a:gd name="T102" fmla="*/ 2147483647 w 282"/>
                <a:gd name="T103" fmla="*/ 2147483647 h 300"/>
                <a:gd name="T104" fmla="*/ 2147483647 w 282"/>
                <a:gd name="T105" fmla="*/ 2147483647 h 300"/>
                <a:gd name="T106" fmla="*/ 2147483647 w 282"/>
                <a:gd name="T107" fmla="*/ 2147483647 h 300"/>
                <a:gd name="T108" fmla="*/ 2147483647 w 282"/>
                <a:gd name="T109" fmla="*/ 2147483647 h 300"/>
                <a:gd name="T110" fmla="*/ 2147483647 w 282"/>
                <a:gd name="T111" fmla="*/ 2147483647 h 30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82"/>
                <a:gd name="T169" fmla="*/ 0 h 300"/>
                <a:gd name="T170" fmla="*/ 282 w 282"/>
                <a:gd name="T171" fmla="*/ 300 h 30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82" h="300">
                  <a:moveTo>
                    <a:pt x="276" y="156"/>
                  </a:moveTo>
                  <a:lnTo>
                    <a:pt x="276" y="144"/>
                  </a:lnTo>
                  <a:lnTo>
                    <a:pt x="270" y="132"/>
                  </a:lnTo>
                  <a:lnTo>
                    <a:pt x="264" y="126"/>
                  </a:lnTo>
                  <a:lnTo>
                    <a:pt x="264" y="114"/>
                  </a:lnTo>
                  <a:lnTo>
                    <a:pt x="258" y="108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46" y="90"/>
                  </a:lnTo>
                  <a:lnTo>
                    <a:pt x="228" y="66"/>
                  </a:lnTo>
                  <a:lnTo>
                    <a:pt x="204" y="90"/>
                  </a:lnTo>
                  <a:lnTo>
                    <a:pt x="192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74" y="60"/>
                  </a:lnTo>
                  <a:lnTo>
                    <a:pt x="180" y="60"/>
                  </a:lnTo>
                  <a:lnTo>
                    <a:pt x="186" y="54"/>
                  </a:lnTo>
                  <a:lnTo>
                    <a:pt x="192" y="54"/>
                  </a:lnTo>
                  <a:lnTo>
                    <a:pt x="192" y="42"/>
                  </a:lnTo>
                  <a:lnTo>
                    <a:pt x="234" y="18"/>
                  </a:lnTo>
                  <a:lnTo>
                    <a:pt x="240" y="12"/>
                  </a:lnTo>
                  <a:lnTo>
                    <a:pt x="240" y="6"/>
                  </a:lnTo>
                  <a:lnTo>
                    <a:pt x="234" y="6"/>
                  </a:lnTo>
                  <a:lnTo>
                    <a:pt x="228" y="0"/>
                  </a:lnTo>
                  <a:lnTo>
                    <a:pt x="222" y="0"/>
                  </a:lnTo>
                  <a:lnTo>
                    <a:pt x="210" y="6"/>
                  </a:lnTo>
                  <a:lnTo>
                    <a:pt x="204" y="18"/>
                  </a:lnTo>
                  <a:lnTo>
                    <a:pt x="198" y="6"/>
                  </a:lnTo>
                  <a:lnTo>
                    <a:pt x="174" y="6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26" y="42"/>
                  </a:lnTo>
                  <a:lnTo>
                    <a:pt x="120" y="48"/>
                  </a:lnTo>
                  <a:lnTo>
                    <a:pt x="120" y="54"/>
                  </a:lnTo>
                  <a:lnTo>
                    <a:pt x="138" y="54"/>
                  </a:lnTo>
                  <a:lnTo>
                    <a:pt x="144" y="60"/>
                  </a:lnTo>
                  <a:lnTo>
                    <a:pt x="150" y="60"/>
                  </a:lnTo>
                  <a:lnTo>
                    <a:pt x="150" y="66"/>
                  </a:lnTo>
                  <a:lnTo>
                    <a:pt x="144" y="72"/>
                  </a:lnTo>
                  <a:lnTo>
                    <a:pt x="132" y="72"/>
                  </a:lnTo>
                  <a:lnTo>
                    <a:pt x="132" y="78"/>
                  </a:lnTo>
                  <a:lnTo>
                    <a:pt x="126" y="84"/>
                  </a:lnTo>
                  <a:lnTo>
                    <a:pt x="102" y="84"/>
                  </a:lnTo>
                  <a:lnTo>
                    <a:pt x="102" y="90"/>
                  </a:lnTo>
                  <a:lnTo>
                    <a:pt x="90" y="78"/>
                  </a:lnTo>
                  <a:lnTo>
                    <a:pt x="42" y="78"/>
                  </a:lnTo>
                  <a:lnTo>
                    <a:pt x="42" y="102"/>
                  </a:lnTo>
                  <a:lnTo>
                    <a:pt x="54" y="102"/>
                  </a:lnTo>
                  <a:lnTo>
                    <a:pt x="54" y="108"/>
                  </a:lnTo>
                  <a:lnTo>
                    <a:pt x="60" y="114"/>
                  </a:lnTo>
                  <a:lnTo>
                    <a:pt x="42" y="126"/>
                  </a:lnTo>
                  <a:lnTo>
                    <a:pt x="36" y="126"/>
                  </a:lnTo>
                  <a:lnTo>
                    <a:pt x="30" y="132"/>
                  </a:lnTo>
                  <a:lnTo>
                    <a:pt x="30" y="138"/>
                  </a:lnTo>
                  <a:lnTo>
                    <a:pt x="42" y="150"/>
                  </a:lnTo>
                  <a:lnTo>
                    <a:pt x="54" y="156"/>
                  </a:lnTo>
                  <a:lnTo>
                    <a:pt x="60" y="162"/>
                  </a:lnTo>
                  <a:lnTo>
                    <a:pt x="72" y="162"/>
                  </a:lnTo>
                  <a:lnTo>
                    <a:pt x="78" y="156"/>
                  </a:lnTo>
                  <a:lnTo>
                    <a:pt x="96" y="156"/>
                  </a:lnTo>
                  <a:lnTo>
                    <a:pt x="96" y="168"/>
                  </a:lnTo>
                  <a:lnTo>
                    <a:pt x="90" y="174"/>
                  </a:lnTo>
                  <a:lnTo>
                    <a:pt x="72" y="174"/>
                  </a:lnTo>
                  <a:lnTo>
                    <a:pt x="72" y="192"/>
                  </a:lnTo>
                  <a:lnTo>
                    <a:pt x="54" y="192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2" y="234"/>
                  </a:lnTo>
                  <a:lnTo>
                    <a:pt x="18" y="234"/>
                  </a:lnTo>
                  <a:lnTo>
                    <a:pt x="12" y="240"/>
                  </a:lnTo>
                  <a:lnTo>
                    <a:pt x="6" y="240"/>
                  </a:lnTo>
                  <a:lnTo>
                    <a:pt x="6" y="246"/>
                  </a:lnTo>
                  <a:lnTo>
                    <a:pt x="12" y="246"/>
                  </a:lnTo>
                  <a:lnTo>
                    <a:pt x="18" y="252"/>
                  </a:lnTo>
                  <a:lnTo>
                    <a:pt x="6" y="252"/>
                  </a:lnTo>
                  <a:lnTo>
                    <a:pt x="0" y="258"/>
                  </a:lnTo>
                  <a:lnTo>
                    <a:pt x="0" y="270"/>
                  </a:lnTo>
                  <a:lnTo>
                    <a:pt x="42" y="270"/>
                  </a:lnTo>
                  <a:lnTo>
                    <a:pt x="24" y="288"/>
                  </a:lnTo>
                  <a:lnTo>
                    <a:pt x="30" y="282"/>
                  </a:lnTo>
                  <a:lnTo>
                    <a:pt x="48" y="282"/>
                  </a:lnTo>
                  <a:lnTo>
                    <a:pt x="48" y="288"/>
                  </a:lnTo>
                  <a:lnTo>
                    <a:pt x="42" y="288"/>
                  </a:lnTo>
                  <a:lnTo>
                    <a:pt x="36" y="294"/>
                  </a:lnTo>
                  <a:lnTo>
                    <a:pt x="30" y="294"/>
                  </a:lnTo>
                  <a:lnTo>
                    <a:pt x="36" y="300"/>
                  </a:lnTo>
                  <a:lnTo>
                    <a:pt x="60" y="300"/>
                  </a:lnTo>
                  <a:lnTo>
                    <a:pt x="96" y="288"/>
                  </a:lnTo>
                  <a:lnTo>
                    <a:pt x="108" y="282"/>
                  </a:lnTo>
                  <a:lnTo>
                    <a:pt x="120" y="270"/>
                  </a:lnTo>
                  <a:lnTo>
                    <a:pt x="120" y="264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50" y="264"/>
                  </a:lnTo>
                  <a:lnTo>
                    <a:pt x="162" y="252"/>
                  </a:lnTo>
                  <a:lnTo>
                    <a:pt x="180" y="246"/>
                  </a:lnTo>
                  <a:lnTo>
                    <a:pt x="204" y="246"/>
                  </a:lnTo>
                  <a:lnTo>
                    <a:pt x="210" y="240"/>
                  </a:lnTo>
                  <a:lnTo>
                    <a:pt x="252" y="240"/>
                  </a:lnTo>
                  <a:lnTo>
                    <a:pt x="246" y="222"/>
                  </a:lnTo>
                  <a:lnTo>
                    <a:pt x="264" y="222"/>
                  </a:lnTo>
                  <a:lnTo>
                    <a:pt x="264" y="198"/>
                  </a:lnTo>
                  <a:lnTo>
                    <a:pt x="270" y="192"/>
                  </a:lnTo>
                  <a:lnTo>
                    <a:pt x="270" y="180"/>
                  </a:lnTo>
                  <a:lnTo>
                    <a:pt x="276" y="168"/>
                  </a:lnTo>
                  <a:lnTo>
                    <a:pt x="276" y="15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118" name="Iraq" descr="© INSCALE GmbH, 05.05.2010&#10;http://www.presentationload.com/"/>
            <p:cNvSpPr>
              <a:spLocks/>
            </p:cNvSpPr>
            <p:nvPr/>
          </p:nvSpPr>
          <p:spPr bwMode="gray">
            <a:xfrm>
              <a:off x="5329633" y="3370506"/>
              <a:ext cx="221413" cy="205765"/>
            </a:xfrm>
            <a:custGeom>
              <a:avLst/>
              <a:gdLst>
                <a:gd name="T0" fmla="*/ 2147483647 w 684"/>
                <a:gd name="T1" fmla="*/ 2147483647 h 660"/>
                <a:gd name="T2" fmla="*/ 2147483647 w 684"/>
                <a:gd name="T3" fmla="*/ 2147483647 h 660"/>
                <a:gd name="T4" fmla="*/ 2147483647 w 684"/>
                <a:gd name="T5" fmla="*/ 2147483647 h 660"/>
                <a:gd name="T6" fmla="*/ 2147483647 w 684"/>
                <a:gd name="T7" fmla="*/ 2147483647 h 660"/>
                <a:gd name="T8" fmla="*/ 2147483647 w 684"/>
                <a:gd name="T9" fmla="*/ 2147483647 h 660"/>
                <a:gd name="T10" fmla="*/ 2147483647 w 684"/>
                <a:gd name="T11" fmla="*/ 2147483647 h 660"/>
                <a:gd name="T12" fmla="*/ 2147483647 w 684"/>
                <a:gd name="T13" fmla="*/ 2147483647 h 660"/>
                <a:gd name="T14" fmla="*/ 2147483647 w 684"/>
                <a:gd name="T15" fmla="*/ 2147483647 h 660"/>
                <a:gd name="T16" fmla="*/ 2147483647 w 684"/>
                <a:gd name="T17" fmla="*/ 2147483647 h 660"/>
                <a:gd name="T18" fmla="*/ 2147483647 w 684"/>
                <a:gd name="T19" fmla="*/ 2147483647 h 660"/>
                <a:gd name="T20" fmla="*/ 2147483647 w 684"/>
                <a:gd name="T21" fmla="*/ 2147483647 h 660"/>
                <a:gd name="T22" fmla="*/ 2147483647 w 684"/>
                <a:gd name="T23" fmla="*/ 2147483647 h 660"/>
                <a:gd name="T24" fmla="*/ 2147483647 w 684"/>
                <a:gd name="T25" fmla="*/ 2147483647 h 660"/>
                <a:gd name="T26" fmla="*/ 2147483647 w 684"/>
                <a:gd name="T27" fmla="*/ 2147483647 h 660"/>
                <a:gd name="T28" fmla="*/ 2147483647 w 684"/>
                <a:gd name="T29" fmla="*/ 2147483647 h 660"/>
                <a:gd name="T30" fmla="*/ 2147483647 w 684"/>
                <a:gd name="T31" fmla="*/ 2147483647 h 660"/>
                <a:gd name="T32" fmla="*/ 2147483647 w 684"/>
                <a:gd name="T33" fmla="*/ 2147483647 h 660"/>
                <a:gd name="T34" fmla="*/ 2147483647 w 684"/>
                <a:gd name="T35" fmla="*/ 2147483647 h 660"/>
                <a:gd name="T36" fmla="*/ 2147483647 w 684"/>
                <a:gd name="T37" fmla="*/ 2147483647 h 660"/>
                <a:gd name="T38" fmla="*/ 2147483647 w 684"/>
                <a:gd name="T39" fmla="*/ 2147483647 h 660"/>
                <a:gd name="T40" fmla="*/ 2147483647 w 684"/>
                <a:gd name="T41" fmla="*/ 2147483647 h 660"/>
                <a:gd name="T42" fmla="*/ 2147483647 w 684"/>
                <a:gd name="T43" fmla="*/ 2147483647 h 660"/>
                <a:gd name="T44" fmla="*/ 2147483647 w 684"/>
                <a:gd name="T45" fmla="*/ 2147483647 h 660"/>
                <a:gd name="T46" fmla="*/ 2147483647 w 684"/>
                <a:gd name="T47" fmla="*/ 2147483647 h 660"/>
                <a:gd name="T48" fmla="*/ 2147483647 w 684"/>
                <a:gd name="T49" fmla="*/ 2147483647 h 660"/>
                <a:gd name="T50" fmla="*/ 2147483647 w 684"/>
                <a:gd name="T51" fmla="*/ 2147483647 h 660"/>
                <a:gd name="T52" fmla="*/ 2147483647 w 684"/>
                <a:gd name="T53" fmla="*/ 0 h 660"/>
                <a:gd name="T54" fmla="*/ 2147483647 w 684"/>
                <a:gd name="T55" fmla="*/ 2147483647 h 660"/>
                <a:gd name="T56" fmla="*/ 2147483647 w 684"/>
                <a:gd name="T57" fmla="*/ 2147483647 h 660"/>
                <a:gd name="T58" fmla="*/ 2147483647 w 684"/>
                <a:gd name="T59" fmla="*/ 0 h 660"/>
                <a:gd name="T60" fmla="*/ 2147483647 w 684"/>
                <a:gd name="T61" fmla="*/ 2147483647 h 660"/>
                <a:gd name="T62" fmla="*/ 2147483647 w 684"/>
                <a:gd name="T63" fmla="*/ 2147483647 h 660"/>
                <a:gd name="T64" fmla="*/ 2147483647 w 684"/>
                <a:gd name="T65" fmla="*/ 2147483647 h 660"/>
                <a:gd name="T66" fmla="*/ 2147483647 w 684"/>
                <a:gd name="T67" fmla="*/ 2147483647 h 660"/>
                <a:gd name="T68" fmla="*/ 2147483647 w 684"/>
                <a:gd name="T69" fmla="*/ 2147483647 h 660"/>
                <a:gd name="T70" fmla="*/ 2147483647 w 684"/>
                <a:gd name="T71" fmla="*/ 2147483647 h 660"/>
                <a:gd name="T72" fmla="*/ 2147483647 w 684"/>
                <a:gd name="T73" fmla="*/ 2147483647 h 660"/>
                <a:gd name="T74" fmla="*/ 2147483647 w 684"/>
                <a:gd name="T75" fmla="*/ 2147483647 h 660"/>
                <a:gd name="T76" fmla="*/ 2147483647 w 684"/>
                <a:gd name="T77" fmla="*/ 2147483647 h 660"/>
                <a:gd name="T78" fmla="*/ 2147483647 w 684"/>
                <a:gd name="T79" fmla="*/ 2147483647 h 660"/>
                <a:gd name="T80" fmla="*/ 2147483647 w 684"/>
                <a:gd name="T81" fmla="*/ 2147483647 h 660"/>
                <a:gd name="T82" fmla="*/ 2147483647 w 684"/>
                <a:gd name="T83" fmla="*/ 2147483647 h 660"/>
                <a:gd name="T84" fmla="*/ 2147483647 w 684"/>
                <a:gd name="T85" fmla="*/ 2147483647 h 660"/>
                <a:gd name="T86" fmla="*/ 0 w 684"/>
                <a:gd name="T87" fmla="*/ 2147483647 h 660"/>
                <a:gd name="T88" fmla="*/ 2147483647 w 684"/>
                <a:gd name="T89" fmla="*/ 2147483647 h 660"/>
                <a:gd name="T90" fmla="*/ 2147483647 w 684"/>
                <a:gd name="T91" fmla="*/ 2147483647 h 660"/>
                <a:gd name="T92" fmla="*/ 2147483647 w 684"/>
                <a:gd name="T93" fmla="*/ 2147483647 h 660"/>
                <a:gd name="T94" fmla="*/ 2147483647 w 684"/>
                <a:gd name="T95" fmla="*/ 2147483647 h 660"/>
                <a:gd name="T96" fmla="*/ 2147483647 w 684"/>
                <a:gd name="T97" fmla="*/ 2147483647 h 660"/>
                <a:gd name="T98" fmla="*/ 2147483647 w 684"/>
                <a:gd name="T99" fmla="*/ 2147483647 h 660"/>
                <a:gd name="T100" fmla="*/ 2147483647 w 684"/>
                <a:gd name="T101" fmla="*/ 2147483647 h 660"/>
                <a:gd name="T102" fmla="*/ 2147483647 w 684"/>
                <a:gd name="T103" fmla="*/ 2147483647 h 660"/>
                <a:gd name="T104" fmla="*/ 2147483647 w 684"/>
                <a:gd name="T105" fmla="*/ 2147483647 h 660"/>
                <a:gd name="T106" fmla="*/ 2147483647 w 684"/>
                <a:gd name="T107" fmla="*/ 2147483647 h 660"/>
                <a:gd name="T108" fmla="*/ 2147483647 w 684"/>
                <a:gd name="T109" fmla="*/ 2147483647 h 660"/>
                <a:gd name="T110" fmla="*/ 2147483647 w 684"/>
                <a:gd name="T111" fmla="*/ 2147483647 h 660"/>
                <a:gd name="T112" fmla="*/ 2147483647 w 684"/>
                <a:gd name="T113" fmla="*/ 2147483647 h 660"/>
                <a:gd name="T114" fmla="*/ 2147483647 w 684"/>
                <a:gd name="T115" fmla="*/ 2147483647 h 66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84"/>
                <a:gd name="T175" fmla="*/ 0 h 660"/>
                <a:gd name="T176" fmla="*/ 684 w 684"/>
                <a:gd name="T177" fmla="*/ 660 h 66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84" h="660">
                  <a:moveTo>
                    <a:pt x="678" y="564"/>
                  </a:moveTo>
                  <a:lnTo>
                    <a:pt x="666" y="552"/>
                  </a:lnTo>
                  <a:lnTo>
                    <a:pt x="654" y="546"/>
                  </a:lnTo>
                  <a:lnTo>
                    <a:pt x="648" y="516"/>
                  </a:lnTo>
                  <a:lnTo>
                    <a:pt x="642" y="516"/>
                  </a:lnTo>
                  <a:lnTo>
                    <a:pt x="636" y="510"/>
                  </a:lnTo>
                  <a:lnTo>
                    <a:pt x="624" y="504"/>
                  </a:lnTo>
                  <a:lnTo>
                    <a:pt x="618" y="498"/>
                  </a:lnTo>
                  <a:lnTo>
                    <a:pt x="618" y="462"/>
                  </a:lnTo>
                  <a:lnTo>
                    <a:pt x="624" y="450"/>
                  </a:lnTo>
                  <a:lnTo>
                    <a:pt x="624" y="438"/>
                  </a:lnTo>
                  <a:lnTo>
                    <a:pt x="594" y="402"/>
                  </a:lnTo>
                  <a:lnTo>
                    <a:pt x="588" y="390"/>
                  </a:lnTo>
                  <a:lnTo>
                    <a:pt x="582" y="384"/>
                  </a:lnTo>
                  <a:lnTo>
                    <a:pt x="564" y="384"/>
                  </a:lnTo>
                  <a:lnTo>
                    <a:pt x="546" y="366"/>
                  </a:lnTo>
                  <a:lnTo>
                    <a:pt x="534" y="360"/>
                  </a:lnTo>
                  <a:lnTo>
                    <a:pt x="528" y="354"/>
                  </a:lnTo>
                  <a:lnTo>
                    <a:pt x="504" y="354"/>
                  </a:lnTo>
                  <a:lnTo>
                    <a:pt x="504" y="312"/>
                  </a:lnTo>
                  <a:lnTo>
                    <a:pt x="498" y="312"/>
                  </a:lnTo>
                  <a:lnTo>
                    <a:pt x="492" y="306"/>
                  </a:lnTo>
                  <a:lnTo>
                    <a:pt x="468" y="294"/>
                  </a:lnTo>
                  <a:lnTo>
                    <a:pt x="456" y="282"/>
                  </a:lnTo>
                  <a:lnTo>
                    <a:pt x="444" y="276"/>
                  </a:lnTo>
                  <a:lnTo>
                    <a:pt x="438" y="270"/>
                  </a:lnTo>
                  <a:lnTo>
                    <a:pt x="438" y="264"/>
                  </a:lnTo>
                  <a:lnTo>
                    <a:pt x="444" y="252"/>
                  </a:lnTo>
                  <a:lnTo>
                    <a:pt x="450" y="246"/>
                  </a:lnTo>
                  <a:lnTo>
                    <a:pt x="438" y="234"/>
                  </a:lnTo>
                  <a:lnTo>
                    <a:pt x="438" y="228"/>
                  </a:lnTo>
                  <a:lnTo>
                    <a:pt x="450" y="216"/>
                  </a:lnTo>
                  <a:lnTo>
                    <a:pt x="462" y="216"/>
                  </a:lnTo>
                  <a:lnTo>
                    <a:pt x="462" y="186"/>
                  </a:lnTo>
                  <a:lnTo>
                    <a:pt x="468" y="186"/>
                  </a:lnTo>
                  <a:lnTo>
                    <a:pt x="480" y="174"/>
                  </a:lnTo>
                  <a:lnTo>
                    <a:pt x="480" y="168"/>
                  </a:lnTo>
                  <a:lnTo>
                    <a:pt x="474" y="156"/>
                  </a:lnTo>
                  <a:lnTo>
                    <a:pt x="462" y="144"/>
                  </a:lnTo>
                  <a:lnTo>
                    <a:pt x="462" y="138"/>
                  </a:lnTo>
                  <a:lnTo>
                    <a:pt x="480" y="120"/>
                  </a:lnTo>
                  <a:lnTo>
                    <a:pt x="480" y="114"/>
                  </a:lnTo>
                  <a:lnTo>
                    <a:pt x="468" y="114"/>
                  </a:lnTo>
                  <a:lnTo>
                    <a:pt x="456" y="120"/>
                  </a:lnTo>
                  <a:lnTo>
                    <a:pt x="450" y="126"/>
                  </a:lnTo>
                  <a:lnTo>
                    <a:pt x="438" y="108"/>
                  </a:lnTo>
                  <a:lnTo>
                    <a:pt x="414" y="102"/>
                  </a:lnTo>
                  <a:lnTo>
                    <a:pt x="414" y="84"/>
                  </a:lnTo>
                  <a:lnTo>
                    <a:pt x="402" y="72"/>
                  </a:lnTo>
                  <a:lnTo>
                    <a:pt x="378" y="24"/>
                  </a:lnTo>
                  <a:lnTo>
                    <a:pt x="378" y="12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330" y="0"/>
                  </a:lnTo>
                  <a:lnTo>
                    <a:pt x="306" y="0"/>
                  </a:lnTo>
                  <a:lnTo>
                    <a:pt x="306" y="6"/>
                  </a:lnTo>
                  <a:lnTo>
                    <a:pt x="300" y="12"/>
                  </a:lnTo>
                  <a:lnTo>
                    <a:pt x="288" y="12"/>
                  </a:lnTo>
                  <a:lnTo>
                    <a:pt x="276" y="0"/>
                  </a:lnTo>
                  <a:lnTo>
                    <a:pt x="234" y="0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36"/>
                  </a:lnTo>
                  <a:lnTo>
                    <a:pt x="198" y="48"/>
                  </a:lnTo>
                  <a:lnTo>
                    <a:pt x="192" y="54"/>
                  </a:lnTo>
                  <a:lnTo>
                    <a:pt x="180" y="54"/>
                  </a:lnTo>
                  <a:lnTo>
                    <a:pt x="168" y="60"/>
                  </a:lnTo>
                  <a:lnTo>
                    <a:pt x="156" y="60"/>
                  </a:lnTo>
                  <a:lnTo>
                    <a:pt x="150" y="66"/>
                  </a:lnTo>
                  <a:lnTo>
                    <a:pt x="144" y="78"/>
                  </a:lnTo>
                  <a:lnTo>
                    <a:pt x="144" y="90"/>
                  </a:lnTo>
                  <a:lnTo>
                    <a:pt x="150" y="102"/>
                  </a:lnTo>
                  <a:lnTo>
                    <a:pt x="156" y="108"/>
                  </a:lnTo>
                  <a:lnTo>
                    <a:pt x="156" y="120"/>
                  </a:lnTo>
                  <a:lnTo>
                    <a:pt x="162" y="132"/>
                  </a:lnTo>
                  <a:lnTo>
                    <a:pt x="162" y="162"/>
                  </a:lnTo>
                  <a:lnTo>
                    <a:pt x="156" y="174"/>
                  </a:lnTo>
                  <a:lnTo>
                    <a:pt x="150" y="192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68" y="222"/>
                  </a:lnTo>
                  <a:lnTo>
                    <a:pt x="162" y="228"/>
                  </a:lnTo>
                  <a:lnTo>
                    <a:pt x="138" y="240"/>
                  </a:lnTo>
                  <a:lnTo>
                    <a:pt x="78" y="264"/>
                  </a:lnTo>
                  <a:lnTo>
                    <a:pt x="66" y="270"/>
                  </a:lnTo>
                  <a:lnTo>
                    <a:pt x="6" y="318"/>
                  </a:lnTo>
                  <a:lnTo>
                    <a:pt x="0" y="318"/>
                  </a:lnTo>
                  <a:lnTo>
                    <a:pt x="0" y="324"/>
                  </a:lnTo>
                  <a:lnTo>
                    <a:pt x="24" y="366"/>
                  </a:lnTo>
                  <a:lnTo>
                    <a:pt x="24" y="384"/>
                  </a:lnTo>
                  <a:lnTo>
                    <a:pt x="48" y="402"/>
                  </a:lnTo>
                  <a:lnTo>
                    <a:pt x="48" y="414"/>
                  </a:lnTo>
                  <a:lnTo>
                    <a:pt x="60" y="426"/>
                  </a:lnTo>
                  <a:lnTo>
                    <a:pt x="126" y="426"/>
                  </a:lnTo>
                  <a:lnTo>
                    <a:pt x="156" y="456"/>
                  </a:lnTo>
                  <a:lnTo>
                    <a:pt x="168" y="462"/>
                  </a:lnTo>
                  <a:lnTo>
                    <a:pt x="180" y="474"/>
                  </a:lnTo>
                  <a:lnTo>
                    <a:pt x="228" y="498"/>
                  </a:lnTo>
                  <a:lnTo>
                    <a:pt x="234" y="504"/>
                  </a:lnTo>
                  <a:lnTo>
                    <a:pt x="246" y="510"/>
                  </a:lnTo>
                  <a:lnTo>
                    <a:pt x="438" y="654"/>
                  </a:lnTo>
                  <a:lnTo>
                    <a:pt x="522" y="654"/>
                  </a:lnTo>
                  <a:lnTo>
                    <a:pt x="570" y="660"/>
                  </a:lnTo>
                  <a:lnTo>
                    <a:pt x="564" y="660"/>
                  </a:lnTo>
                  <a:lnTo>
                    <a:pt x="570" y="654"/>
                  </a:lnTo>
                  <a:lnTo>
                    <a:pt x="588" y="618"/>
                  </a:lnTo>
                  <a:lnTo>
                    <a:pt x="588" y="606"/>
                  </a:lnTo>
                  <a:lnTo>
                    <a:pt x="594" y="600"/>
                  </a:lnTo>
                  <a:lnTo>
                    <a:pt x="600" y="588"/>
                  </a:lnTo>
                  <a:lnTo>
                    <a:pt x="648" y="588"/>
                  </a:lnTo>
                  <a:lnTo>
                    <a:pt x="654" y="594"/>
                  </a:lnTo>
                  <a:lnTo>
                    <a:pt x="678" y="582"/>
                  </a:lnTo>
                  <a:lnTo>
                    <a:pt x="684" y="576"/>
                  </a:lnTo>
                  <a:lnTo>
                    <a:pt x="678" y="570"/>
                  </a:lnTo>
                  <a:lnTo>
                    <a:pt x="678" y="56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119" name="Iran" descr="© INSCALE GmbH, 05.05.2010&#10;http://www.presentationload.com/"/>
            <p:cNvSpPr>
              <a:spLocks/>
            </p:cNvSpPr>
            <p:nvPr/>
          </p:nvSpPr>
          <p:spPr bwMode="gray">
            <a:xfrm>
              <a:off x="5424341" y="3308041"/>
              <a:ext cx="467142" cy="367436"/>
            </a:xfrm>
            <a:custGeom>
              <a:avLst/>
              <a:gdLst>
                <a:gd name="T0" fmla="*/ 2147483647 w 1440"/>
                <a:gd name="T1" fmla="*/ 2147483647 h 1182"/>
                <a:gd name="T2" fmla="*/ 2147483647 w 1440"/>
                <a:gd name="T3" fmla="*/ 2147483647 h 1182"/>
                <a:gd name="T4" fmla="*/ 2147483647 w 1440"/>
                <a:gd name="T5" fmla="*/ 2147483647 h 1182"/>
                <a:gd name="T6" fmla="*/ 2147483647 w 1440"/>
                <a:gd name="T7" fmla="*/ 2147483647 h 1182"/>
                <a:gd name="T8" fmla="*/ 2147483647 w 1440"/>
                <a:gd name="T9" fmla="*/ 2147483647 h 1182"/>
                <a:gd name="T10" fmla="*/ 2147483647 w 1440"/>
                <a:gd name="T11" fmla="*/ 2147483647 h 1182"/>
                <a:gd name="T12" fmla="*/ 2147483647 w 1440"/>
                <a:gd name="T13" fmla="*/ 2147483647 h 1182"/>
                <a:gd name="T14" fmla="*/ 2147483647 w 1440"/>
                <a:gd name="T15" fmla="*/ 2147483647 h 1182"/>
                <a:gd name="T16" fmla="*/ 2147483647 w 1440"/>
                <a:gd name="T17" fmla="*/ 2147483647 h 1182"/>
                <a:gd name="T18" fmla="*/ 2147483647 w 1440"/>
                <a:gd name="T19" fmla="*/ 2147483647 h 1182"/>
                <a:gd name="T20" fmla="*/ 2147483647 w 1440"/>
                <a:gd name="T21" fmla="*/ 2147483647 h 1182"/>
                <a:gd name="T22" fmla="*/ 2147483647 w 1440"/>
                <a:gd name="T23" fmla="*/ 2147483647 h 1182"/>
                <a:gd name="T24" fmla="*/ 2147483647 w 1440"/>
                <a:gd name="T25" fmla="*/ 2147483647 h 1182"/>
                <a:gd name="T26" fmla="*/ 2147483647 w 1440"/>
                <a:gd name="T27" fmla="*/ 2147483647 h 1182"/>
                <a:gd name="T28" fmla="*/ 2147483647 w 1440"/>
                <a:gd name="T29" fmla="*/ 2147483647 h 1182"/>
                <a:gd name="T30" fmla="*/ 2147483647 w 1440"/>
                <a:gd name="T31" fmla="*/ 2147483647 h 1182"/>
                <a:gd name="T32" fmla="*/ 2147483647 w 1440"/>
                <a:gd name="T33" fmla="*/ 2147483647 h 1182"/>
                <a:gd name="T34" fmla="*/ 2147483647 w 1440"/>
                <a:gd name="T35" fmla="*/ 2147483647 h 1182"/>
                <a:gd name="T36" fmla="*/ 2147483647 w 1440"/>
                <a:gd name="T37" fmla="*/ 2147483647 h 1182"/>
                <a:gd name="T38" fmla="*/ 2147483647 w 1440"/>
                <a:gd name="T39" fmla="*/ 2147483647 h 1182"/>
                <a:gd name="T40" fmla="*/ 2147483647 w 1440"/>
                <a:gd name="T41" fmla="*/ 2147483647 h 1182"/>
                <a:gd name="T42" fmla="*/ 2147483647 w 1440"/>
                <a:gd name="T43" fmla="*/ 2147483647 h 1182"/>
                <a:gd name="T44" fmla="*/ 2147483647 w 1440"/>
                <a:gd name="T45" fmla="*/ 2147483647 h 1182"/>
                <a:gd name="T46" fmla="*/ 2147483647 w 1440"/>
                <a:gd name="T47" fmla="*/ 2147483647 h 1182"/>
                <a:gd name="T48" fmla="*/ 2147483647 w 1440"/>
                <a:gd name="T49" fmla="*/ 2147483647 h 1182"/>
                <a:gd name="T50" fmla="*/ 2147483647 w 1440"/>
                <a:gd name="T51" fmla="*/ 2147483647 h 1182"/>
                <a:gd name="T52" fmla="*/ 2147483647 w 1440"/>
                <a:gd name="T53" fmla="*/ 2147483647 h 1182"/>
                <a:gd name="T54" fmla="*/ 2147483647 w 1440"/>
                <a:gd name="T55" fmla="*/ 2147483647 h 1182"/>
                <a:gd name="T56" fmla="*/ 2147483647 w 1440"/>
                <a:gd name="T57" fmla="*/ 2147483647 h 1182"/>
                <a:gd name="T58" fmla="*/ 2147483647 w 1440"/>
                <a:gd name="T59" fmla="*/ 2147483647 h 1182"/>
                <a:gd name="T60" fmla="*/ 2147483647 w 1440"/>
                <a:gd name="T61" fmla="*/ 0 h 1182"/>
                <a:gd name="T62" fmla="*/ 2147483647 w 1440"/>
                <a:gd name="T63" fmla="*/ 2147483647 h 1182"/>
                <a:gd name="T64" fmla="*/ 2147483647 w 1440"/>
                <a:gd name="T65" fmla="*/ 2147483647 h 1182"/>
                <a:gd name="T66" fmla="*/ 2147483647 w 1440"/>
                <a:gd name="T67" fmla="*/ 2147483647 h 1182"/>
                <a:gd name="T68" fmla="*/ 2147483647 w 1440"/>
                <a:gd name="T69" fmla="*/ 2147483647 h 1182"/>
                <a:gd name="T70" fmla="*/ 2147483647 w 1440"/>
                <a:gd name="T71" fmla="*/ 2147483647 h 1182"/>
                <a:gd name="T72" fmla="*/ 2147483647 w 1440"/>
                <a:gd name="T73" fmla="*/ 2147483647 h 1182"/>
                <a:gd name="T74" fmla="*/ 2147483647 w 1440"/>
                <a:gd name="T75" fmla="*/ 2147483647 h 1182"/>
                <a:gd name="T76" fmla="*/ 2147483647 w 1440"/>
                <a:gd name="T77" fmla="*/ 2147483647 h 1182"/>
                <a:gd name="T78" fmla="*/ 2147483647 w 1440"/>
                <a:gd name="T79" fmla="*/ 2147483647 h 1182"/>
                <a:gd name="T80" fmla="*/ 2147483647 w 1440"/>
                <a:gd name="T81" fmla="*/ 2147483647 h 1182"/>
                <a:gd name="T82" fmla="*/ 2147483647 w 1440"/>
                <a:gd name="T83" fmla="*/ 2147483647 h 1182"/>
                <a:gd name="T84" fmla="*/ 2147483647 w 1440"/>
                <a:gd name="T85" fmla="*/ 2147483647 h 1182"/>
                <a:gd name="T86" fmla="*/ 2147483647 w 1440"/>
                <a:gd name="T87" fmla="*/ 2147483647 h 1182"/>
                <a:gd name="T88" fmla="*/ 2147483647 w 1440"/>
                <a:gd name="T89" fmla="*/ 2147483647 h 1182"/>
                <a:gd name="T90" fmla="*/ 2147483647 w 1440"/>
                <a:gd name="T91" fmla="*/ 2147483647 h 1182"/>
                <a:gd name="T92" fmla="*/ 2147483647 w 1440"/>
                <a:gd name="T93" fmla="*/ 2147483647 h 1182"/>
                <a:gd name="T94" fmla="*/ 2147483647 w 1440"/>
                <a:gd name="T95" fmla="*/ 2147483647 h 1182"/>
                <a:gd name="T96" fmla="*/ 2147483647 w 1440"/>
                <a:gd name="T97" fmla="*/ 2147483647 h 1182"/>
                <a:gd name="T98" fmla="*/ 2147483647 w 1440"/>
                <a:gd name="T99" fmla="*/ 2147483647 h 1182"/>
                <a:gd name="T100" fmla="*/ 2147483647 w 1440"/>
                <a:gd name="T101" fmla="*/ 2147483647 h 1182"/>
                <a:gd name="T102" fmla="*/ 2147483647 w 1440"/>
                <a:gd name="T103" fmla="*/ 2147483647 h 1182"/>
                <a:gd name="T104" fmla="*/ 2147483647 w 1440"/>
                <a:gd name="T105" fmla="*/ 2147483647 h 1182"/>
                <a:gd name="T106" fmla="*/ 2147483647 w 1440"/>
                <a:gd name="T107" fmla="*/ 2147483647 h 1182"/>
                <a:gd name="T108" fmla="*/ 2147483647 w 1440"/>
                <a:gd name="T109" fmla="*/ 2147483647 h 1182"/>
                <a:gd name="T110" fmla="*/ 2147483647 w 1440"/>
                <a:gd name="T111" fmla="*/ 2147483647 h 118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440"/>
                <a:gd name="T169" fmla="*/ 0 h 1182"/>
                <a:gd name="T170" fmla="*/ 1440 w 1440"/>
                <a:gd name="T171" fmla="*/ 1182 h 118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440" h="1182">
                  <a:moveTo>
                    <a:pt x="1338" y="1176"/>
                  </a:moveTo>
                  <a:lnTo>
                    <a:pt x="1338" y="1170"/>
                  </a:lnTo>
                  <a:lnTo>
                    <a:pt x="1332" y="1158"/>
                  </a:lnTo>
                  <a:lnTo>
                    <a:pt x="1332" y="1128"/>
                  </a:lnTo>
                  <a:lnTo>
                    <a:pt x="1344" y="1116"/>
                  </a:lnTo>
                  <a:lnTo>
                    <a:pt x="1344" y="1110"/>
                  </a:lnTo>
                  <a:lnTo>
                    <a:pt x="1350" y="1104"/>
                  </a:lnTo>
                  <a:lnTo>
                    <a:pt x="1356" y="1086"/>
                  </a:lnTo>
                  <a:lnTo>
                    <a:pt x="1368" y="1086"/>
                  </a:lnTo>
                  <a:lnTo>
                    <a:pt x="1374" y="1080"/>
                  </a:lnTo>
                  <a:lnTo>
                    <a:pt x="1374" y="1074"/>
                  </a:lnTo>
                  <a:lnTo>
                    <a:pt x="1380" y="1074"/>
                  </a:lnTo>
                  <a:lnTo>
                    <a:pt x="1380" y="1068"/>
                  </a:lnTo>
                  <a:lnTo>
                    <a:pt x="1386" y="1062"/>
                  </a:lnTo>
                  <a:lnTo>
                    <a:pt x="1398" y="1056"/>
                  </a:lnTo>
                  <a:lnTo>
                    <a:pt x="1428" y="1056"/>
                  </a:lnTo>
                  <a:lnTo>
                    <a:pt x="1428" y="1062"/>
                  </a:lnTo>
                  <a:lnTo>
                    <a:pt x="1434" y="1062"/>
                  </a:lnTo>
                  <a:lnTo>
                    <a:pt x="1440" y="1056"/>
                  </a:lnTo>
                  <a:lnTo>
                    <a:pt x="1440" y="1044"/>
                  </a:lnTo>
                  <a:lnTo>
                    <a:pt x="1434" y="1026"/>
                  </a:lnTo>
                  <a:lnTo>
                    <a:pt x="1428" y="1014"/>
                  </a:lnTo>
                  <a:lnTo>
                    <a:pt x="1422" y="1008"/>
                  </a:lnTo>
                  <a:lnTo>
                    <a:pt x="1404" y="1008"/>
                  </a:lnTo>
                  <a:lnTo>
                    <a:pt x="1404" y="996"/>
                  </a:lnTo>
                  <a:lnTo>
                    <a:pt x="1398" y="984"/>
                  </a:lnTo>
                  <a:lnTo>
                    <a:pt x="1398" y="960"/>
                  </a:lnTo>
                  <a:lnTo>
                    <a:pt x="1392" y="960"/>
                  </a:lnTo>
                  <a:lnTo>
                    <a:pt x="1398" y="930"/>
                  </a:lnTo>
                  <a:lnTo>
                    <a:pt x="1374" y="930"/>
                  </a:lnTo>
                  <a:lnTo>
                    <a:pt x="1362" y="912"/>
                  </a:lnTo>
                  <a:lnTo>
                    <a:pt x="1350" y="918"/>
                  </a:lnTo>
                  <a:lnTo>
                    <a:pt x="1332" y="918"/>
                  </a:lnTo>
                  <a:lnTo>
                    <a:pt x="1326" y="912"/>
                  </a:lnTo>
                  <a:lnTo>
                    <a:pt x="1314" y="894"/>
                  </a:lnTo>
                  <a:lnTo>
                    <a:pt x="1308" y="876"/>
                  </a:lnTo>
                  <a:lnTo>
                    <a:pt x="1296" y="864"/>
                  </a:lnTo>
                  <a:lnTo>
                    <a:pt x="1284" y="846"/>
                  </a:lnTo>
                  <a:lnTo>
                    <a:pt x="1278" y="840"/>
                  </a:lnTo>
                  <a:lnTo>
                    <a:pt x="1272" y="828"/>
                  </a:lnTo>
                  <a:lnTo>
                    <a:pt x="1248" y="804"/>
                  </a:lnTo>
                  <a:lnTo>
                    <a:pt x="1242" y="804"/>
                  </a:lnTo>
                  <a:lnTo>
                    <a:pt x="1242" y="792"/>
                  </a:lnTo>
                  <a:lnTo>
                    <a:pt x="1260" y="774"/>
                  </a:lnTo>
                  <a:lnTo>
                    <a:pt x="1266" y="762"/>
                  </a:lnTo>
                  <a:lnTo>
                    <a:pt x="1272" y="756"/>
                  </a:lnTo>
                  <a:lnTo>
                    <a:pt x="1296" y="708"/>
                  </a:lnTo>
                  <a:lnTo>
                    <a:pt x="1284" y="684"/>
                  </a:lnTo>
                  <a:lnTo>
                    <a:pt x="1278" y="678"/>
                  </a:lnTo>
                  <a:lnTo>
                    <a:pt x="1242" y="678"/>
                  </a:lnTo>
                  <a:lnTo>
                    <a:pt x="1230" y="672"/>
                  </a:lnTo>
                  <a:lnTo>
                    <a:pt x="1224" y="672"/>
                  </a:lnTo>
                  <a:lnTo>
                    <a:pt x="1218" y="666"/>
                  </a:lnTo>
                  <a:lnTo>
                    <a:pt x="1218" y="612"/>
                  </a:lnTo>
                  <a:lnTo>
                    <a:pt x="1212" y="606"/>
                  </a:lnTo>
                  <a:lnTo>
                    <a:pt x="1200" y="582"/>
                  </a:lnTo>
                  <a:lnTo>
                    <a:pt x="1188" y="564"/>
                  </a:lnTo>
                  <a:lnTo>
                    <a:pt x="1176" y="540"/>
                  </a:lnTo>
                  <a:lnTo>
                    <a:pt x="1182" y="528"/>
                  </a:lnTo>
                  <a:lnTo>
                    <a:pt x="1200" y="510"/>
                  </a:lnTo>
                  <a:lnTo>
                    <a:pt x="1200" y="504"/>
                  </a:lnTo>
                  <a:lnTo>
                    <a:pt x="1194" y="498"/>
                  </a:lnTo>
                  <a:lnTo>
                    <a:pt x="1170" y="498"/>
                  </a:lnTo>
                  <a:lnTo>
                    <a:pt x="1170" y="468"/>
                  </a:lnTo>
                  <a:lnTo>
                    <a:pt x="1158" y="456"/>
                  </a:lnTo>
                  <a:lnTo>
                    <a:pt x="1158" y="450"/>
                  </a:lnTo>
                  <a:lnTo>
                    <a:pt x="1164" y="444"/>
                  </a:lnTo>
                  <a:lnTo>
                    <a:pt x="1176" y="438"/>
                  </a:lnTo>
                  <a:lnTo>
                    <a:pt x="1182" y="432"/>
                  </a:lnTo>
                  <a:lnTo>
                    <a:pt x="1188" y="432"/>
                  </a:lnTo>
                  <a:lnTo>
                    <a:pt x="1176" y="414"/>
                  </a:lnTo>
                  <a:lnTo>
                    <a:pt x="1200" y="408"/>
                  </a:lnTo>
                  <a:lnTo>
                    <a:pt x="1200" y="402"/>
                  </a:lnTo>
                  <a:lnTo>
                    <a:pt x="1194" y="396"/>
                  </a:lnTo>
                  <a:lnTo>
                    <a:pt x="1194" y="372"/>
                  </a:lnTo>
                  <a:lnTo>
                    <a:pt x="1188" y="360"/>
                  </a:lnTo>
                  <a:lnTo>
                    <a:pt x="1188" y="354"/>
                  </a:lnTo>
                  <a:lnTo>
                    <a:pt x="1194" y="342"/>
                  </a:lnTo>
                  <a:lnTo>
                    <a:pt x="1200" y="336"/>
                  </a:lnTo>
                  <a:lnTo>
                    <a:pt x="1188" y="306"/>
                  </a:lnTo>
                  <a:lnTo>
                    <a:pt x="1194" y="282"/>
                  </a:lnTo>
                  <a:lnTo>
                    <a:pt x="1182" y="282"/>
                  </a:lnTo>
                  <a:lnTo>
                    <a:pt x="1182" y="246"/>
                  </a:lnTo>
                  <a:lnTo>
                    <a:pt x="1116" y="252"/>
                  </a:lnTo>
                  <a:lnTo>
                    <a:pt x="1110" y="246"/>
                  </a:lnTo>
                  <a:lnTo>
                    <a:pt x="1104" y="234"/>
                  </a:lnTo>
                  <a:lnTo>
                    <a:pt x="1092" y="228"/>
                  </a:lnTo>
                  <a:lnTo>
                    <a:pt x="1080" y="216"/>
                  </a:lnTo>
                  <a:lnTo>
                    <a:pt x="1068" y="216"/>
                  </a:lnTo>
                  <a:lnTo>
                    <a:pt x="1062" y="210"/>
                  </a:lnTo>
                  <a:lnTo>
                    <a:pt x="1056" y="210"/>
                  </a:lnTo>
                  <a:lnTo>
                    <a:pt x="1050" y="204"/>
                  </a:lnTo>
                  <a:lnTo>
                    <a:pt x="1044" y="192"/>
                  </a:lnTo>
                  <a:lnTo>
                    <a:pt x="1044" y="186"/>
                  </a:lnTo>
                  <a:lnTo>
                    <a:pt x="1038" y="180"/>
                  </a:lnTo>
                  <a:lnTo>
                    <a:pt x="1032" y="180"/>
                  </a:lnTo>
                  <a:lnTo>
                    <a:pt x="1020" y="174"/>
                  </a:lnTo>
                  <a:lnTo>
                    <a:pt x="1002" y="174"/>
                  </a:lnTo>
                  <a:lnTo>
                    <a:pt x="990" y="168"/>
                  </a:lnTo>
                  <a:lnTo>
                    <a:pt x="972" y="168"/>
                  </a:lnTo>
                  <a:lnTo>
                    <a:pt x="972" y="174"/>
                  </a:lnTo>
                  <a:lnTo>
                    <a:pt x="960" y="168"/>
                  </a:lnTo>
                  <a:lnTo>
                    <a:pt x="954" y="162"/>
                  </a:lnTo>
                  <a:lnTo>
                    <a:pt x="942" y="156"/>
                  </a:lnTo>
                  <a:lnTo>
                    <a:pt x="936" y="150"/>
                  </a:lnTo>
                  <a:lnTo>
                    <a:pt x="906" y="150"/>
                  </a:lnTo>
                  <a:lnTo>
                    <a:pt x="906" y="138"/>
                  </a:lnTo>
                  <a:lnTo>
                    <a:pt x="894" y="126"/>
                  </a:lnTo>
                  <a:lnTo>
                    <a:pt x="834" y="126"/>
                  </a:lnTo>
                  <a:lnTo>
                    <a:pt x="834" y="132"/>
                  </a:lnTo>
                  <a:lnTo>
                    <a:pt x="828" y="138"/>
                  </a:lnTo>
                  <a:lnTo>
                    <a:pt x="816" y="132"/>
                  </a:lnTo>
                  <a:lnTo>
                    <a:pt x="780" y="132"/>
                  </a:lnTo>
                  <a:lnTo>
                    <a:pt x="768" y="138"/>
                  </a:lnTo>
                  <a:lnTo>
                    <a:pt x="750" y="156"/>
                  </a:lnTo>
                  <a:lnTo>
                    <a:pt x="738" y="162"/>
                  </a:lnTo>
                  <a:lnTo>
                    <a:pt x="732" y="168"/>
                  </a:lnTo>
                  <a:lnTo>
                    <a:pt x="732" y="180"/>
                  </a:lnTo>
                  <a:lnTo>
                    <a:pt x="720" y="186"/>
                  </a:lnTo>
                  <a:lnTo>
                    <a:pt x="708" y="198"/>
                  </a:lnTo>
                  <a:lnTo>
                    <a:pt x="678" y="198"/>
                  </a:lnTo>
                  <a:lnTo>
                    <a:pt x="690" y="210"/>
                  </a:lnTo>
                  <a:lnTo>
                    <a:pt x="690" y="222"/>
                  </a:lnTo>
                  <a:lnTo>
                    <a:pt x="696" y="228"/>
                  </a:lnTo>
                  <a:lnTo>
                    <a:pt x="696" y="234"/>
                  </a:lnTo>
                  <a:lnTo>
                    <a:pt x="690" y="240"/>
                  </a:lnTo>
                  <a:lnTo>
                    <a:pt x="678" y="240"/>
                  </a:lnTo>
                  <a:lnTo>
                    <a:pt x="666" y="234"/>
                  </a:lnTo>
                  <a:lnTo>
                    <a:pt x="660" y="228"/>
                  </a:lnTo>
                  <a:lnTo>
                    <a:pt x="654" y="228"/>
                  </a:lnTo>
                  <a:lnTo>
                    <a:pt x="648" y="234"/>
                  </a:lnTo>
                  <a:lnTo>
                    <a:pt x="624" y="234"/>
                  </a:lnTo>
                  <a:lnTo>
                    <a:pt x="612" y="240"/>
                  </a:lnTo>
                  <a:lnTo>
                    <a:pt x="600" y="240"/>
                  </a:lnTo>
                  <a:lnTo>
                    <a:pt x="582" y="246"/>
                  </a:lnTo>
                  <a:lnTo>
                    <a:pt x="558" y="258"/>
                  </a:lnTo>
                  <a:lnTo>
                    <a:pt x="546" y="252"/>
                  </a:lnTo>
                  <a:lnTo>
                    <a:pt x="534" y="252"/>
                  </a:lnTo>
                  <a:lnTo>
                    <a:pt x="522" y="246"/>
                  </a:lnTo>
                  <a:lnTo>
                    <a:pt x="498" y="246"/>
                  </a:lnTo>
                  <a:lnTo>
                    <a:pt x="480" y="240"/>
                  </a:lnTo>
                  <a:lnTo>
                    <a:pt x="468" y="228"/>
                  </a:lnTo>
                  <a:lnTo>
                    <a:pt x="456" y="222"/>
                  </a:lnTo>
                  <a:lnTo>
                    <a:pt x="444" y="210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6"/>
                  </a:lnTo>
                  <a:lnTo>
                    <a:pt x="378" y="186"/>
                  </a:lnTo>
                  <a:lnTo>
                    <a:pt x="354" y="162"/>
                  </a:lnTo>
                  <a:lnTo>
                    <a:pt x="336" y="126"/>
                  </a:lnTo>
                  <a:lnTo>
                    <a:pt x="330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108"/>
                  </a:lnTo>
                  <a:lnTo>
                    <a:pt x="306" y="102"/>
                  </a:lnTo>
                  <a:lnTo>
                    <a:pt x="300" y="102"/>
                  </a:lnTo>
                  <a:lnTo>
                    <a:pt x="294" y="96"/>
                  </a:lnTo>
                  <a:lnTo>
                    <a:pt x="282" y="90"/>
                  </a:lnTo>
                  <a:lnTo>
                    <a:pt x="270" y="78"/>
                  </a:lnTo>
                  <a:lnTo>
                    <a:pt x="270" y="72"/>
                  </a:lnTo>
                  <a:lnTo>
                    <a:pt x="282" y="72"/>
                  </a:lnTo>
                  <a:lnTo>
                    <a:pt x="288" y="66"/>
                  </a:lnTo>
                  <a:lnTo>
                    <a:pt x="288" y="60"/>
                  </a:lnTo>
                  <a:lnTo>
                    <a:pt x="282" y="54"/>
                  </a:lnTo>
                  <a:lnTo>
                    <a:pt x="276" y="54"/>
                  </a:lnTo>
                  <a:lnTo>
                    <a:pt x="276" y="42"/>
                  </a:lnTo>
                  <a:lnTo>
                    <a:pt x="282" y="36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46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204" y="36"/>
                  </a:lnTo>
                  <a:lnTo>
                    <a:pt x="192" y="48"/>
                  </a:lnTo>
                  <a:lnTo>
                    <a:pt x="192" y="54"/>
                  </a:lnTo>
                  <a:lnTo>
                    <a:pt x="186" y="60"/>
                  </a:lnTo>
                  <a:lnTo>
                    <a:pt x="180" y="72"/>
                  </a:lnTo>
                  <a:lnTo>
                    <a:pt x="132" y="72"/>
                  </a:lnTo>
                  <a:lnTo>
                    <a:pt x="96" y="60"/>
                  </a:lnTo>
                  <a:lnTo>
                    <a:pt x="84" y="54"/>
                  </a:lnTo>
                  <a:lnTo>
                    <a:pt x="66" y="36"/>
                  </a:lnTo>
                  <a:lnTo>
                    <a:pt x="54" y="12"/>
                  </a:lnTo>
                  <a:lnTo>
                    <a:pt x="54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0" y="30"/>
                  </a:lnTo>
                  <a:lnTo>
                    <a:pt x="18" y="54"/>
                  </a:lnTo>
                  <a:lnTo>
                    <a:pt x="18" y="84"/>
                  </a:lnTo>
                  <a:lnTo>
                    <a:pt x="30" y="96"/>
                  </a:lnTo>
                  <a:lnTo>
                    <a:pt x="30" y="108"/>
                  </a:lnTo>
                  <a:lnTo>
                    <a:pt x="36" y="114"/>
                  </a:lnTo>
                  <a:lnTo>
                    <a:pt x="42" y="114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30" y="138"/>
                  </a:lnTo>
                  <a:lnTo>
                    <a:pt x="24" y="144"/>
                  </a:lnTo>
                  <a:lnTo>
                    <a:pt x="60" y="162"/>
                  </a:lnTo>
                  <a:lnTo>
                    <a:pt x="60" y="192"/>
                  </a:lnTo>
                  <a:lnTo>
                    <a:pt x="84" y="198"/>
                  </a:lnTo>
                  <a:lnTo>
                    <a:pt x="84" y="210"/>
                  </a:lnTo>
                  <a:lnTo>
                    <a:pt x="96" y="246"/>
                  </a:lnTo>
                  <a:lnTo>
                    <a:pt x="108" y="270"/>
                  </a:lnTo>
                  <a:lnTo>
                    <a:pt x="120" y="282"/>
                  </a:lnTo>
                  <a:lnTo>
                    <a:pt x="120" y="300"/>
                  </a:lnTo>
                  <a:lnTo>
                    <a:pt x="144" y="306"/>
                  </a:lnTo>
                  <a:lnTo>
                    <a:pt x="156" y="324"/>
                  </a:lnTo>
                  <a:lnTo>
                    <a:pt x="162" y="318"/>
                  </a:lnTo>
                  <a:lnTo>
                    <a:pt x="174" y="312"/>
                  </a:lnTo>
                  <a:lnTo>
                    <a:pt x="186" y="312"/>
                  </a:lnTo>
                  <a:lnTo>
                    <a:pt x="186" y="318"/>
                  </a:lnTo>
                  <a:lnTo>
                    <a:pt x="168" y="336"/>
                  </a:lnTo>
                  <a:lnTo>
                    <a:pt x="168" y="342"/>
                  </a:lnTo>
                  <a:lnTo>
                    <a:pt x="180" y="354"/>
                  </a:lnTo>
                  <a:lnTo>
                    <a:pt x="186" y="366"/>
                  </a:lnTo>
                  <a:lnTo>
                    <a:pt x="186" y="372"/>
                  </a:lnTo>
                  <a:lnTo>
                    <a:pt x="174" y="384"/>
                  </a:lnTo>
                  <a:lnTo>
                    <a:pt x="168" y="384"/>
                  </a:lnTo>
                  <a:lnTo>
                    <a:pt x="168" y="414"/>
                  </a:lnTo>
                  <a:lnTo>
                    <a:pt x="156" y="414"/>
                  </a:lnTo>
                  <a:lnTo>
                    <a:pt x="144" y="426"/>
                  </a:lnTo>
                  <a:lnTo>
                    <a:pt x="144" y="432"/>
                  </a:lnTo>
                  <a:lnTo>
                    <a:pt x="156" y="444"/>
                  </a:lnTo>
                  <a:lnTo>
                    <a:pt x="150" y="450"/>
                  </a:lnTo>
                  <a:lnTo>
                    <a:pt x="144" y="462"/>
                  </a:lnTo>
                  <a:lnTo>
                    <a:pt x="144" y="468"/>
                  </a:lnTo>
                  <a:lnTo>
                    <a:pt x="150" y="474"/>
                  </a:lnTo>
                  <a:lnTo>
                    <a:pt x="162" y="480"/>
                  </a:lnTo>
                  <a:lnTo>
                    <a:pt x="174" y="492"/>
                  </a:lnTo>
                  <a:lnTo>
                    <a:pt x="198" y="504"/>
                  </a:lnTo>
                  <a:lnTo>
                    <a:pt x="204" y="510"/>
                  </a:lnTo>
                  <a:lnTo>
                    <a:pt x="210" y="510"/>
                  </a:lnTo>
                  <a:lnTo>
                    <a:pt x="210" y="552"/>
                  </a:lnTo>
                  <a:lnTo>
                    <a:pt x="234" y="552"/>
                  </a:lnTo>
                  <a:lnTo>
                    <a:pt x="240" y="558"/>
                  </a:lnTo>
                  <a:lnTo>
                    <a:pt x="252" y="564"/>
                  </a:lnTo>
                  <a:lnTo>
                    <a:pt x="270" y="582"/>
                  </a:lnTo>
                  <a:lnTo>
                    <a:pt x="288" y="582"/>
                  </a:lnTo>
                  <a:lnTo>
                    <a:pt x="294" y="588"/>
                  </a:lnTo>
                  <a:lnTo>
                    <a:pt x="300" y="600"/>
                  </a:lnTo>
                  <a:lnTo>
                    <a:pt x="330" y="636"/>
                  </a:lnTo>
                  <a:lnTo>
                    <a:pt x="330" y="648"/>
                  </a:lnTo>
                  <a:lnTo>
                    <a:pt x="324" y="660"/>
                  </a:lnTo>
                  <a:lnTo>
                    <a:pt x="324" y="696"/>
                  </a:lnTo>
                  <a:lnTo>
                    <a:pt x="330" y="702"/>
                  </a:lnTo>
                  <a:lnTo>
                    <a:pt x="342" y="708"/>
                  </a:lnTo>
                  <a:lnTo>
                    <a:pt x="348" y="714"/>
                  </a:lnTo>
                  <a:lnTo>
                    <a:pt x="354" y="714"/>
                  </a:lnTo>
                  <a:lnTo>
                    <a:pt x="360" y="744"/>
                  </a:lnTo>
                  <a:lnTo>
                    <a:pt x="372" y="750"/>
                  </a:lnTo>
                  <a:lnTo>
                    <a:pt x="384" y="762"/>
                  </a:lnTo>
                  <a:lnTo>
                    <a:pt x="384" y="768"/>
                  </a:lnTo>
                  <a:lnTo>
                    <a:pt x="390" y="774"/>
                  </a:lnTo>
                  <a:lnTo>
                    <a:pt x="402" y="780"/>
                  </a:lnTo>
                  <a:lnTo>
                    <a:pt x="408" y="786"/>
                  </a:lnTo>
                  <a:lnTo>
                    <a:pt x="420" y="792"/>
                  </a:lnTo>
                  <a:lnTo>
                    <a:pt x="426" y="786"/>
                  </a:lnTo>
                  <a:lnTo>
                    <a:pt x="426" y="774"/>
                  </a:lnTo>
                  <a:lnTo>
                    <a:pt x="420" y="768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56"/>
                  </a:lnTo>
                  <a:lnTo>
                    <a:pt x="450" y="768"/>
                  </a:lnTo>
                  <a:lnTo>
                    <a:pt x="456" y="780"/>
                  </a:lnTo>
                  <a:lnTo>
                    <a:pt x="474" y="780"/>
                  </a:lnTo>
                  <a:lnTo>
                    <a:pt x="474" y="786"/>
                  </a:lnTo>
                  <a:lnTo>
                    <a:pt x="474" y="780"/>
                  </a:lnTo>
                  <a:lnTo>
                    <a:pt x="480" y="780"/>
                  </a:lnTo>
                  <a:lnTo>
                    <a:pt x="480" y="768"/>
                  </a:lnTo>
                  <a:lnTo>
                    <a:pt x="504" y="768"/>
                  </a:lnTo>
                  <a:lnTo>
                    <a:pt x="504" y="804"/>
                  </a:lnTo>
                  <a:lnTo>
                    <a:pt x="510" y="810"/>
                  </a:lnTo>
                  <a:lnTo>
                    <a:pt x="516" y="810"/>
                  </a:lnTo>
                  <a:lnTo>
                    <a:pt x="528" y="816"/>
                  </a:lnTo>
                  <a:lnTo>
                    <a:pt x="540" y="828"/>
                  </a:lnTo>
                  <a:lnTo>
                    <a:pt x="540" y="846"/>
                  </a:lnTo>
                  <a:lnTo>
                    <a:pt x="552" y="858"/>
                  </a:lnTo>
                  <a:lnTo>
                    <a:pt x="558" y="870"/>
                  </a:lnTo>
                  <a:lnTo>
                    <a:pt x="564" y="876"/>
                  </a:lnTo>
                  <a:lnTo>
                    <a:pt x="570" y="876"/>
                  </a:lnTo>
                  <a:lnTo>
                    <a:pt x="582" y="894"/>
                  </a:lnTo>
                  <a:lnTo>
                    <a:pt x="582" y="906"/>
                  </a:lnTo>
                  <a:lnTo>
                    <a:pt x="594" y="930"/>
                  </a:lnTo>
                  <a:lnTo>
                    <a:pt x="600" y="936"/>
                  </a:lnTo>
                  <a:lnTo>
                    <a:pt x="606" y="936"/>
                  </a:lnTo>
                  <a:lnTo>
                    <a:pt x="612" y="942"/>
                  </a:lnTo>
                  <a:lnTo>
                    <a:pt x="618" y="954"/>
                  </a:lnTo>
                  <a:lnTo>
                    <a:pt x="618" y="960"/>
                  </a:lnTo>
                  <a:lnTo>
                    <a:pt x="648" y="960"/>
                  </a:lnTo>
                  <a:lnTo>
                    <a:pt x="666" y="984"/>
                  </a:lnTo>
                  <a:lnTo>
                    <a:pt x="684" y="978"/>
                  </a:lnTo>
                  <a:lnTo>
                    <a:pt x="702" y="978"/>
                  </a:lnTo>
                  <a:lnTo>
                    <a:pt x="720" y="996"/>
                  </a:lnTo>
                  <a:lnTo>
                    <a:pt x="738" y="1008"/>
                  </a:lnTo>
                  <a:lnTo>
                    <a:pt x="756" y="1026"/>
                  </a:lnTo>
                  <a:lnTo>
                    <a:pt x="792" y="1050"/>
                  </a:lnTo>
                  <a:lnTo>
                    <a:pt x="810" y="1050"/>
                  </a:lnTo>
                  <a:lnTo>
                    <a:pt x="822" y="1056"/>
                  </a:lnTo>
                  <a:lnTo>
                    <a:pt x="834" y="1068"/>
                  </a:lnTo>
                  <a:lnTo>
                    <a:pt x="852" y="1068"/>
                  </a:lnTo>
                  <a:lnTo>
                    <a:pt x="876" y="1056"/>
                  </a:lnTo>
                  <a:lnTo>
                    <a:pt x="876" y="1050"/>
                  </a:lnTo>
                  <a:lnTo>
                    <a:pt x="900" y="1056"/>
                  </a:lnTo>
                  <a:lnTo>
                    <a:pt x="912" y="1032"/>
                  </a:lnTo>
                  <a:lnTo>
                    <a:pt x="930" y="1032"/>
                  </a:lnTo>
                  <a:lnTo>
                    <a:pt x="954" y="1008"/>
                  </a:lnTo>
                  <a:lnTo>
                    <a:pt x="966" y="1020"/>
                  </a:lnTo>
                  <a:lnTo>
                    <a:pt x="972" y="1014"/>
                  </a:lnTo>
                  <a:lnTo>
                    <a:pt x="984" y="1014"/>
                  </a:lnTo>
                  <a:lnTo>
                    <a:pt x="1002" y="1032"/>
                  </a:lnTo>
                  <a:lnTo>
                    <a:pt x="1014" y="1050"/>
                  </a:lnTo>
                  <a:lnTo>
                    <a:pt x="1020" y="1068"/>
                  </a:lnTo>
                  <a:lnTo>
                    <a:pt x="1032" y="1080"/>
                  </a:lnTo>
                  <a:lnTo>
                    <a:pt x="1032" y="1098"/>
                  </a:lnTo>
                  <a:lnTo>
                    <a:pt x="1038" y="1110"/>
                  </a:lnTo>
                  <a:lnTo>
                    <a:pt x="1044" y="1116"/>
                  </a:lnTo>
                  <a:lnTo>
                    <a:pt x="1056" y="1122"/>
                  </a:lnTo>
                  <a:lnTo>
                    <a:pt x="1080" y="1122"/>
                  </a:lnTo>
                  <a:lnTo>
                    <a:pt x="1080" y="1128"/>
                  </a:lnTo>
                  <a:lnTo>
                    <a:pt x="1086" y="1134"/>
                  </a:lnTo>
                  <a:lnTo>
                    <a:pt x="1098" y="1140"/>
                  </a:lnTo>
                  <a:lnTo>
                    <a:pt x="1164" y="1140"/>
                  </a:lnTo>
                  <a:lnTo>
                    <a:pt x="1176" y="1146"/>
                  </a:lnTo>
                  <a:lnTo>
                    <a:pt x="1200" y="1170"/>
                  </a:lnTo>
                  <a:lnTo>
                    <a:pt x="1212" y="1170"/>
                  </a:lnTo>
                  <a:lnTo>
                    <a:pt x="1224" y="1164"/>
                  </a:lnTo>
                  <a:lnTo>
                    <a:pt x="1230" y="1164"/>
                  </a:lnTo>
                  <a:lnTo>
                    <a:pt x="1242" y="1158"/>
                  </a:lnTo>
                  <a:lnTo>
                    <a:pt x="1248" y="1158"/>
                  </a:lnTo>
                  <a:lnTo>
                    <a:pt x="1254" y="1164"/>
                  </a:lnTo>
                  <a:lnTo>
                    <a:pt x="1278" y="1176"/>
                  </a:lnTo>
                  <a:lnTo>
                    <a:pt x="1296" y="1182"/>
                  </a:lnTo>
                  <a:lnTo>
                    <a:pt x="1326" y="1182"/>
                  </a:lnTo>
                  <a:lnTo>
                    <a:pt x="1338" y="117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120" name="Indonesia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6663226" y="4162945"/>
              <a:ext cx="1059708" cy="404180"/>
            </a:xfrm>
            <a:custGeom>
              <a:avLst/>
              <a:gdLst>
                <a:gd name="T0" fmla="*/ 2147483647 w 3264"/>
                <a:gd name="T1" fmla="*/ 2147483647 h 1302"/>
                <a:gd name="T2" fmla="*/ 2147483647 w 3264"/>
                <a:gd name="T3" fmla="*/ 2147483647 h 1302"/>
                <a:gd name="T4" fmla="*/ 2147483647 w 3264"/>
                <a:gd name="T5" fmla="*/ 2147483647 h 1302"/>
                <a:gd name="T6" fmla="*/ 2147483647 w 3264"/>
                <a:gd name="T7" fmla="*/ 2147483647 h 1302"/>
                <a:gd name="T8" fmla="*/ 2147483647 w 3264"/>
                <a:gd name="T9" fmla="*/ 2147483647 h 1302"/>
                <a:gd name="T10" fmla="*/ 2147483647 w 3264"/>
                <a:gd name="T11" fmla="*/ 2147483647 h 1302"/>
                <a:gd name="T12" fmla="*/ 2147483647 w 3264"/>
                <a:gd name="T13" fmla="*/ 2147483647 h 1302"/>
                <a:gd name="T14" fmla="*/ 2147483647 w 3264"/>
                <a:gd name="T15" fmla="*/ 2147483647 h 1302"/>
                <a:gd name="T16" fmla="*/ 2147483647 w 3264"/>
                <a:gd name="T17" fmla="*/ 2147483647 h 1302"/>
                <a:gd name="T18" fmla="*/ 2147483647 w 3264"/>
                <a:gd name="T19" fmla="*/ 2147483647 h 1302"/>
                <a:gd name="T20" fmla="*/ 2147483647 w 3264"/>
                <a:gd name="T21" fmla="*/ 2147483647 h 1302"/>
                <a:gd name="T22" fmla="*/ 2147483647 w 3264"/>
                <a:gd name="T23" fmla="*/ 2147483647 h 1302"/>
                <a:gd name="T24" fmla="*/ 2147483647 w 3264"/>
                <a:gd name="T25" fmla="*/ 2147483647 h 1302"/>
                <a:gd name="T26" fmla="*/ 2147483647 w 3264"/>
                <a:gd name="T27" fmla="*/ 2147483647 h 1302"/>
                <a:gd name="T28" fmla="*/ 2147483647 w 3264"/>
                <a:gd name="T29" fmla="*/ 2147483647 h 1302"/>
                <a:gd name="T30" fmla="*/ 2147483647 w 3264"/>
                <a:gd name="T31" fmla="*/ 2147483647 h 1302"/>
                <a:gd name="T32" fmla="*/ 2147483647 w 3264"/>
                <a:gd name="T33" fmla="*/ 2147483647 h 1302"/>
                <a:gd name="T34" fmla="*/ 2147483647 w 3264"/>
                <a:gd name="T35" fmla="*/ 2147483647 h 1302"/>
                <a:gd name="T36" fmla="*/ 2147483647 w 3264"/>
                <a:gd name="T37" fmla="*/ 2147483647 h 1302"/>
                <a:gd name="T38" fmla="*/ 2147483647 w 3264"/>
                <a:gd name="T39" fmla="*/ 2147483647 h 1302"/>
                <a:gd name="T40" fmla="*/ 2147483647 w 3264"/>
                <a:gd name="T41" fmla="*/ 2147483647 h 1302"/>
                <a:gd name="T42" fmla="*/ 2147483647 w 3264"/>
                <a:gd name="T43" fmla="*/ 2147483647 h 1302"/>
                <a:gd name="T44" fmla="*/ 2147483647 w 3264"/>
                <a:gd name="T45" fmla="*/ 2147483647 h 1302"/>
                <a:gd name="T46" fmla="*/ 2147483647 w 3264"/>
                <a:gd name="T47" fmla="*/ 2147483647 h 1302"/>
                <a:gd name="T48" fmla="*/ 2147483647 w 3264"/>
                <a:gd name="T49" fmla="*/ 2147483647 h 1302"/>
                <a:gd name="T50" fmla="*/ 2147483647 w 3264"/>
                <a:gd name="T51" fmla="*/ 2147483647 h 1302"/>
                <a:gd name="T52" fmla="*/ 2147483647 w 3264"/>
                <a:gd name="T53" fmla="*/ 2147483647 h 1302"/>
                <a:gd name="T54" fmla="*/ 2147483647 w 3264"/>
                <a:gd name="T55" fmla="*/ 2147483647 h 1302"/>
                <a:gd name="T56" fmla="*/ 2147483647 w 3264"/>
                <a:gd name="T57" fmla="*/ 2147483647 h 1302"/>
                <a:gd name="T58" fmla="*/ 2147483647 w 3264"/>
                <a:gd name="T59" fmla="*/ 2147483647 h 1302"/>
                <a:gd name="T60" fmla="*/ 2147483647 w 3264"/>
                <a:gd name="T61" fmla="*/ 2147483647 h 1302"/>
                <a:gd name="T62" fmla="*/ 2147483647 w 3264"/>
                <a:gd name="T63" fmla="*/ 2147483647 h 1302"/>
                <a:gd name="T64" fmla="*/ 2147483647 w 3264"/>
                <a:gd name="T65" fmla="*/ 2147483647 h 1302"/>
                <a:gd name="T66" fmla="*/ 2147483647 w 3264"/>
                <a:gd name="T67" fmla="*/ 2147483647 h 1302"/>
                <a:gd name="T68" fmla="*/ 2147483647 w 3264"/>
                <a:gd name="T69" fmla="*/ 2147483647 h 1302"/>
                <a:gd name="T70" fmla="*/ 2147483647 w 3264"/>
                <a:gd name="T71" fmla="*/ 2147483647 h 1302"/>
                <a:gd name="T72" fmla="*/ 2147483647 w 3264"/>
                <a:gd name="T73" fmla="*/ 2147483647 h 1302"/>
                <a:gd name="T74" fmla="*/ 2147483647 w 3264"/>
                <a:gd name="T75" fmla="*/ 2147483647 h 1302"/>
                <a:gd name="T76" fmla="*/ 2147483647 w 3264"/>
                <a:gd name="T77" fmla="*/ 2147483647 h 1302"/>
                <a:gd name="T78" fmla="*/ 2147483647 w 3264"/>
                <a:gd name="T79" fmla="*/ 2147483647 h 1302"/>
                <a:gd name="T80" fmla="*/ 2147483647 w 3264"/>
                <a:gd name="T81" fmla="*/ 2147483647 h 1302"/>
                <a:gd name="T82" fmla="*/ 2147483647 w 3264"/>
                <a:gd name="T83" fmla="*/ 2147483647 h 1302"/>
                <a:gd name="T84" fmla="*/ 2147483647 w 3264"/>
                <a:gd name="T85" fmla="*/ 2147483647 h 1302"/>
                <a:gd name="T86" fmla="*/ 2147483647 w 3264"/>
                <a:gd name="T87" fmla="*/ 2147483647 h 1302"/>
                <a:gd name="T88" fmla="*/ 2147483647 w 3264"/>
                <a:gd name="T89" fmla="*/ 2147483647 h 1302"/>
                <a:gd name="T90" fmla="*/ 2147483647 w 3264"/>
                <a:gd name="T91" fmla="*/ 2147483647 h 1302"/>
                <a:gd name="T92" fmla="*/ 2147483647 w 3264"/>
                <a:gd name="T93" fmla="*/ 2147483647 h 1302"/>
                <a:gd name="T94" fmla="*/ 2147483647 w 3264"/>
                <a:gd name="T95" fmla="*/ 2147483647 h 1302"/>
                <a:gd name="T96" fmla="*/ 2147483647 w 3264"/>
                <a:gd name="T97" fmla="*/ 2147483647 h 1302"/>
                <a:gd name="T98" fmla="*/ 2147483647 w 3264"/>
                <a:gd name="T99" fmla="*/ 2147483647 h 1302"/>
                <a:gd name="T100" fmla="*/ 2147483647 w 3264"/>
                <a:gd name="T101" fmla="*/ 2147483647 h 1302"/>
                <a:gd name="T102" fmla="*/ 2147483647 w 3264"/>
                <a:gd name="T103" fmla="*/ 2147483647 h 1302"/>
                <a:gd name="T104" fmla="*/ 2147483647 w 3264"/>
                <a:gd name="T105" fmla="*/ 2147483647 h 1302"/>
                <a:gd name="T106" fmla="*/ 2147483647 w 3264"/>
                <a:gd name="T107" fmla="*/ 2147483647 h 1302"/>
                <a:gd name="T108" fmla="*/ 2147483647 w 3264"/>
                <a:gd name="T109" fmla="*/ 2147483647 h 1302"/>
                <a:gd name="T110" fmla="*/ 2147483647 w 3264"/>
                <a:gd name="T111" fmla="*/ 2147483647 h 1302"/>
                <a:gd name="T112" fmla="*/ 2147483647 w 3264"/>
                <a:gd name="T113" fmla="*/ 2147483647 h 1302"/>
                <a:gd name="T114" fmla="*/ 2147483647 w 3264"/>
                <a:gd name="T115" fmla="*/ 2147483647 h 1302"/>
                <a:gd name="T116" fmla="*/ 2147483647 w 3264"/>
                <a:gd name="T117" fmla="*/ 2147483647 h 1302"/>
                <a:gd name="T118" fmla="*/ 2147483647 w 3264"/>
                <a:gd name="T119" fmla="*/ 2147483647 h 1302"/>
                <a:gd name="T120" fmla="*/ 2147483647 w 3264"/>
                <a:gd name="T121" fmla="*/ 2147483647 h 1302"/>
                <a:gd name="T122" fmla="*/ 2147483647 w 3264"/>
                <a:gd name="T123" fmla="*/ 2147483647 h 1302"/>
                <a:gd name="T124" fmla="*/ 2147483647 w 3264"/>
                <a:gd name="T125" fmla="*/ 2147483647 h 130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64"/>
                <a:gd name="T190" fmla="*/ 0 h 1302"/>
                <a:gd name="T191" fmla="*/ 3264 w 3264"/>
                <a:gd name="T192" fmla="*/ 1302 h 130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64" h="1302">
                  <a:moveTo>
                    <a:pt x="1788" y="984"/>
                  </a:moveTo>
                  <a:lnTo>
                    <a:pt x="1806" y="978"/>
                  </a:lnTo>
                  <a:lnTo>
                    <a:pt x="1818" y="954"/>
                  </a:lnTo>
                  <a:lnTo>
                    <a:pt x="1812" y="930"/>
                  </a:lnTo>
                  <a:lnTo>
                    <a:pt x="1788" y="984"/>
                  </a:lnTo>
                  <a:close/>
                  <a:moveTo>
                    <a:pt x="672" y="462"/>
                  </a:moveTo>
                  <a:lnTo>
                    <a:pt x="702" y="480"/>
                  </a:lnTo>
                  <a:lnTo>
                    <a:pt x="702" y="450"/>
                  </a:lnTo>
                  <a:lnTo>
                    <a:pt x="672" y="426"/>
                  </a:lnTo>
                  <a:lnTo>
                    <a:pt x="672" y="462"/>
                  </a:lnTo>
                  <a:close/>
                  <a:moveTo>
                    <a:pt x="678" y="492"/>
                  </a:moveTo>
                  <a:lnTo>
                    <a:pt x="654" y="516"/>
                  </a:lnTo>
                  <a:lnTo>
                    <a:pt x="678" y="546"/>
                  </a:lnTo>
                  <a:lnTo>
                    <a:pt x="678" y="492"/>
                  </a:lnTo>
                  <a:close/>
                  <a:moveTo>
                    <a:pt x="906" y="714"/>
                  </a:moveTo>
                  <a:lnTo>
                    <a:pt x="930" y="732"/>
                  </a:lnTo>
                  <a:lnTo>
                    <a:pt x="936" y="708"/>
                  </a:lnTo>
                  <a:lnTo>
                    <a:pt x="936" y="702"/>
                  </a:lnTo>
                  <a:lnTo>
                    <a:pt x="930" y="696"/>
                  </a:lnTo>
                  <a:lnTo>
                    <a:pt x="930" y="690"/>
                  </a:lnTo>
                  <a:lnTo>
                    <a:pt x="912" y="672"/>
                  </a:lnTo>
                  <a:lnTo>
                    <a:pt x="900" y="666"/>
                  </a:lnTo>
                  <a:lnTo>
                    <a:pt x="888" y="666"/>
                  </a:lnTo>
                  <a:lnTo>
                    <a:pt x="882" y="672"/>
                  </a:lnTo>
                  <a:lnTo>
                    <a:pt x="876" y="684"/>
                  </a:lnTo>
                  <a:lnTo>
                    <a:pt x="882" y="696"/>
                  </a:lnTo>
                  <a:lnTo>
                    <a:pt x="882" y="708"/>
                  </a:lnTo>
                  <a:lnTo>
                    <a:pt x="888" y="720"/>
                  </a:lnTo>
                  <a:lnTo>
                    <a:pt x="906" y="714"/>
                  </a:lnTo>
                  <a:close/>
                  <a:moveTo>
                    <a:pt x="684" y="372"/>
                  </a:moveTo>
                  <a:lnTo>
                    <a:pt x="672" y="360"/>
                  </a:lnTo>
                  <a:lnTo>
                    <a:pt x="660" y="372"/>
                  </a:lnTo>
                  <a:lnTo>
                    <a:pt x="672" y="396"/>
                  </a:lnTo>
                  <a:lnTo>
                    <a:pt x="684" y="396"/>
                  </a:lnTo>
                  <a:lnTo>
                    <a:pt x="684" y="372"/>
                  </a:lnTo>
                  <a:close/>
                  <a:moveTo>
                    <a:pt x="750" y="624"/>
                  </a:moveTo>
                  <a:lnTo>
                    <a:pt x="750" y="630"/>
                  </a:lnTo>
                  <a:lnTo>
                    <a:pt x="756" y="636"/>
                  </a:lnTo>
                  <a:lnTo>
                    <a:pt x="756" y="648"/>
                  </a:lnTo>
                  <a:lnTo>
                    <a:pt x="774" y="684"/>
                  </a:lnTo>
                  <a:lnTo>
                    <a:pt x="786" y="690"/>
                  </a:lnTo>
                  <a:lnTo>
                    <a:pt x="804" y="696"/>
                  </a:lnTo>
                  <a:lnTo>
                    <a:pt x="816" y="702"/>
                  </a:lnTo>
                  <a:lnTo>
                    <a:pt x="834" y="702"/>
                  </a:lnTo>
                  <a:lnTo>
                    <a:pt x="828" y="660"/>
                  </a:lnTo>
                  <a:lnTo>
                    <a:pt x="810" y="648"/>
                  </a:lnTo>
                  <a:lnTo>
                    <a:pt x="810" y="618"/>
                  </a:lnTo>
                  <a:lnTo>
                    <a:pt x="804" y="606"/>
                  </a:lnTo>
                  <a:lnTo>
                    <a:pt x="792" y="600"/>
                  </a:lnTo>
                  <a:lnTo>
                    <a:pt x="786" y="588"/>
                  </a:lnTo>
                  <a:lnTo>
                    <a:pt x="768" y="582"/>
                  </a:lnTo>
                  <a:lnTo>
                    <a:pt x="756" y="576"/>
                  </a:lnTo>
                  <a:lnTo>
                    <a:pt x="732" y="576"/>
                  </a:lnTo>
                  <a:lnTo>
                    <a:pt x="732" y="582"/>
                  </a:lnTo>
                  <a:lnTo>
                    <a:pt x="726" y="588"/>
                  </a:lnTo>
                  <a:lnTo>
                    <a:pt x="726" y="600"/>
                  </a:lnTo>
                  <a:lnTo>
                    <a:pt x="714" y="600"/>
                  </a:lnTo>
                  <a:lnTo>
                    <a:pt x="714" y="606"/>
                  </a:lnTo>
                  <a:lnTo>
                    <a:pt x="708" y="612"/>
                  </a:lnTo>
                  <a:lnTo>
                    <a:pt x="714" y="624"/>
                  </a:lnTo>
                  <a:lnTo>
                    <a:pt x="750" y="624"/>
                  </a:lnTo>
                  <a:close/>
                  <a:moveTo>
                    <a:pt x="246" y="438"/>
                  </a:moveTo>
                  <a:lnTo>
                    <a:pt x="222" y="462"/>
                  </a:lnTo>
                  <a:lnTo>
                    <a:pt x="234" y="492"/>
                  </a:lnTo>
                  <a:lnTo>
                    <a:pt x="234" y="498"/>
                  </a:lnTo>
                  <a:lnTo>
                    <a:pt x="228" y="504"/>
                  </a:lnTo>
                  <a:lnTo>
                    <a:pt x="228" y="510"/>
                  </a:lnTo>
                  <a:lnTo>
                    <a:pt x="240" y="510"/>
                  </a:lnTo>
                  <a:lnTo>
                    <a:pt x="246" y="504"/>
                  </a:lnTo>
                  <a:lnTo>
                    <a:pt x="246" y="468"/>
                  </a:lnTo>
                  <a:lnTo>
                    <a:pt x="252" y="456"/>
                  </a:lnTo>
                  <a:lnTo>
                    <a:pt x="246" y="438"/>
                  </a:lnTo>
                  <a:close/>
                  <a:moveTo>
                    <a:pt x="264" y="534"/>
                  </a:moveTo>
                  <a:lnTo>
                    <a:pt x="258" y="546"/>
                  </a:lnTo>
                  <a:lnTo>
                    <a:pt x="258" y="588"/>
                  </a:lnTo>
                  <a:lnTo>
                    <a:pt x="264" y="600"/>
                  </a:lnTo>
                  <a:lnTo>
                    <a:pt x="276" y="612"/>
                  </a:lnTo>
                  <a:lnTo>
                    <a:pt x="288" y="612"/>
                  </a:lnTo>
                  <a:lnTo>
                    <a:pt x="294" y="606"/>
                  </a:lnTo>
                  <a:lnTo>
                    <a:pt x="294" y="588"/>
                  </a:lnTo>
                  <a:lnTo>
                    <a:pt x="288" y="576"/>
                  </a:lnTo>
                  <a:lnTo>
                    <a:pt x="282" y="558"/>
                  </a:lnTo>
                  <a:lnTo>
                    <a:pt x="282" y="546"/>
                  </a:lnTo>
                  <a:lnTo>
                    <a:pt x="276" y="534"/>
                  </a:lnTo>
                  <a:lnTo>
                    <a:pt x="264" y="534"/>
                  </a:lnTo>
                  <a:close/>
                  <a:moveTo>
                    <a:pt x="48" y="222"/>
                  </a:moveTo>
                  <a:lnTo>
                    <a:pt x="42" y="228"/>
                  </a:lnTo>
                  <a:lnTo>
                    <a:pt x="42" y="246"/>
                  </a:lnTo>
                  <a:lnTo>
                    <a:pt x="48" y="258"/>
                  </a:lnTo>
                  <a:lnTo>
                    <a:pt x="66" y="258"/>
                  </a:lnTo>
                  <a:lnTo>
                    <a:pt x="84" y="276"/>
                  </a:lnTo>
                  <a:lnTo>
                    <a:pt x="90" y="270"/>
                  </a:lnTo>
                  <a:lnTo>
                    <a:pt x="90" y="252"/>
                  </a:lnTo>
                  <a:lnTo>
                    <a:pt x="78" y="246"/>
                  </a:lnTo>
                  <a:lnTo>
                    <a:pt x="72" y="234"/>
                  </a:lnTo>
                  <a:lnTo>
                    <a:pt x="60" y="228"/>
                  </a:lnTo>
                  <a:lnTo>
                    <a:pt x="54" y="222"/>
                  </a:lnTo>
                  <a:lnTo>
                    <a:pt x="48" y="222"/>
                  </a:lnTo>
                  <a:close/>
                  <a:moveTo>
                    <a:pt x="162" y="330"/>
                  </a:moveTo>
                  <a:lnTo>
                    <a:pt x="156" y="330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6" y="366"/>
                  </a:lnTo>
                  <a:lnTo>
                    <a:pt x="162" y="378"/>
                  </a:lnTo>
                  <a:lnTo>
                    <a:pt x="174" y="390"/>
                  </a:lnTo>
                  <a:lnTo>
                    <a:pt x="180" y="402"/>
                  </a:lnTo>
                  <a:lnTo>
                    <a:pt x="192" y="414"/>
                  </a:lnTo>
                  <a:lnTo>
                    <a:pt x="198" y="408"/>
                  </a:lnTo>
                  <a:lnTo>
                    <a:pt x="198" y="402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198" y="372"/>
                  </a:lnTo>
                  <a:lnTo>
                    <a:pt x="198" y="366"/>
                  </a:lnTo>
                  <a:lnTo>
                    <a:pt x="192" y="360"/>
                  </a:lnTo>
                  <a:lnTo>
                    <a:pt x="186" y="348"/>
                  </a:lnTo>
                  <a:lnTo>
                    <a:pt x="180" y="342"/>
                  </a:lnTo>
                  <a:lnTo>
                    <a:pt x="168" y="336"/>
                  </a:lnTo>
                  <a:lnTo>
                    <a:pt x="162" y="330"/>
                  </a:lnTo>
                  <a:close/>
                  <a:moveTo>
                    <a:pt x="2574" y="486"/>
                  </a:moveTo>
                  <a:lnTo>
                    <a:pt x="2574" y="474"/>
                  </a:lnTo>
                  <a:lnTo>
                    <a:pt x="2568" y="474"/>
                  </a:lnTo>
                  <a:lnTo>
                    <a:pt x="2556" y="468"/>
                  </a:lnTo>
                  <a:lnTo>
                    <a:pt x="2520" y="468"/>
                  </a:lnTo>
                  <a:lnTo>
                    <a:pt x="2514" y="474"/>
                  </a:lnTo>
                  <a:lnTo>
                    <a:pt x="2520" y="498"/>
                  </a:lnTo>
                  <a:lnTo>
                    <a:pt x="2526" y="498"/>
                  </a:lnTo>
                  <a:lnTo>
                    <a:pt x="2538" y="492"/>
                  </a:lnTo>
                  <a:lnTo>
                    <a:pt x="2562" y="492"/>
                  </a:lnTo>
                  <a:lnTo>
                    <a:pt x="2568" y="486"/>
                  </a:lnTo>
                  <a:lnTo>
                    <a:pt x="2574" y="486"/>
                  </a:lnTo>
                  <a:close/>
                  <a:moveTo>
                    <a:pt x="336" y="648"/>
                  </a:moveTo>
                  <a:lnTo>
                    <a:pt x="342" y="648"/>
                  </a:lnTo>
                  <a:lnTo>
                    <a:pt x="342" y="636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18" y="636"/>
                  </a:lnTo>
                  <a:lnTo>
                    <a:pt x="330" y="648"/>
                  </a:lnTo>
                  <a:lnTo>
                    <a:pt x="336" y="648"/>
                  </a:lnTo>
                  <a:close/>
                  <a:moveTo>
                    <a:pt x="2472" y="654"/>
                  </a:moveTo>
                  <a:lnTo>
                    <a:pt x="2484" y="648"/>
                  </a:lnTo>
                  <a:lnTo>
                    <a:pt x="2502" y="630"/>
                  </a:lnTo>
                  <a:lnTo>
                    <a:pt x="2502" y="618"/>
                  </a:lnTo>
                  <a:lnTo>
                    <a:pt x="2430" y="612"/>
                  </a:lnTo>
                  <a:lnTo>
                    <a:pt x="2430" y="624"/>
                  </a:lnTo>
                  <a:lnTo>
                    <a:pt x="2436" y="630"/>
                  </a:lnTo>
                  <a:lnTo>
                    <a:pt x="2442" y="642"/>
                  </a:lnTo>
                  <a:lnTo>
                    <a:pt x="2448" y="648"/>
                  </a:lnTo>
                  <a:lnTo>
                    <a:pt x="2460" y="654"/>
                  </a:lnTo>
                  <a:lnTo>
                    <a:pt x="2472" y="654"/>
                  </a:lnTo>
                  <a:close/>
                  <a:moveTo>
                    <a:pt x="2406" y="288"/>
                  </a:moveTo>
                  <a:lnTo>
                    <a:pt x="2418" y="276"/>
                  </a:lnTo>
                  <a:lnTo>
                    <a:pt x="2418" y="264"/>
                  </a:lnTo>
                  <a:lnTo>
                    <a:pt x="2412" y="258"/>
                  </a:lnTo>
                  <a:lnTo>
                    <a:pt x="2400" y="252"/>
                  </a:lnTo>
                  <a:lnTo>
                    <a:pt x="2376" y="252"/>
                  </a:lnTo>
                  <a:lnTo>
                    <a:pt x="2370" y="258"/>
                  </a:lnTo>
                  <a:lnTo>
                    <a:pt x="2370" y="264"/>
                  </a:lnTo>
                  <a:lnTo>
                    <a:pt x="2394" y="288"/>
                  </a:lnTo>
                  <a:lnTo>
                    <a:pt x="2406" y="288"/>
                  </a:lnTo>
                  <a:close/>
                  <a:moveTo>
                    <a:pt x="2868" y="528"/>
                  </a:moveTo>
                  <a:lnTo>
                    <a:pt x="2886" y="534"/>
                  </a:lnTo>
                  <a:lnTo>
                    <a:pt x="2892" y="534"/>
                  </a:lnTo>
                  <a:lnTo>
                    <a:pt x="2898" y="528"/>
                  </a:lnTo>
                  <a:lnTo>
                    <a:pt x="2898" y="522"/>
                  </a:lnTo>
                  <a:lnTo>
                    <a:pt x="2874" y="510"/>
                  </a:lnTo>
                  <a:lnTo>
                    <a:pt x="2868" y="516"/>
                  </a:lnTo>
                  <a:lnTo>
                    <a:pt x="2862" y="516"/>
                  </a:lnTo>
                  <a:lnTo>
                    <a:pt x="2862" y="522"/>
                  </a:lnTo>
                  <a:lnTo>
                    <a:pt x="2868" y="528"/>
                  </a:lnTo>
                  <a:close/>
                  <a:moveTo>
                    <a:pt x="2916" y="618"/>
                  </a:moveTo>
                  <a:lnTo>
                    <a:pt x="2928" y="618"/>
                  </a:lnTo>
                  <a:lnTo>
                    <a:pt x="2940" y="612"/>
                  </a:lnTo>
                  <a:lnTo>
                    <a:pt x="2958" y="612"/>
                  </a:lnTo>
                  <a:lnTo>
                    <a:pt x="2964" y="606"/>
                  </a:lnTo>
                  <a:lnTo>
                    <a:pt x="2970" y="606"/>
                  </a:lnTo>
                  <a:lnTo>
                    <a:pt x="2964" y="606"/>
                  </a:lnTo>
                  <a:lnTo>
                    <a:pt x="2958" y="600"/>
                  </a:lnTo>
                  <a:lnTo>
                    <a:pt x="2946" y="594"/>
                  </a:lnTo>
                  <a:lnTo>
                    <a:pt x="2934" y="594"/>
                  </a:lnTo>
                  <a:lnTo>
                    <a:pt x="2928" y="588"/>
                  </a:lnTo>
                  <a:lnTo>
                    <a:pt x="2922" y="588"/>
                  </a:lnTo>
                  <a:lnTo>
                    <a:pt x="2910" y="594"/>
                  </a:lnTo>
                  <a:lnTo>
                    <a:pt x="2892" y="594"/>
                  </a:lnTo>
                  <a:lnTo>
                    <a:pt x="2886" y="600"/>
                  </a:lnTo>
                  <a:lnTo>
                    <a:pt x="2880" y="600"/>
                  </a:lnTo>
                  <a:lnTo>
                    <a:pt x="2892" y="606"/>
                  </a:lnTo>
                  <a:lnTo>
                    <a:pt x="2898" y="612"/>
                  </a:lnTo>
                  <a:lnTo>
                    <a:pt x="2910" y="618"/>
                  </a:lnTo>
                  <a:lnTo>
                    <a:pt x="2916" y="618"/>
                  </a:lnTo>
                  <a:close/>
                  <a:moveTo>
                    <a:pt x="1710" y="552"/>
                  </a:moveTo>
                  <a:lnTo>
                    <a:pt x="1710" y="564"/>
                  </a:lnTo>
                  <a:lnTo>
                    <a:pt x="1716" y="570"/>
                  </a:lnTo>
                  <a:lnTo>
                    <a:pt x="1716" y="582"/>
                  </a:lnTo>
                  <a:lnTo>
                    <a:pt x="1722" y="594"/>
                  </a:lnTo>
                  <a:lnTo>
                    <a:pt x="1722" y="612"/>
                  </a:lnTo>
                  <a:lnTo>
                    <a:pt x="1716" y="618"/>
                  </a:lnTo>
                  <a:lnTo>
                    <a:pt x="1692" y="630"/>
                  </a:lnTo>
                  <a:lnTo>
                    <a:pt x="1686" y="636"/>
                  </a:lnTo>
                  <a:lnTo>
                    <a:pt x="1674" y="642"/>
                  </a:lnTo>
                  <a:lnTo>
                    <a:pt x="1674" y="678"/>
                  </a:lnTo>
                  <a:lnTo>
                    <a:pt x="1680" y="684"/>
                  </a:lnTo>
                  <a:lnTo>
                    <a:pt x="1686" y="696"/>
                  </a:lnTo>
                  <a:lnTo>
                    <a:pt x="1674" y="708"/>
                  </a:lnTo>
                  <a:lnTo>
                    <a:pt x="1674" y="720"/>
                  </a:lnTo>
                  <a:lnTo>
                    <a:pt x="1680" y="726"/>
                  </a:lnTo>
                  <a:lnTo>
                    <a:pt x="1692" y="732"/>
                  </a:lnTo>
                  <a:lnTo>
                    <a:pt x="1698" y="726"/>
                  </a:lnTo>
                  <a:lnTo>
                    <a:pt x="1722" y="726"/>
                  </a:lnTo>
                  <a:lnTo>
                    <a:pt x="1728" y="732"/>
                  </a:lnTo>
                  <a:lnTo>
                    <a:pt x="1728" y="756"/>
                  </a:lnTo>
                  <a:lnTo>
                    <a:pt x="1722" y="762"/>
                  </a:lnTo>
                  <a:lnTo>
                    <a:pt x="1740" y="780"/>
                  </a:lnTo>
                  <a:lnTo>
                    <a:pt x="1728" y="846"/>
                  </a:lnTo>
                  <a:lnTo>
                    <a:pt x="1710" y="864"/>
                  </a:lnTo>
                  <a:lnTo>
                    <a:pt x="1704" y="876"/>
                  </a:lnTo>
                  <a:lnTo>
                    <a:pt x="1704" y="888"/>
                  </a:lnTo>
                  <a:lnTo>
                    <a:pt x="1710" y="906"/>
                  </a:lnTo>
                  <a:lnTo>
                    <a:pt x="1722" y="924"/>
                  </a:lnTo>
                  <a:lnTo>
                    <a:pt x="1746" y="936"/>
                  </a:lnTo>
                  <a:lnTo>
                    <a:pt x="1764" y="930"/>
                  </a:lnTo>
                  <a:lnTo>
                    <a:pt x="1788" y="906"/>
                  </a:lnTo>
                  <a:lnTo>
                    <a:pt x="1788" y="864"/>
                  </a:lnTo>
                  <a:lnTo>
                    <a:pt x="1782" y="858"/>
                  </a:lnTo>
                  <a:lnTo>
                    <a:pt x="1776" y="846"/>
                  </a:lnTo>
                  <a:lnTo>
                    <a:pt x="1800" y="822"/>
                  </a:lnTo>
                  <a:lnTo>
                    <a:pt x="1806" y="804"/>
                  </a:lnTo>
                  <a:lnTo>
                    <a:pt x="1806" y="774"/>
                  </a:lnTo>
                  <a:lnTo>
                    <a:pt x="1812" y="756"/>
                  </a:lnTo>
                  <a:lnTo>
                    <a:pt x="1812" y="726"/>
                  </a:lnTo>
                  <a:lnTo>
                    <a:pt x="1806" y="714"/>
                  </a:lnTo>
                  <a:lnTo>
                    <a:pt x="1800" y="696"/>
                  </a:lnTo>
                  <a:lnTo>
                    <a:pt x="1794" y="684"/>
                  </a:lnTo>
                  <a:lnTo>
                    <a:pt x="1794" y="636"/>
                  </a:lnTo>
                  <a:lnTo>
                    <a:pt x="1800" y="630"/>
                  </a:lnTo>
                  <a:lnTo>
                    <a:pt x="1800" y="624"/>
                  </a:lnTo>
                  <a:lnTo>
                    <a:pt x="1806" y="618"/>
                  </a:lnTo>
                  <a:lnTo>
                    <a:pt x="1812" y="618"/>
                  </a:lnTo>
                  <a:lnTo>
                    <a:pt x="1818" y="624"/>
                  </a:lnTo>
                  <a:lnTo>
                    <a:pt x="1824" y="642"/>
                  </a:lnTo>
                  <a:lnTo>
                    <a:pt x="1830" y="666"/>
                  </a:lnTo>
                  <a:lnTo>
                    <a:pt x="1836" y="684"/>
                  </a:lnTo>
                  <a:lnTo>
                    <a:pt x="1836" y="702"/>
                  </a:lnTo>
                  <a:lnTo>
                    <a:pt x="1866" y="738"/>
                  </a:lnTo>
                  <a:lnTo>
                    <a:pt x="1866" y="792"/>
                  </a:lnTo>
                  <a:lnTo>
                    <a:pt x="1890" y="822"/>
                  </a:lnTo>
                  <a:lnTo>
                    <a:pt x="1890" y="858"/>
                  </a:lnTo>
                  <a:lnTo>
                    <a:pt x="1902" y="930"/>
                  </a:lnTo>
                  <a:lnTo>
                    <a:pt x="1920" y="918"/>
                  </a:lnTo>
                  <a:lnTo>
                    <a:pt x="1962" y="930"/>
                  </a:lnTo>
                  <a:lnTo>
                    <a:pt x="1962" y="870"/>
                  </a:lnTo>
                  <a:lnTo>
                    <a:pt x="1968" y="864"/>
                  </a:lnTo>
                  <a:lnTo>
                    <a:pt x="1974" y="852"/>
                  </a:lnTo>
                  <a:lnTo>
                    <a:pt x="1980" y="876"/>
                  </a:lnTo>
                  <a:lnTo>
                    <a:pt x="1998" y="876"/>
                  </a:lnTo>
                  <a:lnTo>
                    <a:pt x="2004" y="870"/>
                  </a:lnTo>
                  <a:lnTo>
                    <a:pt x="2010" y="858"/>
                  </a:lnTo>
                  <a:lnTo>
                    <a:pt x="2010" y="828"/>
                  </a:lnTo>
                  <a:lnTo>
                    <a:pt x="2004" y="822"/>
                  </a:lnTo>
                  <a:lnTo>
                    <a:pt x="2004" y="816"/>
                  </a:lnTo>
                  <a:lnTo>
                    <a:pt x="1992" y="810"/>
                  </a:lnTo>
                  <a:lnTo>
                    <a:pt x="1986" y="798"/>
                  </a:lnTo>
                  <a:lnTo>
                    <a:pt x="1974" y="792"/>
                  </a:lnTo>
                  <a:lnTo>
                    <a:pt x="1962" y="780"/>
                  </a:lnTo>
                  <a:lnTo>
                    <a:pt x="1956" y="768"/>
                  </a:lnTo>
                  <a:lnTo>
                    <a:pt x="1944" y="756"/>
                  </a:lnTo>
                  <a:lnTo>
                    <a:pt x="1944" y="750"/>
                  </a:lnTo>
                  <a:lnTo>
                    <a:pt x="1956" y="726"/>
                  </a:lnTo>
                  <a:lnTo>
                    <a:pt x="1968" y="720"/>
                  </a:lnTo>
                  <a:lnTo>
                    <a:pt x="1968" y="708"/>
                  </a:lnTo>
                  <a:lnTo>
                    <a:pt x="1962" y="696"/>
                  </a:lnTo>
                  <a:lnTo>
                    <a:pt x="1938" y="684"/>
                  </a:lnTo>
                  <a:lnTo>
                    <a:pt x="1932" y="672"/>
                  </a:lnTo>
                  <a:lnTo>
                    <a:pt x="1932" y="642"/>
                  </a:lnTo>
                  <a:lnTo>
                    <a:pt x="1938" y="636"/>
                  </a:lnTo>
                  <a:lnTo>
                    <a:pt x="1938" y="630"/>
                  </a:lnTo>
                  <a:lnTo>
                    <a:pt x="1926" y="618"/>
                  </a:lnTo>
                  <a:lnTo>
                    <a:pt x="1914" y="612"/>
                  </a:lnTo>
                  <a:lnTo>
                    <a:pt x="1896" y="594"/>
                  </a:lnTo>
                  <a:lnTo>
                    <a:pt x="1884" y="588"/>
                  </a:lnTo>
                  <a:lnTo>
                    <a:pt x="1878" y="582"/>
                  </a:lnTo>
                  <a:lnTo>
                    <a:pt x="1914" y="582"/>
                  </a:lnTo>
                  <a:lnTo>
                    <a:pt x="1926" y="576"/>
                  </a:lnTo>
                  <a:lnTo>
                    <a:pt x="1932" y="570"/>
                  </a:lnTo>
                  <a:lnTo>
                    <a:pt x="1944" y="546"/>
                  </a:lnTo>
                  <a:lnTo>
                    <a:pt x="1950" y="540"/>
                  </a:lnTo>
                  <a:lnTo>
                    <a:pt x="1956" y="528"/>
                  </a:lnTo>
                  <a:lnTo>
                    <a:pt x="1992" y="528"/>
                  </a:lnTo>
                  <a:lnTo>
                    <a:pt x="2004" y="522"/>
                  </a:lnTo>
                  <a:lnTo>
                    <a:pt x="2010" y="522"/>
                  </a:lnTo>
                  <a:lnTo>
                    <a:pt x="2016" y="516"/>
                  </a:lnTo>
                  <a:lnTo>
                    <a:pt x="2016" y="504"/>
                  </a:lnTo>
                  <a:lnTo>
                    <a:pt x="1998" y="486"/>
                  </a:lnTo>
                  <a:lnTo>
                    <a:pt x="1986" y="480"/>
                  </a:lnTo>
                  <a:lnTo>
                    <a:pt x="1974" y="486"/>
                  </a:lnTo>
                  <a:lnTo>
                    <a:pt x="1956" y="504"/>
                  </a:lnTo>
                  <a:lnTo>
                    <a:pt x="1956" y="510"/>
                  </a:lnTo>
                  <a:lnTo>
                    <a:pt x="1944" y="510"/>
                  </a:lnTo>
                  <a:lnTo>
                    <a:pt x="1932" y="504"/>
                  </a:lnTo>
                  <a:lnTo>
                    <a:pt x="1896" y="504"/>
                  </a:lnTo>
                  <a:lnTo>
                    <a:pt x="1890" y="510"/>
                  </a:lnTo>
                  <a:lnTo>
                    <a:pt x="1884" y="522"/>
                  </a:lnTo>
                  <a:lnTo>
                    <a:pt x="1854" y="552"/>
                  </a:lnTo>
                  <a:lnTo>
                    <a:pt x="1848" y="546"/>
                  </a:lnTo>
                  <a:lnTo>
                    <a:pt x="1836" y="540"/>
                  </a:lnTo>
                  <a:lnTo>
                    <a:pt x="1824" y="516"/>
                  </a:lnTo>
                  <a:lnTo>
                    <a:pt x="1788" y="498"/>
                  </a:lnTo>
                  <a:lnTo>
                    <a:pt x="1776" y="498"/>
                  </a:lnTo>
                  <a:lnTo>
                    <a:pt x="1776" y="486"/>
                  </a:lnTo>
                  <a:lnTo>
                    <a:pt x="1782" y="468"/>
                  </a:lnTo>
                  <a:lnTo>
                    <a:pt x="1782" y="456"/>
                  </a:lnTo>
                  <a:lnTo>
                    <a:pt x="1794" y="420"/>
                  </a:lnTo>
                  <a:lnTo>
                    <a:pt x="1806" y="408"/>
                  </a:lnTo>
                  <a:lnTo>
                    <a:pt x="1824" y="408"/>
                  </a:lnTo>
                  <a:lnTo>
                    <a:pt x="1842" y="414"/>
                  </a:lnTo>
                  <a:lnTo>
                    <a:pt x="1896" y="414"/>
                  </a:lnTo>
                  <a:lnTo>
                    <a:pt x="1902" y="408"/>
                  </a:lnTo>
                  <a:lnTo>
                    <a:pt x="1908" y="408"/>
                  </a:lnTo>
                  <a:lnTo>
                    <a:pt x="1908" y="402"/>
                  </a:lnTo>
                  <a:lnTo>
                    <a:pt x="1914" y="396"/>
                  </a:lnTo>
                  <a:lnTo>
                    <a:pt x="1920" y="396"/>
                  </a:lnTo>
                  <a:lnTo>
                    <a:pt x="1944" y="402"/>
                  </a:lnTo>
                  <a:lnTo>
                    <a:pt x="1980" y="420"/>
                  </a:lnTo>
                  <a:lnTo>
                    <a:pt x="2010" y="432"/>
                  </a:lnTo>
                  <a:lnTo>
                    <a:pt x="2034" y="438"/>
                  </a:lnTo>
                  <a:lnTo>
                    <a:pt x="2040" y="438"/>
                  </a:lnTo>
                  <a:lnTo>
                    <a:pt x="2052" y="432"/>
                  </a:lnTo>
                  <a:lnTo>
                    <a:pt x="2064" y="420"/>
                  </a:lnTo>
                  <a:lnTo>
                    <a:pt x="2082" y="420"/>
                  </a:lnTo>
                  <a:lnTo>
                    <a:pt x="2094" y="414"/>
                  </a:lnTo>
                  <a:lnTo>
                    <a:pt x="2106" y="414"/>
                  </a:lnTo>
                  <a:lnTo>
                    <a:pt x="2112" y="408"/>
                  </a:lnTo>
                  <a:lnTo>
                    <a:pt x="2112" y="402"/>
                  </a:lnTo>
                  <a:lnTo>
                    <a:pt x="2106" y="396"/>
                  </a:lnTo>
                  <a:lnTo>
                    <a:pt x="2106" y="390"/>
                  </a:lnTo>
                  <a:lnTo>
                    <a:pt x="2118" y="378"/>
                  </a:lnTo>
                  <a:lnTo>
                    <a:pt x="2142" y="366"/>
                  </a:lnTo>
                  <a:lnTo>
                    <a:pt x="2148" y="360"/>
                  </a:lnTo>
                  <a:lnTo>
                    <a:pt x="2160" y="354"/>
                  </a:lnTo>
                  <a:lnTo>
                    <a:pt x="2148" y="324"/>
                  </a:lnTo>
                  <a:lnTo>
                    <a:pt x="2070" y="360"/>
                  </a:lnTo>
                  <a:lnTo>
                    <a:pt x="2076" y="366"/>
                  </a:lnTo>
                  <a:lnTo>
                    <a:pt x="2076" y="372"/>
                  </a:lnTo>
                  <a:lnTo>
                    <a:pt x="2070" y="378"/>
                  </a:lnTo>
                  <a:lnTo>
                    <a:pt x="2046" y="378"/>
                  </a:lnTo>
                  <a:lnTo>
                    <a:pt x="2022" y="366"/>
                  </a:lnTo>
                  <a:lnTo>
                    <a:pt x="2004" y="366"/>
                  </a:lnTo>
                  <a:lnTo>
                    <a:pt x="1968" y="384"/>
                  </a:lnTo>
                  <a:lnTo>
                    <a:pt x="1950" y="384"/>
                  </a:lnTo>
                  <a:lnTo>
                    <a:pt x="1938" y="378"/>
                  </a:lnTo>
                  <a:lnTo>
                    <a:pt x="1926" y="378"/>
                  </a:lnTo>
                  <a:lnTo>
                    <a:pt x="1902" y="366"/>
                  </a:lnTo>
                  <a:lnTo>
                    <a:pt x="1860" y="366"/>
                  </a:lnTo>
                  <a:lnTo>
                    <a:pt x="1872" y="348"/>
                  </a:lnTo>
                  <a:lnTo>
                    <a:pt x="1860" y="348"/>
                  </a:lnTo>
                  <a:lnTo>
                    <a:pt x="1848" y="342"/>
                  </a:lnTo>
                  <a:lnTo>
                    <a:pt x="1824" y="342"/>
                  </a:lnTo>
                  <a:lnTo>
                    <a:pt x="1824" y="366"/>
                  </a:lnTo>
                  <a:lnTo>
                    <a:pt x="1812" y="378"/>
                  </a:lnTo>
                  <a:lnTo>
                    <a:pt x="1788" y="390"/>
                  </a:lnTo>
                  <a:lnTo>
                    <a:pt x="1764" y="390"/>
                  </a:lnTo>
                  <a:lnTo>
                    <a:pt x="1758" y="396"/>
                  </a:lnTo>
                  <a:lnTo>
                    <a:pt x="1758" y="426"/>
                  </a:lnTo>
                  <a:lnTo>
                    <a:pt x="1740" y="432"/>
                  </a:lnTo>
                  <a:lnTo>
                    <a:pt x="1752" y="498"/>
                  </a:lnTo>
                  <a:lnTo>
                    <a:pt x="1740" y="498"/>
                  </a:lnTo>
                  <a:lnTo>
                    <a:pt x="1734" y="510"/>
                  </a:lnTo>
                  <a:lnTo>
                    <a:pt x="1728" y="516"/>
                  </a:lnTo>
                  <a:lnTo>
                    <a:pt x="1710" y="552"/>
                  </a:lnTo>
                  <a:close/>
                  <a:moveTo>
                    <a:pt x="1986" y="576"/>
                  </a:moveTo>
                  <a:lnTo>
                    <a:pt x="1986" y="594"/>
                  </a:lnTo>
                  <a:lnTo>
                    <a:pt x="1992" y="600"/>
                  </a:lnTo>
                  <a:lnTo>
                    <a:pt x="2004" y="600"/>
                  </a:lnTo>
                  <a:lnTo>
                    <a:pt x="2016" y="588"/>
                  </a:lnTo>
                  <a:lnTo>
                    <a:pt x="2016" y="576"/>
                  </a:lnTo>
                  <a:lnTo>
                    <a:pt x="1986" y="576"/>
                  </a:lnTo>
                  <a:close/>
                  <a:moveTo>
                    <a:pt x="1686" y="1110"/>
                  </a:moveTo>
                  <a:lnTo>
                    <a:pt x="1674" y="1110"/>
                  </a:lnTo>
                  <a:lnTo>
                    <a:pt x="1668" y="1116"/>
                  </a:lnTo>
                  <a:lnTo>
                    <a:pt x="1662" y="1116"/>
                  </a:lnTo>
                  <a:lnTo>
                    <a:pt x="1614" y="1104"/>
                  </a:lnTo>
                  <a:lnTo>
                    <a:pt x="1644" y="1146"/>
                  </a:lnTo>
                  <a:lnTo>
                    <a:pt x="1650" y="1152"/>
                  </a:lnTo>
                  <a:lnTo>
                    <a:pt x="1662" y="1158"/>
                  </a:lnTo>
                  <a:lnTo>
                    <a:pt x="1668" y="1164"/>
                  </a:lnTo>
                  <a:lnTo>
                    <a:pt x="1680" y="1170"/>
                  </a:lnTo>
                  <a:lnTo>
                    <a:pt x="1692" y="1158"/>
                  </a:lnTo>
                  <a:lnTo>
                    <a:pt x="1698" y="1140"/>
                  </a:lnTo>
                  <a:lnTo>
                    <a:pt x="1698" y="1128"/>
                  </a:lnTo>
                  <a:lnTo>
                    <a:pt x="1692" y="1116"/>
                  </a:lnTo>
                  <a:lnTo>
                    <a:pt x="1686" y="1110"/>
                  </a:lnTo>
                  <a:close/>
                  <a:moveTo>
                    <a:pt x="2094" y="1104"/>
                  </a:moveTo>
                  <a:lnTo>
                    <a:pt x="2064" y="1128"/>
                  </a:lnTo>
                  <a:lnTo>
                    <a:pt x="2094" y="1134"/>
                  </a:lnTo>
                  <a:lnTo>
                    <a:pt x="2094" y="1104"/>
                  </a:lnTo>
                  <a:close/>
                  <a:moveTo>
                    <a:pt x="486" y="294"/>
                  </a:moveTo>
                  <a:lnTo>
                    <a:pt x="474" y="288"/>
                  </a:lnTo>
                  <a:lnTo>
                    <a:pt x="468" y="288"/>
                  </a:lnTo>
                  <a:lnTo>
                    <a:pt x="456" y="294"/>
                  </a:lnTo>
                  <a:lnTo>
                    <a:pt x="456" y="312"/>
                  </a:lnTo>
                  <a:lnTo>
                    <a:pt x="468" y="324"/>
                  </a:lnTo>
                  <a:lnTo>
                    <a:pt x="474" y="318"/>
                  </a:lnTo>
                  <a:lnTo>
                    <a:pt x="486" y="318"/>
                  </a:lnTo>
                  <a:lnTo>
                    <a:pt x="486" y="312"/>
                  </a:lnTo>
                  <a:lnTo>
                    <a:pt x="492" y="300"/>
                  </a:lnTo>
                  <a:lnTo>
                    <a:pt x="486" y="294"/>
                  </a:lnTo>
                  <a:close/>
                  <a:moveTo>
                    <a:pt x="2346" y="588"/>
                  </a:moveTo>
                  <a:lnTo>
                    <a:pt x="2340" y="576"/>
                  </a:lnTo>
                  <a:lnTo>
                    <a:pt x="2328" y="570"/>
                  </a:lnTo>
                  <a:lnTo>
                    <a:pt x="2310" y="552"/>
                  </a:lnTo>
                  <a:lnTo>
                    <a:pt x="2304" y="552"/>
                  </a:lnTo>
                  <a:lnTo>
                    <a:pt x="2304" y="600"/>
                  </a:lnTo>
                  <a:lnTo>
                    <a:pt x="2316" y="600"/>
                  </a:lnTo>
                  <a:lnTo>
                    <a:pt x="2328" y="606"/>
                  </a:lnTo>
                  <a:lnTo>
                    <a:pt x="2334" y="606"/>
                  </a:lnTo>
                  <a:lnTo>
                    <a:pt x="2346" y="600"/>
                  </a:lnTo>
                  <a:lnTo>
                    <a:pt x="2346" y="588"/>
                  </a:lnTo>
                  <a:close/>
                  <a:moveTo>
                    <a:pt x="2310" y="474"/>
                  </a:moveTo>
                  <a:lnTo>
                    <a:pt x="2340" y="504"/>
                  </a:lnTo>
                  <a:lnTo>
                    <a:pt x="2358" y="516"/>
                  </a:lnTo>
                  <a:lnTo>
                    <a:pt x="2382" y="528"/>
                  </a:lnTo>
                  <a:lnTo>
                    <a:pt x="2400" y="528"/>
                  </a:lnTo>
                  <a:lnTo>
                    <a:pt x="2400" y="522"/>
                  </a:lnTo>
                  <a:lnTo>
                    <a:pt x="2358" y="480"/>
                  </a:lnTo>
                  <a:lnTo>
                    <a:pt x="2358" y="468"/>
                  </a:lnTo>
                  <a:lnTo>
                    <a:pt x="2364" y="456"/>
                  </a:lnTo>
                  <a:lnTo>
                    <a:pt x="2376" y="450"/>
                  </a:lnTo>
                  <a:lnTo>
                    <a:pt x="2394" y="450"/>
                  </a:lnTo>
                  <a:lnTo>
                    <a:pt x="2406" y="456"/>
                  </a:lnTo>
                  <a:lnTo>
                    <a:pt x="2424" y="444"/>
                  </a:lnTo>
                  <a:lnTo>
                    <a:pt x="2400" y="432"/>
                  </a:lnTo>
                  <a:lnTo>
                    <a:pt x="2412" y="426"/>
                  </a:lnTo>
                  <a:lnTo>
                    <a:pt x="2424" y="402"/>
                  </a:lnTo>
                  <a:lnTo>
                    <a:pt x="2412" y="378"/>
                  </a:lnTo>
                  <a:lnTo>
                    <a:pt x="2400" y="372"/>
                  </a:lnTo>
                  <a:lnTo>
                    <a:pt x="2382" y="372"/>
                  </a:lnTo>
                  <a:lnTo>
                    <a:pt x="2358" y="396"/>
                  </a:lnTo>
                  <a:lnTo>
                    <a:pt x="2346" y="402"/>
                  </a:lnTo>
                  <a:lnTo>
                    <a:pt x="2340" y="408"/>
                  </a:lnTo>
                  <a:lnTo>
                    <a:pt x="2334" y="408"/>
                  </a:lnTo>
                  <a:lnTo>
                    <a:pt x="2328" y="402"/>
                  </a:lnTo>
                  <a:lnTo>
                    <a:pt x="2328" y="366"/>
                  </a:lnTo>
                  <a:lnTo>
                    <a:pt x="2334" y="360"/>
                  </a:lnTo>
                  <a:lnTo>
                    <a:pt x="2346" y="336"/>
                  </a:lnTo>
                  <a:lnTo>
                    <a:pt x="2346" y="318"/>
                  </a:lnTo>
                  <a:lnTo>
                    <a:pt x="2340" y="312"/>
                  </a:lnTo>
                  <a:lnTo>
                    <a:pt x="2358" y="276"/>
                  </a:lnTo>
                  <a:lnTo>
                    <a:pt x="2316" y="312"/>
                  </a:lnTo>
                  <a:lnTo>
                    <a:pt x="2316" y="342"/>
                  </a:lnTo>
                  <a:lnTo>
                    <a:pt x="2304" y="348"/>
                  </a:lnTo>
                  <a:lnTo>
                    <a:pt x="2298" y="354"/>
                  </a:lnTo>
                  <a:lnTo>
                    <a:pt x="2286" y="378"/>
                  </a:lnTo>
                  <a:lnTo>
                    <a:pt x="2286" y="408"/>
                  </a:lnTo>
                  <a:lnTo>
                    <a:pt x="2298" y="420"/>
                  </a:lnTo>
                  <a:lnTo>
                    <a:pt x="2304" y="432"/>
                  </a:lnTo>
                  <a:lnTo>
                    <a:pt x="2310" y="438"/>
                  </a:lnTo>
                  <a:lnTo>
                    <a:pt x="2310" y="444"/>
                  </a:lnTo>
                  <a:lnTo>
                    <a:pt x="2304" y="450"/>
                  </a:lnTo>
                  <a:lnTo>
                    <a:pt x="2304" y="468"/>
                  </a:lnTo>
                  <a:lnTo>
                    <a:pt x="2310" y="474"/>
                  </a:lnTo>
                  <a:close/>
                  <a:moveTo>
                    <a:pt x="2250" y="708"/>
                  </a:moveTo>
                  <a:lnTo>
                    <a:pt x="2238" y="696"/>
                  </a:lnTo>
                  <a:lnTo>
                    <a:pt x="2214" y="708"/>
                  </a:lnTo>
                  <a:lnTo>
                    <a:pt x="2214" y="732"/>
                  </a:lnTo>
                  <a:lnTo>
                    <a:pt x="2220" y="744"/>
                  </a:lnTo>
                  <a:lnTo>
                    <a:pt x="2226" y="750"/>
                  </a:lnTo>
                  <a:lnTo>
                    <a:pt x="2250" y="762"/>
                  </a:lnTo>
                  <a:lnTo>
                    <a:pt x="2274" y="762"/>
                  </a:lnTo>
                  <a:lnTo>
                    <a:pt x="2280" y="750"/>
                  </a:lnTo>
                  <a:lnTo>
                    <a:pt x="2280" y="738"/>
                  </a:lnTo>
                  <a:lnTo>
                    <a:pt x="2274" y="726"/>
                  </a:lnTo>
                  <a:lnTo>
                    <a:pt x="2274" y="714"/>
                  </a:lnTo>
                  <a:lnTo>
                    <a:pt x="2268" y="708"/>
                  </a:lnTo>
                  <a:lnTo>
                    <a:pt x="2268" y="702"/>
                  </a:lnTo>
                  <a:lnTo>
                    <a:pt x="2250" y="708"/>
                  </a:lnTo>
                  <a:close/>
                  <a:moveTo>
                    <a:pt x="2148" y="1104"/>
                  </a:moveTo>
                  <a:lnTo>
                    <a:pt x="2226" y="1092"/>
                  </a:lnTo>
                  <a:lnTo>
                    <a:pt x="2166" y="1074"/>
                  </a:lnTo>
                  <a:lnTo>
                    <a:pt x="2148" y="1104"/>
                  </a:lnTo>
                  <a:close/>
                  <a:moveTo>
                    <a:pt x="2544" y="750"/>
                  </a:moveTo>
                  <a:lnTo>
                    <a:pt x="2520" y="732"/>
                  </a:lnTo>
                  <a:lnTo>
                    <a:pt x="2526" y="714"/>
                  </a:lnTo>
                  <a:lnTo>
                    <a:pt x="2514" y="702"/>
                  </a:lnTo>
                  <a:lnTo>
                    <a:pt x="2508" y="690"/>
                  </a:lnTo>
                  <a:lnTo>
                    <a:pt x="2490" y="684"/>
                  </a:lnTo>
                  <a:lnTo>
                    <a:pt x="2472" y="672"/>
                  </a:lnTo>
                  <a:lnTo>
                    <a:pt x="2442" y="666"/>
                  </a:lnTo>
                  <a:lnTo>
                    <a:pt x="2424" y="666"/>
                  </a:lnTo>
                  <a:lnTo>
                    <a:pt x="2388" y="684"/>
                  </a:lnTo>
                  <a:lnTo>
                    <a:pt x="2358" y="684"/>
                  </a:lnTo>
                  <a:lnTo>
                    <a:pt x="2346" y="696"/>
                  </a:lnTo>
                  <a:lnTo>
                    <a:pt x="2340" y="708"/>
                  </a:lnTo>
                  <a:lnTo>
                    <a:pt x="2340" y="726"/>
                  </a:lnTo>
                  <a:lnTo>
                    <a:pt x="2346" y="732"/>
                  </a:lnTo>
                  <a:lnTo>
                    <a:pt x="2364" y="714"/>
                  </a:lnTo>
                  <a:lnTo>
                    <a:pt x="2364" y="726"/>
                  </a:lnTo>
                  <a:lnTo>
                    <a:pt x="2370" y="738"/>
                  </a:lnTo>
                  <a:lnTo>
                    <a:pt x="2376" y="744"/>
                  </a:lnTo>
                  <a:lnTo>
                    <a:pt x="2388" y="738"/>
                  </a:lnTo>
                  <a:lnTo>
                    <a:pt x="2394" y="732"/>
                  </a:lnTo>
                  <a:lnTo>
                    <a:pt x="2394" y="726"/>
                  </a:lnTo>
                  <a:lnTo>
                    <a:pt x="2400" y="720"/>
                  </a:lnTo>
                  <a:lnTo>
                    <a:pt x="2400" y="714"/>
                  </a:lnTo>
                  <a:lnTo>
                    <a:pt x="2406" y="726"/>
                  </a:lnTo>
                  <a:lnTo>
                    <a:pt x="2418" y="732"/>
                  </a:lnTo>
                  <a:lnTo>
                    <a:pt x="2430" y="732"/>
                  </a:lnTo>
                  <a:lnTo>
                    <a:pt x="2442" y="720"/>
                  </a:lnTo>
                  <a:lnTo>
                    <a:pt x="2454" y="714"/>
                  </a:lnTo>
                  <a:lnTo>
                    <a:pt x="2460" y="708"/>
                  </a:lnTo>
                  <a:lnTo>
                    <a:pt x="2472" y="762"/>
                  </a:lnTo>
                  <a:lnTo>
                    <a:pt x="2502" y="738"/>
                  </a:lnTo>
                  <a:lnTo>
                    <a:pt x="2538" y="774"/>
                  </a:lnTo>
                  <a:lnTo>
                    <a:pt x="2544" y="750"/>
                  </a:lnTo>
                  <a:close/>
                  <a:moveTo>
                    <a:pt x="3264" y="678"/>
                  </a:moveTo>
                  <a:lnTo>
                    <a:pt x="3222" y="648"/>
                  </a:lnTo>
                  <a:lnTo>
                    <a:pt x="3210" y="648"/>
                  </a:lnTo>
                  <a:lnTo>
                    <a:pt x="3198" y="654"/>
                  </a:lnTo>
                  <a:lnTo>
                    <a:pt x="3180" y="654"/>
                  </a:lnTo>
                  <a:lnTo>
                    <a:pt x="3162" y="648"/>
                  </a:lnTo>
                  <a:lnTo>
                    <a:pt x="3126" y="630"/>
                  </a:lnTo>
                  <a:lnTo>
                    <a:pt x="3096" y="612"/>
                  </a:lnTo>
                  <a:lnTo>
                    <a:pt x="3060" y="594"/>
                  </a:lnTo>
                  <a:lnTo>
                    <a:pt x="3042" y="582"/>
                  </a:lnTo>
                  <a:lnTo>
                    <a:pt x="3030" y="582"/>
                  </a:lnTo>
                  <a:lnTo>
                    <a:pt x="3006" y="594"/>
                  </a:lnTo>
                  <a:lnTo>
                    <a:pt x="3000" y="600"/>
                  </a:lnTo>
                  <a:lnTo>
                    <a:pt x="2988" y="606"/>
                  </a:lnTo>
                  <a:lnTo>
                    <a:pt x="3006" y="630"/>
                  </a:lnTo>
                  <a:lnTo>
                    <a:pt x="2928" y="642"/>
                  </a:lnTo>
                  <a:lnTo>
                    <a:pt x="2934" y="666"/>
                  </a:lnTo>
                  <a:lnTo>
                    <a:pt x="2928" y="678"/>
                  </a:lnTo>
                  <a:lnTo>
                    <a:pt x="2922" y="684"/>
                  </a:lnTo>
                  <a:lnTo>
                    <a:pt x="2916" y="696"/>
                  </a:lnTo>
                  <a:lnTo>
                    <a:pt x="2880" y="720"/>
                  </a:lnTo>
                  <a:lnTo>
                    <a:pt x="2862" y="726"/>
                  </a:lnTo>
                  <a:lnTo>
                    <a:pt x="2844" y="726"/>
                  </a:lnTo>
                  <a:lnTo>
                    <a:pt x="2832" y="720"/>
                  </a:lnTo>
                  <a:lnTo>
                    <a:pt x="2826" y="714"/>
                  </a:lnTo>
                  <a:lnTo>
                    <a:pt x="2820" y="702"/>
                  </a:lnTo>
                  <a:lnTo>
                    <a:pt x="2820" y="678"/>
                  </a:lnTo>
                  <a:lnTo>
                    <a:pt x="2814" y="672"/>
                  </a:lnTo>
                  <a:lnTo>
                    <a:pt x="2814" y="660"/>
                  </a:lnTo>
                  <a:lnTo>
                    <a:pt x="2808" y="666"/>
                  </a:lnTo>
                  <a:lnTo>
                    <a:pt x="2808" y="672"/>
                  </a:lnTo>
                  <a:lnTo>
                    <a:pt x="2802" y="684"/>
                  </a:lnTo>
                  <a:lnTo>
                    <a:pt x="2796" y="690"/>
                  </a:lnTo>
                  <a:lnTo>
                    <a:pt x="2796" y="696"/>
                  </a:lnTo>
                  <a:lnTo>
                    <a:pt x="2796" y="690"/>
                  </a:lnTo>
                  <a:lnTo>
                    <a:pt x="2790" y="684"/>
                  </a:lnTo>
                  <a:lnTo>
                    <a:pt x="2790" y="672"/>
                  </a:lnTo>
                  <a:lnTo>
                    <a:pt x="2784" y="660"/>
                  </a:lnTo>
                  <a:lnTo>
                    <a:pt x="2784" y="576"/>
                  </a:lnTo>
                  <a:lnTo>
                    <a:pt x="2778" y="558"/>
                  </a:lnTo>
                  <a:lnTo>
                    <a:pt x="2760" y="522"/>
                  </a:lnTo>
                  <a:lnTo>
                    <a:pt x="2724" y="522"/>
                  </a:lnTo>
                  <a:lnTo>
                    <a:pt x="2718" y="510"/>
                  </a:lnTo>
                  <a:lnTo>
                    <a:pt x="2694" y="498"/>
                  </a:lnTo>
                  <a:lnTo>
                    <a:pt x="2676" y="486"/>
                  </a:lnTo>
                  <a:lnTo>
                    <a:pt x="2652" y="486"/>
                  </a:lnTo>
                  <a:lnTo>
                    <a:pt x="2634" y="498"/>
                  </a:lnTo>
                  <a:lnTo>
                    <a:pt x="2628" y="504"/>
                  </a:lnTo>
                  <a:lnTo>
                    <a:pt x="2616" y="510"/>
                  </a:lnTo>
                  <a:lnTo>
                    <a:pt x="2610" y="522"/>
                  </a:lnTo>
                  <a:lnTo>
                    <a:pt x="2586" y="528"/>
                  </a:lnTo>
                  <a:lnTo>
                    <a:pt x="2580" y="546"/>
                  </a:lnTo>
                  <a:lnTo>
                    <a:pt x="2562" y="558"/>
                  </a:lnTo>
                  <a:lnTo>
                    <a:pt x="2562" y="540"/>
                  </a:lnTo>
                  <a:lnTo>
                    <a:pt x="2556" y="534"/>
                  </a:lnTo>
                  <a:lnTo>
                    <a:pt x="2532" y="534"/>
                  </a:lnTo>
                  <a:lnTo>
                    <a:pt x="2532" y="546"/>
                  </a:lnTo>
                  <a:lnTo>
                    <a:pt x="2544" y="570"/>
                  </a:lnTo>
                  <a:lnTo>
                    <a:pt x="2568" y="582"/>
                  </a:lnTo>
                  <a:lnTo>
                    <a:pt x="2604" y="582"/>
                  </a:lnTo>
                  <a:lnTo>
                    <a:pt x="2616" y="588"/>
                  </a:lnTo>
                  <a:lnTo>
                    <a:pt x="2622" y="594"/>
                  </a:lnTo>
                  <a:lnTo>
                    <a:pt x="2628" y="594"/>
                  </a:lnTo>
                  <a:lnTo>
                    <a:pt x="2628" y="618"/>
                  </a:lnTo>
                  <a:lnTo>
                    <a:pt x="2634" y="630"/>
                  </a:lnTo>
                  <a:lnTo>
                    <a:pt x="2640" y="636"/>
                  </a:lnTo>
                  <a:lnTo>
                    <a:pt x="2652" y="642"/>
                  </a:lnTo>
                  <a:lnTo>
                    <a:pt x="2694" y="642"/>
                  </a:lnTo>
                  <a:lnTo>
                    <a:pt x="2712" y="636"/>
                  </a:lnTo>
                  <a:lnTo>
                    <a:pt x="2754" y="636"/>
                  </a:lnTo>
                  <a:lnTo>
                    <a:pt x="2760" y="642"/>
                  </a:lnTo>
                  <a:lnTo>
                    <a:pt x="2760" y="660"/>
                  </a:lnTo>
                  <a:lnTo>
                    <a:pt x="2700" y="660"/>
                  </a:lnTo>
                  <a:lnTo>
                    <a:pt x="2688" y="666"/>
                  </a:lnTo>
                  <a:lnTo>
                    <a:pt x="2676" y="678"/>
                  </a:lnTo>
                  <a:lnTo>
                    <a:pt x="2640" y="678"/>
                  </a:lnTo>
                  <a:lnTo>
                    <a:pt x="2616" y="690"/>
                  </a:lnTo>
                  <a:lnTo>
                    <a:pt x="2616" y="696"/>
                  </a:lnTo>
                  <a:lnTo>
                    <a:pt x="2622" y="696"/>
                  </a:lnTo>
                  <a:lnTo>
                    <a:pt x="2646" y="708"/>
                  </a:lnTo>
                  <a:lnTo>
                    <a:pt x="2658" y="708"/>
                  </a:lnTo>
                  <a:lnTo>
                    <a:pt x="2676" y="726"/>
                  </a:lnTo>
                  <a:lnTo>
                    <a:pt x="2682" y="738"/>
                  </a:lnTo>
                  <a:lnTo>
                    <a:pt x="2688" y="744"/>
                  </a:lnTo>
                  <a:lnTo>
                    <a:pt x="2682" y="750"/>
                  </a:lnTo>
                  <a:lnTo>
                    <a:pt x="2676" y="762"/>
                  </a:lnTo>
                  <a:lnTo>
                    <a:pt x="2676" y="774"/>
                  </a:lnTo>
                  <a:lnTo>
                    <a:pt x="2670" y="780"/>
                  </a:lnTo>
                  <a:lnTo>
                    <a:pt x="2676" y="792"/>
                  </a:lnTo>
                  <a:lnTo>
                    <a:pt x="2682" y="798"/>
                  </a:lnTo>
                  <a:lnTo>
                    <a:pt x="2694" y="792"/>
                  </a:lnTo>
                  <a:lnTo>
                    <a:pt x="2706" y="780"/>
                  </a:lnTo>
                  <a:lnTo>
                    <a:pt x="2712" y="768"/>
                  </a:lnTo>
                  <a:lnTo>
                    <a:pt x="2718" y="762"/>
                  </a:lnTo>
                  <a:lnTo>
                    <a:pt x="2718" y="750"/>
                  </a:lnTo>
                  <a:lnTo>
                    <a:pt x="2724" y="744"/>
                  </a:lnTo>
                  <a:lnTo>
                    <a:pt x="2736" y="720"/>
                  </a:lnTo>
                  <a:lnTo>
                    <a:pt x="2742" y="714"/>
                  </a:lnTo>
                  <a:lnTo>
                    <a:pt x="2748" y="702"/>
                  </a:lnTo>
                  <a:lnTo>
                    <a:pt x="2748" y="744"/>
                  </a:lnTo>
                  <a:lnTo>
                    <a:pt x="2754" y="750"/>
                  </a:lnTo>
                  <a:lnTo>
                    <a:pt x="2766" y="756"/>
                  </a:lnTo>
                  <a:lnTo>
                    <a:pt x="2772" y="768"/>
                  </a:lnTo>
                  <a:lnTo>
                    <a:pt x="2784" y="774"/>
                  </a:lnTo>
                  <a:lnTo>
                    <a:pt x="2790" y="780"/>
                  </a:lnTo>
                  <a:lnTo>
                    <a:pt x="2814" y="780"/>
                  </a:lnTo>
                  <a:lnTo>
                    <a:pt x="2820" y="774"/>
                  </a:lnTo>
                  <a:lnTo>
                    <a:pt x="2826" y="774"/>
                  </a:lnTo>
                  <a:lnTo>
                    <a:pt x="2814" y="792"/>
                  </a:lnTo>
                  <a:lnTo>
                    <a:pt x="2844" y="822"/>
                  </a:lnTo>
                  <a:lnTo>
                    <a:pt x="2904" y="822"/>
                  </a:lnTo>
                  <a:lnTo>
                    <a:pt x="2940" y="846"/>
                  </a:lnTo>
                  <a:lnTo>
                    <a:pt x="2976" y="864"/>
                  </a:lnTo>
                  <a:lnTo>
                    <a:pt x="3006" y="876"/>
                  </a:lnTo>
                  <a:lnTo>
                    <a:pt x="3036" y="894"/>
                  </a:lnTo>
                  <a:lnTo>
                    <a:pt x="3066" y="924"/>
                  </a:lnTo>
                  <a:lnTo>
                    <a:pt x="3066" y="972"/>
                  </a:lnTo>
                  <a:lnTo>
                    <a:pt x="3090" y="996"/>
                  </a:lnTo>
                  <a:lnTo>
                    <a:pt x="3102" y="1002"/>
                  </a:lnTo>
                  <a:lnTo>
                    <a:pt x="3096" y="1002"/>
                  </a:lnTo>
                  <a:lnTo>
                    <a:pt x="3084" y="1008"/>
                  </a:lnTo>
                  <a:lnTo>
                    <a:pt x="3078" y="1014"/>
                  </a:lnTo>
                  <a:lnTo>
                    <a:pt x="3078" y="1020"/>
                  </a:lnTo>
                  <a:lnTo>
                    <a:pt x="3090" y="1032"/>
                  </a:lnTo>
                  <a:lnTo>
                    <a:pt x="3114" y="1032"/>
                  </a:lnTo>
                  <a:lnTo>
                    <a:pt x="3090" y="1044"/>
                  </a:lnTo>
                  <a:lnTo>
                    <a:pt x="3090" y="1056"/>
                  </a:lnTo>
                  <a:lnTo>
                    <a:pt x="3102" y="1062"/>
                  </a:lnTo>
                  <a:lnTo>
                    <a:pt x="3108" y="1092"/>
                  </a:lnTo>
                  <a:lnTo>
                    <a:pt x="3096" y="1122"/>
                  </a:lnTo>
                  <a:lnTo>
                    <a:pt x="3120" y="1122"/>
                  </a:lnTo>
                  <a:lnTo>
                    <a:pt x="3126" y="1116"/>
                  </a:lnTo>
                  <a:lnTo>
                    <a:pt x="3138" y="1116"/>
                  </a:lnTo>
                  <a:lnTo>
                    <a:pt x="3150" y="1110"/>
                  </a:lnTo>
                  <a:lnTo>
                    <a:pt x="3162" y="1110"/>
                  </a:lnTo>
                  <a:lnTo>
                    <a:pt x="3168" y="1104"/>
                  </a:lnTo>
                  <a:lnTo>
                    <a:pt x="3174" y="1104"/>
                  </a:lnTo>
                  <a:lnTo>
                    <a:pt x="3174" y="1134"/>
                  </a:lnTo>
                  <a:lnTo>
                    <a:pt x="3234" y="1194"/>
                  </a:lnTo>
                  <a:lnTo>
                    <a:pt x="3240" y="1194"/>
                  </a:lnTo>
                  <a:lnTo>
                    <a:pt x="3240" y="1146"/>
                  </a:lnTo>
                  <a:lnTo>
                    <a:pt x="3234" y="1122"/>
                  </a:lnTo>
                  <a:lnTo>
                    <a:pt x="3234" y="1116"/>
                  </a:lnTo>
                  <a:lnTo>
                    <a:pt x="3240" y="1110"/>
                  </a:lnTo>
                  <a:lnTo>
                    <a:pt x="3240" y="1098"/>
                  </a:lnTo>
                  <a:lnTo>
                    <a:pt x="3246" y="1086"/>
                  </a:lnTo>
                  <a:lnTo>
                    <a:pt x="3246" y="1062"/>
                  </a:lnTo>
                  <a:lnTo>
                    <a:pt x="3252" y="1050"/>
                  </a:lnTo>
                  <a:lnTo>
                    <a:pt x="3252" y="1020"/>
                  </a:lnTo>
                  <a:lnTo>
                    <a:pt x="3240" y="1020"/>
                  </a:lnTo>
                  <a:lnTo>
                    <a:pt x="3228" y="1014"/>
                  </a:lnTo>
                  <a:lnTo>
                    <a:pt x="3222" y="1008"/>
                  </a:lnTo>
                  <a:lnTo>
                    <a:pt x="3222" y="1002"/>
                  </a:lnTo>
                  <a:lnTo>
                    <a:pt x="3234" y="990"/>
                  </a:lnTo>
                  <a:lnTo>
                    <a:pt x="3246" y="984"/>
                  </a:lnTo>
                  <a:lnTo>
                    <a:pt x="3252" y="978"/>
                  </a:lnTo>
                  <a:lnTo>
                    <a:pt x="3252" y="864"/>
                  </a:lnTo>
                  <a:lnTo>
                    <a:pt x="3258" y="846"/>
                  </a:lnTo>
                  <a:lnTo>
                    <a:pt x="3258" y="708"/>
                  </a:lnTo>
                  <a:lnTo>
                    <a:pt x="3264" y="678"/>
                  </a:lnTo>
                  <a:close/>
                  <a:moveTo>
                    <a:pt x="336" y="666"/>
                  </a:moveTo>
                  <a:lnTo>
                    <a:pt x="330" y="672"/>
                  </a:lnTo>
                  <a:lnTo>
                    <a:pt x="354" y="696"/>
                  </a:lnTo>
                  <a:lnTo>
                    <a:pt x="360" y="708"/>
                  </a:lnTo>
                  <a:lnTo>
                    <a:pt x="366" y="714"/>
                  </a:lnTo>
                  <a:lnTo>
                    <a:pt x="378" y="714"/>
                  </a:lnTo>
                  <a:lnTo>
                    <a:pt x="378" y="696"/>
                  </a:lnTo>
                  <a:lnTo>
                    <a:pt x="366" y="690"/>
                  </a:lnTo>
                  <a:lnTo>
                    <a:pt x="360" y="678"/>
                  </a:lnTo>
                  <a:lnTo>
                    <a:pt x="348" y="672"/>
                  </a:lnTo>
                  <a:lnTo>
                    <a:pt x="342" y="666"/>
                  </a:lnTo>
                  <a:lnTo>
                    <a:pt x="336" y="666"/>
                  </a:lnTo>
                  <a:close/>
                  <a:moveTo>
                    <a:pt x="2526" y="1104"/>
                  </a:moveTo>
                  <a:lnTo>
                    <a:pt x="2544" y="1116"/>
                  </a:lnTo>
                  <a:lnTo>
                    <a:pt x="2574" y="1092"/>
                  </a:lnTo>
                  <a:lnTo>
                    <a:pt x="2592" y="1092"/>
                  </a:lnTo>
                  <a:lnTo>
                    <a:pt x="2604" y="1080"/>
                  </a:lnTo>
                  <a:lnTo>
                    <a:pt x="2604" y="1062"/>
                  </a:lnTo>
                  <a:lnTo>
                    <a:pt x="2592" y="1056"/>
                  </a:lnTo>
                  <a:lnTo>
                    <a:pt x="2586" y="1056"/>
                  </a:lnTo>
                  <a:lnTo>
                    <a:pt x="2574" y="1062"/>
                  </a:lnTo>
                  <a:lnTo>
                    <a:pt x="2556" y="1068"/>
                  </a:lnTo>
                  <a:lnTo>
                    <a:pt x="2526" y="1098"/>
                  </a:lnTo>
                  <a:lnTo>
                    <a:pt x="2526" y="1104"/>
                  </a:lnTo>
                  <a:close/>
                  <a:moveTo>
                    <a:pt x="3096" y="1068"/>
                  </a:moveTo>
                  <a:lnTo>
                    <a:pt x="3090" y="1068"/>
                  </a:lnTo>
                  <a:lnTo>
                    <a:pt x="3090" y="1062"/>
                  </a:lnTo>
                  <a:lnTo>
                    <a:pt x="3084" y="1062"/>
                  </a:lnTo>
                  <a:lnTo>
                    <a:pt x="3078" y="1056"/>
                  </a:lnTo>
                  <a:lnTo>
                    <a:pt x="3066" y="1056"/>
                  </a:lnTo>
                  <a:lnTo>
                    <a:pt x="3048" y="1062"/>
                  </a:lnTo>
                  <a:lnTo>
                    <a:pt x="3024" y="1086"/>
                  </a:lnTo>
                  <a:lnTo>
                    <a:pt x="3012" y="1122"/>
                  </a:lnTo>
                  <a:lnTo>
                    <a:pt x="3012" y="1134"/>
                  </a:lnTo>
                  <a:lnTo>
                    <a:pt x="3072" y="1128"/>
                  </a:lnTo>
                  <a:lnTo>
                    <a:pt x="3084" y="1128"/>
                  </a:lnTo>
                  <a:lnTo>
                    <a:pt x="3090" y="1122"/>
                  </a:lnTo>
                  <a:lnTo>
                    <a:pt x="3102" y="1092"/>
                  </a:lnTo>
                  <a:lnTo>
                    <a:pt x="3096" y="1068"/>
                  </a:lnTo>
                  <a:close/>
                  <a:moveTo>
                    <a:pt x="2778" y="942"/>
                  </a:moveTo>
                  <a:lnTo>
                    <a:pt x="2766" y="960"/>
                  </a:lnTo>
                  <a:lnTo>
                    <a:pt x="2766" y="1014"/>
                  </a:lnTo>
                  <a:lnTo>
                    <a:pt x="2784" y="1014"/>
                  </a:lnTo>
                  <a:lnTo>
                    <a:pt x="2778" y="996"/>
                  </a:lnTo>
                  <a:lnTo>
                    <a:pt x="2790" y="990"/>
                  </a:lnTo>
                  <a:lnTo>
                    <a:pt x="2790" y="972"/>
                  </a:lnTo>
                  <a:lnTo>
                    <a:pt x="2778" y="972"/>
                  </a:lnTo>
                  <a:lnTo>
                    <a:pt x="2796" y="936"/>
                  </a:lnTo>
                  <a:lnTo>
                    <a:pt x="2814" y="906"/>
                  </a:lnTo>
                  <a:lnTo>
                    <a:pt x="2784" y="912"/>
                  </a:lnTo>
                  <a:lnTo>
                    <a:pt x="2778" y="942"/>
                  </a:lnTo>
                  <a:close/>
                  <a:moveTo>
                    <a:pt x="2136" y="600"/>
                  </a:moveTo>
                  <a:lnTo>
                    <a:pt x="2124" y="594"/>
                  </a:lnTo>
                  <a:lnTo>
                    <a:pt x="2118" y="594"/>
                  </a:lnTo>
                  <a:lnTo>
                    <a:pt x="2106" y="588"/>
                  </a:lnTo>
                  <a:lnTo>
                    <a:pt x="2088" y="588"/>
                  </a:lnTo>
                  <a:lnTo>
                    <a:pt x="2082" y="594"/>
                  </a:lnTo>
                  <a:lnTo>
                    <a:pt x="2082" y="600"/>
                  </a:lnTo>
                  <a:lnTo>
                    <a:pt x="2076" y="606"/>
                  </a:lnTo>
                  <a:lnTo>
                    <a:pt x="2082" y="612"/>
                  </a:lnTo>
                  <a:lnTo>
                    <a:pt x="2094" y="618"/>
                  </a:lnTo>
                  <a:lnTo>
                    <a:pt x="2136" y="618"/>
                  </a:lnTo>
                  <a:lnTo>
                    <a:pt x="2214" y="606"/>
                  </a:lnTo>
                  <a:lnTo>
                    <a:pt x="2136" y="600"/>
                  </a:lnTo>
                  <a:close/>
                  <a:moveTo>
                    <a:pt x="1308" y="1038"/>
                  </a:moveTo>
                  <a:lnTo>
                    <a:pt x="1368" y="1002"/>
                  </a:lnTo>
                  <a:lnTo>
                    <a:pt x="1362" y="990"/>
                  </a:lnTo>
                  <a:lnTo>
                    <a:pt x="1350" y="990"/>
                  </a:lnTo>
                  <a:lnTo>
                    <a:pt x="1332" y="996"/>
                  </a:lnTo>
                  <a:lnTo>
                    <a:pt x="1320" y="996"/>
                  </a:lnTo>
                  <a:lnTo>
                    <a:pt x="1302" y="1002"/>
                  </a:lnTo>
                  <a:lnTo>
                    <a:pt x="1290" y="1008"/>
                  </a:lnTo>
                  <a:lnTo>
                    <a:pt x="1284" y="1014"/>
                  </a:lnTo>
                  <a:lnTo>
                    <a:pt x="1284" y="1032"/>
                  </a:lnTo>
                  <a:lnTo>
                    <a:pt x="1290" y="1038"/>
                  </a:lnTo>
                  <a:lnTo>
                    <a:pt x="1308" y="1038"/>
                  </a:lnTo>
                  <a:close/>
                  <a:moveTo>
                    <a:pt x="1428" y="1116"/>
                  </a:moveTo>
                  <a:lnTo>
                    <a:pt x="1392" y="1116"/>
                  </a:lnTo>
                  <a:lnTo>
                    <a:pt x="1386" y="1146"/>
                  </a:lnTo>
                  <a:lnTo>
                    <a:pt x="1386" y="1152"/>
                  </a:lnTo>
                  <a:lnTo>
                    <a:pt x="1404" y="1170"/>
                  </a:lnTo>
                  <a:lnTo>
                    <a:pt x="1416" y="1176"/>
                  </a:lnTo>
                  <a:lnTo>
                    <a:pt x="1428" y="1164"/>
                  </a:lnTo>
                  <a:lnTo>
                    <a:pt x="1440" y="1140"/>
                  </a:lnTo>
                  <a:lnTo>
                    <a:pt x="1440" y="1128"/>
                  </a:lnTo>
                  <a:lnTo>
                    <a:pt x="1428" y="1116"/>
                  </a:lnTo>
                  <a:close/>
                  <a:moveTo>
                    <a:pt x="708" y="930"/>
                  </a:moveTo>
                  <a:lnTo>
                    <a:pt x="714" y="924"/>
                  </a:lnTo>
                  <a:lnTo>
                    <a:pt x="714" y="900"/>
                  </a:lnTo>
                  <a:lnTo>
                    <a:pt x="744" y="924"/>
                  </a:lnTo>
                  <a:lnTo>
                    <a:pt x="744" y="918"/>
                  </a:lnTo>
                  <a:lnTo>
                    <a:pt x="750" y="912"/>
                  </a:lnTo>
                  <a:lnTo>
                    <a:pt x="750" y="900"/>
                  </a:lnTo>
                  <a:lnTo>
                    <a:pt x="756" y="882"/>
                  </a:lnTo>
                  <a:lnTo>
                    <a:pt x="756" y="840"/>
                  </a:lnTo>
                  <a:lnTo>
                    <a:pt x="762" y="822"/>
                  </a:lnTo>
                  <a:lnTo>
                    <a:pt x="762" y="810"/>
                  </a:lnTo>
                  <a:lnTo>
                    <a:pt x="768" y="792"/>
                  </a:lnTo>
                  <a:lnTo>
                    <a:pt x="768" y="780"/>
                  </a:lnTo>
                  <a:lnTo>
                    <a:pt x="762" y="774"/>
                  </a:lnTo>
                  <a:lnTo>
                    <a:pt x="756" y="762"/>
                  </a:lnTo>
                  <a:lnTo>
                    <a:pt x="756" y="750"/>
                  </a:lnTo>
                  <a:lnTo>
                    <a:pt x="768" y="726"/>
                  </a:lnTo>
                  <a:lnTo>
                    <a:pt x="774" y="720"/>
                  </a:lnTo>
                  <a:lnTo>
                    <a:pt x="774" y="714"/>
                  </a:lnTo>
                  <a:lnTo>
                    <a:pt x="756" y="696"/>
                  </a:lnTo>
                  <a:lnTo>
                    <a:pt x="744" y="654"/>
                  </a:lnTo>
                  <a:lnTo>
                    <a:pt x="702" y="654"/>
                  </a:lnTo>
                  <a:lnTo>
                    <a:pt x="702" y="618"/>
                  </a:lnTo>
                  <a:lnTo>
                    <a:pt x="666" y="618"/>
                  </a:lnTo>
                  <a:lnTo>
                    <a:pt x="660" y="546"/>
                  </a:lnTo>
                  <a:lnTo>
                    <a:pt x="606" y="546"/>
                  </a:lnTo>
                  <a:lnTo>
                    <a:pt x="594" y="534"/>
                  </a:lnTo>
                  <a:lnTo>
                    <a:pt x="594" y="504"/>
                  </a:lnTo>
                  <a:lnTo>
                    <a:pt x="600" y="498"/>
                  </a:lnTo>
                  <a:lnTo>
                    <a:pt x="606" y="486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6" y="456"/>
                  </a:lnTo>
                  <a:lnTo>
                    <a:pt x="612" y="450"/>
                  </a:lnTo>
                  <a:lnTo>
                    <a:pt x="612" y="438"/>
                  </a:lnTo>
                  <a:lnTo>
                    <a:pt x="600" y="426"/>
                  </a:lnTo>
                  <a:lnTo>
                    <a:pt x="588" y="432"/>
                  </a:lnTo>
                  <a:lnTo>
                    <a:pt x="570" y="432"/>
                  </a:lnTo>
                  <a:lnTo>
                    <a:pt x="552" y="438"/>
                  </a:lnTo>
                  <a:lnTo>
                    <a:pt x="540" y="438"/>
                  </a:lnTo>
                  <a:lnTo>
                    <a:pt x="534" y="444"/>
                  </a:lnTo>
                  <a:lnTo>
                    <a:pt x="528" y="444"/>
                  </a:lnTo>
                  <a:lnTo>
                    <a:pt x="534" y="438"/>
                  </a:lnTo>
                  <a:lnTo>
                    <a:pt x="546" y="432"/>
                  </a:lnTo>
                  <a:lnTo>
                    <a:pt x="552" y="420"/>
                  </a:lnTo>
                  <a:lnTo>
                    <a:pt x="558" y="414"/>
                  </a:lnTo>
                  <a:lnTo>
                    <a:pt x="558" y="402"/>
                  </a:lnTo>
                  <a:lnTo>
                    <a:pt x="546" y="396"/>
                  </a:lnTo>
                  <a:lnTo>
                    <a:pt x="534" y="396"/>
                  </a:lnTo>
                  <a:lnTo>
                    <a:pt x="522" y="390"/>
                  </a:lnTo>
                  <a:lnTo>
                    <a:pt x="510" y="390"/>
                  </a:lnTo>
                  <a:lnTo>
                    <a:pt x="516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492" y="342"/>
                  </a:lnTo>
                  <a:lnTo>
                    <a:pt x="480" y="336"/>
                  </a:lnTo>
                  <a:lnTo>
                    <a:pt x="462" y="330"/>
                  </a:lnTo>
                  <a:lnTo>
                    <a:pt x="456" y="324"/>
                  </a:lnTo>
                  <a:lnTo>
                    <a:pt x="450" y="324"/>
                  </a:lnTo>
                  <a:lnTo>
                    <a:pt x="450" y="318"/>
                  </a:lnTo>
                  <a:lnTo>
                    <a:pt x="444" y="312"/>
                  </a:lnTo>
                  <a:lnTo>
                    <a:pt x="438" y="300"/>
                  </a:lnTo>
                  <a:lnTo>
                    <a:pt x="438" y="288"/>
                  </a:lnTo>
                  <a:lnTo>
                    <a:pt x="426" y="276"/>
                  </a:lnTo>
                  <a:lnTo>
                    <a:pt x="414" y="276"/>
                  </a:lnTo>
                  <a:lnTo>
                    <a:pt x="408" y="282"/>
                  </a:lnTo>
                  <a:lnTo>
                    <a:pt x="414" y="306"/>
                  </a:lnTo>
                  <a:lnTo>
                    <a:pt x="408" y="300"/>
                  </a:lnTo>
                  <a:lnTo>
                    <a:pt x="396" y="294"/>
                  </a:lnTo>
                  <a:lnTo>
                    <a:pt x="360" y="258"/>
                  </a:lnTo>
                  <a:lnTo>
                    <a:pt x="360" y="246"/>
                  </a:lnTo>
                  <a:lnTo>
                    <a:pt x="354" y="240"/>
                  </a:lnTo>
                  <a:lnTo>
                    <a:pt x="348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0" y="210"/>
                  </a:lnTo>
                  <a:lnTo>
                    <a:pt x="312" y="192"/>
                  </a:lnTo>
                  <a:lnTo>
                    <a:pt x="294" y="186"/>
                  </a:lnTo>
                  <a:lnTo>
                    <a:pt x="288" y="174"/>
                  </a:lnTo>
                  <a:lnTo>
                    <a:pt x="276" y="168"/>
                  </a:lnTo>
                  <a:lnTo>
                    <a:pt x="264" y="156"/>
                  </a:lnTo>
                  <a:lnTo>
                    <a:pt x="252" y="150"/>
                  </a:lnTo>
                  <a:lnTo>
                    <a:pt x="240" y="138"/>
                  </a:lnTo>
                  <a:lnTo>
                    <a:pt x="234" y="126"/>
                  </a:lnTo>
                  <a:lnTo>
                    <a:pt x="222" y="120"/>
                  </a:lnTo>
                  <a:lnTo>
                    <a:pt x="222" y="102"/>
                  </a:lnTo>
                  <a:lnTo>
                    <a:pt x="204" y="84"/>
                  </a:lnTo>
                  <a:lnTo>
                    <a:pt x="198" y="72"/>
                  </a:lnTo>
                  <a:lnTo>
                    <a:pt x="168" y="42"/>
                  </a:lnTo>
                  <a:lnTo>
                    <a:pt x="150" y="42"/>
                  </a:lnTo>
                  <a:lnTo>
                    <a:pt x="66" y="3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6" y="6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78"/>
                  </a:lnTo>
                  <a:lnTo>
                    <a:pt x="66" y="126"/>
                  </a:lnTo>
                  <a:lnTo>
                    <a:pt x="96" y="150"/>
                  </a:lnTo>
                  <a:lnTo>
                    <a:pt x="126" y="180"/>
                  </a:lnTo>
                  <a:lnTo>
                    <a:pt x="162" y="234"/>
                  </a:lnTo>
                  <a:lnTo>
                    <a:pt x="174" y="228"/>
                  </a:lnTo>
                  <a:lnTo>
                    <a:pt x="174" y="252"/>
                  </a:lnTo>
                  <a:lnTo>
                    <a:pt x="180" y="264"/>
                  </a:lnTo>
                  <a:lnTo>
                    <a:pt x="186" y="270"/>
                  </a:lnTo>
                  <a:lnTo>
                    <a:pt x="198" y="276"/>
                  </a:lnTo>
                  <a:lnTo>
                    <a:pt x="216" y="288"/>
                  </a:lnTo>
                  <a:lnTo>
                    <a:pt x="228" y="300"/>
                  </a:lnTo>
                  <a:lnTo>
                    <a:pt x="246" y="312"/>
                  </a:lnTo>
                  <a:lnTo>
                    <a:pt x="258" y="324"/>
                  </a:lnTo>
                  <a:lnTo>
                    <a:pt x="264" y="336"/>
                  </a:lnTo>
                  <a:lnTo>
                    <a:pt x="276" y="372"/>
                  </a:lnTo>
                  <a:lnTo>
                    <a:pt x="276" y="384"/>
                  </a:lnTo>
                  <a:lnTo>
                    <a:pt x="282" y="390"/>
                  </a:lnTo>
                  <a:lnTo>
                    <a:pt x="282" y="426"/>
                  </a:lnTo>
                  <a:lnTo>
                    <a:pt x="288" y="438"/>
                  </a:lnTo>
                  <a:lnTo>
                    <a:pt x="288" y="444"/>
                  </a:lnTo>
                  <a:lnTo>
                    <a:pt x="294" y="450"/>
                  </a:lnTo>
                  <a:lnTo>
                    <a:pt x="300" y="450"/>
                  </a:lnTo>
                  <a:lnTo>
                    <a:pt x="312" y="444"/>
                  </a:lnTo>
                  <a:lnTo>
                    <a:pt x="324" y="444"/>
                  </a:lnTo>
                  <a:lnTo>
                    <a:pt x="324" y="450"/>
                  </a:lnTo>
                  <a:lnTo>
                    <a:pt x="330" y="462"/>
                  </a:lnTo>
                  <a:lnTo>
                    <a:pt x="330" y="474"/>
                  </a:lnTo>
                  <a:lnTo>
                    <a:pt x="336" y="480"/>
                  </a:lnTo>
                  <a:lnTo>
                    <a:pt x="336" y="486"/>
                  </a:lnTo>
                  <a:lnTo>
                    <a:pt x="378" y="522"/>
                  </a:lnTo>
                  <a:lnTo>
                    <a:pt x="372" y="546"/>
                  </a:lnTo>
                  <a:lnTo>
                    <a:pt x="408" y="606"/>
                  </a:lnTo>
                  <a:lnTo>
                    <a:pt x="402" y="618"/>
                  </a:lnTo>
                  <a:lnTo>
                    <a:pt x="402" y="636"/>
                  </a:lnTo>
                  <a:lnTo>
                    <a:pt x="408" y="648"/>
                  </a:lnTo>
                  <a:lnTo>
                    <a:pt x="438" y="678"/>
                  </a:lnTo>
                  <a:lnTo>
                    <a:pt x="438" y="684"/>
                  </a:lnTo>
                  <a:lnTo>
                    <a:pt x="444" y="690"/>
                  </a:lnTo>
                  <a:lnTo>
                    <a:pt x="462" y="726"/>
                  </a:lnTo>
                  <a:lnTo>
                    <a:pt x="498" y="744"/>
                  </a:lnTo>
                  <a:lnTo>
                    <a:pt x="504" y="750"/>
                  </a:lnTo>
                  <a:lnTo>
                    <a:pt x="510" y="750"/>
                  </a:lnTo>
                  <a:lnTo>
                    <a:pt x="510" y="786"/>
                  </a:lnTo>
                  <a:lnTo>
                    <a:pt x="522" y="792"/>
                  </a:lnTo>
                  <a:lnTo>
                    <a:pt x="528" y="804"/>
                  </a:lnTo>
                  <a:lnTo>
                    <a:pt x="540" y="810"/>
                  </a:lnTo>
                  <a:lnTo>
                    <a:pt x="564" y="834"/>
                  </a:lnTo>
                  <a:lnTo>
                    <a:pt x="576" y="840"/>
                  </a:lnTo>
                  <a:lnTo>
                    <a:pt x="594" y="858"/>
                  </a:lnTo>
                  <a:lnTo>
                    <a:pt x="600" y="858"/>
                  </a:lnTo>
                  <a:lnTo>
                    <a:pt x="606" y="864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18" y="876"/>
                  </a:lnTo>
                  <a:lnTo>
                    <a:pt x="630" y="900"/>
                  </a:lnTo>
                  <a:lnTo>
                    <a:pt x="642" y="912"/>
                  </a:lnTo>
                  <a:lnTo>
                    <a:pt x="654" y="936"/>
                  </a:lnTo>
                  <a:lnTo>
                    <a:pt x="660" y="942"/>
                  </a:lnTo>
                  <a:lnTo>
                    <a:pt x="660" y="906"/>
                  </a:lnTo>
                  <a:lnTo>
                    <a:pt x="672" y="906"/>
                  </a:lnTo>
                  <a:lnTo>
                    <a:pt x="684" y="918"/>
                  </a:lnTo>
                  <a:lnTo>
                    <a:pt x="696" y="924"/>
                  </a:lnTo>
                  <a:lnTo>
                    <a:pt x="702" y="930"/>
                  </a:lnTo>
                  <a:lnTo>
                    <a:pt x="708" y="930"/>
                  </a:lnTo>
                  <a:close/>
                  <a:moveTo>
                    <a:pt x="2118" y="1194"/>
                  </a:moveTo>
                  <a:lnTo>
                    <a:pt x="2106" y="1176"/>
                  </a:lnTo>
                  <a:lnTo>
                    <a:pt x="2088" y="1176"/>
                  </a:lnTo>
                  <a:lnTo>
                    <a:pt x="2064" y="1200"/>
                  </a:lnTo>
                  <a:lnTo>
                    <a:pt x="2064" y="1212"/>
                  </a:lnTo>
                  <a:lnTo>
                    <a:pt x="2052" y="1212"/>
                  </a:lnTo>
                  <a:lnTo>
                    <a:pt x="2040" y="1218"/>
                  </a:lnTo>
                  <a:lnTo>
                    <a:pt x="2010" y="1248"/>
                  </a:lnTo>
                  <a:lnTo>
                    <a:pt x="1998" y="1272"/>
                  </a:lnTo>
                  <a:lnTo>
                    <a:pt x="1992" y="1278"/>
                  </a:lnTo>
                  <a:lnTo>
                    <a:pt x="1992" y="1290"/>
                  </a:lnTo>
                  <a:lnTo>
                    <a:pt x="2004" y="1302"/>
                  </a:lnTo>
                  <a:lnTo>
                    <a:pt x="2022" y="1302"/>
                  </a:lnTo>
                  <a:lnTo>
                    <a:pt x="2052" y="1284"/>
                  </a:lnTo>
                  <a:lnTo>
                    <a:pt x="2082" y="1260"/>
                  </a:lnTo>
                  <a:lnTo>
                    <a:pt x="2106" y="1242"/>
                  </a:lnTo>
                  <a:lnTo>
                    <a:pt x="2100" y="1236"/>
                  </a:lnTo>
                  <a:lnTo>
                    <a:pt x="2100" y="1224"/>
                  </a:lnTo>
                  <a:lnTo>
                    <a:pt x="2112" y="1200"/>
                  </a:lnTo>
                  <a:lnTo>
                    <a:pt x="2118" y="1194"/>
                  </a:lnTo>
                  <a:close/>
                  <a:moveTo>
                    <a:pt x="1374" y="1128"/>
                  </a:moveTo>
                  <a:lnTo>
                    <a:pt x="1374" y="1116"/>
                  </a:lnTo>
                  <a:lnTo>
                    <a:pt x="1368" y="1110"/>
                  </a:lnTo>
                  <a:lnTo>
                    <a:pt x="1344" y="1098"/>
                  </a:lnTo>
                  <a:lnTo>
                    <a:pt x="1332" y="1098"/>
                  </a:lnTo>
                  <a:lnTo>
                    <a:pt x="1320" y="1092"/>
                  </a:lnTo>
                  <a:lnTo>
                    <a:pt x="1314" y="1092"/>
                  </a:lnTo>
                  <a:lnTo>
                    <a:pt x="1302" y="1098"/>
                  </a:lnTo>
                  <a:lnTo>
                    <a:pt x="1296" y="1104"/>
                  </a:lnTo>
                  <a:lnTo>
                    <a:pt x="1296" y="1116"/>
                  </a:lnTo>
                  <a:lnTo>
                    <a:pt x="1290" y="1122"/>
                  </a:lnTo>
                  <a:lnTo>
                    <a:pt x="1290" y="1134"/>
                  </a:lnTo>
                  <a:lnTo>
                    <a:pt x="1254" y="1104"/>
                  </a:lnTo>
                  <a:lnTo>
                    <a:pt x="1260" y="1092"/>
                  </a:lnTo>
                  <a:lnTo>
                    <a:pt x="1260" y="1080"/>
                  </a:lnTo>
                  <a:lnTo>
                    <a:pt x="1266" y="1068"/>
                  </a:lnTo>
                  <a:lnTo>
                    <a:pt x="1266" y="1050"/>
                  </a:lnTo>
                  <a:lnTo>
                    <a:pt x="1260" y="1038"/>
                  </a:lnTo>
                  <a:lnTo>
                    <a:pt x="1254" y="1032"/>
                  </a:lnTo>
                  <a:lnTo>
                    <a:pt x="1242" y="1026"/>
                  </a:lnTo>
                  <a:lnTo>
                    <a:pt x="1188" y="1026"/>
                  </a:lnTo>
                  <a:lnTo>
                    <a:pt x="1158" y="1008"/>
                  </a:lnTo>
                  <a:lnTo>
                    <a:pt x="1158" y="984"/>
                  </a:lnTo>
                  <a:lnTo>
                    <a:pt x="1116" y="984"/>
                  </a:lnTo>
                  <a:lnTo>
                    <a:pt x="1116" y="996"/>
                  </a:lnTo>
                  <a:lnTo>
                    <a:pt x="1110" y="1008"/>
                  </a:lnTo>
                  <a:lnTo>
                    <a:pt x="1110" y="1026"/>
                  </a:lnTo>
                  <a:lnTo>
                    <a:pt x="1086" y="1026"/>
                  </a:lnTo>
                  <a:lnTo>
                    <a:pt x="1074" y="1020"/>
                  </a:lnTo>
                  <a:lnTo>
                    <a:pt x="1056" y="1014"/>
                  </a:lnTo>
                  <a:lnTo>
                    <a:pt x="1044" y="1014"/>
                  </a:lnTo>
                  <a:lnTo>
                    <a:pt x="1032" y="1008"/>
                  </a:lnTo>
                  <a:lnTo>
                    <a:pt x="966" y="1008"/>
                  </a:lnTo>
                  <a:lnTo>
                    <a:pt x="960" y="996"/>
                  </a:lnTo>
                  <a:lnTo>
                    <a:pt x="948" y="990"/>
                  </a:lnTo>
                  <a:lnTo>
                    <a:pt x="942" y="978"/>
                  </a:lnTo>
                  <a:lnTo>
                    <a:pt x="918" y="954"/>
                  </a:lnTo>
                  <a:lnTo>
                    <a:pt x="900" y="954"/>
                  </a:lnTo>
                  <a:lnTo>
                    <a:pt x="888" y="960"/>
                  </a:lnTo>
                  <a:lnTo>
                    <a:pt x="876" y="954"/>
                  </a:lnTo>
                  <a:lnTo>
                    <a:pt x="870" y="948"/>
                  </a:lnTo>
                  <a:lnTo>
                    <a:pt x="858" y="942"/>
                  </a:lnTo>
                  <a:lnTo>
                    <a:pt x="846" y="942"/>
                  </a:lnTo>
                  <a:lnTo>
                    <a:pt x="840" y="936"/>
                  </a:lnTo>
                  <a:lnTo>
                    <a:pt x="822" y="936"/>
                  </a:lnTo>
                  <a:lnTo>
                    <a:pt x="810" y="930"/>
                  </a:lnTo>
                  <a:lnTo>
                    <a:pt x="792" y="930"/>
                  </a:lnTo>
                  <a:lnTo>
                    <a:pt x="786" y="924"/>
                  </a:lnTo>
                  <a:lnTo>
                    <a:pt x="762" y="924"/>
                  </a:lnTo>
                  <a:lnTo>
                    <a:pt x="750" y="930"/>
                  </a:lnTo>
                  <a:lnTo>
                    <a:pt x="738" y="954"/>
                  </a:lnTo>
                  <a:lnTo>
                    <a:pt x="738" y="966"/>
                  </a:lnTo>
                  <a:lnTo>
                    <a:pt x="732" y="978"/>
                  </a:lnTo>
                  <a:lnTo>
                    <a:pt x="720" y="990"/>
                  </a:lnTo>
                  <a:lnTo>
                    <a:pt x="714" y="990"/>
                  </a:lnTo>
                  <a:lnTo>
                    <a:pt x="702" y="1002"/>
                  </a:lnTo>
                  <a:lnTo>
                    <a:pt x="702" y="1014"/>
                  </a:lnTo>
                  <a:lnTo>
                    <a:pt x="738" y="1008"/>
                  </a:lnTo>
                  <a:lnTo>
                    <a:pt x="786" y="1008"/>
                  </a:lnTo>
                  <a:lnTo>
                    <a:pt x="780" y="1014"/>
                  </a:lnTo>
                  <a:lnTo>
                    <a:pt x="768" y="1020"/>
                  </a:lnTo>
                  <a:lnTo>
                    <a:pt x="762" y="1032"/>
                  </a:lnTo>
                  <a:lnTo>
                    <a:pt x="762" y="1044"/>
                  </a:lnTo>
                  <a:lnTo>
                    <a:pt x="774" y="1050"/>
                  </a:lnTo>
                  <a:lnTo>
                    <a:pt x="780" y="1050"/>
                  </a:lnTo>
                  <a:lnTo>
                    <a:pt x="798" y="1044"/>
                  </a:lnTo>
                  <a:lnTo>
                    <a:pt x="810" y="1044"/>
                  </a:lnTo>
                  <a:lnTo>
                    <a:pt x="816" y="1038"/>
                  </a:lnTo>
                  <a:lnTo>
                    <a:pt x="828" y="1032"/>
                  </a:lnTo>
                  <a:lnTo>
                    <a:pt x="840" y="1038"/>
                  </a:lnTo>
                  <a:lnTo>
                    <a:pt x="870" y="1056"/>
                  </a:lnTo>
                  <a:lnTo>
                    <a:pt x="900" y="1068"/>
                  </a:lnTo>
                  <a:lnTo>
                    <a:pt x="924" y="1080"/>
                  </a:lnTo>
                  <a:lnTo>
                    <a:pt x="960" y="1086"/>
                  </a:lnTo>
                  <a:lnTo>
                    <a:pt x="1014" y="1092"/>
                  </a:lnTo>
                  <a:lnTo>
                    <a:pt x="1062" y="1092"/>
                  </a:lnTo>
                  <a:lnTo>
                    <a:pt x="1080" y="1110"/>
                  </a:lnTo>
                  <a:lnTo>
                    <a:pt x="1086" y="1122"/>
                  </a:lnTo>
                  <a:lnTo>
                    <a:pt x="1098" y="1128"/>
                  </a:lnTo>
                  <a:lnTo>
                    <a:pt x="1110" y="1140"/>
                  </a:lnTo>
                  <a:lnTo>
                    <a:pt x="1128" y="1146"/>
                  </a:lnTo>
                  <a:lnTo>
                    <a:pt x="1152" y="1152"/>
                  </a:lnTo>
                  <a:lnTo>
                    <a:pt x="1170" y="1152"/>
                  </a:lnTo>
                  <a:lnTo>
                    <a:pt x="1182" y="1158"/>
                  </a:lnTo>
                  <a:lnTo>
                    <a:pt x="1248" y="1158"/>
                  </a:lnTo>
                  <a:lnTo>
                    <a:pt x="1260" y="1164"/>
                  </a:lnTo>
                  <a:lnTo>
                    <a:pt x="1278" y="1170"/>
                  </a:lnTo>
                  <a:lnTo>
                    <a:pt x="1290" y="1182"/>
                  </a:lnTo>
                  <a:lnTo>
                    <a:pt x="1302" y="1188"/>
                  </a:lnTo>
                  <a:lnTo>
                    <a:pt x="1320" y="1206"/>
                  </a:lnTo>
                  <a:lnTo>
                    <a:pt x="1338" y="1206"/>
                  </a:lnTo>
                  <a:lnTo>
                    <a:pt x="1350" y="1200"/>
                  </a:lnTo>
                  <a:lnTo>
                    <a:pt x="1356" y="1206"/>
                  </a:lnTo>
                  <a:lnTo>
                    <a:pt x="1374" y="1206"/>
                  </a:lnTo>
                  <a:lnTo>
                    <a:pt x="1374" y="1194"/>
                  </a:lnTo>
                  <a:lnTo>
                    <a:pt x="1368" y="1182"/>
                  </a:lnTo>
                  <a:lnTo>
                    <a:pt x="1362" y="1176"/>
                  </a:lnTo>
                  <a:lnTo>
                    <a:pt x="1356" y="1164"/>
                  </a:lnTo>
                  <a:lnTo>
                    <a:pt x="1374" y="1146"/>
                  </a:lnTo>
                  <a:lnTo>
                    <a:pt x="1374" y="1128"/>
                  </a:lnTo>
                  <a:close/>
                  <a:moveTo>
                    <a:pt x="1500" y="726"/>
                  </a:moveTo>
                  <a:lnTo>
                    <a:pt x="1542" y="684"/>
                  </a:lnTo>
                  <a:lnTo>
                    <a:pt x="1548" y="672"/>
                  </a:lnTo>
                  <a:lnTo>
                    <a:pt x="1554" y="654"/>
                  </a:lnTo>
                  <a:lnTo>
                    <a:pt x="1560" y="642"/>
                  </a:lnTo>
                  <a:lnTo>
                    <a:pt x="1566" y="624"/>
                  </a:lnTo>
                  <a:lnTo>
                    <a:pt x="1566" y="612"/>
                  </a:lnTo>
                  <a:lnTo>
                    <a:pt x="1572" y="606"/>
                  </a:lnTo>
                  <a:lnTo>
                    <a:pt x="1572" y="600"/>
                  </a:lnTo>
                  <a:lnTo>
                    <a:pt x="1566" y="600"/>
                  </a:lnTo>
                  <a:lnTo>
                    <a:pt x="1554" y="594"/>
                  </a:lnTo>
                  <a:lnTo>
                    <a:pt x="1542" y="582"/>
                  </a:lnTo>
                  <a:lnTo>
                    <a:pt x="1542" y="564"/>
                  </a:lnTo>
                  <a:lnTo>
                    <a:pt x="1554" y="516"/>
                  </a:lnTo>
                  <a:lnTo>
                    <a:pt x="1590" y="498"/>
                  </a:lnTo>
                  <a:lnTo>
                    <a:pt x="1626" y="498"/>
                  </a:lnTo>
                  <a:lnTo>
                    <a:pt x="1632" y="486"/>
                  </a:lnTo>
                  <a:lnTo>
                    <a:pt x="1638" y="480"/>
                  </a:lnTo>
                  <a:lnTo>
                    <a:pt x="1644" y="468"/>
                  </a:lnTo>
                  <a:lnTo>
                    <a:pt x="1644" y="444"/>
                  </a:lnTo>
                  <a:lnTo>
                    <a:pt x="1626" y="444"/>
                  </a:lnTo>
                  <a:lnTo>
                    <a:pt x="1620" y="450"/>
                  </a:lnTo>
                  <a:lnTo>
                    <a:pt x="1608" y="450"/>
                  </a:lnTo>
                  <a:lnTo>
                    <a:pt x="1608" y="438"/>
                  </a:lnTo>
                  <a:lnTo>
                    <a:pt x="1614" y="420"/>
                  </a:lnTo>
                  <a:lnTo>
                    <a:pt x="1626" y="408"/>
                  </a:lnTo>
                  <a:lnTo>
                    <a:pt x="1650" y="396"/>
                  </a:lnTo>
                  <a:lnTo>
                    <a:pt x="1662" y="396"/>
                  </a:lnTo>
                  <a:lnTo>
                    <a:pt x="1680" y="402"/>
                  </a:lnTo>
                  <a:lnTo>
                    <a:pt x="1704" y="402"/>
                  </a:lnTo>
                  <a:lnTo>
                    <a:pt x="1716" y="390"/>
                  </a:lnTo>
                  <a:lnTo>
                    <a:pt x="1716" y="384"/>
                  </a:lnTo>
                  <a:lnTo>
                    <a:pt x="1680" y="348"/>
                  </a:lnTo>
                  <a:lnTo>
                    <a:pt x="1680" y="312"/>
                  </a:lnTo>
                  <a:lnTo>
                    <a:pt x="1668" y="312"/>
                  </a:lnTo>
                  <a:lnTo>
                    <a:pt x="1650" y="294"/>
                  </a:lnTo>
                  <a:lnTo>
                    <a:pt x="1650" y="282"/>
                  </a:lnTo>
                  <a:lnTo>
                    <a:pt x="1662" y="270"/>
                  </a:lnTo>
                  <a:lnTo>
                    <a:pt x="1668" y="258"/>
                  </a:lnTo>
                  <a:lnTo>
                    <a:pt x="1668" y="246"/>
                  </a:lnTo>
                  <a:lnTo>
                    <a:pt x="1662" y="240"/>
                  </a:lnTo>
                  <a:lnTo>
                    <a:pt x="1638" y="228"/>
                  </a:lnTo>
                  <a:lnTo>
                    <a:pt x="1614" y="228"/>
                  </a:lnTo>
                  <a:lnTo>
                    <a:pt x="1632" y="198"/>
                  </a:lnTo>
                  <a:lnTo>
                    <a:pt x="1614" y="192"/>
                  </a:lnTo>
                  <a:lnTo>
                    <a:pt x="1620" y="162"/>
                  </a:lnTo>
                  <a:lnTo>
                    <a:pt x="1608" y="144"/>
                  </a:lnTo>
                  <a:lnTo>
                    <a:pt x="1602" y="138"/>
                  </a:lnTo>
                  <a:lnTo>
                    <a:pt x="1590" y="132"/>
                  </a:lnTo>
                  <a:lnTo>
                    <a:pt x="1566" y="108"/>
                  </a:lnTo>
                  <a:lnTo>
                    <a:pt x="1470" y="108"/>
                  </a:lnTo>
                  <a:lnTo>
                    <a:pt x="1464" y="114"/>
                  </a:lnTo>
                  <a:lnTo>
                    <a:pt x="1458" y="126"/>
                  </a:lnTo>
                  <a:lnTo>
                    <a:pt x="1458" y="180"/>
                  </a:lnTo>
                  <a:lnTo>
                    <a:pt x="1452" y="198"/>
                  </a:lnTo>
                  <a:lnTo>
                    <a:pt x="1452" y="204"/>
                  </a:lnTo>
                  <a:lnTo>
                    <a:pt x="1446" y="216"/>
                  </a:lnTo>
                  <a:lnTo>
                    <a:pt x="1428" y="216"/>
                  </a:lnTo>
                  <a:lnTo>
                    <a:pt x="1422" y="222"/>
                  </a:lnTo>
                  <a:lnTo>
                    <a:pt x="1422" y="246"/>
                  </a:lnTo>
                  <a:lnTo>
                    <a:pt x="1428" y="252"/>
                  </a:lnTo>
                  <a:lnTo>
                    <a:pt x="1434" y="264"/>
                  </a:lnTo>
                  <a:lnTo>
                    <a:pt x="1398" y="294"/>
                  </a:lnTo>
                  <a:lnTo>
                    <a:pt x="1404" y="306"/>
                  </a:lnTo>
                  <a:lnTo>
                    <a:pt x="1374" y="342"/>
                  </a:lnTo>
                  <a:lnTo>
                    <a:pt x="1350" y="342"/>
                  </a:lnTo>
                  <a:lnTo>
                    <a:pt x="1344" y="348"/>
                  </a:lnTo>
                  <a:lnTo>
                    <a:pt x="1332" y="354"/>
                  </a:lnTo>
                  <a:lnTo>
                    <a:pt x="1320" y="366"/>
                  </a:lnTo>
                  <a:lnTo>
                    <a:pt x="1314" y="366"/>
                  </a:lnTo>
                  <a:lnTo>
                    <a:pt x="1308" y="360"/>
                  </a:lnTo>
                  <a:lnTo>
                    <a:pt x="1284" y="348"/>
                  </a:lnTo>
                  <a:lnTo>
                    <a:pt x="1272" y="336"/>
                  </a:lnTo>
                  <a:lnTo>
                    <a:pt x="1230" y="336"/>
                  </a:lnTo>
                  <a:lnTo>
                    <a:pt x="1224" y="348"/>
                  </a:lnTo>
                  <a:lnTo>
                    <a:pt x="1194" y="378"/>
                  </a:lnTo>
                  <a:lnTo>
                    <a:pt x="1170" y="378"/>
                  </a:lnTo>
                  <a:lnTo>
                    <a:pt x="1152" y="372"/>
                  </a:lnTo>
                  <a:lnTo>
                    <a:pt x="1128" y="372"/>
                  </a:lnTo>
                  <a:lnTo>
                    <a:pt x="1110" y="390"/>
                  </a:lnTo>
                  <a:lnTo>
                    <a:pt x="1104" y="390"/>
                  </a:lnTo>
                  <a:lnTo>
                    <a:pt x="1080" y="378"/>
                  </a:lnTo>
                  <a:lnTo>
                    <a:pt x="1074" y="372"/>
                  </a:lnTo>
                  <a:lnTo>
                    <a:pt x="1062" y="366"/>
                  </a:lnTo>
                  <a:lnTo>
                    <a:pt x="1050" y="354"/>
                  </a:lnTo>
                  <a:lnTo>
                    <a:pt x="1050" y="342"/>
                  </a:lnTo>
                  <a:lnTo>
                    <a:pt x="1044" y="336"/>
                  </a:lnTo>
                  <a:lnTo>
                    <a:pt x="1032" y="330"/>
                  </a:lnTo>
                  <a:lnTo>
                    <a:pt x="1008" y="330"/>
                  </a:lnTo>
                  <a:lnTo>
                    <a:pt x="996" y="336"/>
                  </a:lnTo>
                  <a:lnTo>
                    <a:pt x="990" y="348"/>
                  </a:lnTo>
                  <a:lnTo>
                    <a:pt x="978" y="366"/>
                  </a:lnTo>
                  <a:lnTo>
                    <a:pt x="972" y="384"/>
                  </a:lnTo>
                  <a:lnTo>
                    <a:pt x="972" y="402"/>
                  </a:lnTo>
                  <a:lnTo>
                    <a:pt x="966" y="408"/>
                  </a:lnTo>
                  <a:lnTo>
                    <a:pt x="966" y="414"/>
                  </a:lnTo>
                  <a:lnTo>
                    <a:pt x="990" y="444"/>
                  </a:lnTo>
                  <a:lnTo>
                    <a:pt x="1002" y="498"/>
                  </a:lnTo>
                  <a:lnTo>
                    <a:pt x="1050" y="528"/>
                  </a:lnTo>
                  <a:lnTo>
                    <a:pt x="1038" y="564"/>
                  </a:lnTo>
                  <a:lnTo>
                    <a:pt x="1068" y="582"/>
                  </a:lnTo>
                  <a:lnTo>
                    <a:pt x="1050" y="606"/>
                  </a:lnTo>
                  <a:lnTo>
                    <a:pt x="1068" y="636"/>
                  </a:lnTo>
                  <a:lnTo>
                    <a:pt x="1056" y="648"/>
                  </a:lnTo>
                  <a:lnTo>
                    <a:pt x="1068" y="702"/>
                  </a:lnTo>
                  <a:lnTo>
                    <a:pt x="1110" y="696"/>
                  </a:lnTo>
                  <a:lnTo>
                    <a:pt x="1140" y="708"/>
                  </a:lnTo>
                  <a:lnTo>
                    <a:pt x="1146" y="696"/>
                  </a:lnTo>
                  <a:lnTo>
                    <a:pt x="1170" y="672"/>
                  </a:lnTo>
                  <a:lnTo>
                    <a:pt x="1182" y="672"/>
                  </a:lnTo>
                  <a:lnTo>
                    <a:pt x="1182" y="690"/>
                  </a:lnTo>
                  <a:lnTo>
                    <a:pt x="1188" y="702"/>
                  </a:lnTo>
                  <a:lnTo>
                    <a:pt x="1188" y="726"/>
                  </a:lnTo>
                  <a:lnTo>
                    <a:pt x="1194" y="738"/>
                  </a:lnTo>
                  <a:lnTo>
                    <a:pt x="1212" y="738"/>
                  </a:lnTo>
                  <a:lnTo>
                    <a:pt x="1218" y="726"/>
                  </a:lnTo>
                  <a:lnTo>
                    <a:pt x="1218" y="720"/>
                  </a:lnTo>
                  <a:lnTo>
                    <a:pt x="1224" y="714"/>
                  </a:lnTo>
                  <a:lnTo>
                    <a:pt x="1224" y="708"/>
                  </a:lnTo>
                  <a:lnTo>
                    <a:pt x="1254" y="726"/>
                  </a:lnTo>
                  <a:lnTo>
                    <a:pt x="1266" y="720"/>
                  </a:lnTo>
                  <a:lnTo>
                    <a:pt x="1272" y="708"/>
                  </a:lnTo>
                  <a:lnTo>
                    <a:pt x="1284" y="702"/>
                  </a:lnTo>
                  <a:lnTo>
                    <a:pt x="1296" y="702"/>
                  </a:lnTo>
                  <a:lnTo>
                    <a:pt x="1296" y="714"/>
                  </a:lnTo>
                  <a:lnTo>
                    <a:pt x="1302" y="720"/>
                  </a:lnTo>
                  <a:lnTo>
                    <a:pt x="1302" y="738"/>
                  </a:lnTo>
                  <a:lnTo>
                    <a:pt x="1308" y="744"/>
                  </a:lnTo>
                  <a:lnTo>
                    <a:pt x="1332" y="744"/>
                  </a:lnTo>
                  <a:lnTo>
                    <a:pt x="1350" y="738"/>
                  </a:lnTo>
                  <a:lnTo>
                    <a:pt x="1362" y="732"/>
                  </a:lnTo>
                  <a:lnTo>
                    <a:pt x="1392" y="732"/>
                  </a:lnTo>
                  <a:lnTo>
                    <a:pt x="1404" y="744"/>
                  </a:lnTo>
                  <a:lnTo>
                    <a:pt x="1404" y="786"/>
                  </a:lnTo>
                  <a:lnTo>
                    <a:pt x="1398" y="798"/>
                  </a:lnTo>
                  <a:lnTo>
                    <a:pt x="1398" y="810"/>
                  </a:lnTo>
                  <a:lnTo>
                    <a:pt x="1404" y="810"/>
                  </a:lnTo>
                  <a:lnTo>
                    <a:pt x="1410" y="804"/>
                  </a:lnTo>
                  <a:lnTo>
                    <a:pt x="1422" y="798"/>
                  </a:lnTo>
                  <a:lnTo>
                    <a:pt x="1440" y="792"/>
                  </a:lnTo>
                  <a:lnTo>
                    <a:pt x="1452" y="786"/>
                  </a:lnTo>
                  <a:lnTo>
                    <a:pt x="1476" y="762"/>
                  </a:lnTo>
                  <a:lnTo>
                    <a:pt x="1482" y="750"/>
                  </a:lnTo>
                  <a:lnTo>
                    <a:pt x="1500" y="732"/>
                  </a:lnTo>
                  <a:lnTo>
                    <a:pt x="1500" y="726"/>
                  </a:lnTo>
                  <a:close/>
                  <a:moveTo>
                    <a:pt x="1476" y="1116"/>
                  </a:moveTo>
                  <a:lnTo>
                    <a:pt x="1470" y="1116"/>
                  </a:lnTo>
                  <a:lnTo>
                    <a:pt x="1458" y="1122"/>
                  </a:lnTo>
                  <a:lnTo>
                    <a:pt x="1452" y="1128"/>
                  </a:lnTo>
                  <a:lnTo>
                    <a:pt x="1458" y="1134"/>
                  </a:lnTo>
                  <a:lnTo>
                    <a:pt x="1470" y="1140"/>
                  </a:lnTo>
                  <a:lnTo>
                    <a:pt x="1476" y="1140"/>
                  </a:lnTo>
                  <a:lnTo>
                    <a:pt x="1488" y="1146"/>
                  </a:lnTo>
                  <a:lnTo>
                    <a:pt x="1500" y="1134"/>
                  </a:lnTo>
                  <a:lnTo>
                    <a:pt x="1500" y="1128"/>
                  </a:lnTo>
                  <a:lnTo>
                    <a:pt x="1488" y="1116"/>
                  </a:lnTo>
                  <a:lnTo>
                    <a:pt x="1476" y="1116"/>
                  </a:lnTo>
                  <a:close/>
                  <a:moveTo>
                    <a:pt x="1716" y="1230"/>
                  </a:moveTo>
                  <a:lnTo>
                    <a:pt x="1680" y="1218"/>
                  </a:lnTo>
                  <a:lnTo>
                    <a:pt x="1674" y="1224"/>
                  </a:lnTo>
                  <a:lnTo>
                    <a:pt x="1674" y="1230"/>
                  </a:lnTo>
                  <a:lnTo>
                    <a:pt x="1686" y="1254"/>
                  </a:lnTo>
                  <a:lnTo>
                    <a:pt x="1692" y="1260"/>
                  </a:lnTo>
                  <a:lnTo>
                    <a:pt x="1704" y="1266"/>
                  </a:lnTo>
                  <a:lnTo>
                    <a:pt x="1716" y="1266"/>
                  </a:lnTo>
                  <a:lnTo>
                    <a:pt x="1722" y="1260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46" y="1278"/>
                  </a:lnTo>
                  <a:lnTo>
                    <a:pt x="1752" y="1290"/>
                  </a:lnTo>
                  <a:lnTo>
                    <a:pt x="1764" y="1296"/>
                  </a:lnTo>
                  <a:lnTo>
                    <a:pt x="1788" y="1296"/>
                  </a:lnTo>
                  <a:lnTo>
                    <a:pt x="1794" y="1290"/>
                  </a:lnTo>
                  <a:lnTo>
                    <a:pt x="1800" y="1290"/>
                  </a:lnTo>
                  <a:lnTo>
                    <a:pt x="1800" y="1284"/>
                  </a:lnTo>
                  <a:lnTo>
                    <a:pt x="1794" y="1272"/>
                  </a:lnTo>
                  <a:lnTo>
                    <a:pt x="1782" y="1260"/>
                  </a:lnTo>
                  <a:lnTo>
                    <a:pt x="1770" y="1236"/>
                  </a:lnTo>
                  <a:lnTo>
                    <a:pt x="1746" y="1224"/>
                  </a:lnTo>
                  <a:lnTo>
                    <a:pt x="1728" y="1224"/>
                  </a:lnTo>
                  <a:lnTo>
                    <a:pt x="1716" y="1230"/>
                  </a:lnTo>
                  <a:close/>
                  <a:moveTo>
                    <a:pt x="1962" y="1122"/>
                  </a:moveTo>
                  <a:lnTo>
                    <a:pt x="1932" y="1146"/>
                  </a:lnTo>
                  <a:lnTo>
                    <a:pt x="1920" y="1134"/>
                  </a:lnTo>
                  <a:lnTo>
                    <a:pt x="1890" y="1134"/>
                  </a:lnTo>
                  <a:lnTo>
                    <a:pt x="1884" y="1140"/>
                  </a:lnTo>
                  <a:lnTo>
                    <a:pt x="1872" y="1146"/>
                  </a:lnTo>
                  <a:lnTo>
                    <a:pt x="1866" y="1152"/>
                  </a:lnTo>
                  <a:lnTo>
                    <a:pt x="1860" y="1140"/>
                  </a:lnTo>
                  <a:lnTo>
                    <a:pt x="1836" y="1116"/>
                  </a:lnTo>
                  <a:lnTo>
                    <a:pt x="1824" y="1116"/>
                  </a:lnTo>
                  <a:lnTo>
                    <a:pt x="1800" y="1128"/>
                  </a:lnTo>
                  <a:lnTo>
                    <a:pt x="1764" y="1164"/>
                  </a:lnTo>
                  <a:lnTo>
                    <a:pt x="1728" y="1158"/>
                  </a:lnTo>
                  <a:lnTo>
                    <a:pt x="1716" y="1176"/>
                  </a:lnTo>
                  <a:lnTo>
                    <a:pt x="1746" y="1176"/>
                  </a:lnTo>
                  <a:lnTo>
                    <a:pt x="1752" y="1182"/>
                  </a:lnTo>
                  <a:lnTo>
                    <a:pt x="1764" y="1182"/>
                  </a:lnTo>
                  <a:lnTo>
                    <a:pt x="1776" y="1188"/>
                  </a:lnTo>
                  <a:lnTo>
                    <a:pt x="1788" y="1188"/>
                  </a:lnTo>
                  <a:lnTo>
                    <a:pt x="1794" y="1182"/>
                  </a:lnTo>
                  <a:lnTo>
                    <a:pt x="1806" y="1176"/>
                  </a:lnTo>
                  <a:lnTo>
                    <a:pt x="1812" y="1170"/>
                  </a:lnTo>
                  <a:lnTo>
                    <a:pt x="1908" y="1164"/>
                  </a:lnTo>
                  <a:lnTo>
                    <a:pt x="1956" y="1158"/>
                  </a:lnTo>
                  <a:lnTo>
                    <a:pt x="1992" y="1128"/>
                  </a:lnTo>
                  <a:lnTo>
                    <a:pt x="1992" y="1110"/>
                  </a:lnTo>
                  <a:lnTo>
                    <a:pt x="1962" y="1122"/>
                  </a:lnTo>
                  <a:close/>
                  <a:moveTo>
                    <a:pt x="1578" y="1158"/>
                  </a:moveTo>
                  <a:lnTo>
                    <a:pt x="1566" y="1152"/>
                  </a:lnTo>
                  <a:lnTo>
                    <a:pt x="1560" y="1146"/>
                  </a:lnTo>
                  <a:lnTo>
                    <a:pt x="1548" y="1140"/>
                  </a:lnTo>
                  <a:lnTo>
                    <a:pt x="1536" y="1140"/>
                  </a:lnTo>
                  <a:lnTo>
                    <a:pt x="1512" y="1164"/>
                  </a:lnTo>
                  <a:lnTo>
                    <a:pt x="1506" y="1176"/>
                  </a:lnTo>
                  <a:lnTo>
                    <a:pt x="1500" y="1182"/>
                  </a:lnTo>
                  <a:lnTo>
                    <a:pt x="1554" y="1188"/>
                  </a:lnTo>
                  <a:lnTo>
                    <a:pt x="1554" y="1212"/>
                  </a:lnTo>
                  <a:lnTo>
                    <a:pt x="1578" y="1206"/>
                  </a:lnTo>
                  <a:lnTo>
                    <a:pt x="1590" y="1188"/>
                  </a:lnTo>
                  <a:lnTo>
                    <a:pt x="1614" y="1206"/>
                  </a:lnTo>
                  <a:lnTo>
                    <a:pt x="1644" y="1170"/>
                  </a:lnTo>
                  <a:lnTo>
                    <a:pt x="1596" y="1152"/>
                  </a:lnTo>
                  <a:lnTo>
                    <a:pt x="1578" y="115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121" name="India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6014347" y="3403575"/>
              <a:ext cx="634801" cy="732424"/>
            </a:xfrm>
            <a:custGeom>
              <a:avLst/>
              <a:gdLst>
                <a:gd name="T0" fmla="*/ 2147483647 w 1956"/>
                <a:gd name="T1" fmla="*/ 2147483647 h 2358"/>
                <a:gd name="T2" fmla="*/ 2147483647 w 1956"/>
                <a:gd name="T3" fmla="*/ 2147483647 h 2358"/>
                <a:gd name="T4" fmla="*/ 2147483647 w 1956"/>
                <a:gd name="T5" fmla="*/ 2147483647 h 2358"/>
                <a:gd name="T6" fmla="*/ 2147483647 w 1956"/>
                <a:gd name="T7" fmla="*/ 2147483647 h 2358"/>
                <a:gd name="T8" fmla="*/ 2147483647 w 1956"/>
                <a:gd name="T9" fmla="*/ 2147483647 h 2358"/>
                <a:gd name="T10" fmla="*/ 2147483647 w 1956"/>
                <a:gd name="T11" fmla="*/ 2147483647 h 2358"/>
                <a:gd name="T12" fmla="*/ 2147483647 w 1956"/>
                <a:gd name="T13" fmla="*/ 2147483647 h 2358"/>
                <a:gd name="T14" fmla="*/ 2147483647 w 1956"/>
                <a:gd name="T15" fmla="*/ 2147483647 h 2358"/>
                <a:gd name="T16" fmla="*/ 2147483647 w 1956"/>
                <a:gd name="T17" fmla="*/ 2147483647 h 2358"/>
                <a:gd name="T18" fmla="*/ 2147483647 w 1956"/>
                <a:gd name="T19" fmla="*/ 2147483647 h 2358"/>
                <a:gd name="T20" fmla="*/ 2147483647 w 1956"/>
                <a:gd name="T21" fmla="*/ 2147483647 h 2358"/>
                <a:gd name="T22" fmla="*/ 2147483647 w 1956"/>
                <a:gd name="T23" fmla="*/ 2147483647 h 2358"/>
                <a:gd name="T24" fmla="*/ 2147483647 w 1956"/>
                <a:gd name="T25" fmla="*/ 2147483647 h 2358"/>
                <a:gd name="T26" fmla="*/ 2147483647 w 1956"/>
                <a:gd name="T27" fmla="*/ 2147483647 h 2358"/>
                <a:gd name="T28" fmla="*/ 2147483647 w 1956"/>
                <a:gd name="T29" fmla="*/ 2147483647 h 2358"/>
                <a:gd name="T30" fmla="*/ 2147483647 w 1956"/>
                <a:gd name="T31" fmla="*/ 2147483647 h 2358"/>
                <a:gd name="T32" fmla="*/ 2147483647 w 1956"/>
                <a:gd name="T33" fmla="*/ 2147483647 h 2358"/>
                <a:gd name="T34" fmla="*/ 2147483647 w 1956"/>
                <a:gd name="T35" fmla="*/ 2147483647 h 2358"/>
                <a:gd name="T36" fmla="*/ 2147483647 w 1956"/>
                <a:gd name="T37" fmla="*/ 2147483647 h 2358"/>
                <a:gd name="T38" fmla="*/ 2147483647 w 1956"/>
                <a:gd name="T39" fmla="*/ 2147483647 h 2358"/>
                <a:gd name="T40" fmla="*/ 2147483647 w 1956"/>
                <a:gd name="T41" fmla="*/ 2147483647 h 2358"/>
                <a:gd name="T42" fmla="*/ 2147483647 w 1956"/>
                <a:gd name="T43" fmla="*/ 2147483647 h 2358"/>
                <a:gd name="T44" fmla="*/ 2147483647 w 1956"/>
                <a:gd name="T45" fmla="*/ 2147483647 h 2358"/>
                <a:gd name="T46" fmla="*/ 2147483647 w 1956"/>
                <a:gd name="T47" fmla="*/ 2147483647 h 2358"/>
                <a:gd name="T48" fmla="*/ 2147483647 w 1956"/>
                <a:gd name="T49" fmla="*/ 2147483647 h 2358"/>
                <a:gd name="T50" fmla="*/ 2147483647 w 1956"/>
                <a:gd name="T51" fmla="*/ 2147483647 h 2358"/>
                <a:gd name="T52" fmla="*/ 2147483647 w 1956"/>
                <a:gd name="T53" fmla="*/ 2147483647 h 2358"/>
                <a:gd name="T54" fmla="*/ 2147483647 w 1956"/>
                <a:gd name="T55" fmla="*/ 2147483647 h 2358"/>
                <a:gd name="T56" fmla="*/ 2147483647 w 1956"/>
                <a:gd name="T57" fmla="*/ 2147483647 h 2358"/>
                <a:gd name="T58" fmla="*/ 2147483647 w 1956"/>
                <a:gd name="T59" fmla="*/ 2147483647 h 2358"/>
                <a:gd name="T60" fmla="*/ 2147483647 w 1956"/>
                <a:gd name="T61" fmla="*/ 2147483647 h 2358"/>
                <a:gd name="T62" fmla="*/ 2147483647 w 1956"/>
                <a:gd name="T63" fmla="*/ 2147483647 h 2358"/>
                <a:gd name="T64" fmla="*/ 2147483647 w 1956"/>
                <a:gd name="T65" fmla="*/ 2147483647 h 2358"/>
                <a:gd name="T66" fmla="*/ 2147483647 w 1956"/>
                <a:gd name="T67" fmla="*/ 2147483647 h 2358"/>
                <a:gd name="T68" fmla="*/ 2147483647 w 1956"/>
                <a:gd name="T69" fmla="*/ 2147483647 h 2358"/>
                <a:gd name="T70" fmla="*/ 2147483647 w 1956"/>
                <a:gd name="T71" fmla="*/ 2147483647 h 2358"/>
                <a:gd name="T72" fmla="*/ 2147483647 w 1956"/>
                <a:gd name="T73" fmla="*/ 2147483647 h 2358"/>
                <a:gd name="T74" fmla="*/ 2147483647 w 1956"/>
                <a:gd name="T75" fmla="*/ 2147483647 h 2358"/>
                <a:gd name="T76" fmla="*/ 2147483647 w 1956"/>
                <a:gd name="T77" fmla="*/ 2147483647 h 2358"/>
                <a:gd name="T78" fmla="*/ 2147483647 w 1956"/>
                <a:gd name="T79" fmla="*/ 2147483647 h 2358"/>
                <a:gd name="T80" fmla="*/ 2147483647 w 1956"/>
                <a:gd name="T81" fmla="*/ 2147483647 h 2358"/>
                <a:gd name="T82" fmla="*/ 2147483647 w 1956"/>
                <a:gd name="T83" fmla="*/ 2147483647 h 2358"/>
                <a:gd name="T84" fmla="*/ 2147483647 w 1956"/>
                <a:gd name="T85" fmla="*/ 2147483647 h 2358"/>
                <a:gd name="T86" fmla="*/ 2147483647 w 1956"/>
                <a:gd name="T87" fmla="*/ 2147483647 h 2358"/>
                <a:gd name="T88" fmla="*/ 2147483647 w 1956"/>
                <a:gd name="T89" fmla="*/ 2147483647 h 2358"/>
                <a:gd name="T90" fmla="*/ 2147483647 w 1956"/>
                <a:gd name="T91" fmla="*/ 2147483647 h 2358"/>
                <a:gd name="T92" fmla="*/ 2147483647 w 1956"/>
                <a:gd name="T93" fmla="*/ 2147483647 h 2358"/>
                <a:gd name="T94" fmla="*/ 2147483647 w 1956"/>
                <a:gd name="T95" fmla="*/ 2147483647 h 2358"/>
                <a:gd name="T96" fmla="*/ 2147483647 w 1956"/>
                <a:gd name="T97" fmla="*/ 2147483647 h 2358"/>
                <a:gd name="T98" fmla="*/ 2147483647 w 1956"/>
                <a:gd name="T99" fmla="*/ 2147483647 h 2358"/>
                <a:gd name="T100" fmla="*/ 2147483647 w 1956"/>
                <a:gd name="T101" fmla="*/ 2147483647 h 2358"/>
                <a:gd name="T102" fmla="*/ 2147483647 w 1956"/>
                <a:gd name="T103" fmla="*/ 2147483647 h 2358"/>
                <a:gd name="T104" fmla="*/ 2147483647 w 1956"/>
                <a:gd name="T105" fmla="*/ 2147483647 h 2358"/>
                <a:gd name="T106" fmla="*/ 2147483647 w 1956"/>
                <a:gd name="T107" fmla="*/ 2147483647 h 2358"/>
                <a:gd name="T108" fmla="*/ 2147483647 w 1956"/>
                <a:gd name="T109" fmla="*/ 2147483647 h 2358"/>
                <a:gd name="T110" fmla="*/ 2147483647 w 1956"/>
                <a:gd name="T111" fmla="*/ 2147483647 h 2358"/>
                <a:gd name="T112" fmla="*/ 2147483647 w 1956"/>
                <a:gd name="T113" fmla="*/ 2147483647 h 2358"/>
                <a:gd name="T114" fmla="*/ 2147483647 w 1956"/>
                <a:gd name="T115" fmla="*/ 2147483647 h 2358"/>
                <a:gd name="T116" fmla="*/ 2147483647 w 1956"/>
                <a:gd name="T117" fmla="*/ 2147483647 h 2358"/>
                <a:gd name="T118" fmla="*/ 2147483647 w 1956"/>
                <a:gd name="T119" fmla="*/ 2147483647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56"/>
                <a:gd name="T181" fmla="*/ 0 h 2358"/>
                <a:gd name="T182" fmla="*/ 1956 w 1956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56" h="2358">
                  <a:moveTo>
                    <a:pt x="1806" y="1788"/>
                  </a:moveTo>
                  <a:lnTo>
                    <a:pt x="1794" y="1800"/>
                  </a:lnTo>
                  <a:lnTo>
                    <a:pt x="1782" y="1824"/>
                  </a:lnTo>
                  <a:lnTo>
                    <a:pt x="1782" y="1884"/>
                  </a:lnTo>
                  <a:lnTo>
                    <a:pt x="1788" y="1980"/>
                  </a:lnTo>
                  <a:lnTo>
                    <a:pt x="1800" y="1950"/>
                  </a:lnTo>
                  <a:lnTo>
                    <a:pt x="1800" y="1848"/>
                  </a:lnTo>
                  <a:lnTo>
                    <a:pt x="1806" y="1836"/>
                  </a:lnTo>
                  <a:lnTo>
                    <a:pt x="1806" y="1830"/>
                  </a:lnTo>
                  <a:lnTo>
                    <a:pt x="1812" y="1818"/>
                  </a:lnTo>
                  <a:lnTo>
                    <a:pt x="1812" y="1806"/>
                  </a:lnTo>
                  <a:lnTo>
                    <a:pt x="1818" y="1800"/>
                  </a:lnTo>
                  <a:lnTo>
                    <a:pt x="1812" y="1788"/>
                  </a:lnTo>
                  <a:lnTo>
                    <a:pt x="1806" y="1788"/>
                  </a:lnTo>
                  <a:close/>
                  <a:moveTo>
                    <a:pt x="1794" y="2028"/>
                  </a:moveTo>
                  <a:lnTo>
                    <a:pt x="1788" y="2028"/>
                  </a:lnTo>
                  <a:lnTo>
                    <a:pt x="1782" y="2040"/>
                  </a:lnTo>
                  <a:lnTo>
                    <a:pt x="1782" y="2046"/>
                  </a:lnTo>
                  <a:lnTo>
                    <a:pt x="1788" y="2058"/>
                  </a:lnTo>
                  <a:lnTo>
                    <a:pt x="1788" y="2064"/>
                  </a:lnTo>
                  <a:lnTo>
                    <a:pt x="1794" y="2076"/>
                  </a:lnTo>
                  <a:lnTo>
                    <a:pt x="1800" y="2064"/>
                  </a:lnTo>
                  <a:lnTo>
                    <a:pt x="1800" y="2028"/>
                  </a:lnTo>
                  <a:lnTo>
                    <a:pt x="1794" y="2028"/>
                  </a:lnTo>
                  <a:close/>
                  <a:moveTo>
                    <a:pt x="1890" y="2310"/>
                  </a:moveTo>
                  <a:lnTo>
                    <a:pt x="1884" y="2316"/>
                  </a:lnTo>
                  <a:lnTo>
                    <a:pt x="1884" y="2334"/>
                  </a:lnTo>
                  <a:lnTo>
                    <a:pt x="1890" y="2346"/>
                  </a:lnTo>
                  <a:lnTo>
                    <a:pt x="1896" y="2352"/>
                  </a:lnTo>
                  <a:lnTo>
                    <a:pt x="1908" y="2358"/>
                  </a:lnTo>
                  <a:lnTo>
                    <a:pt x="1908" y="2346"/>
                  </a:lnTo>
                  <a:lnTo>
                    <a:pt x="1902" y="2334"/>
                  </a:lnTo>
                  <a:lnTo>
                    <a:pt x="1902" y="2322"/>
                  </a:lnTo>
                  <a:lnTo>
                    <a:pt x="1896" y="2310"/>
                  </a:lnTo>
                  <a:lnTo>
                    <a:pt x="1890" y="2310"/>
                  </a:lnTo>
                  <a:close/>
                  <a:moveTo>
                    <a:pt x="1920" y="672"/>
                  </a:moveTo>
                  <a:lnTo>
                    <a:pt x="1932" y="660"/>
                  </a:lnTo>
                  <a:lnTo>
                    <a:pt x="1944" y="654"/>
                  </a:lnTo>
                  <a:lnTo>
                    <a:pt x="1950" y="648"/>
                  </a:lnTo>
                  <a:lnTo>
                    <a:pt x="1956" y="648"/>
                  </a:lnTo>
                  <a:lnTo>
                    <a:pt x="1956" y="618"/>
                  </a:lnTo>
                  <a:lnTo>
                    <a:pt x="1950" y="618"/>
                  </a:lnTo>
                  <a:lnTo>
                    <a:pt x="1944" y="612"/>
                  </a:lnTo>
                  <a:lnTo>
                    <a:pt x="1878" y="612"/>
                  </a:lnTo>
                  <a:lnTo>
                    <a:pt x="1878" y="606"/>
                  </a:lnTo>
                  <a:lnTo>
                    <a:pt x="1890" y="594"/>
                  </a:lnTo>
                  <a:lnTo>
                    <a:pt x="1896" y="594"/>
                  </a:lnTo>
                  <a:lnTo>
                    <a:pt x="1878" y="564"/>
                  </a:lnTo>
                  <a:lnTo>
                    <a:pt x="1848" y="564"/>
                  </a:lnTo>
                  <a:lnTo>
                    <a:pt x="1842" y="558"/>
                  </a:lnTo>
                  <a:lnTo>
                    <a:pt x="1848" y="558"/>
                  </a:lnTo>
                  <a:lnTo>
                    <a:pt x="1860" y="546"/>
                  </a:lnTo>
                  <a:lnTo>
                    <a:pt x="1854" y="540"/>
                  </a:lnTo>
                  <a:lnTo>
                    <a:pt x="1818" y="522"/>
                  </a:lnTo>
                  <a:lnTo>
                    <a:pt x="1806" y="534"/>
                  </a:lnTo>
                  <a:lnTo>
                    <a:pt x="1806" y="558"/>
                  </a:lnTo>
                  <a:lnTo>
                    <a:pt x="1788" y="558"/>
                  </a:lnTo>
                  <a:lnTo>
                    <a:pt x="1770" y="546"/>
                  </a:lnTo>
                  <a:lnTo>
                    <a:pt x="1758" y="540"/>
                  </a:lnTo>
                  <a:lnTo>
                    <a:pt x="1740" y="540"/>
                  </a:lnTo>
                  <a:lnTo>
                    <a:pt x="1728" y="552"/>
                  </a:lnTo>
                  <a:lnTo>
                    <a:pt x="1716" y="558"/>
                  </a:lnTo>
                  <a:lnTo>
                    <a:pt x="1692" y="582"/>
                  </a:lnTo>
                  <a:lnTo>
                    <a:pt x="1656" y="582"/>
                  </a:lnTo>
                  <a:lnTo>
                    <a:pt x="1656" y="588"/>
                  </a:lnTo>
                  <a:lnTo>
                    <a:pt x="1662" y="594"/>
                  </a:lnTo>
                  <a:lnTo>
                    <a:pt x="1662" y="618"/>
                  </a:lnTo>
                  <a:lnTo>
                    <a:pt x="1656" y="624"/>
                  </a:lnTo>
                  <a:lnTo>
                    <a:pt x="1626" y="624"/>
                  </a:lnTo>
                  <a:lnTo>
                    <a:pt x="1632" y="636"/>
                  </a:lnTo>
                  <a:lnTo>
                    <a:pt x="1632" y="654"/>
                  </a:lnTo>
                  <a:lnTo>
                    <a:pt x="1620" y="666"/>
                  </a:lnTo>
                  <a:lnTo>
                    <a:pt x="1566" y="666"/>
                  </a:lnTo>
                  <a:lnTo>
                    <a:pt x="1566" y="684"/>
                  </a:lnTo>
                  <a:lnTo>
                    <a:pt x="1572" y="690"/>
                  </a:lnTo>
                  <a:lnTo>
                    <a:pt x="1596" y="690"/>
                  </a:lnTo>
                  <a:lnTo>
                    <a:pt x="1596" y="714"/>
                  </a:lnTo>
                  <a:lnTo>
                    <a:pt x="1608" y="726"/>
                  </a:lnTo>
                  <a:lnTo>
                    <a:pt x="1608" y="732"/>
                  </a:lnTo>
                  <a:lnTo>
                    <a:pt x="1584" y="744"/>
                  </a:lnTo>
                  <a:lnTo>
                    <a:pt x="1572" y="744"/>
                  </a:lnTo>
                  <a:lnTo>
                    <a:pt x="1566" y="738"/>
                  </a:lnTo>
                  <a:lnTo>
                    <a:pt x="1554" y="738"/>
                  </a:lnTo>
                  <a:lnTo>
                    <a:pt x="1542" y="744"/>
                  </a:lnTo>
                  <a:lnTo>
                    <a:pt x="1512" y="744"/>
                  </a:lnTo>
                  <a:lnTo>
                    <a:pt x="1500" y="738"/>
                  </a:lnTo>
                  <a:lnTo>
                    <a:pt x="1482" y="738"/>
                  </a:lnTo>
                  <a:lnTo>
                    <a:pt x="1476" y="744"/>
                  </a:lnTo>
                  <a:lnTo>
                    <a:pt x="1464" y="750"/>
                  </a:lnTo>
                  <a:lnTo>
                    <a:pt x="1440" y="750"/>
                  </a:lnTo>
                  <a:lnTo>
                    <a:pt x="1428" y="738"/>
                  </a:lnTo>
                  <a:lnTo>
                    <a:pt x="1428" y="732"/>
                  </a:lnTo>
                  <a:lnTo>
                    <a:pt x="1428" y="738"/>
                  </a:lnTo>
                  <a:lnTo>
                    <a:pt x="1416" y="738"/>
                  </a:lnTo>
                  <a:lnTo>
                    <a:pt x="1392" y="726"/>
                  </a:lnTo>
                  <a:lnTo>
                    <a:pt x="1374" y="708"/>
                  </a:lnTo>
                  <a:lnTo>
                    <a:pt x="1374" y="696"/>
                  </a:lnTo>
                  <a:lnTo>
                    <a:pt x="1380" y="696"/>
                  </a:lnTo>
                  <a:lnTo>
                    <a:pt x="1374" y="696"/>
                  </a:lnTo>
                  <a:lnTo>
                    <a:pt x="1368" y="690"/>
                  </a:lnTo>
                  <a:lnTo>
                    <a:pt x="1368" y="642"/>
                  </a:lnTo>
                  <a:lnTo>
                    <a:pt x="1362" y="636"/>
                  </a:lnTo>
                  <a:lnTo>
                    <a:pt x="1350" y="630"/>
                  </a:lnTo>
                  <a:lnTo>
                    <a:pt x="1338" y="630"/>
                  </a:lnTo>
                  <a:lnTo>
                    <a:pt x="1326" y="642"/>
                  </a:lnTo>
                  <a:lnTo>
                    <a:pt x="1314" y="648"/>
                  </a:lnTo>
                  <a:lnTo>
                    <a:pt x="1326" y="666"/>
                  </a:lnTo>
                  <a:lnTo>
                    <a:pt x="1326" y="714"/>
                  </a:lnTo>
                  <a:lnTo>
                    <a:pt x="1338" y="738"/>
                  </a:lnTo>
                  <a:lnTo>
                    <a:pt x="1338" y="774"/>
                  </a:lnTo>
                  <a:lnTo>
                    <a:pt x="1272" y="774"/>
                  </a:lnTo>
                  <a:lnTo>
                    <a:pt x="1272" y="762"/>
                  </a:lnTo>
                  <a:lnTo>
                    <a:pt x="1266" y="756"/>
                  </a:lnTo>
                  <a:lnTo>
                    <a:pt x="1260" y="756"/>
                  </a:lnTo>
                  <a:lnTo>
                    <a:pt x="1248" y="762"/>
                  </a:lnTo>
                  <a:lnTo>
                    <a:pt x="1242" y="774"/>
                  </a:lnTo>
                  <a:lnTo>
                    <a:pt x="1236" y="762"/>
                  </a:lnTo>
                  <a:lnTo>
                    <a:pt x="1224" y="756"/>
                  </a:lnTo>
                  <a:lnTo>
                    <a:pt x="1206" y="750"/>
                  </a:lnTo>
                  <a:lnTo>
                    <a:pt x="1188" y="750"/>
                  </a:lnTo>
                  <a:lnTo>
                    <a:pt x="1182" y="756"/>
                  </a:lnTo>
                  <a:lnTo>
                    <a:pt x="1152" y="738"/>
                  </a:lnTo>
                  <a:lnTo>
                    <a:pt x="1134" y="750"/>
                  </a:lnTo>
                  <a:lnTo>
                    <a:pt x="1080" y="696"/>
                  </a:lnTo>
                  <a:lnTo>
                    <a:pt x="1056" y="696"/>
                  </a:lnTo>
                  <a:lnTo>
                    <a:pt x="1056" y="690"/>
                  </a:lnTo>
                  <a:lnTo>
                    <a:pt x="1044" y="678"/>
                  </a:lnTo>
                  <a:lnTo>
                    <a:pt x="1038" y="678"/>
                  </a:lnTo>
                  <a:lnTo>
                    <a:pt x="1032" y="684"/>
                  </a:lnTo>
                  <a:lnTo>
                    <a:pt x="1032" y="702"/>
                  </a:lnTo>
                  <a:lnTo>
                    <a:pt x="1032" y="696"/>
                  </a:lnTo>
                  <a:lnTo>
                    <a:pt x="1026" y="690"/>
                  </a:lnTo>
                  <a:lnTo>
                    <a:pt x="1008" y="690"/>
                  </a:lnTo>
                  <a:lnTo>
                    <a:pt x="996" y="702"/>
                  </a:lnTo>
                  <a:lnTo>
                    <a:pt x="990" y="690"/>
                  </a:lnTo>
                  <a:lnTo>
                    <a:pt x="984" y="684"/>
                  </a:lnTo>
                  <a:lnTo>
                    <a:pt x="960" y="684"/>
                  </a:lnTo>
                  <a:lnTo>
                    <a:pt x="954" y="678"/>
                  </a:lnTo>
                  <a:lnTo>
                    <a:pt x="954" y="666"/>
                  </a:lnTo>
                  <a:lnTo>
                    <a:pt x="942" y="666"/>
                  </a:lnTo>
                  <a:lnTo>
                    <a:pt x="936" y="672"/>
                  </a:lnTo>
                  <a:lnTo>
                    <a:pt x="918" y="672"/>
                  </a:lnTo>
                  <a:lnTo>
                    <a:pt x="912" y="666"/>
                  </a:lnTo>
                  <a:lnTo>
                    <a:pt x="906" y="654"/>
                  </a:lnTo>
                  <a:lnTo>
                    <a:pt x="900" y="648"/>
                  </a:lnTo>
                  <a:lnTo>
                    <a:pt x="888" y="648"/>
                  </a:lnTo>
                  <a:lnTo>
                    <a:pt x="846" y="630"/>
                  </a:lnTo>
                  <a:lnTo>
                    <a:pt x="834" y="612"/>
                  </a:lnTo>
                  <a:lnTo>
                    <a:pt x="810" y="612"/>
                  </a:lnTo>
                  <a:lnTo>
                    <a:pt x="792" y="588"/>
                  </a:lnTo>
                  <a:lnTo>
                    <a:pt x="780" y="594"/>
                  </a:lnTo>
                  <a:lnTo>
                    <a:pt x="750" y="564"/>
                  </a:lnTo>
                  <a:lnTo>
                    <a:pt x="750" y="552"/>
                  </a:lnTo>
                  <a:lnTo>
                    <a:pt x="762" y="540"/>
                  </a:lnTo>
                  <a:lnTo>
                    <a:pt x="768" y="540"/>
                  </a:lnTo>
                  <a:lnTo>
                    <a:pt x="756" y="528"/>
                  </a:lnTo>
                  <a:lnTo>
                    <a:pt x="756" y="522"/>
                  </a:lnTo>
                  <a:lnTo>
                    <a:pt x="762" y="516"/>
                  </a:lnTo>
                  <a:lnTo>
                    <a:pt x="756" y="504"/>
                  </a:lnTo>
                  <a:lnTo>
                    <a:pt x="780" y="480"/>
                  </a:lnTo>
                  <a:lnTo>
                    <a:pt x="786" y="456"/>
                  </a:lnTo>
                  <a:lnTo>
                    <a:pt x="762" y="438"/>
                  </a:lnTo>
                  <a:lnTo>
                    <a:pt x="750" y="438"/>
                  </a:lnTo>
                  <a:lnTo>
                    <a:pt x="738" y="432"/>
                  </a:lnTo>
                  <a:lnTo>
                    <a:pt x="738" y="414"/>
                  </a:lnTo>
                  <a:lnTo>
                    <a:pt x="720" y="420"/>
                  </a:lnTo>
                  <a:lnTo>
                    <a:pt x="702" y="402"/>
                  </a:lnTo>
                  <a:lnTo>
                    <a:pt x="696" y="402"/>
                  </a:lnTo>
                  <a:lnTo>
                    <a:pt x="690" y="396"/>
                  </a:lnTo>
                  <a:lnTo>
                    <a:pt x="678" y="396"/>
                  </a:lnTo>
                  <a:lnTo>
                    <a:pt x="666" y="390"/>
                  </a:lnTo>
                  <a:lnTo>
                    <a:pt x="654" y="378"/>
                  </a:lnTo>
                  <a:lnTo>
                    <a:pt x="648" y="366"/>
                  </a:lnTo>
                  <a:lnTo>
                    <a:pt x="618" y="366"/>
                  </a:lnTo>
                  <a:lnTo>
                    <a:pt x="612" y="360"/>
                  </a:lnTo>
                  <a:lnTo>
                    <a:pt x="612" y="342"/>
                  </a:lnTo>
                  <a:lnTo>
                    <a:pt x="618" y="336"/>
                  </a:lnTo>
                  <a:lnTo>
                    <a:pt x="618" y="324"/>
                  </a:lnTo>
                  <a:lnTo>
                    <a:pt x="612" y="324"/>
                  </a:lnTo>
                  <a:lnTo>
                    <a:pt x="600" y="312"/>
                  </a:lnTo>
                  <a:lnTo>
                    <a:pt x="594" y="300"/>
                  </a:lnTo>
                  <a:lnTo>
                    <a:pt x="588" y="294"/>
                  </a:lnTo>
                  <a:lnTo>
                    <a:pt x="588" y="276"/>
                  </a:lnTo>
                  <a:lnTo>
                    <a:pt x="594" y="276"/>
                  </a:lnTo>
                  <a:lnTo>
                    <a:pt x="600" y="270"/>
                  </a:lnTo>
                  <a:lnTo>
                    <a:pt x="612" y="270"/>
                  </a:lnTo>
                  <a:lnTo>
                    <a:pt x="612" y="288"/>
                  </a:lnTo>
                  <a:lnTo>
                    <a:pt x="624" y="300"/>
                  </a:lnTo>
                  <a:lnTo>
                    <a:pt x="636" y="282"/>
                  </a:lnTo>
                  <a:lnTo>
                    <a:pt x="642" y="282"/>
                  </a:lnTo>
                  <a:lnTo>
                    <a:pt x="648" y="276"/>
                  </a:lnTo>
                  <a:lnTo>
                    <a:pt x="660" y="270"/>
                  </a:lnTo>
                  <a:lnTo>
                    <a:pt x="660" y="258"/>
                  </a:lnTo>
                  <a:lnTo>
                    <a:pt x="642" y="240"/>
                  </a:lnTo>
                  <a:lnTo>
                    <a:pt x="636" y="228"/>
                  </a:lnTo>
                  <a:lnTo>
                    <a:pt x="630" y="222"/>
                  </a:lnTo>
                  <a:lnTo>
                    <a:pt x="618" y="222"/>
                  </a:lnTo>
                  <a:lnTo>
                    <a:pt x="594" y="210"/>
                  </a:lnTo>
                  <a:lnTo>
                    <a:pt x="594" y="186"/>
                  </a:lnTo>
                  <a:lnTo>
                    <a:pt x="612" y="180"/>
                  </a:lnTo>
                  <a:lnTo>
                    <a:pt x="594" y="156"/>
                  </a:lnTo>
                  <a:lnTo>
                    <a:pt x="624" y="156"/>
                  </a:lnTo>
                  <a:lnTo>
                    <a:pt x="636" y="150"/>
                  </a:lnTo>
                  <a:lnTo>
                    <a:pt x="642" y="138"/>
                  </a:lnTo>
                  <a:lnTo>
                    <a:pt x="642" y="114"/>
                  </a:lnTo>
                  <a:lnTo>
                    <a:pt x="636" y="108"/>
                  </a:lnTo>
                  <a:lnTo>
                    <a:pt x="636" y="102"/>
                  </a:lnTo>
                  <a:lnTo>
                    <a:pt x="654" y="102"/>
                  </a:lnTo>
                  <a:lnTo>
                    <a:pt x="660" y="96"/>
                  </a:lnTo>
                  <a:lnTo>
                    <a:pt x="660" y="36"/>
                  </a:lnTo>
                  <a:lnTo>
                    <a:pt x="618" y="36"/>
                  </a:lnTo>
                  <a:lnTo>
                    <a:pt x="594" y="12"/>
                  </a:lnTo>
                  <a:lnTo>
                    <a:pt x="576" y="0"/>
                  </a:lnTo>
                  <a:lnTo>
                    <a:pt x="564" y="0"/>
                  </a:lnTo>
                  <a:lnTo>
                    <a:pt x="540" y="12"/>
                  </a:lnTo>
                  <a:lnTo>
                    <a:pt x="522" y="18"/>
                  </a:lnTo>
                  <a:lnTo>
                    <a:pt x="516" y="30"/>
                  </a:lnTo>
                  <a:lnTo>
                    <a:pt x="504" y="36"/>
                  </a:lnTo>
                  <a:lnTo>
                    <a:pt x="480" y="36"/>
                  </a:lnTo>
                  <a:lnTo>
                    <a:pt x="456" y="72"/>
                  </a:lnTo>
                  <a:lnTo>
                    <a:pt x="432" y="78"/>
                  </a:lnTo>
                  <a:lnTo>
                    <a:pt x="432" y="96"/>
                  </a:lnTo>
                  <a:lnTo>
                    <a:pt x="408" y="96"/>
                  </a:lnTo>
                  <a:lnTo>
                    <a:pt x="402" y="102"/>
                  </a:lnTo>
                  <a:lnTo>
                    <a:pt x="396" y="96"/>
                  </a:lnTo>
                  <a:lnTo>
                    <a:pt x="390" y="102"/>
                  </a:lnTo>
                  <a:lnTo>
                    <a:pt x="378" y="108"/>
                  </a:lnTo>
                  <a:lnTo>
                    <a:pt x="372" y="114"/>
                  </a:lnTo>
                  <a:lnTo>
                    <a:pt x="360" y="120"/>
                  </a:lnTo>
                  <a:lnTo>
                    <a:pt x="348" y="120"/>
                  </a:lnTo>
                  <a:lnTo>
                    <a:pt x="348" y="108"/>
                  </a:lnTo>
                  <a:lnTo>
                    <a:pt x="342" y="102"/>
                  </a:lnTo>
                  <a:lnTo>
                    <a:pt x="324" y="102"/>
                  </a:lnTo>
                  <a:lnTo>
                    <a:pt x="306" y="96"/>
                  </a:lnTo>
                  <a:lnTo>
                    <a:pt x="264" y="96"/>
                  </a:lnTo>
                  <a:lnTo>
                    <a:pt x="240" y="108"/>
                  </a:lnTo>
                  <a:lnTo>
                    <a:pt x="234" y="120"/>
                  </a:lnTo>
                  <a:lnTo>
                    <a:pt x="234" y="126"/>
                  </a:lnTo>
                  <a:lnTo>
                    <a:pt x="258" y="144"/>
                  </a:lnTo>
                  <a:lnTo>
                    <a:pt x="252" y="156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0" y="180"/>
                  </a:lnTo>
                  <a:lnTo>
                    <a:pt x="264" y="186"/>
                  </a:lnTo>
                  <a:lnTo>
                    <a:pt x="264" y="192"/>
                  </a:lnTo>
                  <a:lnTo>
                    <a:pt x="276" y="204"/>
                  </a:lnTo>
                  <a:lnTo>
                    <a:pt x="282" y="204"/>
                  </a:lnTo>
                  <a:lnTo>
                    <a:pt x="282" y="210"/>
                  </a:lnTo>
                  <a:lnTo>
                    <a:pt x="276" y="222"/>
                  </a:lnTo>
                  <a:lnTo>
                    <a:pt x="276" y="234"/>
                  </a:lnTo>
                  <a:lnTo>
                    <a:pt x="294" y="234"/>
                  </a:lnTo>
                  <a:lnTo>
                    <a:pt x="306" y="252"/>
                  </a:lnTo>
                  <a:lnTo>
                    <a:pt x="324" y="252"/>
                  </a:lnTo>
                  <a:lnTo>
                    <a:pt x="330" y="288"/>
                  </a:lnTo>
                  <a:lnTo>
                    <a:pt x="366" y="288"/>
                  </a:lnTo>
                  <a:lnTo>
                    <a:pt x="378" y="294"/>
                  </a:lnTo>
                  <a:lnTo>
                    <a:pt x="384" y="300"/>
                  </a:lnTo>
                  <a:lnTo>
                    <a:pt x="384" y="306"/>
                  </a:lnTo>
                  <a:lnTo>
                    <a:pt x="378" y="312"/>
                  </a:lnTo>
                  <a:lnTo>
                    <a:pt x="354" y="324"/>
                  </a:lnTo>
                  <a:lnTo>
                    <a:pt x="342" y="324"/>
                  </a:lnTo>
                  <a:lnTo>
                    <a:pt x="336" y="330"/>
                  </a:lnTo>
                  <a:lnTo>
                    <a:pt x="336" y="366"/>
                  </a:lnTo>
                  <a:lnTo>
                    <a:pt x="342" y="378"/>
                  </a:lnTo>
                  <a:lnTo>
                    <a:pt x="354" y="390"/>
                  </a:lnTo>
                  <a:lnTo>
                    <a:pt x="354" y="396"/>
                  </a:lnTo>
                  <a:lnTo>
                    <a:pt x="324" y="414"/>
                  </a:lnTo>
                  <a:lnTo>
                    <a:pt x="300" y="450"/>
                  </a:lnTo>
                  <a:lnTo>
                    <a:pt x="318" y="474"/>
                  </a:lnTo>
                  <a:lnTo>
                    <a:pt x="306" y="474"/>
                  </a:lnTo>
                  <a:lnTo>
                    <a:pt x="300" y="480"/>
                  </a:lnTo>
                  <a:lnTo>
                    <a:pt x="288" y="486"/>
                  </a:lnTo>
                  <a:lnTo>
                    <a:pt x="282" y="492"/>
                  </a:lnTo>
                  <a:lnTo>
                    <a:pt x="282" y="504"/>
                  </a:lnTo>
                  <a:lnTo>
                    <a:pt x="276" y="522"/>
                  </a:lnTo>
                  <a:lnTo>
                    <a:pt x="276" y="534"/>
                  </a:lnTo>
                  <a:lnTo>
                    <a:pt x="270" y="552"/>
                  </a:lnTo>
                  <a:lnTo>
                    <a:pt x="258" y="564"/>
                  </a:lnTo>
                  <a:lnTo>
                    <a:pt x="234" y="576"/>
                  </a:lnTo>
                  <a:lnTo>
                    <a:pt x="228" y="582"/>
                  </a:lnTo>
                  <a:lnTo>
                    <a:pt x="228" y="588"/>
                  </a:lnTo>
                  <a:lnTo>
                    <a:pt x="222" y="594"/>
                  </a:lnTo>
                  <a:lnTo>
                    <a:pt x="222" y="612"/>
                  </a:lnTo>
                  <a:lnTo>
                    <a:pt x="204" y="624"/>
                  </a:lnTo>
                  <a:lnTo>
                    <a:pt x="204" y="630"/>
                  </a:lnTo>
                  <a:lnTo>
                    <a:pt x="198" y="636"/>
                  </a:lnTo>
                  <a:lnTo>
                    <a:pt x="192" y="648"/>
                  </a:lnTo>
                  <a:lnTo>
                    <a:pt x="186" y="654"/>
                  </a:lnTo>
                  <a:lnTo>
                    <a:pt x="168" y="654"/>
                  </a:lnTo>
                  <a:lnTo>
                    <a:pt x="162" y="648"/>
                  </a:lnTo>
                  <a:lnTo>
                    <a:pt x="156" y="654"/>
                  </a:lnTo>
                  <a:lnTo>
                    <a:pt x="132" y="666"/>
                  </a:lnTo>
                  <a:lnTo>
                    <a:pt x="126" y="666"/>
                  </a:lnTo>
                  <a:lnTo>
                    <a:pt x="120" y="660"/>
                  </a:lnTo>
                  <a:lnTo>
                    <a:pt x="120" y="648"/>
                  </a:lnTo>
                  <a:lnTo>
                    <a:pt x="114" y="642"/>
                  </a:lnTo>
                  <a:lnTo>
                    <a:pt x="108" y="642"/>
                  </a:lnTo>
                  <a:lnTo>
                    <a:pt x="96" y="648"/>
                  </a:lnTo>
                  <a:lnTo>
                    <a:pt x="84" y="660"/>
                  </a:lnTo>
                  <a:lnTo>
                    <a:pt x="84" y="666"/>
                  </a:lnTo>
                  <a:lnTo>
                    <a:pt x="78" y="678"/>
                  </a:lnTo>
                  <a:lnTo>
                    <a:pt x="72" y="684"/>
                  </a:lnTo>
                  <a:lnTo>
                    <a:pt x="66" y="696"/>
                  </a:lnTo>
                  <a:lnTo>
                    <a:pt x="54" y="708"/>
                  </a:lnTo>
                  <a:lnTo>
                    <a:pt x="48" y="720"/>
                  </a:lnTo>
                  <a:lnTo>
                    <a:pt x="48" y="744"/>
                  </a:lnTo>
                  <a:lnTo>
                    <a:pt x="54" y="750"/>
                  </a:lnTo>
                  <a:lnTo>
                    <a:pt x="66" y="756"/>
                  </a:lnTo>
                  <a:lnTo>
                    <a:pt x="72" y="756"/>
                  </a:lnTo>
                  <a:lnTo>
                    <a:pt x="102" y="750"/>
                  </a:lnTo>
                  <a:lnTo>
                    <a:pt x="102" y="768"/>
                  </a:lnTo>
                  <a:lnTo>
                    <a:pt x="96" y="798"/>
                  </a:lnTo>
                  <a:lnTo>
                    <a:pt x="102" y="804"/>
                  </a:lnTo>
                  <a:lnTo>
                    <a:pt x="108" y="816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44" y="852"/>
                  </a:lnTo>
                  <a:lnTo>
                    <a:pt x="168" y="894"/>
                  </a:lnTo>
                  <a:lnTo>
                    <a:pt x="174" y="906"/>
                  </a:lnTo>
                  <a:lnTo>
                    <a:pt x="180" y="912"/>
                  </a:lnTo>
                  <a:lnTo>
                    <a:pt x="180" y="936"/>
                  </a:lnTo>
                  <a:lnTo>
                    <a:pt x="168" y="942"/>
                  </a:lnTo>
                  <a:lnTo>
                    <a:pt x="162" y="948"/>
                  </a:lnTo>
                  <a:lnTo>
                    <a:pt x="144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2" y="930"/>
                  </a:lnTo>
                  <a:lnTo>
                    <a:pt x="120" y="936"/>
                  </a:lnTo>
                  <a:lnTo>
                    <a:pt x="108" y="948"/>
                  </a:lnTo>
                  <a:lnTo>
                    <a:pt x="84" y="948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54" y="948"/>
                  </a:lnTo>
                  <a:lnTo>
                    <a:pt x="48" y="942"/>
                  </a:lnTo>
                  <a:lnTo>
                    <a:pt x="36" y="936"/>
                  </a:lnTo>
                  <a:lnTo>
                    <a:pt x="24" y="936"/>
                  </a:lnTo>
                  <a:lnTo>
                    <a:pt x="12" y="948"/>
                  </a:lnTo>
                  <a:lnTo>
                    <a:pt x="12" y="960"/>
                  </a:lnTo>
                  <a:lnTo>
                    <a:pt x="18" y="966"/>
                  </a:lnTo>
                  <a:lnTo>
                    <a:pt x="0" y="972"/>
                  </a:lnTo>
                  <a:lnTo>
                    <a:pt x="36" y="972"/>
                  </a:lnTo>
                  <a:lnTo>
                    <a:pt x="30" y="984"/>
                  </a:lnTo>
                  <a:lnTo>
                    <a:pt x="30" y="1014"/>
                  </a:lnTo>
                  <a:lnTo>
                    <a:pt x="36" y="1026"/>
                  </a:lnTo>
                  <a:lnTo>
                    <a:pt x="48" y="1032"/>
                  </a:lnTo>
                  <a:lnTo>
                    <a:pt x="66" y="1038"/>
                  </a:lnTo>
                  <a:lnTo>
                    <a:pt x="120" y="1038"/>
                  </a:lnTo>
                  <a:lnTo>
                    <a:pt x="132" y="1032"/>
                  </a:lnTo>
                  <a:lnTo>
                    <a:pt x="150" y="1014"/>
                  </a:lnTo>
                  <a:lnTo>
                    <a:pt x="162" y="1008"/>
                  </a:lnTo>
                  <a:lnTo>
                    <a:pt x="168" y="1020"/>
                  </a:lnTo>
                  <a:lnTo>
                    <a:pt x="168" y="1026"/>
                  </a:lnTo>
                  <a:lnTo>
                    <a:pt x="162" y="1038"/>
                  </a:lnTo>
                  <a:lnTo>
                    <a:pt x="144" y="1056"/>
                  </a:lnTo>
                  <a:lnTo>
                    <a:pt x="120" y="1068"/>
                  </a:lnTo>
                  <a:lnTo>
                    <a:pt x="114" y="1074"/>
                  </a:lnTo>
                  <a:lnTo>
                    <a:pt x="90" y="1074"/>
                  </a:lnTo>
                  <a:lnTo>
                    <a:pt x="78" y="1080"/>
                  </a:lnTo>
                  <a:lnTo>
                    <a:pt x="60" y="1086"/>
                  </a:lnTo>
                  <a:lnTo>
                    <a:pt x="48" y="1092"/>
                  </a:lnTo>
                  <a:lnTo>
                    <a:pt x="42" y="1098"/>
                  </a:lnTo>
                  <a:lnTo>
                    <a:pt x="54" y="1122"/>
                  </a:lnTo>
                  <a:lnTo>
                    <a:pt x="66" y="1128"/>
                  </a:lnTo>
                  <a:lnTo>
                    <a:pt x="78" y="1140"/>
                  </a:lnTo>
                  <a:lnTo>
                    <a:pt x="96" y="1152"/>
                  </a:lnTo>
                  <a:lnTo>
                    <a:pt x="108" y="1164"/>
                  </a:lnTo>
                  <a:lnTo>
                    <a:pt x="132" y="1182"/>
                  </a:lnTo>
                  <a:lnTo>
                    <a:pt x="162" y="1206"/>
                  </a:lnTo>
                  <a:lnTo>
                    <a:pt x="204" y="1224"/>
                  </a:lnTo>
                  <a:lnTo>
                    <a:pt x="240" y="1218"/>
                  </a:lnTo>
                  <a:lnTo>
                    <a:pt x="270" y="1200"/>
                  </a:lnTo>
                  <a:lnTo>
                    <a:pt x="294" y="1176"/>
                  </a:lnTo>
                  <a:lnTo>
                    <a:pt x="300" y="1158"/>
                  </a:lnTo>
                  <a:lnTo>
                    <a:pt x="300" y="1128"/>
                  </a:lnTo>
                  <a:lnTo>
                    <a:pt x="306" y="1116"/>
                  </a:lnTo>
                  <a:lnTo>
                    <a:pt x="318" y="1104"/>
                  </a:lnTo>
                  <a:lnTo>
                    <a:pt x="324" y="1092"/>
                  </a:lnTo>
                  <a:lnTo>
                    <a:pt x="330" y="1086"/>
                  </a:lnTo>
                  <a:lnTo>
                    <a:pt x="342" y="1086"/>
                  </a:lnTo>
                  <a:lnTo>
                    <a:pt x="348" y="1080"/>
                  </a:lnTo>
                  <a:lnTo>
                    <a:pt x="354" y="1080"/>
                  </a:lnTo>
                  <a:lnTo>
                    <a:pt x="360" y="1086"/>
                  </a:lnTo>
                  <a:lnTo>
                    <a:pt x="360" y="1098"/>
                  </a:lnTo>
                  <a:lnTo>
                    <a:pt x="348" y="1110"/>
                  </a:lnTo>
                  <a:lnTo>
                    <a:pt x="336" y="1128"/>
                  </a:lnTo>
                  <a:lnTo>
                    <a:pt x="324" y="1140"/>
                  </a:lnTo>
                  <a:lnTo>
                    <a:pt x="318" y="1152"/>
                  </a:lnTo>
                  <a:lnTo>
                    <a:pt x="318" y="1164"/>
                  </a:lnTo>
                  <a:lnTo>
                    <a:pt x="324" y="1176"/>
                  </a:lnTo>
                  <a:lnTo>
                    <a:pt x="336" y="1182"/>
                  </a:lnTo>
                  <a:lnTo>
                    <a:pt x="342" y="1182"/>
                  </a:lnTo>
                  <a:lnTo>
                    <a:pt x="354" y="1194"/>
                  </a:lnTo>
                  <a:lnTo>
                    <a:pt x="354" y="1206"/>
                  </a:lnTo>
                  <a:lnTo>
                    <a:pt x="348" y="1242"/>
                  </a:lnTo>
                  <a:lnTo>
                    <a:pt x="342" y="1284"/>
                  </a:lnTo>
                  <a:lnTo>
                    <a:pt x="336" y="1338"/>
                  </a:lnTo>
                  <a:lnTo>
                    <a:pt x="342" y="1398"/>
                  </a:lnTo>
                  <a:lnTo>
                    <a:pt x="354" y="1446"/>
                  </a:lnTo>
                  <a:lnTo>
                    <a:pt x="384" y="1536"/>
                  </a:lnTo>
                  <a:lnTo>
                    <a:pt x="402" y="1554"/>
                  </a:lnTo>
                  <a:lnTo>
                    <a:pt x="402" y="1596"/>
                  </a:lnTo>
                  <a:lnTo>
                    <a:pt x="414" y="1620"/>
                  </a:lnTo>
                  <a:lnTo>
                    <a:pt x="426" y="1626"/>
                  </a:lnTo>
                  <a:lnTo>
                    <a:pt x="438" y="1626"/>
                  </a:lnTo>
                  <a:lnTo>
                    <a:pt x="444" y="1632"/>
                  </a:lnTo>
                  <a:lnTo>
                    <a:pt x="450" y="1632"/>
                  </a:lnTo>
                  <a:lnTo>
                    <a:pt x="450" y="1644"/>
                  </a:lnTo>
                  <a:lnTo>
                    <a:pt x="456" y="1656"/>
                  </a:lnTo>
                  <a:lnTo>
                    <a:pt x="456" y="1674"/>
                  </a:lnTo>
                  <a:lnTo>
                    <a:pt x="474" y="1710"/>
                  </a:lnTo>
                  <a:lnTo>
                    <a:pt x="498" y="1722"/>
                  </a:lnTo>
                  <a:lnTo>
                    <a:pt x="504" y="1728"/>
                  </a:lnTo>
                  <a:lnTo>
                    <a:pt x="510" y="1728"/>
                  </a:lnTo>
                  <a:lnTo>
                    <a:pt x="510" y="1746"/>
                  </a:lnTo>
                  <a:lnTo>
                    <a:pt x="516" y="1782"/>
                  </a:lnTo>
                  <a:lnTo>
                    <a:pt x="522" y="1830"/>
                  </a:lnTo>
                  <a:lnTo>
                    <a:pt x="534" y="1872"/>
                  </a:lnTo>
                  <a:lnTo>
                    <a:pt x="552" y="1908"/>
                  </a:lnTo>
                  <a:lnTo>
                    <a:pt x="576" y="1944"/>
                  </a:lnTo>
                  <a:lnTo>
                    <a:pt x="600" y="1974"/>
                  </a:lnTo>
                  <a:lnTo>
                    <a:pt x="612" y="1998"/>
                  </a:lnTo>
                  <a:lnTo>
                    <a:pt x="618" y="2016"/>
                  </a:lnTo>
                  <a:lnTo>
                    <a:pt x="618" y="2070"/>
                  </a:lnTo>
                  <a:lnTo>
                    <a:pt x="624" y="2094"/>
                  </a:lnTo>
                  <a:lnTo>
                    <a:pt x="642" y="2124"/>
                  </a:lnTo>
                  <a:lnTo>
                    <a:pt x="672" y="2166"/>
                  </a:lnTo>
                  <a:lnTo>
                    <a:pt x="696" y="2202"/>
                  </a:lnTo>
                  <a:lnTo>
                    <a:pt x="714" y="2232"/>
                  </a:lnTo>
                  <a:lnTo>
                    <a:pt x="720" y="2244"/>
                  </a:lnTo>
                  <a:lnTo>
                    <a:pt x="726" y="2244"/>
                  </a:lnTo>
                  <a:lnTo>
                    <a:pt x="732" y="2238"/>
                  </a:lnTo>
                  <a:lnTo>
                    <a:pt x="744" y="2238"/>
                  </a:lnTo>
                  <a:lnTo>
                    <a:pt x="768" y="2226"/>
                  </a:lnTo>
                  <a:lnTo>
                    <a:pt x="774" y="2220"/>
                  </a:lnTo>
                  <a:lnTo>
                    <a:pt x="780" y="2208"/>
                  </a:lnTo>
                  <a:lnTo>
                    <a:pt x="780" y="2172"/>
                  </a:lnTo>
                  <a:lnTo>
                    <a:pt x="786" y="2160"/>
                  </a:lnTo>
                  <a:lnTo>
                    <a:pt x="798" y="2154"/>
                  </a:lnTo>
                  <a:lnTo>
                    <a:pt x="804" y="2154"/>
                  </a:lnTo>
                  <a:lnTo>
                    <a:pt x="810" y="2160"/>
                  </a:lnTo>
                  <a:lnTo>
                    <a:pt x="828" y="2160"/>
                  </a:lnTo>
                  <a:lnTo>
                    <a:pt x="834" y="2154"/>
                  </a:lnTo>
                  <a:lnTo>
                    <a:pt x="846" y="2148"/>
                  </a:lnTo>
                  <a:lnTo>
                    <a:pt x="852" y="2142"/>
                  </a:lnTo>
                  <a:lnTo>
                    <a:pt x="864" y="2136"/>
                  </a:lnTo>
                  <a:lnTo>
                    <a:pt x="852" y="2136"/>
                  </a:lnTo>
                  <a:lnTo>
                    <a:pt x="846" y="2130"/>
                  </a:lnTo>
                  <a:lnTo>
                    <a:pt x="846" y="2118"/>
                  </a:lnTo>
                  <a:lnTo>
                    <a:pt x="852" y="2100"/>
                  </a:lnTo>
                  <a:lnTo>
                    <a:pt x="858" y="2088"/>
                  </a:lnTo>
                  <a:lnTo>
                    <a:pt x="906" y="2064"/>
                  </a:lnTo>
                  <a:lnTo>
                    <a:pt x="918" y="2052"/>
                  </a:lnTo>
                  <a:lnTo>
                    <a:pt x="918" y="2040"/>
                  </a:lnTo>
                  <a:lnTo>
                    <a:pt x="912" y="2028"/>
                  </a:lnTo>
                  <a:lnTo>
                    <a:pt x="912" y="2010"/>
                  </a:lnTo>
                  <a:lnTo>
                    <a:pt x="900" y="1974"/>
                  </a:lnTo>
                  <a:lnTo>
                    <a:pt x="900" y="1908"/>
                  </a:lnTo>
                  <a:lnTo>
                    <a:pt x="906" y="1890"/>
                  </a:lnTo>
                  <a:lnTo>
                    <a:pt x="906" y="1884"/>
                  </a:lnTo>
                  <a:lnTo>
                    <a:pt x="912" y="1878"/>
                  </a:lnTo>
                  <a:lnTo>
                    <a:pt x="912" y="1860"/>
                  </a:lnTo>
                  <a:lnTo>
                    <a:pt x="918" y="1842"/>
                  </a:lnTo>
                  <a:lnTo>
                    <a:pt x="918" y="1800"/>
                  </a:lnTo>
                  <a:lnTo>
                    <a:pt x="906" y="1776"/>
                  </a:lnTo>
                  <a:lnTo>
                    <a:pt x="888" y="1758"/>
                  </a:lnTo>
                  <a:lnTo>
                    <a:pt x="888" y="1728"/>
                  </a:lnTo>
                  <a:lnTo>
                    <a:pt x="894" y="1722"/>
                  </a:lnTo>
                  <a:lnTo>
                    <a:pt x="900" y="1710"/>
                  </a:lnTo>
                  <a:lnTo>
                    <a:pt x="900" y="1698"/>
                  </a:lnTo>
                  <a:lnTo>
                    <a:pt x="894" y="1686"/>
                  </a:lnTo>
                  <a:lnTo>
                    <a:pt x="894" y="1644"/>
                  </a:lnTo>
                  <a:lnTo>
                    <a:pt x="918" y="1632"/>
                  </a:lnTo>
                  <a:lnTo>
                    <a:pt x="924" y="1632"/>
                  </a:lnTo>
                  <a:lnTo>
                    <a:pt x="948" y="1620"/>
                  </a:lnTo>
                  <a:lnTo>
                    <a:pt x="948" y="1596"/>
                  </a:lnTo>
                  <a:lnTo>
                    <a:pt x="954" y="1584"/>
                  </a:lnTo>
                  <a:lnTo>
                    <a:pt x="960" y="1578"/>
                  </a:lnTo>
                  <a:lnTo>
                    <a:pt x="972" y="1572"/>
                  </a:lnTo>
                  <a:lnTo>
                    <a:pt x="990" y="1572"/>
                  </a:lnTo>
                  <a:lnTo>
                    <a:pt x="996" y="1560"/>
                  </a:lnTo>
                  <a:lnTo>
                    <a:pt x="1002" y="1566"/>
                  </a:lnTo>
                  <a:lnTo>
                    <a:pt x="1032" y="1566"/>
                  </a:lnTo>
                  <a:lnTo>
                    <a:pt x="1032" y="1548"/>
                  </a:lnTo>
                  <a:lnTo>
                    <a:pt x="1038" y="1530"/>
                  </a:lnTo>
                  <a:lnTo>
                    <a:pt x="1050" y="1518"/>
                  </a:lnTo>
                  <a:lnTo>
                    <a:pt x="1056" y="1500"/>
                  </a:lnTo>
                  <a:lnTo>
                    <a:pt x="1068" y="1488"/>
                  </a:lnTo>
                  <a:lnTo>
                    <a:pt x="1074" y="1476"/>
                  </a:lnTo>
                  <a:lnTo>
                    <a:pt x="1086" y="1470"/>
                  </a:lnTo>
                  <a:lnTo>
                    <a:pt x="1092" y="1464"/>
                  </a:lnTo>
                  <a:lnTo>
                    <a:pt x="1110" y="1458"/>
                  </a:lnTo>
                  <a:lnTo>
                    <a:pt x="1116" y="1452"/>
                  </a:lnTo>
                  <a:lnTo>
                    <a:pt x="1128" y="1446"/>
                  </a:lnTo>
                  <a:lnTo>
                    <a:pt x="1134" y="1428"/>
                  </a:lnTo>
                  <a:lnTo>
                    <a:pt x="1158" y="1380"/>
                  </a:lnTo>
                  <a:lnTo>
                    <a:pt x="1176" y="1362"/>
                  </a:lnTo>
                  <a:lnTo>
                    <a:pt x="1188" y="1356"/>
                  </a:lnTo>
                  <a:lnTo>
                    <a:pt x="1206" y="1344"/>
                  </a:lnTo>
                  <a:lnTo>
                    <a:pt x="1218" y="1338"/>
                  </a:lnTo>
                  <a:lnTo>
                    <a:pt x="1236" y="1320"/>
                  </a:lnTo>
                  <a:lnTo>
                    <a:pt x="1242" y="1320"/>
                  </a:lnTo>
                  <a:lnTo>
                    <a:pt x="1230" y="1290"/>
                  </a:lnTo>
                  <a:lnTo>
                    <a:pt x="1236" y="1284"/>
                  </a:lnTo>
                  <a:lnTo>
                    <a:pt x="1260" y="1314"/>
                  </a:lnTo>
                  <a:lnTo>
                    <a:pt x="1320" y="1254"/>
                  </a:lnTo>
                  <a:lnTo>
                    <a:pt x="1332" y="1230"/>
                  </a:lnTo>
                  <a:lnTo>
                    <a:pt x="1326" y="1224"/>
                  </a:lnTo>
                  <a:lnTo>
                    <a:pt x="1320" y="1212"/>
                  </a:lnTo>
                  <a:lnTo>
                    <a:pt x="1314" y="1206"/>
                  </a:lnTo>
                  <a:lnTo>
                    <a:pt x="1308" y="1194"/>
                  </a:lnTo>
                  <a:lnTo>
                    <a:pt x="1308" y="1182"/>
                  </a:lnTo>
                  <a:lnTo>
                    <a:pt x="1320" y="1176"/>
                  </a:lnTo>
                  <a:lnTo>
                    <a:pt x="1326" y="1170"/>
                  </a:lnTo>
                  <a:lnTo>
                    <a:pt x="1338" y="1170"/>
                  </a:lnTo>
                  <a:lnTo>
                    <a:pt x="1350" y="1164"/>
                  </a:lnTo>
                  <a:lnTo>
                    <a:pt x="1362" y="1152"/>
                  </a:lnTo>
                  <a:lnTo>
                    <a:pt x="1374" y="1134"/>
                  </a:lnTo>
                  <a:lnTo>
                    <a:pt x="1374" y="1110"/>
                  </a:lnTo>
                  <a:lnTo>
                    <a:pt x="1392" y="1116"/>
                  </a:lnTo>
                  <a:lnTo>
                    <a:pt x="1398" y="1146"/>
                  </a:lnTo>
                  <a:lnTo>
                    <a:pt x="1416" y="1110"/>
                  </a:lnTo>
                  <a:lnTo>
                    <a:pt x="1416" y="1128"/>
                  </a:lnTo>
                  <a:lnTo>
                    <a:pt x="1422" y="1140"/>
                  </a:lnTo>
                  <a:lnTo>
                    <a:pt x="1422" y="1158"/>
                  </a:lnTo>
                  <a:lnTo>
                    <a:pt x="1428" y="1170"/>
                  </a:lnTo>
                  <a:lnTo>
                    <a:pt x="1434" y="1176"/>
                  </a:lnTo>
                  <a:lnTo>
                    <a:pt x="1440" y="1176"/>
                  </a:lnTo>
                  <a:lnTo>
                    <a:pt x="1446" y="1170"/>
                  </a:lnTo>
                  <a:lnTo>
                    <a:pt x="1446" y="1158"/>
                  </a:lnTo>
                  <a:lnTo>
                    <a:pt x="1452" y="1152"/>
                  </a:lnTo>
                  <a:lnTo>
                    <a:pt x="1452" y="1140"/>
                  </a:lnTo>
                  <a:lnTo>
                    <a:pt x="1458" y="1110"/>
                  </a:lnTo>
                  <a:lnTo>
                    <a:pt x="1440" y="1068"/>
                  </a:lnTo>
                  <a:lnTo>
                    <a:pt x="1440" y="1038"/>
                  </a:lnTo>
                  <a:lnTo>
                    <a:pt x="1410" y="1014"/>
                  </a:lnTo>
                  <a:lnTo>
                    <a:pt x="1398" y="984"/>
                  </a:lnTo>
                  <a:lnTo>
                    <a:pt x="1404" y="972"/>
                  </a:lnTo>
                  <a:lnTo>
                    <a:pt x="1410" y="966"/>
                  </a:lnTo>
                  <a:lnTo>
                    <a:pt x="1416" y="948"/>
                  </a:lnTo>
                  <a:lnTo>
                    <a:pt x="1416" y="942"/>
                  </a:lnTo>
                  <a:lnTo>
                    <a:pt x="1410" y="936"/>
                  </a:lnTo>
                  <a:lnTo>
                    <a:pt x="1398" y="930"/>
                  </a:lnTo>
                  <a:lnTo>
                    <a:pt x="1380" y="930"/>
                  </a:lnTo>
                  <a:lnTo>
                    <a:pt x="1368" y="924"/>
                  </a:lnTo>
                  <a:lnTo>
                    <a:pt x="1356" y="912"/>
                  </a:lnTo>
                  <a:lnTo>
                    <a:pt x="1368" y="900"/>
                  </a:lnTo>
                  <a:lnTo>
                    <a:pt x="1374" y="900"/>
                  </a:lnTo>
                  <a:lnTo>
                    <a:pt x="1374" y="870"/>
                  </a:lnTo>
                  <a:lnTo>
                    <a:pt x="1410" y="870"/>
                  </a:lnTo>
                  <a:lnTo>
                    <a:pt x="1410" y="858"/>
                  </a:lnTo>
                  <a:lnTo>
                    <a:pt x="1380" y="840"/>
                  </a:lnTo>
                  <a:lnTo>
                    <a:pt x="1374" y="840"/>
                  </a:lnTo>
                  <a:lnTo>
                    <a:pt x="1362" y="828"/>
                  </a:lnTo>
                  <a:lnTo>
                    <a:pt x="1350" y="822"/>
                  </a:lnTo>
                  <a:lnTo>
                    <a:pt x="1344" y="810"/>
                  </a:lnTo>
                  <a:lnTo>
                    <a:pt x="1344" y="804"/>
                  </a:lnTo>
                  <a:lnTo>
                    <a:pt x="1350" y="792"/>
                  </a:lnTo>
                  <a:lnTo>
                    <a:pt x="1362" y="780"/>
                  </a:lnTo>
                  <a:lnTo>
                    <a:pt x="1350" y="762"/>
                  </a:lnTo>
                  <a:lnTo>
                    <a:pt x="1368" y="762"/>
                  </a:lnTo>
                  <a:lnTo>
                    <a:pt x="1392" y="774"/>
                  </a:lnTo>
                  <a:lnTo>
                    <a:pt x="1386" y="768"/>
                  </a:lnTo>
                  <a:lnTo>
                    <a:pt x="1404" y="762"/>
                  </a:lnTo>
                  <a:lnTo>
                    <a:pt x="1410" y="774"/>
                  </a:lnTo>
                  <a:lnTo>
                    <a:pt x="1410" y="780"/>
                  </a:lnTo>
                  <a:lnTo>
                    <a:pt x="1416" y="792"/>
                  </a:lnTo>
                  <a:lnTo>
                    <a:pt x="1422" y="798"/>
                  </a:lnTo>
                  <a:lnTo>
                    <a:pt x="1434" y="798"/>
                  </a:lnTo>
                  <a:lnTo>
                    <a:pt x="1440" y="804"/>
                  </a:lnTo>
                  <a:lnTo>
                    <a:pt x="1446" y="786"/>
                  </a:lnTo>
                  <a:lnTo>
                    <a:pt x="1452" y="792"/>
                  </a:lnTo>
                  <a:lnTo>
                    <a:pt x="1458" y="792"/>
                  </a:lnTo>
                  <a:lnTo>
                    <a:pt x="1464" y="798"/>
                  </a:lnTo>
                  <a:lnTo>
                    <a:pt x="1464" y="828"/>
                  </a:lnTo>
                  <a:lnTo>
                    <a:pt x="1470" y="828"/>
                  </a:lnTo>
                  <a:lnTo>
                    <a:pt x="1470" y="864"/>
                  </a:lnTo>
                  <a:lnTo>
                    <a:pt x="1476" y="864"/>
                  </a:lnTo>
                  <a:lnTo>
                    <a:pt x="1482" y="870"/>
                  </a:lnTo>
                  <a:lnTo>
                    <a:pt x="1542" y="870"/>
                  </a:lnTo>
                  <a:lnTo>
                    <a:pt x="1554" y="876"/>
                  </a:lnTo>
                  <a:lnTo>
                    <a:pt x="1572" y="876"/>
                  </a:lnTo>
                  <a:lnTo>
                    <a:pt x="1620" y="864"/>
                  </a:lnTo>
                  <a:lnTo>
                    <a:pt x="1626" y="864"/>
                  </a:lnTo>
                  <a:lnTo>
                    <a:pt x="1650" y="888"/>
                  </a:lnTo>
                  <a:lnTo>
                    <a:pt x="1650" y="894"/>
                  </a:lnTo>
                  <a:lnTo>
                    <a:pt x="1644" y="900"/>
                  </a:lnTo>
                  <a:lnTo>
                    <a:pt x="1638" y="900"/>
                  </a:lnTo>
                  <a:lnTo>
                    <a:pt x="1638" y="912"/>
                  </a:lnTo>
                  <a:lnTo>
                    <a:pt x="1632" y="930"/>
                  </a:lnTo>
                  <a:lnTo>
                    <a:pt x="1626" y="942"/>
                  </a:lnTo>
                  <a:lnTo>
                    <a:pt x="1620" y="948"/>
                  </a:lnTo>
                  <a:lnTo>
                    <a:pt x="1614" y="948"/>
                  </a:lnTo>
                  <a:lnTo>
                    <a:pt x="1602" y="954"/>
                  </a:lnTo>
                  <a:lnTo>
                    <a:pt x="1596" y="954"/>
                  </a:lnTo>
                  <a:lnTo>
                    <a:pt x="1584" y="966"/>
                  </a:lnTo>
                  <a:lnTo>
                    <a:pt x="1578" y="978"/>
                  </a:lnTo>
                  <a:lnTo>
                    <a:pt x="1578" y="996"/>
                  </a:lnTo>
                  <a:lnTo>
                    <a:pt x="1584" y="1008"/>
                  </a:lnTo>
                  <a:lnTo>
                    <a:pt x="1602" y="1026"/>
                  </a:lnTo>
                  <a:lnTo>
                    <a:pt x="1608" y="1026"/>
                  </a:lnTo>
                  <a:lnTo>
                    <a:pt x="1626" y="1050"/>
                  </a:lnTo>
                  <a:lnTo>
                    <a:pt x="1632" y="1014"/>
                  </a:lnTo>
                  <a:lnTo>
                    <a:pt x="1632" y="990"/>
                  </a:lnTo>
                  <a:lnTo>
                    <a:pt x="1650" y="990"/>
                  </a:lnTo>
                  <a:lnTo>
                    <a:pt x="1662" y="996"/>
                  </a:lnTo>
                  <a:lnTo>
                    <a:pt x="1668" y="1002"/>
                  </a:lnTo>
                  <a:lnTo>
                    <a:pt x="1668" y="1020"/>
                  </a:lnTo>
                  <a:lnTo>
                    <a:pt x="1674" y="1032"/>
                  </a:lnTo>
                  <a:lnTo>
                    <a:pt x="1674" y="1038"/>
                  </a:lnTo>
                  <a:lnTo>
                    <a:pt x="1680" y="1050"/>
                  </a:lnTo>
                  <a:lnTo>
                    <a:pt x="1680" y="1062"/>
                  </a:lnTo>
                  <a:lnTo>
                    <a:pt x="1686" y="1074"/>
                  </a:lnTo>
                  <a:lnTo>
                    <a:pt x="1692" y="1092"/>
                  </a:lnTo>
                  <a:lnTo>
                    <a:pt x="1698" y="1104"/>
                  </a:lnTo>
                  <a:lnTo>
                    <a:pt x="1704" y="1110"/>
                  </a:lnTo>
                  <a:lnTo>
                    <a:pt x="1704" y="1116"/>
                  </a:lnTo>
                  <a:lnTo>
                    <a:pt x="1722" y="1134"/>
                  </a:lnTo>
                  <a:lnTo>
                    <a:pt x="1722" y="1110"/>
                  </a:lnTo>
                  <a:lnTo>
                    <a:pt x="1728" y="1110"/>
                  </a:lnTo>
                  <a:lnTo>
                    <a:pt x="1734" y="1116"/>
                  </a:lnTo>
                  <a:lnTo>
                    <a:pt x="1746" y="1116"/>
                  </a:lnTo>
                  <a:lnTo>
                    <a:pt x="1746" y="1104"/>
                  </a:lnTo>
                  <a:lnTo>
                    <a:pt x="1728" y="1086"/>
                  </a:lnTo>
                  <a:lnTo>
                    <a:pt x="1728" y="1062"/>
                  </a:lnTo>
                  <a:lnTo>
                    <a:pt x="1722" y="1050"/>
                  </a:lnTo>
                  <a:lnTo>
                    <a:pt x="1740" y="1032"/>
                  </a:lnTo>
                  <a:lnTo>
                    <a:pt x="1746" y="1032"/>
                  </a:lnTo>
                  <a:lnTo>
                    <a:pt x="1740" y="984"/>
                  </a:lnTo>
                  <a:lnTo>
                    <a:pt x="1722" y="966"/>
                  </a:lnTo>
                  <a:lnTo>
                    <a:pt x="1716" y="966"/>
                  </a:lnTo>
                  <a:lnTo>
                    <a:pt x="1770" y="966"/>
                  </a:lnTo>
                  <a:lnTo>
                    <a:pt x="1782" y="972"/>
                  </a:lnTo>
                  <a:lnTo>
                    <a:pt x="1794" y="972"/>
                  </a:lnTo>
                  <a:lnTo>
                    <a:pt x="1794" y="936"/>
                  </a:lnTo>
                  <a:lnTo>
                    <a:pt x="1812" y="882"/>
                  </a:lnTo>
                  <a:lnTo>
                    <a:pt x="1806" y="876"/>
                  </a:lnTo>
                  <a:lnTo>
                    <a:pt x="1800" y="864"/>
                  </a:lnTo>
                  <a:lnTo>
                    <a:pt x="1800" y="846"/>
                  </a:lnTo>
                  <a:lnTo>
                    <a:pt x="1812" y="840"/>
                  </a:lnTo>
                  <a:lnTo>
                    <a:pt x="1818" y="834"/>
                  </a:lnTo>
                  <a:lnTo>
                    <a:pt x="1836" y="804"/>
                  </a:lnTo>
                  <a:lnTo>
                    <a:pt x="1836" y="792"/>
                  </a:lnTo>
                  <a:lnTo>
                    <a:pt x="1830" y="786"/>
                  </a:lnTo>
                  <a:lnTo>
                    <a:pt x="1830" y="780"/>
                  </a:lnTo>
                  <a:lnTo>
                    <a:pt x="1824" y="774"/>
                  </a:lnTo>
                  <a:lnTo>
                    <a:pt x="1824" y="750"/>
                  </a:lnTo>
                  <a:lnTo>
                    <a:pt x="1830" y="750"/>
                  </a:lnTo>
                  <a:lnTo>
                    <a:pt x="1836" y="744"/>
                  </a:lnTo>
                  <a:lnTo>
                    <a:pt x="1848" y="744"/>
                  </a:lnTo>
                  <a:lnTo>
                    <a:pt x="1860" y="738"/>
                  </a:lnTo>
                  <a:lnTo>
                    <a:pt x="1872" y="726"/>
                  </a:lnTo>
                  <a:lnTo>
                    <a:pt x="1872" y="708"/>
                  </a:lnTo>
                  <a:lnTo>
                    <a:pt x="1878" y="708"/>
                  </a:lnTo>
                  <a:lnTo>
                    <a:pt x="1890" y="702"/>
                  </a:lnTo>
                  <a:lnTo>
                    <a:pt x="1926" y="702"/>
                  </a:lnTo>
                  <a:lnTo>
                    <a:pt x="1932" y="708"/>
                  </a:lnTo>
                  <a:lnTo>
                    <a:pt x="1950" y="708"/>
                  </a:lnTo>
                  <a:lnTo>
                    <a:pt x="1950" y="702"/>
                  </a:lnTo>
                  <a:lnTo>
                    <a:pt x="1944" y="696"/>
                  </a:lnTo>
                  <a:lnTo>
                    <a:pt x="1932" y="690"/>
                  </a:lnTo>
                  <a:lnTo>
                    <a:pt x="1926" y="684"/>
                  </a:lnTo>
                  <a:lnTo>
                    <a:pt x="1920" y="672"/>
                  </a:lnTo>
                  <a:close/>
                </a:path>
              </a:pathLst>
            </a:custGeom>
            <a:solidFill>
              <a:srgbClr val="3B3939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122" name="Iceland" descr="© INSCALE GmbH, 05.05.2010&#10;http://www.presentationload.com/"/>
            <p:cNvSpPr>
              <a:spLocks/>
            </p:cNvSpPr>
            <p:nvPr/>
          </p:nvSpPr>
          <p:spPr bwMode="gray">
            <a:xfrm>
              <a:off x="4099705" y="2674826"/>
              <a:ext cx="185577" cy="68588"/>
            </a:xfrm>
            <a:custGeom>
              <a:avLst/>
              <a:gdLst>
                <a:gd name="T0" fmla="*/ 2147483647 w 570"/>
                <a:gd name="T1" fmla="*/ 2147483647 h 222"/>
                <a:gd name="T2" fmla="*/ 2147483647 w 570"/>
                <a:gd name="T3" fmla="*/ 2147483647 h 222"/>
                <a:gd name="T4" fmla="*/ 2147483647 w 570"/>
                <a:gd name="T5" fmla="*/ 2147483647 h 222"/>
                <a:gd name="T6" fmla="*/ 2147483647 w 570"/>
                <a:gd name="T7" fmla="*/ 2147483647 h 222"/>
                <a:gd name="T8" fmla="*/ 2147483647 w 570"/>
                <a:gd name="T9" fmla="*/ 2147483647 h 222"/>
                <a:gd name="T10" fmla="*/ 2147483647 w 570"/>
                <a:gd name="T11" fmla="*/ 2147483647 h 222"/>
                <a:gd name="T12" fmla="*/ 2147483647 w 570"/>
                <a:gd name="T13" fmla="*/ 2147483647 h 222"/>
                <a:gd name="T14" fmla="*/ 2147483647 w 570"/>
                <a:gd name="T15" fmla="*/ 2147483647 h 222"/>
                <a:gd name="T16" fmla="*/ 2147483647 w 570"/>
                <a:gd name="T17" fmla="*/ 2147483647 h 222"/>
                <a:gd name="T18" fmla="*/ 2147483647 w 570"/>
                <a:gd name="T19" fmla="*/ 2147483647 h 222"/>
                <a:gd name="T20" fmla="*/ 2147483647 w 570"/>
                <a:gd name="T21" fmla="*/ 2147483647 h 222"/>
                <a:gd name="T22" fmla="*/ 2147483647 w 570"/>
                <a:gd name="T23" fmla="*/ 2147483647 h 222"/>
                <a:gd name="T24" fmla="*/ 2147483647 w 570"/>
                <a:gd name="T25" fmla="*/ 2147483647 h 222"/>
                <a:gd name="T26" fmla="*/ 2147483647 w 570"/>
                <a:gd name="T27" fmla="*/ 2147483647 h 222"/>
                <a:gd name="T28" fmla="*/ 2147483647 w 570"/>
                <a:gd name="T29" fmla="*/ 2147483647 h 222"/>
                <a:gd name="T30" fmla="*/ 2147483647 w 570"/>
                <a:gd name="T31" fmla="*/ 2147483647 h 222"/>
                <a:gd name="T32" fmla="*/ 2147483647 w 570"/>
                <a:gd name="T33" fmla="*/ 2147483647 h 222"/>
                <a:gd name="T34" fmla="*/ 2147483647 w 570"/>
                <a:gd name="T35" fmla="*/ 2147483647 h 222"/>
                <a:gd name="T36" fmla="*/ 2147483647 w 570"/>
                <a:gd name="T37" fmla="*/ 2147483647 h 222"/>
                <a:gd name="T38" fmla="*/ 2147483647 w 570"/>
                <a:gd name="T39" fmla="*/ 2147483647 h 222"/>
                <a:gd name="T40" fmla="*/ 2147483647 w 570"/>
                <a:gd name="T41" fmla="*/ 2147483647 h 222"/>
                <a:gd name="T42" fmla="*/ 2147483647 w 570"/>
                <a:gd name="T43" fmla="*/ 2147483647 h 222"/>
                <a:gd name="T44" fmla="*/ 2147483647 w 570"/>
                <a:gd name="T45" fmla="*/ 2147483647 h 222"/>
                <a:gd name="T46" fmla="*/ 2147483647 w 570"/>
                <a:gd name="T47" fmla="*/ 2147483647 h 222"/>
                <a:gd name="T48" fmla="*/ 2147483647 w 570"/>
                <a:gd name="T49" fmla="*/ 2147483647 h 222"/>
                <a:gd name="T50" fmla="*/ 2147483647 w 570"/>
                <a:gd name="T51" fmla="*/ 2147483647 h 222"/>
                <a:gd name="T52" fmla="*/ 2147483647 w 570"/>
                <a:gd name="T53" fmla="*/ 2147483647 h 222"/>
                <a:gd name="T54" fmla="*/ 2147483647 w 570"/>
                <a:gd name="T55" fmla="*/ 2147483647 h 222"/>
                <a:gd name="T56" fmla="*/ 2147483647 w 570"/>
                <a:gd name="T57" fmla="*/ 2147483647 h 222"/>
                <a:gd name="T58" fmla="*/ 2147483647 w 570"/>
                <a:gd name="T59" fmla="*/ 2147483647 h 222"/>
                <a:gd name="T60" fmla="*/ 2147483647 w 570"/>
                <a:gd name="T61" fmla="*/ 2147483647 h 222"/>
                <a:gd name="T62" fmla="*/ 2147483647 w 570"/>
                <a:gd name="T63" fmla="*/ 2147483647 h 222"/>
                <a:gd name="T64" fmla="*/ 2147483647 w 570"/>
                <a:gd name="T65" fmla="*/ 2147483647 h 222"/>
                <a:gd name="T66" fmla="*/ 0 w 570"/>
                <a:gd name="T67" fmla="*/ 2147483647 h 222"/>
                <a:gd name="T68" fmla="*/ 2147483647 w 570"/>
                <a:gd name="T69" fmla="*/ 2147483647 h 222"/>
                <a:gd name="T70" fmla="*/ 2147483647 w 570"/>
                <a:gd name="T71" fmla="*/ 2147483647 h 222"/>
                <a:gd name="T72" fmla="*/ 2147483647 w 570"/>
                <a:gd name="T73" fmla="*/ 2147483647 h 222"/>
                <a:gd name="T74" fmla="*/ 2147483647 w 570"/>
                <a:gd name="T75" fmla="*/ 2147483647 h 222"/>
                <a:gd name="T76" fmla="*/ 2147483647 w 570"/>
                <a:gd name="T77" fmla="*/ 2147483647 h 222"/>
                <a:gd name="T78" fmla="*/ 2147483647 w 570"/>
                <a:gd name="T79" fmla="*/ 2147483647 h 222"/>
                <a:gd name="T80" fmla="*/ 2147483647 w 570"/>
                <a:gd name="T81" fmla="*/ 2147483647 h 222"/>
                <a:gd name="T82" fmla="*/ 2147483647 w 570"/>
                <a:gd name="T83" fmla="*/ 2147483647 h 222"/>
                <a:gd name="T84" fmla="*/ 2147483647 w 570"/>
                <a:gd name="T85" fmla="*/ 2147483647 h 222"/>
                <a:gd name="T86" fmla="*/ 2147483647 w 570"/>
                <a:gd name="T87" fmla="*/ 2147483647 h 222"/>
                <a:gd name="T88" fmla="*/ 2147483647 w 570"/>
                <a:gd name="T89" fmla="*/ 2147483647 h 222"/>
                <a:gd name="T90" fmla="*/ 2147483647 w 570"/>
                <a:gd name="T91" fmla="*/ 2147483647 h 222"/>
                <a:gd name="T92" fmla="*/ 2147483647 w 570"/>
                <a:gd name="T93" fmla="*/ 2147483647 h 22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70"/>
                <a:gd name="T142" fmla="*/ 0 h 222"/>
                <a:gd name="T143" fmla="*/ 570 w 570"/>
                <a:gd name="T144" fmla="*/ 222 h 22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70" h="222">
                  <a:moveTo>
                    <a:pt x="252" y="222"/>
                  </a:moveTo>
                  <a:lnTo>
                    <a:pt x="270" y="216"/>
                  </a:lnTo>
                  <a:lnTo>
                    <a:pt x="306" y="216"/>
                  </a:lnTo>
                  <a:lnTo>
                    <a:pt x="312" y="204"/>
                  </a:lnTo>
                  <a:lnTo>
                    <a:pt x="312" y="192"/>
                  </a:lnTo>
                  <a:lnTo>
                    <a:pt x="324" y="198"/>
                  </a:lnTo>
                  <a:lnTo>
                    <a:pt x="330" y="198"/>
                  </a:lnTo>
                  <a:lnTo>
                    <a:pt x="342" y="204"/>
                  </a:lnTo>
                  <a:lnTo>
                    <a:pt x="348" y="204"/>
                  </a:lnTo>
                  <a:lnTo>
                    <a:pt x="360" y="192"/>
                  </a:lnTo>
                  <a:lnTo>
                    <a:pt x="360" y="186"/>
                  </a:lnTo>
                  <a:lnTo>
                    <a:pt x="372" y="186"/>
                  </a:lnTo>
                  <a:lnTo>
                    <a:pt x="378" y="192"/>
                  </a:lnTo>
                  <a:lnTo>
                    <a:pt x="390" y="192"/>
                  </a:lnTo>
                  <a:lnTo>
                    <a:pt x="414" y="180"/>
                  </a:lnTo>
                  <a:lnTo>
                    <a:pt x="432" y="168"/>
                  </a:lnTo>
                  <a:lnTo>
                    <a:pt x="456" y="156"/>
                  </a:lnTo>
                  <a:lnTo>
                    <a:pt x="474" y="156"/>
                  </a:lnTo>
                  <a:lnTo>
                    <a:pt x="480" y="162"/>
                  </a:lnTo>
                  <a:lnTo>
                    <a:pt x="492" y="162"/>
                  </a:lnTo>
                  <a:lnTo>
                    <a:pt x="504" y="156"/>
                  </a:lnTo>
                  <a:lnTo>
                    <a:pt x="510" y="144"/>
                  </a:lnTo>
                  <a:lnTo>
                    <a:pt x="510" y="138"/>
                  </a:lnTo>
                  <a:lnTo>
                    <a:pt x="516" y="126"/>
                  </a:lnTo>
                  <a:lnTo>
                    <a:pt x="528" y="126"/>
                  </a:lnTo>
                  <a:lnTo>
                    <a:pt x="552" y="114"/>
                  </a:lnTo>
                  <a:lnTo>
                    <a:pt x="564" y="102"/>
                  </a:lnTo>
                  <a:lnTo>
                    <a:pt x="570" y="102"/>
                  </a:lnTo>
                  <a:lnTo>
                    <a:pt x="552" y="102"/>
                  </a:lnTo>
                  <a:lnTo>
                    <a:pt x="570" y="84"/>
                  </a:lnTo>
                  <a:lnTo>
                    <a:pt x="570" y="78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0" y="66"/>
                  </a:lnTo>
                  <a:lnTo>
                    <a:pt x="534" y="72"/>
                  </a:lnTo>
                  <a:lnTo>
                    <a:pt x="528" y="72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522" y="36"/>
                  </a:lnTo>
                  <a:lnTo>
                    <a:pt x="504" y="36"/>
                  </a:lnTo>
                  <a:lnTo>
                    <a:pt x="510" y="18"/>
                  </a:lnTo>
                  <a:lnTo>
                    <a:pt x="480" y="24"/>
                  </a:lnTo>
                  <a:lnTo>
                    <a:pt x="474" y="18"/>
                  </a:lnTo>
                  <a:lnTo>
                    <a:pt x="462" y="12"/>
                  </a:lnTo>
                  <a:lnTo>
                    <a:pt x="456" y="6"/>
                  </a:lnTo>
                  <a:lnTo>
                    <a:pt x="444" y="0"/>
                  </a:lnTo>
                  <a:lnTo>
                    <a:pt x="432" y="0"/>
                  </a:lnTo>
                  <a:lnTo>
                    <a:pt x="432" y="24"/>
                  </a:lnTo>
                  <a:lnTo>
                    <a:pt x="414" y="30"/>
                  </a:lnTo>
                  <a:lnTo>
                    <a:pt x="408" y="30"/>
                  </a:lnTo>
                  <a:lnTo>
                    <a:pt x="402" y="24"/>
                  </a:lnTo>
                  <a:lnTo>
                    <a:pt x="378" y="24"/>
                  </a:lnTo>
                  <a:lnTo>
                    <a:pt x="372" y="30"/>
                  </a:lnTo>
                  <a:lnTo>
                    <a:pt x="366" y="42"/>
                  </a:lnTo>
                  <a:lnTo>
                    <a:pt x="360" y="36"/>
                  </a:lnTo>
                  <a:lnTo>
                    <a:pt x="348" y="30"/>
                  </a:lnTo>
                  <a:lnTo>
                    <a:pt x="342" y="24"/>
                  </a:lnTo>
                  <a:lnTo>
                    <a:pt x="336" y="24"/>
                  </a:lnTo>
                  <a:lnTo>
                    <a:pt x="330" y="30"/>
                  </a:lnTo>
                  <a:lnTo>
                    <a:pt x="330" y="60"/>
                  </a:lnTo>
                  <a:lnTo>
                    <a:pt x="324" y="48"/>
                  </a:lnTo>
                  <a:lnTo>
                    <a:pt x="318" y="42"/>
                  </a:lnTo>
                  <a:lnTo>
                    <a:pt x="306" y="36"/>
                  </a:lnTo>
                  <a:lnTo>
                    <a:pt x="300" y="24"/>
                  </a:lnTo>
                  <a:lnTo>
                    <a:pt x="288" y="24"/>
                  </a:lnTo>
                  <a:lnTo>
                    <a:pt x="288" y="30"/>
                  </a:lnTo>
                  <a:lnTo>
                    <a:pt x="270" y="30"/>
                  </a:lnTo>
                  <a:lnTo>
                    <a:pt x="264" y="36"/>
                  </a:lnTo>
                  <a:lnTo>
                    <a:pt x="264" y="54"/>
                  </a:lnTo>
                  <a:lnTo>
                    <a:pt x="252" y="54"/>
                  </a:lnTo>
                  <a:lnTo>
                    <a:pt x="240" y="42"/>
                  </a:lnTo>
                  <a:lnTo>
                    <a:pt x="228" y="36"/>
                  </a:lnTo>
                  <a:lnTo>
                    <a:pt x="222" y="30"/>
                  </a:lnTo>
                  <a:lnTo>
                    <a:pt x="216" y="30"/>
                  </a:lnTo>
                  <a:lnTo>
                    <a:pt x="216" y="48"/>
                  </a:lnTo>
                  <a:lnTo>
                    <a:pt x="210" y="60"/>
                  </a:lnTo>
                  <a:lnTo>
                    <a:pt x="210" y="72"/>
                  </a:lnTo>
                  <a:lnTo>
                    <a:pt x="204" y="72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62" y="84"/>
                  </a:lnTo>
                  <a:lnTo>
                    <a:pt x="162" y="90"/>
                  </a:lnTo>
                  <a:lnTo>
                    <a:pt x="156" y="84"/>
                  </a:lnTo>
                  <a:lnTo>
                    <a:pt x="144" y="60"/>
                  </a:lnTo>
                  <a:lnTo>
                    <a:pt x="162" y="42"/>
                  </a:lnTo>
                  <a:lnTo>
                    <a:pt x="162" y="36"/>
                  </a:lnTo>
                  <a:lnTo>
                    <a:pt x="156" y="30"/>
                  </a:lnTo>
                  <a:lnTo>
                    <a:pt x="108" y="6"/>
                  </a:lnTo>
                  <a:lnTo>
                    <a:pt x="96" y="6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30"/>
                  </a:lnTo>
                  <a:lnTo>
                    <a:pt x="78" y="30"/>
                  </a:lnTo>
                  <a:lnTo>
                    <a:pt x="66" y="24"/>
                  </a:lnTo>
                  <a:lnTo>
                    <a:pt x="54" y="24"/>
                  </a:lnTo>
                  <a:lnTo>
                    <a:pt x="42" y="30"/>
                  </a:lnTo>
                  <a:lnTo>
                    <a:pt x="30" y="42"/>
                  </a:lnTo>
                  <a:lnTo>
                    <a:pt x="48" y="54"/>
                  </a:lnTo>
                  <a:lnTo>
                    <a:pt x="30" y="54"/>
                  </a:lnTo>
                  <a:lnTo>
                    <a:pt x="18" y="60"/>
                  </a:lnTo>
                  <a:lnTo>
                    <a:pt x="12" y="66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54" y="66"/>
                  </a:lnTo>
                  <a:lnTo>
                    <a:pt x="66" y="66"/>
                  </a:lnTo>
                  <a:lnTo>
                    <a:pt x="72" y="60"/>
                  </a:lnTo>
                  <a:lnTo>
                    <a:pt x="78" y="60"/>
                  </a:lnTo>
                  <a:lnTo>
                    <a:pt x="126" y="72"/>
                  </a:lnTo>
                  <a:lnTo>
                    <a:pt x="90" y="90"/>
                  </a:lnTo>
                  <a:lnTo>
                    <a:pt x="102" y="90"/>
                  </a:lnTo>
                  <a:lnTo>
                    <a:pt x="108" y="96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2"/>
                  </a:lnTo>
                  <a:lnTo>
                    <a:pt x="108" y="108"/>
                  </a:lnTo>
                  <a:lnTo>
                    <a:pt x="6" y="108"/>
                  </a:lnTo>
                  <a:lnTo>
                    <a:pt x="0" y="114"/>
                  </a:lnTo>
                  <a:lnTo>
                    <a:pt x="12" y="120"/>
                  </a:lnTo>
                  <a:lnTo>
                    <a:pt x="60" y="120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126" y="132"/>
                  </a:lnTo>
                  <a:lnTo>
                    <a:pt x="108" y="150"/>
                  </a:lnTo>
                  <a:lnTo>
                    <a:pt x="120" y="156"/>
                  </a:lnTo>
                  <a:lnTo>
                    <a:pt x="114" y="162"/>
                  </a:lnTo>
                  <a:lnTo>
                    <a:pt x="114" y="168"/>
                  </a:lnTo>
                  <a:lnTo>
                    <a:pt x="108" y="174"/>
                  </a:lnTo>
                  <a:lnTo>
                    <a:pt x="90" y="174"/>
                  </a:lnTo>
                  <a:lnTo>
                    <a:pt x="78" y="180"/>
                  </a:lnTo>
                  <a:lnTo>
                    <a:pt x="54" y="180"/>
                  </a:lnTo>
                  <a:lnTo>
                    <a:pt x="54" y="186"/>
                  </a:lnTo>
                  <a:lnTo>
                    <a:pt x="66" y="192"/>
                  </a:lnTo>
                  <a:lnTo>
                    <a:pt x="120" y="192"/>
                  </a:lnTo>
                  <a:lnTo>
                    <a:pt x="132" y="186"/>
                  </a:lnTo>
                  <a:lnTo>
                    <a:pt x="138" y="180"/>
                  </a:lnTo>
                  <a:lnTo>
                    <a:pt x="168" y="198"/>
                  </a:lnTo>
                  <a:lnTo>
                    <a:pt x="180" y="186"/>
                  </a:lnTo>
                  <a:lnTo>
                    <a:pt x="180" y="198"/>
                  </a:lnTo>
                  <a:lnTo>
                    <a:pt x="228" y="222"/>
                  </a:lnTo>
                  <a:lnTo>
                    <a:pt x="252" y="22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123" name="Hungary" descr="© INSCALE GmbH, 05.05.2010&#10;http://www.presentationload.com/"/>
            <p:cNvSpPr>
              <a:spLocks/>
            </p:cNvSpPr>
            <p:nvPr/>
          </p:nvSpPr>
          <p:spPr bwMode="gray">
            <a:xfrm>
              <a:off x="4824095" y="3092478"/>
              <a:ext cx="138223" cy="68588"/>
            </a:xfrm>
            <a:custGeom>
              <a:avLst/>
              <a:gdLst>
                <a:gd name="T0" fmla="*/ 2147483647 w 426"/>
                <a:gd name="T1" fmla="*/ 2147483647 h 222"/>
                <a:gd name="T2" fmla="*/ 2147483647 w 426"/>
                <a:gd name="T3" fmla="*/ 2147483647 h 222"/>
                <a:gd name="T4" fmla="*/ 2147483647 w 426"/>
                <a:gd name="T5" fmla="*/ 2147483647 h 222"/>
                <a:gd name="T6" fmla="*/ 0 w 426"/>
                <a:gd name="T7" fmla="*/ 2147483647 h 222"/>
                <a:gd name="T8" fmla="*/ 2147483647 w 426"/>
                <a:gd name="T9" fmla="*/ 2147483647 h 222"/>
                <a:gd name="T10" fmla="*/ 2147483647 w 426"/>
                <a:gd name="T11" fmla="*/ 2147483647 h 222"/>
                <a:gd name="T12" fmla="*/ 2147483647 w 426"/>
                <a:gd name="T13" fmla="*/ 2147483647 h 222"/>
                <a:gd name="T14" fmla="*/ 2147483647 w 426"/>
                <a:gd name="T15" fmla="*/ 2147483647 h 222"/>
                <a:gd name="T16" fmla="*/ 2147483647 w 426"/>
                <a:gd name="T17" fmla="*/ 2147483647 h 222"/>
                <a:gd name="T18" fmla="*/ 2147483647 w 426"/>
                <a:gd name="T19" fmla="*/ 2147483647 h 222"/>
                <a:gd name="T20" fmla="*/ 2147483647 w 426"/>
                <a:gd name="T21" fmla="*/ 2147483647 h 222"/>
                <a:gd name="T22" fmla="*/ 2147483647 w 426"/>
                <a:gd name="T23" fmla="*/ 2147483647 h 222"/>
                <a:gd name="T24" fmla="*/ 2147483647 w 426"/>
                <a:gd name="T25" fmla="*/ 2147483647 h 222"/>
                <a:gd name="T26" fmla="*/ 2147483647 w 426"/>
                <a:gd name="T27" fmla="*/ 2147483647 h 222"/>
                <a:gd name="T28" fmla="*/ 2147483647 w 426"/>
                <a:gd name="T29" fmla="*/ 2147483647 h 222"/>
                <a:gd name="T30" fmla="*/ 2147483647 w 426"/>
                <a:gd name="T31" fmla="*/ 2147483647 h 222"/>
                <a:gd name="T32" fmla="*/ 2147483647 w 426"/>
                <a:gd name="T33" fmla="*/ 2147483647 h 222"/>
                <a:gd name="T34" fmla="*/ 2147483647 w 426"/>
                <a:gd name="T35" fmla="*/ 2147483647 h 222"/>
                <a:gd name="T36" fmla="*/ 2147483647 w 426"/>
                <a:gd name="T37" fmla="*/ 2147483647 h 222"/>
                <a:gd name="T38" fmla="*/ 2147483647 w 426"/>
                <a:gd name="T39" fmla="*/ 2147483647 h 222"/>
                <a:gd name="T40" fmla="*/ 2147483647 w 426"/>
                <a:gd name="T41" fmla="*/ 2147483647 h 222"/>
                <a:gd name="T42" fmla="*/ 2147483647 w 426"/>
                <a:gd name="T43" fmla="*/ 2147483647 h 222"/>
                <a:gd name="T44" fmla="*/ 2147483647 w 426"/>
                <a:gd name="T45" fmla="*/ 2147483647 h 222"/>
                <a:gd name="T46" fmla="*/ 2147483647 w 426"/>
                <a:gd name="T47" fmla="*/ 2147483647 h 222"/>
                <a:gd name="T48" fmla="*/ 2147483647 w 426"/>
                <a:gd name="T49" fmla="*/ 0 h 222"/>
                <a:gd name="T50" fmla="*/ 2147483647 w 426"/>
                <a:gd name="T51" fmla="*/ 2147483647 h 222"/>
                <a:gd name="T52" fmla="*/ 2147483647 w 426"/>
                <a:gd name="T53" fmla="*/ 0 h 222"/>
                <a:gd name="T54" fmla="*/ 2147483647 w 426"/>
                <a:gd name="T55" fmla="*/ 2147483647 h 222"/>
                <a:gd name="T56" fmla="*/ 2147483647 w 426"/>
                <a:gd name="T57" fmla="*/ 2147483647 h 222"/>
                <a:gd name="T58" fmla="*/ 2147483647 w 426"/>
                <a:gd name="T59" fmla="*/ 2147483647 h 222"/>
                <a:gd name="T60" fmla="*/ 2147483647 w 426"/>
                <a:gd name="T61" fmla="*/ 2147483647 h 222"/>
                <a:gd name="T62" fmla="*/ 2147483647 w 426"/>
                <a:gd name="T63" fmla="*/ 2147483647 h 222"/>
                <a:gd name="T64" fmla="*/ 2147483647 w 426"/>
                <a:gd name="T65" fmla="*/ 2147483647 h 222"/>
                <a:gd name="T66" fmla="*/ 2147483647 w 426"/>
                <a:gd name="T67" fmla="*/ 2147483647 h 222"/>
                <a:gd name="T68" fmla="*/ 2147483647 w 426"/>
                <a:gd name="T69" fmla="*/ 2147483647 h 222"/>
                <a:gd name="T70" fmla="*/ 2147483647 w 426"/>
                <a:gd name="T71" fmla="*/ 2147483647 h 22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426"/>
                <a:gd name="T109" fmla="*/ 0 h 222"/>
                <a:gd name="T110" fmla="*/ 426 w 426"/>
                <a:gd name="T111" fmla="*/ 222 h 22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426" h="222">
                  <a:moveTo>
                    <a:pt x="42" y="66"/>
                  </a:moveTo>
                  <a:lnTo>
                    <a:pt x="24" y="66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18" y="96"/>
                  </a:lnTo>
                  <a:lnTo>
                    <a:pt x="18" y="120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12" y="150"/>
                  </a:lnTo>
                  <a:lnTo>
                    <a:pt x="30" y="162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48" y="180"/>
                  </a:lnTo>
                  <a:lnTo>
                    <a:pt x="60" y="192"/>
                  </a:lnTo>
                  <a:lnTo>
                    <a:pt x="72" y="198"/>
                  </a:lnTo>
                  <a:lnTo>
                    <a:pt x="78" y="204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14" y="222"/>
                  </a:lnTo>
                  <a:lnTo>
                    <a:pt x="156" y="216"/>
                  </a:lnTo>
                  <a:lnTo>
                    <a:pt x="168" y="210"/>
                  </a:lnTo>
                  <a:lnTo>
                    <a:pt x="174" y="204"/>
                  </a:lnTo>
                  <a:lnTo>
                    <a:pt x="198" y="204"/>
                  </a:lnTo>
                  <a:lnTo>
                    <a:pt x="216" y="186"/>
                  </a:lnTo>
                  <a:lnTo>
                    <a:pt x="240" y="186"/>
                  </a:lnTo>
                  <a:lnTo>
                    <a:pt x="258" y="198"/>
                  </a:lnTo>
                  <a:lnTo>
                    <a:pt x="288" y="192"/>
                  </a:lnTo>
                  <a:lnTo>
                    <a:pt x="288" y="174"/>
                  </a:lnTo>
                  <a:lnTo>
                    <a:pt x="306" y="180"/>
                  </a:lnTo>
                  <a:lnTo>
                    <a:pt x="312" y="174"/>
                  </a:lnTo>
                  <a:lnTo>
                    <a:pt x="324" y="168"/>
                  </a:lnTo>
                  <a:lnTo>
                    <a:pt x="330" y="162"/>
                  </a:lnTo>
                  <a:lnTo>
                    <a:pt x="330" y="144"/>
                  </a:lnTo>
                  <a:lnTo>
                    <a:pt x="336" y="138"/>
                  </a:lnTo>
                  <a:lnTo>
                    <a:pt x="348" y="132"/>
                  </a:lnTo>
                  <a:lnTo>
                    <a:pt x="366" y="114"/>
                  </a:lnTo>
                  <a:lnTo>
                    <a:pt x="366" y="72"/>
                  </a:lnTo>
                  <a:lnTo>
                    <a:pt x="378" y="60"/>
                  </a:lnTo>
                  <a:lnTo>
                    <a:pt x="408" y="60"/>
                  </a:lnTo>
                  <a:lnTo>
                    <a:pt x="426" y="42"/>
                  </a:lnTo>
                  <a:lnTo>
                    <a:pt x="420" y="36"/>
                  </a:lnTo>
                  <a:lnTo>
                    <a:pt x="408" y="36"/>
                  </a:lnTo>
                  <a:lnTo>
                    <a:pt x="402" y="30"/>
                  </a:lnTo>
                  <a:lnTo>
                    <a:pt x="396" y="30"/>
                  </a:lnTo>
                  <a:lnTo>
                    <a:pt x="372" y="6"/>
                  </a:lnTo>
                  <a:lnTo>
                    <a:pt x="348" y="6"/>
                  </a:lnTo>
                  <a:lnTo>
                    <a:pt x="336" y="12"/>
                  </a:lnTo>
                  <a:lnTo>
                    <a:pt x="324" y="12"/>
                  </a:lnTo>
                  <a:lnTo>
                    <a:pt x="324" y="0"/>
                  </a:lnTo>
                  <a:lnTo>
                    <a:pt x="312" y="0"/>
                  </a:lnTo>
                  <a:lnTo>
                    <a:pt x="312" y="18"/>
                  </a:lnTo>
                  <a:lnTo>
                    <a:pt x="294" y="12"/>
                  </a:lnTo>
                  <a:lnTo>
                    <a:pt x="294" y="0"/>
                  </a:lnTo>
                  <a:lnTo>
                    <a:pt x="270" y="0"/>
                  </a:lnTo>
                  <a:lnTo>
                    <a:pt x="264" y="12"/>
                  </a:lnTo>
                  <a:lnTo>
                    <a:pt x="252" y="24"/>
                  </a:lnTo>
                  <a:lnTo>
                    <a:pt x="246" y="24"/>
                  </a:lnTo>
                  <a:lnTo>
                    <a:pt x="234" y="30"/>
                  </a:lnTo>
                  <a:lnTo>
                    <a:pt x="210" y="30"/>
                  </a:lnTo>
                  <a:lnTo>
                    <a:pt x="204" y="42"/>
                  </a:lnTo>
                  <a:lnTo>
                    <a:pt x="168" y="36"/>
                  </a:lnTo>
                  <a:lnTo>
                    <a:pt x="156" y="60"/>
                  </a:lnTo>
                  <a:lnTo>
                    <a:pt x="144" y="60"/>
                  </a:lnTo>
                  <a:lnTo>
                    <a:pt x="126" y="66"/>
                  </a:lnTo>
                  <a:lnTo>
                    <a:pt x="84" y="66"/>
                  </a:lnTo>
                  <a:lnTo>
                    <a:pt x="78" y="60"/>
                  </a:lnTo>
                  <a:lnTo>
                    <a:pt x="72" y="48"/>
                  </a:lnTo>
                  <a:lnTo>
                    <a:pt x="66" y="42"/>
                  </a:lnTo>
                  <a:lnTo>
                    <a:pt x="54" y="60"/>
                  </a:lnTo>
                  <a:lnTo>
                    <a:pt x="42" y="54"/>
                  </a:lnTo>
                  <a:lnTo>
                    <a:pt x="42" y="6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124" name="Honduras" descr="© INSCALE GmbH, 05.05.2010&#10;http://www.presentationload.com/"/>
            <p:cNvSpPr>
              <a:spLocks/>
            </p:cNvSpPr>
            <p:nvPr/>
          </p:nvSpPr>
          <p:spPr bwMode="gray">
            <a:xfrm>
              <a:off x="2423114" y="3903289"/>
              <a:ext cx="145902" cy="77162"/>
            </a:xfrm>
            <a:custGeom>
              <a:avLst/>
              <a:gdLst>
                <a:gd name="T0" fmla="*/ 2147483647 w 444"/>
                <a:gd name="T1" fmla="*/ 2147483647 h 246"/>
                <a:gd name="T2" fmla="*/ 2147483647 w 444"/>
                <a:gd name="T3" fmla="*/ 2147483647 h 246"/>
                <a:gd name="T4" fmla="*/ 2147483647 w 444"/>
                <a:gd name="T5" fmla="*/ 2147483647 h 246"/>
                <a:gd name="T6" fmla="*/ 2147483647 w 444"/>
                <a:gd name="T7" fmla="*/ 2147483647 h 246"/>
                <a:gd name="T8" fmla="*/ 2147483647 w 444"/>
                <a:gd name="T9" fmla="*/ 2147483647 h 246"/>
                <a:gd name="T10" fmla="*/ 2147483647 w 444"/>
                <a:gd name="T11" fmla="*/ 2147483647 h 246"/>
                <a:gd name="T12" fmla="*/ 2147483647 w 444"/>
                <a:gd name="T13" fmla="*/ 2147483647 h 246"/>
                <a:gd name="T14" fmla="*/ 2147483647 w 444"/>
                <a:gd name="T15" fmla="*/ 2147483647 h 246"/>
                <a:gd name="T16" fmla="*/ 2147483647 w 444"/>
                <a:gd name="T17" fmla="*/ 2147483647 h 246"/>
                <a:gd name="T18" fmla="*/ 2147483647 w 444"/>
                <a:gd name="T19" fmla="*/ 2147483647 h 246"/>
                <a:gd name="T20" fmla="*/ 2147483647 w 444"/>
                <a:gd name="T21" fmla="*/ 2147483647 h 246"/>
                <a:gd name="T22" fmla="*/ 2147483647 w 444"/>
                <a:gd name="T23" fmla="*/ 2147483647 h 246"/>
                <a:gd name="T24" fmla="*/ 2147483647 w 444"/>
                <a:gd name="T25" fmla="*/ 2147483647 h 246"/>
                <a:gd name="T26" fmla="*/ 2147483647 w 444"/>
                <a:gd name="T27" fmla="*/ 2147483647 h 246"/>
                <a:gd name="T28" fmla="*/ 2147483647 w 444"/>
                <a:gd name="T29" fmla="*/ 2147483647 h 246"/>
                <a:gd name="T30" fmla="*/ 2147483647 w 444"/>
                <a:gd name="T31" fmla="*/ 2147483647 h 246"/>
                <a:gd name="T32" fmla="*/ 2147483647 w 444"/>
                <a:gd name="T33" fmla="*/ 2147483647 h 246"/>
                <a:gd name="T34" fmla="*/ 2147483647 w 444"/>
                <a:gd name="T35" fmla="*/ 2147483647 h 246"/>
                <a:gd name="T36" fmla="*/ 2147483647 w 444"/>
                <a:gd name="T37" fmla="*/ 2147483647 h 246"/>
                <a:gd name="T38" fmla="*/ 2147483647 w 444"/>
                <a:gd name="T39" fmla="*/ 0 h 246"/>
                <a:gd name="T40" fmla="*/ 2147483647 w 444"/>
                <a:gd name="T41" fmla="*/ 2147483647 h 246"/>
                <a:gd name="T42" fmla="*/ 2147483647 w 444"/>
                <a:gd name="T43" fmla="*/ 2147483647 h 246"/>
                <a:gd name="T44" fmla="*/ 2147483647 w 444"/>
                <a:gd name="T45" fmla="*/ 0 h 246"/>
                <a:gd name="T46" fmla="*/ 2147483647 w 444"/>
                <a:gd name="T47" fmla="*/ 2147483647 h 246"/>
                <a:gd name="T48" fmla="*/ 2147483647 w 444"/>
                <a:gd name="T49" fmla="*/ 2147483647 h 246"/>
                <a:gd name="T50" fmla="*/ 2147483647 w 444"/>
                <a:gd name="T51" fmla="*/ 2147483647 h 246"/>
                <a:gd name="T52" fmla="*/ 2147483647 w 444"/>
                <a:gd name="T53" fmla="*/ 2147483647 h 246"/>
                <a:gd name="T54" fmla="*/ 2147483647 w 444"/>
                <a:gd name="T55" fmla="*/ 2147483647 h 246"/>
                <a:gd name="T56" fmla="*/ 2147483647 w 444"/>
                <a:gd name="T57" fmla="*/ 2147483647 h 246"/>
                <a:gd name="T58" fmla="*/ 2147483647 w 444"/>
                <a:gd name="T59" fmla="*/ 2147483647 h 246"/>
                <a:gd name="T60" fmla="*/ 2147483647 w 444"/>
                <a:gd name="T61" fmla="*/ 0 h 246"/>
                <a:gd name="T62" fmla="*/ 2147483647 w 444"/>
                <a:gd name="T63" fmla="*/ 2147483647 h 246"/>
                <a:gd name="T64" fmla="*/ 2147483647 w 444"/>
                <a:gd name="T65" fmla="*/ 2147483647 h 246"/>
                <a:gd name="T66" fmla="*/ 2147483647 w 444"/>
                <a:gd name="T67" fmla="*/ 2147483647 h 246"/>
                <a:gd name="T68" fmla="*/ 2147483647 w 444"/>
                <a:gd name="T69" fmla="*/ 2147483647 h 246"/>
                <a:gd name="T70" fmla="*/ 2147483647 w 444"/>
                <a:gd name="T71" fmla="*/ 2147483647 h 246"/>
                <a:gd name="T72" fmla="*/ 0 w 444"/>
                <a:gd name="T73" fmla="*/ 2147483647 h 246"/>
                <a:gd name="T74" fmla="*/ 2147483647 w 444"/>
                <a:gd name="T75" fmla="*/ 2147483647 h 246"/>
                <a:gd name="T76" fmla="*/ 2147483647 w 444"/>
                <a:gd name="T77" fmla="*/ 2147483647 h 246"/>
                <a:gd name="T78" fmla="*/ 2147483647 w 444"/>
                <a:gd name="T79" fmla="*/ 2147483647 h 246"/>
                <a:gd name="T80" fmla="*/ 2147483647 w 444"/>
                <a:gd name="T81" fmla="*/ 2147483647 h 246"/>
                <a:gd name="T82" fmla="*/ 2147483647 w 444"/>
                <a:gd name="T83" fmla="*/ 2147483647 h 246"/>
                <a:gd name="T84" fmla="*/ 2147483647 w 444"/>
                <a:gd name="T85" fmla="*/ 2147483647 h 246"/>
                <a:gd name="T86" fmla="*/ 2147483647 w 444"/>
                <a:gd name="T87" fmla="*/ 2147483647 h 24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44"/>
                <a:gd name="T133" fmla="*/ 0 h 246"/>
                <a:gd name="T134" fmla="*/ 444 w 444"/>
                <a:gd name="T135" fmla="*/ 246 h 24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44" h="246">
                  <a:moveTo>
                    <a:pt x="156" y="240"/>
                  </a:moveTo>
                  <a:lnTo>
                    <a:pt x="156" y="222"/>
                  </a:lnTo>
                  <a:lnTo>
                    <a:pt x="174" y="222"/>
                  </a:lnTo>
                  <a:lnTo>
                    <a:pt x="168" y="216"/>
                  </a:lnTo>
                  <a:lnTo>
                    <a:pt x="168" y="204"/>
                  </a:lnTo>
                  <a:lnTo>
                    <a:pt x="162" y="198"/>
                  </a:lnTo>
                  <a:lnTo>
                    <a:pt x="162" y="186"/>
                  </a:lnTo>
                  <a:lnTo>
                    <a:pt x="168" y="180"/>
                  </a:lnTo>
                  <a:lnTo>
                    <a:pt x="204" y="180"/>
                  </a:lnTo>
                  <a:lnTo>
                    <a:pt x="210" y="168"/>
                  </a:lnTo>
                  <a:lnTo>
                    <a:pt x="216" y="162"/>
                  </a:lnTo>
                  <a:lnTo>
                    <a:pt x="228" y="162"/>
                  </a:lnTo>
                  <a:lnTo>
                    <a:pt x="228" y="168"/>
                  </a:lnTo>
                  <a:lnTo>
                    <a:pt x="234" y="174"/>
                  </a:lnTo>
                  <a:lnTo>
                    <a:pt x="252" y="174"/>
                  </a:lnTo>
                  <a:lnTo>
                    <a:pt x="276" y="150"/>
                  </a:lnTo>
                  <a:lnTo>
                    <a:pt x="288" y="126"/>
                  </a:lnTo>
                  <a:lnTo>
                    <a:pt x="306" y="126"/>
                  </a:lnTo>
                  <a:lnTo>
                    <a:pt x="306" y="108"/>
                  </a:lnTo>
                  <a:lnTo>
                    <a:pt x="318" y="96"/>
                  </a:lnTo>
                  <a:lnTo>
                    <a:pt x="330" y="96"/>
                  </a:lnTo>
                  <a:lnTo>
                    <a:pt x="348" y="114"/>
                  </a:lnTo>
                  <a:lnTo>
                    <a:pt x="360" y="114"/>
                  </a:lnTo>
                  <a:lnTo>
                    <a:pt x="372" y="102"/>
                  </a:lnTo>
                  <a:lnTo>
                    <a:pt x="372" y="96"/>
                  </a:lnTo>
                  <a:lnTo>
                    <a:pt x="420" y="96"/>
                  </a:lnTo>
                  <a:lnTo>
                    <a:pt x="426" y="90"/>
                  </a:lnTo>
                  <a:lnTo>
                    <a:pt x="432" y="90"/>
                  </a:lnTo>
                  <a:lnTo>
                    <a:pt x="444" y="84"/>
                  </a:lnTo>
                  <a:lnTo>
                    <a:pt x="444" y="78"/>
                  </a:lnTo>
                  <a:lnTo>
                    <a:pt x="426" y="60"/>
                  </a:lnTo>
                  <a:lnTo>
                    <a:pt x="402" y="48"/>
                  </a:lnTo>
                  <a:lnTo>
                    <a:pt x="396" y="48"/>
                  </a:lnTo>
                  <a:lnTo>
                    <a:pt x="390" y="42"/>
                  </a:lnTo>
                  <a:lnTo>
                    <a:pt x="384" y="30"/>
                  </a:lnTo>
                  <a:lnTo>
                    <a:pt x="372" y="24"/>
                  </a:lnTo>
                  <a:lnTo>
                    <a:pt x="366" y="18"/>
                  </a:lnTo>
                  <a:lnTo>
                    <a:pt x="348" y="18"/>
                  </a:lnTo>
                  <a:lnTo>
                    <a:pt x="342" y="6"/>
                  </a:lnTo>
                  <a:lnTo>
                    <a:pt x="336" y="0"/>
                  </a:lnTo>
                  <a:lnTo>
                    <a:pt x="312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82" y="12"/>
                  </a:lnTo>
                  <a:lnTo>
                    <a:pt x="270" y="0"/>
                  </a:lnTo>
                  <a:lnTo>
                    <a:pt x="252" y="0"/>
                  </a:lnTo>
                  <a:lnTo>
                    <a:pt x="240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186" y="24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44" y="18"/>
                  </a:lnTo>
                  <a:lnTo>
                    <a:pt x="138" y="24"/>
                  </a:lnTo>
                  <a:lnTo>
                    <a:pt x="132" y="24"/>
                  </a:lnTo>
                  <a:lnTo>
                    <a:pt x="132" y="18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14" y="0"/>
                  </a:lnTo>
                  <a:lnTo>
                    <a:pt x="96" y="18"/>
                  </a:lnTo>
                  <a:lnTo>
                    <a:pt x="90" y="18"/>
                  </a:lnTo>
                  <a:lnTo>
                    <a:pt x="84" y="30"/>
                  </a:lnTo>
                  <a:lnTo>
                    <a:pt x="72" y="36"/>
                  </a:lnTo>
                  <a:lnTo>
                    <a:pt x="60" y="48"/>
                  </a:lnTo>
                  <a:lnTo>
                    <a:pt x="48" y="54"/>
                  </a:lnTo>
                  <a:lnTo>
                    <a:pt x="36" y="66"/>
                  </a:lnTo>
                  <a:lnTo>
                    <a:pt x="24" y="72"/>
                  </a:lnTo>
                  <a:lnTo>
                    <a:pt x="18" y="84"/>
                  </a:lnTo>
                  <a:lnTo>
                    <a:pt x="18" y="102"/>
                  </a:lnTo>
                  <a:lnTo>
                    <a:pt x="12" y="114"/>
                  </a:lnTo>
                  <a:lnTo>
                    <a:pt x="0" y="126"/>
                  </a:lnTo>
                  <a:lnTo>
                    <a:pt x="6" y="138"/>
                  </a:lnTo>
                  <a:lnTo>
                    <a:pt x="18" y="150"/>
                  </a:lnTo>
                  <a:lnTo>
                    <a:pt x="42" y="150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6" y="168"/>
                  </a:lnTo>
                  <a:lnTo>
                    <a:pt x="102" y="168"/>
                  </a:lnTo>
                  <a:lnTo>
                    <a:pt x="102" y="210"/>
                  </a:lnTo>
                  <a:lnTo>
                    <a:pt x="126" y="222"/>
                  </a:lnTo>
                  <a:lnTo>
                    <a:pt x="132" y="228"/>
                  </a:lnTo>
                  <a:lnTo>
                    <a:pt x="132" y="246"/>
                  </a:lnTo>
                  <a:lnTo>
                    <a:pt x="144" y="246"/>
                  </a:lnTo>
                  <a:lnTo>
                    <a:pt x="156" y="24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125" name="Haiti" descr="© INSCALE GmbH, 05.05.2010&#10;http://www.presentationload.com/"/>
            <p:cNvSpPr>
              <a:spLocks/>
            </p:cNvSpPr>
            <p:nvPr/>
          </p:nvSpPr>
          <p:spPr bwMode="gray">
            <a:xfrm>
              <a:off x="2778910" y="3806530"/>
              <a:ext cx="63992" cy="48992"/>
            </a:xfrm>
            <a:custGeom>
              <a:avLst/>
              <a:gdLst>
                <a:gd name="T0" fmla="*/ 2147483647 w 198"/>
                <a:gd name="T1" fmla="*/ 2147483647 h 156"/>
                <a:gd name="T2" fmla="*/ 2147483647 w 198"/>
                <a:gd name="T3" fmla="*/ 2147483647 h 156"/>
                <a:gd name="T4" fmla="*/ 2147483647 w 198"/>
                <a:gd name="T5" fmla="*/ 2147483647 h 156"/>
                <a:gd name="T6" fmla="*/ 2147483647 w 198"/>
                <a:gd name="T7" fmla="*/ 2147483647 h 156"/>
                <a:gd name="T8" fmla="*/ 2147483647 w 198"/>
                <a:gd name="T9" fmla="*/ 2147483647 h 156"/>
                <a:gd name="T10" fmla="*/ 2147483647 w 198"/>
                <a:gd name="T11" fmla="*/ 2147483647 h 156"/>
                <a:gd name="T12" fmla="*/ 2147483647 w 198"/>
                <a:gd name="T13" fmla="*/ 2147483647 h 156"/>
                <a:gd name="T14" fmla="*/ 2147483647 w 198"/>
                <a:gd name="T15" fmla="*/ 2147483647 h 156"/>
                <a:gd name="T16" fmla="*/ 2147483647 w 198"/>
                <a:gd name="T17" fmla="*/ 2147483647 h 156"/>
                <a:gd name="T18" fmla="*/ 2147483647 w 198"/>
                <a:gd name="T19" fmla="*/ 2147483647 h 156"/>
                <a:gd name="T20" fmla="*/ 2147483647 w 198"/>
                <a:gd name="T21" fmla="*/ 2147483647 h 156"/>
                <a:gd name="T22" fmla="*/ 2147483647 w 198"/>
                <a:gd name="T23" fmla="*/ 2147483647 h 156"/>
                <a:gd name="T24" fmla="*/ 2147483647 w 198"/>
                <a:gd name="T25" fmla="*/ 2147483647 h 156"/>
                <a:gd name="T26" fmla="*/ 2147483647 w 198"/>
                <a:gd name="T27" fmla="*/ 2147483647 h 156"/>
                <a:gd name="T28" fmla="*/ 2147483647 w 198"/>
                <a:gd name="T29" fmla="*/ 2147483647 h 156"/>
                <a:gd name="T30" fmla="*/ 2147483647 w 198"/>
                <a:gd name="T31" fmla="*/ 2147483647 h 156"/>
                <a:gd name="T32" fmla="*/ 2147483647 w 198"/>
                <a:gd name="T33" fmla="*/ 2147483647 h 156"/>
                <a:gd name="T34" fmla="*/ 2147483647 w 198"/>
                <a:gd name="T35" fmla="*/ 0 h 156"/>
                <a:gd name="T36" fmla="*/ 2147483647 w 198"/>
                <a:gd name="T37" fmla="*/ 0 h 156"/>
                <a:gd name="T38" fmla="*/ 2147483647 w 198"/>
                <a:gd name="T39" fmla="*/ 2147483647 h 156"/>
                <a:gd name="T40" fmla="*/ 2147483647 w 198"/>
                <a:gd name="T41" fmla="*/ 2147483647 h 156"/>
                <a:gd name="T42" fmla="*/ 2147483647 w 198"/>
                <a:gd name="T43" fmla="*/ 2147483647 h 156"/>
                <a:gd name="T44" fmla="*/ 2147483647 w 198"/>
                <a:gd name="T45" fmla="*/ 2147483647 h 156"/>
                <a:gd name="T46" fmla="*/ 2147483647 w 198"/>
                <a:gd name="T47" fmla="*/ 2147483647 h 156"/>
                <a:gd name="T48" fmla="*/ 2147483647 w 198"/>
                <a:gd name="T49" fmla="*/ 2147483647 h 156"/>
                <a:gd name="T50" fmla="*/ 2147483647 w 198"/>
                <a:gd name="T51" fmla="*/ 2147483647 h 156"/>
                <a:gd name="T52" fmla="*/ 2147483647 w 198"/>
                <a:gd name="T53" fmla="*/ 2147483647 h 156"/>
                <a:gd name="T54" fmla="*/ 2147483647 w 198"/>
                <a:gd name="T55" fmla="*/ 2147483647 h 156"/>
                <a:gd name="T56" fmla="*/ 2147483647 w 198"/>
                <a:gd name="T57" fmla="*/ 2147483647 h 156"/>
                <a:gd name="T58" fmla="*/ 2147483647 w 198"/>
                <a:gd name="T59" fmla="*/ 2147483647 h 156"/>
                <a:gd name="T60" fmla="*/ 2147483647 w 198"/>
                <a:gd name="T61" fmla="*/ 2147483647 h 156"/>
                <a:gd name="T62" fmla="*/ 2147483647 w 198"/>
                <a:gd name="T63" fmla="*/ 2147483647 h 156"/>
                <a:gd name="T64" fmla="*/ 2147483647 w 198"/>
                <a:gd name="T65" fmla="*/ 2147483647 h 156"/>
                <a:gd name="T66" fmla="*/ 2147483647 w 198"/>
                <a:gd name="T67" fmla="*/ 2147483647 h 156"/>
                <a:gd name="T68" fmla="*/ 2147483647 w 198"/>
                <a:gd name="T69" fmla="*/ 2147483647 h 156"/>
                <a:gd name="T70" fmla="*/ 2147483647 w 198"/>
                <a:gd name="T71" fmla="*/ 2147483647 h 156"/>
                <a:gd name="T72" fmla="*/ 2147483647 w 198"/>
                <a:gd name="T73" fmla="*/ 2147483647 h 156"/>
                <a:gd name="T74" fmla="*/ 2147483647 w 198"/>
                <a:gd name="T75" fmla="*/ 2147483647 h 156"/>
                <a:gd name="T76" fmla="*/ 2147483647 w 198"/>
                <a:gd name="T77" fmla="*/ 2147483647 h 156"/>
                <a:gd name="T78" fmla="*/ 2147483647 w 198"/>
                <a:gd name="T79" fmla="*/ 2147483647 h 156"/>
                <a:gd name="T80" fmla="*/ 2147483647 w 198"/>
                <a:gd name="T81" fmla="*/ 2147483647 h 156"/>
                <a:gd name="T82" fmla="*/ 0 w 198"/>
                <a:gd name="T83" fmla="*/ 2147483647 h 156"/>
                <a:gd name="T84" fmla="*/ 0 w 198"/>
                <a:gd name="T85" fmla="*/ 2147483647 h 156"/>
                <a:gd name="T86" fmla="*/ 2147483647 w 198"/>
                <a:gd name="T87" fmla="*/ 2147483647 h 156"/>
                <a:gd name="T88" fmla="*/ 2147483647 w 198"/>
                <a:gd name="T89" fmla="*/ 2147483647 h 156"/>
                <a:gd name="T90" fmla="*/ 2147483647 w 198"/>
                <a:gd name="T91" fmla="*/ 2147483647 h 156"/>
                <a:gd name="T92" fmla="*/ 2147483647 w 198"/>
                <a:gd name="T93" fmla="*/ 2147483647 h 156"/>
                <a:gd name="T94" fmla="*/ 2147483647 w 198"/>
                <a:gd name="T95" fmla="*/ 2147483647 h 156"/>
                <a:gd name="T96" fmla="*/ 2147483647 w 198"/>
                <a:gd name="T97" fmla="*/ 2147483647 h 156"/>
                <a:gd name="T98" fmla="*/ 2147483647 w 198"/>
                <a:gd name="T99" fmla="*/ 2147483647 h 156"/>
                <a:gd name="T100" fmla="*/ 2147483647 w 198"/>
                <a:gd name="T101" fmla="*/ 2147483647 h 156"/>
                <a:gd name="T102" fmla="*/ 2147483647 w 198"/>
                <a:gd name="T103" fmla="*/ 2147483647 h 156"/>
                <a:gd name="T104" fmla="*/ 2147483647 w 198"/>
                <a:gd name="T105" fmla="*/ 2147483647 h 156"/>
                <a:gd name="T106" fmla="*/ 2147483647 w 198"/>
                <a:gd name="T107" fmla="*/ 2147483647 h 156"/>
                <a:gd name="T108" fmla="*/ 2147483647 w 198"/>
                <a:gd name="T109" fmla="*/ 2147483647 h 156"/>
                <a:gd name="T110" fmla="*/ 2147483647 w 198"/>
                <a:gd name="T111" fmla="*/ 2147483647 h 156"/>
                <a:gd name="T112" fmla="*/ 2147483647 w 198"/>
                <a:gd name="T113" fmla="*/ 2147483647 h 15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98"/>
                <a:gd name="T172" fmla="*/ 0 h 156"/>
                <a:gd name="T173" fmla="*/ 198 w 198"/>
                <a:gd name="T174" fmla="*/ 156 h 15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98" h="156">
                  <a:moveTo>
                    <a:pt x="168" y="114"/>
                  </a:moveTo>
                  <a:lnTo>
                    <a:pt x="168" y="108"/>
                  </a:lnTo>
                  <a:lnTo>
                    <a:pt x="174" y="102"/>
                  </a:lnTo>
                  <a:lnTo>
                    <a:pt x="180" y="90"/>
                  </a:lnTo>
                  <a:lnTo>
                    <a:pt x="180" y="78"/>
                  </a:lnTo>
                  <a:lnTo>
                    <a:pt x="186" y="72"/>
                  </a:lnTo>
                  <a:lnTo>
                    <a:pt x="192" y="60"/>
                  </a:lnTo>
                  <a:lnTo>
                    <a:pt x="198" y="54"/>
                  </a:lnTo>
                  <a:lnTo>
                    <a:pt x="198" y="42"/>
                  </a:lnTo>
                  <a:lnTo>
                    <a:pt x="186" y="6"/>
                  </a:lnTo>
                  <a:lnTo>
                    <a:pt x="180" y="12"/>
                  </a:lnTo>
                  <a:lnTo>
                    <a:pt x="180" y="18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44" y="6"/>
                  </a:lnTo>
                  <a:lnTo>
                    <a:pt x="126" y="6"/>
                  </a:lnTo>
                  <a:lnTo>
                    <a:pt x="114" y="0"/>
                  </a:lnTo>
                  <a:lnTo>
                    <a:pt x="8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66" y="18"/>
                  </a:lnTo>
                  <a:lnTo>
                    <a:pt x="72" y="24"/>
                  </a:lnTo>
                  <a:lnTo>
                    <a:pt x="108" y="24"/>
                  </a:lnTo>
                  <a:lnTo>
                    <a:pt x="114" y="30"/>
                  </a:lnTo>
                  <a:lnTo>
                    <a:pt x="120" y="42"/>
                  </a:lnTo>
                  <a:lnTo>
                    <a:pt x="126" y="48"/>
                  </a:lnTo>
                  <a:lnTo>
                    <a:pt x="114" y="54"/>
                  </a:lnTo>
                  <a:lnTo>
                    <a:pt x="108" y="60"/>
                  </a:lnTo>
                  <a:lnTo>
                    <a:pt x="108" y="72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8"/>
                  </a:lnTo>
                  <a:lnTo>
                    <a:pt x="96" y="108"/>
                  </a:lnTo>
                  <a:lnTo>
                    <a:pt x="78" y="102"/>
                  </a:lnTo>
                  <a:lnTo>
                    <a:pt x="66" y="102"/>
                  </a:lnTo>
                  <a:lnTo>
                    <a:pt x="54" y="96"/>
                  </a:lnTo>
                  <a:lnTo>
                    <a:pt x="36" y="96"/>
                  </a:lnTo>
                  <a:lnTo>
                    <a:pt x="24" y="102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6" y="120"/>
                  </a:lnTo>
                  <a:lnTo>
                    <a:pt x="12" y="132"/>
                  </a:lnTo>
                  <a:lnTo>
                    <a:pt x="24" y="138"/>
                  </a:lnTo>
                  <a:lnTo>
                    <a:pt x="30" y="150"/>
                  </a:lnTo>
                  <a:lnTo>
                    <a:pt x="36" y="156"/>
                  </a:lnTo>
                  <a:lnTo>
                    <a:pt x="42" y="156"/>
                  </a:lnTo>
                  <a:lnTo>
                    <a:pt x="48" y="150"/>
                  </a:lnTo>
                  <a:lnTo>
                    <a:pt x="54" y="138"/>
                  </a:lnTo>
                  <a:lnTo>
                    <a:pt x="60" y="132"/>
                  </a:lnTo>
                  <a:lnTo>
                    <a:pt x="138" y="132"/>
                  </a:lnTo>
                  <a:lnTo>
                    <a:pt x="156" y="126"/>
                  </a:lnTo>
                  <a:lnTo>
                    <a:pt x="168" y="126"/>
                  </a:lnTo>
                  <a:lnTo>
                    <a:pt x="180" y="144"/>
                  </a:lnTo>
                  <a:lnTo>
                    <a:pt x="168" y="11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126" name="Guyane (French Guiana)" descr="© INSCALE GmbH, 05.05.2010&#10;http://www.presentationload.com/"/>
            <p:cNvSpPr>
              <a:spLocks/>
            </p:cNvSpPr>
            <p:nvPr/>
          </p:nvSpPr>
          <p:spPr bwMode="gray">
            <a:xfrm>
              <a:off x="3205097" y="4160495"/>
              <a:ext cx="66552" cy="91859"/>
            </a:xfrm>
            <a:custGeom>
              <a:avLst/>
              <a:gdLst>
                <a:gd name="T0" fmla="*/ 2147483647 w 52"/>
                <a:gd name="T1" fmla="*/ 2147483647 h 76"/>
                <a:gd name="T2" fmla="*/ 2147483647 w 52"/>
                <a:gd name="T3" fmla="*/ 2147483647 h 76"/>
                <a:gd name="T4" fmla="*/ 2147483647 w 52"/>
                <a:gd name="T5" fmla="*/ 2147483647 h 76"/>
                <a:gd name="T6" fmla="*/ 2147483647 w 52"/>
                <a:gd name="T7" fmla="*/ 2147483647 h 76"/>
                <a:gd name="T8" fmla="*/ 2147483647 w 52"/>
                <a:gd name="T9" fmla="*/ 2147483647 h 76"/>
                <a:gd name="T10" fmla="*/ 2147483647 w 52"/>
                <a:gd name="T11" fmla="*/ 2147483647 h 76"/>
                <a:gd name="T12" fmla="*/ 2147483647 w 52"/>
                <a:gd name="T13" fmla="*/ 2147483647 h 76"/>
                <a:gd name="T14" fmla="*/ 2147483647 w 52"/>
                <a:gd name="T15" fmla="*/ 2147483647 h 76"/>
                <a:gd name="T16" fmla="*/ 2147483647 w 52"/>
                <a:gd name="T17" fmla="*/ 2147483647 h 76"/>
                <a:gd name="T18" fmla="*/ 2147483647 w 52"/>
                <a:gd name="T19" fmla="*/ 2147483647 h 76"/>
                <a:gd name="T20" fmla="*/ 2147483647 w 52"/>
                <a:gd name="T21" fmla="*/ 2147483647 h 76"/>
                <a:gd name="T22" fmla="*/ 2147483647 w 52"/>
                <a:gd name="T23" fmla="*/ 0 h 76"/>
                <a:gd name="T24" fmla="*/ 2147483647 w 52"/>
                <a:gd name="T25" fmla="*/ 2147483647 h 76"/>
                <a:gd name="T26" fmla="*/ 2147483647 w 52"/>
                <a:gd name="T27" fmla="*/ 2147483647 h 76"/>
                <a:gd name="T28" fmla="*/ 2147483647 w 52"/>
                <a:gd name="T29" fmla="*/ 2147483647 h 76"/>
                <a:gd name="T30" fmla="*/ 2147483647 w 52"/>
                <a:gd name="T31" fmla="*/ 2147483647 h 76"/>
                <a:gd name="T32" fmla="*/ 2147483647 w 52"/>
                <a:gd name="T33" fmla="*/ 2147483647 h 76"/>
                <a:gd name="T34" fmla="*/ 2147483647 w 52"/>
                <a:gd name="T35" fmla="*/ 2147483647 h 76"/>
                <a:gd name="T36" fmla="*/ 2147483647 w 52"/>
                <a:gd name="T37" fmla="*/ 2147483647 h 76"/>
                <a:gd name="T38" fmla="*/ 2147483647 w 52"/>
                <a:gd name="T39" fmla="*/ 2147483647 h 76"/>
                <a:gd name="T40" fmla="*/ 2147483647 w 52"/>
                <a:gd name="T41" fmla="*/ 2147483647 h 76"/>
                <a:gd name="T42" fmla="*/ 2147483647 w 52"/>
                <a:gd name="T43" fmla="*/ 2147483647 h 76"/>
                <a:gd name="T44" fmla="*/ 2147483647 w 52"/>
                <a:gd name="T45" fmla="*/ 2147483647 h 76"/>
                <a:gd name="T46" fmla="*/ 2147483647 w 52"/>
                <a:gd name="T47" fmla="*/ 2147483647 h 76"/>
                <a:gd name="T48" fmla="*/ 2147483647 w 52"/>
                <a:gd name="T49" fmla="*/ 2147483647 h 76"/>
                <a:gd name="T50" fmla="*/ 2147483647 w 52"/>
                <a:gd name="T51" fmla="*/ 2147483647 h 76"/>
                <a:gd name="T52" fmla="*/ 2147483647 w 52"/>
                <a:gd name="T53" fmla="*/ 2147483647 h 76"/>
                <a:gd name="T54" fmla="*/ 2147483647 w 52"/>
                <a:gd name="T55" fmla="*/ 2147483647 h 76"/>
                <a:gd name="T56" fmla="*/ 2147483647 w 52"/>
                <a:gd name="T57" fmla="*/ 2147483647 h 76"/>
                <a:gd name="T58" fmla="*/ 2147483647 w 52"/>
                <a:gd name="T59" fmla="*/ 2147483647 h 76"/>
                <a:gd name="T60" fmla="*/ 2147483647 w 52"/>
                <a:gd name="T61" fmla="*/ 2147483647 h 76"/>
                <a:gd name="T62" fmla="*/ 2147483647 w 52"/>
                <a:gd name="T63" fmla="*/ 2147483647 h 76"/>
                <a:gd name="T64" fmla="*/ 0 w 52"/>
                <a:gd name="T65" fmla="*/ 2147483647 h 76"/>
                <a:gd name="T66" fmla="*/ 0 w 52"/>
                <a:gd name="T67" fmla="*/ 2147483647 h 76"/>
                <a:gd name="T68" fmla="*/ 2147483647 w 52"/>
                <a:gd name="T69" fmla="*/ 2147483647 h 76"/>
                <a:gd name="T70" fmla="*/ 2147483647 w 52"/>
                <a:gd name="T71" fmla="*/ 2147483647 h 76"/>
                <a:gd name="T72" fmla="*/ 2147483647 w 52"/>
                <a:gd name="T73" fmla="*/ 2147483647 h 76"/>
                <a:gd name="T74" fmla="*/ 2147483647 w 52"/>
                <a:gd name="T75" fmla="*/ 2147483647 h 76"/>
                <a:gd name="T76" fmla="*/ 2147483647 w 52"/>
                <a:gd name="T77" fmla="*/ 2147483647 h 76"/>
                <a:gd name="T78" fmla="*/ 2147483647 w 52"/>
                <a:gd name="T79" fmla="*/ 2147483647 h 76"/>
                <a:gd name="T80" fmla="*/ 2147483647 w 52"/>
                <a:gd name="T81" fmla="*/ 2147483647 h 76"/>
                <a:gd name="T82" fmla="*/ 2147483647 w 52"/>
                <a:gd name="T83" fmla="*/ 2147483647 h 76"/>
                <a:gd name="T84" fmla="*/ 2147483647 w 52"/>
                <a:gd name="T85" fmla="*/ 2147483647 h 76"/>
                <a:gd name="T86" fmla="*/ 2147483647 w 52"/>
                <a:gd name="T87" fmla="*/ 2147483647 h 76"/>
                <a:gd name="T88" fmla="*/ 2147483647 w 52"/>
                <a:gd name="T89" fmla="*/ 2147483647 h 76"/>
                <a:gd name="T90" fmla="*/ 2147483647 w 52"/>
                <a:gd name="T91" fmla="*/ 2147483647 h 76"/>
                <a:gd name="T92" fmla="*/ 2147483647 w 52"/>
                <a:gd name="T93" fmla="*/ 2147483647 h 76"/>
                <a:gd name="T94" fmla="*/ 2147483647 w 52"/>
                <a:gd name="T95" fmla="*/ 2147483647 h 76"/>
                <a:gd name="T96" fmla="*/ 2147483647 w 52"/>
                <a:gd name="T97" fmla="*/ 2147483647 h 76"/>
                <a:gd name="T98" fmla="*/ 2147483647 w 52"/>
                <a:gd name="T99" fmla="*/ 2147483647 h 76"/>
                <a:gd name="T100" fmla="*/ 2147483647 w 52"/>
                <a:gd name="T101" fmla="*/ 2147483647 h 76"/>
                <a:gd name="T102" fmla="*/ 2147483647 w 52"/>
                <a:gd name="T103" fmla="*/ 2147483647 h 76"/>
                <a:gd name="T104" fmla="*/ 2147483647 w 52"/>
                <a:gd name="T105" fmla="*/ 2147483647 h 76"/>
                <a:gd name="T106" fmla="*/ 2147483647 w 52"/>
                <a:gd name="T107" fmla="*/ 2147483647 h 76"/>
                <a:gd name="T108" fmla="*/ 2147483647 w 52"/>
                <a:gd name="T109" fmla="*/ 2147483647 h 76"/>
                <a:gd name="T110" fmla="*/ 2147483647 w 52"/>
                <a:gd name="T111" fmla="*/ 2147483647 h 76"/>
                <a:gd name="T112" fmla="*/ 2147483647 w 52"/>
                <a:gd name="T113" fmla="*/ 2147483647 h 76"/>
                <a:gd name="T114" fmla="*/ 2147483647 w 52"/>
                <a:gd name="T115" fmla="*/ 2147483647 h 7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52"/>
                <a:gd name="T175" fmla="*/ 0 h 76"/>
                <a:gd name="T176" fmla="*/ 52 w 52"/>
                <a:gd name="T177" fmla="*/ 76 h 7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52" h="76">
                  <a:moveTo>
                    <a:pt x="52" y="32"/>
                  </a:moveTo>
                  <a:lnTo>
                    <a:pt x="50" y="26"/>
                  </a:lnTo>
                  <a:lnTo>
                    <a:pt x="48" y="24"/>
                  </a:lnTo>
                  <a:lnTo>
                    <a:pt x="46" y="22"/>
                  </a:lnTo>
                  <a:lnTo>
                    <a:pt x="46" y="20"/>
                  </a:lnTo>
                  <a:lnTo>
                    <a:pt x="40" y="20"/>
                  </a:lnTo>
                  <a:lnTo>
                    <a:pt x="32" y="6"/>
                  </a:lnTo>
                  <a:lnTo>
                    <a:pt x="24" y="6"/>
                  </a:lnTo>
                  <a:lnTo>
                    <a:pt x="22" y="4"/>
                  </a:lnTo>
                  <a:lnTo>
                    <a:pt x="20" y="4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12" y="4"/>
                  </a:lnTo>
                  <a:lnTo>
                    <a:pt x="12" y="10"/>
                  </a:lnTo>
                  <a:lnTo>
                    <a:pt x="10" y="10"/>
                  </a:lnTo>
                  <a:lnTo>
                    <a:pt x="8" y="12"/>
                  </a:lnTo>
                  <a:lnTo>
                    <a:pt x="6" y="14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2" y="28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6" y="40"/>
                  </a:lnTo>
                  <a:lnTo>
                    <a:pt x="10" y="44"/>
                  </a:lnTo>
                  <a:lnTo>
                    <a:pt x="12" y="46"/>
                  </a:lnTo>
                  <a:lnTo>
                    <a:pt x="12" y="48"/>
                  </a:lnTo>
                  <a:lnTo>
                    <a:pt x="6" y="54"/>
                  </a:lnTo>
                  <a:lnTo>
                    <a:pt x="8" y="62"/>
                  </a:lnTo>
                  <a:lnTo>
                    <a:pt x="6" y="64"/>
                  </a:lnTo>
                  <a:lnTo>
                    <a:pt x="4" y="64"/>
                  </a:lnTo>
                  <a:lnTo>
                    <a:pt x="4" y="66"/>
                  </a:lnTo>
                  <a:lnTo>
                    <a:pt x="2" y="68"/>
                  </a:lnTo>
                  <a:lnTo>
                    <a:pt x="0" y="72"/>
                  </a:lnTo>
                  <a:lnTo>
                    <a:pt x="4" y="76"/>
                  </a:lnTo>
                  <a:lnTo>
                    <a:pt x="10" y="76"/>
                  </a:lnTo>
                  <a:lnTo>
                    <a:pt x="12" y="74"/>
                  </a:lnTo>
                  <a:lnTo>
                    <a:pt x="12" y="72"/>
                  </a:lnTo>
                  <a:lnTo>
                    <a:pt x="14" y="72"/>
                  </a:lnTo>
                  <a:lnTo>
                    <a:pt x="16" y="72"/>
                  </a:lnTo>
                  <a:lnTo>
                    <a:pt x="18" y="72"/>
                  </a:lnTo>
                  <a:lnTo>
                    <a:pt x="20" y="72"/>
                  </a:lnTo>
                  <a:lnTo>
                    <a:pt x="22" y="72"/>
                  </a:lnTo>
                  <a:lnTo>
                    <a:pt x="26" y="74"/>
                  </a:lnTo>
                  <a:lnTo>
                    <a:pt x="30" y="74"/>
                  </a:lnTo>
                  <a:lnTo>
                    <a:pt x="32" y="72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44" y="50"/>
                  </a:lnTo>
                  <a:lnTo>
                    <a:pt x="46" y="46"/>
                  </a:lnTo>
                  <a:lnTo>
                    <a:pt x="48" y="44"/>
                  </a:lnTo>
                  <a:lnTo>
                    <a:pt x="50" y="42"/>
                  </a:lnTo>
                  <a:lnTo>
                    <a:pt x="50" y="40"/>
                  </a:lnTo>
                  <a:lnTo>
                    <a:pt x="52" y="38"/>
                  </a:lnTo>
                  <a:lnTo>
                    <a:pt x="52" y="36"/>
                  </a:lnTo>
                  <a:lnTo>
                    <a:pt x="52" y="34"/>
                  </a:lnTo>
                  <a:lnTo>
                    <a:pt x="52" y="3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127" name="Guyana" descr="© INSCALE GmbH, 05.05.2010&#10;http://www.presentationload.com/"/>
            <p:cNvSpPr>
              <a:spLocks/>
            </p:cNvSpPr>
            <p:nvPr/>
          </p:nvSpPr>
          <p:spPr bwMode="gray">
            <a:xfrm>
              <a:off x="3050236" y="4093131"/>
              <a:ext cx="104947" cy="181269"/>
            </a:xfrm>
            <a:custGeom>
              <a:avLst/>
              <a:gdLst>
                <a:gd name="T0" fmla="*/ 2147483647 w 324"/>
                <a:gd name="T1" fmla="*/ 2147483647 h 582"/>
                <a:gd name="T2" fmla="*/ 2147483647 w 324"/>
                <a:gd name="T3" fmla="*/ 2147483647 h 582"/>
                <a:gd name="T4" fmla="*/ 2147483647 w 324"/>
                <a:gd name="T5" fmla="*/ 2147483647 h 582"/>
                <a:gd name="T6" fmla="*/ 2147483647 w 324"/>
                <a:gd name="T7" fmla="*/ 2147483647 h 582"/>
                <a:gd name="T8" fmla="*/ 2147483647 w 324"/>
                <a:gd name="T9" fmla="*/ 2147483647 h 582"/>
                <a:gd name="T10" fmla="*/ 2147483647 w 324"/>
                <a:gd name="T11" fmla="*/ 2147483647 h 582"/>
                <a:gd name="T12" fmla="*/ 2147483647 w 324"/>
                <a:gd name="T13" fmla="*/ 2147483647 h 582"/>
                <a:gd name="T14" fmla="*/ 2147483647 w 324"/>
                <a:gd name="T15" fmla="*/ 2147483647 h 582"/>
                <a:gd name="T16" fmla="*/ 0 w 324"/>
                <a:gd name="T17" fmla="*/ 2147483647 h 582"/>
                <a:gd name="T18" fmla="*/ 2147483647 w 324"/>
                <a:gd name="T19" fmla="*/ 2147483647 h 582"/>
                <a:gd name="T20" fmla="*/ 2147483647 w 324"/>
                <a:gd name="T21" fmla="*/ 2147483647 h 582"/>
                <a:gd name="T22" fmla="*/ 2147483647 w 324"/>
                <a:gd name="T23" fmla="*/ 2147483647 h 582"/>
                <a:gd name="T24" fmla="*/ 2147483647 w 324"/>
                <a:gd name="T25" fmla="*/ 2147483647 h 582"/>
                <a:gd name="T26" fmla="*/ 2147483647 w 324"/>
                <a:gd name="T27" fmla="*/ 2147483647 h 582"/>
                <a:gd name="T28" fmla="*/ 2147483647 w 324"/>
                <a:gd name="T29" fmla="*/ 2147483647 h 582"/>
                <a:gd name="T30" fmla="*/ 2147483647 w 324"/>
                <a:gd name="T31" fmla="*/ 2147483647 h 582"/>
                <a:gd name="T32" fmla="*/ 2147483647 w 324"/>
                <a:gd name="T33" fmla="*/ 2147483647 h 582"/>
                <a:gd name="T34" fmla="*/ 2147483647 w 324"/>
                <a:gd name="T35" fmla="*/ 2147483647 h 582"/>
                <a:gd name="T36" fmla="*/ 2147483647 w 324"/>
                <a:gd name="T37" fmla="*/ 2147483647 h 582"/>
                <a:gd name="T38" fmla="*/ 2147483647 w 324"/>
                <a:gd name="T39" fmla="*/ 2147483647 h 582"/>
                <a:gd name="T40" fmla="*/ 2147483647 w 324"/>
                <a:gd name="T41" fmla="*/ 2147483647 h 582"/>
                <a:gd name="T42" fmla="*/ 2147483647 w 324"/>
                <a:gd name="T43" fmla="*/ 2147483647 h 582"/>
                <a:gd name="T44" fmla="*/ 2147483647 w 324"/>
                <a:gd name="T45" fmla="*/ 2147483647 h 582"/>
                <a:gd name="T46" fmla="*/ 2147483647 w 324"/>
                <a:gd name="T47" fmla="*/ 2147483647 h 582"/>
                <a:gd name="T48" fmla="*/ 2147483647 w 324"/>
                <a:gd name="T49" fmla="*/ 2147483647 h 582"/>
                <a:gd name="T50" fmla="*/ 2147483647 w 324"/>
                <a:gd name="T51" fmla="*/ 2147483647 h 582"/>
                <a:gd name="T52" fmla="*/ 2147483647 w 324"/>
                <a:gd name="T53" fmla="*/ 2147483647 h 582"/>
                <a:gd name="T54" fmla="*/ 2147483647 w 324"/>
                <a:gd name="T55" fmla="*/ 2147483647 h 582"/>
                <a:gd name="T56" fmla="*/ 2147483647 w 324"/>
                <a:gd name="T57" fmla="*/ 2147483647 h 582"/>
                <a:gd name="T58" fmla="*/ 2147483647 w 324"/>
                <a:gd name="T59" fmla="*/ 2147483647 h 582"/>
                <a:gd name="T60" fmla="*/ 2147483647 w 324"/>
                <a:gd name="T61" fmla="*/ 2147483647 h 582"/>
                <a:gd name="T62" fmla="*/ 2147483647 w 324"/>
                <a:gd name="T63" fmla="*/ 2147483647 h 582"/>
                <a:gd name="T64" fmla="*/ 2147483647 w 324"/>
                <a:gd name="T65" fmla="*/ 2147483647 h 582"/>
                <a:gd name="T66" fmla="*/ 2147483647 w 324"/>
                <a:gd name="T67" fmla="*/ 2147483647 h 582"/>
                <a:gd name="T68" fmla="*/ 2147483647 w 324"/>
                <a:gd name="T69" fmla="*/ 2147483647 h 582"/>
                <a:gd name="T70" fmla="*/ 2147483647 w 324"/>
                <a:gd name="T71" fmla="*/ 2147483647 h 582"/>
                <a:gd name="T72" fmla="*/ 2147483647 w 324"/>
                <a:gd name="T73" fmla="*/ 2147483647 h 582"/>
                <a:gd name="T74" fmla="*/ 2147483647 w 324"/>
                <a:gd name="T75" fmla="*/ 2147483647 h 582"/>
                <a:gd name="T76" fmla="*/ 2147483647 w 324"/>
                <a:gd name="T77" fmla="*/ 2147483647 h 582"/>
                <a:gd name="T78" fmla="*/ 2147483647 w 324"/>
                <a:gd name="T79" fmla="*/ 2147483647 h 582"/>
                <a:gd name="T80" fmla="*/ 2147483647 w 324"/>
                <a:gd name="T81" fmla="*/ 2147483647 h 582"/>
                <a:gd name="T82" fmla="*/ 2147483647 w 324"/>
                <a:gd name="T83" fmla="*/ 2147483647 h 582"/>
                <a:gd name="T84" fmla="*/ 2147483647 w 324"/>
                <a:gd name="T85" fmla="*/ 2147483647 h 582"/>
                <a:gd name="T86" fmla="*/ 2147483647 w 324"/>
                <a:gd name="T87" fmla="*/ 2147483647 h 582"/>
                <a:gd name="T88" fmla="*/ 2147483647 w 324"/>
                <a:gd name="T89" fmla="*/ 2147483647 h 582"/>
                <a:gd name="T90" fmla="*/ 2147483647 w 324"/>
                <a:gd name="T91" fmla="*/ 2147483647 h 582"/>
                <a:gd name="T92" fmla="*/ 2147483647 w 324"/>
                <a:gd name="T93" fmla="*/ 2147483647 h 582"/>
                <a:gd name="T94" fmla="*/ 2147483647 w 324"/>
                <a:gd name="T95" fmla="*/ 2147483647 h 582"/>
                <a:gd name="T96" fmla="*/ 2147483647 w 324"/>
                <a:gd name="T97" fmla="*/ 2147483647 h 582"/>
                <a:gd name="T98" fmla="*/ 2147483647 w 324"/>
                <a:gd name="T99" fmla="*/ 2147483647 h 582"/>
                <a:gd name="T100" fmla="*/ 2147483647 w 324"/>
                <a:gd name="T101" fmla="*/ 2147483647 h 582"/>
                <a:gd name="T102" fmla="*/ 2147483647 w 324"/>
                <a:gd name="T103" fmla="*/ 2147483647 h 582"/>
                <a:gd name="T104" fmla="*/ 2147483647 w 324"/>
                <a:gd name="T105" fmla="*/ 2147483647 h 582"/>
                <a:gd name="T106" fmla="*/ 2147483647 w 324"/>
                <a:gd name="T107" fmla="*/ 2147483647 h 582"/>
                <a:gd name="T108" fmla="*/ 2147483647 w 324"/>
                <a:gd name="T109" fmla="*/ 2147483647 h 582"/>
                <a:gd name="T110" fmla="*/ 2147483647 w 324"/>
                <a:gd name="T111" fmla="*/ 2147483647 h 582"/>
                <a:gd name="T112" fmla="*/ 2147483647 w 324"/>
                <a:gd name="T113" fmla="*/ 2147483647 h 582"/>
                <a:gd name="T114" fmla="*/ 2147483647 w 324"/>
                <a:gd name="T115" fmla="*/ 2147483647 h 582"/>
                <a:gd name="T116" fmla="*/ 2147483647 w 324"/>
                <a:gd name="T117" fmla="*/ 2147483647 h 582"/>
                <a:gd name="T118" fmla="*/ 2147483647 w 324"/>
                <a:gd name="T119" fmla="*/ 2147483647 h 582"/>
                <a:gd name="T120" fmla="*/ 2147483647 w 324"/>
                <a:gd name="T121" fmla="*/ 2147483647 h 582"/>
                <a:gd name="T122" fmla="*/ 2147483647 w 324"/>
                <a:gd name="T123" fmla="*/ 0 h 582"/>
                <a:gd name="T124" fmla="*/ 2147483647 w 324"/>
                <a:gd name="T125" fmla="*/ 2147483647 h 58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4"/>
                <a:gd name="T190" fmla="*/ 0 h 582"/>
                <a:gd name="T191" fmla="*/ 324 w 324"/>
                <a:gd name="T192" fmla="*/ 582 h 58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4" h="582">
                  <a:moveTo>
                    <a:pt x="90" y="42"/>
                  </a:moveTo>
                  <a:lnTo>
                    <a:pt x="84" y="48"/>
                  </a:lnTo>
                  <a:lnTo>
                    <a:pt x="72" y="48"/>
                  </a:lnTo>
                  <a:lnTo>
                    <a:pt x="60" y="60"/>
                  </a:lnTo>
                  <a:lnTo>
                    <a:pt x="60" y="102"/>
                  </a:lnTo>
                  <a:lnTo>
                    <a:pt x="84" y="102"/>
                  </a:lnTo>
                  <a:lnTo>
                    <a:pt x="84" y="120"/>
                  </a:lnTo>
                  <a:lnTo>
                    <a:pt x="78" y="126"/>
                  </a:lnTo>
                  <a:lnTo>
                    <a:pt x="66" y="132"/>
                  </a:lnTo>
                  <a:lnTo>
                    <a:pt x="54" y="132"/>
                  </a:lnTo>
                  <a:lnTo>
                    <a:pt x="42" y="138"/>
                  </a:lnTo>
                  <a:lnTo>
                    <a:pt x="12" y="138"/>
                  </a:lnTo>
                  <a:lnTo>
                    <a:pt x="12" y="144"/>
                  </a:lnTo>
                  <a:lnTo>
                    <a:pt x="30" y="162"/>
                  </a:lnTo>
                  <a:lnTo>
                    <a:pt x="30" y="180"/>
                  </a:lnTo>
                  <a:lnTo>
                    <a:pt x="18" y="186"/>
                  </a:lnTo>
                  <a:lnTo>
                    <a:pt x="12" y="186"/>
                  </a:lnTo>
                  <a:lnTo>
                    <a:pt x="0" y="192"/>
                  </a:lnTo>
                  <a:lnTo>
                    <a:pt x="0" y="204"/>
                  </a:lnTo>
                  <a:lnTo>
                    <a:pt x="6" y="210"/>
                  </a:lnTo>
                  <a:lnTo>
                    <a:pt x="12" y="222"/>
                  </a:lnTo>
                  <a:lnTo>
                    <a:pt x="48" y="258"/>
                  </a:lnTo>
                  <a:lnTo>
                    <a:pt x="72" y="264"/>
                  </a:lnTo>
                  <a:lnTo>
                    <a:pt x="78" y="252"/>
                  </a:lnTo>
                  <a:lnTo>
                    <a:pt x="90" y="264"/>
                  </a:lnTo>
                  <a:lnTo>
                    <a:pt x="96" y="276"/>
                  </a:lnTo>
                  <a:lnTo>
                    <a:pt x="96" y="294"/>
                  </a:lnTo>
                  <a:lnTo>
                    <a:pt x="90" y="306"/>
                  </a:lnTo>
                  <a:lnTo>
                    <a:pt x="84" y="312"/>
                  </a:lnTo>
                  <a:lnTo>
                    <a:pt x="84" y="318"/>
                  </a:lnTo>
                  <a:lnTo>
                    <a:pt x="90" y="324"/>
                  </a:lnTo>
                  <a:lnTo>
                    <a:pt x="96" y="324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48"/>
                  </a:lnTo>
                  <a:lnTo>
                    <a:pt x="120" y="354"/>
                  </a:lnTo>
                  <a:lnTo>
                    <a:pt x="126" y="354"/>
                  </a:lnTo>
                  <a:lnTo>
                    <a:pt x="126" y="366"/>
                  </a:lnTo>
                  <a:lnTo>
                    <a:pt x="120" y="378"/>
                  </a:lnTo>
                  <a:lnTo>
                    <a:pt x="108" y="390"/>
                  </a:lnTo>
                  <a:lnTo>
                    <a:pt x="96" y="432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84" y="462"/>
                  </a:lnTo>
                  <a:lnTo>
                    <a:pt x="84" y="468"/>
                  </a:lnTo>
                  <a:lnTo>
                    <a:pt x="90" y="480"/>
                  </a:lnTo>
                  <a:lnTo>
                    <a:pt x="114" y="504"/>
                  </a:lnTo>
                  <a:lnTo>
                    <a:pt x="114" y="534"/>
                  </a:lnTo>
                  <a:lnTo>
                    <a:pt x="144" y="570"/>
                  </a:lnTo>
                  <a:lnTo>
                    <a:pt x="156" y="570"/>
                  </a:lnTo>
                  <a:lnTo>
                    <a:pt x="162" y="582"/>
                  </a:lnTo>
                  <a:lnTo>
                    <a:pt x="198" y="582"/>
                  </a:lnTo>
                  <a:lnTo>
                    <a:pt x="204" y="576"/>
                  </a:lnTo>
                  <a:lnTo>
                    <a:pt x="204" y="564"/>
                  </a:lnTo>
                  <a:lnTo>
                    <a:pt x="216" y="552"/>
                  </a:lnTo>
                  <a:lnTo>
                    <a:pt x="234" y="552"/>
                  </a:lnTo>
                  <a:lnTo>
                    <a:pt x="240" y="540"/>
                  </a:lnTo>
                  <a:lnTo>
                    <a:pt x="270" y="540"/>
                  </a:lnTo>
                  <a:lnTo>
                    <a:pt x="270" y="534"/>
                  </a:lnTo>
                  <a:lnTo>
                    <a:pt x="288" y="516"/>
                  </a:lnTo>
                  <a:lnTo>
                    <a:pt x="300" y="516"/>
                  </a:lnTo>
                  <a:lnTo>
                    <a:pt x="312" y="528"/>
                  </a:lnTo>
                  <a:lnTo>
                    <a:pt x="318" y="528"/>
                  </a:lnTo>
                  <a:lnTo>
                    <a:pt x="324" y="522"/>
                  </a:lnTo>
                  <a:lnTo>
                    <a:pt x="324" y="510"/>
                  </a:lnTo>
                  <a:lnTo>
                    <a:pt x="318" y="504"/>
                  </a:lnTo>
                  <a:lnTo>
                    <a:pt x="312" y="492"/>
                  </a:lnTo>
                  <a:lnTo>
                    <a:pt x="306" y="474"/>
                  </a:lnTo>
                  <a:lnTo>
                    <a:pt x="288" y="456"/>
                  </a:lnTo>
                  <a:lnTo>
                    <a:pt x="282" y="444"/>
                  </a:lnTo>
                  <a:lnTo>
                    <a:pt x="282" y="420"/>
                  </a:lnTo>
                  <a:lnTo>
                    <a:pt x="288" y="414"/>
                  </a:lnTo>
                  <a:lnTo>
                    <a:pt x="288" y="396"/>
                  </a:lnTo>
                  <a:lnTo>
                    <a:pt x="276" y="408"/>
                  </a:lnTo>
                  <a:lnTo>
                    <a:pt x="276" y="414"/>
                  </a:lnTo>
                  <a:lnTo>
                    <a:pt x="264" y="414"/>
                  </a:lnTo>
                  <a:lnTo>
                    <a:pt x="258" y="402"/>
                  </a:lnTo>
                  <a:lnTo>
                    <a:pt x="252" y="396"/>
                  </a:lnTo>
                  <a:lnTo>
                    <a:pt x="246" y="384"/>
                  </a:lnTo>
                  <a:lnTo>
                    <a:pt x="246" y="372"/>
                  </a:lnTo>
                  <a:lnTo>
                    <a:pt x="240" y="372"/>
                  </a:lnTo>
                  <a:lnTo>
                    <a:pt x="240" y="366"/>
                  </a:lnTo>
                  <a:lnTo>
                    <a:pt x="234" y="360"/>
                  </a:lnTo>
                  <a:lnTo>
                    <a:pt x="234" y="348"/>
                  </a:lnTo>
                  <a:lnTo>
                    <a:pt x="240" y="336"/>
                  </a:lnTo>
                  <a:lnTo>
                    <a:pt x="246" y="33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64" y="276"/>
                  </a:lnTo>
                  <a:lnTo>
                    <a:pt x="294" y="276"/>
                  </a:lnTo>
                  <a:lnTo>
                    <a:pt x="300" y="270"/>
                  </a:lnTo>
                  <a:lnTo>
                    <a:pt x="300" y="258"/>
                  </a:lnTo>
                  <a:lnTo>
                    <a:pt x="288" y="246"/>
                  </a:lnTo>
                  <a:lnTo>
                    <a:pt x="288" y="234"/>
                  </a:lnTo>
                  <a:lnTo>
                    <a:pt x="294" y="222"/>
                  </a:lnTo>
                  <a:lnTo>
                    <a:pt x="300" y="216"/>
                  </a:lnTo>
                  <a:lnTo>
                    <a:pt x="306" y="204"/>
                  </a:lnTo>
                  <a:lnTo>
                    <a:pt x="306" y="192"/>
                  </a:lnTo>
                  <a:lnTo>
                    <a:pt x="300" y="180"/>
                  </a:lnTo>
                  <a:lnTo>
                    <a:pt x="294" y="174"/>
                  </a:lnTo>
                  <a:lnTo>
                    <a:pt x="276" y="174"/>
                  </a:lnTo>
                  <a:lnTo>
                    <a:pt x="270" y="180"/>
                  </a:lnTo>
                  <a:lnTo>
                    <a:pt x="270" y="156"/>
                  </a:lnTo>
                  <a:lnTo>
                    <a:pt x="258" y="150"/>
                  </a:lnTo>
                  <a:lnTo>
                    <a:pt x="252" y="138"/>
                  </a:lnTo>
                  <a:lnTo>
                    <a:pt x="234" y="132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56"/>
                  </a:lnTo>
                  <a:lnTo>
                    <a:pt x="192" y="162"/>
                  </a:lnTo>
                  <a:lnTo>
                    <a:pt x="192" y="168"/>
                  </a:lnTo>
                  <a:lnTo>
                    <a:pt x="192" y="162"/>
                  </a:lnTo>
                  <a:lnTo>
                    <a:pt x="198" y="156"/>
                  </a:lnTo>
                  <a:lnTo>
                    <a:pt x="198" y="144"/>
                  </a:lnTo>
                  <a:lnTo>
                    <a:pt x="204" y="132"/>
                  </a:lnTo>
                  <a:lnTo>
                    <a:pt x="204" y="114"/>
                  </a:lnTo>
                  <a:lnTo>
                    <a:pt x="210" y="102"/>
                  </a:lnTo>
                  <a:lnTo>
                    <a:pt x="210" y="78"/>
                  </a:lnTo>
                  <a:lnTo>
                    <a:pt x="192" y="42"/>
                  </a:lnTo>
                  <a:lnTo>
                    <a:pt x="180" y="30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120" y="0"/>
                  </a:lnTo>
                  <a:lnTo>
                    <a:pt x="102" y="36"/>
                  </a:lnTo>
                  <a:lnTo>
                    <a:pt x="96" y="42"/>
                  </a:lnTo>
                  <a:lnTo>
                    <a:pt x="90" y="4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128" name="Guinea-Bissau" descr="© INSCALE GmbH, 05.05.2010&#10;http://www.presentationload.com/"/>
            <p:cNvSpPr>
              <a:spLocks/>
            </p:cNvSpPr>
            <p:nvPr/>
          </p:nvSpPr>
          <p:spPr bwMode="gray">
            <a:xfrm>
              <a:off x="4094586" y="3985350"/>
              <a:ext cx="60153" cy="47766"/>
            </a:xfrm>
            <a:custGeom>
              <a:avLst/>
              <a:gdLst>
                <a:gd name="T0" fmla="*/ 2147483647 w 186"/>
                <a:gd name="T1" fmla="*/ 2147483647 h 156"/>
                <a:gd name="T2" fmla="*/ 2147483647 w 186"/>
                <a:gd name="T3" fmla="*/ 2147483647 h 156"/>
                <a:gd name="T4" fmla="*/ 2147483647 w 186"/>
                <a:gd name="T5" fmla="*/ 2147483647 h 156"/>
                <a:gd name="T6" fmla="*/ 2147483647 w 186"/>
                <a:gd name="T7" fmla="*/ 2147483647 h 156"/>
                <a:gd name="T8" fmla="*/ 2147483647 w 186"/>
                <a:gd name="T9" fmla="*/ 2147483647 h 156"/>
                <a:gd name="T10" fmla="*/ 2147483647 w 186"/>
                <a:gd name="T11" fmla="*/ 2147483647 h 156"/>
                <a:gd name="T12" fmla="*/ 2147483647 w 186"/>
                <a:gd name="T13" fmla="*/ 2147483647 h 156"/>
                <a:gd name="T14" fmla="*/ 2147483647 w 186"/>
                <a:gd name="T15" fmla="*/ 2147483647 h 156"/>
                <a:gd name="T16" fmla="*/ 2147483647 w 186"/>
                <a:gd name="T17" fmla="*/ 2147483647 h 156"/>
                <a:gd name="T18" fmla="*/ 2147483647 w 186"/>
                <a:gd name="T19" fmla="*/ 2147483647 h 156"/>
                <a:gd name="T20" fmla="*/ 2147483647 w 186"/>
                <a:gd name="T21" fmla="*/ 2147483647 h 156"/>
                <a:gd name="T22" fmla="*/ 2147483647 w 186"/>
                <a:gd name="T23" fmla="*/ 2147483647 h 156"/>
                <a:gd name="T24" fmla="*/ 2147483647 w 186"/>
                <a:gd name="T25" fmla="*/ 2147483647 h 156"/>
                <a:gd name="T26" fmla="*/ 2147483647 w 186"/>
                <a:gd name="T27" fmla="*/ 2147483647 h 156"/>
                <a:gd name="T28" fmla="*/ 2147483647 w 186"/>
                <a:gd name="T29" fmla="*/ 0 h 156"/>
                <a:gd name="T30" fmla="*/ 2147483647 w 186"/>
                <a:gd name="T31" fmla="*/ 2147483647 h 156"/>
                <a:gd name="T32" fmla="*/ 2147483647 w 186"/>
                <a:gd name="T33" fmla="*/ 2147483647 h 156"/>
                <a:gd name="T34" fmla="*/ 2147483647 w 186"/>
                <a:gd name="T35" fmla="*/ 2147483647 h 156"/>
                <a:gd name="T36" fmla="*/ 0 w 186"/>
                <a:gd name="T37" fmla="*/ 2147483647 h 156"/>
                <a:gd name="T38" fmla="*/ 2147483647 w 186"/>
                <a:gd name="T39" fmla="*/ 2147483647 h 156"/>
                <a:gd name="T40" fmla="*/ 2147483647 w 186"/>
                <a:gd name="T41" fmla="*/ 2147483647 h 156"/>
                <a:gd name="T42" fmla="*/ 2147483647 w 186"/>
                <a:gd name="T43" fmla="*/ 2147483647 h 156"/>
                <a:gd name="T44" fmla="*/ 2147483647 w 186"/>
                <a:gd name="T45" fmla="*/ 2147483647 h 156"/>
                <a:gd name="T46" fmla="*/ 2147483647 w 186"/>
                <a:gd name="T47" fmla="*/ 2147483647 h 156"/>
                <a:gd name="T48" fmla="*/ 2147483647 w 186"/>
                <a:gd name="T49" fmla="*/ 2147483647 h 156"/>
                <a:gd name="T50" fmla="*/ 2147483647 w 186"/>
                <a:gd name="T51" fmla="*/ 2147483647 h 156"/>
                <a:gd name="T52" fmla="*/ 2147483647 w 186"/>
                <a:gd name="T53" fmla="*/ 2147483647 h 156"/>
                <a:gd name="T54" fmla="*/ 2147483647 w 186"/>
                <a:gd name="T55" fmla="*/ 2147483647 h 156"/>
                <a:gd name="T56" fmla="*/ 2147483647 w 186"/>
                <a:gd name="T57" fmla="*/ 2147483647 h 156"/>
                <a:gd name="T58" fmla="*/ 2147483647 w 186"/>
                <a:gd name="T59" fmla="*/ 2147483647 h 156"/>
                <a:gd name="T60" fmla="*/ 2147483647 w 186"/>
                <a:gd name="T61" fmla="*/ 2147483647 h 156"/>
                <a:gd name="T62" fmla="*/ 2147483647 w 186"/>
                <a:gd name="T63" fmla="*/ 2147483647 h 156"/>
                <a:gd name="T64" fmla="*/ 2147483647 w 186"/>
                <a:gd name="T65" fmla="*/ 2147483647 h 156"/>
                <a:gd name="T66" fmla="*/ 2147483647 w 186"/>
                <a:gd name="T67" fmla="*/ 2147483647 h 156"/>
                <a:gd name="T68" fmla="*/ 2147483647 w 186"/>
                <a:gd name="T69" fmla="*/ 2147483647 h 156"/>
                <a:gd name="T70" fmla="*/ 2147483647 w 186"/>
                <a:gd name="T71" fmla="*/ 2147483647 h 156"/>
                <a:gd name="T72" fmla="*/ 2147483647 w 186"/>
                <a:gd name="T73" fmla="*/ 2147483647 h 15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86"/>
                <a:gd name="T112" fmla="*/ 0 h 156"/>
                <a:gd name="T113" fmla="*/ 186 w 186"/>
                <a:gd name="T114" fmla="*/ 156 h 15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86" h="156">
                  <a:moveTo>
                    <a:pt x="126" y="102"/>
                  </a:moveTo>
                  <a:lnTo>
                    <a:pt x="132" y="96"/>
                  </a:lnTo>
                  <a:lnTo>
                    <a:pt x="144" y="90"/>
                  </a:lnTo>
                  <a:lnTo>
                    <a:pt x="174" y="90"/>
                  </a:lnTo>
                  <a:lnTo>
                    <a:pt x="180" y="84"/>
                  </a:lnTo>
                  <a:lnTo>
                    <a:pt x="186" y="72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68" y="54"/>
                  </a:lnTo>
                  <a:lnTo>
                    <a:pt x="162" y="48"/>
                  </a:lnTo>
                  <a:lnTo>
                    <a:pt x="162" y="36"/>
                  </a:lnTo>
                  <a:lnTo>
                    <a:pt x="168" y="30"/>
                  </a:lnTo>
                  <a:lnTo>
                    <a:pt x="186" y="30"/>
                  </a:lnTo>
                  <a:lnTo>
                    <a:pt x="186" y="6"/>
                  </a:lnTo>
                  <a:lnTo>
                    <a:pt x="84" y="0"/>
                  </a:lnTo>
                  <a:lnTo>
                    <a:pt x="54" y="24"/>
                  </a:lnTo>
                  <a:lnTo>
                    <a:pt x="18" y="24"/>
                  </a:lnTo>
                  <a:lnTo>
                    <a:pt x="6" y="36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8" y="78"/>
                  </a:lnTo>
                  <a:lnTo>
                    <a:pt x="42" y="66"/>
                  </a:lnTo>
                  <a:lnTo>
                    <a:pt x="66" y="66"/>
                  </a:lnTo>
                  <a:lnTo>
                    <a:pt x="90" y="60"/>
                  </a:lnTo>
                  <a:lnTo>
                    <a:pt x="90" y="84"/>
                  </a:lnTo>
                  <a:lnTo>
                    <a:pt x="78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54" y="72"/>
                  </a:lnTo>
                  <a:lnTo>
                    <a:pt x="54" y="96"/>
                  </a:lnTo>
                  <a:lnTo>
                    <a:pt x="60" y="102"/>
                  </a:lnTo>
                  <a:lnTo>
                    <a:pt x="90" y="96"/>
                  </a:lnTo>
                  <a:lnTo>
                    <a:pt x="54" y="114"/>
                  </a:lnTo>
                  <a:lnTo>
                    <a:pt x="84" y="156"/>
                  </a:lnTo>
                  <a:lnTo>
                    <a:pt x="90" y="132"/>
                  </a:lnTo>
                  <a:lnTo>
                    <a:pt x="108" y="102"/>
                  </a:lnTo>
                  <a:lnTo>
                    <a:pt x="126" y="10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129" name="Guinea" descr="© INSCALE GmbH, 05.05.2010&#10;http://www.presentationload.com/"/>
            <p:cNvSpPr>
              <a:spLocks/>
            </p:cNvSpPr>
            <p:nvPr/>
          </p:nvSpPr>
          <p:spPr bwMode="gray">
            <a:xfrm>
              <a:off x="4124022" y="3987799"/>
              <a:ext cx="168939" cy="137176"/>
            </a:xfrm>
            <a:custGeom>
              <a:avLst/>
              <a:gdLst>
                <a:gd name="T0" fmla="*/ 2147483647 w 522"/>
                <a:gd name="T1" fmla="*/ 2147483647 h 444"/>
                <a:gd name="T2" fmla="*/ 2147483647 w 522"/>
                <a:gd name="T3" fmla="*/ 2147483647 h 444"/>
                <a:gd name="T4" fmla="*/ 2147483647 w 522"/>
                <a:gd name="T5" fmla="*/ 2147483647 h 444"/>
                <a:gd name="T6" fmla="*/ 2147483647 w 522"/>
                <a:gd name="T7" fmla="*/ 2147483647 h 444"/>
                <a:gd name="T8" fmla="*/ 2147483647 w 522"/>
                <a:gd name="T9" fmla="*/ 2147483647 h 444"/>
                <a:gd name="T10" fmla="*/ 2147483647 w 522"/>
                <a:gd name="T11" fmla="*/ 2147483647 h 444"/>
                <a:gd name="T12" fmla="*/ 2147483647 w 522"/>
                <a:gd name="T13" fmla="*/ 2147483647 h 444"/>
                <a:gd name="T14" fmla="*/ 2147483647 w 522"/>
                <a:gd name="T15" fmla="*/ 2147483647 h 444"/>
                <a:gd name="T16" fmla="*/ 2147483647 w 522"/>
                <a:gd name="T17" fmla="*/ 2147483647 h 444"/>
                <a:gd name="T18" fmla="*/ 2147483647 w 522"/>
                <a:gd name="T19" fmla="*/ 2147483647 h 444"/>
                <a:gd name="T20" fmla="*/ 2147483647 w 522"/>
                <a:gd name="T21" fmla="*/ 2147483647 h 444"/>
                <a:gd name="T22" fmla="*/ 2147483647 w 522"/>
                <a:gd name="T23" fmla="*/ 2147483647 h 444"/>
                <a:gd name="T24" fmla="*/ 2147483647 w 522"/>
                <a:gd name="T25" fmla="*/ 2147483647 h 444"/>
                <a:gd name="T26" fmla="*/ 2147483647 w 522"/>
                <a:gd name="T27" fmla="*/ 2147483647 h 444"/>
                <a:gd name="T28" fmla="*/ 2147483647 w 522"/>
                <a:gd name="T29" fmla="*/ 2147483647 h 444"/>
                <a:gd name="T30" fmla="*/ 2147483647 w 522"/>
                <a:gd name="T31" fmla="*/ 2147483647 h 444"/>
                <a:gd name="T32" fmla="*/ 2147483647 w 522"/>
                <a:gd name="T33" fmla="*/ 2147483647 h 444"/>
                <a:gd name="T34" fmla="*/ 2147483647 w 522"/>
                <a:gd name="T35" fmla="*/ 2147483647 h 444"/>
                <a:gd name="T36" fmla="*/ 2147483647 w 522"/>
                <a:gd name="T37" fmla="*/ 2147483647 h 444"/>
                <a:gd name="T38" fmla="*/ 2147483647 w 522"/>
                <a:gd name="T39" fmla="*/ 2147483647 h 444"/>
                <a:gd name="T40" fmla="*/ 2147483647 w 522"/>
                <a:gd name="T41" fmla="*/ 2147483647 h 444"/>
                <a:gd name="T42" fmla="*/ 2147483647 w 522"/>
                <a:gd name="T43" fmla="*/ 2147483647 h 444"/>
                <a:gd name="T44" fmla="*/ 2147483647 w 522"/>
                <a:gd name="T45" fmla="*/ 2147483647 h 444"/>
                <a:gd name="T46" fmla="*/ 2147483647 w 522"/>
                <a:gd name="T47" fmla="*/ 2147483647 h 444"/>
                <a:gd name="T48" fmla="*/ 2147483647 w 522"/>
                <a:gd name="T49" fmla="*/ 2147483647 h 444"/>
                <a:gd name="T50" fmla="*/ 2147483647 w 522"/>
                <a:gd name="T51" fmla="*/ 2147483647 h 444"/>
                <a:gd name="T52" fmla="*/ 2147483647 w 522"/>
                <a:gd name="T53" fmla="*/ 2147483647 h 444"/>
                <a:gd name="T54" fmla="*/ 2147483647 w 522"/>
                <a:gd name="T55" fmla="*/ 2147483647 h 444"/>
                <a:gd name="T56" fmla="*/ 2147483647 w 522"/>
                <a:gd name="T57" fmla="*/ 2147483647 h 444"/>
                <a:gd name="T58" fmla="*/ 2147483647 w 522"/>
                <a:gd name="T59" fmla="*/ 2147483647 h 444"/>
                <a:gd name="T60" fmla="*/ 2147483647 w 522"/>
                <a:gd name="T61" fmla="*/ 2147483647 h 444"/>
                <a:gd name="T62" fmla="*/ 2147483647 w 522"/>
                <a:gd name="T63" fmla="*/ 2147483647 h 444"/>
                <a:gd name="T64" fmla="*/ 2147483647 w 522"/>
                <a:gd name="T65" fmla="*/ 2147483647 h 444"/>
                <a:gd name="T66" fmla="*/ 2147483647 w 522"/>
                <a:gd name="T67" fmla="*/ 2147483647 h 444"/>
                <a:gd name="T68" fmla="*/ 2147483647 w 522"/>
                <a:gd name="T69" fmla="*/ 2147483647 h 444"/>
                <a:gd name="T70" fmla="*/ 2147483647 w 522"/>
                <a:gd name="T71" fmla="*/ 2147483647 h 444"/>
                <a:gd name="T72" fmla="*/ 2147483647 w 522"/>
                <a:gd name="T73" fmla="*/ 2147483647 h 444"/>
                <a:gd name="T74" fmla="*/ 2147483647 w 522"/>
                <a:gd name="T75" fmla="*/ 2147483647 h 444"/>
                <a:gd name="T76" fmla="*/ 2147483647 w 522"/>
                <a:gd name="T77" fmla="*/ 2147483647 h 444"/>
                <a:gd name="T78" fmla="*/ 2147483647 w 522"/>
                <a:gd name="T79" fmla="*/ 2147483647 h 444"/>
                <a:gd name="T80" fmla="*/ 2147483647 w 522"/>
                <a:gd name="T81" fmla="*/ 2147483647 h 444"/>
                <a:gd name="T82" fmla="*/ 2147483647 w 522"/>
                <a:gd name="T83" fmla="*/ 2147483647 h 444"/>
                <a:gd name="T84" fmla="*/ 2147483647 w 522"/>
                <a:gd name="T85" fmla="*/ 2147483647 h 444"/>
                <a:gd name="T86" fmla="*/ 2147483647 w 522"/>
                <a:gd name="T87" fmla="*/ 2147483647 h 444"/>
                <a:gd name="T88" fmla="*/ 2147483647 w 522"/>
                <a:gd name="T89" fmla="*/ 2147483647 h 444"/>
                <a:gd name="T90" fmla="*/ 2147483647 w 522"/>
                <a:gd name="T91" fmla="*/ 2147483647 h 444"/>
                <a:gd name="T92" fmla="*/ 2147483647 w 522"/>
                <a:gd name="T93" fmla="*/ 2147483647 h 44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22"/>
                <a:gd name="T142" fmla="*/ 0 h 444"/>
                <a:gd name="T143" fmla="*/ 522 w 522"/>
                <a:gd name="T144" fmla="*/ 444 h 44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22" h="444">
                  <a:moveTo>
                    <a:pt x="96" y="0"/>
                  </a:moveTo>
                  <a:lnTo>
                    <a:pt x="96" y="24"/>
                  </a:lnTo>
                  <a:lnTo>
                    <a:pt x="78" y="24"/>
                  </a:lnTo>
                  <a:lnTo>
                    <a:pt x="72" y="30"/>
                  </a:lnTo>
                  <a:lnTo>
                    <a:pt x="72" y="42"/>
                  </a:lnTo>
                  <a:lnTo>
                    <a:pt x="78" y="48"/>
                  </a:lnTo>
                  <a:lnTo>
                    <a:pt x="90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90" y="78"/>
                  </a:lnTo>
                  <a:lnTo>
                    <a:pt x="84" y="84"/>
                  </a:lnTo>
                  <a:lnTo>
                    <a:pt x="54" y="84"/>
                  </a:lnTo>
                  <a:lnTo>
                    <a:pt x="42" y="90"/>
                  </a:lnTo>
                  <a:lnTo>
                    <a:pt x="36" y="96"/>
                  </a:lnTo>
                  <a:lnTo>
                    <a:pt x="18" y="96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18" y="150"/>
                  </a:lnTo>
                  <a:lnTo>
                    <a:pt x="30" y="150"/>
                  </a:lnTo>
                  <a:lnTo>
                    <a:pt x="30" y="162"/>
                  </a:lnTo>
                  <a:lnTo>
                    <a:pt x="24" y="168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54" y="204"/>
                  </a:lnTo>
                  <a:lnTo>
                    <a:pt x="72" y="204"/>
                  </a:lnTo>
                  <a:lnTo>
                    <a:pt x="72" y="228"/>
                  </a:lnTo>
                  <a:lnTo>
                    <a:pt x="84" y="228"/>
                  </a:lnTo>
                  <a:lnTo>
                    <a:pt x="90" y="222"/>
                  </a:lnTo>
                  <a:lnTo>
                    <a:pt x="90" y="234"/>
                  </a:lnTo>
                  <a:lnTo>
                    <a:pt x="96" y="246"/>
                  </a:lnTo>
                  <a:lnTo>
                    <a:pt x="96" y="258"/>
                  </a:lnTo>
                  <a:lnTo>
                    <a:pt x="114" y="276"/>
                  </a:lnTo>
                  <a:lnTo>
                    <a:pt x="126" y="282"/>
                  </a:lnTo>
                  <a:lnTo>
                    <a:pt x="132" y="288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64"/>
                  </a:lnTo>
                  <a:lnTo>
                    <a:pt x="168" y="252"/>
                  </a:lnTo>
                  <a:lnTo>
                    <a:pt x="174" y="240"/>
                  </a:lnTo>
                  <a:lnTo>
                    <a:pt x="180" y="234"/>
                  </a:lnTo>
                  <a:lnTo>
                    <a:pt x="180" y="228"/>
                  </a:lnTo>
                  <a:lnTo>
                    <a:pt x="216" y="228"/>
                  </a:lnTo>
                  <a:lnTo>
                    <a:pt x="222" y="210"/>
                  </a:lnTo>
                  <a:lnTo>
                    <a:pt x="258" y="210"/>
                  </a:lnTo>
                  <a:lnTo>
                    <a:pt x="300" y="270"/>
                  </a:lnTo>
                  <a:lnTo>
                    <a:pt x="300" y="288"/>
                  </a:lnTo>
                  <a:lnTo>
                    <a:pt x="312" y="300"/>
                  </a:lnTo>
                  <a:lnTo>
                    <a:pt x="312" y="318"/>
                  </a:lnTo>
                  <a:lnTo>
                    <a:pt x="306" y="330"/>
                  </a:lnTo>
                  <a:lnTo>
                    <a:pt x="300" y="336"/>
                  </a:lnTo>
                  <a:lnTo>
                    <a:pt x="294" y="354"/>
                  </a:lnTo>
                  <a:lnTo>
                    <a:pt x="324" y="342"/>
                  </a:lnTo>
                  <a:lnTo>
                    <a:pt x="348" y="348"/>
                  </a:lnTo>
                  <a:lnTo>
                    <a:pt x="348" y="336"/>
                  </a:lnTo>
                  <a:lnTo>
                    <a:pt x="354" y="330"/>
                  </a:lnTo>
                  <a:lnTo>
                    <a:pt x="360" y="330"/>
                  </a:lnTo>
                  <a:lnTo>
                    <a:pt x="372" y="336"/>
                  </a:lnTo>
                  <a:lnTo>
                    <a:pt x="384" y="348"/>
                  </a:lnTo>
                  <a:lnTo>
                    <a:pt x="390" y="366"/>
                  </a:lnTo>
                  <a:lnTo>
                    <a:pt x="390" y="426"/>
                  </a:lnTo>
                  <a:lnTo>
                    <a:pt x="402" y="426"/>
                  </a:lnTo>
                  <a:lnTo>
                    <a:pt x="402" y="432"/>
                  </a:lnTo>
                  <a:lnTo>
                    <a:pt x="414" y="444"/>
                  </a:lnTo>
                  <a:lnTo>
                    <a:pt x="420" y="444"/>
                  </a:lnTo>
                  <a:lnTo>
                    <a:pt x="432" y="432"/>
                  </a:lnTo>
                  <a:lnTo>
                    <a:pt x="432" y="420"/>
                  </a:lnTo>
                  <a:lnTo>
                    <a:pt x="438" y="408"/>
                  </a:lnTo>
                  <a:lnTo>
                    <a:pt x="444" y="402"/>
                  </a:lnTo>
                  <a:lnTo>
                    <a:pt x="456" y="402"/>
                  </a:lnTo>
                  <a:lnTo>
                    <a:pt x="468" y="408"/>
                  </a:lnTo>
                  <a:lnTo>
                    <a:pt x="474" y="414"/>
                  </a:lnTo>
                  <a:lnTo>
                    <a:pt x="480" y="414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80" y="384"/>
                  </a:lnTo>
                  <a:lnTo>
                    <a:pt x="480" y="378"/>
                  </a:lnTo>
                  <a:lnTo>
                    <a:pt x="498" y="378"/>
                  </a:lnTo>
                  <a:lnTo>
                    <a:pt x="492" y="366"/>
                  </a:lnTo>
                  <a:lnTo>
                    <a:pt x="480" y="360"/>
                  </a:lnTo>
                  <a:lnTo>
                    <a:pt x="474" y="348"/>
                  </a:lnTo>
                  <a:lnTo>
                    <a:pt x="474" y="336"/>
                  </a:lnTo>
                  <a:lnTo>
                    <a:pt x="492" y="336"/>
                  </a:lnTo>
                  <a:lnTo>
                    <a:pt x="498" y="342"/>
                  </a:lnTo>
                  <a:lnTo>
                    <a:pt x="510" y="342"/>
                  </a:lnTo>
                  <a:lnTo>
                    <a:pt x="516" y="348"/>
                  </a:lnTo>
                  <a:lnTo>
                    <a:pt x="516" y="342"/>
                  </a:lnTo>
                  <a:lnTo>
                    <a:pt x="522" y="336"/>
                  </a:lnTo>
                  <a:lnTo>
                    <a:pt x="522" y="324"/>
                  </a:lnTo>
                  <a:lnTo>
                    <a:pt x="516" y="324"/>
                  </a:lnTo>
                  <a:lnTo>
                    <a:pt x="504" y="318"/>
                  </a:lnTo>
                  <a:lnTo>
                    <a:pt x="498" y="318"/>
                  </a:lnTo>
                  <a:lnTo>
                    <a:pt x="498" y="306"/>
                  </a:lnTo>
                  <a:lnTo>
                    <a:pt x="504" y="294"/>
                  </a:lnTo>
                  <a:lnTo>
                    <a:pt x="510" y="288"/>
                  </a:lnTo>
                  <a:lnTo>
                    <a:pt x="492" y="282"/>
                  </a:lnTo>
                  <a:lnTo>
                    <a:pt x="504" y="264"/>
                  </a:lnTo>
                  <a:lnTo>
                    <a:pt x="486" y="258"/>
                  </a:lnTo>
                  <a:lnTo>
                    <a:pt x="480" y="222"/>
                  </a:lnTo>
                  <a:lnTo>
                    <a:pt x="498" y="198"/>
                  </a:lnTo>
                  <a:lnTo>
                    <a:pt x="468" y="168"/>
                  </a:lnTo>
                  <a:lnTo>
                    <a:pt x="468" y="132"/>
                  </a:lnTo>
                  <a:lnTo>
                    <a:pt x="444" y="132"/>
                  </a:lnTo>
                  <a:lnTo>
                    <a:pt x="468" y="96"/>
                  </a:lnTo>
                  <a:lnTo>
                    <a:pt x="432" y="78"/>
                  </a:lnTo>
                  <a:lnTo>
                    <a:pt x="444" y="48"/>
                  </a:lnTo>
                  <a:lnTo>
                    <a:pt x="426" y="36"/>
                  </a:lnTo>
                  <a:lnTo>
                    <a:pt x="426" y="18"/>
                  </a:lnTo>
                  <a:lnTo>
                    <a:pt x="414" y="12"/>
                  </a:lnTo>
                  <a:lnTo>
                    <a:pt x="402" y="12"/>
                  </a:lnTo>
                  <a:lnTo>
                    <a:pt x="396" y="18"/>
                  </a:lnTo>
                  <a:lnTo>
                    <a:pt x="396" y="36"/>
                  </a:lnTo>
                  <a:lnTo>
                    <a:pt x="378" y="54"/>
                  </a:lnTo>
                  <a:lnTo>
                    <a:pt x="366" y="48"/>
                  </a:lnTo>
                  <a:lnTo>
                    <a:pt x="360" y="42"/>
                  </a:lnTo>
                  <a:lnTo>
                    <a:pt x="348" y="36"/>
                  </a:lnTo>
                  <a:lnTo>
                    <a:pt x="342" y="36"/>
                  </a:lnTo>
                  <a:lnTo>
                    <a:pt x="336" y="30"/>
                  </a:lnTo>
                  <a:lnTo>
                    <a:pt x="330" y="30"/>
                  </a:lnTo>
                  <a:lnTo>
                    <a:pt x="324" y="42"/>
                  </a:lnTo>
                  <a:lnTo>
                    <a:pt x="312" y="54"/>
                  </a:lnTo>
                  <a:lnTo>
                    <a:pt x="306" y="66"/>
                  </a:lnTo>
                  <a:lnTo>
                    <a:pt x="306" y="54"/>
                  </a:lnTo>
                  <a:lnTo>
                    <a:pt x="300" y="42"/>
                  </a:lnTo>
                  <a:lnTo>
                    <a:pt x="288" y="30"/>
                  </a:lnTo>
                  <a:lnTo>
                    <a:pt x="276" y="42"/>
                  </a:lnTo>
                  <a:lnTo>
                    <a:pt x="270" y="54"/>
                  </a:lnTo>
                  <a:lnTo>
                    <a:pt x="264" y="60"/>
                  </a:lnTo>
                  <a:lnTo>
                    <a:pt x="258" y="54"/>
                  </a:lnTo>
                  <a:lnTo>
                    <a:pt x="258" y="48"/>
                  </a:lnTo>
                  <a:lnTo>
                    <a:pt x="252" y="36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204" y="30"/>
                  </a:lnTo>
                  <a:lnTo>
                    <a:pt x="192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18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32" y="0"/>
                  </a:lnTo>
                  <a:lnTo>
                    <a:pt x="96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130" name="Guatemala" descr="© INSCALE GmbH, 05.05.2010&#10;http://www.presentationload.com/"/>
            <p:cNvSpPr>
              <a:spLocks/>
            </p:cNvSpPr>
            <p:nvPr/>
          </p:nvSpPr>
          <p:spPr bwMode="gray">
            <a:xfrm>
              <a:off x="2356562" y="3856746"/>
              <a:ext cx="95988" cy="104107"/>
            </a:xfrm>
            <a:custGeom>
              <a:avLst/>
              <a:gdLst>
                <a:gd name="T0" fmla="*/ 2147483647 w 300"/>
                <a:gd name="T1" fmla="*/ 2147483647 h 336"/>
                <a:gd name="T2" fmla="*/ 2147483647 w 300"/>
                <a:gd name="T3" fmla="*/ 2147483647 h 336"/>
                <a:gd name="T4" fmla="*/ 2147483647 w 300"/>
                <a:gd name="T5" fmla="*/ 2147483647 h 336"/>
                <a:gd name="T6" fmla="*/ 2147483647 w 300"/>
                <a:gd name="T7" fmla="*/ 2147483647 h 336"/>
                <a:gd name="T8" fmla="*/ 2147483647 w 300"/>
                <a:gd name="T9" fmla="*/ 2147483647 h 336"/>
                <a:gd name="T10" fmla="*/ 2147483647 w 300"/>
                <a:gd name="T11" fmla="*/ 0 h 336"/>
                <a:gd name="T12" fmla="*/ 2147483647 w 300"/>
                <a:gd name="T13" fmla="*/ 2147483647 h 336"/>
                <a:gd name="T14" fmla="*/ 2147483647 w 300"/>
                <a:gd name="T15" fmla="*/ 2147483647 h 336"/>
                <a:gd name="T16" fmla="*/ 2147483647 w 300"/>
                <a:gd name="T17" fmla="*/ 2147483647 h 336"/>
                <a:gd name="T18" fmla="*/ 2147483647 w 300"/>
                <a:gd name="T19" fmla="*/ 2147483647 h 336"/>
                <a:gd name="T20" fmla="*/ 2147483647 w 300"/>
                <a:gd name="T21" fmla="*/ 2147483647 h 336"/>
                <a:gd name="T22" fmla="*/ 2147483647 w 300"/>
                <a:gd name="T23" fmla="*/ 2147483647 h 336"/>
                <a:gd name="T24" fmla="*/ 2147483647 w 300"/>
                <a:gd name="T25" fmla="*/ 2147483647 h 336"/>
                <a:gd name="T26" fmla="*/ 2147483647 w 300"/>
                <a:gd name="T27" fmla="*/ 2147483647 h 336"/>
                <a:gd name="T28" fmla="*/ 2147483647 w 300"/>
                <a:gd name="T29" fmla="*/ 2147483647 h 336"/>
                <a:gd name="T30" fmla="*/ 2147483647 w 300"/>
                <a:gd name="T31" fmla="*/ 2147483647 h 336"/>
                <a:gd name="T32" fmla="*/ 2147483647 w 300"/>
                <a:gd name="T33" fmla="*/ 2147483647 h 336"/>
                <a:gd name="T34" fmla="*/ 2147483647 w 300"/>
                <a:gd name="T35" fmla="*/ 2147483647 h 336"/>
                <a:gd name="T36" fmla="*/ 2147483647 w 300"/>
                <a:gd name="T37" fmla="*/ 2147483647 h 336"/>
                <a:gd name="T38" fmla="*/ 2147483647 w 300"/>
                <a:gd name="T39" fmla="*/ 2147483647 h 336"/>
                <a:gd name="T40" fmla="*/ 2147483647 w 300"/>
                <a:gd name="T41" fmla="*/ 2147483647 h 336"/>
                <a:gd name="T42" fmla="*/ 2147483647 w 300"/>
                <a:gd name="T43" fmla="*/ 2147483647 h 336"/>
                <a:gd name="T44" fmla="*/ 2147483647 w 300"/>
                <a:gd name="T45" fmla="*/ 2147483647 h 336"/>
                <a:gd name="T46" fmla="*/ 2147483647 w 300"/>
                <a:gd name="T47" fmla="*/ 2147483647 h 336"/>
                <a:gd name="T48" fmla="*/ 2147483647 w 300"/>
                <a:gd name="T49" fmla="*/ 2147483647 h 336"/>
                <a:gd name="T50" fmla="*/ 2147483647 w 300"/>
                <a:gd name="T51" fmla="*/ 2147483647 h 336"/>
                <a:gd name="T52" fmla="*/ 2147483647 w 300"/>
                <a:gd name="T53" fmla="*/ 2147483647 h 336"/>
                <a:gd name="T54" fmla="*/ 2147483647 w 300"/>
                <a:gd name="T55" fmla="*/ 2147483647 h 336"/>
                <a:gd name="T56" fmla="*/ 2147483647 w 300"/>
                <a:gd name="T57" fmla="*/ 2147483647 h 336"/>
                <a:gd name="T58" fmla="*/ 0 w 300"/>
                <a:gd name="T59" fmla="*/ 2147483647 h 336"/>
                <a:gd name="T60" fmla="*/ 2147483647 w 300"/>
                <a:gd name="T61" fmla="*/ 2147483647 h 336"/>
                <a:gd name="T62" fmla="*/ 2147483647 w 300"/>
                <a:gd name="T63" fmla="*/ 2147483647 h 336"/>
                <a:gd name="T64" fmla="*/ 2147483647 w 300"/>
                <a:gd name="T65" fmla="*/ 2147483647 h 336"/>
                <a:gd name="T66" fmla="*/ 2147483647 w 300"/>
                <a:gd name="T67" fmla="*/ 2147483647 h 336"/>
                <a:gd name="T68" fmla="*/ 2147483647 w 300"/>
                <a:gd name="T69" fmla="*/ 2147483647 h 336"/>
                <a:gd name="T70" fmla="*/ 2147483647 w 300"/>
                <a:gd name="T71" fmla="*/ 2147483647 h 336"/>
                <a:gd name="T72" fmla="*/ 2147483647 w 300"/>
                <a:gd name="T73" fmla="*/ 2147483647 h 336"/>
                <a:gd name="T74" fmla="*/ 2147483647 w 300"/>
                <a:gd name="T75" fmla="*/ 2147483647 h 336"/>
                <a:gd name="T76" fmla="*/ 2147483647 w 300"/>
                <a:gd name="T77" fmla="*/ 2147483647 h 336"/>
                <a:gd name="T78" fmla="*/ 2147483647 w 300"/>
                <a:gd name="T79" fmla="*/ 2147483647 h 336"/>
                <a:gd name="T80" fmla="*/ 2147483647 w 300"/>
                <a:gd name="T81" fmla="*/ 2147483647 h 336"/>
                <a:gd name="T82" fmla="*/ 2147483647 w 300"/>
                <a:gd name="T83" fmla="*/ 2147483647 h 336"/>
                <a:gd name="T84" fmla="*/ 2147483647 w 300"/>
                <a:gd name="T85" fmla="*/ 2147483647 h 336"/>
                <a:gd name="T86" fmla="*/ 2147483647 w 300"/>
                <a:gd name="T87" fmla="*/ 2147483647 h 336"/>
                <a:gd name="T88" fmla="*/ 2147483647 w 300"/>
                <a:gd name="T89" fmla="*/ 2147483647 h 336"/>
                <a:gd name="T90" fmla="*/ 2147483647 w 300"/>
                <a:gd name="T91" fmla="*/ 2147483647 h 336"/>
                <a:gd name="T92" fmla="*/ 2147483647 w 300"/>
                <a:gd name="T93" fmla="*/ 2147483647 h 336"/>
                <a:gd name="T94" fmla="*/ 2147483647 w 300"/>
                <a:gd name="T95" fmla="*/ 2147483647 h 336"/>
                <a:gd name="T96" fmla="*/ 2147483647 w 300"/>
                <a:gd name="T97" fmla="*/ 2147483647 h 336"/>
                <a:gd name="T98" fmla="*/ 2147483647 w 300"/>
                <a:gd name="T99" fmla="*/ 2147483647 h 336"/>
                <a:gd name="T100" fmla="*/ 2147483647 w 300"/>
                <a:gd name="T101" fmla="*/ 2147483647 h 336"/>
                <a:gd name="T102" fmla="*/ 2147483647 w 300"/>
                <a:gd name="T103" fmla="*/ 2147483647 h 336"/>
                <a:gd name="T104" fmla="*/ 2147483647 w 300"/>
                <a:gd name="T105" fmla="*/ 2147483647 h 336"/>
                <a:gd name="T106" fmla="*/ 2147483647 w 300"/>
                <a:gd name="T107" fmla="*/ 2147483647 h 336"/>
                <a:gd name="T108" fmla="*/ 2147483647 w 300"/>
                <a:gd name="T109" fmla="*/ 2147483647 h 336"/>
                <a:gd name="T110" fmla="*/ 2147483647 w 300"/>
                <a:gd name="T111" fmla="*/ 2147483647 h 336"/>
                <a:gd name="T112" fmla="*/ 2147483647 w 300"/>
                <a:gd name="T113" fmla="*/ 2147483647 h 336"/>
                <a:gd name="T114" fmla="*/ 2147483647 w 300"/>
                <a:gd name="T115" fmla="*/ 2147483647 h 336"/>
                <a:gd name="T116" fmla="*/ 2147483647 w 300"/>
                <a:gd name="T117" fmla="*/ 2147483647 h 336"/>
                <a:gd name="T118" fmla="*/ 2147483647 w 300"/>
                <a:gd name="T119" fmla="*/ 2147483647 h 336"/>
                <a:gd name="T120" fmla="*/ 2147483647 w 300"/>
                <a:gd name="T121" fmla="*/ 2147483647 h 3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0"/>
                <a:gd name="T184" fmla="*/ 0 h 336"/>
                <a:gd name="T185" fmla="*/ 300 w 300"/>
                <a:gd name="T186" fmla="*/ 336 h 3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0" h="336">
                  <a:moveTo>
                    <a:pt x="288" y="156"/>
                  </a:moveTo>
                  <a:lnTo>
                    <a:pt x="270" y="168"/>
                  </a:lnTo>
                  <a:lnTo>
                    <a:pt x="258" y="162"/>
                  </a:lnTo>
                  <a:lnTo>
                    <a:pt x="228" y="162"/>
                  </a:lnTo>
                  <a:lnTo>
                    <a:pt x="252" y="6"/>
                  </a:lnTo>
                  <a:lnTo>
                    <a:pt x="120" y="0"/>
                  </a:lnTo>
                  <a:lnTo>
                    <a:pt x="120" y="12"/>
                  </a:lnTo>
                  <a:lnTo>
                    <a:pt x="126" y="24"/>
                  </a:lnTo>
                  <a:lnTo>
                    <a:pt x="126" y="48"/>
                  </a:lnTo>
                  <a:lnTo>
                    <a:pt x="120" y="48"/>
                  </a:lnTo>
                  <a:lnTo>
                    <a:pt x="108" y="54"/>
                  </a:lnTo>
                  <a:lnTo>
                    <a:pt x="84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08" y="84"/>
                  </a:lnTo>
                  <a:lnTo>
                    <a:pt x="114" y="84"/>
                  </a:lnTo>
                  <a:lnTo>
                    <a:pt x="126" y="90"/>
                  </a:lnTo>
                  <a:lnTo>
                    <a:pt x="132" y="90"/>
                  </a:lnTo>
                  <a:lnTo>
                    <a:pt x="138" y="114"/>
                  </a:lnTo>
                  <a:lnTo>
                    <a:pt x="156" y="114"/>
                  </a:lnTo>
                  <a:lnTo>
                    <a:pt x="156" y="126"/>
                  </a:lnTo>
                  <a:lnTo>
                    <a:pt x="150" y="132"/>
                  </a:lnTo>
                  <a:lnTo>
                    <a:pt x="144" y="132"/>
                  </a:lnTo>
                  <a:lnTo>
                    <a:pt x="144" y="150"/>
                  </a:lnTo>
                  <a:lnTo>
                    <a:pt x="54" y="144"/>
                  </a:lnTo>
                  <a:lnTo>
                    <a:pt x="24" y="192"/>
                  </a:lnTo>
                  <a:lnTo>
                    <a:pt x="24" y="264"/>
                  </a:lnTo>
                  <a:lnTo>
                    <a:pt x="18" y="270"/>
                  </a:lnTo>
                  <a:lnTo>
                    <a:pt x="0" y="270"/>
                  </a:lnTo>
                  <a:lnTo>
                    <a:pt x="6" y="282"/>
                  </a:lnTo>
                  <a:lnTo>
                    <a:pt x="12" y="288"/>
                  </a:lnTo>
                  <a:lnTo>
                    <a:pt x="24" y="288"/>
                  </a:lnTo>
                  <a:lnTo>
                    <a:pt x="42" y="300"/>
                  </a:lnTo>
                  <a:lnTo>
                    <a:pt x="60" y="318"/>
                  </a:lnTo>
                  <a:lnTo>
                    <a:pt x="72" y="324"/>
                  </a:lnTo>
                  <a:lnTo>
                    <a:pt x="120" y="324"/>
                  </a:lnTo>
                  <a:lnTo>
                    <a:pt x="126" y="330"/>
                  </a:lnTo>
                  <a:lnTo>
                    <a:pt x="132" y="330"/>
                  </a:lnTo>
                  <a:lnTo>
                    <a:pt x="138" y="336"/>
                  </a:lnTo>
                  <a:lnTo>
                    <a:pt x="150" y="324"/>
                  </a:lnTo>
                  <a:lnTo>
                    <a:pt x="162" y="318"/>
                  </a:lnTo>
                  <a:lnTo>
                    <a:pt x="168" y="312"/>
                  </a:lnTo>
                  <a:lnTo>
                    <a:pt x="174" y="312"/>
                  </a:lnTo>
                  <a:lnTo>
                    <a:pt x="180" y="300"/>
                  </a:lnTo>
                  <a:lnTo>
                    <a:pt x="186" y="294"/>
                  </a:lnTo>
                  <a:lnTo>
                    <a:pt x="186" y="282"/>
                  </a:lnTo>
                  <a:lnTo>
                    <a:pt x="204" y="282"/>
                  </a:lnTo>
                  <a:lnTo>
                    <a:pt x="210" y="276"/>
                  </a:lnTo>
                  <a:lnTo>
                    <a:pt x="222" y="270"/>
                  </a:lnTo>
                  <a:lnTo>
                    <a:pt x="222" y="264"/>
                  </a:lnTo>
                  <a:lnTo>
                    <a:pt x="228" y="252"/>
                  </a:lnTo>
                  <a:lnTo>
                    <a:pt x="228" y="234"/>
                  </a:lnTo>
                  <a:lnTo>
                    <a:pt x="234" y="222"/>
                  </a:lnTo>
                  <a:lnTo>
                    <a:pt x="246" y="216"/>
                  </a:lnTo>
                  <a:lnTo>
                    <a:pt x="258" y="204"/>
                  </a:lnTo>
                  <a:lnTo>
                    <a:pt x="270" y="198"/>
                  </a:lnTo>
                  <a:lnTo>
                    <a:pt x="282" y="186"/>
                  </a:lnTo>
                  <a:lnTo>
                    <a:pt x="294" y="180"/>
                  </a:lnTo>
                  <a:lnTo>
                    <a:pt x="300" y="168"/>
                  </a:lnTo>
                  <a:lnTo>
                    <a:pt x="288" y="15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131" name="Greenland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3475143" y="2351481"/>
              <a:ext cx="909966" cy="473994"/>
            </a:xfrm>
            <a:custGeom>
              <a:avLst/>
              <a:gdLst>
                <a:gd name="T0" fmla="*/ 2147483647 w 732"/>
                <a:gd name="T1" fmla="*/ 2147483647 h 398"/>
                <a:gd name="T2" fmla="*/ 2147483647 w 732"/>
                <a:gd name="T3" fmla="*/ 2147483647 h 398"/>
                <a:gd name="T4" fmla="*/ 2147483647 w 732"/>
                <a:gd name="T5" fmla="*/ 2147483647 h 398"/>
                <a:gd name="T6" fmla="*/ 2147483647 w 732"/>
                <a:gd name="T7" fmla="*/ 2147483647 h 398"/>
                <a:gd name="T8" fmla="*/ 2147483647 w 732"/>
                <a:gd name="T9" fmla="*/ 2147483647 h 398"/>
                <a:gd name="T10" fmla="*/ 2147483647 w 732"/>
                <a:gd name="T11" fmla="*/ 2147483647 h 398"/>
                <a:gd name="T12" fmla="*/ 2147483647 w 732"/>
                <a:gd name="T13" fmla="*/ 2147483647 h 398"/>
                <a:gd name="T14" fmla="*/ 2147483647 w 732"/>
                <a:gd name="T15" fmla="*/ 2147483647 h 398"/>
                <a:gd name="T16" fmla="*/ 2147483647 w 732"/>
                <a:gd name="T17" fmla="*/ 2147483647 h 398"/>
                <a:gd name="T18" fmla="*/ 2147483647 w 732"/>
                <a:gd name="T19" fmla="*/ 2147483647 h 398"/>
                <a:gd name="T20" fmla="*/ 2147483647 w 732"/>
                <a:gd name="T21" fmla="*/ 2147483647 h 398"/>
                <a:gd name="T22" fmla="*/ 2147483647 w 732"/>
                <a:gd name="T23" fmla="*/ 2147483647 h 398"/>
                <a:gd name="T24" fmla="*/ 2147483647 w 732"/>
                <a:gd name="T25" fmla="*/ 2147483647 h 398"/>
                <a:gd name="T26" fmla="*/ 2147483647 w 732"/>
                <a:gd name="T27" fmla="*/ 2147483647 h 398"/>
                <a:gd name="T28" fmla="*/ 2147483647 w 732"/>
                <a:gd name="T29" fmla="*/ 2147483647 h 398"/>
                <a:gd name="T30" fmla="*/ 2147483647 w 732"/>
                <a:gd name="T31" fmla="*/ 2147483647 h 398"/>
                <a:gd name="T32" fmla="*/ 2147483647 w 732"/>
                <a:gd name="T33" fmla="*/ 2147483647 h 398"/>
                <a:gd name="T34" fmla="*/ 2147483647 w 732"/>
                <a:gd name="T35" fmla="*/ 2147483647 h 398"/>
                <a:gd name="T36" fmla="*/ 2147483647 w 732"/>
                <a:gd name="T37" fmla="*/ 2147483647 h 398"/>
                <a:gd name="T38" fmla="*/ 2147483647 w 732"/>
                <a:gd name="T39" fmla="*/ 2147483647 h 398"/>
                <a:gd name="T40" fmla="*/ 2147483647 w 732"/>
                <a:gd name="T41" fmla="*/ 2147483647 h 398"/>
                <a:gd name="T42" fmla="*/ 2147483647 w 732"/>
                <a:gd name="T43" fmla="*/ 2147483647 h 398"/>
                <a:gd name="T44" fmla="*/ 2147483647 w 732"/>
                <a:gd name="T45" fmla="*/ 2147483647 h 398"/>
                <a:gd name="T46" fmla="*/ 2147483647 w 732"/>
                <a:gd name="T47" fmla="*/ 2147483647 h 398"/>
                <a:gd name="T48" fmla="*/ 2147483647 w 732"/>
                <a:gd name="T49" fmla="*/ 2147483647 h 398"/>
                <a:gd name="T50" fmla="*/ 2147483647 w 732"/>
                <a:gd name="T51" fmla="*/ 2147483647 h 398"/>
                <a:gd name="T52" fmla="*/ 2147483647 w 732"/>
                <a:gd name="T53" fmla="*/ 2147483647 h 398"/>
                <a:gd name="T54" fmla="*/ 2147483647 w 732"/>
                <a:gd name="T55" fmla="*/ 2147483647 h 398"/>
                <a:gd name="T56" fmla="*/ 2147483647 w 732"/>
                <a:gd name="T57" fmla="*/ 2147483647 h 398"/>
                <a:gd name="T58" fmla="*/ 2147483647 w 732"/>
                <a:gd name="T59" fmla="*/ 2147483647 h 398"/>
                <a:gd name="T60" fmla="*/ 2147483647 w 732"/>
                <a:gd name="T61" fmla="*/ 2147483647 h 398"/>
                <a:gd name="T62" fmla="*/ 2147483647 w 732"/>
                <a:gd name="T63" fmla="*/ 2147483647 h 398"/>
                <a:gd name="T64" fmla="*/ 2147483647 w 732"/>
                <a:gd name="T65" fmla="*/ 2147483647 h 398"/>
                <a:gd name="T66" fmla="*/ 2147483647 w 732"/>
                <a:gd name="T67" fmla="*/ 2147483647 h 398"/>
                <a:gd name="T68" fmla="*/ 2147483647 w 732"/>
                <a:gd name="T69" fmla="*/ 2147483647 h 398"/>
                <a:gd name="T70" fmla="*/ 2147483647 w 732"/>
                <a:gd name="T71" fmla="*/ 2147483647 h 398"/>
                <a:gd name="T72" fmla="*/ 2147483647 w 732"/>
                <a:gd name="T73" fmla="*/ 2147483647 h 398"/>
                <a:gd name="T74" fmla="*/ 2147483647 w 732"/>
                <a:gd name="T75" fmla="*/ 2147483647 h 398"/>
                <a:gd name="T76" fmla="*/ 2147483647 w 732"/>
                <a:gd name="T77" fmla="*/ 2147483647 h 398"/>
                <a:gd name="T78" fmla="*/ 2147483647 w 732"/>
                <a:gd name="T79" fmla="*/ 2147483647 h 398"/>
                <a:gd name="T80" fmla="*/ 2147483647 w 732"/>
                <a:gd name="T81" fmla="*/ 2147483647 h 398"/>
                <a:gd name="T82" fmla="*/ 2147483647 w 732"/>
                <a:gd name="T83" fmla="*/ 2147483647 h 398"/>
                <a:gd name="T84" fmla="*/ 2147483647 w 732"/>
                <a:gd name="T85" fmla="*/ 2147483647 h 398"/>
                <a:gd name="T86" fmla="*/ 2147483647 w 732"/>
                <a:gd name="T87" fmla="*/ 2147483647 h 398"/>
                <a:gd name="T88" fmla="*/ 2147483647 w 732"/>
                <a:gd name="T89" fmla="*/ 2147483647 h 398"/>
                <a:gd name="T90" fmla="*/ 2147483647 w 732"/>
                <a:gd name="T91" fmla="*/ 2147483647 h 398"/>
                <a:gd name="T92" fmla="*/ 2147483647 w 732"/>
                <a:gd name="T93" fmla="*/ 2147483647 h 398"/>
                <a:gd name="T94" fmla="*/ 2147483647 w 732"/>
                <a:gd name="T95" fmla="*/ 2147483647 h 398"/>
                <a:gd name="T96" fmla="*/ 2147483647 w 732"/>
                <a:gd name="T97" fmla="*/ 2147483647 h 398"/>
                <a:gd name="T98" fmla="*/ 2147483647 w 732"/>
                <a:gd name="T99" fmla="*/ 2147483647 h 398"/>
                <a:gd name="T100" fmla="*/ 2147483647 w 732"/>
                <a:gd name="T101" fmla="*/ 2147483647 h 398"/>
                <a:gd name="T102" fmla="*/ 2147483647 w 732"/>
                <a:gd name="T103" fmla="*/ 2147483647 h 398"/>
                <a:gd name="T104" fmla="*/ 2147483647 w 732"/>
                <a:gd name="T105" fmla="*/ 2147483647 h 398"/>
                <a:gd name="T106" fmla="*/ 2147483647 w 732"/>
                <a:gd name="T107" fmla="*/ 2147483647 h 398"/>
                <a:gd name="T108" fmla="*/ 2147483647 w 732"/>
                <a:gd name="T109" fmla="*/ 2147483647 h 398"/>
                <a:gd name="T110" fmla="*/ 2147483647 w 732"/>
                <a:gd name="T111" fmla="*/ 2147483647 h 398"/>
                <a:gd name="T112" fmla="*/ 2147483647 w 732"/>
                <a:gd name="T113" fmla="*/ 2147483647 h 398"/>
                <a:gd name="T114" fmla="*/ 2147483647 w 732"/>
                <a:gd name="T115" fmla="*/ 2147483647 h 398"/>
                <a:gd name="T116" fmla="*/ 2147483647 w 732"/>
                <a:gd name="T117" fmla="*/ 2147483647 h 398"/>
                <a:gd name="T118" fmla="*/ 2147483647 w 732"/>
                <a:gd name="T119" fmla="*/ 2147483647 h 398"/>
                <a:gd name="T120" fmla="*/ 2147483647 w 732"/>
                <a:gd name="T121" fmla="*/ 2147483647 h 398"/>
                <a:gd name="T122" fmla="*/ 2147483647 w 732"/>
                <a:gd name="T123" fmla="*/ 2147483647 h 3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32"/>
                <a:gd name="T187" fmla="*/ 0 h 398"/>
                <a:gd name="T188" fmla="*/ 732 w 732"/>
                <a:gd name="T189" fmla="*/ 398 h 3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32" h="398">
                  <a:moveTo>
                    <a:pt x="730" y="24"/>
                  </a:moveTo>
                  <a:lnTo>
                    <a:pt x="728" y="24"/>
                  </a:lnTo>
                  <a:lnTo>
                    <a:pt x="723" y="24"/>
                  </a:lnTo>
                  <a:lnTo>
                    <a:pt x="718" y="22"/>
                  </a:lnTo>
                  <a:lnTo>
                    <a:pt x="678" y="22"/>
                  </a:lnTo>
                  <a:lnTo>
                    <a:pt x="678" y="24"/>
                  </a:lnTo>
                  <a:lnTo>
                    <a:pt x="670" y="26"/>
                  </a:lnTo>
                  <a:lnTo>
                    <a:pt x="659" y="26"/>
                  </a:lnTo>
                  <a:lnTo>
                    <a:pt x="651" y="24"/>
                  </a:lnTo>
                  <a:lnTo>
                    <a:pt x="637" y="24"/>
                  </a:lnTo>
                  <a:lnTo>
                    <a:pt x="623" y="29"/>
                  </a:lnTo>
                  <a:lnTo>
                    <a:pt x="616" y="34"/>
                  </a:lnTo>
                  <a:lnTo>
                    <a:pt x="611" y="34"/>
                  </a:lnTo>
                  <a:lnTo>
                    <a:pt x="606" y="34"/>
                  </a:lnTo>
                  <a:lnTo>
                    <a:pt x="604" y="36"/>
                  </a:lnTo>
                  <a:lnTo>
                    <a:pt x="602" y="36"/>
                  </a:lnTo>
                  <a:lnTo>
                    <a:pt x="597" y="38"/>
                  </a:lnTo>
                  <a:lnTo>
                    <a:pt x="592" y="38"/>
                  </a:lnTo>
                  <a:lnTo>
                    <a:pt x="599" y="34"/>
                  </a:lnTo>
                  <a:lnTo>
                    <a:pt x="609" y="31"/>
                  </a:lnTo>
                  <a:lnTo>
                    <a:pt x="621" y="26"/>
                  </a:lnTo>
                  <a:lnTo>
                    <a:pt x="623" y="24"/>
                  </a:lnTo>
                  <a:lnTo>
                    <a:pt x="618" y="19"/>
                  </a:lnTo>
                  <a:lnTo>
                    <a:pt x="606" y="19"/>
                  </a:lnTo>
                  <a:lnTo>
                    <a:pt x="604" y="22"/>
                  </a:lnTo>
                  <a:lnTo>
                    <a:pt x="602" y="22"/>
                  </a:lnTo>
                  <a:lnTo>
                    <a:pt x="597" y="24"/>
                  </a:lnTo>
                  <a:lnTo>
                    <a:pt x="594" y="24"/>
                  </a:lnTo>
                  <a:lnTo>
                    <a:pt x="566" y="26"/>
                  </a:lnTo>
                  <a:lnTo>
                    <a:pt x="566" y="29"/>
                  </a:lnTo>
                  <a:lnTo>
                    <a:pt x="563" y="29"/>
                  </a:lnTo>
                  <a:lnTo>
                    <a:pt x="566" y="26"/>
                  </a:lnTo>
                  <a:lnTo>
                    <a:pt x="568" y="26"/>
                  </a:lnTo>
                  <a:lnTo>
                    <a:pt x="573" y="26"/>
                  </a:lnTo>
                  <a:lnTo>
                    <a:pt x="578" y="24"/>
                  </a:lnTo>
                  <a:lnTo>
                    <a:pt x="580" y="24"/>
                  </a:lnTo>
                  <a:lnTo>
                    <a:pt x="582" y="24"/>
                  </a:lnTo>
                  <a:lnTo>
                    <a:pt x="585" y="22"/>
                  </a:lnTo>
                  <a:lnTo>
                    <a:pt x="578" y="19"/>
                  </a:lnTo>
                  <a:lnTo>
                    <a:pt x="552" y="19"/>
                  </a:lnTo>
                  <a:lnTo>
                    <a:pt x="542" y="22"/>
                  </a:lnTo>
                  <a:lnTo>
                    <a:pt x="525" y="19"/>
                  </a:lnTo>
                  <a:lnTo>
                    <a:pt x="523" y="19"/>
                  </a:lnTo>
                  <a:lnTo>
                    <a:pt x="523" y="22"/>
                  </a:lnTo>
                  <a:lnTo>
                    <a:pt x="518" y="22"/>
                  </a:lnTo>
                  <a:lnTo>
                    <a:pt x="514" y="24"/>
                  </a:lnTo>
                  <a:lnTo>
                    <a:pt x="511" y="24"/>
                  </a:lnTo>
                  <a:lnTo>
                    <a:pt x="509" y="24"/>
                  </a:lnTo>
                  <a:lnTo>
                    <a:pt x="506" y="24"/>
                  </a:lnTo>
                  <a:lnTo>
                    <a:pt x="509" y="22"/>
                  </a:lnTo>
                  <a:lnTo>
                    <a:pt x="518" y="19"/>
                  </a:lnTo>
                  <a:lnTo>
                    <a:pt x="530" y="19"/>
                  </a:lnTo>
                  <a:lnTo>
                    <a:pt x="563" y="19"/>
                  </a:lnTo>
                  <a:lnTo>
                    <a:pt x="580" y="17"/>
                  </a:lnTo>
                  <a:lnTo>
                    <a:pt x="625" y="17"/>
                  </a:lnTo>
                  <a:lnTo>
                    <a:pt x="632" y="14"/>
                  </a:lnTo>
                  <a:lnTo>
                    <a:pt x="628" y="12"/>
                  </a:lnTo>
                  <a:lnTo>
                    <a:pt x="618" y="10"/>
                  </a:lnTo>
                  <a:lnTo>
                    <a:pt x="592" y="10"/>
                  </a:lnTo>
                  <a:lnTo>
                    <a:pt x="594" y="10"/>
                  </a:lnTo>
                  <a:lnTo>
                    <a:pt x="597" y="7"/>
                  </a:lnTo>
                  <a:lnTo>
                    <a:pt x="594" y="5"/>
                  </a:lnTo>
                  <a:lnTo>
                    <a:pt x="585" y="5"/>
                  </a:lnTo>
                  <a:lnTo>
                    <a:pt x="582" y="7"/>
                  </a:lnTo>
                  <a:lnTo>
                    <a:pt x="568" y="7"/>
                  </a:lnTo>
                  <a:lnTo>
                    <a:pt x="566" y="5"/>
                  </a:lnTo>
                  <a:lnTo>
                    <a:pt x="571" y="5"/>
                  </a:lnTo>
                  <a:lnTo>
                    <a:pt x="573" y="5"/>
                  </a:lnTo>
                  <a:lnTo>
                    <a:pt x="578" y="5"/>
                  </a:lnTo>
                  <a:lnTo>
                    <a:pt x="578" y="2"/>
                  </a:lnTo>
                  <a:lnTo>
                    <a:pt x="575" y="2"/>
                  </a:lnTo>
                  <a:lnTo>
                    <a:pt x="571" y="0"/>
                  </a:lnTo>
                  <a:lnTo>
                    <a:pt x="537" y="0"/>
                  </a:lnTo>
                  <a:lnTo>
                    <a:pt x="528" y="2"/>
                  </a:lnTo>
                  <a:lnTo>
                    <a:pt x="518" y="2"/>
                  </a:lnTo>
                  <a:lnTo>
                    <a:pt x="509" y="0"/>
                  </a:lnTo>
                  <a:lnTo>
                    <a:pt x="483" y="0"/>
                  </a:lnTo>
                  <a:lnTo>
                    <a:pt x="478" y="2"/>
                  </a:lnTo>
                  <a:lnTo>
                    <a:pt x="454" y="2"/>
                  </a:lnTo>
                  <a:lnTo>
                    <a:pt x="452" y="0"/>
                  </a:lnTo>
                  <a:lnTo>
                    <a:pt x="447" y="0"/>
                  </a:lnTo>
                  <a:lnTo>
                    <a:pt x="445" y="2"/>
                  </a:lnTo>
                  <a:lnTo>
                    <a:pt x="442" y="2"/>
                  </a:lnTo>
                  <a:lnTo>
                    <a:pt x="442" y="5"/>
                  </a:lnTo>
                  <a:lnTo>
                    <a:pt x="445" y="5"/>
                  </a:lnTo>
                  <a:lnTo>
                    <a:pt x="447" y="5"/>
                  </a:lnTo>
                  <a:lnTo>
                    <a:pt x="442" y="7"/>
                  </a:lnTo>
                  <a:lnTo>
                    <a:pt x="428" y="7"/>
                  </a:lnTo>
                  <a:lnTo>
                    <a:pt x="409" y="5"/>
                  </a:lnTo>
                  <a:lnTo>
                    <a:pt x="378" y="5"/>
                  </a:lnTo>
                  <a:lnTo>
                    <a:pt x="373" y="5"/>
                  </a:lnTo>
                  <a:lnTo>
                    <a:pt x="371" y="5"/>
                  </a:lnTo>
                  <a:lnTo>
                    <a:pt x="368" y="7"/>
                  </a:lnTo>
                  <a:lnTo>
                    <a:pt x="366" y="7"/>
                  </a:lnTo>
                  <a:lnTo>
                    <a:pt x="366" y="10"/>
                  </a:lnTo>
                  <a:lnTo>
                    <a:pt x="368" y="10"/>
                  </a:lnTo>
                  <a:lnTo>
                    <a:pt x="378" y="10"/>
                  </a:lnTo>
                  <a:lnTo>
                    <a:pt x="387" y="10"/>
                  </a:lnTo>
                  <a:lnTo>
                    <a:pt x="399" y="12"/>
                  </a:lnTo>
                  <a:lnTo>
                    <a:pt x="404" y="12"/>
                  </a:lnTo>
                  <a:lnTo>
                    <a:pt x="426" y="14"/>
                  </a:lnTo>
                  <a:lnTo>
                    <a:pt x="399" y="14"/>
                  </a:lnTo>
                  <a:lnTo>
                    <a:pt x="395" y="14"/>
                  </a:lnTo>
                  <a:lnTo>
                    <a:pt x="392" y="14"/>
                  </a:lnTo>
                  <a:lnTo>
                    <a:pt x="387" y="12"/>
                  </a:lnTo>
                  <a:lnTo>
                    <a:pt x="378" y="12"/>
                  </a:lnTo>
                  <a:lnTo>
                    <a:pt x="380" y="14"/>
                  </a:lnTo>
                  <a:lnTo>
                    <a:pt x="383" y="14"/>
                  </a:lnTo>
                  <a:lnTo>
                    <a:pt x="385" y="14"/>
                  </a:lnTo>
                  <a:lnTo>
                    <a:pt x="376" y="14"/>
                  </a:lnTo>
                  <a:lnTo>
                    <a:pt x="373" y="17"/>
                  </a:lnTo>
                  <a:lnTo>
                    <a:pt x="373" y="19"/>
                  </a:lnTo>
                  <a:lnTo>
                    <a:pt x="371" y="22"/>
                  </a:lnTo>
                  <a:lnTo>
                    <a:pt x="371" y="24"/>
                  </a:lnTo>
                  <a:lnTo>
                    <a:pt x="368" y="24"/>
                  </a:lnTo>
                  <a:lnTo>
                    <a:pt x="366" y="24"/>
                  </a:lnTo>
                  <a:lnTo>
                    <a:pt x="364" y="24"/>
                  </a:lnTo>
                  <a:lnTo>
                    <a:pt x="359" y="24"/>
                  </a:lnTo>
                  <a:lnTo>
                    <a:pt x="357" y="22"/>
                  </a:lnTo>
                  <a:lnTo>
                    <a:pt x="345" y="19"/>
                  </a:lnTo>
                  <a:lnTo>
                    <a:pt x="330" y="14"/>
                  </a:lnTo>
                  <a:lnTo>
                    <a:pt x="309" y="14"/>
                  </a:lnTo>
                  <a:lnTo>
                    <a:pt x="309" y="24"/>
                  </a:lnTo>
                  <a:lnTo>
                    <a:pt x="297" y="24"/>
                  </a:lnTo>
                  <a:lnTo>
                    <a:pt x="292" y="22"/>
                  </a:lnTo>
                  <a:lnTo>
                    <a:pt x="288" y="22"/>
                  </a:lnTo>
                  <a:lnTo>
                    <a:pt x="285" y="19"/>
                  </a:lnTo>
                  <a:lnTo>
                    <a:pt x="278" y="19"/>
                  </a:lnTo>
                  <a:lnTo>
                    <a:pt x="273" y="22"/>
                  </a:lnTo>
                  <a:lnTo>
                    <a:pt x="273" y="24"/>
                  </a:lnTo>
                  <a:lnTo>
                    <a:pt x="269" y="24"/>
                  </a:lnTo>
                  <a:lnTo>
                    <a:pt x="271" y="19"/>
                  </a:lnTo>
                  <a:lnTo>
                    <a:pt x="269" y="17"/>
                  </a:lnTo>
                  <a:lnTo>
                    <a:pt x="238" y="17"/>
                  </a:lnTo>
                  <a:lnTo>
                    <a:pt x="228" y="19"/>
                  </a:lnTo>
                  <a:lnTo>
                    <a:pt x="209" y="19"/>
                  </a:lnTo>
                  <a:lnTo>
                    <a:pt x="214" y="22"/>
                  </a:lnTo>
                  <a:lnTo>
                    <a:pt x="223" y="26"/>
                  </a:lnTo>
                  <a:lnTo>
                    <a:pt x="226" y="29"/>
                  </a:lnTo>
                  <a:lnTo>
                    <a:pt x="223" y="29"/>
                  </a:lnTo>
                  <a:lnTo>
                    <a:pt x="223" y="26"/>
                  </a:lnTo>
                  <a:lnTo>
                    <a:pt x="214" y="24"/>
                  </a:lnTo>
                  <a:lnTo>
                    <a:pt x="207" y="24"/>
                  </a:lnTo>
                  <a:lnTo>
                    <a:pt x="202" y="22"/>
                  </a:lnTo>
                  <a:lnTo>
                    <a:pt x="197" y="22"/>
                  </a:lnTo>
                  <a:lnTo>
                    <a:pt x="192" y="19"/>
                  </a:lnTo>
                  <a:lnTo>
                    <a:pt x="190" y="19"/>
                  </a:lnTo>
                  <a:lnTo>
                    <a:pt x="188" y="22"/>
                  </a:lnTo>
                  <a:lnTo>
                    <a:pt x="185" y="24"/>
                  </a:lnTo>
                  <a:lnTo>
                    <a:pt x="183" y="26"/>
                  </a:lnTo>
                  <a:lnTo>
                    <a:pt x="178" y="29"/>
                  </a:lnTo>
                  <a:lnTo>
                    <a:pt x="176" y="29"/>
                  </a:lnTo>
                  <a:lnTo>
                    <a:pt x="171" y="31"/>
                  </a:lnTo>
                  <a:lnTo>
                    <a:pt x="150" y="31"/>
                  </a:lnTo>
                  <a:lnTo>
                    <a:pt x="143" y="34"/>
                  </a:lnTo>
                  <a:lnTo>
                    <a:pt x="133" y="36"/>
                  </a:lnTo>
                  <a:lnTo>
                    <a:pt x="124" y="38"/>
                  </a:lnTo>
                  <a:lnTo>
                    <a:pt x="119" y="38"/>
                  </a:lnTo>
                  <a:lnTo>
                    <a:pt x="102" y="41"/>
                  </a:lnTo>
                  <a:lnTo>
                    <a:pt x="97" y="43"/>
                  </a:lnTo>
                  <a:lnTo>
                    <a:pt x="100" y="46"/>
                  </a:lnTo>
                  <a:lnTo>
                    <a:pt x="105" y="48"/>
                  </a:lnTo>
                  <a:lnTo>
                    <a:pt x="126" y="48"/>
                  </a:lnTo>
                  <a:lnTo>
                    <a:pt x="116" y="50"/>
                  </a:lnTo>
                  <a:lnTo>
                    <a:pt x="112" y="55"/>
                  </a:lnTo>
                  <a:lnTo>
                    <a:pt x="109" y="55"/>
                  </a:lnTo>
                  <a:lnTo>
                    <a:pt x="93" y="60"/>
                  </a:lnTo>
                  <a:lnTo>
                    <a:pt x="88" y="60"/>
                  </a:lnTo>
                  <a:lnTo>
                    <a:pt x="66" y="60"/>
                  </a:lnTo>
                  <a:lnTo>
                    <a:pt x="57" y="62"/>
                  </a:lnTo>
                  <a:lnTo>
                    <a:pt x="47" y="65"/>
                  </a:lnTo>
                  <a:lnTo>
                    <a:pt x="45" y="67"/>
                  </a:lnTo>
                  <a:lnTo>
                    <a:pt x="40" y="67"/>
                  </a:lnTo>
                  <a:lnTo>
                    <a:pt x="38" y="65"/>
                  </a:lnTo>
                  <a:lnTo>
                    <a:pt x="31" y="70"/>
                  </a:lnTo>
                  <a:lnTo>
                    <a:pt x="9" y="70"/>
                  </a:lnTo>
                  <a:lnTo>
                    <a:pt x="7" y="70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2" y="74"/>
                  </a:lnTo>
                  <a:lnTo>
                    <a:pt x="9" y="79"/>
                  </a:lnTo>
                  <a:lnTo>
                    <a:pt x="12" y="82"/>
                  </a:lnTo>
                  <a:lnTo>
                    <a:pt x="14" y="84"/>
                  </a:lnTo>
                  <a:lnTo>
                    <a:pt x="24" y="79"/>
                  </a:lnTo>
                  <a:lnTo>
                    <a:pt x="24" y="84"/>
                  </a:lnTo>
                  <a:lnTo>
                    <a:pt x="28" y="86"/>
                  </a:lnTo>
                  <a:lnTo>
                    <a:pt x="33" y="86"/>
                  </a:lnTo>
                  <a:lnTo>
                    <a:pt x="36" y="84"/>
                  </a:lnTo>
                  <a:lnTo>
                    <a:pt x="38" y="84"/>
                  </a:lnTo>
                  <a:lnTo>
                    <a:pt x="40" y="82"/>
                  </a:lnTo>
                  <a:lnTo>
                    <a:pt x="40" y="84"/>
                  </a:lnTo>
                  <a:lnTo>
                    <a:pt x="43" y="86"/>
                  </a:lnTo>
                  <a:lnTo>
                    <a:pt x="45" y="86"/>
                  </a:lnTo>
                  <a:lnTo>
                    <a:pt x="47" y="84"/>
                  </a:lnTo>
                  <a:lnTo>
                    <a:pt x="52" y="84"/>
                  </a:lnTo>
                  <a:lnTo>
                    <a:pt x="57" y="84"/>
                  </a:lnTo>
                  <a:lnTo>
                    <a:pt x="59" y="82"/>
                  </a:lnTo>
                  <a:lnTo>
                    <a:pt x="64" y="82"/>
                  </a:lnTo>
                  <a:lnTo>
                    <a:pt x="64" y="84"/>
                  </a:lnTo>
                  <a:lnTo>
                    <a:pt x="64" y="86"/>
                  </a:lnTo>
                  <a:lnTo>
                    <a:pt x="62" y="86"/>
                  </a:lnTo>
                  <a:lnTo>
                    <a:pt x="57" y="91"/>
                  </a:lnTo>
                  <a:lnTo>
                    <a:pt x="55" y="91"/>
                  </a:lnTo>
                  <a:lnTo>
                    <a:pt x="52" y="89"/>
                  </a:lnTo>
                  <a:lnTo>
                    <a:pt x="40" y="89"/>
                  </a:lnTo>
                  <a:lnTo>
                    <a:pt x="36" y="91"/>
                  </a:lnTo>
                  <a:lnTo>
                    <a:pt x="33" y="91"/>
                  </a:lnTo>
                  <a:lnTo>
                    <a:pt x="21" y="89"/>
                  </a:lnTo>
                  <a:lnTo>
                    <a:pt x="19" y="89"/>
                  </a:lnTo>
                  <a:lnTo>
                    <a:pt x="14" y="86"/>
                  </a:lnTo>
                  <a:lnTo>
                    <a:pt x="7" y="86"/>
                  </a:lnTo>
                  <a:lnTo>
                    <a:pt x="2" y="89"/>
                  </a:lnTo>
                  <a:lnTo>
                    <a:pt x="2" y="93"/>
                  </a:lnTo>
                  <a:lnTo>
                    <a:pt x="2" y="96"/>
                  </a:lnTo>
                  <a:lnTo>
                    <a:pt x="7" y="98"/>
                  </a:lnTo>
                  <a:lnTo>
                    <a:pt x="19" y="98"/>
                  </a:lnTo>
                  <a:lnTo>
                    <a:pt x="17" y="101"/>
                  </a:lnTo>
                  <a:lnTo>
                    <a:pt x="14" y="101"/>
                  </a:lnTo>
                  <a:lnTo>
                    <a:pt x="9" y="101"/>
                  </a:lnTo>
                  <a:lnTo>
                    <a:pt x="12" y="103"/>
                  </a:lnTo>
                  <a:lnTo>
                    <a:pt x="19" y="105"/>
                  </a:lnTo>
                  <a:lnTo>
                    <a:pt x="21" y="105"/>
                  </a:lnTo>
                  <a:lnTo>
                    <a:pt x="24" y="108"/>
                  </a:lnTo>
                  <a:lnTo>
                    <a:pt x="33" y="108"/>
                  </a:lnTo>
                  <a:lnTo>
                    <a:pt x="33" y="105"/>
                  </a:lnTo>
                  <a:lnTo>
                    <a:pt x="36" y="105"/>
                  </a:lnTo>
                  <a:lnTo>
                    <a:pt x="38" y="105"/>
                  </a:lnTo>
                  <a:lnTo>
                    <a:pt x="43" y="108"/>
                  </a:lnTo>
                  <a:lnTo>
                    <a:pt x="52" y="105"/>
                  </a:lnTo>
                  <a:lnTo>
                    <a:pt x="52" y="108"/>
                  </a:lnTo>
                  <a:lnTo>
                    <a:pt x="57" y="108"/>
                  </a:lnTo>
                  <a:lnTo>
                    <a:pt x="62" y="105"/>
                  </a:lnTo>
                  <a:lnTo>
                    <a:pt x="64" y="105"/>
                  </a:lnTo>
                  <a:lnTo>
                    <a:pt x="69" y="103"/>
                  </a:lnTo>
                  <a:lnTo>
                    <a:pt x="76" y="105"/>
                  </a:lnTo>
                  <a:lnTo>
                    <a:pt x="81" y="105"/>
                  </a:lnTo>
                  <a:lnTo>
                    <a:pt x="83" y="105"/>
                  </a:lnTo>
                  <a:lnTo>
                    <a:pt x="85" y="103"/>
                  </a:lnTo>
                  <a:lnTo>
                    <a:pt x="88" y="103"/>
                  </a:lnTo>
                  <a:lnTo>
                    <a:pt x="93" y="105"/>
                  </a:lnTo>
                  <a:lnTo>
                    <a:pt x="97" y="105"/>
                  </a:lnTo>
                  <a:lnTo>
                    <a:pt x="112" y="105"/>
                  </a:lnTo>
                  <a:lnTo>
                    <a:pt x="121" y="110"/>
                  </a:lnTo>
                  <a:lnTo>
                    <a:pt x="124" y="110"/>
                  </a:lnTo>
                  <a:lnTo>
                    <a:pt x="128" y="115"/>
                  </a:lnTo>
                  <a:lnTo>
                    <a:pt x="135" y="115"/>
                  </a:lnTo>
                  <a:lnTo>
                    <a:pt x="133" y="117"/>
                  </a:lnTo>
                  <a:lnTo>
                    <a:pt x="133" y="120"/>
                  </a:lnTo>
                  <a:lnTo>
                    <a:pt x="133" y="125"/>
                  </a:lnTo>
                  <a:lnTo>
                    <a:pt x="138" y="125"/>
                  </a:lnTo>
                  <a:lnTo>
                    <a:pt x="140" y="125"/>
                  </a:lnTo>
                  <a:lnTo>
                    <a:pt x="145" y="127"/>
                  </a:lnTo>
                  <a:lnTo>
                    <a:pt x="147" y="129"/>
                  </a:lnTo>
                  <a:lnTo>
                    <a:pt x="143" y="134"/>
                  </a:lnTo>
                  <a:lnTo>
                    <a:pt x="145" y="141"/>
                  </a:lnTo>
                  <a:lnTo>
                    <a:pt x="152" y="144"/>
                  </a:lnTo>
                  <a:lnTo>
                    <a:pt x="145" y="149"/>
                  </a:lnTo>
                  <a:lnTo>
                    <a:pt x="150" y="151"/>
                  </a:lnTo>
                  <a:lnTo>
                    <a:pt x="147" y="151"/>
                  </a:lnTo>
                  <a:lnTo>
                    <a:pt x="145" y="153"/>
                  </a:lnTo>
                  <a:lnTo>
                    <a:pt x="145" y="156"/>
                  </a:lnTo>
                  <a:lnTo>
                    <a:pt x="150" y="161"/>
                  </a:lnTo>
                  <a:lnTo>
                    <a:pt x="152" y="161"/>
                  </a:lnTo>
                  <a:lnTo>
                    <a:pt x="152" y="163"/>
                  </a:lnTo>
                  <a:lnTo>
                    <a:pt x="147" y="165"/>
                  </a:lnTo>
                  <a:lnTo>
                    <a:pt x="145" y="168"/>
                  </a:lnTo>
                  <a:lnTo>
                    <a:pt x="143" y="168"/>
                  </a:lnTo>
                  <a:lnTo>
                    <a:pt x="147" y="170"/>
                  </a:lnTo>
                  <a:lnTo>
                    <a:pt x="143" y="170"/>
                  </a:lnTo>
                  <a:lnTo>
                    <a:pt x="140" y="170"/>
                  </a:lnTo>
                  <a:lnTo>
                    <a:pt x="138" y="170"/>
                  </a:lnTo>
                  <a:lnTo>
                    <a:pt x="133" y="173"/>
                  </a:lnTo>
                  <a:lnTo>
                    <a:pt x="131" y="173"/>
                  </a:lnTo>
                  <a:lnTo>
                    <a:pt x="131" y="175"/>
                  </a:lnTo>
                  <a:lnTo>
                    <a:pt x="143" y="175"/>
                  </a:lnTo>
                  <a:lnTo>
                    <a:pt x="138" y="180"/>
                  </a:lnTo>
                  <a:lnTo>
                    <a:pt x="126" y="180"/>
                  </a:lnTo>
                  <a:lnTo>
                    <a:pt x="124" y="180"/>
                  </a:lnTo>
                  <a:lnTo>
                    <a:pt x="124" y="182"/>
                  </a:lnTo>
                  <a:lnTo>
                    <a:pt x="133" y="189"/>
                  </a:lnTo>
                  <a:lnTo>
                    <a:pt x="138" y="189"/>
                  </a:lnTo>
                  <a:lnTo>
                    <a:pt x="145" y="184"/>
                  </a:lnTo>
                  <a:lnTo>
                    <a:pt x="147" y="184"/>
                  </a:lnTo>
                  <a:lnTo>
                    <a:pt x="152" y="184"/>
                  </a:lnTo>
                  <a:lnTo>
                    <a:pt x="154" y="182"/>
                  </a:lnTo>
                  <a:lnTo>
                    <a:pt x="157" y="182"/>
                  </a:lnTo>
                  <a:lnTo>
                    <a:pt x="157" y="180"/>
                  </a:lnTo>
                  <a:lnTo>
                    <a:pt x="157" y="175"/>
                  </a:lnTo>
                  <a:lnTo>
                    <a:pt x="159" y="173"/>
                  </a:lnTo>
                  <a:lnTo>
                    <a:pt x="159" y="180"/>
                  </a:lnTo>
                  <a:lnTo>
                    <a:pt x="166" y="175"/>
                  </a:lnTo>
                  <a:lnTo>
                    <a:pt x="164" y="177"/>
                  </a:lnTo>
                  <a:lnTo>
                    <a:pt x="164" y="180"/>
                  </a:lnTo>
                  <a:lnTo>
                    <a:pt x="166" y="180"/>
                  </a:lnTo>
                  <a:lnTo>
                    <a:pt x="169" y="182"/>
                  </a:lnTo>
                  <a:lnTo>
                    <a:pt x="176" y="182"/>
                  </a:lnTo>
                  <a:lnTo>
                    <a:pt x="171" y="187"/>
                  </a:lnTo>
                  <a:lnTo>
                    <a:pt x="171" y="189"/>
                  </a:lnTo>
                  <a:lnTo>
                    <a:pt x="173" y="192"/>
                  </a:lnTo>
                  <a:lnTo>
                    <a:pt x="176" y="194"/>
                  </a:lnTo>
                  <a:lnTo>
                    <a:pt x="178" y="196"/>
                  </a:lnTo>
                  <a:lnTo>
                    <a:pt x="181" y="199"/>
                  </a:lnTo>
                  <a:lnTo>
                    <a:pt x="178" y="201"/>
                  </a:lnTo>
                  <a:lnTo>
                    <a:pt x="173" y="201"/>
                  </a:lnTo>
                  <a:lnTo>
                    <a:pt x="173" y="204"/>
                  </a:lnTo>
                  <a:lnTo>
                    <a:pt x="166" y="204"/>
                  </a:lnTo>
                  <a:lnTo>
                    <a:pt x="164" y="201"/>
                  </a:lnTo>
                  <a:lnTo>
                    <a:pt x="162" y="201"/>
                  </a:lnTo>
                  <a:lnTo>
                    <a:pt x="159" y="201"/>
                  </a:lnTo>
                  <a:lnTo>
                    <a:pt x="157" y="199"/>
                  </a:lnTo>
                  <a:lnTo>
                    <a:pt x="143" y="199"/>
                  </a:lnTo>
                  <a:lnTo>
                    <a:pt x="140" y="196"/>
                  </a:lnTo>
                  <a:lnTo>
                    <a:pt x="138" y="194"/>
                  </a:lnTo>
                  <a:lnTo>
                    <a:pt x="131" y="194"/>
                  </a:lnTo>
                  <a:lnTo>
                    <a:pt x="128" y="199"/>
                  </a:lnTo>
                  <a:lnTo>
                    <a:pt x="128" y="201"/>
                  </a:lnTo>
                  <a:lnTo>
                    <a:pt x="133" y="201"/>
                  </a:lnTo>
                  <a:lnTo>
                    <a:pt x="133" y="204"/>
                  </a:lnTo>
                  <a:lnTo>
                    <a:pt x="140" y="204"/>
                  </a:lnTo>
                  <a:lnTo>
                    <a:pt x="143" y="206"/>
                  </a:lnTo>
                  <a:lnTo>
                    <a:pt x="145" y="206"/>
                  </a:lnTo>
                  <a:lnTo>
                    <a:pt x="147" y="206"/>
                  </a:lnTo>
                  <a:lnTo>
                    <a:pt x="152" y="211"/>
                  </a:lnTo>
                  <a:lnTo>
                    <a:pt x="162" y="211"/>
                  </a:lnTo>
                  <a:lnTo>
                    <a:pt x="164" y="211"/>
                  </a:lnTo>
                  <a:lnTo>
                    <a:pt x="166" y="211"/>
                  </a:lnTo>
                  <a:lnTo>
                    <a:pt x="173" y="213"/>
                  </a:lnTo>
                  <a:lnTo>
                    <a:pt x="178" y="208"/>
                  </a:lnTo>
                  <a:lnTo>
                    <a:pt x="178" y="216"/>
                  </a:lnTo>
                  <a:lnTo>
                    <a:pt x="176" y="213"/>
                  </a:lnTo>
                  <a:lnTo>
                    <a:pt x="173" y="213"/>
                  </a:lnTo>
                  <a:lnTo>
                    <a:pt x="171" y="213"/>
                  </a:lnTo>
                  <a:lnTo>
                    <a:pt x="171" y="216"/>
                  </a:lnTo>
                  <a:lnTo>
                    <a:pt x="173" y="220"/>
                  </a:lnTo>
                  <a:lnTo>
                    <a:pt x="169" y="220"/>
                  </a:lnTo>
                  <a:lnTo>
                    <a:pt x="166" y="220"/>
                  </a:lnTo>
                  <a:lnTo>
                    <a:pt x="164" y="220"/>
                  </a:lnTo>
                  <a:lnTo>
                    <a:pt x="164" y="223"/>
                  </a:lnTo>
                  <a:lnTo>
                    <a:pt x="164" y="225"/>
                  </a:lnTo>
                  <a:lnTo>
                    <a:pt x="173" y="225"/>
                  </a:lnTo>
                  <a:lnTo>
                    <a:pt x="171" y="225"/>
                  </a:lnTo>
                  <a:lnTo>
                    <a:pt x="171" y="228"/>
                  </a:lnTo>
                  <a:lnTo>
                    <a:pt x="169" y="230"/>
                  </a:lnTo>
                  <a:lnTo>
                    <a:pt x="162" y="225"/>
                  </a:lnTo>
                  <a:lnTo>
                    <a:pt x="159" y="225"/>
                  </a:lnTo>
                  <a:lnTo>
                    <a:pt x="159" y="228"/>
                  </a:lnTo>
                  <a:lnTo>
                    <a:pt x="159" y="230"/>
                  </a:lnTo>
                  <a:lnTo>
                    <a:pt x="162" y="232"/>
                  </a:lnTo>
                  <a:lnTo>
                    <a:pt x="157" y="232"/>
                  </a:lnTo>
                  <a:lnTo>
                    <a:pt x="157" y="237"/>
                  </a:lnTo>
                  <a:lnTo>
                    <a:pt x="154" y="237"/>
                  </a:lnTo>
                  <a:lnTo>
                    <a:pt x="152" y="240"/>
                  </a:lnTo>
                  <a:lnTo>
                    <a:pt x="152" y="242"/>
                  </a:lnTo>
                  <a:lnTo>
                    <a:pt x="157" y="247"/>
                  </a:lnTo>
                  <a:lnTo>
                    <a:pt x="159" y="247"/>
                  </a:lnTo>
                  <a:lnTo>
                    <a:pt x="159" y="252"/>
                  </a:lnTo>
                  <a:lnTo>
                    <a:pt x="157" y="252"/>
                  </a:lnTo>
                  <a:lnTo>
                    <a:pt x="154" y="252"/>
                  </a:lnTo>
                  <a:lnTo>
                    <a:pt x="152" y="249"/>
                  </a:lnTo>
                  <a:lnTo>
                    <a:pt x="150" y="244"/>
                  </a:lnTo>
                  <a:lnTo>
                    <a:pt x="147" y="242"/>
                  </a:lnTo>
                  <a:lnTo>
                    <a:pt x="147" y="240"/>
                  </a:lnTo>
                  <a:lnTo>
                    <a:pt x="145" y="237"/>
                  </a:lnTo>
                  <a:lnTo>
                    <a:pt x="143" y="235"/>
                  </a:lnTo>
                  <a:lnTo>
                    <a:pt x="140" y="235"/>
                  </a:lnTo>
                  <a:lnTo>
                    <a:pt x="135" y="235"/>
                  </a:lnTo>
                  <a:lnTo>
                    <a:pt x="133" y="235"/>
                  </a:lnTo>
                  <a:lnTo>
                    <a:pt x="128" y="240"/>
                  </a:lnTo>
                  <a:lnTo>
                    <a:pt x="128" y="242"/>
                  </a:lnTo>
                  <a:lnTo>
                    <a:pt x="133" y="244"/>
                  </a:lnTo>
                  <a:lnTo>
                    <a:pt x="138" y="244"/>
                  </a:lnTo>
                  <a:lnTo>
                    <a:pt x="140" y="247"/>
                  </a:lnTo>
                  <a:lnTo>
                    <a:pt x="135" y="249"/>
                  </a:lnTo>
                  <a:lnTo>
                    <a:pt x="131" y="249"/>
                  </a:lnTo>
                  <a:lnTo>
                    <a:pt x="128" y="247"/>
                  </a:lnTo>
                  <a:lnTo>
                    <a:pt x="121" y="247"/>
                  </a:lnTo>
                  <a:lnTo>
                    <a:pt x="119" y="249"/>
                  </a:lnTo>
                  <a:lnTo>
                    <a:pt x="116" y="249"/>
                  </a:lnTo>
                  <a:lnTo>
                    <a:pt x="114" y="249"/>
                  </a:lnTo>
                  <a:lnTo>
                    <a:pt x="112" y="252"/>
                  </a:lnTo>
                  <a:lnTo>
                    <a:pt x="109" y="252"/>
                  </a:lnTo>
                  <a:lnTo>
                    <a:pt x="121" y="252"/>
                  </a:lnTo>
                  <a:lnTo>
                    <a:pt x="126" y="252"/>
                  </a:lnTo>
                  <a:lnTo>
                    <a:pt x="140" y="252"/>
                  </a:lnTo>
                  <a:lnTo>
                    <a:pt x="143" y="252"/>
                  </a:lnTo>
                  <a:lnTo>
                    <a:pt x="131" y="252"/>
                  </a:lnTo>
                  <a:lnTo>
                    <a:pt x="112" y="256"/>
                  </a:lnTo>
                  <a:lnTo>
                    <a:pt x="107" y="256"/>
                  </a:lnTo>
                  <a:lnTo>
                    <a:pt x="105" y="259"/>
                  </a:lnTo>
                  <a:lnTo>
                    <a:pt x="107" y="259"/>
                  </a:lnTo>
                  <a:lnTo>
                    <a:pt x="107" y="261"/>
                  </a:lnTo>
                  <a:lnTo>
                    <a:pt x="114" y="261"/>
                  </a:lnTo>
                  <a:lnTo>
                    <a:pt x="119" y="259"/>
                  </a:lnTo>
                  <a:lnTo>
                    <a:pt x="124" y="259"/>
                  </a:lnTo>
                  <a:lnTo>
                    <a:pt x="128" y="256"/>
                  </a:lnTo>
                  <a:lnTo>
                    <a:pt x="138" y="256"/>
                  </a:lnTo>
                  <a:lnTo>
                    <a:pt x="140" y="259"/>
                  </a:lnTo>
                  <a:lnTo>
                    <a:pt x="138" y="261"/>
                  </a:lnTo>
                  <a:lnTo>
                    <a:pt x="114" y="261"/>
                  </a:lnTo>
                  <a:lnTo>
                    <a:pt x="112" y="261"/>
                  </a:lnTo>
                  <a:lnTo>
                    <a:pt x="102" y="261"/>
                  </a:lnTo>
                  <a:lnTo>
                    <a:pt x="102" y="264"/>
                  </a:lnTo>
                  <a:lnTo>
                    <a:pt x="107" y="264"/>
                  </a:lnTo>
                  <a:lnTo>
                    <a:pt x="107" y="266"/>
                  </a:lnTo>
                  <a:lnTo>
                    <a:pt x="112" y="266"/>
                  </a:lnTo>
                  <a:lnTo>
                    <a:pt x="114" y="266"/>
                  </a:lnTo>
                  <a:lnTo>
                    <a:pt x="109" y="266"/>
                  </a:lnTo>
                  <a:lnTo>
                    <a:pt x="107" y="268"/>
                  </a:lnTo>
                  <a:lnTo>
                    <a:pt x="107" y="271"/>
                  </a:lnTo>
                  <a:lnTo>
                    <a:pt x="105" y="273"/>
                  </a:lnTo>
                  <a:lnTo>
                    <a:pt x="102" y="273"/>
                  </a:lnTo>
                  <a:lnTo>
                    <a:pt x="100" y="275"/>
                  </a:lnTo>
                  <a:lnTo>
                    <a:pt x="97" y="275"/>
                  </a:lnTo>
                  <a:lnTo>
                    <a:pt x="107" y="278"/>
                  </a:lnTo>
                  <a:lnTo>
                    <a:pt x="97" y="280"/>
                  </a:lnTo>
                  <a:lnTo>
                    <a:pt x="97" y="283"/>
                  </a:lnTo>
                  <a:lnTo>
                    <a:pt x="100" y="285"/>
                  </a:lnTo>
                  <a:lnTo>
                    <a:pt x="105" y="285"/>
                  </a:lnTo>
                  <a:lnTo>
                    <a:pt x="107" y="285"/>
                  </a:lnTo>
                  <a:lnTo>
                    <a:pt x="114" y="285"/>
                  </a:lnTo>
                  <a:lnTo>
                    <a:pt x="112" y="285"/>
                  </a:lnTo>
                  <a:lnTo>
                    <a:pt x="109" y="285"/>
                  </a:lnTo>
                  <a:lnTo>
                    <a:pt x="107" y="287"/>
                  </a:lnTo>
                  <a:lnTo>
                    <a:pt x="102" y="290"/>
                  </a:lnTo>
                  <a:lnTo>
                    <a:pt x="102" y="292"/>
                  </a:lnTo>
                  <a:lnTo>
                    <a:pt x="105" y="295"/>
                  </a:lnTo>
                  <a:lnTo>
                    <a:pt x="107" y="295"/>
                  </a:lnTo>
                  <a:lnTo>
                    <a:pt x="109" y="292"/>
                  </a:lnTo>
                  <a:lnTo>
                    <a:pt x="114" y="290"/>
                  </a:lnTo>
                  <a:lnTo>
                    <a:pt x="112" y="295"/>
                  </a:lnTo>
                  <a:lnTo>
                    <a:pt x="109" y="295"/>
                  </a:lnTo>
                  <a:lnTo>
                    <a:pt x="107" y="299"/>
                  </a:lnTo>
                  <a:lnTo>
                    <a:pt x="107" y="304"/>
                  </a:lnTo>
                  <a:lnTo>
                    <a:pt x="109" y="304"/>
                  </a:lnTo>
                  <a:lnTo>
                    <a:pt x="109" y="302"/>
                  </a:lnTo>
                  <a:lnTo>
                    <a:pt x="114" y="302"/>
                  </a:lnTo>
                  <a:lnTo>
                    <a:pt x="109" y="307"/>
                  </a:lnTo>
                  <a:lnTo>
                    <a:pt x="107" y="307"/>
                  </a:lnTo>
                  <a:lnTo>
                    <a:pt x="105" y="309"/>
                  </a:lnTo>
                  <a:lnTo>
                    <a:pt x="102" y="311"/>
                  </a:lnTo>
                  <a:lnTo>
                    <a:pt x="102" y="316"/>
                  </a:lnTo>
                  <a:lnTo>
                    <a:pt x="105" y="316"/>
                  </a:lnTo>
                  <a:lnTo>
                    <a:pt x="107" y="314"/>
                  </a:lnTo>
                  <a:lnTo>
                    <a:pt x="114" y="307"/>
                  </a:lnTo>
                  <a:lnTo>
                    <a:pt x="124" y="307"/>
                  </a:lnTo>
                  <a:lnTo>
                    <a:pt x="126" y="304"/>
                  </a:lnTo>
                  <a:lnTo>
                    <a:pt x="128" y="304"/>
                  </a:lnTo>
                  <a:lnTo>
                    <a:pt x="128" y="307"/>
                  </a:lnTo>
                  <a:lnTo>
                    <a:pt x="133" y="304"/>
                  </a:lnTo>
                  <a:lnTo>
                    <a:pt x="128" y="311"/>
                  </a:lnTo>
                  <a:lnTo>
                    <a:pt x="135" y="311"/>
                  </a:lnTo>
                  <a:lnTo>
                    <a:pt x="128" y="311"/>
                  </a:lnTo>
                  <a:lnTo>
                    <a:pt x="124" y="314"/>
                  </a:lnTo>
                  <a:lnTo>
                    <a:pt x="124" y="316"/>
                  </a:lnTo>
                  <a:lnTo>
                    <a:pt x="119" y="316"/>
                  </a:lnTo>
                  <a:lnTo>
                    <a:pt x="116" y="316"/>
                  </a:lnTo>
                  <a:lnTo>
                    <a:pt x="114" y="319"/>
                  </a:lnTo>
                  <a:lnTo>
                    <a:pt x="114" y="321"/>
                  </a:lnTo>
                  <a:lnTo>
                    <a:pt x="112" y="321"/>
                  </a:lnTo>
                  <a:lnTo>
                    <a:pt x="107" y="323"/>
                  </a:lnTo>
                  <a:lnTo>
                    <a:pt x="105" y="326"/>
                  </a:lnTo>
                  <a:lnTo>
                    <a:pt x="109" y="326"/>
                  </a:lnTo>
                  <a:lnTo>
                    <a:pt x="107" y="326"/>
                  </a:lnTo>
                  <a:lnTo>
                    <a:pt x="107" y="328"/>
                  </a:lnTo>
                  <a:lnTo>
                    <a:pt x="107" y="331"/>
                  </a:lnTo>
                  <a:lnTo>
                    <a:pt x="109" y="331"/>
                  </a:lnTo>
                  <a:lnTo>
                    <a:pt x="107" y="333"/>
                  </a:lnTo>
                  <a:lnTo>
                    <a:pt x="107" y="335"/>
                  </a:lnTo>
                  <a:lnTo>
                    <a:pt x="116" y="335"/>
                  </a:lnTo>
                  <a:lnTo>
                    <a:pt x="112" y="343"/>
                  </a:lnTo>
                  <a:lnTo>
                    <a:pt x="116" y="340"/>
                  </a:lnTo>
                  <a:lnTo>
                    <a:pt x="119" y="340"/>
                  </a:lnTo>
                  <a:lnTo>
                    <a:pt x="116" y="340"/>
                  </a:lnTo>
                  <a:lnTo>
                    <a:pt x="114" y="343"/>
                  </a:lnTo>
                  <a:lnTo>
                    <a:pt x="114" y="345"/>
                  </a:lnTo>
                  <a:lnTo>
                    <a:pt x="112" y="347"/>
                  </a:lnTo>
                  <a:lnTo>
                    <a:pt x="112" y="352"/>
                  </a:lnTo>
                  <a:lnTo>
                    <a:pt x="114" y="352"/>
                  </a:lnTo>
                  <a:lnTo>
                    <a:pt x="121" y="352"/>
                  </a:lnTo>
                  <a:lnTo>
                    <a:pt x="116" y="359"/>
                  </a:lnTo>
                  <a:lnTo>
                    <a:pt x="126" y="357"/>
                  </a:lnTo>
                  <a:lnTo>
                    <a:pt x="121" y="362"/>
                  </a:lnTo>
                  <a:lnTo>
                    <a:pt x="124" y="366"/>
                  </a:lnTo>
                  <a:lnTo>
                    <a:pt x="128" y="366"/>
                  </a:lnTo>
                  <a:lnTo>
                    <a:pt x="126" y="366"/>
                  </a:lnTo>
                  <a:lnTo>
                    <a:pt x="126" y="369"/>
                  </a:lnTo>
                  <a:lnTo>
                    <a:pt x="128" y="371"/>
                  </a:lnTo>
                  <a:lnTo>
                    <a:pt x="133" y="371"/>
                  </a:lnTo>
                  <a:lnTo>
                    <a:pt x="128" y="376"/>
                  </a:lnTo>
                  <a:lnTo>
                    <a:pt x="135" y="376"/>
                  </a:lnTo>
                  <a:lnTo>
                    <a:pt x="133" y="381"/>
                  </a:lnTo>
                  <a:lnTo>
                    <a:pt x="145" y="378"/>
                  </a:lnTo>
                  <a:lnTo>
                    <a:pt x="147" y="381"/>
                  </a:lnTo>
                  <a:lnTo>
                    <a:pt x="150" y="381"/>
                  </a:lnTo>
                  <a:lnTo>
                    <a:pt x="152" y="378"/>
                  </a:lnTo>
                  <a:lnTo>
                    <a:pt x="162" y="374"/>
                  </a:lnTo>
                  <a:lnTo>
                    <a:pt x="164" y="371"/>
                  </a:lnTo>
                  <a:lnTo>
                    <a:pt x="164" y="374"/>
                  </a:lnTo>
                  <a:lnTo>
                    <a:pt x="162" y="376"/>
                  </a:lnTo>
                  <a:lnTo>
                    <a:pt x="169" y="378"/>
                  </a:lnTo>
                  <a:lnTo>
                    <a:pt x="171" y="376"/>
                  </a:lnTo>
                  <a:lnTo>
                    <a:pt x="173" y="376"/>
                  </a:lnTo>
                  <a:lnTo>
                    <a:pt x="169" y="378"/>
                  </a:lnTo>
                  <a:lnTo>
                    <a:pt x="164" y="381"/>
                  </a:lnTo>
                  <a:lnTo>
                    <a:pt x="162" y="383"/>
                  </a:lnTo>
                  <a:lnTo>
                    <a:pt x="162" y="386"/>
                  </a:lnTo>
                  <a:lnTo>
                    <a:pt x="169" y="386"/>
                  </a:lnTo>
                  <a:lnTo>
                    <a:pt x="173" y="386"/>
                  </a:lnTo>
                  <a:lnTo>
                    <a:pt x="176" y="386"/>
                  </a:lnTo>
                  <a:lnTo>
                    <a:pt x="173" y="386"/>
                  </a:lnTo>
                  <a:lnTo>
                    <a:pt x="171" y="388"/>
                  </a:lnTo>
                  <a:lnTo>
                    <a:pt x="169" y="390"/>
                  </a:lnTo>
                  <a:lnTo>
                    <a:pt x="169" y="393"/>
                  </a:lnTo>
                  <a:lnTo>
                    <a:pt x="169" y="395"/>
                  </a:lnTo>
                  <a:lnTo>
                    <a:pt x="176" y="395"/>
                  </a:lnTo>
                  <a:lnTo>
                    <a:pt x="178" y="393"/>
                  </a:lnTo>
                  <a:lnTo>
                    <a:pt x="178" y="395"/>
                  </a:lnTo>
                  <a:lnTo>
                    <a:pt x="183" y="398"/>
                  </a:lnTo>
                  <a:lnTo>
                    <a:pt x="188" y="398"/>
                  </a:lnTo>
                  <a:lnTo>
                    <a:pt x="192" y="395"/>
                  </a:lnTo>
                  <a:lnTo>
                    <a:pt x="195" y="393"/>
                  </a:lnTo>
                  <a:lnTo>
                    <a:pt x="192" y="390"/>
                  </a:lnTo>
                  <a:lnTo>
                    <a:pt x="192" y="388"/>
                  </a:lnTo>
                  <a:lnTo>
                    <a:pt x="197" y="388"/>
                  </a:lnTo>
                  <a:lnTo>
                    <a:pt x="200" y="386"/>
                  </a:lnTo>
                  <a:lnTo>
                    <a:pt x="200" y="378"/>
                  </a:lnTo>
                  <a:lnTo>
                    <a:pt x="202" y="381"/>
                  </a:lnTo>
                  <a:lnTo>
                    <a:pt x="207" y="381"/>
                  </a:lnTo>
                  <a:lnTo>
                    <a:pt x="207" y="376"/>
                  </a:lnTo>
                  <a:lnTo>
                    <a:pt x="207" y="374"/>
                  </a:lnTo>
                  <a:lnTo>
                    <a:pt x="207" y="371"/>
                  </a:lnTo>
                  <a:lnTo>
                    <a:pt x="207" y="374"/>
                  </a:lnTo>
                  <a:lnTo>
                    <a:pt x="209" y="376"/>
                  </a:lnTo>
                  <a:lnTo>
                    <a:pt x="212" y="376"/>
                  </a:lnTo>
                  <a:lnTo>
                    <a:pt x="214" y="374"/>
                  </a:lnTo>
                  <a:lnTo>
                    <a:pt x="214" y="371"/>
                  </a:lnTo>
                  <a:lnTo>
                    <a:pt x="209" y="366"/>
                  </a:lnTo>
                  <a:lnTo>
                    <a:pt x="216" y="366"/>
                  </a:lnTo>
                  <a:lnTo>
                    <a:pt x="216" y="364"/>
                  </a:lnTo>
                  <a:lnTo>
                    <a:pt x="214" y="362"/>
                  </a:lnTo>
                  <a:lnTo>
                    <a:pt x="223" y="362"/>
                  </a:lnTo>
                  <a:lnTo>
                    <a:pt x="219" y="357"/>
                  </a:lnTo>
                  <a:lnTo>
                    <a:pt x="223" y="355"/>
                  </a:lnTo>
                  <a:lnTo>
                    <a:pt x="219" y="352"/>
                  </a:lnTo>
                  <a:lnTo>
                    <a:pt x="216" y="350"/>
                  </a:lnTo>
                  <a:lnTo>
                    <a:pt x="219" y="350"/>
                  </a:lnTo>
                  <a:lnTo>
                    <a:pt x="221" y="350"/>
                  </a:lnTo>
                  <a:lnTo>
                    <a:pt x="216" y="343"/>
                  </a:lnTo>
                  <a:lnTo>
                    <a:pt x="221" y="347"/>
                  </a:lnTo>
                  <a:lnTo>
                    <a:pt x="223" y="347"/>
                  </a:lnTo>
                  <a:lnTo>
                    <a:pt x="228" y="343"/>
                  </a:lnTo>
                  <a:lnTo>
                    <a:pt x="235" y="343"/>
                  </a:lnTo>
                  <a:lnTo>
                    <a:pt x="235" y="340"/>
                  </a:lnTo>
                  <a:lnTo>
                    <a:pt x="233" y="338"/>
                  </a:lnTo>
                  <a:lnTo>
                    <a:pt x="238" y="338"/>
                  </a:lnTo>
                  <a:lnTo>
                    <a:pt x="242" y="331"/>
                  </a:lnTo>
                  <a:lnTo>
                    <a:pt x="245" y="331"/>
                  </a:lnTo>
                  <a:lnTo>
                    <a:pt x="252" y="331"/>
                  </a:lnTo>
                  <a:lnTo>
                    <a:pt x="252" y="326"/>
                  </a:lnTo>
                  <a:lnTo>
                    <a:pt x="257" y="331"/>
                  </a:lnTo>
                  <a:lnTo>
                    <a:pt x="259" y="326"/>
                  </a:lnTo>
                  <a:lnTo>
                    <a:pt x="259" y="319"/>
                  </a:lnTo>
                  <a:lnTo>
                    <a:pt x="252" y="316"/>
                  </a:lnTo>
                  <a:lnTo>
                    <a:pt x="257" y="316"/>
                  </a:lnTo>
                  <a:lnTo>
                    <a:pt x="264" y="311"/>
                  </a:lnTo>
                  <a:lnTo>
                    <a:pt x="266" y="307"/>
                  </a:lnTo>
                  <a:lnTo>
                    <a:pt x="259" y="304"/>
                  </a:lnTo>
                  <a:lnTo>
                    <a:pt x="264" y="299"/>
                  </a:lnTo>
                  <a:lnTo>
                    <a:pt x="278" y="299"/>
                  </a:lnTo>
                  <a:lnTo>
                    <a:pt x="280" y="297"/>
                  </a:lnTo>
                  <a:lnTo>
                    <a:pt x="280" y="292"/>
                  </a:lnTo>
                  <a:lnTo>
                    <a:pt x="288" y="290"/>
                  </a:lnTo>
                  <a:lnTo>
                    <a:pt x="292" y="290"/>
                  </a:lnTo>
                  <a:lnTo>
                    <a:pt x="295" y="292"/>
                  </a:lnTo>
                  <a:lnTo>
                    <a:pt x="302" y="292"/>
                  </a:lnTo>
                  <a:lnTo>
                    <a:pt x="311" y="283"/>
                  </a:lnTo>
                  <a:lnTo>
                    <a:pt x="311" y="280"/>
                  </a:lnTo>
                  <a:lnTo>
                    <a:pt x="314" y="280"/>
                  </a:lnTo>
                  <a:lnTo>
                    <a:pt x="316" y="278"/>
                  </a:lnTo>
                  <a:lnTo>
                    <a:pt x="319" y="278"/>
                  </a:lnTo>
                  <a:lnTo>
                    <a:pt x="319" y="280"/>
                  </a:lnTo>
                  <a:lnTo>
                    <a:pt x="316" y="283"/>
                  </a:lnTo>
                  <a:lnTo>
                    <a:pt x="314" y="285"/>
                  </a:lnTo>
                  <a:lnTo>
                    <a:pt x="311" y="290"/>
                  </a:lnTo>
                  <a:lnTo>
                    <a:pt x="319" y="290"/>
                  </a:lnTo>
                  <a:lnTo>
                    <a:pt x="319" y="285"/>
                  </a:lnTo>
                  <a:lnTo>
                    <a:pt x="323" y="285"/>
                  </a:lnTo>
                  <a:lnTo>
                    <a:pt x="326" y="283"/>
                  </a:lnTo>
                  <a:lnTo>
                    <a:pt x="328" y="283"/>
                  </a:lnTo>
                  <a:lnTo>
                    <a:pt x="328" y="285"/>
                  </a:lnTo>
                  <a:lnTo>
                    <a:pt x="333" y="285"/>
                  </a:lnTo>
                  <a:lnTo>
                    <a:pt x="335" y="285"/>
                  </a:lnTo>
                  <a:lnTo>
                    <a:pt x="342" y="283"/>
                  </a:lnTo>
                  <a:lnTo>
                    <a:pt x="347" y="278"/>
                  </a:lnTo>
                  <a:lnTo>
                    <a:pt x="349" y="275"/>
                  </a:lnTo>
                  <a:lnTo>
                    <a:pt x="359" y="275"/>
                  </a:lnTo>
                  <a:lnTo>
                    <a:pt x="366" y="275"/>
                  </a:lnTo>
                  <a:lnTo>
                    <a:pt x="371" y="271"/>
                  </a:lnTo>
                  <a:lnTo>
                    <a:pt x="373" y="268"/>
                  </a:lnTo>
                  <a:lnTo>
                    <a:pt x="376" y="266"/>
                  </a:lnTo>
                  <a:lnTo>
                    <a:pt x="383" y="259"/>
                  </a:lnTo>
                  <a:lnTo>
                    <a:pt x="385" y="256"/>
                  </a:lnTo>
                  <a:lnTo>
                    <a:pt x="390" y="254"/>
                  </a:lnTo>
                  <a:lnTo>
                    <a:pt x="399" y="252"/>
                  </a:lnTo>
                  <a:lnTo>
                    <a:pt x="402" y="252"/>
                  </a:lnTo>
                  <a:lnTo>
                    <a:pt x="404" y="249"/>
                  </a:lnTo>
                  <a:lnTo>
                    <a:pt x="407" y="249"/>
                  </a:lnTo>
                  <a:lnTo>
                    <a:pt x="407" y="247"/>
                  </a:lnTo>
                  <a:lnTo>
                    <a:pt x="407" y="244"/>
                  </a:lnTo>
                  <a:lnTo>
                    <a:pt x="407" y="240"/>
                  </a:lnTo>
                  <a:lnTo>
                    <a:pt x="407" y="235"/>
                  </a:lnTo>
                  <a:lnTo>
                    <a:pt x="414" y="242"/>
                  </a:lnTo>
                  <a:lnTo>
                    <a:pt x="416" y="244"/>
                  </a:lnTo>
                  <a:lnTo>
                    <a:pt x="418" y="244"/>
                  </a:lnTo>
                  <a:lnTo>
                    <a:pt x="437" y="244"/>
                  </a:lnTo>
                  <a:lnTo>
                    <a:pt x="447" y="242"/>
                  </a:lnTo>
                  <a:lnTo>
                    <a:pt x="454" y="240"/>
                  </a:lnTo>
                  <a:lnTo>
                    <a:pt x="459" y="240"/>
                  </a:lnTo>
                  <a:lnTo>
                    <a:pt x="468" y="237"/>
                  </a:lnTo>
                  <a:lnTo>
                    <a:pt x="480" y="235"/>
                  </a:lnTo>
                  <a:lnTo>
                    <a:pt x="487" y="235"/>
                  </a:lnTo>
                  <a:lnTo>
                    <a:pt x="492" y="230"/>
                  </a:lnTo>
                  <a:lnTo>
                    <a:pt x="499" y="230"/>
                  </a:lnTo>
                  <a:lnTo>
                    <a:pt x="502" y="228"/>
                  </a:lnTo>
                  <a:lnTo>
                    <a:pt x="509" y="228"/>
                  </a:lnTo>
                  <a:lnTo>
                    <a:pt x="516" y="220"/>
                  </a:lnTo>
                  <a:lnTo>
                    <a:pt x="518" y="220"/>
                  </a:lnTo>
                  <a:lnTo>
                    <a:pt x="518" y="218"/>
                  </a:lnTo>
                  <a:lnTo>
                    <a:pt x="523" y="218"/>
                  </a:lnTo>
                  <a:lnTo>
                    <a:pt x="525" y="216"/>
                  </a:lnTo>
                  <a:lnTo>
                    <a:pt x="528" y="216"/>
                  </a:lnTo>
                  <a:lnTo>
                    <a:pt x="542" y="213"/>
                  </a:lnTo>
                  <a:lnTo>
                    <a:pt x="552" y="211"/>
                  </a:lnTo>
                  <a:lnTo>
                    <a:pt x="552" y="206"/>
                  </a:lnTo>
                  <a:lnTo>
                    <a:pt x="549" y="206"/>
                  </a:lnTo>
                  <a:lnTo>
                    <a:pt x="547" y="208"/>
                  </a:lnTo>
                  <a:lnTo>
                    <a:pt x="537" y="208"/>
                  </a:lnTo>
                  <a:lnTo>
                    <a:pt x="530" y="206"/>
                  </a:lnTo>
                  <a:lnTo>
                    <a:pt x="525" y="206"/>
                  </a:lnTo>
                  <a:lnTo>
                    <a:pt x="521" y="204"/>
                  </a:lnTo>
                  <a:lnTo>
                    <a:pt x="509" y="204"/>
                  </a:lnTo>
                  <a:lnTo>
                    <a:pt x="499" y="206"/>
                  </a:lnTo>
                  <a:lnTo>
                    <a:pt x="490" y="206"/>
                  </a:lnTo>
                  <a:lnTo>
                    <a:pt x="487" y="211"/>
                  </a:lnTo>
                  <a:lnTo>
                    <a:pt x="471" y="211"/>
                  </a:lnTo>
                  <a:lnTo>
                    <a:pt x="485" y="206"/>
                  </a:lnTo>
                  <a:lnTo>
                    <a:pt x="494" y="204"/>
                  </a:lnTo>
                  <a:lnTo>
                    <a:pt x="499" y="204"/>
                  </a:lnTo>
                  <a:lnTo>
                    <a:pt x="502" y="201"/>
                  </a:lnTo>
                  <a:lnTo>
                    <a:pt x="506" y="201"/>
                  </a:lnTo>
                  <a:lnTo>
                    <a:pt x="511" y="199"/>
                  </a:lnTo>
                  <a:lnTo>
                    <a:pt x="514" y="199"/>
                  </a:lnTo>
                  <a:lnTo>
                    <a:pt x="516" y="199"/>
                  </a:lnTo>
                  <a:lnTo>
                    <a:pt x="514" y="196"/>
                  </a:lnTo>
                  <a:lnTo>
                    <a:pt x="509" y="194"/>
                  </a:lnTo>
                  <a:lnTo>
                    <a:pt x="506" y="194"/>
                  </a:lnTo>
                  <a:lnTo>
                    <a:pt x="504" y="194"/>
                  </a:lnTo>
                  <a:lnTo>
                    <a:pt x="497" y="196"/>
                  </a:lnTo>
                  <a:lnTo>
                    <a:pt x="483" y="201"/>
                  </a:lnTo>
                  <a:lnTo>
                    <a:pt x="468" y="201"/>
                  </a:lnTo>
                  <a:lnTo>
                    <a:pt x="478" y="196"/>
                  </a:lnTo>
                  <a:lnTo>
                    <a:pt x="485" y="192"/>
                  </a:lnTo>
                  <a:lnTo>
                    <a:pt x="487" y="192"/>
                  </a:lnTo>
                  <a:lnTo>
                    <a:pt x="492" y="194"/>
                  </a:lnTo>
                  <a:lnTo>
                    <a:pt x="497" y="194"/>
                  </a:lnTo>
                  <a:lnTo>
                    <a:pt x="499" y="192"/>
                  </a:lnTo>
                  <a:lnTo>
                    <a:pt x="504" y="192"/>
                  </a:lnTo>
                  <a:lnTo>
                    <a:pt x="506" y="189"/>
                  </a:lnTo>
                  <a:lnTo>
                    <a:pt x="516" y="189"/>
                  </a:lnTo>
                  <a:lnTo>
                    <a:pt x="518" y="189"/>
                  </a:lnTo>
                  <a:lnTo>
                    <a:pt x="516" y="187"/>
                  </a:lnTo>
                  <a:lnTo>
                    <a:pt x="514" y="187"/>
                  </a:lnTo>
                  <a:lnTo>
                    <a:pt x="509" y="184"/>
                  </a:lnTo>
                  <a:lnTo>
                    <a:pt x="485" y="184"/>
                  </a:lnTo>
                  <a:lnTo>
                    <a:pt x="492" y="182"/>
                  </a:lnTo>
                  <a:lnTo>
                    <a:pt x="485" y="180"/>
                  </a:lnTo>
                  <a:lnTo>
                    <a:pt x="485" y="175"/>
                  </a:lnTo>
                  <a:lnTo>
                    <a:pt x="487" y="175"/>
                  </a:lnTo>
                  <a:lnTo>
                    <a:pt x="490" y="177"/>
                  </a:lnTo>
                  <a:lnTo>
                    <a:pt x="492" y="180"/>
                  </a:lnTo>
                  <a:lnTo>
                    <a:pt x="497" y="182"/>
                  </a:lnTo>
                  <a:lnTo>
                    <a:pt x="504" y="182"/>
                  </a:lnTo>
                  <a:lnTo>
                    <a:pt x="506" y="184"/>
                  </a:lnTo>
                  <a:lnTo>
                    <a:pt x="509" y="184"/>
                  </a:lnTo>
                  <a:lnTo>
                    <a:pt x="514" y="184"/>
                  </a:lnTo>
                  <a:lnTo>
                    <a:pt x="518" y="184"/>
                  </a:lnTo>
                  <a:lnTo>
                    <a:pt x="518" y="187"/>
                  </a:lnTo>
                  <a:lnTo>
                    <a:pt x="523" y="187"/>
                  </a:lnTo>
                  <a:lnTo>
                    <a:pt x="523" y="184"/>
                  </a:lnTo>
                  <a:lnTo>
                    <a:pt x="528" y="184"/>
                  </a:lnTo>
                  <a:lnTo>
                    <a:pt x="528" y="187"/>
                  </a:lnTo>
                  <a:lnTo>
                    <a:pt x="528" y="189"/>
                  </a:lnTo>
                  <a:lnTo>
                    <a:pt x="528" y="192"/>
                  </a:lnTo>
                  <a:lnTo>
                    <a:pt x="528" y="196"/>
                  </a:lnTo>
                  <a:lnTo>
                    <a:pt x="528" y="199"/>
                  </a:lnTo>
                  <a:lnTo>
                    <a:pt x="533" y="199"/>
                  </a:lnTo>
                  <a:lnTo>
                    <a:pt x="537" y="201"/>
                  </a:lnTo>
                  <a:lnTo>
                    <a:pt x="542" y="201"/>
                  </a:lnTo>
                  <a:lnTo>
                    <a:pt x="547" y="201"/>
                  </a:lnTo>
                  <a:lnTo>
                    <a:pt x="549" y="201"/>
                  </a:lnTo>
                  <a:lnTo>
                    <a:pt x="552" y="199"/>
                  </a:lnTo>
                  <a:lnTo>
                    <a:pt x="554" y="199"/>
                  </a:lnTo>
                  <a:lnTo>
                    <a:pt x="554" y="204"/>
                  </a:lnTo>
                  <a:lnTo>
                    <a:pt x="559" y="204"/>
                  </a:lnTo>
                  <a:lnTo>
                    <a:pt x="561" y="201"/>
                  </a:lnTo>
                  <a:lnTo>
                    <a:pt x="563" y="201"/>
                  </a:lnTo>
                  <a:lnTo>
                    <a:pt x="563" y="194"/>
                  </a:lnTo>
                  <a:lnTo>
                    <a:pt x="561" y="194"/>
                  </a:lnTo>
                  <a:lnTo>
                    <a:pt x="563" y="189"/>
                  </a:lnTo>
                  <a:lnTo>
                    <a:pt x="563" y="187"/>
                  </a:lnTo>
                  <a:lnTo>
                    <a:pt x="559" y="187"/>
                  </a:lnTo>
                  <a:lnTo>
                    <a:pt x="556" y="182"/>
                  </a:lnTo>
                  <a:lnTo>
                    <a:pt x="552" y="180"/>
                  </a:lnTo>
                  <a:lnTo>
                    <a:pt x="552" y="175"/>
                  </a:lnTo>
                  <a:lnTo>
                    <a:pt x="533" y="170"/>
                  </a:lnTo>
                  <a:lnTo>
                    <a:pt x="523" y="170"/>
                  </a:lnTo>
                  <a:lnTo>
                    <a:pt x="521" y="170"/>
                  </a:lnTo>
                  <a:lnTo>
                    <a:pt x="528" y="168"/>
                  </a:lnTo>
                  <a:lnTo>
                    <a:pt x="530" y="165"/>
                  </a:lnTo>
                  <a:lnTo>
                    <a:pt x="528" y="165"/>
                  </a:lnTo>
                  <a:lnTo>
                    <a:pt x="525" y="163"/>
                  </a:lnTo>
                  <a:lnTo>
                    <a:pt x="514" y="163"/>
                  </a:lnTo>
                  <a:lnTo>
                    <a:pt x="509" y="161"/>
                  </a:lnTo>
                  <a:lnTo>
                    <a:pt x="504" y="161"/>
                  </a:lnTo>
                  <a:lnTo>
                    <a:pt x="509" y="156"/>
                  </a:lnTo>
                  <a:lnTo>
                    <a:pt x="523" y="156"/>
                  </a:lnTo>
                  <a:lnTo>
                    <a:pt x="528" y="153"/>
                  </a:lnTo>
                  <a:lnTo>
                    <a:pt x="533" y="153"/>
                  </a:lnTo>
                  <a:lnTo>
                    <a:pt x="547" y="156"/>
                  </a:lnTo>
                  <a:lnTo>
                    <a:pt x="552" y="156"/>
                  </a:lnTo>
                  <a:lnTo>
                    <a:pt x="554" y="156"/>
                  </a:lnTo>
                  <a:lnTo>
                    <a:pt x="556" y="158"/>
                  </a:lnTo>
                  <a:lnTo>
                    <a:pt x="559" y="161"/>
                  </a:lnTo>
                  <a:lnTo>
                    <a:pt x="563" y="165"/>
                  </a:lnTo>
                  <a:lnTo>
                    <a:pt x="568" y="165"/>
                  </a:lnTo>
                  <a:lnTo>
                    <a:pt x="568" y="163"/>
                  </a:lnTo>
                  <a:lnTo>
                    <a:pt x="568" y="158"/>
                  </a:lnTo>
                  <a:lnTo>
                    <a:pt x="559" y="156"/>
                  </a:lnTo>
                  <a:lnTo>
                    <a:pt x="552" y="153"/>
                  </a:lnTo>
                  <a:lnTo>
                    <a:pt x="540" y="151"/>
                  </a:lnTo>
                  <a:lnTo>
                    <a:pt x="544" y="149"/>
                  </a:lnTo>
                  <a:lnTo>
                    <a:pt x="547" y="149"/>
                  </a:lnTo>
                  <a:lnTo>
                    <a:pt x="552" y="151"/>
                  </a:lnTo>
                  <a:lnTo>
                    <a:pt x="556" y="151"/>
                  </a:lnTo>
                  <a:lnTo>
                    <a:pt x="559" y="153"/>
                  </a:lnTo>
                  <a:lnTo>
                    <a:pt x="578" y="153"/>
                  </a:lnTo>
                  <a:lnTo>
                    <a:pt x="594" y="151"/>
                  </a:lnTo>
                  <a:lnTo>
                    <a:pt x="594" y="144"/>
                  </a:lnTo>
                  <a:lnTo>
                    <a:pt x="582" y="141"/>
                  </a:lnTo>
                  <a:lnTo>
                    <a:pt x="578" y="146"/>
                  </a:lnTo>
                  <a:lnTo>
                    <a:pt x="573" y="141"/>
                  </a:lnTo>
                  <a:lnTo>
                    <a:pt x="573" y="139"/>
                  </a:lnTo>
                  <a:lnTo>
                    <a:pt x="587" y="139"/>
                  </a:lnTo>
                  <a:lnTo>
                    <a:pt x="599" y="137"/>
                  </a:lnTo>
                  <a:lnTo>
                    <a:pt x="602" y="139"/>
                  </a:lnTo>
                  <a:lnTo>
                    <a:pt x="609" y="139"/>
                  </a:lnTo>
                  <a:lnTo>
                    <a:pt x="616" y="134"/>
                  </a:lnTo>
                  <a:lnTo>
                    <a:pt x="618" y="134"/>
                  </a:lnTo>
                  <a:lnTo>
                    <a:pt x="618" y="132"/>
                  </a:lnTo>
                  <a:lnTo>
                    <a:pt x="599" y="132"/>
                  </a:lnTo>
                  <a:lnTo>
                    <a:pt x="599" y="129"/>
                  </a:lnTo>
                  <a:lnTo>
                    <a:pt x="597" y="129"/>
                  </a:lnTo>
                  <a:lnTo>
                    <a:pt x="597" y="127"/>
                  </a:lnTo>
                  <a:lnTo>
                    <a:pt x="592" y="127"/>
                  </a:lnTo>
                  <a:lnTo>
                    <a:pt x="587" y="125"/>
                  </a:lnTo>
                  <a:lnTo>
                    <a:pt x="592" y="125"/>
                  </a:lnTo>
                  <a:lnTo>
                    <a:pt x="594" y="125"/>
                  </a:lnTo>
                  <a:lnTo>
                    <a:pt x="594" y="122"/>
                  </a:lnTo>
                  <a:lnTo>
                    <a:pt x="592" y="120"/>
                  </a:lnTo>
                  <a:lnTo>
                    <a:pt x="590" y="120"/>
                  </a:lnTo>
                  <a:lnTo>
                    <a:pt x="582" y="117"/>
                  </a:lnTo>
                  <a:lnTo>
                    <a:pt x="592" y="117"/>
                  </a:lnTo>
                  <a:lnTo>
                    <a:pt x="594" y="120"/>
                  </a:lnTo>
                  <a:lnTo>
                    <a:pt x="597" y="120"/>
                  </a:lnTo>
                  <a:lnTo>
                    <a:pt x="602" y="120"/>
                  </a:lnTo>
                  <a:lnTo>
                    <a:pt x="606" y="120"/>
                  </a:lnTo>
                  <a:lnTo>
                    <a:pt x="609" y="125"/>
                  </a:lnTo>
                  <a:lnTo>
                    <a:pt x="613" y="125"/>
                  </a:lnTo>
                  <a:lnTo>
                    <a:pt x="618" y="120"/>
                  </a:lnTo>
                  <a:lnTo>
                    <a:pt x="618" y="113"/>
                  </a:lnTo>
                  <a:lnTo>
                    <a:pt x="616" y="110"/>
                  </a:lnTo>
                  <a:lnTo>
                    <a:pt x="613" y="110"/>
                  </a:lnTo>
                  <a:lnTo>
                    <a:pt x="611" y="108"/>
                  </a:lnTo>
                  <a:lnTo>
                    <a:pt x="609" y="105"/>
                  </a:lnTo>
                  <a:lnTo>
                    <a:pt x="592" y="103"/>
                  </a:lnTo>
                  <a:lnTo>
                    <a:pt x="587" y="101"/>
                  </a:lnTo>
                  <a:lnTo>
                    <a:pt x="587" y="98"/>
                  </a:lnTo>
                  <a:lnTo>
                    <a:pt x="590" y="98"/>
                  </a:lnTo>
                  <a:lnTo>
                    <a:pt x="599" y="98"/>
                  </a:lnTo>
                  <a:lnTo>
                    <a:pt x="611" y="96"/>
                  </a:lnTo>
                  <a:lnTo>
                    <a:pt x="618" y="96"/>
                  </a:lnTo>
                  <a:lnTo>
                    <a:pt x="623" y="98"/>
                  </a:lnTo>
                  <a:lnTo>
                    <a:pt x="632" y="98"/>
                  </a:lnTo>
                  <a:lnTo>
                    <a:pt x="637" y="96"/>
                  </a:lnTo>
                  <a:lnTo>
                    <a:pt x="642" y="93"/>
                  </a:lnTo>
                  <a:lnTo>
                    <a:pt x="642" y="91"/>
                  </a:lnTo>
                  <a:lnTo>
                    <a:pt x="642" y="89"/>
                  </a:lnTo>
                  <a:lnTo>
                    <a:pt x="632" y="89"/>
                  </a:lnTo>
                  <a:lnTo>
                    <a:pt x="625" y="86"/>
                  </a:lnTo>
                  <a:lnTo>
                    <a:pt x="616" y="86"/>
                  </a:lnTo>
                  <a:lnTo>
                    <a:pt x="613" y="84"/>
                  </a:lnTo>
                  <a:lnTo>
                    <a:pt x="623" y="84"/>
                  </a:lnTo>
                  <a:lnTo>
                    <a:pt x="621" y="82"/>
                  </a:lnTo>
                  <a:lnTo>
                    <a:pt x="618" y="79"/>
                  </a:lnTo>
                  <a:lnTo>
                    <a:pt x="618" y="77"/>
                  </a:lnTo>
                  <a:lnTo>
                    <a:pt x="613" y="77"/>
                  </a:lnTo>
                  <a:lnTo>
                    <a:pt x="611" y="79"/>
                  </a:lnTo>
                  <a:lnTo>
                    <a:pt x="611" y="84"/>
                  </a:lnTo>
                  <a:lnTo>
                    <a:pt x="606" y="84"/>
                  </a:lnTo>
                  <a:lnTo>
                    <a:pt x="604" y="84"/>
                  </a:lnTo>
                  <a:lnTo>
                    <a:pt x="602" y="82"/>
                  </a:lnTo>
                  <a:lnTo>
                    <a:pt x="599" y="79"/>
                  </a:lnTo>
                  <a:lnTo>
                    <a:pt x="602" y="79"/>
                  </a:lnTo>
                  <a:lnTo>
                    <a:pt x="606" y="77"/>
                  </a:lnTo>
                  <a:lnTo>
                    <a:pt x="609" y="74"/>
                  </a:lnTo>
                  <a:lnTo>
                    <a:pt x="613" y="70"/>
                  </a:lnTo>
                  <a:lnTo>
                    <a:pt x="616" y="67"/>
                  </a:lnTo>
                  <a:lnTo>
                    <a:pt x="618" y="65"/>
                  </a:lnTo>
                  <a:lnTo>
                    <a:pt x="621" y="65"/>
                  </a:lnTo>
                  <a:lnTo>
                    <a:pt x="623" y="65"/>
                  </a:lnTo>
                  <a:lnTo>
                    <a:pt x="628" y="65"/>
                  </a:lnTo>
                  <a:lnTo>
                    <a:pt x="630" y="65"/>
                  </a:lnTo>
                  <a:lnTo>
                    <a:pt x="632" y="62"/>
                  </a:lnTo>
                  <a:lnTo>
                    <a:pt x="637" y="60"/>
                  </a:lnTo>
                  <a:lnTo>
                    <a:pt x="635" y="55"/>
                  </a:lnTo>
                  <a:lnTo>
                    <a:pt x="637" y="53"/>
                  </a:lnTo>
                  <a:lnTo>
                    <a:pt x="640" y="50"/>
                  </a:lnTo>
                  <a:lnTo>
                    <a:pt x="642" y="50"/>
                  </a:lnTo>
                  <a:lnTo>
                    <a:pt x="647" y="50"/>
                  </a:lnTo>
                  <a:lnTo>
                    <a:pt x="649" y="50"/>
                  </a:lnTo>
                  <a:lnTo>
                    <a:pt x="651" y="53"/>
                  </a:lnTo>
                  <a:lnTo>
                    <a:pt x="656" y="53"/>
                  </a:lnTo>
                  <a:lnTo>
                    <a:pt x="659" y="50"/>
                  </a:lnTo>
                  <a:lnTo>
                    <a:pt x="661" y="50"/>
                  </a:lnTo>
                  <a:lnTo>
                    <a:pt x="663" y="48"/>
                  </a:lnTo>
                  <a:lnTo>
                    <a:pt x="644" y="48"/>
                  </a:lnTo>
                  <a:lnTo>
                    <a:pt x="642" y="48"/>
                  </a:lnTo>
                  <a:lnTo>
                    <a:pt x="637" y="48"/>
                  </a:lnTo>
                  <a:lnTo>
                    <a:pt x="635" y="50"/>
                  </a:lnTo>
                  <a:lnTo>
                    <a:pt x="630" y="50"/>
                  </a:lnTo>
                  <a:lnTo>
                    <a:pt x="630" y="48"/>
                  </a:lnTo>
                  <a:lnTo>
                    <a:pt x="640" y="43"/>
                  </a:lnTo>
                  <a:lnTo>
                    <a:pt x="670" y="43"/>
                  </a:lnTo>
                  <a:lnTo>
                    <a:pt x="675" y="43"/>
                  </a:lnTo>
                  <a:lnTo>
                    <a:pt x="678" y="43"/>
                  </a:lnTo>
                  <a:lnTo>
                    <a:pt x="682" y="41"/>
                  </a:lnTo>
                  <a:lnTo>
                    <a:pt x="678" y="41"/>
                  </a:lnTo>
                  <a:lnTo>
                    <a:pt x="673" y="38"/>
                  </a:lnTo>
                  <a:lnTo>
                    <a:pt x="656" y="38"/>
                  </a:lnTo>
                  <a:lnTo>
                    <a:pt x="651" y="41"/>
                  </a:lnTo>
                  <a:lnTo>
                    <a:pt x="635" y="41"/>
                  </a:lnTo>
                  <a:lnTo>
                    <a:pt x="635" y="38"/>
                  </a:lnTo>
                  <a:lnTo>
                    <a:pt x="637" y="38"/>
                  </a:lnTo>
                  <a:lnTo>
                    <a:pt x="642" y="38"/>
                  </a:lnTo>
                  <a:lnTo>
                    <a:pt x="687" y="38"/>
                  </a:lnTo>
                  <a:lnTo>
                    <a:pt x="692" y="36"/>
                  </a:lnTo>
                  <a:lnTo>
                    <a:pt x="699" y="34"/>
                  </a:lnTo>
                  <a:lnTo>
                    <a:pt x="701" y="31"/>
                  </a:lnTo>
                  <a:lnTo>
                    <a:pt x="718" y="31"/>
                  </a:lnTo>
                  <a:lnTo>
                    <a:pt x="723" y="29"/>
                  </a:lnTo>
                  <a:lnTo>
                    <a:pt x="725" y="29"/>
                  </a:lnTo>
                  <a:lnTo>
                    <a:pt x="730" y="29"/>
                  </a:lnTo>
                  <a:lnTo>
                    <a:pt x="732" y="26"/>
                  </a:lnTo>
                  <a:lnTo>
                    <a:pt x="730" y="24"/>
                  </a:lnTo>
                  <a:close/>
                  <a:moveTo>
                    <a:pt x="119" y="268"/>
                  </a:moveTo>
                  <a:lnTo>
                    <a:pt x="116" y="266"/>
                  </a:lnTo>
                  <a:lnTo>
                    <a:pt x="119" y="268"/>
                  </a:lnTo>
                  <a:close/>
                  <a:moveTo>
                    <a:pt x="128" y="223"/>
                  </a:moveTo>
                  <a:lnTo>
                    <a:pt x="135" y="223"/>
                  </a:lnTo>
                  <a:lnTo>
                    <a:pt x="138" y="220"/>
                  </a:lnTo>
                  <a:lnTo>
                    <a:pt x="145" y="220"/>
                  </a:lnTo>
                  <a:lnTo>
                    <a:pt x="147" y="220"/>
                  </a:lnTo>
                  <a:lnTo>
                    <a:pt x="147" y="216"/>
                  </a:lnTo>
                  <a:lnTo>
                    <a:pt x="150" y="216"/>
                  </a:lnTo>
                  <a:lnTo>
                    <a:pt x="147" y="213"/>
                  </a:lnTo>
                  <a:lnTo>
                    <a:pt x="145" y="211"/>
                  </a:lnTo>
                  <a:lnTo>
                    <a:pt x="143" y="211"/>
                  </a:lnTo>
                  <a:lnTo>
                    <a:pt x="138" y="211"/>
                  </a:lnTo>
                  <a:lnTo>
                    <a:pt x="135" y="206"/>
                  </a:lnTo>
                  <a:lnTo>
                    <a:pt x="119" y="206"/>
                  </a:lnTo>
                  <a:lnTo>
                    <a:pt x="119" y="213"/>
                  </a:lnTo>
                  <a:lnTo>
                    <a:pt x="116" y="216"/>
                  </a:lnTo>
                  <a:lnTo>
                    <a:pt x="114" y="216"/>
                  </a:lnTo>
                  <a:lnTo>
                    <a:pt x="114" y="218"/>
                  </a:lnTo>
                  <a:lnTo>
                    <a:pt x="116" y="220"/>
                  </a:lnTo>
                  <a:lnTo>
                    <a:pt x="119" y="220"/>
                  </a:lnTo>
                  <a:lnTo>
                    <a:pt x="119" y="225"/>
                  </a:lnTo>
                  <a:lnTo>
                    <a:pt x="128" y="22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132" name="Greece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4917523" y="3260275"/>
              <a:ext cx="172778" cy="171471"/>
            </a:xfrm>
            <a:custGeom>
              <a:avLst/>
              <a:gdLst>
                <a:gd name="T0" fmla="*/ 0 w 534"/>
                <a:gd name="T1" fmla="*/ 2147483647 h 552"/>
                <a:gd name="T2" fmla="*/ 2147483647 w 534"/>
                <a:gd name="T3" fmla="*/ 2147483647 h 552"/>
                <a:gd name="T4" fmla="*/ 2147483647 w 534"/>
                <a:gd name="T5" fmla="*/ 2147483647 h 552"/>
                <a:gd name="T6" fmla="*/ 2147483647 w 534"/>
                <a:gd name="T7" fmla="*/ 2147483647 h 552"/>
                <a:gd name="T8" fmla="*/ 2147483647 w 534"/>
                <a:gd name="T9" fmla="*/ 2147483647 h 552"/>
                <a:gd name="T10" fmla="*/ 2147483647 w 534"/>
                <a:gd name="T11" fmla="*/ 2147483647 h 552"/>
                <a:gd name="T12" fmla="*/ 2147483647 w 534"/>
                <a:gd name="T13" fmla="*/ 2147483647 h 552"/>
                <a:gd name="T14" fmla="*/ 2147483647 w 534"/>
                <a:gd name="T15" fmla="*/ 2147483647 h 552"/>
                <a:gd name="T16" fmla="*/ 2147483647 w 534"/>
                <a:gd name="T17" fmla="*/ 2147483647 h 552"/>
                <a:gd name="T18" fmla="*/ 2147483647 w 534"/>
                <a:gd name="T19" fmla="*/ 2147483647 h 552"/>
                <a:gd name="T20" fmla="*/ 2147483647 w 534"/>
                <a:gd name="T21" fmla="*/ 2147483647 h 552"/>
                <a:gd name="T22" fmla="*/ 2147483647 w 534"/>
                <a:gd name="T23" fmla="*/ 2147483647 h 552"/>
                <a:gd name="T24" fmla="*/ 2147483647 w 534"/>
                <a:gd name="T25" fmla="*/ 2147483647 h 552"/>
                <a:gd name="T26" fmla="*/ 2147483647 w 534"/>
                <a:gd name="T27" fmla="*/ 2147483647 h 552"/>
                <a:gd name="T28" fmla="*/ 2147483647 w 534"/>
                <a:gd name="T29" fmla="*/ 2147483647 h 552"/>
                <a:gd name="T30" fmla="*/ 2147483647 w 534"/>
                <a:gd name="T31" fmla="*/ 2147483647 h 552"/>
                <a:gd name="T32" fmla="*/ 2147483647 w 534"/>
                <a:gd name="T33" fmla="*/ 2147483647 h 552"/>
                <a:gd name="T34" fmla="*/ 2147483647 w 534"/>
                <a:gd name="T35" fmla="*/ 2147483647 h 552"/>
                <a:gd name="T36" fmla="*/ 2147483647 w 534"/>
                <a:gd name="T37" fmla="*/ 2147483647 h 552"/>
                <a:gd name="T38" fmla="*/ 2147483647 w 534"/>
                <a:gd name="T39" fmla="*/ 2147483647 h 552"/>
                <a:gd name="T40" fmla="*/ 2147483647 w 534"/>
                <a:gd name="T41" fmla="*/ 2147483647 h 552"/>
                <a:gd name="T42" fmla="*/ 2147483647 w 534"/>
                <a:gd name="T43" fmla="*/ 2147483647 h 552"/>
                <a:gd name="T44" fmla="*/ 2147483647 w 534"/>
                <a:gd name="T45" fmla="*/ 2147483647 h 552"/>
                <a:gd name="T46" fmla="*/ 2147483647 w 534"/>
                <a:gd name="T47" fmla="*/ 2147483647 h 552"/>
                <a:gd name="T48" fmla="*/ 2147483647 w 534"/>
                <a:gd name="T49" fmla="*/ 2147483647 h 552"/>
                <a:gd name="T50" fmla="*/ 2147483647 w 534"/>
                <a:gd name="T51" fmla="*/ 2147483647 h 552"/>
                <a:gd name="T52" fmla="*/ 2147483647 w 534"/>
                <a:gd name="T53" fmla="*/ 2147483647 h 552"/>
                <a:gd name="T54" fmla="*/ 2147483647 w 534"/>
                <a:gd name="T55" fmla="*/ 2147483647 h 552"/>
                <a:gd name="T56" fmla="*/ 2147483647 w 534"/>
                <a:gd name="T57" fmla="*/ 2147483647 h 552"/>
                <a:gd name="T58" fmla="*/ 2147483647 w 534"/>
                <a:gd name="T59" fmla="*/ 2147483647 h 552"/>
                <a:gd name="T60" fmla="*/ 2147483647 w 534"/>
                <a:gd name="T61" fmla="*/ 2147483647 h 552"/>
                <a:gd name="T62" fmla="*/ 2147483647 w 534"/>
                <a:gd name="T63" fmla="*/ 2147483647 h 552"/>
                <a:gd name="T64" fmla="*/ 2147483647 w 534"/>
                <a:gd name="T65" fmla="*/ 2147483647 h 552"/>
                <a:gd name="T66" fmla="*/ 2147483647 w 534"/>
                <a:gd name="T67" fmla="*/ 2147483647 h 552"/>
                <a:gd name="T68" fmla="*/ 2147483647 w 534"/>
                <a:gd name="T69" fmla="*/ 2147483647 h 552"/>
                <a:gd name="T70" fmla="*/ 2147483647 w 534"/>
                <a:gd name="T71" fmla="*/ 2147483647 h 552"/>
                <a:gd name="T72" fmla="*/ 2147483647 w 534"/>
                <a:gd name="T73" fmla="*/ 2147483647 h 552"/>
                <a:gd name="T74" fmla="*/ 2147483647 w 534"/>
                <a:gd name="T75" fmla="*/ 2147483647 h 552"/>
                <a:gd name="T76" fmla="*/ 2147483647 w 534"/>
                <a:gd name="T77" fmla="*/ 2147483647 h 552"/>
                <a:gd name="T78" fmla="*/ 2147483647 w 534"/>
                <a:gd name="T79" fmla="*/ 2147483647 h 552"/>
                <a:gd name="T80" fmla="*/ 2147483647 w 534"/>
                <a:gd name="T81" fmla="*/ 2147483647 h 552"/>
                <a:gd name="T82" fmla="*/ 2147483647 w 534"/>
                <a:gd name="T83" fmla="*/ 2147483647 h 552"/>
                <a:gd name="T84" fmla="*/ 2147483647 w 534"/>
                <a:gd name="T85" fmla="*/ 2147483647 h 552"/>
                <a:gd name="T86" fmla="*/ 2147483647 w 534"/>
                <a:gd name="T87" fmla="*/ 2147483647 h 552"/>
                <a:gd name="T88" fmla="*/ 2147483647 w 534"/>
                <a:gd name="T89" fmla="*/ 2147483647 h 552"/>
                <a:gd name="T90" fmla="*/ 2147483647 w 534"/>
                <a:gd name="T91" fmla="*/ 2147483647 h 552"/>
                <a:gd name="T92" fmla="*/ 2147483647 w 534"/>
                <a:gd name="T93" fmla="*/ 2147483647 h 552"/>
                <a:gd name="T94" fmla="*/ 2147483647 w 534"/>
                <a:gd name="T95" fmla="*/ 2147483647 h 552"/>
                <a:gd name="T96" fmla="*/ 2147483647 w 534"/>
                <a:gd name="T97" fmla="*/ 2147483647 h 552"/>
                <a:gd name="T98" fmla="*/ 2147483647 w 534"/>
                <a:gd name="T99" fmla="*/ 2147483647 h 552"/>
                <a:gd name="T100" fmla="*/ 2147483647 w 534"/>
                <a:gd name="T101" fmla="*/ 2147483647 h 552"/>
                <a:gd name="T102" fmla="*/ 2147483647 w 534"/>
                <a:gd name="T103" fmla="*/ 2147483647 h 552"/>
                <a:gd name="T104" fmla="*/ 2147483647 w 534"/>
                <a:gd name="T105" fmla="*/ 2147483647 h 552"/>
                <a:gd name="T106" fmla="*/ 2147483647 w 534"/>
                <a:gd name="T107" fmla="*/ 2147483647 h 5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34"/>
                <a:gd name="T163" fmla="*/ 0 h 552"/>
                <a:gd name="T164" fmla="*/ 534 w 534"/>
                <a:gd name="T165" fmla="*/ 552 h 55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34" h="552">
                  <a:moveTo>
                    <a:pt x="240" y="108"/>
                  </a:moveTo>
                  <a:lnTo>
                    <a:pt x="270" y="126"/>
                  </a:lnTo>
                  <a:lnTo>
                    <a:pt x="282" y="120"/>
                  </a:lnTo>
                  <a:lnTo>
                    <a:pt x="240" y="108"/>
                  </a:lnTo>
                  <a:close/>
                  <a:moveTo>
                    <a:pt x="24" y="258"/>
                  </a:moveTo>
                  <a:lnTo>
                    <a:pt x="0" y="282"/>
                  </a:lnTo>
                  <a:lnTo>
                    <a:pt x="42" y="294"/>
                  </a:lnTo>
                  <a:lnTo>
                    <a:pt x="24" y="258"/>
                  </a:lnTo>
                  <a:close/>
                  <a:moveTo>
                    <a:pt x="312" y="414"/>
                  </a:moveTo>
                  <a:lnTo>
                    <a:pt x="312" y="420"/>
                  </a:lnTo>
                  <a:lnTo>
                    <a:pt x="324" y="420"/>
                  </a:lnTo>
                  <a:lnTo>
                    <a:pt x="324" y="414"/>
                  </a:lnTo>
                  <a:lnTo>
                    <a:pt x="318" y="408"/>
                  </a:lnTo>
                  <a:lnTo>
                    <a:pt x="312" y="408"/>
                  </a:lnTo>
                  <a:lnTo>
                    <a:pt x="312" y="414"/>
                  </a:lnTo>
                  <a:close/>
                  <a:moveTo>
                    <a:pt x="306" y="390"/>
                  </a:moveTo>
                  <a:lnTo>
                    <a:pt x="300" y="378"/>
                  </a:lnTo>
                  <a:lnTo>
                    <a:pt x="294" y="390"/>
                  </a:lnTo>
                  <a:lnTo>
                    <a:pt x="306" y="390"/>
                  </a:lnTo>
                  <a:close/>
                  <a:moveTo>
                    <a:pt x="294" y="294"/>
                  </a:moveTo>
                  <a:lnTo>
                    <a:pt x="318" y="336"/>
                  </a:lnTo>
                  <a:lnTo>
                    <a:pt x="330" y="318"/>
                  </a:lnTo>
                  <a:lnTo>
                    <a:pt x="294" y="294"/>
                  </a:lnTo>
                  <a:close/>
                  <a:moveTo>
                    <a:pt x="108" y="264"/>
                  </a:moveTo>
                  <a:lnTo>
                    <a:pt x="138" y="264"/>
                  </a:lnTo>
                  <a:lnTo>
                    <a:pt x="144" y="270"/>
                  </a:lnTo>
                  <a:lnTo>
                    <a:pt x="156" y="270"/>
                  </a:lnTo>
                  <a:lnTo>
                    <a:pt x="180" y="282"/>
                  </a:lnTo>
                  <a:lnTo>
                    <a:pt x="192" y="282"/>
                  </a:lnTo>
                  <a:lnTo>
                    <a:pt x="198" y="288"/>
                  </a:lnTo>
                  <a:lnTo>
                    <a:pt x="204" y="288"/>
                  </a:lnTo>
                  <a:lnTo>
                    <a:pt x="216" y="300"/>
                  </a:lnTo>
                  <a:lnTo>
                    <a:pt x="228" y="306"/>
                  </a:lnTo>
                  <a:lnTo>
                    <a:pt x="234" y="312"/>
                  </a:lnTo>
                  <a:lnTo>
                    <a:pt x="246" y="312"/>
                  </a:lnTo>
                  <a:lnTo>
                    <a:pt x="252" y="306"/>
                  </a:lnTo>
                  <a:lnTo>
                    <a:pt x="252" y="288"/>
                  </a:lnTo>
                  <a:lnTo>
                    <a:pt x="228" y="264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04" y="252"/>
                  </a:lnTo>
                  <a:lnTo>
                    <a:pt x="198" y="246"/>
                  </a:lnTo>
                  <a:lnTo>
                    <a:pt x="186" y="246"/>
                  </a:lnTo>
                  <a:lnTo>
                    <a:pt x="174" y="234"/>
                  </a:lnTo>
                  <a:lnTo>
                    <a:pt x="168" y="234"/>
                  </a:lnTo>
                  <a:lnTo>
                    <a:pt x="174" y="228"/>
                  </a:lnTo>
                  <a:lnTo>
                    <a:pt x="192" y="228"/>
                  </a:lnTo>
                  <a:lnTo>
                    <a:pt x="198" y="240"/>
                  </a:lnTo>
                  <a:lnTo>
                    <a:pt x="222" y="252"/>
                  </a:lnTo>
                  <a:lnTo>
                    <a:pt x="234" y="264"/>
                  </a:lnTo>
                  <a:lnTo>
                    <a:pt x="258" y="264"/>
                  </a:lnTo>
                  <a:lnTo>
                    <a:pt x="270" y="252"/>
                  </a:lnTo>
                  <a:lnTo>
                    <a:pt x="258" y="240"/>
                  </a:lnTo>
                  <a:lnTo>
                    <a:pt x="246" y="240"/>
                  </a:lnTo>
                  <a:lnTo>
                    <a:pt x="234" y="234"/>
                  </a:lnTo>
                  <a:lnTo>
                    <a:pt x="222" y="234"/>
                  </a:lnTo>
                  <a:lnTo>
                    <a:pt x="210" y="228"/>
                  </a:lnTo>
                  <a:lnTo>
                    <a:pt x="204" y="216"/>
                  </a:lnTo>
                  <a:lnTo>
                    <a:pt x="198" y="210"/>
                  </a:lnTo>
                  <a:lnTo>
                    <a:pt x="198" y="204"/>
                  </a:lnTo>
                  <a:lnTo>
                    <a:pt x="192" y="192"/>
                  </a:lnTo>
                  <a:lnTo>
                    <a:pt x="186" y="186"/>
                  </a:lnTo>
                  <a:lnTo>
                    <a:pt x="174" y="162"/>
                  </a:lnTo>
                  <a:lnTo>
                    <a:pt x="168" y="156"/>
                  </a:lnTo>
                  <a:lnTo>
                    <a:pt x="162" y="144"/>
                  </a:lnTo>
                  <a:lnTo>
                    <a:pt x="150" y="132"/>
                  </a:lnTo>
                  <a:lnTo>
                    <a:pt x="150" y="120"/>
                  </a:lnTo>
                  <a:lnTo>
                    <a:pt x="144" y="114"/>
                  </a:lnTo>
                  <a:lnTo>
                    <a:pt x="144" y="102"/>
                  </a:lnTo>
                  <a:lnTo>
                    <a:pt x="150" y="96"/>
                  </a:lnTo>
                  <a:lnTo>
                    <a:pt x="156" y="96"/>
                  </a:lnTo>
                  <a:lnTo>
                    <a:pt x="162" y="102"/>
                  </a:lnTo>
                  <a:lnTo>
                    <a:pt x="162" y="108"/>
                  </a:lnTo>
                  <a:lnTo>
                    <a:pt x="168" y="114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86" y="120"/>
                  </a:lnTo>
                  <a:lnTo>
                    <a:pt x="198" y="132"/>
                  </a:lnTo>
                  <a:lnTo>
                    <a:pt x="198" y="144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04" y="120"/>
                  </a:lnTo>
                  <a:lnTo>
                    <a:pt x="210" y="120"/>
                  </a:lnTo>
                  <a:lnTo>
                    <a:pt x="234" y="132"/>
                  </a:lnTo>
                  <a:lnTo>
                    <a:pt x="222" y="114"/>
                  </a:lnTo>
                  <a:lnTo>
                    <a:pt x="228" y="108"/>
                  </a:lnTo>
                  <a:lnTo>
                    <a:pt x="228" y="84"/>
                  </a:lnTo>
                  <a:lnTo>
                    <a:pt x="240" y="72"/>
                  </a:lnTo>
                  <a:lnTo>
                    <a:pt x="270" y="72"/>
                  </a:lnTo>
                  <a:lnTo>
                    <a:pt x="276" y="78"/>
                  </a:lnTo>
                  <a:lnTo>
                    <a:pt x="276" y="90"/>
                  </a:lnTo>
                  <a:lnTo>
                    <a:pt x="288" y="90"/>
                  </a:lnTo>
                  <a:lnTo>
                    <a:pt x="294" y="84"/>
                  </a:lnTo>
                  <a:lnTo>
                    <a:pt x="300" y="72"/>
                  </a:lnTo>
                  <a:lnTo>
                    <a:pt x="306" y="66"/>
                  </a:lnTo>
                  <a:lnTo>
                    <a:pt x="342" y="66"/>
                  </a:lnTo>
                  <a:lnTo>
                    <a:pt x="360" y="72"/>
                  </a:lnTo>
                  <a:lnTo>
                    <a:pt x="372" y="72"/>
                  </a:lnTo>
                  <a:lnTo>
                    <a:pt x="378" y="78"/>
                  </a:lnTo>
                  <a:lnTo>
                    <a:pt x="384" y="78"/>
                  </a:lnTo>
                  <a:lnTo>
                    <a:pt x="384" y="72"/>
                  </a:lnTo>
                  <a:lnTo>
                    <a:pt x="390" y="60"/>
                  </a:lnTo>
                  <a:lnTo>
                    <a:pt x="390" y="48"/>
                  </a:lnTo>
                  <a:lnTo>
                    <a:pt x="384" y="42"/>
                  </a:lnTo>
                  <a:lnTo>
                    <a:pt x="384" y="36"/>
                  </a:lnTo>
                  <a:lnTo>
                    <a:pt x="390" y="30"/>
                  </a:lnTo>
                  <a:lnTo>
                    <a:pt x="408" y="30"/>
                  </a:lnTo>
                  <a:lnTo>
                    <a:pt x="408" y="18"/>
                  </a:lnTo>
                  <a:lnTo>
                    <a:pt x="402" y="12"/>
                  </a:lnTo>
                  <a:lnTo>
                    <a:pt x="402" y="6"/>
                  </a:lnTo>
                  <a:lnTo>
                    <a:pt x="390" y="6"/>
                  </a:lnTo>
                  <a:lnTo>
                    <a:pt x="384" y="0"/>
                  </a:lnTo>
                  <a:lnTo>
                    <a:pt x="366" y="6"/>
                  </a:lnTo>
                  <a:lnTo>
                    <a:pt x="372" y="12"/>
                  </a:lnTo>
                  <a:lnTo>
                    <a:pt x="372" y="30"/>
                  </a:lnTo>
                  <a:lnTo>
                    <a:pt x="366" y="36"/>
                  </a:lnTo>
                  <a:lnTo>
                    <a:pt x="348" y="36"/>
                  </a:lnTo>
                  <a:lnTo>
                    <a:pt x="336" y="24"/>
                  </a:lnTo>
                  <a:lnTo>
                    <a:pt x="324" y="36"/>
                  </a:lnTo>
                  <a:lnTo>
                    <a:pt x="312" y="36"/>
                  </a:lnTo>
                  <a:lnTo>
                    <a:pt x="300" y="24"/>
                  </a:lnTo>
                  <a:lnTo>
                    <a:pt x="294" y="30"/>
                  </a:lnTo>
                  <a:lnTo>
                    <a:pt x="282" y="30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34" y="12"/>
                  </a:lnTo>
                  <a:lnTo>
                    <a:pt x="228" y="30"/>
                  </a:lnTo>
                  <a:lnTo>
                    <a:pt x="204" y="24"/>
                  </a:lnTo>
                  <a:lnTo>
                    <a:pt x="198" y="30"/>
                  </a:lnTo>
                  <a:lnTo>
                    <a:pt x="186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62" y="30"/>
                  </a:lnTo>
                  <a:lnTo>
                    <a:pt x="150" y="36"/>
                  </a:lnTo>
                  <a:lnTo>
                    <a:pt x="138" y="48"/>
                  </a:lnTo>
                  <a:lnTo>
                    <a:pt x="126" y="54"/>
                  </a:lnTo>
                  <a:lnTo>
                    <a:pt x="102" y="54"/>
                  </a:lnTo>
                  <a:lnTo>
                    <a:pt x="102" y="60"/>
                  </a:lnTo>
                  <a:lnTo>
                    <a:pt x="96" y="72"/>
                  </a:lnTo>
                  <a:lnTo>
                    <a:pt x="72" y="72"/>
                  </a:lnTo>
                  <a:lnTo>
                    <a:pt x="66" y="66"/>
                  </a:lnTo>
                  <a:lnTo>
                    <a:pt x="60" y="66"/>
                  </a:lnTo>
                  <a:lnTo>
                    <a:pt x="48" y="72"/>
                  </a:lnTo>
                  <a:lnTo>
                    <a:pt x="54" y="84"/>
                  </a:lnTo>
                  <a:lnTo>
                    <a:pt x="54" y="90"/>
                  </a:lnTo>
                  <a:lnTo>
                    <a:pt x="42" y="102"/>
                  </a:lnTo>
                  <a:lnTo>
                    <a:pt x="24" y="102"/>
                  </a:lnTo>
                  <a:lnTo>
                    <a:pt x="24" y="126"/>
                  </a:lnTo>
                  <a:lnTo>
                    <a:pt x="12" y="132"/>
                  </a:lnTo>
                  <a:lnTo>
                    <a:pt x="0" y="132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30" y="228"/>
                  </a:lnTo>
                  <a:lnTo>
                    <a:pt x="36" y="234"/>
                  </a:lnTo>
                  <a:lnTo>
                    <a:pt x="42" y="246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84" y="270"/>
                  </a:lnTo>
                  <a:lnTo>
                    <a:pt x="96" y="264"/>
                  </a:lnTo>
                  <a:lnTo>
                    <a:pt x="108" y="264"/>
                  </a:lnTo>
                  <a:close/>
                  <a:moveTo>
                    <a:pt x="396" y="252"/>
                  </a:moveTo>
                  <a:lnTo>
                    <a:pt x="372" y="252"/>
                  </a:lnTo>
                  <a:lnTo>
                    <a:pt x="372" y="270"/>
                  </a:lnTo>
                  <a:lnTo>
                    <a:pt x="384" y="294"/>
                  </a:lnTo>
                  <a:lnTo>
                    <a:pt x="396" y="252"/>
                  </a:lnTo>
                  <a:close/>
                  <a:moveTo>
                    <a:pt x="24" y="312"/>
                  </a:moveTo>
                  <a:lnTo>
                    <a:pt x="18" y="318"/>
                  </a:lnTo>
                  <a:lnTo>
                    <a:pt x="24" y="324"/>
                  </a:lnTo>
                  <a:lnTo>
                    <a:pt x="30" y="324"/>
                  </a:lnTo>
                  <a:lnTo>
                    <a:pt x="36" y="330"/>
                  </a:lnTo>
                  <a:lnTo>
                    <a:pt x="42" y="324"/>
                  </a:lnTo>
                  <a:lnTo>
                    <a:pt x="42" y="318"/>
                  </a:lnTo>
                  <a:lnTo>
                    <a:pt x="30" y="306"/>
                  </a:lnTo>
                  <a:lnTo>
                    <a:pt x="24" y="312"/>
                  </a:lnTo>
                  <a:close/>
                  <a:moveTo>
                    <a:pt x="378" y="390"/>
                  </a:moveTo>
                  <a:lnTo>
                    <a:pt x="378" y="408"/>
                  </a:lnTo>
                  <a:lnTo>
                    <a:pt x="390" y="390"/>
                  </a:lnTo>
                  <a:lnTo>
                    <a:pt x="378" y="390"/>
                  </a:lnTo>
                  <a:close/>
                  <a:moveTo>
                    <a:pt x="408" y="330"/>
                  </a:moveTo>
                  <a:lnTo>
                    <a:pt x="396" y="330"/>
                  </a:lnTo>
                  <a:lnTo>
                    <a:pt x="384" y="336"/>
                  </a:lnTo>
                  <a:lnTo>
                    <a:pt x="384" y="342"/>
                  </a:lnTo>
                  <a:lnTo>
                    <a:pt x="396" y="342"/>
                  </a:lnTo>
                  <a:lnTo>
                    <a:pt x="402" y="336"/>
                  </a:lnTo>
                  <a:lnTo>
                    <a:pt x="408" y="336"/>
                  </a:lnTo>
                  <a:lnTo>
                    <a:pt x="408" y="330"/>
                  </a:lnTo>
                  <a:close/>
                  <a:moveTo>
                    <a:pt x="396" y="192"/>
                  </a:moveTo>
                  <a:lnTo>
                    <a:pt x="372" y="198"/>
                  </a:lnTo>
                  <a:lnTo>
                    <a:pt x="372" y="210"/>
                  </a:lnTo>
                  <a:lnTo>
                    <a:pt x="390" y="210"/>
                  </a:lnTo>
                  <a:lnTo>
                    <a:pt x="396" y="216"/>
                  </a:lnTo>
                  <a:lnTo>
                    <a:pt x="396" y="222"/>
                  </a:lnTo>
                  <a:lnTo>
                    <a:pt x="414" y="222"/>
                  </a:lnTo>
                  <a:lnTo>
                    <a:pt x="414" y="210"/>
                  </a:lnTo>
                  <a:lnTo>
                    <a:pt x="396" y="192"/>
                  </a:lnTo>
                  <a:close/>
                  <a:moveTo>
                    <a:pt x="342" y="372"/>
                  </a:moveTo>
                  <a:lnTo>
                    <a:pt x="342" y="378"/>
                  </a:lnTo>
                  <a:lnTo>
                    <a:pt x="348" y="384"/>
                  </a:lnTo>
                  <a:lnTo>
                    <a:pt x="360" y="384"/>
                  </a:lnTo>
                  <a:lnTo>
                    <a:pt x="366" y="378"/>
                  </a:lnTo>
                  <a:lnTo>
                    <a:pt x="366" y="372"/>
                  </a:lnTo>
                  <a:lnTo>
                    <a:pt x="360" y="366"/>
                  </a:lnTo>
                  <a:lnTo>
                    <a:pt x="342" y="366"/>
                  </a:lnTo>
                  <a:lnTo>
                    <a:pt x="342" y="372"/>
                  </a:lnTo>
                  <a:close/>
                  <a:moveTo>
                    <a:pt x="444" y="312"/>
                  </a:moveTo>
                  <a:lnTo>
                    <a:pt x="432" y="312"/>
                  </a:lnTo>
                  <a:lnTo>
                    <a:pt x="432" y="330"/>
                  </a:lnTo>
                  <a:lnTo>
                    <a:pt x="444" y="336"/>
                  </a:lnTo>
                  <a:lnTo>
                    <a:pt x="450" y="330"/>
                  </a:lnTo>
                  <a:lnTo>
                    <a:pt x="450" y="318"/>
                  </a:lnTo>
                  <a:lnTo>
                    <a:pt x="444" y="312"/>
                  </a:lnTo>
                  <a:close/>
                  <a:moveTo>
                    <a:pt x="444" y="372"/>
                  </a:moveTo>
                  <a:lnTo>
                    <a:pt x="456" y="354"/>
                  </a:lnTo>
                  <a:lnTo>
                    <a:pt x="438" y="354"/>
                  </a:lnTo>
                  <a:lnTo>
                    <a:pt x="444" y="372"/>
                  </a:lnTo>
                  <a:close/>
                  <a:moveTo>
                    <a:pt x="276" y="222"/>
                  </a:moveTo>
                  <a:lnTo>
                    <a:pt x="276" y="240"/>
                  </a:lnTo>
                  <a:lnTo>
                    <a:pt x="288" y="240"/>
                  </a:lnTo>
                  <a:lnTo>
                    <a:pt x="276" y="222"/>
                  </a:lnTo>
                  <a:close/>
                  <a:moveTo>
                    <a:pt x="534" y="420"/>
                  </a:moveTo>
                  <a:lnTo>
                    <a:pt x="522" y="420"/>
                  </a:lnTo>
                  <a:lnTo>
                    <a:pt x="516" y="426"/>
                  </a:lnTo>
                  <a:lnTo>
                    <a:pt x="510" y="438"/>
                  </a:lnTo>
                  <a:lnTo>
                    <a:pt x="510" y="468"/>
                  </a:lnTo>
                  <a:lnTo>
                    <a:pt x="516" y="468"/>
                  </a:lnTo>
                  <a:lnTo>
                    <a:pt x="522" y="456"/>
                  </a:lnTo>
                  <a:lnTo>
                    <a:pt x="528" y="450"/>
                  </a:lnTo>
                  <a:lnTo>
                    <a:pt x="534" y="438"/>
                  </a:lnTo>
                  <a:lnTo>
                    <a:pt x="534" y="420"/>
                  </a:lnTo>
                  <a:close/>
                  <a:moveTo>
                    <a:pt x="462" y="384"/>
                  </a:moveTo>
                  <a:lnTo>
                    <a:pt x="456" y="408"/>
                  </a:lnTo>
                  <a:lnTo>
                    <a:pt x="498" y="378"/>
                  </a:lnTo>
                  <a:lnTo>
                    <a:pt x="486" y="372"/>
                  </a:lnTo>
                  <a:lnTo>
                    <a:pt x="462" y="384"/>
                  </a:lnTo>
                  <a:close/>
                  <a:moveTo>
                    <a:pt x="462" y="510"/>
                  </a:moveTo>
                  <a:lnTo>
                    <a:pt x="480" y="510"/>
                  </a:lnTo>
                  <a:lnTo>
                    <a:pt x="468" y="468"/>
                  </a:lnTo>
                  <a:lnTo>
                    <a:pt x="462" y="510"/>
                  </a:lnTo>
                  <a:close/>
                  <a:moveTo>
                    <a:pt x="276" y="330"/>
                  </a:moveTo>
                  <a:lnTo>
                    <a:pt x="270" y="336"/>
                  </a:lnTo>
                  <a:lnTo>
                    <a:pt x="270" y="348"/>
                  </a:lnTo>
                  <a:lnTo>
                    <a:pt x="276" y="348"/>
                  </a:lnTo>
                  <a:lnTo>
                    <a:pt x="288" y="336"/>
                  </a:lnTo>
                  <a:lnTo>
                    <a:pt x="282" y="330"/>
                  </a:lnTo>
                  <a:lnTo>
                    <a:pt x="276" y="330"/>
                  </a:lnTo>
                  <a:close/>
                  <a:moveTo>
                    <a:pt x="186" y="432"/>
                  </a:move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198" y="444"/>
                  </a:lnTo>
                  <a:lnTo>
                    <a:pt x="198" y="438"/>
                  </a:lnTo>
                  <a:lnTo>
                    <a:pt x="192" y="432"/>
                  </a:lnTo>
                  <a:lnTo>
                    <a:pt x="186" y="432"/>
                  </a:lnTo>
                  <a:close/>
                  <a:moveTo>
                    <a:pt x="384" y="528"/>
                  </a:moveTo>
                  <a:lnTo>
                    <a:pt x="378" y="528"/>
                  </a:lnTo>
                  <a:lnTo>
                    <a:pt x="378" y="516"/>
                  </a:lnTo>
                  <a:lnTo>
                    <a:pt x="372" y="510"/>
                  </a:lnTo>
                  <a:lnTo>
                    <a:pt x="342" y="510"/>
                  </a:lnTo>
                  <a:lnTo>
                    <a:pt x="306" y="504"/>
                  </a:lnTo>
                  <a:lnTo>
                    <a:pt x="276" y="504"/>
                  </a:lnTo>
                  <a:lnTo>
                    <a:pt x="246" y="486"/>
                  </a:lnTo>
                  <a:lnTo>
                    <a:pt x="228" y="504"/>
                  </a:lnTo>
                  <a:lnTo>
                    <a:pt x="234" y="510"/>
                  </a:lnTo>
                  <a:lnTo>
                    <a:pt x="246" y="516"/>
                  </a:lnTo>
                  <a:lnTo>
                    <a:pt x="252" y="522"/>
                  </a:lnTo>
                  <a:lnTo>
                    <a:pt x="258" y="516"/>
                  </a:lnTo>
                  <a:lnTo>
                    <a:pt x="264" y="528"/>
                  </a:lnTo>
                  <a:lnTo>
                    <a:pt x="300" y="528"/>
                  </a:lnTo>
                  <a:lnTo>
                    <a:pt x="312" y="552"/>
                  </a:lnTo>
                  <a:lnTo>
                    <a:pt x="354" y="546"/>
                  </a:lnTo>
                  <a:lnTo>
                    <a:pt x="354" y="540"/>
                  </a:lnTo>
                  <a:lnTo>
                    <a:pt x="402" y="540"/>
                  </a:lnTo>
                  <a:lnTo>
                    <a:pt x="414" y="528"/>
                  </a:lnTo>
                  <a:lnTo>
                    <a:pt x="414" y="522"/>
                  </a:lnTo>
                  <a:lnTo>
                    <a:pt x="408" y="516"/>
                  </a:lnTo>
                  <a:lnTo>
                    <a:pt x="402" y="516"/>
                  </a:lnTo>
                  <a:lnTo>
                    <a:pt x="396" y="522"/>
                  </a:lnTo>
                  <a:lnTo>
                    <a:pt x="390" y="522"/>
                  </a:lnTo>
                  <a:lnTo>
                    <a:pt x="384" y="528"/>
                  </a:lnTo>
                  <a:close/>
                  <a:moveTo>
                    <a:pt x="420" y="408"/>
                  </a:moveTo>
                  <a:lnTo>
                    <a:pt x="408" y="408"/>
                  </a:lnTo>
                  <a:lnTo>
                    <a:pt x="408" y="420"/>
                  </a:lnTo>
                  <a:lnTo>
                    <a:pt x="420" y="420"/>
                  </a:lnTo>
                  <a:lnTo>
                    <a:pt x="426" y="414"/>
                  </a:lnTo>
                  <a:lnTo>
                    <a:pt x="420" y="408"/>
                  </a:lnTo>
                  <a:close/>
                  <a:moveTo>
                    <a:pt x="114" y="276"/>
                  </a:moveTo>
                  <a:lnTo>
                    <a:pt x="90" y="288"/>
                  </a:lnTo>
                  <a:lnTo>
                    <a:pt x="84" y="288"/>
                  </a:lnTo>
                  <a:lnTo>
                    <a:pt x="66" y="312"/>
                  </a:lnTo>
                  <a:lnTo>
                    <a:pt x="96" y="336"/>
                  </a:lnTo>
                  <a:lnTo>
                    <a:pt x="96" y="348"/>
                  </a:lnTo>
                  <a:lnTo>
                    <a:pt x="90" y="366"/>
                  </a:lnTo>
                  <a:lnTo>
                    <a:pt x="90" y="384"/>
                  </a:lnTo>
                  <a:lnTo>
                    <a:pt x="96" y="390"/>
                  </a:lnTo>
                  <a:lnTo>
                    <a:pt x="108" y="396"/>
                  </a:lnTo>
                  <a:lnTo>
                    <a:pt x="114" y="396"/>
                  </a:lnTo>
                  <a:lnTo>
                    <a:pt x="114" y="390"/>
                  </a:lnTo>
                  <a:lnTo>
                    <a:pt x="126" y="378"/>
                  </a:lnTo>
                  <a:lnTo>
                    <a:pt x="132" y="378"/>
                  </a:lnTo>
                  <a:lnTo>
                    <a:pt x="156" y="420"/>
                  </a:lnTo>
                  <a:lnTo>
                    <a:pt x="162" y="390"/>
                  </a:lnTo>
                  <a:lnTo>
                    <a:pt x="180" y="414"/>
                  </a:lnTo>
                  <a:lnTo>
                    <a:pt x="204" y="420"/>
                  </a:lnTo>
                  <a:lnTo>
                    <a:pt x="186" y="402"/>
                  </a:lnTo>
                  <a:lnTo>
                    <a:pt x="192" y="396"/>
                  </a:lnTo>
                  <a:lnTo>
                    <a:pt x="192" y="372"/>
                  </a:lnTo>
                  <a:lnTo>
                    <a:pt x="186" y="366"/>
                  </a:lnTo>
                  <a:lnTo>
                    <a:pt x="180" y="354"/>
                  </a:lnTo>
                  <a:lnTo>
                    <a:pt x="174" y="348"/>
                  </a:lnTo>
                  <a:lnTo>
                    <a:pt x="168" y="336"/>
                  </a:lnTo>
                  <a:lnTo>
                    <a:pt x="168" y="330"/>
                  </a:lnTo>
                  <a:lnTo>
                    <a:pt x="186" y="330"/>
                  </a:lnTo>
                  <a:lnTo>
                    <a:pt x="198" y="336"/>
                  </a:lnTo>
                  <a:lnTo>
                    <a:pt x="210" y="348"/>
                  </a:lnTo>
                  <a:lnTo>
                    <a:pt x="222" y="342"/>
                  </a:lnTo>
                  <a:lnTo>
                    <a:pt x="210" y="336"/>
                  </a:lnTo>
                  <a:lnTo>
                    <a:pt x="204" y="324"/>
                  </a:lnTo>
                  <a:lnTo>
                    <a:pt x="192" y="318"/>
                  </a:lnTo>
                  <a:lnTo>
                    <a:pt x="186" y="312"/>
                  </a:lnTo>
                  <a:lnTo>
                    <a:pt x="174" y="306"/>
                  </a:lnTo>
                  <a:lnTo>
                    <a:pt x="156" y="294"/>
                  </a:lnTo>
                  <a:lnTo>
                    <a:pt x="138" y="288"/>
                  </a:lnTo>
                  <a:lnTo>
                    <a:pt x="126" y="282"/>
                  </a:lnTo>
                  <a:lnTo>
                    <a:pt x="120" y="276"/>
                  </a:lnTo>
                  <a:lnTo>
                    <a:pt x="114" y="27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133" name="Ghana" descr="© INSCALE GmbH, 05.05.2010&#10;http://www.presentationload.com/"/>
            <p:cNvSpPr>
              <a:spLocks/>
            </p:cNvSpPr>
            <p:nvPr/>
          </p:nvSpPr>
          <p:spPr bwMode="gray">
            <a:xfrm>
              <a:off x="4390230" y="4025767"/>
              <a:ext cx="104947" cy="160447"/>
            </a:xfrm>
            <a:custGeom>
              <a:avLst/>
              <a:gdLst>
                <a:gd name="T0" fmla="*/ 2147483647 w 324"/>
                <a:gd name="T1" fmla="*/ 2147483647 h 516"/>
                <a:gd name="T2" fmla="*/ 2147483647 w 324"/>
                <a:gd name="T3" fmla="*/ 2147483647 h 516"/>
                <a:gd name="T4" fmla="*/ 2147483647 w 324"/>
                <a:gd name="T5" fmla="*/ 2147483647 h 516"/>
                <a:gd name="T6" fmla="*/ 2147483647 w 324"/>
                <a:gd name="T7" fmla="*/ 2147483647 h 516"/>
                <a:gd name="T8" fmla="*/ 2147483647 w 324"/>
                <a:gd name="T9" fmla="*/ 2147483647 h 516"/>
                <a:gd name="T10" fmla="*/ 2147483647 w 324"/>
                <a:gd name="T11" fmla="*/ 2147483647 h 516"/>
                <a:gd name="T12" fmla="*/ 2147483647 w 324"/>
                <a:gd name="T13" fmla="*/ 2147483647 h 516"/>
                <a:gd name="T14" fmla="*/ 2147483647 w 324"/>
                <a:gd name="T15" fmla="*/ 2147483647 h 516"/>
                <a:gd name="T16" fmla="*/ 2147483647 w 324"/>
                <a:gd name="T17" fmla="*/ 2147483647 h 516"/>
                <a:gd name="T18" fmla="*/ 2147483647 w 324"/>
                <a:gd name="T19" fmla="*/ 2147483647 h 516"/>
                <a:gd name="T20" fmla="*/ 2147483647 w 324"/>
                <a:gd name="T21" fmla="*/ 2147483647 h 516"/>
                <a:gd name="T22" fmla="*/ 2147483647 w 324"/>
                <a:gd name="T23" fmla="*/ 2147483647 h 516"/>
                <a:gd name="T24" fmla="*/ 2147483647 w 324"/>
                <a:gd name="T25" fmla="*/ 2147483647 h 516"/>
                <a:gd name="T26" fmla="*/ 2147483647 w 324"/>
                <a:gd name="T27" fmla="*/ 0 h 516"/>
                <a:gd name="T28" fmla="*/ 2147483647 w 324"/>
                <a:gd name="T29" fmla="*/ 2147483647 h 516"/>
                <a:gd name="T30" fmla="*/ 2147483647 w 324"/>
                <a:gd name="T31" fmla="*/ 2147483647 h 516"/>
                <a:gd name="T32" fmla="*/ 2147483647 w 324"/>
                <a:gd name="T33" fmla="*/ 2147483647 h 516"/>
                <a:gd name="T34" fmla="*/ 2147483647 w 324"/>
                <a:gd name="T35" fmla="*/ 2147483647 h 516"/>
                <a:gd name="T36" fmla="*/ 2147483647 w 324"/>
                <a:gd name="T37" fmla="*/ 2147483647 h 516"/>
                <a:gd name="T38" fmla="*/ 2147483647 w 324"/>
                <a:gd name="T39" fmla="*/ 2147483647 h 516"/>
                <a:gd name="T40" fmla="*/ 2147483647 w 324"/>
                <a:gd name="T41" fmla="*/ 2147483647 h 516"/>
                <a:gd name="T42" fmla="*/ 2147483647 w 324"/>
                <a:gd name="T43" fmla="*/ 2147483647 h 516"/>
                <a:gd name="T44" fmla="*/ 2147483647 w 324"/>
                <a:gd name="T45" fmla="*/ 2147483647 h 516"/>
                <a:gd name="T46" fmla="*/ 2147483647 w 324"/>
                <a:gd name="T47" fmla="*/ 2147483647 h 516"/>
                <a:gd name="T48" fmla="*/ 2147483647 w 324"/>
                <a:gd name="T49" fmla="*/ 2147483647 h 516"/>
                <a:gd name="T50" fmla="*/ 2147483647 w 324"/>
                <a:gd name="T51" fmla="*/ 2147483647 h 516"/>
                <a:gd name="T52" fmla="*/ 2147483647 w 324"/>
                <a:gd name="T53" fmla="*/ 2147483647 h 516"/>
                <a:gd name="T54" fmla="*/ 0 w 324"/>
                <a:gd name="T55" fmla="*/ 2147483647 h 516"/>
                <a:gd name="T56" fmla="*/ 2147483647 w 324"/>
                <a:gd name="T57" fmla="*/ 2147483647 h 516"/>
                <a:gd name="T58" fmla="*/ 2147483647 w 324"/>
                <a:gd name="T59" fmla="*/ 2147483647 h 516"/>
                <a:gd name="T60" fmla="*/ 2147483647 w 324"/>
                <a:gd name="T61" fmla="*/ 2147483647 h 516"/>
                <a:gd name="T62" fmla="*/ 2147483647 w 324"/>
                <a:gd name="T63" fmla="*/ 2147483647 h 516"/>
                <a:gd name="T64" fmla="*/ 2147483647 w 324"/>
                <a:gd name="T65" fmla="*/ 2147483647 h 516"/>
                <a:gd name="T66" fmla="*/ 2147483647 w 324"/>
                <a:gd name="T67" fmla="*/ 2147483647 h 516"/>
                <a:gd name="T68" fmla="*/ 2147483647 w 324"/>
                <a:gd name="T69" fmla="*/ 2147483647 h 516"/>
                <a:gd name="T70" fmla="*/ 2147483647 w 324"/>
                <a:gd name="T71" fmla="*/ 2147483647 h 516"/>
                <a:gd name="T72" fmla="*/ 2147483647 w 324"/>
                <a:gd name="T73" fmla="*/ 2147483647 h 516"/>
                <a:gd name="T74" fmla="*/ 2147483647 w 324"/>
                <a:gd name="T75" fmla="*/ 2147483647 h 516"/>
                <a:gd name="T76" fmla="*/ 2147483647 w 324"/>
                <a:gd name="T77" fmla="*/ 2147483647 h 516"/>
                <a:gd name="T78" fmla="*/ 2147483647 w 324"/>
                <a:gd name="T79" fmla="*/ 2147483647 h 516"/>
                <a:gd name="T80" fmla="*/ 2147483647 w 324"/>
                <a:gd name="T81" fmla="*/ 2147483647 h 516"/>
                <a:gd name="T82" fmla="*/ 2147483647 w 324"/>
                <a:gd name="T83" fmla="*/ 2147483647 h 516"/>
                <a:gd name="T84" fmla="*/ 2147483647 w 324"/>
                <a:gd name="T85" fmla="*/ 2147483647 h 516"/>
                <a:gd name="T86" fmla="*/ 2147483647 w 324"/>
                <a:gd name="T87" fmla="*/ 2147483647 h 51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24"/>
                <a:gd name="T133" fmla="*/ 0 h 516"/>
                <a:gd name="T134" fmla="*/ 324 w 324"/>
                <a:gd name="T135" fmla="*/ 516 h 51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24" h="516">
                  <a:moveTo>
                    <a:pt x="282" y="342"/>
                  </a:moveTo>
                  <a:lnTo>
                    <a:pt x="282" y="330"/>
                  </a:lnTo>
                  <a:lnTo>
                    <a:pt x="288" y="318"/>
                  </a:lnTo>
                  <a:lnTo>
                    <a:pt x="288" y="306"/>
                  </a:lnTo>
                  <a:lnTo>
                    <a:pt x="282" y="300"/>
                  </a:lnTo>
                  <a:lnTo>
                    <a:pt x="276" y="300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82" y="234"/>
                  </a:lnTo>
                  <a:lnTo>
                    <a:pt x="288" y="228"/>
                  </a:lnTo>
                  <a:lnTo>
                    <a:pt x="288" y="216"/>
                  </a:lnTo>
                  <a:lnTo>
                    <a:pt x="282" y="210"/>
                  </a:lnTo>
                  <a:lnTo>
                    <a:pt x="270" y="204"/>
                  </a:lnTo>
                  <a:lnTo>
                    <a:pt x="264" y="198"/>
                  </a:lnTo>
                  <a:lnTo>
                    <a:pt x="276" y="186"/>
                  </a:lnTo>
                  <a:lnTo>
                    <a:pt x="282" y="186"/>
                  </a:lnTo>
                  <a:lnTo>
                    <a:pt x="282" y="180"/>
                  </a:lnTo>
                  <a:lnTo>
                    <a:pt x="270" y="168"/>
                  </a:lnTo>
                  <a:lnTo>
                    <a:pt x="276" y="156"/>
                  </a:lnTo>
                  <a:lnTo>
                    <a:pt x="276" y="132"/>
                  </a:lnTo>
                  <a:lnTo>
                    <a:pt x="270" y="126"/>
                  </a:lnTo>
                  <a:lnTo>
                    <a:pt x="264" y="126"/>
                  </a:lnTo>
                  <a:lnTo>
                    <a:pt x="252" y="138"/>
                  </a:lnTo>
                  <a:lnTo>
                    <a:pt x="264" y="60"/>
                  </a:lnTo>
                  <a:lnTo>
                    <a:pt x="228" y="36"/>
                  </a:lnTo>
                  <a:lnTo>
                    <a:pt x="240" y="24"/>
                  </a:lnTo>
                  <a:lnTo>
                    <a:pt x="240" y="6"/>
                  </a:lnTo>
                  <a:lnTo>
                    <a:pt x="222" y="0"/>
                  </a:lnTo>
                  <a:lnTo>
                    <a:pt x="198" y="12"/>
                  </a:lnTo>
                  <a:lnTo>
                    <a:pt x="42" y="12"/>
                  </a:lnTo>
                  <a:lnTo>
                    <a:pt x="36" y="18"/>
                  </a:lnTo>
                  <a:lnTo>
                    <a:pt x="30" y="30"/>
                  </a:lnTo>
                  <a:lnTo>
                    <a:pt x="30" y="48"/>
                  </a:lnTo>
                  <a:lnTo>
                    <a:pt x="36" y="48"/>
                  </a:lnTo>
                  <a:lnTo>
                    <a:pt x="42" y="78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56"/>
                  </a:lnTo>
                  <a:lnTo>
                    <a:pt x="42" y="156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48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60" y="216"/>
                  </a:lnTo>
                  <a:lnTo>
                    <a:pt x="60" y="228"/>
                  </a:lnTo>
                  <a:lnTo>
                    <a:pt x="48" y="252"/>
                  </a:lnTo>
                  <a:lnTo>
                    <a:pt x="42" y="258"/>
                  </a:lnTo>
                  <a:lnTo>
                    <a:pt x="36" y="270"/>
                  </a:lnTo>
                  <a:lnTo>
                    <a:pt x="36" y="288"/>
                  </a:lnTo>
                  <a:lnTo>
                    <a:pt x="30" y="300"/>
                  </a:lnTo>
                  <a:lnTo>
                    <a:pt x="30" y="312"/>
                  </a:lnTo>
                  <a:lnTo>
                    <a:pt x="12" y="330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72"/>
                  </a:lnTo>
                  <a:lnTo>
                    <a:pt x="6" y="384"/>
                  </a:lnTo>
                  <a:lnTo>
                    <a:pt x="12" y="402"/>
                  </a:lnTo>
                  <a:lnTo>
                    <a:pt x="12" y="414"/>
                  </a:lnTo>
                  <a:lnTo>
                    <a:pt x="18" y="426"/>
                  </a:lnTo>
                  <a:lnTo>
                    <a:pt x="24" y="432"/>
                  </a:lnTo>
                  <a:lnTo>
                    <a:pt x="24" y="438"/>
                  </a:lnTo>
                  <a:lnTo>
                    <a:pt x="48" y="444"/>
                  </a:lnTo>
                  <a:lnTo>
                    <a:pt x="48" y="498"/>
                  </a:lnTo>
                  <a:lnTo>
                    <a:pt x="72" y="498"/>
                  </a:lnTo>
                  <a:lnTo>
                    <a:pt x="78" y="504"/>
                  </a:lnTo>
                  <a:lnTo>
                    <a:pt x="78" y="510"/>
                  </a:lnTo>
                  <a:lnTo>
                    <a:pt x="84" y="516"/>
                  </a:lnTo>
                  <a:lnTo>
                    <a:pt x="96" y="516"/>
                  </a:lnTo>
                  <a:lnTo>
                    <a:pt x="108" y="510"/>
                  </a:lnTo>
                  <a:lnTo>
                    <a:pt x="114" y="504"/>
                  </a:lnTo>
                  <a:lnTo>
                    <a:pt x="132" y="492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80" y="480"/>
                  </a:lnTo>
                  <a:lnTo>
                    <a:pt x="186" y="474"/>
                  </a:lnTo>
                  <a:lnTo>
                    <a:pt x="198" y="468"/>
                  </a:lnTo>
                  <a:lnTo>
                    <a:pt x="216" y="450"/>
                  </a:lnTo>
                  <a:lnTo>
                    <a:pt x="228" y="450"/>
                  </a:lnTo>
                  <a:lnTo>
                    <a:pt x="234" y="444"/>
                  </a:lnTo>
                  <a:lnTo>
                    <a:pt x="240" y="444"/>
                  </a:lnTo>
                  <a:lnTo>
                    <a:pt x="258" y="426"/>
                  </a:lnTo>
                  <a:lnTo>
                    <a:pt x="270" y="426"/>
                  </a:lnTo>
                  <a:lnTo>
                    <a:pt x="276" y="432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24" y="408"/>
                  </a:lnTo>
                  <a:lnTo>
                    <a:pt x="294" y="384"/>
                  </a:lnTo>
                  <a:lnTo>
                    <a:pt x="282" y="34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134" name="Georgia" descr="© INSCALE GmbH, 05.05.2010&#10;http://www.presentationload.com/"/>
            <p:cNvSpPr>
              <a:spLocks/>
            </p:cNvSpPr>
            <p:nvPr/>
          </p:nvSpPr>
          <p:spPr bwMode="gray">
            <a:xfrm>
              <a:off x="5325793" y="3213733"/>
              <a:ext cx="149742" cy="66138"/>
            </a:xfrm>
            <a:custGeom>
              <a:avLst/>
              <a:gdLst>
                <a:gd name="T0" fmla="*/ 2147483647 w 462"/>
                <a:gd name="T1" fmla="*/ 2147483647 h 210"/>
                <a:gd name="T2" fmla="*/ 2147483647 w 462"/>
                <a:gd name="T3" fmla="*/ 2147483647 h 210"/>
                <a:gd name="T4" fmla="*/ 2147483647 w 462"/>
                <a:gd name="T5" fmla="*/ 2147483647 h 210"/>
                <a:gd name="T6" fmla="*/ 2147483647 w 462"/>
                <a:gd name="T7" fmla="*/ 2147483647 h 210"/>
                <a:gd name="T8" fmla="*/ 2147483647 w 462"/>
                <a:gd name="T9" fmla="*/ 2147483647 h 210"/>
                <a:gd name="T10" fmla="*/ 2147483647 w 462"/>
                <a:gd name="T11" fmla="*/ 2147483647 h 210"/>
                <a:gd name="T12" fmla="*/ 2147483647 w 462"/>
                <a:gd name="T13" fmla="*/ 2147483647 h 210"/>
                <a:gd name="T14" fmla="*/ 2147483647 w 462"/>
                <a:gd name="T15" fmla="*/ 2147483647 h 210"/>
                <a:gd name="T16" fmla="*/ 2147483647 w 462"/>
                <a:gd name="T17" fmla="*/ 2147483647 h 210"/>
                <a:gd name="T18" fmla="*/ 2147483647 w 462"/>
                <a:gd name="T19" fmla="*/ 2147483647 h 210"/>
                <a:gd name="T20" fmla="*/ 2147483647 w 462"/>
                <a:gd name="T21" fmla="*/ 2147483647 h 210"/>
                <a:gd name="T22" fmla="*/ 2147483647 w 462"/>
                <a:gd name="T23" fmla="*/ 2147483647 h 210"/>
                <a:gd name="T24" fmla="*/ 2147483647 w 462"/>
                <a:gd name="T25" fmla="*/ 2147483647 h 210"/>
                <a:gd name="T26" fmla="*/ 2147483647 w 462"/>
                <a:gd name="T27" fmla="*/ 2147483647 h 210"/>
                <a:gd name="T28" fmla="*/ 2147483647 w 462"/>
                <a:gd name="T29" fmla="*/ 2147483647 h 210"/>
                <a:gd name="T30" fmla="*/ 2147483647 w 462"/>
                <a:gd name="T31" fmla="*/ 2147483647 h 210"/>
                <a:gd name="T32" fmla="*/ 2147483647 w 462"/>
                <a:gd name="T33" fmla="*/ 2147483647 h 210"/>
                <a:gd name="T34" fmla="*/ 2147483647 w 462"/>
                <a:gd name="T35" fmla="*/ 2147483647 h 210"/>
                <a:gd name="T36" fmla="*/ 2147483647 w 462"/>
                <a:gd name="T37" fmla="*/ 2147483647 h 210"/>
                <a:gd name="T38" fmla="*/ 2147483647 w 462"/>
                <a:gd name="T39" fmla="*/ 2147483647 h 210"/>
                <a:gd name="T40" fmla="*/ 2147483647 w 462"/>
                <a:gd name="T41" fmla="*/ 2147483647 h 210"/>
                <a:gd name="T42" fmla="*/ 2147483647 w 462"/>
                <a:gd name="T43" fmla="*/ 2147483647 h 210"/>
                <a:gd name="T44" fmla="*/ 2147483647 w 462"/>
                <a:gd name="T45" fmla="*/ 2147483647 h 210"/>
                <a:gd name="T46" fmla="*/ 2147483647 w 462"/>
                <a:gd name="T47" fmla="*/ 2147483647 h 210"/>
                <a:gd name="T48" fmla="*/ 2147483647 w 462"/>
                <a:gd name="T49" fmla="*/ 2147483647 h 210"/>
                <a:gd name="T50" fmla="*/ 2147483647 w 462"/>
                <a:gd name="T51" fmla="*/ 2147483647 h 210"/>
                <a:gd name="T52" fmla="*/ 2147483647 w 462"/>
                <a:gd name="T53" fmla="*/ 2147483647 h 210"/>
                <a:gd name="T54" fmla="*/ 2147483647 w 462"/>
                <a:gd name="T55" fmla="*/ 2147483647 h 210"/>
                <a:gd name="T56" fmla="*/ 2147483647 w 462"/>
                <a:gd name="T57" fmla="*/ 2147483647 h 210"/>
                <a:gd name="T58" fmla="*/ 2147483647 w 462"/>
                <a:gd name="T59" fmla="*/ 2147483647 h 210"/>
                <a:gd name="T60" fmla="*/ 2147483647 w 462"/>
                <a:gd name="T61" fmla="*/ 2147483647 h 210"/>
                <a:gd name="T62" fmla="*/ 2147483647 w 462"/>
                <a:gd name="T63" fmla="*/ 2147483647 h 210"/>
                <a:gd name="T64" fmla="*/ 2147483647 w 462"/>
                <a:gd name="T65" fmla="*/ 2147483647 h 210"/>
                <a:gd name="T66" fmla="*/ 2147483647 w 462"/>
                <a:gd name="T67" fmla="*/ 2147483647 h 210"/>
                <a:gd name="T68" fmla="*/ 2147483647 w 462"/>
                <a:gd name="T69" fmla="*/ 2147483647 h 210"/>
                <a:gd name="T70" fmla="*/ 2147483647 w 462"/>
                <a:gd name="T71" fmla="*/ 2147483647 h 210"/>
                <a:gd name="T72" fmla="*/ 2147483647 w 462"/>
                <a:gd name="T73" fmla="*/ 2147483647 h 210"/>
                <a:gd name="T74" fmla="*/ 2147483647 w 462"/>
                <a:gd name="T75" fmla="*/ 2147483647 h 210"/>
                <a:gd name="T76" fmla="*/ 2147483647 w 462"/>
                <a:gd name="T77" fmla="*/ 2147483647 h 210"/>
                <a:gd name="T78" fmla="*/ 2147483647 w 462"/>
                <a:gd name="T79" fmla="*/ 2147483647 h 210"/>
                <a:gd name="T80" fmla="*/ 2147483647 w 462"/>
                <a:gd name="T81" fmla="*/ 0 h 210"/>
                <a:gd name="T82" fmla="*/ 0 w 462"/>
                <a:gd name="T83" fmla="*/ 2147483647 h 210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62"/>
                <a:gd name="T127" fmla="*/ 0 h 210"/>
                <a:gd name="T128" fmla="*/ 462 w 462"/>
                <a:gd name="T129" fmla="*/ 210 h 210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62" h="210">
                  <a:moveTo>
                    <a:pt x="6" y="18"/>
                  </a:moveTo>
                  <a:lnTo>
                    <a:pt x="12" y="18"/>
                  </a:lnTo>
                  <a:lnTo>
                    <a:pt x="18" y="24"/>
                  </a:lnTo>
                  <a:lnTo>
                    <a:pt x="30" y="30"/>
                  </a:lnTo>
                  <a:lnTo>
                    <a:pt x="42" y="42"/>
                  </a:lnTo>
                  <a:lnTo>
                    <a:pt x="60" y="48"/>
                  </a:lnTo>
                  <a:lnTo>
                    <a:pt x="72" y="54"/>
                  </a:lnTo>
                  <a:lnTo>
                    <a:pt x="78" y="54"/>
                  </a:lnTo>
                  <a:lnTo>
                    <a:pt x="84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14"/>
                  </a:lnTo>
                  <a:lnTo>
                    <a:pt x="120" y="132"/>
                  </a:lnTo>
                  <a:lnTo>
                    <a:pt x="126" y="138"/>
                  </a:lnTo>
                  <a:lnTo>
                    <a:pt x="132" y="150"/>
                  </a:lnTo>
                  <a:lnTo>
                    <a:pt x="138" y="156"/>
                  </a:lnTo>
                  <a:lnTo>
                    <a:pt x="138" y="162"/>
                  </a:lnTo>
                  <a:lnTo>
                    <a:pt x="132" y="168"/>
                  </a:lnTo>
                  <a:lnTo>
                    <a:pt x="168" y="174"/>
                  </a:lnTo>
                  <a:lnTo>
                    <a:pt x="174" y="168"/>
                  </a:lnTo>
                  <a:lnTo>
                    <a:pt x="186" y="162"/>
                  </a:lnTo>
                  <a:lnTo>
                    <a:pt x="198" y="162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46" y="192"/>
                  </a:lnTo>
                  <a:lnTo>
                    <a:pt x="246" y="198"/>
                  </a:lnTo>
                  <a:lnTo>
                    <a:pt x="252" y="204"/>
                  </a:lnTo>
                  <a:lnTo>
                    <a:pt x="276" y="198"/>
                  </a:lnTo>
                  <a:lnTo>
                    <a:pt x="282" y="192"/>
                  </a:lnTo>
                  <a:lnTo>
                    <a:pt x="336" y="198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86"/>
                  </a:lnTo>
                  <a:lnTo>
                    <a:pt x="354" y="186"/>
                  </a:lnTo>
                  <a:lnTo>
                    <a:pt x="354" y="180"/>
                  </a:lnTo>
                  <a:lnTo>
                    <a:pt x="366" y="168"/>
                  </a:lnTo>
                  <a:lnTo>
                    <a:pt x="390" y="168"/>
                  </a:lnTo>
                  <a:lnTo>
                    <a:pt x="396" y="174"/>
                  </a:lnTo>
                  <a:lnTo>
                    <a:pt x="396" y="180"/>
                  </a:lnTo>
                  <a:lnTo>
                    <a:pt x="414" y="198"/>
                  </a:lnTo>
                  <a:lnTo>
                    <a:pt x="426" y="192"/>
                  </a:lnTo>
                  <a:lnTo>
                    <a:pt x="438" y="192"/>
                  </a:lnTo>
                  <a:lnTo>
                    <a:pt x="456" y="210"/>
                  </a:lnTo>
                  <a:lnTo>
                    <a:pt x="462" y="204"/>
                  </a:lnTo>
                  <a:lnTo>
                    <a:pt x="456" y="192"/>
                  </a:lnTo>
                  <a:lnTo>
                    <a:pt x="450" y="186"/>
                  </a:lnTo>
                  <a:lnTo>
                    <a:pt x="444" y="174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14" y="150"/>
                  </a:lnTo>
                  <a:lnTo>
                    <a:pt x="420" y="144"/>
                  </a:lnTo>
                  <a:lnTo>
                    <a:pt x="432" y="144"/>
                  </a:lnTo>
                  <a:lnTo>
                    <a:pt x="420" y="132"/>
                  </a:lnTo>
                  <a:lnTo>
                    <a:pt x="408" y="126"/>
                  </a:lnTo>
                  <a:lnTo>
                    <a:pt x="396" y="114"/>
                  </a:lnTo>
                  <a:lnTo>
                    <a:pt x="378" y="114"/>
                  </a:lnTo>
                  <a:lnTo>
                    <a:pt x="378" y="108"/>
                  </a:lnTo>
                  <a:lnTo>
                    <a:pt x="384" y="102"/>
                  </a:lnTo>
                  <a:lnTo>
                    <a:pt x="384" y="90"/>
                  </a:lnTo>
                  <a:lnTo>
                    <a:pt x="354" y="84"/>
                  </a:lnTo>
                  <a:lnTo>
                    <a:pt x="342" y="72"/>
                  </a:lnTo>
                  <a:lnTo>
                    <a:pt x="330" y="66"/>
                  </a:lnTo>
                  <a:lnTo>
                    <a:pt x="300" y="66"/>
                  </a:lnTo>
                  <a:lnTo>
                    <a:pt x="300" y="72"/>
                  </a:lnTo>
                  <a:lnTo>
                    <a:pt x="288" y="72"/>
                  </a:lnTo>
                  <a:lnTo>
                    <a:pt x="282" y="78"/>
                  </a:lnTo>
                  <a:lnTo>
                    <a:pt x="258" y="78"/>
                  </a:lnTo>
                  <a:lnTo>
                    <a:pt x="246" y="72"/>
                  </a:lnTo>
                  <a:lnTo>
                    <a:pt x="240" y="72"/>
                  </a:lnTo>
                  <a:lnTo>
                    <a:pt x="240" y="66"/>
                  </a:lnTo>
                  <a:lnTo>
                    <a:pt x="192" y="36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44" y="30"/>
                  </a:lnTo>
                  <a:lnTo>
                    <a:pt x="84" y="18"/>
                  </a:lnTo>
                  <a:lnTo>
                    <a:pt x="66" y="12"/>
                  </a:lnTo>
                  <a:lnTo>
                    <a:pt x="54" y="6"/>
                  </a:lnTo>
                  <a:lnTo>
                    <a:pt x="36" y="0"/>
                  </a:lnTo>
                  <a:lnTo>
                    <a:pt x="24" y="0"/>
                  </a:lnTo>
                  <a:lnTo>
                    <a:pt x="0" y="18"/>
                  </a:lnTo>
                  <a:lnTo>
                    <a:pt x="6" y="1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135" name="The Gambia" descr="© INSCALE GmbH, 05.05.2010&#10;http://www.presentationload.com/"/>
            <p:cNvSpPr>
              <a:spLocks/>
            </p:cNvSpPr>
            <p:nvPr/>
          </p:nvSpPr>
          <p:spPr bwMode="gray">
            <a:xfrm>
              <a:off x="4083068" y="3959629"/>
              <a:ext cx="70391" cy="15922"/>
            </a:xfrm>
            <a:custGeom>
              <a:avLst/>
              <a:gdLst>
                <a:gd name="T0" fmla="*/ 2147483647 w 216"/>
                <a:gd name="T1" fmla="*/ 2147483647 h 54"/>
                <a:gd name="T2" fmla="*/ 2147483647 w 216"/>
                <a:gd name="T3" fmla="*/ 2147483647 h 54"/>
                <a:gd name="T4" fmla="*/ 2147483647 w 216"/>
                <a:gd name="T5" fmla="*/ 2147483647 h 54"/>
                <a:gd name="T6" fmla="*/ 2147483647 w 216"/>
                <a:gd name="T7" fmla="*/ 2147483647 h 54"/>
                <a:gd name="T8" fmla="*/ 0 w 216"/>
                <a:gd name="T9" fmla="*/ 2147483647 h 54"/>
                <a:gd name="T10" fmla="*/ 0 w 216"/>
                <a:gd name="T11" fmla="*/ 2147483647 h 54"/>
                <a:gd name="T12" fmla="*/ 2147483647 w 216"/>
                <a:gd name="T13" fmla="*/ 2147483647 h 54"/>
                <a:gd name="T14" fmla="*/ 2147483647 w 216"/>
                <a:gd name="T15" fmla="*/ 2147483647 h 54"/>
                <a:gd name="T16" fmla="*/ 2147483647 w 216"/>
                <a:gd name="T17" fmla="*/ 2147483647 h 54"/>
                <a:gd name="T18" fmla="*/ 2147483647 w 216"/>
                <a:gd name="T19" fmla="*/ 2147483647 h 54"/>
                <a:gd name="T20" fmla="*/ 2147483647 w 216"/>
                <a:gd name="T21" fmla="*/ 2147483647 h 54"/>
                <a:gd name="T22" fmla="*/ 2147483647 w 216"/>
                <a:gd name="T23" fmla="*/ 2147483647 h 54"/>
                <a:gd name="T24" fmla="*/ 2147483647 w 216"/>
                <a:gd name="T25" fmla="*/ 2147483647 h 54"/>
                <a:gd name="T26" fmla="*/ 2147483647 w 216"/>
                <a:gd name="T27" fmla="*/ 2147483647 h 54"/>
                <a:gd name="T28" fmla="*/ 2147483647 w 216"/>
                <a:gd name="T29" fmla="*/ 2147483647 h 54"/>
                <a:gd name="T30" fmla="*/ 2147483647 w 216"/>
                <a:gd name="T31" fmla="*/ 2147483647 h 54"/>
                <a:gd name="T32" fmla="*/ 2147483647 w 216"/>
                <a:gd name="T33" fmla="*/ 2147483647 h 54"/>
                <a:gd name="T34" fmla="*/ 2147483647 w 216"/>
                <a:gd name="T35" fmla="*/ 2147483647 h 54"/>
                <a:gd name="T36" fmla="*/ 2147483647 w 216"/>
                <a:gd name="T37" fmla="*/ 2147483647 h 54"/>
                <a:gd name="T38" fmla="*/ 2147483647 w 216"/>
                <a:gd name="T39" fmla="*/ 2147483647 h 54"/>
                <a:gd name="T40" fmla="*/ 2147483647 w 216"/>
                <a:gd name="T41" fmla="*/ 2147483647 h 54"/>
                <a:gd name="T42" fmla="*/ 2147483647 w 216"/>
                <a:gd name="T43" fmla="*/ 2147483647 h 54"/>
                <a:gd name="T44" fmla="*/ 2147483647 w 216"/>
                <a:gd name="T45" fmla="*/ 2147483647 h 54"/>
                <a:gd name="T46" fmla="*/ 2147483647 w 216"/>
                <a:gd name="T47" fmla="*/ 2147483647 h 54"/>
                <a:gd name="T48" fmla="*/ 2147483647 w 216"/>
                <a:gd name="T49" fmla="*/ 2147483647 h 54"/>
                <a:gd name="T50" fmla="*/ 2147483647 w 216"/>
                <a:gd name="T51" fmla="*/ 2147483647 h 54"/>
                <a:gd name="T52" fmla="*/ 2147483647 w 216"/>
                <a:gd name="T53" fmla="*/ 2147483647 h 54"/>
                <a:gd name="T54" fmla="*/ 2147483647 w 216"/>
                <a:gd name="T55" fmla="*/ 2147483647 h 54"/>
                <a:gd name="T56" fmla="*/ 2147483647 w 216"/>
                <a:gd name="T57" fmla="*/ 2147483647 h 54"/>
                <a:gd name="T58" fmla="*/ 2147483647 w 216"/>
                <a:gd name="T59" fmla="*/ 0 h 54"/>
                <a:gd name="T60" fmla="*/ 2147483647 w 216"/>
                <a:gd name="T61" fmla="*/ 0 h 54"/>
                <a:gd name="T62" fmla="*/ 2147483647 w 216"/>
                <a:gd name="T63" fmla="*/ 2147483647 h 54"/>
                <a:gd name="T64" fmla="*/ 2147483647 w 216"/>
                <a:gd name="T65" fmla="*/ 2147483647 h 54"/>
                <a:gd name="T66" fmla="*/ 2147483647 w 216"/>
                <a:gd name="T67" fmla="*/ 2147483647 h 5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54"/>
                <a:gd name="T104" fmla="*/ 216 w 216"/>
                <a:gd name="T105" fmla="*/ 54 h 54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54">
                  <a:moveTo>
                    <a:pt x="18" y="18"/>
                  </a:moveTo>
                  <a:lnTo>
                    <a:pt x="12" y="24"/>
                  </a:lnTo>
                  <a:lnTo>
                    <a:pt x="6" y="36"/>
                  </a:lnTo>
                  <a:lnTo>
                    <a:pt x="6" y="42"/>
                  </a:lnTo>
                  <a:lnTo>
                    <a:pt x="0" y="48"/>
                  </a:lnTo>
                  <a:lnTo>
                    <a:pt x="0" y="54"/>
                  </a:lnTo>
                  <a:lnTo>
                    <a:pt x="72" y="54"/>
                  </a:lnTo>
                  <a:lnTo>
                    <a:pt x="72" y="42"/>
                  </a:lnTo>
                  <a:lnTo>
                    <a:pt x="84" y="42"/>
                  </a:lnTo>
                  <a:lnTo>
                    <a:pt x="90" y="36"/>
                  </a:lnTo>
                  <a:lnTo>
                    <a:pt x="114" y="36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32" y="24"/>
                  </a:lnTo>
                  <a:lnTo>
                    <a:pt x="144" y="30"/>
                  </a:lnTo>
                  <a:lnTo>
                    <a:pt x="150" y="42"/>
                  </a:lnTo>
                  <a:lnTo>
                    <a:pt x="168" y="48"/>
                  </a:lnTo>
                  <a:lnTo>
                    <a:pt x="192" y="48"/>
                  </a:lnTo>
                  <a:lnTo>
                    <a:pt x="198" y="42"/>
                  </a:lnTo>
                  <a:lnTo>
                    <a:pt x="210" y="36"/>
                  </a:lnTo>
                  <a:lnTo>
                    <a:pt x="216" y="30"/>
                  </a:lnTo>
                  <a:lnTo>
                    <a:pt x="216" y="24"/>
                  </a:lnTo>
                  <a:lnTo>
                    <a:pt x="210" y="18"/>
                  </a:lnTo>
                  <a:lnTo>
                    <a:pt x="186" y="18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62" y="12"/>
                  </a:lnTo>
                  <a:lnTo>
                    <a:pt x="156" y="6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90" y="0"/>
                  </a:lnTo>
                  <a:lnTo>
                    <a:pt x="90" y="12"/>
                  </a:lnTo>
                  <a:lnTo>
                    <a:pt x="18" y="12"/>
                  </a:lnTo>
                  <a:lnTo>
                    <a:pt x="18" y="1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136" name="Gabon" descr="© INSCALE GmbH, 05.05.2010&#10;http://www.presentationload.com/"/>
            <p:cNvSpPr>
              <a:spLocks/>
            </p:cNvSpPr>
            <p:nvPr/>
          </p:nvSpPr>
          <p:spPr bwMode="gray">
            <a:xfrm>
              <a:off x="4666675" y="4243780"/>
              <a:ext cx="135663" cy="159223"/>
            </a:xfrm>
            <a:custGeom>
              <a:avLst/>
              <a:gdLst>
                <a:gd name="T0" fmla="*/ 2147483647 w 420"/>
                <a:gd name="T1" fmla="*/ 2147483647 h 510"/>
                <a:gd name="T2" fmla="*/ 2147483647 w 420"/>
                <a:gd name="T3" fmla="*/ 2147483647 h 510"/>
                <a:gd name="T4" fmla="*/ 2147483647 w 420"/>
                <a:gd name="T5" fmla="*/ 2147483647 h 510"/>
                <a:gd name="T6" fmla="*/ 2147483647 w 420"/>
                <a:gd name="T7" fmla="*/ 2147483647 h 510"/>
                <a:gd name="T8" fmla="*/ 2147483647 w 420"/>
                <a:gd name="T9" fmla="*/ 2147483647 h 510"/>
                <a:gd name="T10" fmla="*/ 2147483647 w 420"/>
                <a:gd name="T11" fmla="*/ 2147483647 h 510"/>
                <a:gd name="T12" fmla="*/ 2147483647 w 420"/>
                <a:gd name="T13" fmla="*/ 2147483647 h 510"/>
                <a:gd name="T14" fmla="*/ 2147483647 w 420"/>
                <a:gd name="T15" fmla="*/ 2147483647 h 510"/>
                <a:gd name="T16" fmla="*/ 2147483647 w 420"/>
                <a:gd name="T17" fmla="*/ 2147483647 h 510"/>
                <a:gd name="T18" fmla="*/ 2147483647 w 420"/>
                <a:gd name="T19" fmla="*/ 2147483647 h 510"/>
                <a:gd name="T20" fmla="*/ 2147483647 w 420"/>
                <a:gd name="T21" fmla="*/ 2147483647 h 510"/>
                <a:gd name="T22" fmla="*/ 2147483647 w 420"/>
                <a:gd name="T23" fmla="*/ 2147483647 h 510"/>
                <a:gd name="T24" fmla="*/ 2147483647 w 420"/>
                <a:gd name="T25" fmla="*/ 2147483647 h 510"/>
                <a:gd name="T26" fmla="*/ 2147483647 w 420"/>
                <a:gd name="T27" fmla="*/ 2147483647 h 510"/>
                <a:gd name="T28" fmla="*/ 2147483647 w 420"/>
                <a:gd name="T29" fmla="*/ 2147483647 h 510"/>
                <a:gd name="T30" fmla="*/ 2147483647 w 420"/>
                <a:gd name="T31" fmla="*/ 2147483647 h 510"/>
                <a:gd name="T32" fmla="*/ 2147483647 w 420"/>
                <a:gd name="T33" fmla="*/ 2147483647 h 510"/>
                <a:gd name="T34" fmla="*/ 2147483647 w 420"/>
                <a:gd name="T35" fmla="*/ 2147483647 h 510"/>
                <a:gd name="T36" fmla="*/ 2147483647 w 420"/>
                <a:gd name="T37" fmla="*/ 2147483647 h 510"/>
                <a:gd name="T38" fmla="*/ 2147483647 w 420"/>
                <a:gd name="T39" fmla="*/ 2147483647 h 510"/>
                <a:gd name="T40" fmla="*/ 2147483647 w 420"/>
                <a:gd name="T41" fmla="*/ 2147483647 h 510"/>
                <a:gd name="T42" fmla="*/ 2147483647 w 420"/>
                <a:gd name="T43" fmla="*/ 2147483647 h 510"/>
                <a:gd name="T44" fmla="*/ 2147483647 w 420"/>
                <a:gd name="T45" fmla="*/ 2147483647 h 510"/>
                <a:gd name="T46" fmla="*/ 2147483647 w 420"/>
                <a:gd name="T47" fmla="*/ 2147483647 h 510"/>
                <a:gd name="T48" fmla="*/ 2147483647 w 420"/>
                <a:gd name="T49" fmla="*/ 2147483647 h 510"/>
                <a:gd name="T50" fmla="*/ 2147483647 w 420"/>
                <a:gd name="T51" fmla="*/ 2147483647 h 510"/>
                <a:gd name="T52" fmla="*/ 2147483647 w 420"/>
                <a:gd name="T53" fmla="*/ 2147483647 h 510"/>
                <a:gd name="T54" fmla="*/ 2147483647 w 420"/>
                <a:gd name="T55" fmla="*/ 2147483647 h 510"/>
                <a:gd name="T56" fmla="*/ 2147483647 w 420"/>
                <a:gd name="T57" fmla="*/ 2147483647 h 510"/>
                <a:gd name="T58" fmla="*/ 2147483647 w 420"/>
                <a:gd name="T59" fmla="*/ 2147483647 h 510"/>
                <a:gd name="T60" fmla="*/ 2147483647 w 420"/>
                <a:gd name="T61" fmla="*/ 2147483647 h 510"/>
                <a:gd name="T62" fmla="*/ 2147483647 w 420"/>
                <a:gd name="T63" fmla="*/ 2147483647 h 510"/>
                <a:gd name="T64" fmla="*/ 2147483647 w 420"/>
                <a:gd name="T65" fmla="*/ 2147483647 h 510"/>
                <a:gd name="T66" fmla="*/ 2147483647 w 420"/>
                <a:gd name="T67" fmla="*/ 2147483647 h 510"/>
                <a:gd name="T68" fmla="*/ 2147483647 w 420"/>
                <a:gd name="T69" fmla="*/ 2147483647 h 510"/>
                <a:gd name="T70" fmla="*/ 2147483647 w 420"/>
                <a:gd name="T71" fmla="*/ 2147483647 h 510"/>
                <a:gd name="T72" fmla="*/ 2147483647 w 420"/>
                <a:gd name="T73" fmla="*/ 2147483647 h 510"/>
                <a:gd name="T74" fmla="*/ 2147483647 w 420"/>
                <a:gd name="T75" fmla="*/ 2147483647 h 510"/>
                <a:gd name="T76" fmla="*/ 2147483647 w 420"/>
                <a:gd name="T77" fmla="*/ 2147483647 h 510"/>
                <a:gd name="T78" fmla="*/ 2147483647 w 420"/>
                <a:gd name="T79" fmla="*/ 2147483647 h 510"/>
                <a:gd name="T80" fmla="*/ 2147483647 w 420"/>
                <a:gd name="T81" fmla="*/ 2147483647 h 510"/>
                <a:gd name="T82" fmla="*/ 2147483647 w 420"/>
                <a:gd name="T83" fmla="*/ 2147483647 h 510"/>
                <a:gd name="T84" fmla="*/ 2147483647 w 420"/>
                <a:gd name="T85" fmla="*/ 2147483647 h 510"/>
                <a:gd name="T86" fmla="*/ 2147483647 w 420"/>
                <a:gd name="T87" fmla="*/ 2147483647 h 510"/>
                <a:gd name="T88" fmla="*/ 2147483647 w 420"/>
                <a:gd name="T89" fmla="*/ 2147483647 h 510"/>
                <a:gd name="T90" fmla="*/ 2147483647 w 420"/>
                <a:gd name="T91" fmla="*/ 2147483647 h 510"/>
                <a:gd name="T92" fmla="*/ 2147483647 w 420"/>
                <a:gd name="T93" fmla="*/ 2147483647 h 510"/>
                <a:gd name="T94" fmla="*/ 2147483647 w 420"/>
                <a:gd name="T95" fmla="*/ 2147483647 h 510"/>
                <a:gd name="T96" fmla="*/ 2147483647 w 420"/>
                <a:gd name="T97" fmla="*/ 2147483647 h 510"/>
                <a:gd name="T98" fmla="*/ 2147483647 w 420"/>
                <a:gd name="T99" fmla="*/ 2147483647 h 510"/>
                <a:gd name="T100" fmla="*/ 2147483647 w 420"/>
                <a:gd name="T101" fmla="*/ 2147483647 h 510"/>
                <a:gd name="T102" fmla="*/ 2147483647 w 420"/>
                <a:gd name="T103" fmla="*/ 2147483647 h 510"/>
                <a:gd name="T104" fmla="*/ 2147483647 w 420"/>
                <a:gd name="T105" fmla="*/ 2147483647 h 510"/>
                <a:gd name="T106" fmla="*/ 2147483647 w 420"/>
                <a:gd name="T107" fmla="*/ 2147483647 h 510"/>
                <a:gd name="T108" fmla="*/ 2147483647 w 420"/>
                <a:gd name="T109" fmla="*/ 2147483647 h 510"/>
                <a:gd name="T110" fmla="*/ 2147483647 w 420"/>
                <a:gd name="T111" fmla="*/ 2147483647 h 51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420"/>
                <a:gd name="T169" fmla="*/ 0 h 510"/>
                <a:gd name="T170" fmla="*/ 420 w 420"/>
                <a:gd name="T171" fmla="*/ 510 h 51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420" h="510">
                  <a:moveTo>
                    <a:pt x="420" y="240"/>
                  </a:moveTo>
                  <a:lnTo>
                    <a:pt x="414" y="234"/>
                  </a:lnTo>
                  <a:lnTo>
                    <a:pt x="396" y="234"/>
                  </a:lnTo>
                  <a:lnTo>
                    <a:pt x="390" y="216"/>
                  </a:lnTo>
                  <a:lnTo>
                    <a:pt x="372" y="210"/>
                  </a:lnTo>
                  <a:lnTo>
                    <a:pt x="372" y="174"/>
                  </a:lnTo>
                  <a:lnTo>
                    <a:pt x="384" y="150"/>
                  </a:lnTo>
                  <a:lnTo>
                    <a:pt x="396" y="150"/>
                  </a:lnTo>
                  <a:lnTo>
                    <a:pt x="402" y="144"/>
                  </a:lnTo>
                  <a:lnTo>
                    <a:pt x="408" y="132"/>
                  </a:lnTo>
                  <a:lnTo>
                    <a:pt x="414" y="126"/>
                  </a:lnTo>
                  <a:lnTo>
                    <a:pt x="414" y="114"/>
                  </a:lnTo>
                  <a:lnTo>
                    <a:pt x="402" y="108"/>
                  </a:lnTo>
                  <a:lnTo>
                    <a:pt x="402" y="90"/>
                  </a:lnTo>
                  <a:lnTo>
                    <a:pt x="396" y="84"/>
                  </a:lnTo>
                  <a:lnTo>
                    <a:pt x="396" y="7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60" y="72"/>
                  </a:lnTo>
                  <a:lnTo>
                    <a:pt x="360" y="90"/>
                  </a:lnTo>
                  <a:lnTo>
                    <a:pt x="354" y="96"/>
                  </a:lnTo>
                  <a:lnTo>
                    <a:pt x="330" y="96"/>
                  </a:lnTo>
                  <a:lnTo>
                    <a:pt x="324" y="90"/>
                  </a:lnTo>
                  <a:lnTo>
                    <a:pt x="318" y="54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288" y="12"/>
                  </a:lnTo>
                  <a:lnTo>
                    <a:pt x="282" y="12"/>
                  </a:lnTo>
                  <a:lnTo>
                    <a:pt x="270" y="6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22" y="18"/>
                  </a:lnTo>
                  <a:lnTo>
                    <a:pt x="210" y="0"/>
                  </a:lnTo>
                  <a:lnTo>
                    <a:pt x="192" y="18"/>
                  </a:lnTo>
                  <a:lnTo>
                    <a:pt x="186" y="54"/>
                  </a:lnTo>
                  <a:lnTo>
                    <a:pt x="192" y="60"/>
                  </a:lnTo>
                  <a:lnTo>
                    <a:pt x="192" y="90"/>
                  </a:lnTo>
                  <a:lnTo>
                    <a:pt x="186" y="108"/>
                  </a:lnTo>
                  <a:lnTo>
                    <a:pt x="186" y="114"/>
                  </a:lnTo>
                  <a:lnTo>
                    <a:pt x="84" y="114"/>
                  </a:lnTo>
                  <a:lnTo>
                    <a:pt x="84" y="108"/>
                  </a:lnTo>
                  <a:lnTo>
                    <a:pt x="72" y="108"/>
                  </a:lnTo>
                  <a:lnTo>
                    <a:pt x="60" y="120"/>
                  </a:lnTo>
                  <a:lnTo>
                    <a:pt x="60" y="126"/>
                  </a:lnTo>
                  <a:lnTo>
                    <a:pt x="66" y="132"/>
                  </a:lnTo>
                  <a:lnTo>
                    <a:pt x="66" y="144"/>
                  </a:lnTo>
                  <a:lnTo>
                    <a:pt x="72" y="150"/>
                  </a:lnTo>
                  <a:lnTo>
                    <a:pt x="72" y="162"/>
                  </a:lnTo>
                  <a:lnTo>
                    <a:pt x="48" y="162"/>
                  </a:lnTo>
                  <a:lnTo>
                    <a:pt x="48" y="210"/>
                  </a:lnTo>
                  <a:lnTo>
                    <a:pt x="42" y="228"/>
                  </a:lnTo>
                  <a:lnTo>
                    <a:pt x="36" y="240"/>
                  </a:lnTo>
                  <a:lnTo>
                    <a:pt x="30" y="246"/>
                  </a:lnTo>
                  <a:lnTo>
                    <a:pt x="18" y="252"/>
                  </a:lnTo>
                  <a:lnTo>
                    <a:pt x="0" y="252"/>
                  </a:lnTo>
                  <a:lnTo>
                    <a:pt x="30" y="306"/>
                  </a:lnTo>
                  <a:lnTo>
                    <a:pt x="42" y="294"/>
                  </a:lnTo>
                  <a:lnTo>
                    <a:pt x="54" y="312"/>
                  </a:lnTo>
                  <a:lnTo>
                    <a:pt x="48" y="318"/>
                  </a:lnTo>
                  <a:lnTo>
                    <a:pt x="48" y="330"/>
                  </a:lnTo>
                  <a:lnTo>
                    <a:pt x="42" y="336"/>
                  </a:lnTo>
                  <a:lnTo>
                    <a:pt x="42" y="342"/>
                  </a:lnTo>
                  <a:lnTo>
                    <a:pt x="48" y="348"/>
                  </a:lnTo>
                  <a:lnTo>
                    <a:pt x="66" y="348"/>
                  </a:lnTo>
                  <a:lnTo>
                    <a:pt x="72" y="390"/>
                  </a:lnTo>
                  <a:lnTo>
                    <a:pt x="102" y="396"/>
                  </a:lnTo>
                  <a:lnTo>
                    <a:pt x="96" y="408"/>
                  </a:lnTo>
                  <a:lnTo>
                    <a:pt x="144" y="462"/>
                  </a:lnTo>
                  <a:lnTo>
                    <a:pt x="138" y="468"/>
                  </a:lnTo>
                  <a:lnTo>
                    <a:pt x="174" y="510"/>
                  </a:lnTo>
                  <a:lnTo>
                    <a:pt x="180" y="492"/>
                  </a:lnTo>
                  <a:lnTo>
                    <a:pt x="204" y="480"/>
                  </a:lnTo>
                  <a:lnTo>
                    <a:pt x="222" y="498"/>
                  </a:lnTo>
                  <a:lnTo>
                    <a:pt x="228" y="492"/>
                  </a:lnTo>
                  <a:lnTo>
                    <a:pt x="228" y="456"/>
                  </a:lnTo>
                  <a:lnTo>
                    <a:pt x="210" y="444"/>
                  </a:lnTo>
                  <a:lnTo>
                    <a:pt x="228" y="432"/>
                  </a:lnTo>
                  <a:lnTo>
                    <a:pt x="198" y="414"/>
                  </a:lnTo>
                  <a:lnTo>
                    <a:pt x="210" y="414"/>
                  </a:lnTo>
                  <a:lnTo>
                    <a:pt x="210" y="402"/>
                  </a:lnTo>
                  <a:lnTo>
                    <a:pt x="204" y="396"/>
                  </a:lnTo>
                  <a:lnTo>
                    <a:pt x="204" y="378"/>
                  </a:lnTo>
                  <a:lnTo>
                    <a:pt x="210" y="378"/>
                  </a:lnTo>
                  <a:lnTo>
                    <a:pt x="216" y="384"/>
                  </a:lnTo>
                  <a:lnTo>
                    <a:pt x="228" y="384"/>
                  </a:lnTo>
                  <a:lnTo>
                    <a:pt x="240" y="390"/>
                  </a:lnTo>
                  <a:lnTo>
                    <a:pt x="258" y="390"/>
                  </a:lnTo>
                  <a:lnTo>
                    <a:pt x="264" y="384"/>
                  </a:lnTo>
                  <a:lnTo>
                    <a:pt x="270" y="372"/>
                  </a:lnTo>
                  <a:lnTo>
                    <a:pt x="282" y="366"/>
                  </a:lnTo>
                  <a:lnTo>
                    <a:pt x="264" y="348"/>
                  </a:lnTo>
                  <a:lnTo>
                    <a:pt x="264" y="342"/>
                  </a:lnTo>
                  <a:lnTo>
                    <a:pt x="294" y="342"/>
                  </a:lnTo>
                  <a:lnTo>
                    <a:pt x="312" y="384"/>
                  </a:lnTo>
                  <a:lnTo>
                    <a:pt x="342" y="384"/>
                  </a:lnTo>
                  <a:lnTo>
                    <a:pt x="348" y="378"/>
                  </a:lnTo>
                  <a:lnTo>
                    <a:pt x="354" y="366"/>
                  </a:lnTo>
                  <a:lnTo>
                    <a:pt x="360" y="360"/>
                  </a:lnTo>
                  <a:lnTo>
                    <a:pt x="366" y="360"/>
                  </a:lnTo>
                  <a:lnTo>
                    <a:pt x="366" y="390"/>
                  </a:lnTo>
                  <a:lnTo>
                    <a:pt x="372" y="396"/>
                  </a:lnTo>
                  <a:lnTo>
                    <a:pt x="384" y="396"/>
                  </a:lnTo>
                  <a:lnTo>
                    <a:pt x="390" y="390"/>
                  </a:lnTo>
                  <a:lnTo>
                    <a:pt x="396" y="378"/>
                  </a:lnTo>
                  <a:lnTo>
                    <a:pt x="396" y="354"/>
                  </a:lnTo>
                  <a:lnTo>
                    <a:pt x="408" y="348"/>
                  </a:lnTo>
                  <a:lnTo>
                    <a:pt x="414" y="342"/>
                  </a:lnTo>
                  <a:lnTo>
                    <a:pt x="408" y="318"/>
                  </a:lnTo>
                  <a:lnTo>
                    <a:pt x="414" y="306"/>
                  </a:lnTo>
                  <a:lnTo>
                    <a:pt x="414" y="258"/>
                  </a:lnTo>
                  <a:lnTo>
                    <a:pt x="420" y="252"/>
                  </a:lnTo>
                  <a:lnTo>
                    <a:pt x="420" y="24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137" name="France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4394069" y="3027565"/>
              <a:ext cx="295644" cy="244958"/>
            </a:xfrm>
            <a:custGeom>
              <a:avLst/>
              <a:gdLst>
                <a:gd name="T0" fmla="*/ 2147483647 w 230"/>
                <a:gd name="T1" fmla="*/ 2147483647 h 198"/>
                <a:gd name="T2" fmla="*/ 2147483647 w 230"/>
                <a:gd name="T3" fmla="*/ 2147483647 h 198"/>
                <a:gd name="T4" fmla="*/ 2147483647 w 230"/>
                <a:gd name="T5" fmla="*/ 2147483647 h 198"/>
                <a:gd name="T6" fmla="*/ 2147483647 w 230"/>
                <a:gd name="T7" fmla="*/ 2147483647 h 198"/>
                <a:gd name="T8" fmla="*/ 2147483647 w 230"/>
                <a:gd name="T9" fmla="*/ 2147483647 h 198"/>
                <a:gd name="T10" fmla="*/ 2147483647 w 230"/>
                <a:gd name="T11" fmla="*/ 2147483647 h 198"/>
                <a:gd name="T12" fmla="*/ 2147483647 w 230"/>
                <a:gd name="T13" fmla="*/ 2147483647 h 198"/>
                <a:gd name="T14" fmla="*/ 2147483647 w 230"/>
                <a:gd name="T15" fmla="*/ 2147483647 h 198"/>
                <a:gd name="T16" fmla="*/ 2147483647 w 230"/>
                <a:gd name="T17" fmla="*/ 2147483647 h 198"/>
                <a:gd name="T18" fmla="*/ 2147483647 w 230"/>
                <a:gd name="T19" fmla="*/ 2147483647 h 198"/>
                <a:gd name="T20" fmla="*/ 2147483647 w 230"/>
                <a:gd name="T21" fmla="*/ 2147483647 h 198"/>
                <a:gd name="T22" fmla="*/ 2147483647 w 230"/>
                <a:gd name="T23" fmla="*/ 2147483647 h 198"/>
                <a:gd name="T24" fmla="*/ 2147483647 w 230"/>
                <a:gd name="T25" fmla="*/ 2147483647 h 198"/>
                <a:gd name="T26" fmla="*/ 2147483647 w 230"/>
                <a:gd name="T27" fmla="*/ 2147483647 h 198"/>
                <a:gd name="T28" fmla="*/ 2147483647 w 230"/>
                <a:gd name="T29" fmla="*/ 2147483647 h 198"/>
                <a:gd name="T30" fmla="*/ 2147483647 w 230"/>
                <a:gd name="T31" fmla="*/ 2147483647 h 198"/>
                <a:gd name="T32" fmla="*/ 2147483647 w 230"/>
                <a:gd name="T33" fmla="*/ 2147483647 h 198"/>
                <a:gd name="T34" fmla="*/ 2147483647 w 230"/>
                <a:gd name="T35" fmla="*/ 2147483647 h 198"/>
                <a:gd name="T36" fmla="*/ 2147483647 w 230"/>
                <a:gd name="T37" fmla="*/ 2147483647 h 198"/>
                <a:gd name="T38" fmla="*/ 2147483647 w 230"/>
                <a:gd name="T39" fmla="*/ 2147483647 h 198"/>
                <a:gd name="T40" fmla="*/ 2147483647 w 230"/>
                <a:gd name="T41" fmla="*/ 2147483647 h 198"/>
                <a:gd name="T42" fmla="*/ 2147483647 w 230"/>
                <a:gd name="T43" fmla="*/ 2147483647 h 198"/>
                <a:gd name="T44" fmla="*/ 2147483647 w 230"/>
                <a:gd name="T45" fmla="*/ 2147483647 h 198"/>
                <a:gd name="T46" fmla="*/ 2147483647 w 230"/>
                <a:gd name="T47" fmla="*/ 2147483647 h 198"/>
                <a:gd name="T48" fmla="*/ 2147483647 w 230"/>
                <a:gd name="T49" fmla="*/ 2147483647 h 198"/>
                <a:gd name="T50" fmla="*/ 2147483647 w 230"/>
                <a:gd name="T51" fmla="*/ 2147483647 h 198"/>
                <a:gd name="T52" fmla="*/ 2147483647 w 230"/>
                <a:gd name="T53" fmla="*/ 2147483647 h 198"/>
                <a:gd name="T54" fmla="*/ 2147483647 w 230"/>
                <a:gd name="T55" fmla="*/ 2147483647 h 198"/>
                <a:gd name="T56" fmla="*/ 2147483647 w 230"/>
                <a:gd name="T57" fmla="*/ 2147483647 h 198"/>
                <a:gd name="T58" fmla="*/ 2147483647 w 230"/>
                <a:gd name="T59" fmla="*/ 2147483647 h 198"/>
                <a:gd name="T60" fmla="*/ 2147483647 w 230"/>
                <a:gd name="T61" fmla="*/ 2147483647 h 198"/>
                <a:gd name="T62" fmla="*/ 2147483647 w 230"/>
                <a:gd name="T63" fmla="*/ 2147483647 h 198"/>
                <a:gd name="T64" fmla="*/ 2147483647 w 230"/>
                <a:gd name="T65" fmla="*/ 2147483647 h 198"/>
                <a:gd name="T66" fmla="*/ 2147483647 w 230"/>
                <a:gd name="T67" fmla="*/ 2147483647 h 198"/>
                <a:gd name="T68" fmla="*/ 2147483647 w 230"/>
                <a:gd name="T69" fmla="*/ 2147483647 h 198"/>
                <a:gd name="T70" fmla="*/ 2147483647 w 230"/>
                <a:gd name="T71" fmla="*/ 2147483647 h 198"/>
                <a:gd name="T72" fmla="*/ 2147483647 w 230"/>
                <a:gd name="T73" fmla="*/ 2147483647 h 198"/>
                <a:gd name="T74" fmla="*/ 2147483647 w 230"/>
                <a:gd name="T75" fmla="*/ 2147483647 h 198"/>
                <a:gd name="T76" fmla="*/ 2147483647 w 230"/>
                <a:gd name="T77" fmla="*/ 2147483647 h 198"/>
                <a:gd name="T78" fmla="*/ 2147483647 w 230"/>
                <a:gd name="T79" fmla="*/ 2147483647 h 198"/>
                <a:gd name="T80" fmla="*/ 2147483647 w 230"/>
                <a:gd name="T81" fmla="*/ 2147483647 h 198"/>
                <a:gd name="T82" fmla="*/ 2147483647 w 230"/>
                <a:gd name="T83" fmla="*/ 2147483647 h 198"/>
                <a:gd name="T84" fmla="*/ 2147483647 w 230"/>
                <a:gd name="T85" fmla="*/ 2147483647 h 198"/>
                <a:gd name="T86" fmla="*/ 2147483647 w 230"/>
                <a:gd name="T87" fmla="*/ 2147483647 h 198"/>
                <a:gd name="T88" fmla="*/ 2147483647 w 230"/>
                <a:gd name="T89" fmla="*/ 2147483647 h 198"/>
                <a:gd name="T90" fmla="*/ 2147483647 w 230"/>
                <a:gd name="T91" fmla="*/ 2147483647 h 198"/>
                <a:gd name="T92" fmla="*/ 2147483647 w 230"/>
                <a:gd name="T93" fmla="*/ 2147483647 h 198"/>
                <a:gd name="T94" fmla="*/ 2147483647 w 230"/>
                <a:gd name="T95" fmla="*/ 2147483647 h 198"/>
                <a:gd name="T96" fmla="*/ 2147483647 w 230"/>
                <a:gd name="T97" fmla="*/ 2147483647 h 198"/>
                <a:gd name="T98" fmla="*/ 2147483647 w 230"/>
                <a:gd name="T99" fmla="*/ 2147483647 h 198"/>
                <a:gd name="T100" fmla="*/ 2147483647 w 230"/>
                <a:gd name="T101" fmla="*/ 2147483647 h 198"/>
                <a:gd name="T102" fmla="*/ 2147483647 w 230"/>
                <a:gd name="T103" fmla="*/ 2147483647 h 198"/>
                <a:gd name="T104" fmla="*/ 2147483647 w 230"/>
                <a:gd name="T105" fmla="*/ 2147483647 h 198"/>
                <a:gd name="T106" fmla="*/ 2147483647 w 230"/>
                <a:gd name="T107" fmla="*/ 2147483647 h 198"/>
                <a:gd name="T108" fmla="*/ 2147483647 w 230"/>
                <a:gd name="T109" fmla="*/ 2147483647 h 198"/>
                <a:gd name="T110" fmla="*/ 2147483647 w 230"/>
                <a:gd name="T111" fmla="*/ 2147483647 h 198"/>
                <a:gd name="T112" fmla="*/ 2147483647 w 230"/>
                <a:gd name="T113" fmla="*/ 2147483647 h 198"/>
                <a:gd name="T114" fmla="*/ 2147483647 w 230"/>
                <a:gd name="T115" fmla="*/ 2147483647 h 198"/>
                <a:gd name="T116" fmla="*/ 2147483647 w 230"/>
                <a:gd name="T117" fmla="*/ 2147483647 h 198"/>
                <a:gd name="T118" fmla="*/ 2147483647 w 230"/>
                <a:gd name="T119" fmla="*/ 2147483647 h 198"/>
                <a:gd name="T120" fmla="*/ 2147483647 w 230"/>
                <a:gd name="T121" fmla="*/ 2147483647 h 19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30"/>
                <a:gd name="T184" fmla="*/ 0 h 198"/>
                <a:gd name="T185" fmla="*/ 230 w 230"/>
                <a:gd name="T186" fmla="*/ 198 h 19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30" h="198">
                  <a:moveTo>
                    <a:pt x="230" y="172"/>
                  </a:moveTo>
                  <a:lnTo>
                    <a:pt x="230" y="172"/>
                  </a:lnTo>
                  <a:lnTo>
                    <a:pt x="230" y="166"/>
                  </a:lnTo>
                  <a:lnTo>
                    <a:pt x="228" y="166"/>
                  </a:lnTo>
                  <a:lnTo>
                    <a:pt x="224" y="168"/>
                  </a:lnTo>
                  <a:lnTo>
                    <a:pt x="224" y="170"/>
                  </a:lnTo>
                  <a:lnTo>
                    <a:pt x="220" y="172"/>
                  </a:lnTo>
                  <a:lnTo>
                    <a:pt x="218" y="174"/>
                  </a:lnTo>
                  <a:lnTo>
                    <a:pt x="216" y="178"/>
                  </a:lnTo>
                  <a:lnTo>
                    <a:pt x="216" y="182"/>
                  </a:lnTo>
                  <a:lnTo>
                    <a:pt x="218" y="186"/>
                  </a:lnTo>
                  <a:lnTo>
                    <a:pt x="218" y="190"/>
                  </a:lnTo>
                  <a:lnTo>
                    <a:pt x="218" y="192"/>
                  </a:lnTo>
                  <a:lnTo>
                    <a:pt x="218" y="194"/>
                  </a:lnTo>
                  <a:lnTo>
                    <a:pt x="222" y="196"/>
                  </a:lnTo>
                  <a:lnTo>
                    <a:pt x="224" y="198"/>
                  </a:lnTo>
                  <a:lnTo>
                    <a:pt x="230" y="192"/>
                  </a:lnTo>
                  <a:lnTo>
                    <a:pt x="230" y="186"/>
                  </a:lnTo>
                  <a:lnTo>
                    <a:pt x="228" y="186"/>
                  </a:lnTo>
                  <a:lnTo>
                    <a:pt x="230" y="184"/>
                  </a:lnTo>
                  <a:lnTo>
                    <a:pt x="230" y="172"/>
                  </a:lnTo>
                  <a:close/>
                  <a:moveTo>
                    <a:pt x="198" y="40"/>
                  </a:moveTo>
                  <a:lnTo>
                    <a:pt x="198" y="40"/>
                  </a:lnTo>
                  <a:lnTo>
                    <a:pt x="196" y="40"/>
                  </a:lnTo>
                  <a:lnTo>
                    <a:pt x="192" y="40"/>
                  </a:lnTo>
                  <a:lnTo>
                    <a:pt x="190" y="40"/>
                  </a:lnTo>
                  <a:lnTo>
                    <a:pt x="184" y="40"/>
                  </a:lnTo>
                  <a:lnTo>
                    <a:pt x="184" y="34"/>
                  </a:lnTo>
                  <a:lnTo>
                    <a:pt x="182" y="34"/>
                  </a:lnTo>
                  <a:lnTo>
                    <a:pt x="182" y="32"/>
                  </a:lnTo>
                  <a:lnTo>
                    <a:pt x="178" y="30"/>
                  </a:lnTo>
                  <a:lnTo>
                    <a:pt x="174" y="34"/>
                  </a:lnTo>
                  <a:lnTo>
                    <a:pt x="172" y="32"/>
                  </a:lnTo>
                  <a:lnTo>
                    <a:pt x="166" y="32"/>
                  </a:lnTo>
                  <a:lnTo>
                    <a:pt x="164" y="28"/>
                  </a:lnTo>
                  <a:lnTo>
                    <a:pt x="162" y="28"/>
                  </a:lnTo>
                  <a:lnTo>
                    <a:pt x="158" y="28"/>
                  </a:lnTo>
                  <a:lnTo>
                    <a:pt x="156" y="28"/>
                  </a:lnTo>
                  <a:lnTo>
                    <a:pt x="156" y="22"/>
                  </a:lnTo>
                  <a:lnTo>
                    <a:pt x="152" y="24"/>
                  </a:lnTo>
                  <a:lnTo>
                    <a:pt x="146" y="24"/>
                  </a:lnTo>
                  <a:lnTo>
                    <a:pt x="146" y="18"/>
                  </a:lnTo>
                  <a:lnTo>
                    <a:pt x="144" y="16"/>
                  </a:lnTo>
                  <a:lnTo>
                    <a:pt x="142" y="14"/>
                  </a:lnTo>
                  <a:lnTo>
                    <a:pt x="136" y="14"/>
                  </a:lnTo>
                  <a:lnTo>
                    <a:pt x="132" y="12"/>
                  </a:lnTo>
                  <a:lnTo>
                    <a:pt x="126" y="10"/>
                  </a:lnTo>
                  <a:lnTo>
                    <a:pt x="126" y="6"/>
                  </a:lnTo>
                  <a:lnTo>
                    <a:pt x="126" y="0"/>
                  </a:lnTo>
                  <a:lnTo>
                    <a:pt x="118" y="0"/>
                  </a:lnTo>
                  <a:lnTo>
                    <a:pt x="114" y="2"/>
                  </a:lnTo>
                  <a:lnTo>
                    <a:pt x="112" y="2"/>
                  </a:lnTo>
                  <a:lnTo>
                    <a:pt x="110" y="4"/>
                  </a:lnTo>
                  <a:lnTo>
                    <a:pt x="104" y="4"/>
                  </a:lnTo>
                  <a:lnTo>
                    <a:pt x="104" y="6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6" y="14"/>
                  </a:lnTo>
                  <a:lnTo>
                    <a:pt x="106" y="20"/>
                  </a:lnTo>
                  <a:lnTo>
                    <a:pt x="104" y="22"/>
                  </a:lnTo>
                  <a:lnTo>
                    <a:pt x="98" y="24"/>
                  </a:lnTo>
                  <a:lnTo>
                    <a:pt x="92" y="24"/>
                  </a:lnTo>
                  <a:lnTo>
                    <a:pt x="82" y="32"/>
                  </a:lnTo>
                  <a:lnTo>
                    <a:pt x="86" y="34"/>
                  </a:lnTo>
                  <a:lnTo>
                    <a:pt x="84" y="34"/>
                  </a:lnTo>
                  <a:lnTo>
                    <a:pt x="82" y="34"/>
                  </a:lnTo>
                  <a:lnTo>
                    <a:pt x="76" y="38"/>
                  </a:lnTo>
                  <a:lnTo>
                    <a:pt x="68" y="38"/>
                  </a:lnTo>
                  <a:lnTo>
                    <a:pt x="66" y="36"/>
                  </a:lnTo>
                  <a:lnTo>
                    <a:pt x="60" y="30"/>
                  </a:lnTo>
                  <a:lnTo>
                    <a:pt x="58" y="30"/>
                  </a:lnTo>
                  <a:lnTo>
                    <a:pt x="56" y="28"/>
                  </a:lnTo>
                  <a:lnTo>
                    <a:pt x="52" y="28"/>
                  </a:lnTo>
                  <a:lnTo>
                    <a:pt x="52" y="30"/>
                  </a:lnTo>
                  <a:lnTo>
                    <a:pt x="52" y="34"/>
                  </a:lnTo>
                  <a:lnTo>
                    <a:pt x="54" y="34"/>
                  </a:lnTo>
                  <a:lnTo>
                    <a:pt x="56" y="38"/>
                  </a:lnTo>
                  <a:lnTo>
                    <a:pt x="58" y="40"/>
                  </a:lnTo>
                  <a:lnTo>
                    <a:pt x="58" y="46"/>
                  </a:lnTo>
                  <a:lnTo>
                    <a:pt x="56" y="48"/>
                  </a:lnTo>
                  <a:lnTo>
                    <a:pt x="54" y="48"/>
                  </a:lnTo>
                  <a:lnTo>
                    <a:pt x="48" y="48"/>
                  </a:lnTo>
                  <a:lnTo>
                    <a:pt x="38" y="48"/>
                  </a:lnTo>
                  <a:lnTo>
                    <a:pt x="38" y="54"/>
                  </a:lnTo>
                  <a:lnTo>
                    <a:pt x="36" y="52"/>
                  </a:lnTo>
                  <a:lnTo>
                    <a:pt x="34" y="48"/>
                  </a:lnTo>
                  <a:lnTo>
                    <a:pt x="32" y="48"/>
                  </a:lnTo>
                  <a:lnTo>
                    <a:pt x="30" y="46"/>
                  </a:lnTo>
                  <a:lnTo>
                    <a:pt x="26" y="46"/>
                  </a:lnTo>
                  <a:lnTo>
                    <a:pt x="24" y="48"/>
                  </a:lnTo>
                  <a:lnTo>
                    <a:pt x="22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2" y="50"/>
                  </a:lnTo>
                  <a:lnTo>
                    <a:pt x="8" y="50"/>
                  </a:lnTo>
                  <a:lnTo>
                    <a:pt x="6" y="52"/>
                  </a:lnTo>
                  <a:lnTo>
                    <a:pt x="4" y="54"/>
                  </a:lnTo>
                  <a:lnTo>
                    <a:pt x="6" y="56"/>
                  </a:lnTo>
                  <a:lnTo>
                    <a:pt x="8" y="56"/>
                  </a:lnTo>
                  <a:lnTo>
                    <a:pt x="10" y="58"/>
                  </a:lnTo>
                  <a:lnTo>
                    <a:pt x="10" y="60"/>
                  </a:lnTo>
                  <a:lnTo>
                    <a:pt x="6" y="60"/>
                  </a:lnTo>
                  <a:lnTo>
                    <a:pt x="2" y="60"/>
                  </a:lnTo>
                  <a:lnTo>
                    <a:pt x="0" y="60"/>
                  </a:lnTo>
                  <a:lnTo>
                    <a:pt x="0" y="62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12" y="64"/>
                  </a:lnTo>
                  <a:lnTo>
                    <a:pt x="26" y="72"/>
                  </a:lnTo>
                  <a:lnTo>
                    <a:pt x="32" y="72"/>
                  </a:lnTo>
                  <a:lnTo>
                    <a:pt x="38" y="76"/>
                  </a:lnTo>
                  <a:lnTo>
                    <a:pt x="48" y="76"/>
                  </a:lnTo>
                  <a:lnTo>
                    <a:pt x="40" y="80"/>
                  </a:lnTo>
                  <a:lnTo>
                    <a:pt x="42" y="84"/>
                  </a:lnTo>
                  <a:lnTo>
                    <a:pt x="44" y="86"/>
                  </a:lnTo>
                  <a:lnTo>
                    <a:pt x="46" y="92"/>
                  </a:lnTo>
                  <a:lnTo>
                    <a:pt x="52" y="96"/>
                  </a:lnTo>
                  <a:lnTo>
                    <a:pt x="58" y="96"/>
                  </a:lnTo>
                  <a:lnTo>
                    <a:pt x="58" y="106"/>
                  </a:lnTo>
                  <a:lnTo>
                    <a:pt x="62" y="114"/>
                  </a:lnTo>
                  <a:lnTo>
                    <a:pt x="66" y="124"/>
                  </a:lnTo>
                  <a:lnTo>
                    <a:pt x="58" y="114"/>
                  </a:lnTo>
                  <a:lnTo>
                    <a:pt x="58" y="118"/>
                  </a:lnTo>
                  <a:lnTo>
                    <a:pt x="56" y="120"/>
                  </a:lnTo>
                  <a:lnTo>
                    <a:pt x="56" y="132"/>
                  </a:lnTo>
                  <a:lnTo>
                    <a:pt x="54" y="134"/>
                  </a:lnTo>
                  <a:lnTo>
                    <a:pt x="52" y="144"/>
                  </a:lnTo>
                  <a:lnTo>
                    <a:pt x="52" y="146"/>
                  </a:lnTo>
                  <a:lnTo>
                    <a:pt x="50" y="150"/>
                  </a:lnTo>
                  <a:lnTo>
                    <a:pt x="50" y="152"/>
                  </a:lnTo>
                  <a:lnTo>
                    <a:pt x="48" y="152"/>
                  </a:lnTo>
                  <a:lnTo>
                    <a:pt x="48" y="154"/>
                  </a:lnTo>
                  <a:lnTo>
                    <a:pt x="46" y="156"/>
                  </a:lnTo>
                  <a:lnTo>
                    <a:pt x="44" y="158"/>
                  </a:lnTo>
                  <a:lnTo>
                    <a:pt x="46" y="160"/>
                  </a:lnTo>
                  <a:lnTo>
                    <a:pt x="46" y="158"/>
                  </a:lnTo>
                  <a:lnTo>
                    <a:pt x="48" y="158"/>
                  </a:lnTo>
                  <a:lnTo>
                    <a:pt x="52" y="160"/>
                  </a:lnTo>
                  <a:lnTo>
                    <a:pt x="52" y="162"/>
                  </a:lnTo>
                  <a:lnTo>
                    <a:pt x="50" y="164"/>
                  </a:lnTo>
                  <a:lnTo>
                    <a:pt x="60" y="164"/>
                  </a:lnTo>
                  <a:lnTo>
                    <a:pt x="64" y="168"/>
                  </a:lnTo>
                  <a:lnTo>
                    <a:pt x="66" y="166"/>
                  </a:lnTo>
                  <a:lnTo>
                    <a:pt x="68" y="166"/>
                  </a:lnTo>
                  <a:lnTo>
                    <a:pt x="72" y="170"/>
                  </a:lnTo>
                  <a:lnTo>
                    <a:pt x="78" y="170"/>
                  </a:lnTo>
                  <a:lnTo>
                    <a:pt x="78" y="172"/>
                  </a:lnTo>
                  <a:lnTo>
                    <a:pt x="84" y="172"/>
                  </a:lnTo>
                  <a:lnTo>
                    <a:pt x="84" y="168"/>
                  </a:lnTo>
                  <a:lnTo>
                    <a:pt x="86" y="166"/>
                  </a:lnTo>
                  <a:lnTo>
                    <a:pt x="90" y="166"/>
                  </a:lnTo>
                  <a:lnTo>
                    <a:pt x="92" y="168"/>
                  </a:lnTo>
                  <a:lnTo>
                    <a:pt x="92" y="170"/>
                  </a:lnTo>
                  <a:lnTo>
                    <a:pt x="96" y="170"/>
                  </a:lnTo>
                  <a:lnTo>
                    <a:pt x="96" y="172"/>
                  </a:lnTo>
                  <a:lnTo>
                    <a:pt x="104" y="172"/>
                  </a:lnTo>
                  <a:lnTo>
                    <a:pt x="104" y="174"/>
                  </a:lnTo>
                  <a:lnTo>
                    <a:pt x="104" y="176"/>
                  </a:lnTo>
                  <a:lnTo>
                    <a:pt x="112" y="176"/>
                  </a:lnTo>
                  <a:lnTo>
                    <a:pt x="112" y="178"/>
                  </a:lnTo>
                  <a:lnTo>
                    <a:pt x="118" y="178"/>
                  </a:lnTo>
                  <a:lnTo>
                    <a:pt x="118" y="176"/>
                  </a:lnTo>
                  <a:lnTo>
                    <a:pt x="118" y="174"/>
                  </a:lnTo>
                  <a:lnTo>
                    <a:pt x="122" y="174"/>
                  </a:lnTo>
                  <a:lnTo>
                    <a:pt x="122" y="170"/>
                  </a:lnTo>
                  <a:lnTo>
                    <a:pt x="126" y="164"/>
                  </a:lnTo>
                  <a:lnTo>
                    <a:pt x="130" y="160"/>
                  </a:lnTo>
                  <a:lnTo>
                    <a:pt x="132" y="158"/>
                  </a:lnTo>
                  <a:lnTo>
                    <a:pt x="134" y="156"/>
                  </a:lnTo>
                  <a:lnTo>
                    <a:pt x="138" y="154"/>
                  </a:lnTo>
                  <a:lnTo>
                    <a:pt x="140" y="152"/>
                  </a:lnTo>
                  <a:lnTo>
                    <a:pt x="144" y="152"/>
                  </a:lnTo>
                  <a:lnTo>
                    <a:pt x="146" y="154"/>
                  </a:lnTo>
                  <a:lnTo>
                    <a:pt x="150" y="154"/>
                  </a:lnTo>
                  <a:lnTo>
                    <a:pt x="152" y="156"/>
                  </a:lnTo>
                  <a:lnTo>
                    <a:pt x="162" y="156"/>
                  </a:lnTo>
                  <a:lnTo>
                    <a:pt x="166" y="160"/>
                  </a:lnTo>
                  <a:lnTo>
                    <a:pt x="166" y="162"/>
                  </a:lnTo>
                  <a:lnTo>
                    <a:pt x="170" y="162"/>
                  </a:lnTo>
                  <a:lnTo>
                    <a:pt x="172" y="164"/>
                  </a:lnTo>
                  <a:lnTo>
                    <a:pt x="178" y="164"/>
                  </a:lnTo>
                  <a:lnTo>
                    <a:pt x="182" y="162"/>
                  </a:lnTo>
                  <a:lnTo>
                    <a:pt x="184" y="160"/>
                  </a:lnTo>
                  <a:lnTo>
                    <a:pt x="186" y="154"/>
                  </a:lnTo>
                  <a:lnTo>
                    <a:pt x="192" y="150"/>
                  </a:lnTo>
                  <a:lnTo>
                    <a:pt x="196" y="150"/>
                  </a:lnTo>
                  <a:lnTo>
                    <a:pt x="196" y="148"/>
                  </a:lnTo>
                  <a:lnTo>
                    <a:pt x="200" y="144"/>
                  </a:lnTo>
                  <a:lnTo>
                    <a:pt x="200" y="142"/>
                  </a:lnTo>
                  <a:lnTo>
                    <a:pt x="198" y="140"/>
                  </a:lnTo>
                  <a:lnTo>
                    <a:pt x="192" y="140"/>
                  </a:lnTo>
                  <a:lnTo>
                    <a:pt x="188" y="138"/>
                  </a:lnTo>
                  <a:lnTo>
                    <a:pt x="186" y="136"/>
                  </a:lnTo>
                  <a:lnTo>
                    <a:pt x="186" y="134"/>
                  </a:lnTo>
                  <a:lnTo>
                    <a:pt x="188" y="132"/>
                  </a:lnTo>
                  <a:lnTo>
                    <a:pt x="190" y="130"/>
                  </a:lnTo>
                  <a:lnTo>
                    <a:pt x="190" y="126"/>
                  </a:lnTo>
                  <a:lnTo>
                    <a:pt x="188" y="126"/>
                  </a:lnTo>
                  <a:lnTo>
                    <a:pt x="184" y="126"/>
                  </a:lnTo>
                  <a:lnTo>
                    <a:pt x="182" y="120"/>
                  </a:lnTo>
                  <a:lnTo>
                    <a:pt x="188" y="120"/>
                  </a:lnTo>
                  <a:lnTo>
                    <a:pt x="192" y="116"/>
                  </a:lnTo>
                  <a:lnTo>
                    <a:pt x="192" y="114"/>
                  </a:lnTo>
                  <a:lnTo>
                    <a:pt x="186" y="108"/>
                  </a:lnTo>
                  <a:lnTo>
                    <a:pt x="188" y="106"/>
                  </a:lnTo>
                  <a:lnTo>
                    <a:pt x="190" y="106"/>
                  </a:lnTo>
                  <a:lnTo>
                    <a:pt x="190" y="104"/>
                  </a:lnTo>
                  <a:lnTo>
                    <a:pt x="186" y="100"/>
                  </a:lnTo>
                  <a:lnTo>
                    <a:pt x="188" y="94"/>
                  </a:lnTo>
                  <a:lnTo>
                    <a:pt x="186" y="94"/>
                  </a:lnTo>
                  <a:lnTo>
                    <a:pt x="182" y="94"/>
                  </a:lnTo>
                  <a:lnTo>
                    <a:pt x="176" y="100"/>
                  </a:lnTo>
                  <a:lnTo>
                    <a:pt x="174" y="100"/>
                  </a:lnTo>
                  <a:lnTo>
                    <a:pt x="174" y="98"/>
                  </a:lnTo>
                  <a:lnTo>
                    <a:pt x="176" y="96"/>
                  </a:lnTo>
                  <a:lnTo>
                    <a:pt x="174" y="94"/>
                  </a:lnTo>
                  <a:lnTo>
                    <a:pt x="178" y="92"/>
                  </a:lnTo>
                  <a:lnTo>
                    <a:pt x="178" y="88"/>
                  </a:lnTo>
                  <a:lnTo>
                    <a:pt x="182" y="86"/>
                  </a:lnTo>
                  <a:lnTo>
                    <a:pt x="182" y="82"/>
                  </a:lnTo>
                  <a:lnTo>
                    <a:pt x="186" y="82"/>
                  </a:lnTo>
                  <a:lnTo>
                    <a:pt x="188" y="80"/>
                  </a:lnTo>
                  <a:lnTo>
                    <a:pt x="190" y="78"/>
                  </a:lnTo>
                  <a:lnTo>
                    <a:pt x="192" y="76"/>
                  </a:lnTo>
                  <a:lnTo>
                    <a:pt x="192" y="74"/>
                  </a:lnTo>
                  <a:lnTo>
                    <a:pt x="198" y="76"/>
                  </a:lnTo>
                  <a:lnTo>
                    <a:pt x="198" y="72"/>
                  </a:lnTo>
                  <a:lnTo>
                    <a:pt x="198" y="60"/>
                  </a:lnTo>
                  <a:lnTo>
                    <a:pt x="200" y="58"/>
                  </a:lnTo>
                  <a:lnTo>
                    <a:pt x="202" y="56"/>
                  </a:lnTo>
                  <a:lnTo>
                    <a:pt x="204" y="54"/>
                  </a:lnTo>
                  <a:lnTo>
                    <a:pt x="204" y="50"/>
                  </a:lnTo>
                  <a:lnTo>
                    <a:pt x="208" y="46"/>
                  </a:lnTo>
                  <a:lnTo>
                    <a:pt x="210" y="42"/>
                  </a:lnTo>
                  <a:lnTo>
                    <a:pt x="204" y="40"/>
                  </a:lnTo>
                  <a:lnTo>
                    <a:pt x="198" y="4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138" name="Finland" descr="© INSCALE GmbH, 05.05.2010&#10;http://www.presentationload.com/"/>
            <p:cNvSpPr>
              <a:spLocks/>
            </p:cNvSpPr>
            <p:nvPr/>
          </p:nvSpPr>
          <p:spPr bwMode="gray">
            <a:xfrm>
              <a:off x="4879129" y="2600113"/>
              <a:ext cx="203495" cy="222912"/>
            </a:xfrm>
            <a:custGeom>
              <a:avLst/>
              <a:gdLst>
                <a:gd name="T0" fmla="*/ 2147483647 w 630"/>
                <a:gd name="T1" fmla="*/ 2147483647 h 714"/>
                <a:gd name="T2" fmla="*/ 2147483647 w 630"/>
                <a:gd name="T3" fmla="*/ 2147483647 h 714"/>
                <a:gd name="T4" fmla="*/ 2147483647 w 630"/>
                <a:gd name="T5" fmla="*/ 2147483647 h 714"/>
                <a:gd name="T6" fmla="*/ 2147483647 w 630"/>
                <a:gd name="T7" fmla="*/ 2147483647 h 714"/>
                <a:gd name="T8" fmla="*/ 2147483647 w 630"/>
                <a:gd name="T9" fmla="*/ 2147483647 h 714"/>
                <a:gd name="T10" fmla="*/ 2147483647 w 630"/>
                <a:gd name="T11" fmla="*/ 2147483647 h 714"/>
                <a:gd name="T12" fmla="*/ 2147483647 w 630"/>
                <a:gd name="T13" fmla="*/ 2147483647 h 714"/>
                <a:gd name="T14" fmla="*/ 2147483647 w 630"/>
                <a:gd name="T15" fmla="*/ 2147483647 h 714"/>
                <a:gd name="T16" fmla="*/ 2147483647 w 630"/>
                <a:gd name="T17" fmla="*/ 2147483647 h 714"/>
                <a:gd name="T18" fmla="*/ 2147483647 w 630"/>
                <a:gd name="T19" fmla="*/ 2147483647 h 714"/>
                <a:gd name="T20" fmla="*/ 2147483647 w 630"/>
                <a:gd name="T21" fmla="*/ 2147483647 h 714"/>
                <a:gd name="T22" fmla="*/ 2147483647 w 630"/>
                <a:gd name="T23" fmla="*/ 2147483647 h 714"/>
                <a:gd name="T24" fmla="*/ 2147483647 w 630"/>
                <a:gd name="T25" fmla="*/ 2147483647 h 714"/>
                <a:gd name="T26" fmla="*/ 2147483647 w 630"/>
                <a:gd name="T27" fmla="*/ 2147483647 h 714"/>
                <a:gd name="T28" fmla="*/ 2147483647 w 630"/>
                <a:gd name="T29" fmla="*/ 2147483647 h 714"/>
                <a:gd name="T30" fmla="*/ 2147483647 w 630"/>
                <a:gd name="T31" fmla="*/ 2147483647 h 714"/>
                <a:gd name="T32" fmla="*/ 2147483647 w 630"/>
                <a:gd name="T33" fmla="*/ 2147483647 h 714"/>
                <a:gd name="T34" fmla="*/ 2147483647 w 630"/>
                <a:gd name="T35" fmla="*/ 2147483647 h 714"/>
                <a:gd name="T36" fmla="*/ 2147483647 w 630"/>
                <a:gd name="T37" fmla="*/ 2147483647 h 714"/>
                <a:gd name="T38" fmla="*/ 2147483647 w 630"/>
                <a:gd name="T39" fmla="*/ 2147483647 h 714"/>
                <a:gd name="T40" fmla="*/ 2147483647 w 630"/>
                <a:gd name="T41" fmla="*/ 2147483647 h 714"/>
                <a:gd name="T42" fmla="*/ 2147483647 w 630"/>
                <a:gd name="T43" fmla="*/ 2147483647 h 714"/>
                <a:gd name="T44" fmla="*/ 2147483647 w 630"/>
                <a:gd name="T45" fmla="*/ 2147483647 h 714"/>
                <a:gd name="T46" fmla="*/ 2147483647 w 630"/>
                <a:gd name="T47" fmla="*/ 2147483647 h 714"/>
                <a:gd name="T48" fmla="*/ 2147483647 w 630"/>
                <a:gd name="T49" fmla="*/ 2147483647 h 714"/>
                <a:gd name="T50" fmla="*/ 2147483647 w 630"/>
                <a:gd name="T51" fmla="*/ 2147483647 h 714"/>
                <a:gd name="T52" fmla="*/ 2147483647 w 630"/>
                <a:gd name="T53" fmla="*/ 2147483647 h 714"/>
                <a:gd name="T54" fmla="*/ 2147483647 w 630"/>
                <a:gd name="T55" fmla="*/ 2147483647 h 714"/>
                <a:gd name="T56" fmla="*/ 2147483647 w 630"/>
                <a:gd name="T57" fmla="*/ 2147483647 h 714"/>
                <a:gd name="T58" fmla="*/ 2147483647 w 630"/>
                <a:gd name="T59" fmla="*/ 2147483647 h 714"/>
                <a:gd name="T60" fmla="*/ 2147483647 w 630"/>
                <a:gd name="T61" fmla="*/ 2147483647 h 714"/>
                <a:gd name="T62" fmla="*/ 2147483647 w 630"/>
                <a:gd name="T63" fmla="*/ 2147483647 h 714"/>
                <a:gd name="T64" fmla="*/ 2147483647 w 630"/>
                <a:gd name="T65" fmla="*/ 2147483647 h 714"/>
                <a:gd name="T66" fmla="*/ 2147483647 w 630"/>
                <a:gd name="T67" fmla="*/ 2147483647 h 714"/>
                <a:gd name="T68" fmla="*/ 2147483647 w 630"/>
                <a:gd name="T69" fmla="*/ 2147483647 h 714"/>
                <a:gd name="T70" fmla="*/ 2147483647 w 630"/>
                <a:gd name="T71" fmla="*/ 2147483647 h 714"/>
                <a:gd name="T72" fmla="*/ 2147483647 w 630"/>
                <a:gd name="T73" fmla="*/ 2147483647 h 714"/>
                <a:gd name="T74" fmla="*/ 2147483647 w 630"/>
                <a:gd name="T75" fmla="*/ 2147483647 h 714"/>
                <a:gd name="T76" fmla="*/ 2147483647 w 630"/>
                <a:gd name="T77" fmla="*/ 2147483647 h 714"/>
                <a:gd name="T78" fmla="*/ 2147483647 w 630"/>
                <a:gd name="T79" fmla="*/ 2147483647 h 714"/>
                <a:gd name="T80" fmla="*/ 2147483647 w 630"/>
                <a:gd name="T81" fmla="*/ 2147483647 h 714"/>
                <a:gd name="T82" fmla="*/ 2147483647 w 630"/>
                <a:gd name="T83" fmla="*/ 2147483647 h 714"/>
                <a:gd name="T84" fmla="*/ 2147483647 w 630"/>
                <a:gd name="T85" fmla="*/ 2147483647 h 714"/>
                <a:gd name="T86" fmla="*/ 2147483647 w 630"/>
                <a:gd name="T87" fmla="*/ 2147483647 h 714"/>
                <a:gd name="T88" fmla="*/ 2147483647 w 630"/>
                <a:gd name="T89" fmla="*/ 2147483647 h 714"/>
                <a:gd name="T90" fmla="*/ 2147483647 w 630"/>
                <a:gd name="T91" fmla="*/ 2147483647 h 714"/>
                <a:gd name="T92" fmla="*/ 2147483647 w 630"/>
                <a:gd name="T93" fmla="*/ 2147483647 h 714"/>
                <a:gd name="T94" fmla="*/ 2147483647 w 630"/>
                <a:gd name="T95" fmla="*/ 2147483647 h 714"/>
                <a:gd name="T96" fmla="*/ 2147483647 w 630"/>
                <a:gd name="T97" fmla="*/ 2147483647 h 714"/>
                <a:gd name="T98" fmla="*/ 2147483647 w 630"/>
                <a:gd name="T99" fmla="*/ 2147483647 h 714"/>
                <a:gd name="T100" fmla="*/ 2147483647 w 630"/>
                <a:gd name="T101" fmla="*/ 2147483647 h 714"/>
                <a:gd name="T102" fmla="*/ 2147483647 w 630"/>
                <a:gd name="T103" fmla="*/ 2147483647 h 714"/>
                <a:gd name="T104" fmla="*/ 2147483647 w 630"/>
                <a:gd name="T105" fmla="*/ 2147483647 h 714"/>
                <a:gd name="T106" fmla="*/ 2147483647 w 630"/>
                <a:gd name="T107" fmla="*/ 0 h 714"/>
                <a:gd name="T108" fmla="*/ 2147483647 w 630"/>
                <a:gd name="T109" fmla="*/ 2147483647 h 714"/>
                <a:gd name="T110" fmla="*/ 2147483647 w 630"/>
                <a:gd name="T111" fmla="*/ 2147483647 h 714"/>
                <a:gd name="T112" fmla="*/ 2147483647 w 630"/>
                <a:gd name="T113" fmla="*/ 2147483647 h 714"/>
                <a:gd name="T114" fmla="*/ 2147483647 w 630"/>
                <a:gd name="T115" fmla="*/ 2147483647 h 714"/>
                <a:gd name="T116" fmla="*/ 2147483647 w 630"/>
                <a:gd name="T117" fmla="*/ 2147483647 h 7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30"/>
                <a:gd name="T178" fmla="*/ 0 h 714"/>
                <a:gd name="T179" fmla="*/ 630 w 630"/>
                <a:gd name="T180" fmla="*/ 714 h 7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30" h="714">
                  <a:moveTo>
                    <a:pt x="162" y="84"/>
                  </a:moveTo>
                  <a:lnTo>
                    <a:pt x="156" y="90"/>
                  </a:lnTo>
                  <a:lnTo>
                    <a:pt x="144" y="96"/>
                  </a:lnTo>
                  <a:lnTo>
                    <a:pt x="132" y="96"/>
                  </a:lnTo>
                  <a:lnTo>
                    <a:pt x="126" y="90"/>
                  </a:lnTo>
                  <a:lnTo>
                    <a:pt x="108" y="90"/>
                  </a:lnTo>
                  <a:lnTo>
                    <a:pt x="96" y="84"/>
                  </a:lnTo>
                  <a:lnTo>
                    <a:pt x="84" y="84"/>
                  </a:lnTo>
                  <a:lnTo>
                    <a:pt x="72" y="72"/>
                  </a:lnTo>
                  <a:lnTo>
                    <a:pt x="60" y="66"/>
                  </a:lnTo>
                  <a:lnTo>
                    <a:pt x="54" y="54"/>
                  </a:lnTo>
                  <a:lnTo>
                    <a:pt x="48" y="48"/>
                  </a:lnTo>
                  <a:lnTo>
                    <a:pt x="30" y="48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6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24" y="84"/>
                  </a:lnTo>
                  <a:lnTo>
                    <a:pt x="36" y="90"/>
                  </a:lnTo>
                  <a:lnTo>
                    <a:pt x="48" y="90"/>
                  </a:lnTo>
                  <a:lnTo>
                    <a:pt x="54" y="96"/>
                  </a:lnTo>
                  <a:lnTo>
                    <a:pt x="60" y="96"/>
                  </a:lnTo>
                  <a:lnTo>
                    <a:pt x="72" y="108"/>
                  </a:lnTo>
                  <a:lnTo>
                    <a:pt x="108" y="108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56" y="132"/>
                  </a:lnTo>
                  <a:lnTo>
                    <a:pt x="162" y="132"/>
                  </a:lnTo>
                  <a:lnTo>
                    <a:pt x="162" y="156"/>
                  </a:lnTo>
                  <a:lnTo>
                    <a:pt x="156" y="162"/>
                  </a:lnTo>
                  <a:lnTo>
                    <a:pt x="156" y="168"/>
                  </a:lnTo>
                  <a:lnTo>
                    <a:pt x="168" y="174"/>
                  </a:lnTo>
                  <a:lnTo>
                    <a:pt x="162" y="198"/>
                  </a:lnTo>
                  <a:lnTo>
                    <a:pt x="186" y="210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68" y="240"/>
                  </a:lnTo>
                  <a:lnTo>
                    <a:pt x="168" y="246"/>
                  </a:lnTo>
                  <a:lnTo>
                    <a:pt x="180" y="258"/>
                  </a:lnTo>
                  <a:lnTo>
                    <a:pt x="192" y="264"/>
                  </a:lnTo>
                  <a:lnTo>
                    <a:pt x="198" y="270"/>
                  </a:lnTo>
                  <a:lnTo>
                    <a:pt x="210" y="306"/>
                  </a:lnTo>
                  <a:lnTo>
                    <a:pt x="222" y="294"/>
                  </a:lnTo>
                  <a:lnTo>
                    <a:pt x="228" y="294"/>
                  </a:lnTo>
                  <a:lnTo>
                    <a:pt x="234" y="300"/>
                  </a:lnTo>
                  <a:lnTo>
                    <a:pt x="246" y="300"/>
                  </a:lnTo>
                  <a:lnTo>
                    <a:pt x="270" y="324"/>
                  </a:lnTo>
                  <a:lnTo>
                    <a:pt x="270" y="336"/>
                  </a:lnTo>
                  <a:lnTo>
                    <a:pt x="276" y="348"/>
                  </a:lnTo>
                  <a:lnTo>
                    <a:pt x="276" y="354"/>
                  </a:lnTo>
                  <a:lnTo>
                    <a:pt x="264" y="348"/>
                  </a:lnTo>
                  <a:lnTo>
                    <a:pt x="246" y="348"/>
                  </a:lnTo>
                  <a:lnTo>
                    <a:pt x="240" y="354"/>
                  </a:lnTo>
                  <a:lnTo>
                    <a:pt x="234" y="366"/>
                  </a:lnTo>
                  <a:lnTo>
                    <a:pt x="228" y="372"/>
                  </a:lnTo>
                  <a:lnTo>
                    <a:pt x="222" y="384"/>
                  </a:lnTo>
                  <a:lnTo>
                    <a:pt x="216" y="390"/>
                  </a:lnTo>
                  <a:lnTo>
                    <a:pt x="180" y="420"/>
                  </a:lnTo>
                  <a:lnTo>
                    <a:pt x="144" y="432"/>
                  </a:lnTo>
                  <a:lnTo>
                    <a:pt x="138" y="438"/>
                  </a:lnTo>
                  <a:lnTo>
                    <a:pt x="126" y="444"/>
                  </a:lnTo>
                  <a:lnTo>
                    <a:pt x="120" y="456"/>
                  </a:lnTo>
                  <a:lnTo>
                    <a:pt x="120" y="462"/>
                  </a:lnTo>
                  <a:lnTo>
                    <a:pt x="108" y="474"/>
                  </a:lnTo>
                  <a:lnTo>
                    <a:pt x="90" y="474"/>
                  </a:lnTo>
                  <a:lnTo>
                    <a:pt x="66" y="504"/>
                  </a:lnTo>
                  <a:lnTo>
                    <a:pt x="66" y="534"/>
                  </a:lnTo>
                  <a:lnTo>
                    <a:pt x="72" y="540"/>
                  </a:lnTo>
                  <a:lnTo>
                    <a:pt x="72" y="570"/>
                  </a:lnTo>
                  <a:lnTo>
                    <a:pt x="96" y="588"/>
                  </a:lnTo>
                  <a:lnTo>
                    <a:pt x="96" y="594"/>
                  </a:lnTo>
                  <a:lnTo>
                    <a:pt x="90" y="600"/>
                  </a:lnTo>
                  <a:lnTo>
                    <a:pt x="90" y="612"/>
                  </a:lnTo>
                  <a:lnTo>
                    <a:pt x="84" y="630"/>
                  </a:lnTo>
                  <a:lnTo>
                    <a:pt x="84" y="648"/>
                  </a:lnTo>
                  <a:lnTo>
                    <a:pt x="90" y="654"/>
                  </a:lnTo>
                  <a:lnTo>
                    <a:pt x="96" y="666"/>
                  </a:lnTo>
                  <a:lnTo>
                    <a:pt x="108" y="678"/>
                  </a:lnTo>
                  <a:lnTo>
                    <a:pt x="132" y="690"/>
                  </a:lnTo>
                  <a:lnTo>
                    <a:pt x="174" y="690"/>
                  </a:lnTo>
                  <a:lnTo>
                    <a:pt x="174" y="696"/>
                  </a:lnTo>
                  <a:lnTo>
                    <a:pt x="168" y="702"/>
                  </a:lnTo>
                  <a:lnTo>
                    <a:pt x="168" y="708"/>
                  </a:lnTo>
                  <a:lnTo>
                    <a:pt x="174" y="714"/>
                  </a:lnTo>
                  <a:lnTo>
                    <a:pt x="240" y="714"/>
                  </a:lnTo>
                  <a:lnTo>
                    <a:pt x="252" y="708"/>
                  </a:lnTo>
                  <a:lnTo>
                    <a:pt x="270" y="708"/>
                  </a:lnTo>
                  <a:lnTo>
                    <a:pt x="300" y="696"/>
                  </a:lnTo>
                  <a:lnTo>
                    <a:pt x="336" y="696"/>
                  </a:lnTo>
                  <a:lnTo>
                    <a:pt x="384" y="672"/>
                  </a:lnTo>
                  <a:lnTo>
                    <a:pt x="462" y="672"/>
                  </a:lnTo>
                  <a:lnTo>
                    <a:pt x="456" y="660"/>
                  </a:lnTo>
                  <a:lnTo>
                    <a:pt x="516" y="630"/>
                  </a:lnTo>
                  <a:lnTo>
                    <a:pt x="576" y="570"/>
                  </a:lnTo>
                  <a:lnTo>
                    <a:pt x="582" y="570"/>
                  </a:lnTo>
                  <a:lnTo>
                    <a:pt x="618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30" y="504"/>
                  </a:lnTo>
                  <a:lnTo>
                    <a:pt x="624" y="492"/>
                  </a:lnTo>
                  <a:lnTo>
                    <a:pt x="618" y="486"/>
                  </a:lnTo>
                  <a:lnTo>
                    <a:pt x="612" y="474"/>
                  </a:lnTo>
                  <a:lnTo>
                    <a:pt x="540" y="438"/>
                  </a:lnTo>
                  <a:lnTo>
                    <a:pt x="546" y="438"/>
                  </a:lnTo>
                  <a:lnTo>
                    <a:pt x="570" y="414"/>
                  </a:lnTo>
                  <a:lnTo>
                    <a:pt x="570" y="408"/>
                  </a:lnTo>
                  <a:lnTo>
                    <a:pt x="564" y="402"/>
                  </a:lnTo>
                  <a:lnTo>
                    <a:pt x="552" y="396"/>
                  </a:lnTo>
                  <a:lnTo>
                    <a:pt x="528" y="390"/>
                  </a:lnTo>
                  <a:lnTo>
                    <a:pt x="534" y="378"/>
                  </a:lnTo>
                  <a:lnTo>
                    <a:pt x="540" y="372"/>
                  </a:lnTo>
                  <a:lnTo>
                    <a:pt x="540" y="366"/>
                  </a:lnTo>
                  <a:lnTo>
                    <a:pt x="534" y="360"/>
                  </a:lnTo>
                  <a:lnTo>
                    <a:pt x="528" y="360"/>
                  </a:lnTo>
                  <a:lnTo>
                    <a:pt x="522" y="354"/>
                  </a:lnTo>
                  <a:lnTo>
                    <a:pt x="510" y="354"/>
                  </a:lnTo>
                  <a:lnTo>
                    <a:pt x="510" y="342"/>
                  </a:lnTo>
                  <a:lnTo>
                    <a:pt x="498" y="330"/>
                  </a:lnTo>
                  <a:lnTo>
                    <a:pt x="504" y="300"/>
                  </a:lnTo>
                  <a:lnTo>
                    <a:pt x="510" y="300"/>
                  </a:lnTo>
                  <a:lnTo>
                    <a:pt x="522" y="306"/>
                  </a:lnTo>
                  <a:lnTo>
                    <a:pt x="534" y="306"/>
                  </a:lnTo>
                  <a:lnTo>
                    <a:pt x="540" y="300"/>
                  </a:lnTo>
                  <a:lnTo>
                    <a:pt x="540" y="294"/>
                  </a:lnTo>
                  <a:lnTo>
                    <a:pt x="534" y="288"/>
                  </a:lnTo>
                  <a:lnTo>
                    <a:pt x="522" y="282"/>
                  </a:lnTo>
                  <a:lnTo>
                    <a:pt x="498" y="258"/>
                  </a:lnTo>
                  <a:lnTo>
                    <a:pt x="486" y="252"/>
                  </a:lnTo>
                  <a:lnTo>
                    <a:pt x="480" y="240"/>
                  </a:lnTo>
                  <a:lnTo>
                    <a:pt x="468" y="234"/>
                  </a:lnTo>
                  <a:lnTo>
                    <a:pt x="450" y="216"/>
                  </a:lnTo>
                  <a:lnTo>
                    <a:pt x="456" y="210"/>
                  </a:lnTo>
                  <a:lnTo>
                    <a:pt x="468" y="204"/>
                  </a:lnTo>
                  <a:lnTo>
                    <a:pt x="474" y="204"/>
                  </a:lnTo>
                  <a:lnTo>
                    <a:pt x="474" y="192"/>
                  </a:lnTo>
                  <a:lnTo>
                    <a:pt x="480" y="192"/>
                  </a:lnTo>
                  <a:lnTo>
                    <a:pt x="492" y="186"/>
                  </a:lnTo>
                  <a:lnTo>
                    <a:pt x="498" y="186"/>
                  </a:lnTo>
                  <a:lnTo>
                    <a:pt x="498" y="174"/>
                  </a:lnTo>
                  <a:lnTo>
                    <a:pt x="450" y="126"/>
                  </a:lnTo>
                  <a:lnTo>
                    <a:pt x="432" y="126"/>
                  </a:lnTo>
                  <a:lnTo>
                    <a:pt x="426" y="132"/>
                  </a:lnTo>
                  <a:lnTo>
                    <a:pt x="420" y="132"/>
                  </a:lnTo>
                  <a:lnTo>
                    <a:pt x="414" y="126"/>
                  </a:lnTo>
                  <a:lnTo>
                    <a:pt x="414" y="120"/>
                  </a:lnTo>
                  <a:lnTo>
                    <a:pt x="408" y="108"/>
                  </a:lnTo>
                  <a:lnTo>
                    <a:pt x="408" y="96"/>
                  </a:lnTo>
                  <a:lnTo>
                    <a:pt x="426" y="96"/>
                  </a:lnTo>
                  <a:lnTo>
                    <a:pt x="426" y="90"/>
                  </a:lnTo>
                  <a:lnTo>
                    <a:pt x="414" y="78"/>
                  </a:lnTo>
                  <a:lnTo>
                    <a:pt x="420" y="54"/>
                  </a:lnTo>
                  <a:lnTo>
                    <a:pt x="426" y="54"/>
                  </a:lnTo>
                  <a:lnTo>
                    <a:pt x="426" y="60"/>
                  </a:lnTo>
                  <a:lnTo>
                    <a:pt x="432" y="60"/>
                  </a:lnTo>
                  <a:lnTo>
                    <a:pt x="432" y="42"/>
                  </a:lnTo>
                  <a:lnTo>
                    <a:pt x="426" y="30"/>
                  </a:lnTo>
                  <a:lnTo>
                    <a:pt x="414" y="18"/>
                  </a:lnTo>
                  <a:lnTo>
                    <a:pt x="408" y="18"/>
                  </a:lnTo>
                  <a:lnTo>
                    <a:pt x="372" y="12"/>
                  </a:lnTo>
                  <a:lnTo>
                    <a:pt x="372" y="0"/>
                  </a:lnTo>
                  <a:lnTo>
                    <a:pt x="336" y="0"/>
                  </a:lnTo>
                  <a:lnTo>
                    <a:pt x="324" y="6"/>
                  </a:lnTo>
                  <a:lnTo>
                    <a:pt x="294" y="6"/>
                  </a:lnTo>
                  <a:lnTo>
                    <a:pt x="282" y="12"/>
                  </a:lnTo>
                  <a:lnTo>
                    <a:pt x="276" y="12"/>
                  </a:lnTo>
                  <a:lnTo>
                    <a:pt x="264" y="18"/>
                  </a:lnTo>
                  <a:lnTo>
                    <a:pt x="264" y="30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34" y="72"/>
                  </a:lnTo>
                  <a:lnTo>
                    <a:pt x="234" y="78"/>
                  </a:lnTo>
                  <a:lnTo>
                    <a:pt x="228" y="8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204" y="90"/>
                  </a:lnTo>
                  <a:lnTo>
                    <a:pt x="192" y="84"/>
                  </a:lnTo>
                  <a:lnTo>
                    <a:pt x="162" y="8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139" name="Ethiopia" descr="© INSCALE GmbH, 05.05.2010&#10;http://www.presentationload.com/"/>
            <p:cNvSpPr>
              <a:spLocks/>
            </p:cNvSpPr>
            <p:nvPr/>
          </p:nvSpPr>
          <p:spPr bwMode="gray">
            <a:xfrm>
              <a:off x="5228525" y="3931459"/>
              <a:ext cx="342997" cy="286601"/>
            </a:xfrm>
            <a:custGeom>
              <a:avLst/>
              <a:gdLst>
                <a:gd name="T0" fmla="*/ 2147483647 w 1056"/>
                <a:gd name="T1" fmla="*/ 2147483647 h 924"/>
                <a:gd name="T2" fmla="*/ 2147483647 w 1056"/>
                <a:gd name="T3" fmla="*/ 2147483647 h 924"/>
                <a:gd name="T4" fmla="*/ 2147483647 w 1056"/>
                <a:gd name="T5" fmla="*/ 2147483647 h 924"/>
                <a:gd name="T6" fmla="*/ 2147483647 w 1056"/>
                <a:gd name="T7" fmla="*/ 2147483647 h 924"/>
                <a:gd name="T8" fmla="*/ 2147483647 w 1056"/>
                <a:gd name="T9" fmla="*/ 2147483647 h 924"/>
                <a:gd name="T10" fmla="*/ 2147483647 w 1056"/>
                <a:gd name="T11" fmla="*/ 2147483647 h 924"/>
                <a:gd name="T12" fmla="*/ 2147483647 w 1056"/>
                <a:gd name="T13" fmla="*/ 2147483647 h 924"/>
                <a:gd name="T14" fmla="*/ 2147483647 w 1056"/>
                <a:gd name="T15" fmla="*/ 2147483647 h 924"/>
                <a:gd name="T16" fmla="*/ 2147483647 w 1056"/>
                <a:gd name="T17" fmla="*/ 2147483647 h 924"/>
                <a:gd name="T18" fmla="*/ 2147483647 w 1056"/>
                <a:gd name="T19" fmla="*/ 2147483647 h 924"/>
                <a:gd name="T20" fmla="*/ 2147483647 w 1056"/>
                <a:gd name="T21" fmla="*/ 2147483647 h 924"/>
                <a:gd name="T22" fmla="*/ 2147483647 w 1056"/>
                <a:gd name="T23" fmla="*/ 2147483647 h 924"/>
                <a:gd name="T24" fmla="*/ 2147483647 w 1056"/>
                <a:gd name="T25" fmla="*/ 2147483647 h 924"/>
                <a:gd name="T26" fmla="*/ 2147483647 w 1056"/>
                <a:gd name="T27" fmla="*/ 2147483647 h 924"/>
                <a:gd name="T28" fmla="*/ 2147483647 w 1056"/>
                <a:gd name="T29" fmla="*/ 2147483647 h 924"/>
                <a:gd name="T30" fmla="*/ 2147483647 w 1056"/>
                <a:gd name="T31" fmla="*/ 2147483647 h 924"/>
                <a:gd name="T32" fmla="*/ 2147483647 w 1056"/>
                <a:gd name="T33" fmla="*/ 2147483647 h 924"/>
                <a:gd name="T34" fmla="*/ 2147483647 w 1056"/>
                <a:gd name="T35" fmla="*/ 2147483647 h 924"/>
                <a:gd name="T36" fmla="*/ 2147483647 w 1056"/>
                <a:gd name="T37" fmla="*/ 2147483647 h 924"/>
                <a:gd name="T38" fmla="*/ 2147483647 w 1056"/>
                <a:gd name="T39" fmla="*/ 2147483647 h 924"/>
                <a:gd name="T40" fmla="*/ 2147483647 w 1056"/>
                <a:gd name="T41" fmla="*/ 2147483647 h 924"/>
                <a:gd name="T42" fmla="*/ 2147483647 w 1056"/>
                <a:gd name="T43" fmla="*/ 2147483647 h 924"/>
                <a:gd name="T44" fmla="*/ 2147483647 w 1056"/>
                <a:gd name="T45" fmla="*/ 2147483647 h 924"/>
                <a:gd name="T46" fmla="*/ 2147483647 w 1056"/>
                <a:gd name="T47" fmla="*/ 2147483647 h 924"/>
                <a:gd name="T48" fmla="*/ 2147483647 w 1056"/>
                <a:gd name="T49" fmla="*/ 2147483647 h 924"/>
                <a:gd name="T50" fmla="*/ 2147483647 w 1056"/>
                <a:gd name="T51" fmla="*/ 2147483647 h 924"/>
                <a:gd name="T52" fmla="*/ 2147483647 w 1056"/>
                <a:gd name="T53" fmla="*/ 2147483647 h 924"/>
                <a:gd name="T54" fmla="*/ 2147483647 w 1056"/>
                <a:gd name="T55" fmla="*/ 2147483647 h 924"/>
                <a:gd name="T56" fmla="*/ 2147483647 w 1056"/>
                <a:gd name="T57" fmla="*/ 2147483647 h 924"/>
                <a:gd name="T58" fmla="*/ 2147483647 w 1056"/>
                <a:gd name="T59" fmla="*/ 2147483647 h 924"/>
                <a:gd name="T60" fmla="*/ 2147483647 w 1056"/>
                <a:gd name="T61" fmla="*/ 2147483647 h 924"/>
                <a:gd name="T62" fmla="*/ 2147483647 w 1056"/>
                <a:gd name="T63" fmla="*/ 2147483647 h 924"/>
                <a:gd name="T64" fmla="*/ 2147483647 w 1056"/>
                <a:gd name="T65" fmla="*/ 2147483647 h 924"/>
                <a:gd name="T66" fmla="*/ 2147483647 w 1056"/>
                <a:gd name="T67" fmla="*/ 2147483647 h 924"/>
                <a:gd name="T68" fmla="*/ 2147483647 w 1056"/>
                <a:gd name="T69" fmla="*/ 2147483647 h 924"/>
                <a:gd name="T70" fmla="*/ 2147483647 w 1056"/>
                <a:gd name="T71" fmla="*/ 2147483647 h 924"/>
                <a:gd name="T72" fmla="*/ 2147483647 w 1056"/>
                <a:gd name="T73" fmla="*/ 0 h 924"/>
                <a:gd name="T74" fmla="*/ 2147483647 w 1056"/>
                <a:gd name="T75" fmla="*/ 2147483647 h 924"/>
                <a:gd name="T76" fmla="*/ 2147483647 w 1056"/>
                <a:gd name="T77" fmla="*/ 2147483647 h 924"/>
                <a:gd name="T78" fmla="*/ 2147483647 w 1056"/>
                <a:gd name="T79" fmla="*/ 2147483647 h 924"/>
                <a:gd name="T80" fmla="*/ 2147483647 w 1056"/>
                <a:gd name="T81" fmla="*/ 2147483647 h 924"/>
                <a:gd name="T82" fmla="*/ 2147483647 w 1056"/>
                <a:gd name="T83" fmla="*/ 2147483647 h 924"/>
                <a:gd name="T84" fmla="*/ 2147483647 w 1056"/>
                <a:gd name="T85" fmla="*/ 2147483647 h 924"/>
                <a:gd name="T86" fmla="*/ 2147483647 w 1056"/>
                <a:gd name="T87" fmla="*/ 2147483647 h 924"/>
                <a:gd name="T88" fmla="*/ 2147483647 w 1056"/>
                <a:gd name="T89" fmla="*/ 2147483647 h 924"/>
                <a:gd name="T90" fmla="*/ 2147483647 w 1056"/>
                <a:gd name="T91" fmla="*/ 2147483647 h 924"/>
                <a:gd name="T92" fmla="*/ 2147483647 w 1056"/>
                <a:gd name="T93" fmla="*/ 2147483647 h 924"/>
                <a:gd name="T94" fmla="*/ 2147483647 w 1056"/>
                <a:gd name="T95" fmla="*/ 2147483647 h 924"/>
                <a:gd name="T96" fmla="*/ 2147483647 w 1056"/>
                <a:gd name="T97" fmla="*/ 2147483647 h 924"/>
                <a:gd name="T98" fmla="*/ 2147483647 w 1056"/>
                <a:gd name="T99" fmla="*/ 2147483647 h 924"/>
                <a:gd name="T100" fmla="*/ 2147483647 w 1056"/>
                <a:gd name="T101" fmla="*/ 2147483647 h 924"/>
                <a:gd name="T102" fmla="*/ 2147483647 w 1056"/>
                <a:gd name="T103" fmla="*/ 2147483647 h 924"/>
                <a:gd name="T104" fmla="*/ 2147483647 w 1056"/>
                <a:gd name="T105" fmla="*/ 2147483647 h 924"/>
                <a:gd name="T106" fmla="*/ 2147483647 w 1056"/>
                <a:gd name="T107" fmla="*/ 2147483647 h 924"/>
                <a:gd name="T108" fmla="*/ 2147483647 w 1056"/>
                <a:gd name="T109" fmla="*/ 2147483647 h 924"/>
                <a:gd name="T110" fmla="*/ 2147483647 w 1056"/>
                <a:gd name="T111" fmla="*/ 2147483647 h 924"/>
                <a:gd name="T112" fmla="*/ 2147483647 w 1056"/>
                <a:gd name="T113" fmla="*/ 2147483647 h 924"/>
                <a:gd name="T114" fmla="*/ 2147483647 w 1056"/>
                <a:gd name="T115" fmla="*/ 2147483647 h 924"/>
                <a:gd name="T116" fmla="*/ 2147483647 w 1056"/>
                <a:gd name="T117" fmla="*/ 2147483647 h 9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056"/>
                <a:gd name="T178" fmla="*/ 0 h 924"/>
                <a:gd name="T179" fmla="*/ 1056 w 1056"/>
                <a:gd name="T180" fmla="*/ 924 h 9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056" h="924">
                  <a:moveTo>
                    <a:pt x="84" y="642"/>
                  </a:moveTo>
                  <a:lnTo>
                    <a:pt x="108" y="642"/>
                  </a:lnTo>
                  <a:lnTo>
                    <a:pt x="114" y="666"/>
                  </a:lnTo>
                  <a:lnTo>
                    <a:pt x="126" y="666"/>
                  </a:lnTo>
                  <a:lnTo>
                    <a:pt x="126" y="702"/>
                  </a:lnTo>
                  <a:lnTo>
                    <a:pt x="138" y="708"/>
                  </a:lnTo>
                  <a:lnTo>
                    <a:pt x="138" y="726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86" y="768"/>
                  </a:lnTo>
                  <a:lnTo>
                    <a:pt x="192" y="774"/>
                  </a:lnTo>
                  <a:lnTo>
                    <a:pt x="198" y="786"/>
                  </a:lnTo>
                  <a:lnTo>
                    <a:pt x="198" y="804"/>
                  </a:lnTo>
                  <a:lnTo>
                    <a:pt x="210" y="840"/>
                  </a:lnTo>
                  <a:lnTo>
                    <a:pt x="282" y="846"/>
                  </a:lnTo>
                  <a:lnTo>
                    <a:pt x="360" y="906"/>
                  </a:lnTo>
                  <a:lnTo>
                    <a:pt x="390" y="906"/>
                  </a:lnTo>
                  <a:lnTo>
                    <a:pt x="402" y="912"/>
                  </a:lnTo>
                  <a:lnTo>
                    <a:pt x="432" y="912"/>
                  </a:lnTo>
                  <a:lnTo>
                    <a:pt x="444" y="918"/>
                  </a:lnTo>
                  <a:lnTo>
                    <a:pt x="450" y="918"/>
                  </a:lnTo>
                  <a:lnTo>
                    <a:pt x="462" y="924"/>
                  </a:lnTo>
                  <a:lnTo>
                    <a:pt x="486" y="906"/>
                  </a:lnTo>
                  <a:lnTo>
                    <a:pt x="486" y="894"/>
                  </a:lnTo>
                  <a:lnTo>
                    <a:pt x="498" y="882"/>
                  </a:lnTo>
                  <a:lnTo>
                    <a:pt x="510" y="882"/>
                  </a:lnTo>
                  <a:lnTo>
                    <a:pt x="522" y="876"/>
                  </a:lnTo>
                  <a:lnTo>
                    <a:pt x="528" y="870"/>
                  </a:lnTo>
                  <a:lnTo>
                    <a:pt x="534" y="870"/>
                  </a:lnTo>
                  <a:lnTo>
                    <a:pt x="552" y="852"/>
                  </a:lnTo>
                  <a:lnTo>
                    <a:pt x="576" y="882"/>
                  </a:lnTo>
                  <a:lnTo>
                    <a:pt x="606" y="882"/>
                  </a:lnTo>
                  <a:lnTo>
                    <a:pt x="612" y="876"/>
                  </a:lnTo>
                  <a:lnTo>
                    <a:pt x="636" y="882"/>
                  </a:lnTo>
                  <a:lnTo>
                    <a:pt x="636" y="876"/>
                  </a:lnTo>
                  <a:lnTo>
                    <a:pt x="648" y="864"/>
                  </a:lnTo>
                  <a:lnTo>
                    <a:pt x="660" y="864"/>
                  </a:lnTo>
                  <a:lnTo>
                    <a:pt x="672" y="858"/>
                  </a:lnTo>
                  <a:lnTo>
                    <a:pt x="696" y="858"/>
                  </a:lnTo>
                  <a:lnTo>
                    <a:pt x="714" y="840"/>
                  </a:lnTo>
                  <a:lnTo>
                    <a:pt x="714" y="828"/>
                  </a:lnTo>
                  <a:lnTo>
                    <a:pt x="726" y="822"/>
                  </a:lnTo>
                  <a:lnTo>
                    <a:pt x="732" y="816"/>
                  </a:lnTo>
                  <a:lnTo>
                    <a:pt x="744" y="810"/>
                  </a:lnTo>
                  <a:lnTo>
                    <a:pt x="756" y="810"/>
                  </a:lnTo>
                  <a:lnTo>
                    <a:pt x="762" y="804"/>
                  </a:lnTo>
                  <a:lnTo>
                    <a:pt x="846" y="804"/>
                  </a:lnTo>
                  <a:lnTo>
                    <a:pt x="1056" y="558"/>
                  </a:lnTo>
                  <a:lnTo>
                    <a:pt x="984" y="564"/>
                  </a:lnTo>
                  <a:lnTo>
                    <a:pt x="948" y="546"/>
                  </a:lnTo>
                  <a:lnTo>
                    <a:pt x="936" y="534"/>
                  </a:lnTo>
                  <a:lnTo>
                    <a:pt x="918" y="528"/>
                  </a:lnTo>
                  <a:lnTo>
                    <a:pt x="906" y="522"/>
                  </a:lnTo>
                  <a:lnTo>
                    <a:pt x="882" y="516"/>
                  </a:lnTo>
                  <a:lnTo>
                    <a:pt x="810" y="492"/>
                  </a:lnTo>
                  <a:lnTo>
                    <a:pt x="774" y="474"/>
                  </a:lnTo>
                  <a:lnTo>
                    <a:pt x="768" y="462"/>
                  </a:lnTo>
                  <a:lnTo>
                    <a:pt x="762" y="456"/>
                  </a:lnTo>
                  <a:lnTo>
                    <a:pt x="756" y="444"/>
                  </a:lnTo>
                  <a:lnTo>
                    <a:pt x="732" y="444"/>
                  </a:lnTo>
                  <a:lnTo>
                    <a:pt x="732" y="438"/>
                  </a:lnTo>
                  <a:lnTo>
                    <a:pt x="726" y="432"/>
                  </a:lnTo>
                  <a:lnTo>
                    <a:pt x="714" y="408"/>
                  </a:lnTo>
                  <a:lnTo>
                    <a:pt x="708" y="402"/>
                  </a:lnTo>
                  <a:lnTo>
                    <a:pt x="702" y="390"/>
                  </a:lnTo>
                  <a:lnTo>
                    <a:pt x="696" y="384"/>
                  </a:lnTo>
                  <a:lnTo>
                    <a:pt x="690" y="372"/>
                  </a:lnTo>
                  <a:lnTo>
                    <a:pt x="690" y="360"/>
                  </a:lnTo>
                  <a:lnTo>
                    <a:pt x="678" y="348"/>
                  </a:lnTo>
                  <a:lnTo>
                    <a:pt x="696" y="318"/>
                  </a:lnTo>
                  <a:lnTo>
                    <a:pt x="690" y="312"/>
                  </a:lnTo>
                  <a:lnTo>
                    <a:pt x="678" y="306"/>
                  </a:lnTo>
                  <a:lnTo>
                    <a:pt x="666" y="306"/>
                  </a:lnTo>
                  <a:lnTo>
                    <a:pt x="660" y="312"/>
                  </a:lnTo>
                  <a:lnTo>
                    <a:pt x="654" y="312"/>
                  </a:lnTo>
                  <a:lnTo>
                    <a:pt x="648" y="318"/>
                  </a:lnTo>
                  <a:lnTo>
                    <a:pt x="624" y="318"/>
                  </a:lnTo>
                  <a:lnTo>
                    <a:pt x="612" y="306"/>
                  </a:lnTo>
                  <a:lnTo>
                    <a:pt x="612" y="294"/>
                  </a:lnTo>
                  <a:lnTo>
                    <a:pt x="606" y="276"/>
                  </a:lnTo>
                  <a:lnTo>
                    <a:pt x="606" y="264"/>
                  </a:lnTo>
                  <a:lnTo>
                    <a:pt x="624" y="246"/>
                  </a:lnTo>
                  <a:lnTo>
                    <a:pt x="654" y="192"/>
                  </a:lnTo>
                  <a:lnTo>
                    <a:pt x="642" y="174"/>
                  </a:lnTo>
                  <a:lnTo>
                    <a:pt x="630" y="174"/>
                  </a:lnTo>
                  <a:lnTo>
                    <a:pt x="618" y="168"/>
                  </a:lnTo>
                  <a:lnTo>
                    <a:pt x="612" y="162"/>
                  </a:lnTo>
                  <a:lnTo>
                    <a:pt x="612" y="138"/>
                  </a:lnTo>
                  <a:lnTo>
                    <a:pt x="600" y="126"/>
                  </a:lnTo>
                  <a:lnTo>
                    <a:pt x="576" y="114"/>
                  </a:lnTo>
                  <a:lnTo>
                    <a:pt x="570" y="108"/>
                  </a:lnTo>
                  <a:lnTo>
                    <a:pt x="546" y="72"/>
                  </a:lnTo>
                  <a:lnTo>
                    <a:pt x="534" y="66"/>
                  </a:lnTo>
                  <a:lnTo>
                    <a:pt x="528" y="60"/>
                  </a:lnTo>
                  <a:lnTo>
                    <a:pt x="516" y="60"/>
                  </a:lnTo>
                  <a:lnTo>
                    <a:pt x="498" y="36"/>
                  </a:lnTo>
                  <a:lnTo>
                    <a:pt x="468" y="36"/>
                  </a:lnTo>
                  <a:lnTo>
                    <a:pt x="462" y="30"/>
                  </a:lnTo>
                  <a:lnTo>
                    <a:pt x="444" y="30"/>
                  </a:lnTo>
                  <a:lnTo>
                    <a:pt x="432" y="36"/>
                  </a:lnTo>
                  <a:lnTo>
                    <a:pt x="420" y="36"/>
                  </a:lnTo>
                  <a:lnTo>
                    <a:pt x="420" y="24"/>
                  </a:lnTo>
                  <a:lnTo>
                    <a:pt x="414" y="18"/>
                  </a:lnTo>
                  <a:lnTo>
                    <a:pt x="408" y="24"/>
                  </a:lnTo>
                  <a:lnTo>
                    <a:pt x="402" y="36"/>
                  </a:lnTo>
                  <a:lnTo>
                    <a:pt x="372" y="36"/>
                  </a:lnTo>
                  <a:lnTo>
                    <a:pt x="366" y="24"/>
                  </a:lnTo>
                  <a:lnTo>
                    <a:pt x="360" y="18"/>
                  </a:lnTo>
                  <a:lnTo>
                    <a:pt x="354" y="18"/>
                  </a:lnTo>
                  <a:lnTo>
                    <a:pt x="342" y="6"/>
                  </a:lnTo>
                  <a:lnTo>
                    <a:pt x="330" y="0"/>
                  </a:lnTo>
                  <a:lnTo>
                    <a:pt x="330" y="12"/>
                  </a:lnTo>
                  <a:lnTo>
                    <a:pt x="324" y="24"/>
                  </a:lnTo>
                  <a:lnTo>
                    <a:pt x="318" y="42"/>
                  </a:lnTo>
                  <a:lnTo>
                    <a:pt x="318" y="54"/>
                  </a:lnTo>
                  <a:lnTo>
                    <a:pt x="306" y="66"/>
                  </a:lnTo>
                  <a:lnTo>
                    <a:pt x="288" y="48"/>
                  </a:lnTo>
                  <a:lnTo>
                    <a:pt x="288" y="42"/>
                  </a:lnTo>
                  <a:lnTo>
                    <a:pt x="282" y="36"/>
                  </a:lnTo>
                  <a:lnTo>
                    <a:pt x="276" y="36"/>
                  </a:lnTo>
                  <a:lnTo>
                    <a:pt x="276" y="42"/>
                  </a:lnTo>
                  <a:lnTo>
                    <a:pt x="270" y="48"/>
                  </a:lnTo>
                  <a:lnTo>
                    <a:pt x="234" y="48"/>
                  </a:lnTo>
                  <a:lnTo>
                    <a:pt x="234" y="90"/>
                  </a:lnTo>
                  <a:lnTo>
                    <a:pt x="228" y="96"/>
                  </a:lnTo>
                  <a:lnTo>
                    <a:pt x="222" y="108"/>
                  </a:lnTo>
                  <a:lnTo>
                    <a:pt x="216" y="114"/>
                  </a:lnTo>
                  <a:lnTo>
                    <a:pt x="210" y="126"/>
                  </a:lnTo>
                  <a:lnTo>
                    <a:pt x="210" y="174"/>
                  </a:lnTo>
                  <a:lnTo>
                    <a:pt x="180" y="174"/>
                  </a:lnTo>
                  <a:lnTo>
                    <a:pt x="174" y="180"/>
                  </a:lnTo>
                  <a:lnTo>
                    <a:pt x="168" y="192"/>
                  </a:lnTo>
                  <a:lnTo>
                    <a:pt x="162" y="198"/>
                  </a:lnTo>
                  <a:lnTo>
                    <a:pt x="162" y="234"/>
                  </a:lnTo>
                  <a:lnTo>
                    <a:pt x="156" y="240"/>
                  </a:lnTo>
                  <a:lnTo>
                    <a:pt x="144" y="240"/>
                  </a:lnTo>
                  <a:lnTo>
                    <a:pt x="138" y="246"/>
                  </a:lnTo>
                  <a:lnTo>
                    <a:pt x="138" y="270"/>
                  </a:lnTo>
                  <a:lnTo>
                    <a:pt x="126" y="288"/>
                  </a:lnTo>
                  <a:lnTo>
                    <a:pt x="126" y="294"/>
                  </a:lnTo>
                  <a:lnTo>
                    <a:pt x="132" y="300"/>
                  </a:lnTo>
                  <a:lnTo>
                    <a:pt x="132" y="336"/>
                  </a:lnTo>
                  <a:lnTo>
                    <a:pt x="126" y="342"/>
                  </a:lnTo>
                  <a:lnTo>
                    <a:pt x="114" y="342"/>
                  </a:lnTo>
                  <a:lnTo>
                    <a:pt x="108" y="336"/>
                  </a:lnTo>
                  <a:lnTo>
                    <a:pt x="108" y="324"/>
                  </a:lnTo>
                  <a:lnTo>
                    <a:pt x="102" y="324"/>
                  </a:lnTo>
                  <a:lnTo>
                    <a:pt x="84" y="342"/>
                  </a:lnTo>
                  <a:lnTo>
                    <a:pt x="84" y="360"/>
                  </a:lnTo>
                  <a:lnTo>
                    <a:pt x="90" y="372"/>
                  </a:lnTo>
                  <a:lnTo>
                    <a:pt x="90" y="390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14"/>
                  </a:lnTo>
                  <a:lnTo>
                    <a:pt x="66" y="426"/>
                  </a:lnTo>
                  <a:lnTo>
                    <a:pt x="72" y="438"/>
                  </a:lnTo>
                  <a:lnTo>
                    <a:pt x="72" y="450"/>
                  </a:lnTo>
                  <a:lnTo>
                    <a:pt x="78" y="456"/>
                  </a:lnTo>
                  <a:lnTo>
                    <a:pt x="78" y="492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6" y="522"/>
                  </a:lnTo>
                  <a:lnTo>
                    <a:pt x="54" y="522"/>
                  </a:lnTo>
                  <a:lnTo>
                    <a:pt x="48" y="528"/>
                  </a:lnTo>
                  <a:lnTo>
                    <a:pt x="42" y="522"/>
                  </a:lnTo>
                  <a:lnTo>
                    <a:pt x="6" y="522"/>
                  </a:lnTo>
                  <a:lnTo>
                    <a:pt x="12" y="546"/>
                  </a:lnTo>
                  <a:lnTo>
                    <a:pt x="6" y="552"/>
                  </a:lnTo>
                  <a:lnTo>
                    <a:pt x="0" y="564"/>
                  </a:lnTo>
                  <a:lnTo>
                    <a:pt x="0" y="576"/>
                  </a:lnTo>
                  <a:lnTo>
                    <a:pt x="6" y="576"/>
                  </a:lnTo>
                  <a:lnTo>
                    <a:pt x="18" y="582"/>
                  </a:lnTo>
                  <a:lnTo>
                    <a:pt x="42" y="582"/>
                  </a:lnTo>
                  <a:lnTo>
                    <a:pt x="48" y="588"/>
                  </a:lnTo>
                  <a:lnTo>
                    <a:pt x="60" y="594"/>
                  </a:lnTo>
                  <a:lnTo>
                    <a:pt x="66" y="606"/>
                  </a:lnTo>
                  <a:lnTo>
                    <a:pt x="78" y="612"/>
                  </a:lnTo>
                  <a:lnTo>
                    <a:pt x="78" y="630"/>
                  </a:lnTo>
                  <a:lnTo>
                    <a:pt x="84" y="64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140" name="Estonia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4918803" y="2830374"/>
              <a:ext cx="113905" cy="47766"/>
            </a:xfrm>
            <a:custGeom>
              <a:avLst/>
              <a:gdLst>
                <a:gd name="T0" fmla="*/ 2147483647 w 348"/>
                <a:gd name="T1" fmla="*/ 2147483647 h 156"/>
                <a:gd name="T2" fmla="*/ 2147483647 w 348"/>
                <a:gd name="T3" fmla="*/ 2147483647 h 156"/>
                <a:gd name="T4" fmla="*/ 2147483647 w 348"/>
                <a:gd name="T5" fmla="*/ 2147483647 h 156"/>
                <a:gd name="T6" fmla="*/ 2147483647 w 348"/>
                <a:gd name="T7" fmla="*/ 2147483647 h 156"/>
                <a:gd name="T8" fmla="*/ 2147483647 w 348"/>
                <a:gd name="T9" fmla="*/ 2147483647 h 156"/>
                <a:gd name="T10" fmla="*/ 2147483647 w 348"/>
                <a:gd name="T11" fmla="*/ 2147483647 h 156"/>
                <a:gd name="T12" fmla="*/ 2147483647 w 348"/>
                <a:gd name="T13" fmla="*/ 2147483647 h 156"/>
                <a:gd name="T14" fmla="*/ 2147483647 w 348"/>
                <a:gd name="T15" fmla="*/ 0 h 156"/>
                <a:gd name="T16" fmla="*/ 2147483647 w 348"/>
                <a:gd name="T17" fmla="*/ 2147483647 h 156"/>
                <a:gd name="T18" fmla="*/ 2147483647 w 348"/>
                <a:gd name="T19" fmla="*/ 2147483647 h 156"/>
                <a:gd name="T20" fmla="*/ 2147483647 w 348"/>
                <a:gd name="T21" fmla="*/ 2147483647 h 156"/>
                <a:gd name="T22" fmla="*/ 2147483647 w 348"/>
                <a:gd name="T23" fmla="*/ 2147483647 h 156"/>
                <a:gd name="T24" fmla="*/ 2147483647 w 348"/>
                <a:gd name="T25" fmla="*/ 2147483647 h 156"/>
                <a:gd name="T26" fmla="*/ 2147483647 w 348"/>
                <a:gd name="T27" fmla="*/ 2147483647 h 156"/>
                <a:gd name="T28" fmla="*/ 2147483647 w 348"/>
                <a:gd name="T29" fmla="*/ 2147483647 h 156"/>
                <a:gd name="T30" fmla="*/ 2147483647 w 348"/>
                <a:gd name="T31" fmla="*/ 2147483647 h 156"/>
                <a:gd name="T32" fmla="*/ 2147483647 w 348"/>
                <a:gd name="T33" fmla="*/ 2147483647 h 156"/>
                <a:gd name="T34" fmla="*/ 2147483647 w 348"/>
                <a:gd name="T35" fmla="*/ 2147483647 h 156"/>
                <a:gd name="T36" fmla="*/ 2147483647 w 348"/>
                <a:gd name="T37" fmla="*/ 2147483647 h 156"/>
                <a:gd name="T38" fmla="*/ 2147483647 w 348"/>
                <a:gd name="T39" fmla="*/ 2147483647 h 156"/>
                <a:gd name="T40" fmla="*/ 2147483647 w 348"/>
                <a:gd name="T41" fmla="*/ 2147483647 h 156"/>
                <a:gd name="T42" fmla="*/ 2147483647 w 348"/>
                <a:gd name="T43" fmla="*/ 2147483647 h 156"/>
                <a:gd name="T44" fmla="*/ 2147483647 w 348"/>
                <a:gd name="T45" fmla="*/ 2147483647 h 156"/>
                <a:gd name="T46" fmla="*/ 2147483647 w 348"/>
                <a:gd name="T47" fmla="*/ 2147483647 h 156"/>
                <a:gd name="T48" fmla="*/ 0 w 348"/>
                <a:gd name="T49" fmla="*/ 2147483647 h 156"/>
                <a:gd name="T50" fmla="*/ 2147483647 w 348"/>
                <a:gd name="T51" fmla="*/ 2147483647 h 156"/>
                <a:gd name="T52" fmla="*/ 2147483647 w 348"/>
                <a:gd name="T53" fmla="*/ 2147483647 h 156"/>
                <a:gd name="T54" fmla="*/ 2147483647 w 348"/>
                <a:gd name="T55" fmla="*/ 2147483647 h 156"/>
                <a:gd name="T56" fmla="*/ 2147483647 w 348"/>
                <a:gd name="T57" fmla="*/ 2147483647 h 156"/>
                <a:gd name="T58" fmla="*/ 2147483647 w 348"/>
                <a:gd name="T59" fmla="*/ 2147483647 h 156"/>
                <a:gd name="T60" fmla="*/ 2147483647 w 348"/>
                <a:gd name="T61" fmla="*/ 2147483647 h 156"/>
                <a:gd name="T62" fmla="*/ 2147483647 w 348"/>
                <a:gd name="T63" fmla="*/ 2147483647 h 156"/>
                <a:gd name="T64" fmla="*/ 2147483647 w 348"/>
                <a:gd name="T65" fmla="*/ 2147483647 h 156"/>
                <a:gd name="T66" fmla="*/ 2147483647 w 348"/>
                <a:gd name="T67" fmla="*/ 2147483647 h 156"/>
                <a:gd name="T68" fmla="*/ 2147483647 w 348"/>
                <a:gd name="T69" fmla="*/ 2147483647 h 156"/>
                <a:gd name="T70" fmla="*/ 2147483647 w 348"/>
                <a:gd name="T71" fmla="*/ 2147483647 h 15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48"/>
                <a:gd name="T109" fmla="*/ 0 h 156"/>
                <a:gd name="T110" fmla="*/ 348 w 348"/>
                <a:gd name="T111" fmla="*/ 156 h 15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48" h="156">
                  <a:moveTo>
                    <a:pt x="336" y="114"/>
                  </a:moveTo>
                  <a:lnTo>
                    <a:pt x="324" y="108"/>
                  </a:lnTo>
                  <a:lnTo>
                    <a:pt x="336" y="84"/>
                  </a:lnTo>
                  <a:lnTo>
                    <a:pt x="318" y="78"/>
                  </a:lnTo>
                  <a:lnTo>
                    <a:pt x="318" y="60"/>
                  </a:lnTo>
                  <a:lnTo>
                    <a:pt x="330" y="48"/>
                  </a:lnTo>
                  <a:lnTo>
                    <a:pt x="336" y="48"/>
                  </a:lnTo>
                  <a:lnTo>
                    <a:pt x="342" y="42"/>
                  </a:lnTo>
                  <a:lnTo>
                    <a:pt x="336" y="30"/>
                  </a:lnTo>
                  <a:lnTo>
                    <a:pt x="342" y="18"/>
                  </a:lnTo>
                  <a:lnTo>
                    <a:pt x="330" y="12"/>
                  </a:lnTo>
                  <a:lnTo>
                    <a:pt x="312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04" y="0"/>
                  </a:lnTo>
                  <a:lnTo>
                    <a:pt x="192" y="6"/>
                  </a:lnTo>
                  <a:lnTo>
                    <a:pt x="156" y="6"/>
                  </a:lnTo>
                  <a:lnTo>
                    <a:pt x="150" y="12"/>
                  </a:lnTo>
                  <a:lnTo>
                    <a:pt x="126" y="24"/>
                  </a:lnTo>
                  <a:lnTo>
                    <a:pt x="108" y="30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42"/>
                  </a:lnTo>
                  <a:lnTo>
                    <a:pt x="84" y="48"/>
                  </a:lnTo>
                  <a:lnTo>
                    <a:pt x="90" y="60"/>
                  </a:lnTo>
                  <a:lnTo>
                    <a:pt x="90" y="72"/>
                  </a:lnTo>
                  <a:lnTo>
                    <a:pt x="96" y="78"/>
                  </a:lnTo>
                  <a:lnTo>
                    <a:pt x="96" y="84"/>
                  </a:lnTo>
                  <a:lnTo>
                    <a:pt x="150" y="90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80" y="114"/>
                  </a:lnTo>
                  <a:lnTo>
                    <a:pt x="210" y="114"/>
                  </a:lnTo>
                  <a:lnTo>
                    <a:pt x="234" y="126"/>
                  </a:lnTo>
                  <a:lnTo>
                    <a:pt x="240" y="132"/>
                  </a:lnTo>
                  <a:lnTo>
                    <a:pt x="252" y="138"/>
                  </a:lnTo>
                  <a:lnTo>
                    <a:pt x="270" y="156"/>
                  </a:lnTo>
                  <a:lnTo>
                    <a:pt x="288" y="156"/>
                  </a:lnTo>
                  <a:lnTo>
                    <a:pt x="294" y="150"/>
                  </a:lnTo>
                  <a:lnTo>
                    <a:pt x="312" y="150"/>
                  </a:lnTo>
                  <a:lnTo>
                    <a:pt x="318" y="156"/>
                  </a:lnTo>
                  <a:lnTo>
                    <a:pt x="330" y="156"/>
                  </a:lnTo>
                  <a:lnTo>
                    <a:pt x="330" y="144"/>
                  </a:lnTo>
                  <a:lnTo>
                    <a:pt x="348" y="132"/>
                  </a:lnTo>
                  <a:lnTo>
                    <a:pt x="336" y="114"/>
                  </a:lnTo>
                  <a:close/>
                  <a:moveTo>
                    <a:pt x="36" y="78"/>
                  </a:moveTo>
                  <a:lnTo>
                    <a:pt x="6" y="78"/>
                  </a:lnTo>
                  <a:lnTo>
                    <a:pt x="0" y="84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18" y="132"/>
                  </a:lnTo>
                  <a:lnTo>
                    <a:pt x="24" y="126"/>
                  </a:lnTo>
                  <a:lnTo>
                    <a:pt x="30" y="114"/>
                  </a:lnTo>
                  <a:lnTo>
                    <a:pt x="42" y="108"/>
                  </a:lnTo>
                  <a:lnTo>
                    <a:pt x="54" y="108"/>
                  </a:lnTo>
                  <a:lnTo>
                    <a:pt x="60" y="102"/>
                  </a:lnTo>
                  <a:lnTo>
                    <a:pt x="72" y="96"/>
                  </a:lnTo>
                  <a:lnTo>
                    <a:pt x="78" y="90"/>
                  </a:lnTo>
                  <a:lnTo>
                    <a:pt x="72" y="72"/>
                  </a:lnTo>
                  <a:lnTo>
                    <a:pt x="36" y="78"/>
                  </a:lnTo>
                  <a:close/>
                  <a:moveTo>
                    <a:pt x="36" y="66"/>
                  </a:moveTo>
                  <a:lnTo>
                    <a:pt x="48" y="66"/>
                  </a:lnTo>
                  <a:lnTo>
                    <a:pt x="54" y="54"/>
                  </a:lnTo>
                  <a:lnTo>
                    <a:pt x="60" y="48"/>
                  </a:lnTo>
                  <a:lnTo>
                    <a:pt x="60" y="42"/>
                  </a:lnTo>
                  <a:lnTo>
                    <a:pt x="54" y="36"/>
                  </a:lnTo>
                  <a:lnTo>
                    <a:pt x="48" y="36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24" y="60"/>
                  </a:lnTo>
                  <a:lnTo>
                    <a:pt x="30" y="66"/>
                  </a:lnTo>
                  <a:lnTo>
                    <a:pt x="36" y="6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141" name="Eritrea" descr="© INSCALE GmbH, 05.05.2010&#10;http://www.presentationload.com/"/>
            <p:cNvSpPr>
              <a:spLocks/>
            </p:cNvSpPr>
            <p:nvPr/>
          </p:nvSpPr>
          <p:spPr bwMode="gray">
            <a:xfrm>
              <a:off x="5301476" y="3853073"/>
              <a:ext cx="156141" cy="142075"/>
            </a:xfrm>
            <a:custGeom>
              <a:avLst/>
              <a:gdLst>
                <a:gd name="T0" fmla="*/ 2147483647 w 480"/>
                <a:gd name="T1" fmla="*/ 2147483647 h 456"/>
                <a:gd name="T2" fmla="*/ 2147483647 w 480"/>
                <a:gd name="T3" fmla="*/ 2147483647 h 456"/>
                <a:gd name="T4" fmla="*/ 2147483647 w 480"/>
                <a:gd name="T5" fmla="*/ 2147483647 h 456"/>
                <a:gd name="T6" fmla="*/ 2147483647 w 480"/>
                <a:gd name="T7" fmla="*/ 2147483647 h 456"/>
                <a:gd name="T8" fmla="*/ 2147483647 w 480"/>
                <a:gd name="T9" fmla="*/ 2147483647 h 456"/>
                <a:gd name="T10" fmla="*/ 2147483647 w 480"/>
                <a:gd name="T11" fmla="*/ 2147483647 h 456"/>
                <a:gd name="T12" fmla="*/ 2147483647 w 480"/>
                <a:gd name="T13" fmla="*/ 2147483647 h 456"/>
                <a:gd name="T14" fmla="*/ 2147483647 w 480"/>
                <a:gd name="T15" fmla="*/ 2147483647 h 456"/>
                <a:gd name="T16" fmla="*/ 0 w 480"/>
                <a:gd name="T17" fmla="*/ 2147483647 h 456"/>
                <a:gd name="T18" fmla="*/ 2147483647 w 480"/>
                <a:gd name="T19" fmla="*/ 2147483647 h 456"/>
                <a:gd name="T20" fmla="*/ 2147483647 w 480"/>
                <a:gd name="T21" fmla="*/ 2147483647 h 456"/>
                <a:gd name="T22" fmla="*/ 2147483647 w 480"/>
                <a:gd name="T23" fmla="*/ 2147483647 h 456"/>
                <a:gd name="T24" fmla="*/ 2147483647 w 480"/>
                <a:gd name="T25" fmla="*/ 2147483647 h 456"/>
                <a:gd name="T26" fmla="*/ 2147483647 w 480"/>
                <a:gd name="T27" fmla="*/ 2147483647 h 456"/>
                <a:gd name="T28" fmla="*/ 2147483647 w 480"/>
                <a:gd name="T29" fmla="*/ 2147483647 h 456"/>
                <a:gd name="T30" fmla="*/ 2147483647 w 480"/>
                <a:gd name="T31" fmla="*/ 2147483647 h 456"/>
                <a:gd name="T32" fmla="*/ 2147483647 w 480"/>
                <a:gd name="T33" fmla="*/ 2147483647 h 456"/>
                <a:gd name="T34" fmla="*/ 2147483647 w 480"/>
                <a:gd name="T35" fmla="*/ 2147483647 h 456"/>
                <a:gd name="T36" fmla="*/ 2147483647 w 480"/>
                <a:gd name="T37" fmla="*/ 2147483647 h 456"/>
                <a:gd name="T38" fmla="*/ 2147483647 w 480"/>
                <a:gd name="T39" fmla="*/ 2147483647 h 456"/>
                <a:gd name="T40" fmla="*/ 2147483647 w 480"/>
                <a:gd name="T41" fmla="*/ 2147483647 h 456"/>
                <a:gd name="T42" fmla="*/ 2147483647 w 480"/>
                <a:gd name="T43" fmla="*/ 2147483647 h 456"/>
                <a:gd name="T44" fmla="*/ 2147483647 w 480"/>
                <a:gd name="T45" fmla="*/ 2147483647 h 456"/>
                <a:gd name="T46" fmla="*/ 2147483647 w 480"/>
                <a:gd name="T47" fmla="*/ 2147483647 h 456"/>
                <a:gd name="T48" fmla="*/ 2147483647 w 480"/>
                <a:gd name="T49" fmla="*/ 2147483647 h 456"/>
                <a:gd name="T50" fmla="*/ 2147483647 w 480"/>
                <a:gd name="T51" fmla="*/ 2147483647 h 456"/>
                <a:gd name="T52" fmla="*/ 2147483647 w 480"/>
                <a:gd name="T53" fmla="*/ 2147483647 h 456"/>
                <a:gd name="T54" fmla="*/ 2147483647 w 480"/>
                <a:gd name="T55" fmla="*/ 2147483647 h 456"/>
                <a:gd name="T56" fmla="*/ 2147483647 w 480"/>
                <a:gd name="T57" fmla="*/ 2147483647 h 456"/>
                <a:gd name="T58" fmla="*/ 2147483647 w 480"/>
                <a:gd name="T59" fmla="*/ 2147483647 h 456"/>
                <a:gd name="T60" fmla="*/ 2147483647 w 480"/>
                <a:gd name="T61" fmla="*/ 2147483647 h 456"/>
                <a:gd name="T62" fmla="*/ 2147483647 w 480"/>
                <a:gd name="T63" fmla="*/ 2147483647 h 456"/>
                <a:gd name="T64" fmla="*/ 2147483647 w 480"/>
                <a:gd name="T65" fmla="*/ 2147483647 h 456"/>
                <a:gd name="T66" fmla="*/ 2147483647 w 480"/>
                <a:gd name="T67" fmla="*/ 2147483647 h 456"/>
                <a:gd name="T68" fmla="*/ 2147483647 w 480"/>
                <a:gd name="T69" fmla="*/ 2147483647 h 456"/>
                <a:gd name="T70" fmla="*/ 2147483647 w 480"/>
                <a:gd name="T71" fmla="*/ 2147483647 h 456"/>
                <a:gd name="T72" fmla="*/ 2147483647 w 480"/>
                <a:gd name="T73" fmla="*/ 2147483647 h 456"/>
                <a:gd name="T74" fmla="*/ 2147483647 w 480"/>
                <a:gd name="T75" fmla="*/ 2147483647 h 456"/>
                <a:gd name="T76" fmla="*/ 2147483647 w 480"/>
                <a:gd name="T77" fmla="*/ 2147483647 h 456"/>
                <a:gd name="T78" fmla="*/ 2147483647 w 480"/>
                <a:gd name="T79" fmla="*/ 2147483647 h 456"/>
                <a:gd name="T80" fmla="*/ 2147483647 w 480"/>
                <a:gd name="T81" fmla="*/ 2147483647 h 456"/>
                <a:gd name="T82" fmla="*/ 2147483647 w 480"/>
                <a:gd name="T83" fmla="*/ 2147483647 h 456"/>
                <a:gd name="T84" fmla="*/ 2147483647 w 480"/>
                <a:gd name="T85" fmla="*/ 2147483647 h 456"/>
                <a:gd name="T86" fmla="*/ 2147483647 w 480"/>
                <a:gd name="T87" fmla="*/ 2147483647 h 456"/>
                <a:gd name="T88" fmla="*/ 2147483647 w 480"/>
                <a:gd name="T89" fmla="*/ 2147483647 h 456"/>
                <a:gd name="T90" fmla="*/ 2147483647 w 480"/>
                <a:gd name="T91" fmla="*/ 2147483647 h 456"/>
                <a:gd name="T92" fmla="*/ 2147483647 w 480"/>
                <a:gd name="T93" fmla="*/ 2147483647 h 456"/>
                <a:gd name="T94" fmla="*/ 2147483647 w 480"/>
                <a:gd name="T95" fmla="*/ 2147483647 h 456"/>
                <a:gd name="T96" fmla="*/ 2147483647 w 480"/>
                <a:gd name="T97" fmla="*/ 0 h 456"/>
                <a:gd name="T98" fmla="*/ 2147483647 w 480"/>
                <a:gd name="T99" fmla="*/ 2147483647 h 456"/>
                <a:gd name="T100" fmla="*/ 2147483647 w 480"/>
                <a:gd name="T101" fmla="*/ 2147483647 h 456"/>
                <a:gd name="T102" fmla="*/ 2147483647 w 480"/>
                <a:gd name="T103" fmla="*/ 2147483647 h 45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480"/>
                <a:gd name="T157" fmla="*/ 0 h 456"/>
                <a:gd name="T158" fmla="*/ 480 w 480"/>
                <a:gd name="T159" fmla="*/ 456 h 45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480" h="456">
                  <a:moveTo>
                    <a:pt x="78" y="54"/>
                  </a:move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66" y="84"/>
                  </a:lnTo>
                  <a:lnTo>
                    <a:pt x="48" y="84"/>
                  </a:lnTo>
                  <a:lnTo>
                    <a:pt x="48" y="102"/>
                  </a:lnTo>
                  <a:lnTo>
                    <a:pt x="42" y="108"/>
                  </a:lnTo>
                  <a:lnTo>
                    <a:pt x="30" y="10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36" y="168"/>
                  </a:lnTo>
                  <a:lnTo>
                    <a:pt x="30" y="180"/>
                  </a:lnTo>
                  <a:lnTo>
                    <a:pt x="24" y="186"/>
                  </a:lnTo>
                  <a:lnTo>
                    <a:pt x="18" y="186"/>
                  </a:lnTo>
                  <a:lnTo>
                    <a:pt x="18" y="222"/>
                  </a:lnTo>
                  <a:lnTo>
                    <a:pt x="12" y="222"/>
                  </a:lnTo>
                  <a:lnTo>
                    <a:pt x="0" y="228"/>
                  </a:lnTo>
                  <a:lnTo>
                    <a:pt x="0" y="246"/>
                  </a:lnTo>
                  <a:lnTo>
                    <a:pt x="6" y="252"/>
                  </a:lnTo>
                  <a:lnTo>
                    <a:pt x="12" y="300"/>
                  </a:lnTo>
                  <a:lnTo>
                    <a:pt x="48" y="300"/>
                  </a:lnTo>
                  <a:lnTo>
                    <a:pt x="54" y="294"/>
                  </a:lnTo>
                  <a:lnTo>
                    <a:pt x="54" y="288"/>
                  </a:lnTo>
                  <a:lnTo>
                    <a:pt x="60" y="288"/>
                  </a:lnTo>
                  <a:lnTo>
                    <a:pt x="66" y="294"/>
                  </a:lnTo>
                  <a:lnTo>
                    <a:pt x="66" y="300"/>
                  </a:lnTo>
                  <a:lnTo>
                    <a:pt x="84" y="318"/>
                  </a:lnTo>
                  <a:lnTo>
                    <a:pt x="96" y="306"/>
                  </a:lnTo>
                  <a:lnTo>
                    <a:pt x="96" y="294"/>
                  </a:lnTo>
                  <a:lnTo>
                    <a:pt x="102" y="276"/>
                  </a:lnTo>
                  <a:lnTo>
                    <a:pt x="108" y="264"/>
                  </a:lnTo>
                  <a:lnTo>
                    <a:pt x="108" y="252"/>
                  </a:lnTo>
                  <a:lnTo>
                    <a:pt x="120" y="258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44" y="276"/>
                  </a:lnTo>
                  <a:lnTo>
                    <a:pt x="150" y="288"/>
                  </a:lnTo>
                  <a:lnTo>
                    <a:pt x="180" y="288"/>
                  </a:lnTo>
                  <a:lnTo>
                    <a:pt x="186" y="276"/>
                  </a:lnTo>
                  <a:lnTo>
                    <a:pt x="192" y="270"/>
                  </a:lnTo>
                  <a:lnTo>
                    <a:pt x="198" y="276"/>
                  </a:lnTo>
                  <a:lnTo>
                    <a:pt x="198" y="288"/>
                  </a:lnTo>
                  <a:lnTo>
                    <a:pt x="210" y="288"/>
                  </a:lnTo>
                  <a:lnTo>
                    <a:pt x="222" y="282"/>
                  </a:lnTo>
                  <a:lnTo>
                    <a:pt x="240" y="282"/>
                  </a:lnTo>
                  <a:lnTo>
                    <a:pt x="246" y="288"/>
                  </a:lnTo>
                  <a:lnTo>
                    <a:pt x="276" y="288"/>
                  </a:lnTo>
                  <a:lnTo>
                    <a:pt x="294" y="312"/>
                  </a:lnTo>
                  <a:lnTo>
                    <a:pt x="306" y="312"/>
                  </a:lnTo>
                  <a:lnTo>
                    <a:pt x="312" y="318"/>
                  </a:lnTo>
                  <a:lnTo>
                    <a:pt x="324" y="324"/>
                  </a:lnTo>
                  <a:lnTo>
                    <a:pt x="348" y="360"/>
                  </a:lnTo>
                  <a:lnTo>
                    <a:pt x="354" y="366"/>
                  </a:lnTo>
                  <a:lnTo>
                    <a:pt x="378" y="378"/>
                  </a:lnTo>
                  <a:lnTo>
                    <a:pt x="390" y="390"/>
                  </a:lnTo>
                  <a:lnTo>
                    <a:pt x="390" y="414"/>
                  </a:lnTo>
                  <a:lnTo>
                    <a:pt x="396" y="420"/>
                  </a:lnTo>
                  <a:lnTo>
                    <a:pt x="408" y="426"/>
                  </a:lnTo>
                  <a:lnTo>
                    <a:pt x="420" y="426"/>
                  </a:lnTo>
                  <a:lnTo>
                    <a:pt x="432" y="444"/>
                  </a:lnTo>
                  <a:lnTo>
                    <a:pt x="456" y="456"/>
                  </a:lnTo>
                  <a:lnTo>
                    <a:pt x="468" y="438"/>
                  </a:lnTo>
                  <a:lnTo>
                    <a:pt x="480" y="432"/>
                  </a:lnTo>
                  <a:lnTo>
                    <a:pt x="474" y="420"/>
                  </a:lnTo>
                  <a:lnTo>
                    <a:pt x="456" y="402"/>
                  </a:lnTo>
                  <a:lnTo>
                    <a:pt x="432" y="402"/>
                  </a:lnTo>
                  <a:lnTo>
                    <a:pt x="426" y="396"/>
                  </a:lnTo>
                  <a:lnTo>
                    <a:pt x="426" y="360"/>
                  </a:lnTo>
                  <a:lnTo>
                    <a:pt x="420" y="360"/>
                  </a:lnTo>
                  <a:lnTo>
                    <a:pt x="414" y="354"/>
                  </a:lnTo>
                  <a:lnTo>
                    <a:pt x="366" y="330"/>
                  </a:lnTo>
                  <a:lnTo>
                    <a:pt x="360" y="324"/>
                  </a:lnTo>
                  <a:lnTo>
                    <a:pt x="360" y="312"/>
                  </a:lnTo>
                  <a:lnTo>
                    <a:pt x="354" y="300"/>
                  </a:lnTo>
                  <a:lnTo>
                    <a:pt x="354" y="288"/>
                  </a:lnTo>
                  <a:lnTo>
                    <a:pt x="348" y="276"/>
                  </a:lnTo>
                  <a:lnTo>
                    <a:pt x="348" y="270"/>
                  </a:lnTo>
                  <a:lnTo>
                    <a:pt x="336" y="270"/>
                  </a:lnTo>
                  <a:lnTo>
                    <a:pt x="324" y="264"/>
                  </a:lnTo>
                  <a:lnTo>
                    <a:pt x="306" y="264"/>
                  </a:lnTo>
                  <a:lnTo>
                    <a:pt x="282" y="240"/>
                  </a:lnTo>
                  <a:lnTo>
                    <a:pt x="264" y="246"/>
                  </a:lnTo>
                  <a:lnTo>
                    <a:pt x="252" y="228"/>
                  </a:lnTo>
                  <a:lnTo>
                    <a:pt x="234" y="222"/>
                  </a:lnTo>
                  <a:lnTo>
                    <a:pt x="216" y="204"/>
                  </a:lnTo>
                  <a:lnTo>
                    <a:pt x="210" y="192"/>
                  </a:lnTo>
                  <a:lnTo>
                    <a:pt x="204" y="186"/>
                  </a:lnTo>
                  <a:lnTo>
                    <a:pt x="198" y="174"/>
                  </a:lnTo>
                  <a:lnTo>
                    <a:pt x="198" y="114"/>
                  </a:lnTo>
                  <a:lnTo>
                    <a:pt x="192" y="90"/>
                  </a:lnTo>
                  <a:lnTo>
                    <a:pt x="186" y="78"/>
                  </a:lnTo>
                  <a:lnTo>
                    <a:pt x="180" y="60"/>
                  </a:lnTo>
                  <a:lnTo>
                    <a:pt x="168" y="42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50" y="6"/>
                  </a:lnTo>
                  <a:lnTo>
                    <a:pt x="150" y="0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32" y="36"/>
                  </a:lnTo>
                  <a:lnTo>
                    <a:pt x="108" y="48"/>
                  </a:lnTo>
                  <a:lnTo>
                    <a:pt x="90" y="54"/>
                  </a:lnTo>
                  <a:lnTo>
                    <a:pt x="78" y="5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142" name="Equatorial Guinea" descr="© INSCALE GmbH, 05.05.2010&#10;http://www.presentationload.com/"/>
            <p:cNvSpPr>
              <a:spLocks/>
            </p:cNvSpPr>
            <p:nvPr/>
          </p:nvSpPr>
          <p:spPr bwMode="gray">
            <a:xfrm>
              <a:off x="4682033" y="4246230"/>
              <a:ext cx="47355" cy="34295"/>
            </a:xfrm>
            <a:custGeom>
              <a:avLst/>
              <a:gdLst>
                <a:gd name="T0" fmla="*/ 2147483647 w 144"/>
                <a:gd name="T1" fmla="*/ 2147483647 h 108"/>
                <a:gd name="T2" fmla="*/ 2147483647 w 144"/>
                <a:gd name="T3" fmla="*/ 2147483647 h 108"/>
                <a:gd name="T4" fmla="*/ 2147483647 w 144"/>
                <a:gd name="T5" fmla="*/ 2147483647 h 108"/>
                <a:gd name="T6" fmla="*/ 2147483647 w 144"/>
                <a:gd name="T7" fmla="*/ 0 h 108"/>
                <a:gd name="T8" fmla="*/ 2147483647 w 144"/>
                <a:gd name="T9" fmla="*/ 2147483647 h 108"/>
                <a:gd name="T10" fmla="*/ 2147483647 w 144"/>
                <a:gd name="T11" fmla="*/ 2147483647 h 108"/>
                <a:gd name="T12" fmla="*/ 2147483647 w 144"/>
                <a:gd name="T13" fmla="*/ 2147483647 h 108"/>
                <a:gd name="T14" fmla="*/ 2147483647 w 144"/>
                <a:gd name="T15" fmla="*/ 2147483647 h 108"/>
                <a:gd name="T16" fmla="*/ 2147483647 w 144"/>
                <a:gd name="T17" fmla="*/ 2147483647 h 108"/>
                <a:gd name="T18" fmla="*/ 0 w 144"/>
                <a:gd name="T19" fmla="*/ 2147483647 h 108"/>
                <a:gd name="T20" fmla="*/ 0 w 144"/>
                <a:gd name="T21" fmla="*/ 2147483647 h 108"/>
                <a:gd name="T22" fmla="*/ 2147483647 w 144"/>
                <a:gd name="T23" fmla="*/ 2147483647 h 108"/>
                <a:gd name="T24" fmla="*/ 2147483647 w 144"/>
                <a:gd name="T25" fmla="*/ 2147483647 h 108"/>
                <a:gd name="T26" fmla="*/ 2147483647 w 144"/>
                <a:gd name="T27" fmla="*/ 2147483647 h 108"/>
                <a:gd name="T28" fmla="*/ 2147483647 w 144"/>
                <a:gd name="T29" fmla="*/ 2147483647 h 108"/>
                <a:gd name="T30" fmla="*/ 2147483647 w 144"/>
                <a:gd name="T31" fmla="*/ 2147483647 h 108"/>
                <a:gd name="T32" fmla="*/ 2147483647 w 144"/>
                <a:gd name="T33" fmla="*/ 2147483647 h 108"/>
                <a:gd name="T34" fmla="*/ 2147483647 w 144"/>
                <a:gd name="T35" fmla="*/ 2147483647 h 108"/>
                <a:gd name="T36" fmla="*/ 2147483647 w 144"/>
                <a:gd name="T37" fmla="*/ 2147483647 h 108"/>
                <a:gd name="T38" fmla="*/ 2147483647 w 144"/>
                <a:gd name="T39" fmla="*/ 2147483647 h 10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44"/>
                <a:gd name="T61" fmla="*/ 0 h 108"/>
                <a:gd name="T62" fmla="*/ 144 w 144"/>
                <a:gd name="T63" fmla="*/ 108 h 10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44" h="108">
                  <a:moveTo>
                    <a:pt x="138" y="48"/>
                  </a:moveTo>
                  <a:lnTo>
                    <a:pt x="144" y="12"/>
                  </a:lnTo>
                  <a:lnTo>
                    <a:pt x="48" y="12"/>
                  </a:lnTo>
                  <a:lnTo>
                    <a:pt x="36" y="0"/>
                  </a:lnTo>
                  <a:lnTo>
                    <a:pt x="30" y="6"/>
                  </a:lnTo>
                  <a:lnTo>
                    <a:pt x="30" y="42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0" y="84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8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138" y="108"/>
                  </a:lnTo>
                  <a:lnTo>
                    <a:pt x="138" y="102"/>
                  </a:lnTo>
                  <a:lnTo>
                    <a:pt x="144" y="84"/>
                  </a:lnTo>
                  <a:lnTo>
                    <a:pt x="144" y="54"/>
                  </a:lnTo>
                  <a:lnTo>
                    <a:pt x="138" y="4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143" name="El Salvador" descr="© INSCALE GmbH, 05.05.2010&#10;http://www.presentationload.com/"/>
            <p:cNvSpPr>
              <a:spLocks/>
            </p:cNvSpPr>
            <p:nvPr/>
          </p:nvSpPr>
          <p:spPr bwMode="gray">
            <a:xfrm>
              <a:off x="2401357" y="3942482"/>
              <a:ext cx="55033" cy="35519"/>
            </a:xfrm>
            <a:custGeom>
              <a:avLst/>
              <a:gdLst>
                <a:gd name="T0" fmla="*/ 2147483647 w 174"/>
                <a:gd name="T1" fmla="*/ 2147483647 h 114"/>
                <a:gd name="T2" fmla="*/ 2147483647 w 174"/>
                <a:gd name="T3" fmla="*/ 2147483647 h 114"/>
                <a:gd name="T4" fmla="*/ 2147483647 w 174"/>
                <a:gd name="T5" fmla="*/ 2147483647 h 114"/>
                <a:gd name="T6" fmla="*/ 2147483647 w 174"/>
                <a:gd name="T7" fmla="*/ 2147483647 h 114"/>
                <a:gd name="T8" fmla="*/ 2147483647 w 174"/>
                <a:gd name="T9" fmla="*/ 2147483647 h 114"/>
                <a:gd name="T10" fmla="*/ 2147483647 w 174"/>
                <a:gd name="T11" fmla="*/ 2147483647 h 114"/>
                <a:gd name="T12" fmla="*/ 2147483647 w 174"/>
                <a:gd name="T13" fmla="*/ 2147483647 h 114"/>
                <a:gd name="T14" fmla="*/ 2147483647 w 174"/>
                <a:gd name="T15" fmla="*/ 2147483647 h 114"/>
                <a:gd name="T16" fmla="*/ 2147483647 w 174"/>
                <a:gd name="T17" fmla="*/ 2147483647 h 114"/>
                <a:gd name="T18" fmla="*/ 2147483647 w 174"/>
                <a:gd name="T19" fmla="*/ 0 h 114"/>
                <a:gd name="T20" fmla="*/ 2147483647 w 174"/>
                <a:gd name="T21" fmla="*/ 2147483647 h 114"/>
                <a:gd name="T22" fmla="*/ 2147483647 w 174"/>
                <a:gd name="T23" fmla="*/ 2147483647 h 114"/>
                <a:gd name="T24" fmla="*/ 2147483647 w 174"/>
                <a:gd name="T25" fmla="*/ 2147483647 h 114"/>
                <a:gd name="T26" fmla="*/ 2147483647 w 174"/>
                <a:gd name="T27" fmla="*/ 2147483647 h 114"/>
                <a:gd name="T28" fmla="*/ 2147483647 w 174"/>
                <a:gd name="T29" fmla="*/ 2147483647 h 114"/>
                <a:gd name="T30" fmla="*/ 2147483647 w 174"/>
                <a:gd name="T31" fmla="*/ 2147483647 h 114"/>
                <a:gd name="T32" fmla="*/ 2147483647 w 174"/>
                <a:gd name="T33" fmla="*/ 2147483647 h 114"/>
                <a:gd name="T34" fmla="*/ 2147483647 w 174"/>
                <a:gd name="T35" fmla="*/ 2147483647 h 114"/>
                <a:gd name="T36" fmla="*/ 0 w 174"/>
                <a:gd name="T37" fmla="*/ 2147483647 h 114"/>
                <a:gd name="T38" fmla="*/ 2147483647 w 174"/>
                <a:gd name="T39" fmla="*/ 2147483647 h 114"/>
                <a:gd name="T40" fmla="*/ 2147483647 w 174"/>
                <a:gd name="T41" fmla="*/ 2147483647 h 114"/>
                <a:gd name="T42" fmla="*/ 2147483647 w 174"/>
                <a:gd name="T43" fmla="*/ 2147483647 h 114"/>
                <a:gd name="T44" fmla="*/ 2147483647 w 174"/>
                <a:gd name="T45" fmla="*/ 2147483647 h 114"/>
                <a:gd name="T46" fmla="*/ 2147483647 w 174"/>
                <a:gd name="T47" fmla="*/ 2147483647 h 114"/>
                <a:gd name="T48" fmla="*/ 2147483647 w 174"/>
                <a:gd name="T49" fmla="*/ 2147483647 h 114"/>
                <a:gd name="T50" fmla="*/ 2147483647 w 174"/>
                <a:gd name="T51" fmla="*/ 2147483647 h 114"/>
                <a:gd name="T52" fmla="*/ 2147483647 w 174"/>
                <a:gd name="T53" fmla="*/ 2147483647 h 114"/>
                <a:gd name="T54" fmla="*/ 2147483647 w 174"/>
                <a:gd name="T55" fmla="*/ 2147483647 h 114"/>
                <a:gd name="T56" fmla="*/ 2147483647 w 174"/>
                <a:gd name="T57" fmla="*/ 2147483647 h 11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74"/>
                <a:gd name="T88" fmla="*/ 0 h 114"/>
                <a:gd name="T89" fmla="*/ 174 w 174"/>
                <a:gd name="T90" fmla="*/ 114 h 11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74" h="114">
                  <a:moveTo>
                    <a:pt x="174" y="84"/>
                  </a:moveTo>
                  <a:lnTo>
                    <a:pt x="174" y="42"/>
                  </a:lnTo>
                  <a:lnTo>
                    <a:pt x="138" y="42"/>
                  </a:lnTo>
                  <a:lnTo>
                    <a:pt x="132" y="48"/>
                  </a:lnTo>
                  <a:lnTo>
                    <a:pt x="120" y="48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90" y="24"/>
                  </a:lnTo>
                  <a:lnTo>
                    <a:pt x="78" y="12"/>
                  </a:lnTo>
                  <a:lnTo>
                    <a:pt x="72" y="0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8" y="18"/>
                  </a:lnTo>
                  <a:lnTo>
                    <a:pt x="42" y="24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12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8" y="72"/>
                  </a:lnTo>
                  <a:lnTo>
                    <a:pt x="24" y="78"/>
                  </a:lnTo>
                  <a:lnTo>
                    <a:pt x="72" y="78"/>
                  </a:lnTo>
                  <a:lnTo>
                    <a:pt x="96" y="102"/>
                  </a:lnTo>
                  <a:lnTo>
                    <a:pt x="132" y="96"/>
                  </a:lnTo>
                  <a:lnTo>
                    <a:pt x="150" y="114"/>
                  </a:lnTo>
                  <a:lnTo>
                    <a:pt x="168" y="84"/>
                  </a:lnTo>
                  <a:lnTo>
                    <a:pt x="174" y="90"/>
                  </a:lnTo>
                  <a:lnTo>
                    <a:pt x="174" y="8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144" name="Egypt" descr="© INSCALE GmbH, 05.05.2010&#10;http://www.presentationload.com/"/>
            <p:cNvSpPr>
              <a:spLocks/>
            </p:cNvSpPr>
            <p:nvPr/>
          </p:nvSpPr>
          <p:spPr bwMode="gray">
            <a:xfrm>
              <a:off x="5023751" y="3511356"/>
              <a:ext cx="255968" cy="249857"/>
            </a:xfrm>
            <a:custGeom>
              <a:avLst/>
              <a:gdLst>
                <a:gd name="T0" fmla="*/ 2147483647 w 792"/>
                <a:gd name="T1" fmla="*/ 2147483647 h 804"/>
                <a:gd name="T2" fmla="*/ 2147483647 w 792"/>
                <a:gd name="T3" fmla="*/ 2147483647 h 804"/>
                <a:gd name="T4" fmla="*/ 2147483647 w 792"/>
                <a:gd name="T5" fmla="*/ 2147483647 h 804"/>
                <a:gd name="T6" fmla="*/ 2147483647 w 792"/>
                <a:gd name="T7" fmla="*/ 2147483647 h 804"/>
                <a:gd name="T8" fmla="*/ 2147483647 w 792"/>
                <a:gd name="T9" fmla="*/ 2147483647 h 804"/>
                <a:gd name="T10" fmla="*/ 2147483647 w 792"/>
                <a:gd name="T11" fmla="*/ 2147483647 h 804"/>
                <a:gd name="T12" fmla="*/ 2147483647 w 792"/>
                <a:gd name="T13" fmla="*/ 2147483647 h 804"/>
                <a:gd name="T14" fmla="*/ 2147483647 w 792"/>
                <a:gd name="T15" fmla="*/ 2147483647 h 804"/>
                <a:gd name="T16" fmla="*/ 2147483647 w 792"/>
                <a:gd name="T17" fmla="*/ 2147483647 h 804"/>
                <a:gd name="T18" fmla="*/ 2147483647 w 792"/>
                <a:gd name="T19" fmla="*/ 2147483647 h 804"/>
                <a:gd name="T20" fmla="*/ 2147483647 w 792"/>
                <a:gd name="T21" fmla="*/ 2147483647 h 804"/>
                <a:gd name="T22" fmla="*/ 2147483647 w 792"/>
                <a:gd name="T23" fmla="*/ 2147483647 h 804"/>
                <a:gd name="T24" fmla="*/ 2147483647 w 792"/>
                <a:gd name="T25" fmla="*/ 2147483647 h 804"/>
                <a:gd name="T26" fmla="*/ 2147483647 w 792"/>
                <a:gd name="T27" fmla="*/ 2147483647 h 804"/>
                <a:gd name="T28" fmla="*/ 2147483647 w 792"/>
                <a:gd name="T29" fmla="*/ 2147483647 h 804"/>
                <a:gd name="T30" fmla="*/ 2147483647 w 792"/>
                <a:gd name="T31" fmla="*/ 2147483647 h 804"/>
                <a:gd name="T32" fmla="*/ 2147483647 w 792"/>
                <a:gd name="T33" fmla="*/ 2147483647 h 804"/>
                <a:gd name="T34" fmla="*/ 2147483647 w 792"/>
                <a:gd name="T35" fmla="*/ 2147483647 h 804"/>
                <a:gd name="T36" fmla="*/ 2147483647 w 792"/>
                <a:gd name="T37" fmla="*/ 2147483647 h 804"/>
                <a:gd name="T38" fmla="*/ 2147483647 w 792"/>
                <a:gd name="T39" fmla="*/ 2147483647 h 804"/>
                <a:gd name="T40" fmla="*/ 2147483647 w 792"/>
                <a:gd name="T41" fmla="*/ 2147483647 h 804"/>
                <a:gd name="T42" fmla="*/ 2147483647 w 792"/>
                <a:gd name="T43" fmla="*/ 2147483647 h 804"/>
                <a:gd name="T44" fmla="*/ 2147483647 w 792"/>
                <a:gd name="T45" fmla="*/ 2147483647 h 804"/>
                <a:gd name="T46" fmla="*/ 2147483647 w 792"/>
                <a:gd name="T47" fmla="*/ 2147483647 h 804"/>
                <a:gd name="T48" fmla="*/ 2147483647 w 792"/>
                <a:gd name="T49" fmla="*/ 2147483647 h 804"/>
                <a:gd name="T50" fmla="*/ 2147483647 w 792"/>
                <a:gd name="T51" fmla="*/ 2147483647 h 804"/>
                <a:gd name="T52" fmla="*/ 2147483647 w 792"/>
                <a:gd name="T53" fmla="*/ 2147483647 h 804"/>
                <a:gd name="T54" fmla="*/ 2147483647 w 792"/>
                <a:gd name="T55" fmla="*/ 2147483647 h 804"/>
                <a:gd name="T56" fmla="*/ 2147483647 w 792"/>
                <a:gd name="T57" fmla="*/ 2147483647 h 804"/>
                <a:gd name="T58" fmla="*/ 2147483647 w 792"/>
                <a:gd name="T59" fmla="*/ 2147483647 h 804"/>
                <a:gd name="T60" fmla="*/ 2147483647 w 792"/>
                <a:gd name="T61" fmla="*/ 2147483647 h 804"/>
                <a:gd name="T62" fmla="*/ 2147483647 w 792"/>
                <a:gd name="T63" fmla="*/ 2147483647 h 804"/>
                <a:gd name="T64" fmla="*/ 2147483647 w 792"/>
                <a:gd name="T65" fmla="*/ 2147483647 h 804"/>
                <a:gd name="T66" fmla="*/ 2147483647 w 792"/>
                <a:gd name="T67" fmla="*/ 2147483647 h 804"/>
                <a:gd name="T68" fmla="*/ 2147483647 w 792"/>
                <a:gd name="T69" fmla="*/ 2147483647 h 804"/>
                <a:gd name="T70" fmla="*/ 2147483647 w 792"/>
                <a:gd name="T71" fmla="*/ 2147483647 h 804"/>
                <a:gd name="T72" fmla="*/ 2147483647 w 792"/>
                <a:gd name="T73" fmla="*/ 2147483647 h 804"/>
                <a:gd name="T74" fmla="*/ 2147483647 w 792"/>
                <a:gd name="T75" fmla="*/ 2147483647 h 804"/>
                <a:gd name="T76" fmla="*/ 2147483647 w 792"/>
                <a:gd name="T77" fmla="*/ 2147483647 h 804"/>
                <a:gd name="T78" fmla="*/ 2147483647 w 792"/>
                <a:gd name="T79" fmla="*/ 2147483647 h 804"/>
                <a:gd name="T80" fmla="*/ 2147483647 w 792"/>
                <a:gd name="T81" fmla="*/ 2147483647 h 804"/>
                <a:gd name="T82" fmla="*/ 2147483647 w 792"/>
                <a:gd name="T83" fmla="*/ 2147483647 h 804"/>
                <a:gd name="T84" fmla="*/ 2147483647 w 792"/>
                <a:gd name="T85" fmla="*/ 2147483647 h 804"/>
                <a:gd name="T86" fmla="*/ 2147483647 w 792"/>
                <a:gd name="T87" fmla="*/ 2147483647 h 804"/>
                <a:gd name="T88" fmla="*/ 2147483647 w 792"/>
                <a:gd name="T89" fmla="*/ 2147483647 h 804"/>
                <a:gd name="T90" fmla="*/ 2147483647 w 792"/>
                <a:gd name="T91" fmla="*/ 0 h 804"/>
                <a:gd name="T92" fmla="*/ 2147483647 w 792"/>
                <a:gd name="T93" fmla="*/ 2147483647 h 804"/>
                <a:gd name="T94" fmla="*/ 2147483647 w 792"/>
                <a:gd name="T95" fmla="*/ 0 h 8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792"/>
                <a:gd name="T145" fmla="*/ 0 h 804"/>
                <a:gd name="T146" fmla="*/ 792 w 792"/>
                <a:gd name="T147" fmla="*/ 804 h 8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792" h="804">
                  <a:moveTo>
                    <a:pt x="12" y="18"/>
                  </a:moveTo>
                  <a:lnTo>
                    <a:pt x="6" y="24"/>
                  </a:lnTo>
                  <a:lnTo>
                    <a:pt x="6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24" y="78"/>
                  </a:lnTo>
                  <a:lnTo>
                    <a:pt x="18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80"/>
                  </a:lnTo>
                  <a:lnTo>
                    <a:pt x="30" y="264"/>
                  </a:lnTo>
                  <a:lnTo>
                    <a:pt x="36" y="342"/>
                  </a:lnTo>
                  <a:lnTo>
                    <a:pt x="36" y="438"/>
                  </a:lnTo>
                  <a:lnTo>
                    <a:pt x="42" y="534"/>
                  </a:lnTo>
                  <a:lnTo>
                    <a:pt x="42" y="624"/>
                  </a:lnTo>
                  <a:lnTo>
                    <a:pt x="48" y="702"/>
                  </a:lnTo>
                  <a:lnTo>
                    <a:pt x="48" y="774"/>
                  </a:lnTo>
                  <a:lnTo>
                    <a:pt x="474" y="780"/>
                  </a:lnTo>
                  <a:lnTo>
                    <a:pt x="492" y="762"/>
                  </a:lnTo>
                  <a:lnTo>
                    <a:pt x="498" y="762"/>
                  </a:lnTo>
                  <a:lnTo>
                    <a:pt x="498" y="774"/>
                  </a:lnTo>
                  <a:lnTo>
                    <a:pt x="618" y="780"/>
                  </a:lnTo>
                  <a:lnTo>
                    <a:pt x="624" y="786"/>
                  </a:lnTo>
                  <a:lnTo>
                    <a:pt x="630" y="798"/>
                  </a:lnTo>
                  <a:lnTo>
                    <a:pt x="636" y="804"/>
                  </a:lnTo>
                  <a:lnTo>
                    <a:pt x="654" y="804"/>
                  </a:lnTo>
                  <a:lnTo>
                    <a:pt x="660" y="798"/>
                  </a:lnTo>
                  <a:lnTo>
                    <a:pt x="672" y="774"/>
                  </a:lnTo>
                  <a:lnTo>
                    <a:pt x="684" y="762"/>
                  </a:lnTo>
                  <a:lnTo>
                    <a:pt x="696" y="762"/>
                  </a:lnTo>
                  <a:lnTo>
                    <a:pt x="702" y="756"/>
                  </a:lnTo>
                  <a:lnTo>
                    <a:pt x="720" y="756"/>
                  </a:lnTo>
                  <a:lnTo>
                    <a:pt x="726" y="750"/>
                  </a:lnTo>
                  <a:lnTo>
                    <a:pt x="732" y="738"/>
                  </a:lnTo>
                  <a:lnTo>
                    <a:pt x="732" y="714"/>
                  </a:lnTo>
                  <a:lnTo>
                    <a:pt x="762" y="714"/>
                  </a:lnTo>
                  <a:lnTo>
                    <a:pt x="786" y="690"/>
                  </a:lnTo>
                  <a:lnTo>
                    <a:pt x="780" y="684"/>
                  </a:lnTo>
                  <a:lnTo>
                    <a:pt x="774" y="672"/>
                  </a:lnTo>
                  <a:lnTo>
                    <a:pt x="774" y="624"/>
                  </a:lnTo>
                  <a:lnTo>
                    <a:pt x="792" y="618"/>
                  </a:lnTo>
                  <a:lnTo>
                    <a:pt x="786" y="618"/>
                  </a:lnTo>
                  <a:lnTo>
                    <a:pt x="756" y="588"/>
                  </a:lnTo>
                  <a:lnTo>
                    <a:pt x="732" y="552"/>
                  </a:lnTo>
                  <a:lnTo>
                    <a:pt x="726" y="528"/>
                  </a:lnTo>
                  <a:lnTo>
                    <a:pt x="714" y="492"/>
                  </a:lnTo>
                  <a:lnTo>
                    <a:pt x="702" y="468"/>
                  </a:lnTo>
                  <a:lnTo>
                    <a:pt x="690" y="462"/>
                  </a:lnTo>
                  <a:lnTo>
                    <a:pt x="684" y="450"/>
                  </a:lnTo>
                  <a:lnTo>
                    <a:pt x="672" y="444"/>
                  </a:lnTo>
                  <a:lnTo>
                    <a:pt x="666" y="432"/>
                  </a:lnTo>
                  <a:lnTo>
                    <a:pt x="654" y="396"/>
                  </a:lnTo>
                  <a:lnTo>
                    <a:pt x="654" y="378"/>
                  </a:lnTo>
                  <a:lnTo>
                    <a:pt x="618" y="336"/>
                  </a:lnTo>
                  <a:lnTo>
                    <a:pt x="618" y="318"/>
                  </a:lnTo>
                  <a:lnTo>
                    <a:pt x="606" y="294"/>
                  </a:lnTo>
                  <a:lnTo>
                    <a:pt x="594" y="282"/>
                  </a:lnTo>
                  <a:lnTo>
                    <a:pt x="588" y="270"/>
                  </a:lnTo>
                  <a:lnTo>
                    <a:pt x="576" y="258"/>
                  </a:lnTo>
                  <a:lnTo>
                    <a:pt x="570" y="246"/>
                  </a:lnTo>
                  <a:lnTo>
                    <a:pt x="558" y="234"/>
                  </a:lnTo>
                  <a:lnTo>
                    <a:pt x="552" y="222"/>
                  </a:lnTo>
                  <a:lnTo>
                    <a:pt x="546" y="216"/>
                  </a:lnTo>
                  <a:lnTo>
                    <a:pt x="552" y="210"/>
                  </a:lnTo>
                  <a:lnTo>
                    <a:pt x="552" y="198"/>
                  </a:lnTo>
                  <a:lnTo>
                    <a:pt x="540" y="174"/>
                  </a:lnTo>
                  <a:lnTo>
                    <a:pt x="528" y="168"/>
                  </a:lnTo>
                  <a:lnTo>
                    <a:pt x="522" y="168"/>
                  </a:lnTo>
                  <a:lnTo>
                    <a:pt x="540" y="144"/>
                  </a:lnTo>
                  <a:lnTo>
                    <a:pt x="558" y="156"/>
                  </a:lnTo>
                  <a:lnTo>
                    <a:pt x="558" y="174"/>
                  </a:lnTo>
                  <a:lnTo>
                    <a:pt x="564" y="186"/>
                  </a:lnTo>
                  <a:lnTo>
                    <a:pt x="576" y="198"/>
                  </a:lnTo>
                  <a:lnTo>
                    <a:pt x="582" y="210"/>
                  </a:lnTo>
                  <a:lnTo>
                    <a:pt x="588" y="216"/>
                  </a:lnTo>
                  <a:lnTo>
                    <a:pt x="588" y="246"/>
                  </a:lnTo>
                  <a:lnTo>
                    <a:pt x="606" y="264"/>
                  </a:lnTo>
                  <a:lnTo>
                    <a:pt x="612" y="276"/>
                  </a:lnTo>
                  <a:lnTo>
                    <a:pt x="636" y="300"/>
                  </a:lnTo>
                  <a:lnTo>
                    <a:pt x="648" y="306"/>
                  </a:lnTo>
                  <a:lnTo>
                    <a:pt x="654" y="306"/>
                  </a:lnTo>
                  <a:lnTo>
                    <a:pt x="666" y="300"/>
                  </a:lnTo>
                  <a:lnTo>
                    <a:pt x="678" y="288"/>
                  </a:lnTo>
                  <a:lnTo>
                    <a:pt x="672" y="270"/>
                  </a:lnTo>
                  <a:lnTo>
                    <a:pt x="684" y="246"/>
                  </a:lnTo>
                  <a:lnTo>
                    <a:pt x="684" y="234"/>
                  </a:lnTo>
                  <a:lnTo>
                    <a:pt x="690" y="222"/>
                  </a:lnTo>
                  <a:lnTo>
                    <a:pt x="690" y="198"/>
                  </a:lnTo>
                  <a:lnTo>
                    <a:pt x="696" y="186"/>
                  </a:lnTo>
                  <a:lnTo>
                    <a:pt x="696" y="180"/>
                  </a:lnTo>
                  <a:lnTo>
                    <a:pt x="702" y="168"/>
                  </a:lnTo>
                  <a:lnTo>
                    <a:pt x="648" y="24"/>
                  </a:lnTo>
                  <a:lnTo>
                    <a:pt x="642" y="24"/>
                  </a:lnTo>
                  <a:lnTo>
                    <a:pt x="636" y="30"/>
                  </a:lnTo>
                  <a:lnTo>
                    <a:pt x="624" y="30"/>
                  </a:lnTo>
                  <a:lnTo>
                    <a:pt x="600" y="42"/>
                  </a:lnTo>
                  <a:lnTo>
                    <a:pt x="576" y="42"/>
                  </a:lnTo>
                  <a:lnTo>
                    <a:pt x="564" y="36"/>
                  </a:lnTo>
                  <a:lnTo>
                    <a:pt x="558" y="30"/>
                  </a:lnTo>
                  <a:lnTo>
                    <a:pt x="552" y="36"/>
                  </a:lnTo>
                  <a:lnTo>
                    <a:pt x="540" y="42"/>
                  </a:lnTo>
                  <a:lnTo>
                    <a:pt x="534" y="42"/>
                  </a:lnTo>
                  <a:lnTo>
                    <a:pt x="510" y="30"/>
                  </a:lnTo>
                  <a:lnTo>
                    <a:pt x="504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68" y="6"/>
                  </a:lnTo>
                  <a:lnTo>
                    <a:pt x="456" y="12"/>
                  </a:lnTo>
                  <a:lnTo>
                    <a:pt x="438" y="12"/>
                  </a:lnTo>
                  <a:lnTo>
                    <a:pt x="432" y="18"/>
                  </a:lnTo>
                  <a:lnTo>
                    <a:pt x="420" y="18"/>
                  </a:lnTo>
                  <a:lnTo>
                    <a:pt x="414" y="12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72" y="24"/>
                  </a:lnTo>
                  <a:lnTo>
                    <a:pt x="366" y="36"/>
                  </a:lnTo>
                  <a:lnTo>
                    <a:pt x="360" y="42"/>
                  </a:lnTo>
                  <a:lnTo>
                    <a:pt x="336" y="42"/>
                  </a:lnTo>
                  <a:lnTo>
                    <a:pt x="324" y="54"/>
                  </a:lnTo>
                  <a:lnTo>
                    <a:pt x="312" y="60"/>
                  </a:lnTo>
                  <a:lnTo>
                    <a:pt x="306" y="60"/>
                  </a:lnTo>
                  <a:lnTo>
                    <a:pt x="300" y="54"/>
                  </a:lnTo>
                  <a:lnTo>
                    <a:pt x="288" y="54"/>
                  </a:lnTo>
                  <a:lnTo>
                    <a:pt x="276" y="48"/>
                  </a:lnTo>
                  <a:lnTo>
                    <a:pt x="264" y="48"/>
                  </a:lnTo>
                  <a:lnTo>
                    <a:pt x="258" y="42"/>
                  </a:lnTo>
                  <a:lnTo>
                    <a:pt x="204" y="42"/>
                  </a:lnTo>
                  <a:lnTo>
                    <a:pt x="198" y="36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26" y="18"/>
                  </a:lnTo>
                  <a:lnTo>
                    <a:pt x="120" y="12"/>
                  </a:lnTo>
                  <a:lnTo>
                    <a:pt x="96" y="0"/>
                  </a:lnTo>
                  <a:lnTo>
                    <a:pt x="78" y="0"/>
                  </a:lnTo>
                  <a:lnTo>
                    <a:pt x="66" y="12"/>
                  </a:lnTo>
                  <a:lnTo>
                    <a:pt x="54" y="12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12" y="18"/>
                  </a:lnTo>
                  <a:close/>
                </a:path>
              </a:pathLst>
            </a:custGeom>
            <a:solidFill>
              <a:srgbClr val="78D2D2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145" name="Ecuador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2593332" y="4264602"/>
              <a:ext cx="134384" cy="164122"/>
            </a:xfrm>
            <a:custGeom>
              <a:avLst/>
              <a:gdLst>
                <a:gd name="T0" fmla="*/ 2147483647 w 414"/>
                <a:gd name="T1" fmla="*/ 2147483647 h 528"/>
                <a:gd name="T2" fmla="*/ 2147483647 w 414"/>
                <a:gd name="T3" fmla="*/ 2147483647 h 528"/>
                <a:gd name="T4" fmla="*/ 2147483647 w 414"/>
                <a:gd name="T5" fmla="*/ 2147483647 h 528"/>
                <a:gd name="T6" fmla="*/ 2147483647 w 414"/>
                <a:gd name="T7" fmla="*/ 2147483647 h 528"/>
                <a:gd name="T8" fmla="*/ 2147483647 w 414"/>
                <a:gd name="T9" fmla="*/ 2147483647 h 528"/>
                <a:gd name="T10" fmla="*/ 2147483647 w 414"/>
                <a:gd name="T11" fmla="*/ 2147483647 h 528"/>
                <a:gd name="T12" fmla="*/ 2147483647 w 414"/>
                <a:gd name="T13" fmla="*/ 2147483647 h 528"/>
                <a:gd name="T14" fmla="*/ 2147483647 w 414"/>
                <a:gd name="T15" fmla="*/ 2147483647 h 528"/>
                <a:gd name="T16" fmla="*/ 2147483647 w 414"/>
                <a:gd name="T17" fmla="*/ 2147483647 h 528"/>
                <a:gd name="T18" fmla="*/ 2147483647 w 414"/>
                <a:gd name="T19" fmla="*/ 2147483647 h 528"/>
                <a:gd name="T20" fmla="*/ 2147483647 w 414"/>
                <a:gd name="T21" fmla="*/ 2147483647 h 528"/>
                <a:gd name="T22" fmla="*/ 2147483647 w 414"/>
                <a:gd name="T23" fmla="*/ 2147483647 h 528"/>
                <a:gd name="T24" fmla="*/ 2147483647 w 414"/>
                <a:gd name="T25" fmla="*/ 2147483647 h 528"/>
                <a:gd name="T26" fmla="*/ 2147483647 w 414"/>
                <a:gd name="T27" fmla="*/ 2147483647 h 528"/>
                <a:gd name="T28" fmla="*/ 2147483647 w 414"/>
                <a:gd name="T29" fmla="*/ 2147483647 h 528"/>
                <a:gd name="T30" fmla="*/ 2147483647 w 414"/>
                <a:gd name="T31" fmla="*/ 2147483647 h 528"/>
                <a:gd name="T32" fmla="*/ 2147483647 w 414"/>
                <a:gd name="T33" fmla="*/ 2147483647 h 528"/>
                <a:gd name="T34" fmla="*/ 2147483647 w 414"/>
                <a:gd name="T35" fmla="*/ 2147483647 h 528"/>
                <a:gd name="T36" fmla="*/ 2147483647 w 414"/>
                <a:gd name="T37" fmla="*/ 2147483647 h 528"/>
                <a:gd name="T38" fmla="*/ 2147483647 w 414"/>
                <a:gd name="T39" fmla="*/ 2147483647 h 528"/>
                <a:gd name="T40" fmla="*/ 2147483647 w 414"/>
                <a:gd name="T41" fmla="*/ 2147483647 h 528"/>
                <a:gd name="T42" fmla="*/ 2147483647 w 414"/>
                <a:gd name="T43" fmla="*/ 2147483647 h 528"/>
                <a:gd name="T44" fmla="*/ 2147483647 w 414"/>
                <a:gd name="T45" fmla="*/ 2147483647 h 528"/>
                <a:gd name="T46" fmla="*/ 2147483647 w 414"/>
                <a:gd name="T47" fmla="*/ 2147483647 h 528"/>
                <a:gd name="T48" fmla="*/ 2147483647 w 414"/>
                <a:gd name="T49" fmla="*/ 2147483647 h 528"/>
                <a:gd name="T50" fmla="*/ 2147483647 w 414"/>
                <a:gd name="T51" fmla="*/ 2147483647 h 528"/>
                <a:gd name="T52" fmla="*/ 2147483647 w 414"/>
                <a:gd name="T53" fmla="*/ 2147483647 h 528"/>
                <a:gd name="T54" fmla="*/ 2147483647 w 414"/>
                <a:gd name="T55" fmla="*/ 2147483647 h 528"/>
                <a:gd name="T56" fmla="*/ 2147483647 w 414"/>
                <a:gd name="T57" fmla="*/ 2147483647 h 528"/>
                <a:gd name="T58" fmla="*/ 2147483647 w 414"/>
                <a:gd name="T59" fmla="*/ 2147483647 h 528"/>
                <a:gd name="T60" fmla="*/ 2147483647 w 414"/>
                <a:gd name="T61" fmla="*/ 2147483647 h 528"/>
                <a:gd name="T62" fmla="*/ 2147483647 w 414"/>
                <a:gd name="T63" fmla="*/ 2147483647 h 528"/>
                <a:gd name="T64" fmla="*/ 2147483647 w 414"/>
                <a:gd name="T65" fmla="*/ 2147483647 h 528"/>
                <a:gd name="T66" fmla="*/ 2147483647 w 414"/>
                <a:gd name="T67" fmla="*/ 2147483647 h 528"/>
                <a:gd name="T68" fmla="*/ 2147483647 w 414"/>
                <a:gd name="T69" fmla="*/ 2147483647 h 528"/>
                <a:gd name="T70" fmla="*/ 2147483647 w 414"/>
                <a:gd name="T71" fmla="*/ 2147483647 h 528"/>
                <a:gd name="T72" fmla="*/ 2147483647 w 414"/>
                <a:gd name="T73" fmla="*/ 2147483647 h 528"/>
                <a:gd name="T74" fmla="*/ 2147483647 w 414"/>
                <a:gd name="T75" fmla="*/ 2147483647 h 528"/>
                <a:gd name="T76" fmla="*/ 2147483647 w 414"/>
                <a:gd name="T77" fmla="*/ 2147483647 h 528"/>
                <a:gd name="T78" fmla="*/ 2147483647 w 414"/>
                <a:gd name="T79" fmla="*/ 2147483647 h 528"/>
                <a:gd name="T80" fmla="*/ 2147483647 w 414"/>
                <a:gd name="T81" fmla="*/ 2147483647 h 528"/>
                <a:gd name="T82" fmla="*/ 2147483647 w 414"/>
                <a:gd name="T83" fmla="*/ 2147483647 h 528"/>
                <a:gd name="T84" fmla="*/ 2147483647 w 414"/>
                <a:gd name="T85" fmla="*/ 2147483647 h 528"/>
                <a:gd name="T86" fmla="*/ 2147483647 w 414"/>
                <a:gd name="T87" fmla="*/ 2147483647 h 528"/>
                <a:gd name="T88" fmla="*/ 2147483647 w 414"/>
                <a:gd name="T89" fmla="*/ 2147483647 h 52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14"/>
                <a:gd name="T136" fmla="*/ 0 h 528"/>
                <a:gd name="T137" fmla="*/ 414 w 414"/>
                <a:gd name="T138" fmla="*/ 528 h 52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14" h="528">
                  <a:moveTo>
                    <a:pt x="60" y="372"/>
                  </a:moveTo>
                  <a:lnTo>
                    <a:pt x="72" y="366"/>
                  </a:lnTo>
                  <a:lnTo>
                    <a:pt x="78" y="360"/>
                  </a:lnTo>
                  <a:lnTo>
                    <a:pt x="78" y="342"/>
                  </a:lnTo>
                  <a:lnTo>
                    <a:pt x="72" y="342"/>
                  </a:lnTo>
                  <a:lnTo>
                    <a:pt x="54" y="360"/>
                  </a:lnTo>
                  <a:lnTo>
                    <a:pt x="54" y="372"/>
                  </a:lnTo>
                  <a:lnTo>
                    <a:pt x="60" y="372"/>
                  </a:lnTo>
                  <a:close/>
                  <a:moveTo>
                    <a:pt x="414" y="174"/>
                  </a:moveTo>
                  <a:lnTo>
                    <a:pt x="390" y="156"/>
                  </a:lnTo>
                  <a:lnTo>
                    <a:pt x="396" y="156"/>
                  </a:lnTo>
                  <a:lnTo>
                    <a:pt x="396" y="150"/>
                  </a:lnTo>
                  <a:lnTo>
                    <a:pt x="402" y="150"/>
                  </a:lnTo>
                  <a:lnTo>
                    <a:pt x="402" y="126"/>
                  </a:lnTo>
                  <a:lnTo>
                    <a:pt x="372" y="126"/>
                  </a:lnTo>
                  <a:lnTo>
                    <a:pt x="360" y="114"/>
                  </a:lnTo>
                  <a:lnTo>
                    <a:pt x="360" y="108"/>
                  </a:lnTo>
                  <a:lnTo>
                    <a:pt x="354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6" y="90"/>
                  </a:lnTo>
                  <a:lnTo>
                    <a:pt x="330" y="96"/>
                  </a:lnTo>
                  <a:lnTo>
                    <a:pt x="330" y="108"/>
                  </a:lnTo>
                  <a:lnTo>
                    <a:pt x="306" y="108"/>
                  </a:lnTo>
                  <a:lnTo>
                    <a:pt x="300" y="102"/>
                  </a:lnTo>
                  <a:lnTo>
                    <a:pt x="288" y="96"/>
                  </a:lnTo>
                  <a:lnTo>
                    <a:pt x="282" y="102"/>
                  </a:lnTo>
                  <a:lnTo>
                    <a:pt x="270" y="102"/>
                  </a:lnTo>
                  <a:lnTo>
                    <a:pt x="258" y="96"/>
                  </a:lnTo>
                  <a:lnTo>
                    <a:pt x="252" y="90"/>
                  </a:lnTo>
                  <a:lnTo>
                    <a:pt x="252" y="84"/>
                  </a:lnTo>
                  <a:lnTo>
                    <a:pt x="246" y="72"/>
                  </a:lnTo>
                  <a:lnTo>
                    <a:pt x="240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48"/>
                  </a:lnTo>
                  <a:lnTo>
                    <a:pt x="168" y="30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50" y="18"/>
                  </a:lnTo>
                  <a:lnTo>
                    <a:pt x="150" y="36"/>
                  </a:lnTo>
                  <a:lnTo>
                    <a:pt x="144" y="42"/>
                  </a:lnTo>
                  <a:lnTo>
                    <a:pt x="120" y="54"/>
                  </a:lnTo>
                  <a:lnTo>
                    <a:pt x="102" y="54"/>
                  </a:lnTo>
                  <a:lnTo>
                    <a:pt x="96" y="42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6" y="60"/>
                  </a:lnTo>
                  <a:lnTo>
                    <a:pt x="60" y="72"/>
                  </a:lnTo>
                  <a:lnTo>
                    <a:pt x="60" y="84"/>
                  </a:lnTo>
                  <a:lnTo>
                    <a:pt x="66" y="90"/>
                  </a:lnTo>
                  <a:lnTo>
                    <a:pt x="72" y="102"/>
                  </a:lnTo>
                  <a:lnTo>
                    <a:pt x="72" y="120"/>
                  </a:lnTo>
                  <a:lnTo>
                    <a:pt x="66" y="126"/>
                  </a:lnTo>
                  <a:lnTo>
                    <a:pt x="54" y="132"/>
                  </a:lnTo>
                  <a:lnTo>
                    <a:pt x="42" y="144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54" y="180"/>
                  </a:lnTo>
                  <a:lnTo>
                    <a:pt x="36" y="180"/>
                  </a:lnTo>
                  <a:lnTo>
                    <a:pt x="36" y="198"/>
                  </a:lnTo>
                  <a:lnTo>
                    <a:pt x="0" y="216"/>
                  </a:lnTo>
                  <a:lnTo>
                    <a:pt x="24" y="228"/>
                  </a:lnTo>
                  <a:lnTo>
                    <a:pt x="12" y="258"/>
                  </a:lnTo>
                  <a:lnTo>
                    <a:pt x="24" y="270"/>
                  </a:lnTo>
                  <a:lnTo>
                    <a:pt x="24" y="282"/>
                  </a:lnTo>
                  <a:lnTo>
                    <a:pt x="6" y="300"/>
                  </a:lnTo>
                  <a:lnTo>
                    <a:pt x="0" y="300"/>
                  </a:lnTo>
                  <a:lnTo>
                    <a:pt x="12" y="312"/>
                  </a:lnTo>
                  <a:lnTo>
                    <a:pt x="6" y="318"/>
                  </a:lnTo>
                  <a:lnTo>
                    <a:pt x="6" y="324"/>
                  </a:lnTo>
                  <a:lnTo>
                    <a:pt x="18" y="336"/>
                  </a:lnTo>
                  <a:lnTo>
                    <a:pt x="30" y="342"/>
                  </a:lnTo>
                  <a:lnTo>
                    <a:pt x="60" y="342"/>
                  </a:lnTo>
                  <a:lnTo>
                    <a:pt x="72" y="330"/>
                  </a:lnTo>
                  <a:lnTo>
                    <a:pt x="72" y="324"/>
                  </a:lnTo>
                  <a:lnTo>
                    <a:pt x="96" y="330"/>
                  </a:lnTo>
                  <a:lnTo>
                    <a:pt x="102" y="342"/>
                  </a:lnTo>
                  <a:lnTo>
                    <a:pt x="102" y="348"/>
                  </a:lnTo>
                  <a:lnTo>
                    <a:pt x="96" y="366"/>
                  </a:lnTo>
                  <a:lnTo>
                    <a:pt x="90" y="372"/>
                  </a:lnTo>
                  <a:lnTo>
                    <a:pt x="90" y="384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02"/>
                  </a:lnTo>
                  <a:lnTo>
                    <a:pt x="60" y="408"/>
                  </a:lnTo>
                  <a:lnTo>
                    <a:pt x="54" y="408"/>
                  </a:lnTo>
                  <a:lnTo>
                    <a:pt x="60" y="408"/>
                  </a:lnTo>
                  <a:lnTo>
                    <a:pt x="72" y="414"/>
                  </a:lnTo>
                  <a:lnTo>
                    <a:pt x="78" y="414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66" y="438"/>
                  </a:lnTo>
                  <a:lnTo>
                    <a:pt x="54" y="444"/>
                  </a:lnTo>
                  <a:lnTo>
                    <a:pt x="48" y="456"/>
                  </a:lnTo>
                  <a:lnTo>
                    <a:pt x="42" y="462"/>
                  </a:lnTo>
                  <a:lnTo>
                    <a:pt x="54" y="474"/>
                  </a:lnTo>
                  <a:lnTo>
                    <a:pt x="42" y="486"/>
                  </a:lnTo>
                  <a:lnTo>
                    <a:pt x="48" y="492"/>
                  </a:lnTo>
                  <a:lnTo>
                    <a:pt x="54" y="492"/>
                  </a:lnTo>
                  <a:lnTo>
                    <a:pt x="66" y="486"/>
                  </a:lnTo>
                  <a:lnTo>
                    <a:pt x="78" y="474"/>
                  </a:lnTo>
                  <a:lnTo>
                    <a:pt x="90" y="486"/>
                  </a:lnTo>
                  <a:lnTo>
                    <a:pt x="120" y="486"/>
                  </a:lnTo>
                  <a:lnTo>
                    <a:pt x="120" y="492"/>
                  </a:lnTo>
                  <a:lnTo>
                    <a:pt x="126" y="498"/>
                  </a:lnTo>
                  <a:lnTo>
                    <a:pt x="126" y="516"/>
                  </a:lnTo>
                  <a:lnTo>
                    <a:pt x="132" y="528"/>
                  </a:lnTo>
                  <a:lnTo>
                    <a:pt x="150" y="528"/>
                  </a:lnTo>
                  <a:lnTo>
                    <a:pt x="150" y="522"/>
                  </a:lnTo>
                  <a:lnTo>
                    <a:pt x="156" y="516"/>
                  </a:lnTo>
                  <a:lnTo>
                    <a:pt x="156" y="510"/>
                  </a:lnTo>
                  <a:lnTo>
                    <a:pt x="162" y="504"/>
                  </a:lnTo>
                  <a:lnTo>
                    <a:pt x="180" y="504"/>
                  </a:lnTo>
                  <a:lnTo>
                    <a:pt x="180" y="474"/>
                  </a:lnTo>
                  <a:lnTo>
                    <a:pt x="186" y="462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198" y="408"/>
                  </a:lnTo>
                  <a:lnTo>
                    <a:pt x="210" y="402"/>
                  </a:lnTo>
                  <a:lnTo>
                    <a:pt x="210" y="396"/>
                  </a:lnTo>
                  <a:lnTo>
                    <a:pt x="228" y="378"/>
                  </a:lnTo>
                  <a:lnTo>
                    <a:pt x="246" y="366"/>
                  </a:lnTo>
                  <a:lnTo>
                    <a:pt x="264" y="360"/>
                  </a:lnTo>
                  <a:lnTo>
                    <a:pt x="324" y="330"/>
                  </a:lnTo>
                  <a:lnTo>
                    <a:pt x="342" y="318"/>
                  </a:lnTo>
                  <a:lnTo>
                    <a:pt x="354" y="300"/>
                  </a:lnTo>
                  <a:lnTo>
                    <a:pt x="366" y="288"/>
                  </a:lnTo>
                  <a:lnTo>
                    <a:pt x="372" y="276"/>
                  </a:lnTo>
                  <a:lnTo>
                    <a:pt x="384" y="264"/>
                  </a:lnTo>
                  <a:lnTo>
                    <a:pt x="390" y="252"/>
                  </a:lnTo>
                  <a:lnTo>
                    <a:pt x="402" y="210"/>
                  </a:lnTo>
                  <a:lnTo>
                    <a:pt x="414" y="204"/>
                  </a:lnTo>
                  <a:lnTo>
                    <a:pt x="414" y="17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146" name="East Timor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7322344" y="4510785"/>
              <a:ext cx="80630" cy="36744"/>
            </a:xfrm>
            <a:custGeom>
              <a:avLst/>
              <a:gdLst>
                <a:gd name="T0" fmla="*/ 2147483647 w 252"/>
                <a:gd name="T1" fmla="*/ 0 h 120"/>
                <a:gd name="T2" fmla="*/ 2147483647 w 252"/>
                <a:gd name="T3" fmla="*/ 2147483647 h 120"/>
                <a:gd name="T4" fmla="*/ 2147483647 w 252"/>
                <a:gd name="T5" fmla="*/ 2147483647 h 120"/>
                <a:gd name="T6" fmla="*/ 2147483647 w 252"/>
                <a:gd name="T7" fmla="*/ 2147483647 h 120"/>
                <a:gd name="T8" fmla="*/ 2147483647 w 252"/>
                <a:gd name="T9" fmla="*/ 2147483647 h 120"/>
                <a:gd name="T10" fmla="*/ 2147483647 w 252"/>
                <a:gd name="T11" fmla="*/ 2147483647 h 120"/>
                <a:gd name="T12" fmla="*/ 2147483647 w 252"/>
                <a:gd name="T13" fmla="*/ 2147483647 h 120"/>
                <a:gd name="T14" fmla="*/ 2147483647 w 252"/>
                <a:gd name="T15" fmla="*/ 2147483647 h 120"/>
                <a:gd name="T16" fmla="*/ 2147483647 w 252"/>
                <a:gd name="T17" fmla="*/ 2147483647 h 120"/>
                <a:gd name="T18" fmla="*/ 2147483647 w 252"/>
                <a:gd name="T19" fmla="*/ 2147483647 h 120"/>
                <a:gd name="T20" fmla="*/ 2147483647 w 252"/>
                <a:gd name="T21" fmla="*/ 2147483647 h 120"/>
                <a:gd name="T22" fmla="*/ 2147483647 w 252"/>
                <a:gd name="T23" fmla="*/ 2147483647 h 120"/>
                <a:gd name="T24" fmla="*/ 2147483647 w 252"/>
                <a:gd name="T25" fmla="*/ 2147483647 h 120"/>
                <a:gd name="T26" fmla="*/ 2147483647 w 252"/>
                <a:gd name="T27" fmla="*/ 2147483647 h 120"/>
                <a:gd name="T28" fmla="*/ 2147483647 w 252"/>
                <a:gd name="T29" fmla="*/ 2147483647 h 120"/>
                <a:gd name="T30" fmla="*/ 2147483647 w 252"/>
                <a:gd name="T31" fmla="*/ 2147483647 h 120"/>
                <a:gd name="T32" fmla="*/ 2147483647 w 252"/>
                <a:gd name="T33" fmla="*/ 2147483647 h 120"/>
                <a:gd name="T34" fmla="*/ 2147483647 w 252"/>
                <a:gd name="T35" fmla="*/ 2147483647 h 120"/>
                <a:gd name="T36" fmla="*/ 2147483647 w 252"/>
                <a:gd name="T37" fmla="*/ 2147483647 h 120"/>
                <a:gd name="T38" fmla="*/ 2147483647 w 252"/>
                <a:gd name="T39" fmla="*/ 2147483647 h 120"/>
                <a:gd name="T40" fmla="*/ 2147483647 w 252"/>
                <a:gd name="T41" fmla="*/ 2147483647 h 120"/>
                <a:gd name="T42" fmla="*/ 2147483647 w 252"/>
                <a:gd name="T43" fmla="*/ 2147483647 h 120"/>
                <a:gd name="T44" fmla="*/ 2147483647 w 252"/>
                <a:gd name="T45" fmla="*/ 2147483647 h 120"/>
                <a:gd name="T46" fmla="*/ 2147483647 w 252"/>
                <a:gd name="T47" fmla="*/ 0 h 120"/>
                <a:gd name="T48" fmla="*/ 0 w 252"/>
                <a:gd name="T49" fmla="*/ 2147483647 h 120"/>
                <a:gd name="T50" fmla="*/ 2147483647 w 252"/>
                <a:gd name="T51" fmla="*/ 2147483647 h 120"/>
                <a:gd name="T52" fmla="*/ 2147483647 w 252"/>
                <a:gd name="T53" fmla="*/ 2147483647 h 120"/>
                <a:gd name="T54" fmla="*/ 2147483647 w 252"/>
                <a:gd name="T55" fmla="*/ 2147483647 h 120"/>
                <a:gd name="T56" fmla="*/ 2147483647 w 252"/>
                <a:gd name="T57" fmla="*/ 2147483647 h 120"/>
                <a:gd name="T58" fmla="*/ 2147483647 w 252"/>
                <a:gd name="T59" fmla="*/ 2147483647 h 120"/>
                <a:gd name="T60" fmla="*/ 2147483647 w 252"/>
                <a:gd name="T61" fmla="*/ 2147483647 h 120"/>
                <a:gd name="T62" fmla="*/ 2147483647 w 252"/>
                <a:gd name="T63" fmla="*/ 2147483647 h 120"/>
                <a:gd name="T64" fmla="*/ 0 w 252"/>
                <a:gd name="T65" fmla="*/ 2147483647 h 12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52"/>
                <a:gd name="T100" fmla="*/ 0 h 120"/>
                <a:gd name="T101" fmla="*/ 252 w 252"/>
                <a:gd name="T102" fmla="*/ 120 h 12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52" h="120">
                  <a:moveTo>
                    <a:pt x="228" y="0"/>
                  </a:moveTo>
                  <a:lnTo>
                    <a:pt x="204" y="24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42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78" y="54"/>
                  </a:lnTo>
                  <a:lnTo>
                    <a:pt x="90" y="72"/>
                  </a:lnTo>
                  <a:lnTo>
                    <a:pt x="84" y="78"/>
                  </a:lnTo>
                  <a:lnTo>
                    <a:pt x="72" y="102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14"/>
                  </a:lnTo>
                  <a:lnTo>
                    <a:pt x="84" y="108"/>
                  </a:lnTo>
                  <a:lnTo>
                    <a:pt x="96" y="108"/>
                  </a:lnTo>
                  <a:lnTo>
                    <a:pt x="132" y="84"/>
                  </a:lnTo>
                  <a:lnTo>
                    <a:pt x="138" y="90"/>
                  </a:lnTo>
                  <a:lnTo>
                    <a:pt x="162" y="90"/>
                  </a:lnTo>
                  <a:lnTo>
                    <a:pt x="186" y="78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52" y="18"/>
                  </a:lnTo>
                  <a:lnTo>
                    <a:pt x="228" y="0"/>
                  </a:lnTo>
                  <a:close/>
                  <a:moveTo>
                    <a:pt x="0" y="90"/>
                  </a:moveTo>
                  <a:lnTo>
                    <a:pt x="6" y="102"/>
                  </a:lnTo>
                  <a:lnTo>
                    <a:pt x="18" y="96"/>
                  </a:lnTo>
                  <a:lnTo>
                    <a:pt x="24" y="90"/>
                  </a:lnTo>
                  <a:lnTo>
                    <a:pt x="36" y="90"/>
                  </a:lnTo>
                  <a:lnTo>
                    <a:pt x="36" y="84"/>
                  </a:lnTo>
                  <a:lnTo>
                    <a:pt x="42" y="72"/>
                  </a:lnTo>
                  <a:lnTo>
                    <a:pt x="18" y="72"/>
                  </a:lnTo>
                  <a:lnTo>
                    <a:pt x="0" y="9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147" name="Dominican Republic" descr="© INSCALE GmbH, 05.05.2010&#10;http://www.presentationload.com/"/>
            <p:cNvSpPr>
              <a:spLocks/>
            </p:cNvSpPr>
            <p:nvPr/>
          </p:nvSpPr>
          <p:spPr bwMode="gray">
            <a:xfrm>
              <a:off x="2833943" y="3806530"/>
              <a:ext cx="80630" cy="52666"/>
            </a:xfrm>
            <a:custGeom>
              <a:avLst/>
              <a:gdLst>
                <a:gd name="T0" fmla="*/ 2147483647 w 252"/>
                <a:gd name="T1" fmla="*/ 2147483647 h 168"/>
                <a:gd name="T2" fmla="*/ 2147483647 w 252"/>
                <a:gd name="T3" fmla="*/ 2147483647 h 168"/>
                <a:gd name="T4" fmla="*/ 2147483647 w 252"/>
                <a:gd name="T5" fmla="*/ 2147483647 h 168"/>
                <a:gd name="T6" fmla="*/ 2147483647 w 252"/>
                <a:gd name="T7" fmla="*/ 2147483647 h 168"/>
                <a:gd name="T8" fmla="*/ 2147483647 w 252"/>
                <a:gd name="T9" fmla="*/ 2147483647 h 168"/>
                <a:gd name="T10" fmla="*/ 2147483647 w 252"/>
                <a:gd name="T11" fmla="*/ 2147483647 h 168"/>
                <a:gd name="T12" fmla="*/ 2147483647 w 252"/>
                <a:gd name="T13" fmla="*/ 2147483647 h 168"/>
                <a:gd name="T14" fmla="*/ 2147483647 w 252"/>
                <a:gd name="T15" fmla="*/ 2147483647 h 168"/>
                <a:gd name="T16" fmla="*/ 2147483647 w 252"/>
                <a:gd name="T17" fmla="*/ 2147483647 h 168"/>
                <a:gd name="T18" fmla="*/ 2147483647 w 252"/>
                <a:gd name="T19" fmla="*/ 2147483647 h 168"/>
                <a:gd name="T20" fmla="*/ 2147483647 w 252"/>
                <a:gd name="T21" fmla="*/ 0 h 168"/>
                <a:gd name="T22" fmla="*/ 2147483647 w 252"/>
                <a:gd name="T23" fmla="*/ 0 h 168"/>
                <a:gd name="T24" fmla="*/ 2147483647 w 252"/>
                <a:gd name="T25" fmla="*/ 2147483647 h 168"/>
                <a:gd name="T26" fmla="*/ 2147483647 w 252"/>
                <a:gd name="T27" fmla="*/ 2147483647 h 168"/>
                <a:gd name="T28" fmla="*/ 2147483647 w 252"/>
                <a:gd name="T29" fmla="*/ 2147483647 h 168"/>
                <a:gd name="T30" fmla="*/ 2147483647 w 252"/>
                <a:gd name="T31" fmla="*/ 2147483647 h 168"/>
                <a:gd name="T32" fmla="*/ 2147483647 w 252"/>
                <a:gd name="T33" fmla="*/ 2147483647 h 168"/>
                <a:gd name="T34" fmla="*/ 2147483647 w 252"/>
                <a:gd name="T35" fmla="*/ 2147483647 h 168"/>
                <a:gd name="T36" fmla="*/ 2147483647 w 252"/>
                <a:gd name="T37" fmla="*/ 2147483647 h 168"/>
                <a:gd name="T38" fmla="*/ 2147483647 w 252"/>
                <a:gd name="T39" fmla="*/ 2147483647 h 168"/>
                <a:gd name="T40" fmla="*/ 2147483647 w 252"/>
                <a:gd name="T41" fmla="*/ 2147483647 h 168"/>
                <a:gd name="T42" fmla="*/ 0 w 252"/>
                <a:gd name="T43" fmla="*/ 2147483647 h 168"/>
                <a:gd name="T44" fmla="*/ 0 w 252"/>
                <a:gd name="T45" fmla="*/ 2147483647 h 168"/>
                <a:gd name="T46" fmla="*/ 2147483647 w 252"/>
                <a:gd name="T47" fmla="*/ 2147483647 h 168"/>
                <a:gd name="T48" fmla="*/ 0 w 252"/>
                <a:gd name="T49" fmla="*/ 2147483647 h 168"/>
                <a:gd name="T50" fmla="*/ 2147483647 w 252"/>
                <a:gd name="T51" fmla="*/ 2147483647 h 168"/>
                <a:gd name="T52" fmla="*/ 2147483647 w 252"/>
                <a:gd name="T53" fmla="*/ 2147483647 h 168"/>
                <a:gd name="T54" fmla="*/ 2147483647 w 252"/>
                <a:gd name="T55" fmla="*/ 2147483647 h 168"/>
                <a:gd name="T56" fmla="*/ 2147483647 w 252"/>
                <a:gd name="T57" fmla="*/ 2147483647 h 168"/>
                <a:gd name="T58" fmla="*/ 2147483647 w 252"/>
                <a:gd name="T59" fmla="*/ 2147483647 h 168"/>
                <a:gd name="T60" fmla="*/ 2147483647 w 252"/>
                <a:gd name="T61" fmla="*/ 2147483647 h 168"/>
                <a:gd name="T62" fmla="*/ 2147483647 w 252"/>
                <a:gd name="T63" fmla="*/ 2147483647 h 168"/>
                <a:gd name="T64" fmla="*/ 2147483647 w 252"/>
                <a:gd name="T65" fmla="*/ 2147483647 h 168"/>
                <a:gd name="T66" fmla="*/ 2147483647 w 252"/>
                <a:gd name="T67" fmla="*/ 2147483647 h 16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52"/>
                <a:gd name="T103" fmla="*/ 0 h 168"/>
                <a:gd name="T104" fmla="*/ 252 w 252"/>
                <a:gd name="T105" fmla="*/ 168 h 16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52" h="168">
                  <a:moveTo>
                    <a:pt x="246" y="102"/>
                  </a:moveTo>
                  <a:lnTo>
                    <a:pt x="234" y="96"/>
                  </a:lnTo>
                  <a:lnTo>
                    <a:pt x="216" y="78"/>
                  </a:lnTo>
                  <a:lnTo>
                    <a:pt x="192" y="66"/>
                  </a:lnTo>
                  <a:lnTo>
                    <a:pt x="156" y="54"/>
                  </a:lnTo>
                  <a:lnTo>
                    <a:pt x="132" y="42"/>
                  </a:lnTo>
                  <a:lnTo>
                    <a:pt x="126" y="30"/>
                  </a:lnTo>
                  <a:lnTo>
                    <a:pt x="108" y="12"/>
                  </a:lnTo>
                  <a:lnTo>
                    <a:pt x="96" y="6"/>
                  </a:lnTo>
                  <a:lnTo>
                    <a:pt x="84" y="6"/>
                  </a:lnTo>
                  <a:lnTo>
                    <a:pt x="60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6"/>
                  </a:lnTo>
                  <a:lnTo>
                    <a:pt x="30" y="42"/>
                  </a:lnTo>
                  <a:lnTo>
                    <a:pt x="30" y="54"/>
                  </a:lnTo>
                  <a:lnTo>
                    <a:pt x="24" y="60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12" y="144"/>
                  </a:lnTo>
                  <a:lnTo>
                    <a:pt x="0" y="126"/>
                  </a:lnTo>
                  <a:lnTo>
                    <a:pt x="30" y="168"/>
                  </a:lnTo>
                  <a:lnTo>
                    <a:pt x="78" y="132"/>
                  </a:lnTo>
                  <a:lnTo>
                    <a:pt x="174" y="132"/>
                  </a:lnTo>
                  <a:lnTo>
                    <a:pt x="186" y="138"/>
                  </a:lnTo>
                  <a:lnTo>
                    <a:pt x="240" y="138"/>
                  </a:lnTo>
                  <a:lnTo>
                    <a:pt x="246" y="132"/>
                  </a:lnTo>
                  <a:lnTo>
                    <a:pt x="252" y="120"/>
                  </a:lnTo>
                  <a:lnTo>
                    <a:pt x="252" y="114"/>
                  </a:lnTo>
                  <a:lnTo>
                    <a:pt x="246" y="10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148" name="Djibouti" descr="© INSCALE GmbH, 05.05.2010&#10;http://www.presentationload.com/"/>
            <p:cNvSpPr>
              <a:spLocks/>
            </p:cNvSpPr>
            <p:nvPr/>
          </p:nvSpPr>
          <p:spPr bwMode="gray">
            <a:xfrm>
              <a:off x="5425621" y="3987799"/>
              <a:ext cx="38395" cy="41643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0 w 114"/>
                <a:gd name="T7" fmla="*/ 2147483647 h 138"/>
                <a:gd name="T8" fmla="*/ 0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2147483647 h 138"/>
                <a:gd name="T14" fmla="*/ 2147483647 w 114"/>
                <a:gd name="T15" fmla="*/ 2147483647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2147483647 w 114"/>
                <a:gd name="T29" fmla="*/ 2147483647 h 138"/>
                <a:gd name="T30" fmla="*/ 2147483647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0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14"/>
                <a:gd name="T91" fmla="*/ 0 h 138"/>
                <a:gd name="T92" fmla="*/ 114 w 114"/>
                <a:gd name="T93" fmla="*/ 138 h 13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14" h="138">
                  <a:moveTo>
                    <a:pt x="72" y="24"/>
                  </a:moveTo>
                  <a:lnTo>
                    <a:pt x="48" y="12"/>
                  </a:lnTo>
                  <a:lnTo>
                    <a:pt x="18" y="66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6" y="114"/>
                  </a:lnTo>
                  <a:lnTo>
                    <a:pt x="6" y="126"/>
                  </a:lnTo>
                  <a:lnTo>
                    <a:pt x="18" y="138"/>
                  </a:lnTo>
                  <a:lnTo>
                    <a:pt x="42" y="138"/>
                  </a:lnTo>
                  <a:lnTo>
                    <a:pt x="48" y="132"/>
                  </a:lnTo>
                  <a:lnTo>
                    <a:pt x="54" y="132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90" y="132"/>
                  </a:lnTo>
                  <a:lnTo>
                    <a:pt x="114" y="108"/>
                  </a:lnTo>
                  <a:lnTo>
                    <a:pt x="114" y="102"/>
                  </a:lnTo>
                  <a:lnTo>
                    <a:pt x="102" y="90"/>
                  </a:lnTo>
                  <a:lnTo>
                    <a:pt x="66" y="90"/>
                  </a:lnTo>
                  <a:lnTo>
                    <a:pt x="78" y="84"/>
                  </a:lnTo>
                  <a:lnTo>
                    <a:pt x="84" y="72"/>
                  </a:lnTo>
                  <a:lnTo>
                    <a:pt x="96" y="66"/>
                  </a:lnTo>
                  <a:lnTo>
                    <a:pt x="102" y="54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108" y="12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2" y="2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149" name="Denmark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4660276" y="2875691"/>
              <a:ext cx="90869" cy="73487"/>
            </a:xfrm>
            <a:custGeom>
              <a:avLst/>
              <a:gdLst>
                <a:gd name="T0" fmla="*/ 2147483647 w 71"/>
                <a:gd name="T1" fmla="*/ 2147483647 h 60"/>
                <a:gd name="T2" fmla="*/ 2147483647 w 71"/>
                <a:gd name="T3" fmla="*/ 2147483647 h 60"/>
                <a:gd name="T4" fmla="*/ 2147483647 w 71"/>
                <a:gd name="T5" fmla="*/ 2147483647 h 60"/>
                <a:gd name="T6" fmla="*/ 2147483647 w 71"/>
                <a:gd name="T7" fmla="*/ 2147483647 h 60"/>
                <a:gd name="T8" fmla="*/ 2147483647 w 71"/>
                <a:gd name="T9" fmla="*/ 2147483647 h 60"/>
                <a:gd name="T10" fmla="*/ 2147483647 w 71"/>
                <a:gd name="T11" fmla="*/ 2147483647 h 60"/>
                <a:gd name="T12" fmla="*/ 2147483647 w 71"/>
                <a:gd name="T13" fmla="*/ 2147483647 h 60"/>
                <a:gd name="T14" fmla="*/ 2147483647 w 71"/>
                <a:gd name="T15" fmla="*/ 2147483647 h 60"/>
                <a:gd name="T16" fmla="*/ 2147483647 w 71"/>
                <a:gd name="T17" fmla="*/ 2147483647 h 60"/>
                <a:gd name="T18" fmla="*/ 2147483647 w 71"/>
                <a:gd name="T19" fmla="*/ 2147483647 h 60"/>
                <a:gd name="T20" fmla="*/ 2147483647 w 71"/>
                <a:gd name="T21" fmla="*/ 2147483647 h 60"/>
                <a:gd name="T22" fmla="*/ 2147483647 w 71"/>
                <a:gd name="T23" fmla="*/ 2147483647 h 60"/>
                <a:gd name="T24" fmla="*/ 2147483647 w 71"/>
                <a:gd name="T25" fmla="*/ 2147483647 h 60"/>
                <a:gd name="T26" fmla="*/ 2147483647 w 71"/>
                <a:gd name="T27" fmla="*/ 2147483647 h 60"/>
                <a:gd name="T28" fmla="*/ 2147483647 w 71"/>
                <a:gd name="T29" fmla="*/ 2147483647 h 60"/>
                <a:gd name="T30" fmla="*/ 2147483647 w 71"/>
                <a:gd name="T31" fmla="*/ 2147483647 h 60"/>
                <a:gd name="T32" fmla="*/ 2147483647 w 71"/>
                <a:gd name="T33" fmla="*/ 2147483647 h 60"/>
                <a:gd name="T34" fmla="*/ 2147483647 w 71"/>
                <a:gd name="T35" fmla="*/ 2147483647 h 60"/>
                <a:gd name="T36" fmla="*/ 2147483647 w 71"/>
                <a:gd name="T37" fmla="*/ 2147483647 h 60"/>
                <a:gd name="T38" fmla="*/ 2147483647 w 71"/>
                <a:gd name="T39" fmla="*/ 2147483647 h 60"/>
                <a:gd name="T40" fmla="*/ 2147483647 w 71"/>
                <a:gd name="T41" fmla="*/ 2147483647 h 60"/>
                <a:gd name="T42" fmla="*/ 2147483647 w 71"/>
                <a:gd name="T43" fmla="*/ 2147483647 h 60"/>
                <a:gd name="T44" fmla="*/ 2147483647 w 71"/>
                <a:gd name="T45" fmla="*/ 2147483647 h 60"/>
                <a:gd name="T46" fmla="*/ 2147483647 w 71"/>
                <a:gd name="T47" fmla="*/ 2147483647 h 60"/>
                <a:gd name="T48" fmla="*/ 2147483647 w 71"/>
                <a:gd name="T49" fmla="*/ 2147483647 h 60"/>
                <a:gd name="T50" fmla="*/ 2147483647 w 71"/>
                <a:gd name="T51" fmla="*/ 2147483647 h 60"/>
                <a:gd name="T52" fmla="*/ 2147483647 w 71"/>
                <a:gd name="T53" fmla="*/ 2147483647 h 60"/>
                <a:gd name="T54" fmla="*/ 2147483647 w 71"/>
                <a:gd name="T55" fmla="*/ 2147483647 h 60"/>
                <a:gd name="T56" fmla="*/ 2147483647 w 71"/>
                <a:gd name="T57" fmla="*/ 2147483647 h 60"/>
                <a:gd name="T58" fmla="*/ 2147483647 w 71"/>
                <a:gd name="T59" fmla="*/ 2147483647 h 60"/>
                <a:gd name="T60" fmla="*/ 2147483647 w 71"/>
                <a:gd name="T61" fmla="*/ 2147483647 h 60"/>
                <a:gd name="T62" fmla="*/ 2147483647 w 71"/>
                <a:gd name="T63" fmla="*/ 0 h 60"/>
                <a:gd name="T64" fmla="*/ 2147483647 w 71"/>
                <a:gd name="T65" fmla="*/ 2147483647 h 60"/>
                <a:gd name="T66" fmla="*/ 2147483647 w 71"/>
                <a:gd name="T67" fmla="*/ 2147483647 h 60"/>
                <a:gd name="T68" fmla="*/ 2147483647 w 71"/>
                <a:gd name="T69" fmla="*/ 2147483647 h 60"/>
                <a:gd name="T70" fmla="*/ 2147483647 w 71"/>
                <a:gd name="T71" fmla="*/ 2147483647 h 60"/>
                <a:gd name="T72" fmla="*/ 2147483647 w 71"/>
                <a:gd name="T73" fmla="*/ 2147483647 h 60"/>
                <a:gd name="T74" fmla="*/ 2147483647 w 71"/>
                <a:gd name="T75" fmla="*/ 2147483647 h 60"/>
                <a:gd name="T76" fmla="*/ 2147483647 w 71"/>
                <a:gd name="T77" fmla="*/ 2147483647 h 60"/>
                <a:gd name="T78" fmla="*/ 2147483647 w 71"/>
                <a:gd name="T79" fmla="*/ 2147483647 h 60"/>
                <a:gd name="T80" fmla="*/ 2147483647 w 71"/>
                <a:gd name="T81" fmla="*/ 2147483647 h 60"/>
                <a:gd name="T82" fmla="*/ 0 w 71"/>
                <a:gd name="T83" fmla="*/ 2147483647 h 60"/>
                <a:gd name="T84" fmla="*/ 0 w 71"/>
                <a:gd name="T85" fmla="*/ 2147483647 h 60"/>
                <a:gd name="T86" fmla="*/ 2147483647 w 71"/>
                <a:gd name="T87" fmla="*/ 2147483647 h 60"/>
                <a:gd name="T88" fmla="*/ 2147483647 w 71"/>
                <a:gd name="T89" fmla="*/ 2147483647 h 60"/>
                <a:gd name="T90" fmla="*/ 2147483647 w 71"/>
                <a:gd name="T91" fmla="*/ 2147483647 h 60"/>
                <a:gd name="T92" fmla="*/ 2147483647 w 71"/>
                <a:gd name="T93" fmla="*/ 2147483647 h 60"/>
                <a:gd name="T94" fmla="*/ 2147483647 w 71"/>
                <a:gd name="T95" fmla="*/ 2147483647 h 60"/>
                <a:gd name="T96" fmla="*/ 2147483647 w 71"/>
                <a:gd name="T97" fmla="*/ 2147483647 h 60"/>
                <a:gd name="T98" fmla="*/ 2147483647 w 71"/>
                <a:gd name="T99" fmla="*/ 2147483647 h 60"/>
                <a:gd name="T100" fmla="*/ 2147483647 w 71"/>
                <a:gd name="T101" fmla="*/ 2147483647 h 60"/>
                <a:gd name="T102" fmla="*/ 2147483647 w 71"/>
                <a:gd name="T103" fmla="*/ 2147483647 h 60"/>
                <a:gd name="T104" fmla="*/ 2147483647 w 71"/>
                <a:gd name="T105" fmla="*/ 2147483647 h 60"/>
                <a:gd name="T106" fmla="*/ 2147483647 w 71"/>
                <a:gd name="T107" fmla="*/ 2147483647 h 60"/>
                <a:gd name="T108" fmla="*/ 2147483647 w 71"/>
                <a:gd name="T109" fmla="*/ 2147483647 h 60"/>
                <a:gd name="T110" fmla="*/ 2147483647 w 71"/>
                <a:gd name="T111" fmla="*/ 2147483647 h 60"/>
                <a:gd name="T112" fmla="*/ 2147483647 w 71"/>
                <a:gd name="T113" fmla="*/ 2147483647 h 60"/>
                <a:gd name="T114" fmla="*/ 2147483647 w 71"/>
                <a:gd name="T115" fmla="*/ 2147483647 h 60"/>
                <a:gd name="T116" fmla="*/ 2147483647 w 71"/>
                <a:gd name="T117" fmla="*/ 2147483647 h 60"/>
                <a:gd name="T118" fmla="*/ 2147483647 w 71"/>
                <a:gd name="T119" fmla="*/ 2147483647 h 60"/>
                <a:gd name="T120" fmla="*/ 2147483647 w 71"/>
                <a:gd name="T121" fmla="*/ 2147483647 h 6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1"/>
                <a:gd name="T184" fmla="*/ 0 h 60"/>
                <a:gd name="T185" fmla="*/ 71 w 71"/>
                <a:gd name="T186" fmla="*/ 60 h 6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1" h="60">
                  <a:moveTo>
                    <a:pt x="62" y="48"/>
                  </a:moveTo>
                  <a:lnTo>
                    <a:pt x="67" y="46"/>
                  </a:lnTo>
                  <a:lnTo>
                    <a:pt x="69" y="46"/>
                  </a:lnTo>
                  <a:lnTo>
                    <a:pt x="69" y="43"/>
                  </a:lnTo>
                  <a:lnTo>
                    <a:pt x="67" y="43"/>
                  </a:lnTo>
                  <a:lnTo>
                    <a:pt x="62" y="41"/>
                  </a:lnTo>
                  <a:lnTo>
                    <a:pt x="62" y="38"/>
                  </a:lnTo>
                  <a:lnTo>
                    <a:pt x="64" y="38"/>
                  </a:lnTo>
                  <a:lnTo>
                    <a:pt x="64" y="36"/>
                  </a:lnTo>
                  <a:lnTo>
                    <a:pt x="67" y="34"/>
                  </a:lnTo>
                  <a:lnTo>
                    <a:pt x="67" y="29"/>
                  </a:lnTo>
                  <a:lnTo>
                    <a:pt x="64" y="29"/>
                  </a:lnTo>
                  <a:lnTo>
                    <a:pt x="62" y="29"/>
                  </a:lnTo>
                  <a:lnTo>
                    <a:pt x="60" y="31"/>
                  </a:lnTo>
                  <a:lnTo>
                    <a:pt x="60" y="34"/>
                  </a:lnTo>
                  <a:lnTo>
                    <a:pt x="57" y="36"/>
                  </a:lnTo>
                  <a:lnTo>
                    <a:pt x="57" y="34"/>
                  </a:lnTo>
                  <a:lnTo>
                    <a:pt x="55" y="31"/>
                  </a:lnTo>
                  <a:lnTo>
                    <a:pt x="52" y="34"/>
                  </a:lnTo>
                  <a:lnTo>
                    <a:pt x="45" y="38"/>
                  </a:lnTo>
                  <a:lnTo>
                    <a:pt x="48" y="38"/>
                  </a:lnTo>
                  <a:lnTo>
                    <a:pt x="50" y="41"/>
                  </a:lnTo>
                  <a:lnTo>
                    <a:pt x="50" y="43"/>
                  </a:lnTo>
                  <a:lnTo>
                    <a:pt x="50" y="46"/>
                  </a:lnTo>
                  <a:lnTo>
                    <a:pt x="50" y="48"/>
                  </a:lnTo>
                  <a:lnTo>
                    <a:pt x="48" y="48"/>
                  </a:lnTo>
                  <a:lnTo>
                    <a:pt x="50" y="48"/>
                  </a:lnTo>
                  <a:lnTo>
                    <a:pt x="50" y="50"/>
                  </a:lnTo>
                  <a:lnTo>
                    <a:pt x="55" y="50"/>
                  </a:lnTo>
                  <a:lnTo>
                    <a:pt x="55" y="48"/>
                  </a:lnTo>
                  <a:lnTo>
                    <a:pt x="57" y="48"/>
                  </a:lnTo>
                  <a:lnTo>
                    <a:pt x="57" y="50"/>
                  </a:lnTo>
                  <a:lnTo>
                    <a:pt x="60" y="53"/>
                  </a:lnTo>
                  <a:lnTo>
                    <a:pt x="60" y="55"/>
                  </a:lnTo>
                  <a:lnTo>
                    <a:pt x="62" y="55"/>
                  </a:lnTo>
                  <a:lnTo>
                    <a:pt x="62" y="53"/>
                  </a:lnTo>
                  <a:lnTo>
                    <a:pt x="62" y="48"/>
                  </a:lnTo>
                  <a:close/>
                  <a:moveTo>
                    <a:pt x="71" y="53"/>
                  </a:moveTo>
                  <a:lnTo>
                    <a:pt x="62" y="55"/>
                  </a:lnTo>
                  <a:lnTo>
                    <a:pt x="60" y="58"/>
                  </a:lnTo>
                  <a:lnTo>
                    <a:pt x="57" y="58"/>
                  </a:lnTo>
                  <a:lnTo>
                    <a:pt x="57" y="55"/>
                  </a:lnTo>
                  <a:lnTo>
                    <a:pt x="55" y="55"/>
                  </a:lnTo>
                  <a:lnTo>
                    <a:pt x="50" y="53"/>
                  </a:lnTo>
                  <a:lnTo>
                    <a:pt x="45" y="53"/>
                  </a:lnTo>
                  <a:lnTo>
                    <a:pt x="45" y="58"/>
                  </a:lnTo>
                  <a:lnTo>
                    <a:pt x="50" y="58"/>
                  </a:lnTo>
                  <a:lnTo>
                    <a:pt x="52" y="58"/>
                  </a:lnTo>
                  <a:lnTo>
                    <a:pt x="55" y="60"/>
                  </a:lnTo>
                  <a:lnTo>
                    <a:pt x="57" y="60"/>
                  </a:lnTo>
                  <a:lnTo>
                    <a:pt x="60" y="60"/>
                  </a:lnTo>
                  <a:lnTo>
                    <a:pt x="62" y="60"/>
                  </a:lnTo>
                  <a:lnTo>
                    <a:pt x="69" y="58"/>
                  </a:lnTo>
                  <a:lnTo>
                    <a:pt x="71" y="58"/>
                  </a:lnTo>
                  <a:lnTo>
                    <a:pt x="71" y="53"/>
                  </a:lnTo>
                  <a:close/>
                  <a:moveTo>
                    <a:pt x="31" y="12"/>
                  </a:moveTo>
                  <a:lnTo>
                    <a:pt x="36" y="7"/>
                  </a:lnTo>
                  <a:lnTo>
                    <a:pt x="36" y="3"/>
                  </a:lnTo>
                  <a:lnTo>
                    <a:pt x="36" y="0"/>
                  </a:lnTo>
                  <a:lnTo>
                    <a:pt x="26" y="0"/>
                  </a:lnTo>
                  <a:lnTo>
                    <a:pt x="26" y="3"/>
                  </a:lnTo>
                  <a:lnTo>
                    <a:pt x="21" y="7"/>
                  </a:lnTo>
                  <a:lnTo>
                    <a:pt x="21" y="10"/>
                  </a:lnTo>
                  <a:lnTo>
                    <a:pt x="19" y="10"/>
                  </a:lnTo>
                  <a:lnTo>
                    <a:pt x="19" y="19"/>
                  </a:lnTo>
                  <a:lnTo>
                    <a:pt x="14" y="14"/>
                  </a:lnTo>
                  <a:lnTo>
                    <a:pt x="12" y="7"/>
                  </a:lnTo>
                  <a:lnTo>
                    <a:pt x="7" y="10"/>
                  </a:lnTo>
                  <a:lnTo>
                    <a:pt x="5" y="10"/>
                  </a:lnTo>
                  <a:lnTo>
                    <a:pt x="5" y="12"/>
                  </a:lnTo>
                  <a:lnTo>
                    <a:pt x="5" y="14"/>
                  </a:lnTo>
                  <a:lnTo>
                    <a:pt x="7" y="14"/>
                  </a:lnTo>
                  <a:lnTo>
                    <a:pt x="12" y="19"/>
                  </a:lnTo>
                  <a:lnTo>
                    <a:pt x="12" y="22"/>
                  </a:lnTo>
                  <a:lnTo>
                    <a:pt x="5" y="19"/>
                  </a:lnTo>
                  <a:lnTo>
                    <a:pt x="2" y="24"/>
                  </a:lnTo>
                  <a:lnTo>
                    <a:pt x="0" y="24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5" y="34"/>
                  </a:lnTo>
                  <a:lnTo>
                    <a:pt x="7" y="34"/>
                  </a:lnTo>
                  <a:lnTo>
                    <a:pt x="2" y="38"/>
                  </a:lnTo>
                  <a:lnTo>
                    <a:pt x="2" y="41"/>
                  </a:lnTo>
                  <a:lnTo>
                    <a:pt x="5" y="43"/>
                  </a:lnTo>
                  <a:lnTo>
                    <a:pt x="7" y="43"/>
                  </a:lnTo>
                  <a:lnTo>
                    <a:pt x="7" y="48"/>
                  </a:lnTo>
                  <a:lnTo>
                    <a:pt x="5" y="53"/>
                  </a:lnTo>
                  <a:lnTo>
                    <a:pt x="7" y="53"/>
                  </a:lnTo>
                  <a:lnTo>
                    <a:pt x="17" y="53"/>
                  </a:lnTo>
                  <a:lnTo>
                    <a:pt x="17" y="55"/>
                  </a:lnTo>
                  <a:lnTo>
                    <a:pt x="24" y="55"/>
                  </a:lnTo>
                  <a:lnTo>
                    <a:pt x="26" y="58"/>
                  </a:lnTo>
                  <a:lnTo>
                    <a:pt x="26" y="55"/>
                  </a:lnTo>
                  <a:lnTo>
                    <a:pt x="24" y="53"/>
                  </a:lnTo>
                  <a:lnTo>
                    <a:pt x="24" y="48"/>
                  </a:lnTo>
                  <a:lnTo>
                    <a:pt x="26" y="43"/>
                  </a:lnTo>
                  <a:lnTo>
                    <a:pt x="24" y="41"/>
                  </a:lnTo>
                  <a:lnTo>
                    <a:pt x="24" y="38"/>
                  </a:lnTo>
                  <a:lnTo>
                    <a:pt x="21" y="38"/>
                  </a:lnTo>
                  <a:lnTo>
                    <a:pt x="24" y="38"/>
                  </a:lnTo>
                  <a:lnTo>
                    <a:pt x="31" y="34"/>
                  </a:lnTo>
                  <a:lnTo>
                    <a:pt x="33" y="26"/>
                  </a:lnTo>
                  <a:lnTo>
                    <a:pt x="38" y="26"/>
                  </a:lnTo>
                  <a:lnTo>
                    <a:pt x="41" y="19"/>
                  </a:lnTo>
                  <a:lnTo>
                    <a:pt x="31" y="19"/>
                  </a:lnTo>
                  <a:lnTo>
                    <a:pt x="31" y="12"/>
                  </a:lnTo>
                  <a:close/>
                  <a:moveTo>
                    <a:pt x="29" y="38"/>
                  </a:moveTo>
                  <a:lnTo>
                    <a:pt x="31" y="48"/>
                  </a:lnTo>
                  <a:lnTo>
                    <a:pt x="36" y="53"/>
                  </a:lnTo>
                  <a:lnTo>
                    <a:pt x="38" y="46"/>
                  </a:lnTo>
                  <a:lnTo>
                    <a:pt x="33" y="41"/>
                  </a:lnTo>
                  <a:lnTo>
                    <a:pt x="29" y="3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grpSp>
          <p:nvGrpSpPr>
            <p:cNvPr id="150" name="Group 149"/>
            <p:cNvGrpSpPr/>
            <p:nvPr/>
          </p:nvGrpSpPr>
          <p:grpSpPr>
            <a:xfrm>
              <a:off x="4615482" y="2902636"/>
              <a:ext cx="692394" cy="311096"/>
              <a:chOff x="4615482" y="2902636"/>
              <a:chExt cx="692394" cy="311096"/>
            </a:xfrm>
            <a:grpFill/>
          </p:grpSpPr>
          <p:sp>
            <p:nvSpPr>
              <p:cNvPr id="195" name="Ukraine" descr="© INSCALE GmbH, 05.05.2010&#10;http://www.presentationload.com/"/>
              <p:cNvSpPr>
                <a:spLocks/>
              </p:cNvSpPr>
              <p:nvPr/>
            </p:nvSpPr>
            <p:spPr bwMode="gray">
              <a:xfrm>
                <a:off x="4944401" y="3001844"/>
                <a:ext cx="363475" cy="193516"/>
              </a:xfrm>
              <a:custGeom>
                <a:avLst/>
                <a:gdLst>
                  <a:gd name="T0" fmla="*/ 2147483647 w 1116"/>
                  <a:gd name="T1" fmla="*/ 2147483647 h 624"/>
                  <a:gd name="T2" fmla="*/ 2147483647 w 1116"/>
                  <a:gd name="T3" fmla="*/ 2147483647 h 624"/>
                  <a:gd name="T4" fmla="*/ 2147483647 w 1116"/>
                  <a:gd name="T5" fmla="*/ 2147483647 h 624"/>
                  <a:gd name="T6" fmla="*/ 2147483647 w 1116"/>
                  <a:gd name="T7" fmla="*/ 2147483647 h 624"/>
                  <a:gd name="T8" fmla="*/ 2147483647 w 1116"/>
                  <a:gd name="T9" fmla="*/ 2147483647 h 624"/>
                  <a:gd name="T10" fmla="*/ 2147483647 w 1116"/>
                  <a:gd name="T11" fmla="*/ 2147483647 h 624"/>
                  <a:gd name="T12" fmla="*/ 2147483647 w 1116"/>
                  <a:gd name="T13" fmla="*/ 2147483647 h 624"/>
                  <a:gd name="T14" fmla="*/ 2147483647 w 1116"/>
                  <a:gd name="T15" fmla="*/ 2147483647 h 624"/>
                  <a:gd name="T16" fmla="*/ 2147483647 w 1116"/>
                  <a:gd name="T17" fmla="*/ 2147483647 h 624"/>
                  <a:gd name="T18" fmla="*/ 2147483647 w 1116"/>
                  <a:gd name="T19" fmla="*/ 2147483647 h 624"/>
                  <a:gd name="T20" fmla="*/ 2147483647 w 1116"/>
                  <a:gd name="T21" fmla="*/ 2147483647 h 624"/>
                  <a:gd name="T22" fmla="*/ 2147483647 w 1116"/>
                  <a:gd name="T23" fmla="*/ 2147483647 h 624"/>
                  <a:gd name="T24" fmla="*/ 2147483647 w 1116"/>
                  <a:gd name="T25" fmla="*/ 2147483647 h 624"/>
                  <a:gd name="T26" fmla="*/ 2147483647 w 1116"/>
                  <a:gd name="T27" fmla="*/ 2147483647 h 624"/>
                  <a:gd name="T28" fmla="*/ 2147483647 w 1116"/>
                  <a:gd name="T29" fmla="*/ 2147483647 h 624"/>
                  <a:gd name="T30" fmla="*/ 2147483647 w 1116"/>
                  <a:gd name="T31" fmla="*/ 2147483647 h 624"/>
                  <a:gd name="T32" fmla="*/ 2147483647 w 1116"/>
                  <a:gd name="T33" fmla="*/ 2147483647 h 624"/>
                  <a:gd name="T34" fmla="*/ 2147483647 w 1116"/>
                  <a:gd name="T35" fmla="*/ 2147483647 h 624"/>
                  <a:gd name="T36" fmla="*/ 2147483647 w 1116"/>
                  <a:gd name="T37" fmla="*/ 2147483647 h 624"/>
                  <a:gd name="T38" fmla="*/ 2147483647 w 1116"/>
                  <a:gd name="T39" fmla="*/ 2147483647 h 624"/>
                  <a:gd name="T40" fmla="*/ 2147483647 w 1116"/>
                  <a:gd name="T41" fmla="*/ 2147483647 h 624"/>
                  <a:gd name="T42" fmla="*/ 2147483647 w 1116"/>
                  <a:gd name="T43" fmla="*/ 2147483647 h 624"/>
                  <a:gd name="T44" fmla="*/ 2147483647 w 1116"/>
                  <a:gd name="T45" fmla="*/ 2147483647 h 624"/>
                  <a:gd name="T46" fmla="*/ 2147483647 w 1116"/>
                  <a:gd name="T47" fmla="*/ 2147483647 h 624"/>
                  <a:gd name="T48" fmla="*/ 2147483647 w 1116"/>
                  <a:gd name="T49" fmla="*/ 2147483647 h 624"/>
                  <a:gd name="T50" fmla="*/ 2147483647 w 1116"/>
                  <a:gd name="T51" fmla="*/ 2147483647 h 624"/>
                  <a:gd name="T52" fmla="*/ 2147483647 w 1116"/>
                  <a:gd name="T53" fmla="*/ 2147483647 h 624"/>
                  <a:gd name="T54" fmla="*/ 2147483647 w 1116"/>
                  <a:gd name="T55" fmla="*/ 2147483647 h 624"/>
                  <a:gd name="T56" fmla="*/ 2147483647 w 1116"/>
                  <a:gd name="T57" fmla="*/ 2147483647 h 624"/>
                  <a:gd name="T58" fmla="*/ 2147483647 w 1116"/>
                  <a:gd name="T59" fmla="*/ 2147483647 h 624"/>
                  <a:gd name="T60" fmla="*/ 2147483647 w 1116"/>
                  <a:gd name="T61" fmla="*/ 2147483647 h 624"/>
                  <a:gd name="T62" fmla="*/ 2147483647 w 1116"/>
                  <a:gd name="T63" fmla="*/ 2147483647 h 624"/>
                  <a:gd name="T64" fmla="*/ 2147483647 w 1116"/>
                  <a:gd name="T65" fmla="*/ 2147483647 h 624"/>
                  <a:gd name="T66" fmla="*/ 2147483647 w 1116"/>
                  <a:gd name="T67" fmla="*/ 2147483647 h 624"/>
                  <a:gd name="T68" fmla="*/ 2147483647 w 1116"/>
                  <a:gd name="T69" fmla="*/ 2147483647 h 624"/>
                  <a:gd name="T70" fmla="*/ 2147483647 w 1116"/>
                  <a:gd name="T71" fmla="*/ 2147483647 h 624"/>
                  <a:gd name="T72" fmla="*/ 2147483647 w 1116"/>
                  <a:gd name="T73" fmla="*/ 2147483647 h 624"/>
                  <a:gd name="T74" fmla="*/ 2147483647 w 1116"/>
                  <a:gd name="T75" fmla="*/ 2147483647 h 624"/>
                  <a:gd name="T76" fmla="*/ 2147483647 w 1116"/>
                  <a:gd name="T77" fmla="*/ 2147483647 h 624"/>
                  <a:gd name="T78" fmla="*/ 2147483647 w 1116"/>
                  <a:gd name="T79" fmla="*/ 2147483647 h 624"/>
                  <a:gd name="T80" fmla="*/ 2147483647 w 1116"/>
                  <a:gd name="T81" fmla="*/ 2147483647 h 624"/>
                  <a:gd name="T82" fmla="*/ 2147483647 w 1116"/>
                  <a:gd name="T83" fmla="*/ 2147483647 h 624"/>
                  <a:gd name="T84" fmla="*/ 2147483647 w 1116"/>
                  <a:gd name="T85" fmla="*/ 2147483647 h 624"/>
                  <a:gd name="T86" fmla="*/ 2147483647 w 1116"/>
                  <a:gd name="T87" fmla="*/ 2147483647 h 624"/>
                  <a:gd name="T88" fmla="*/ 2147483647 w 1116"/>
                  <a:gd name="T89" fmla="*/ 0 h 624"/>
                  <a:gd name="T90" fmla="*/ 2147483647 w 1116"/>
                  <a:gd name="T91" fmla="*/ 2147483647 h 624"/>
                  <a:gd name="T92" fmla="*/ 2147483647 w 1116"/>
                  <a:gd name="T93" fmla="*/ 2147483647 h 624"/>
                  <a:gd name="T94" fmla="*/ 2147483647 w 1116"/>
                  <a:gd name="T95" fmla="*/ 2147483647 h 624"/>
                  <a:gd name="T96" fmla="*/ 2147483647 w 1116"/>
                  <a:gd name="T97" fmla="*/ 2147483647 h 624"/>
                  <a:gd name="T98" fmla="*/ 2147483647 w 1116"/>
                  <a:gd name="T99" fmla="*/ 2147483647 h 624"/>
                  <a:gd name="T100" fmla="*/ 2147483647 w 1116"/>
                  <a:gd name="T101" fmla="*/ 2147483647 h 624"/>
                  <a:gd name="T102" fmla="*/ 2147483647 w 1116"/>
                  <a:gd name="T103" fmla="*/ 2147483647 h 624"/>
                  <a:gd name="T104" fmla="*/ 2147483647 w 1116"/>
                  <a:gd name="T105" fmla="*/ 2147483647 h 624"/>
                  <a:gd name="T106" fmla="*/ 2147483647 w 1116"/>
                  <a:gd name="T107" fmla="*/ 2147483647 h 624"/>
                  <a:gd name="T108" fmla="*/ 2147483647 w 1116"/>
                  <a:gd name="T109" fmla="*/ 2147483647 h 624"/>
                  <a:gd name="T110" fmla="*/ 2147483647 w 1116"/>
                  <a:gd name="T111" fmla="*/ 2147483647 h 624"/>
                  <a:gd name="T112" fmla="*/ 2147483647 w 1116"/>
                  <a:gd name="T113" fmla="*/ 2147483647 h 624"/>
                  <a:gd name="T114" fmla="*/ 2147483647 w 1116"/>
                  <a:gd name="T115" fmla="*/ 2147483647 h 624"/>
                  <a:gd name="T116" fmla="*/ 2147483647 w 1116"/>
                  <a:gd name="T117" fmla="*/ 2147483647 h 624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1116"/>
                  <a:gd name="T178" fmla="*/ 0 h 624"/>
                  <a:gd name="T179" fmla="*/ 1116 w 1116"/>
                  <a:gd name="T180" fmla="*/ 624 h 624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1116" h="624">
                    <a:moveTo>
                      <a:pt x="24" y="324"/>
                    </a:moveTo>
                    <a:lnTo>
                      <a:pt x="30" y="324"/>
                    </a:lnTo>
                    <a:lnTo>
                      <a:pt x="36" y="330"/>
                    </a:lnTo>
                    <a:lnTo>
                      <a:pt x="48" y="330"/>
                    </a:lnTo>
                    <a:lnTo>
                      <a:pt x="54" y="336"/>
                    </a:lnTo>
                    <a:lnTo>
                      <a:pt x="78" y="336"/>
                    </a:lnTo>
                    <a:lnTo>
                      <a:pt x="84" y="342"/>
                    </a:lnTo>
                    <a:lnTo>
                      <a:pt x="108" y="342"/>
                    </a:lnTo>
                    <a:lnTo>
                      <a:pt x="114" y="348"/>
                    </a:lnTo>
                    <a:lnTo>
                      <a:pt x="126" y="342"/>
                    </a:lnTo>
                    <a:lnTo>
                      <a:pt x="132" y="342"/>
                    </a:lnTo>
                    <a:lnTo>
                      <a:pt x="144" y="336"/>
                    </a:lnTo>
                    <a:lnTo>
                      <a:pt x="150" y="336"/>
                    </a:lnTo>
                    <a:lnTo>
                      <a:pt x="174" y="360"/>
                    </a:lnTo>
                    <a:lnTo>
                      <a:pt x="186" y="360"/>
                    </a:lnTo>
                    <a:lnTo>
                      <a:pt x="198" y="348"/>
                    </a:lnTo>
                    <a:lnTo>
                      <a:pt x="198" y="342"/>
                    </a:lnTo>
                    <a:lnTo>
                      <a:pt x="222" y="348"/>
                    </a:lnTo>
                    <a:lnTo>
                      <a:pt x="228" y="336"/>
                    </a:lnTo>
                    <a:lnTo>
                      <a:pt x="234" y="342"/>
                    </a:lnTo>
                    <a:lnTo>
                      <a:pt x="252" y="342"/>
                    </a:lnTo>
                    <a:lnTo>
                      <a:pt x="258" y="336"/>
                    </a:lnTo>
                    <a:lnTo>
                      <a:pt x="258" y="330"/>
                    </a:lnTo>
                    <a:lnTo>
                      <a:pt x="270" y="318"/>
                    </a:lnTo>
                    <a:lnTo>
                      <a:pt x="282" y="318"/>
                    </a:lnTo>
                    <a:lnTo>
                      <a:pt x="288" y="306"/>
                    </a:lnTo>
                    <a:lnTo>
                      <a:pt x="294" y="306"/>
                    </a:lnTo>
                    <a:lnTo>
                      <a:pt x="306" y="312"/>
                    </a:lnTo>
                    <a:lnTo>
                      <a:pt x="318" y="312"/>
                    </a:lnTo>
                    <a:lnTo>
                      <a:pt x="318" y="306"/>
                    </a:lnTo>
                    <a:lnTo>
                      <a:pt x="324" y="306"/>
                    </a:lnTo>
                    <a:lnTo>
                      <a:pt x="336" y="300"/>
                    </a:lnTo>
                    <a:lnTo>
                      <a:pt x="342" y="300"/>
                    </a:lnTo>
                    <a:lnTo>
                      <a:pt x="354" y="312"/>
                    </a:lnTo>
                    <a:lnTo>
                      <a:pt x="360" y="312"/>
                    </a:lnTo>
                    <a:lnTo>
                      <a:pt x="360" y="318"/>
                    </a:lnTo>
                    <a:lnTo>
                      <a:pt x="402" y="318"/>
                    </a:lnTo>
                    <a:lnTo>
                      <a:pt x="408" y="324"/>
                    </a:lnTo>
                    <a:lnTo>
                      <a:pt x="408" y="336"/>
                    </a:lnTo>
                    <a:lnTo>
                      <a:pt x="426" y="336"/>
                    </a:lnTo>
                    <a:lnTo>
                      <a:pt x="438" y="342"/>
                    </a:lnTo>
                    <a:lnTo>
                      <a:pt x="444" y="348"/>
                    </a:lnTo>
                    <a:lnTo>
                      <a:pt x="450" y="360"/>
                    </a:lnTo>
                    <a:lnTo>
                      <a:pt x="444" y="366"/>
                    </a:lnTo>
                    <a:lnTo>
                      <a:pt x="444" y="390"/>
                    </a:lnTo>
                    <a:lnTo>
                      <a:pt x="456" y="384"/>
                    </a:lnTo>
                    <a:lnTo>
                      <a:pt x="462" y="384"/>
                    </a:lnTo>
                    <a:lnTo>
                      <a:pt x="468" y="390"/>
                    </a:lnTo>
                    <a:lnTo>
                      <a:pt x="462" y="396"/>
                    </a:lnTo>
                    <a:lnTo>
                      <a:pt x="462" y="414"/>
                    </a:lnTo>
                    <a:lnTo>
                      <a:pt x="474" y="414"/>
                    </a:lnTo>
                    <a:lnTo>
                      <a:pt x="480" y="420"/>
                    </a:lnTo>
                    <a:lnTo>
                      <a:pt x="492" y="420"/>
                    </a:lnTo>
                    <a:lnTo>
                      <a:pt x="498" y="426"/>
                    </a:lnTo>
                    <a:lnTo>
                      <a:pt x="498" y="456"/>
                    </a:lnTo>
                    <a:lnTo>
                      <a:pt x="492" y="456"/>
                    </a:lnTo>
                    <a:lnTo>
                      <a:pt x="480" y="462"/>
                    </a:lnTo>
                    <a:lnTo>
                      <a:pt x="462" y="462"/>
                    </a:lnTo>
                    <a:lnTo>
                      <a:pt x="456" y="456"/>
                    </a:lnTo>
                    <a:lnTo>
                      <a:pt x="438" y="456"/>
                    </a:lnTo>
                    <a:lnTo>
                      <a:pt x="432" y="462"/>
                    </a:lnTo>
                    <a:lnTo>
                      <a:pt x="432" y="468"/>
                    </a:lnTo>
                    <a:lnTo>
                      <a:pt x="438" y="468"/>
                    </a:lnTo>
                    <a:lnTo>
                      <a:pt x="450" y="474"/>
                    </a:lnTo>
                    <a:lnTo>
                      <a:pt x="456" y="480"/>
                    </a:lnTo>
                    <a:lnTo>
                      <a:pt x="438" y="492"/>
                    </a:lnTo>
                    <a:lnTo>
                      <a:pt x="432" y="498"/>
                    </a:lnTo>
                    <a:lnTo>
                      <a:pt x="420" y="504"/>
                    </a:lnTo>
                    <a:lnTo>
                      <a:pt x="414" y="504"/>
                    </a:lnTo>
                    <a:lnTo>
                      <a:pt x="414" y="516"/>
                    </a:lnTo>
                    <a:lnTo>
                      <a:pt x="420" y="522"/>
                    </a:lnTo>
                    <a:lnTo>
                      <a:pt x="420" y="534"/>
                    </a:lnTo>
                    <a:lnTo>
                      <a:pt x="396" y="540"/>
                    </a:lnTo>
                    <a:lnTo>
                      <a:pt x="390" y="528"/>
                    </a:lnTo>
                    <a:lnTo>
                      <a:pt x="390" y="516"/>
                    </a:lnTo>
                    <a:lnTo>
                      <a:pt x="390" y="528"/>
                    </a:lnTo>
                    <a:lnTo>
                      <a:pt x="396" y="540"/>
                    </a:lnTo>
                    <a:lnTo>
                      <a:pt x="396" y="546"/>
                    </a:lnTo>
                    <a:lnTo>
                      <a:pt x="408" y="552"/>
                    </a:lnTo>
                    <a:lnTo>
                      <a:pt x="438" y="552"/>
                    </a:lnTo>
                    <a:lnTo>
                      <a:pt x="444" y="546"/>
                    </a:lnTo>
                    <a:lnTo>
                      <a:pt x="450" y="546"/>
                    </a:lnTo>
                    <a:lnTo>
                      <a:pt x="456" y="540"/>
                    </a:lnTo>
                    <a:lnTo>
                      <a:pt x="474" y="540"/>
                    </a:lnTo>
                    <a:lnTo>
                      <a:pt x="480" y="534"/>
                    </a:lnTo>
                    <a:lnTo>
                      <a:pt x="486" y="534"/>
                    </a:lnTo>
                    <a:lnTo>
                      <a:pt x="480" y="528"/>
                    </a:lnTo>
                    <a:lnTo>
                      <a:pt x="486" y="528"/>
                    </a:lnTo>
                    <a:lnTo>
                      <a:pt x="492" y="522"/>
                    </a:lnTo>
                    <a:lnTo>
                      <a:pt x="510" y="516"/>
                    </a:lnTo>
                    <a:lnTo>
                      <a:pt x="522" y="510"/>
                    </a:lnTo>
                    <a:lnTo>
                      <a:pt x="528" y="504"/>
                    </a:lnTo>
                    <a:lnTo>
                      <a:pt x="534" y="492"/>
                    </a:lnTo>
                    <a:lnTo>
                      <a:pt x="540" y="486"/>
                    </a:lnTo>
                    <a:lnTo>
                      <a:pt x="546" y="474"/>
                    </a:lnTo>
                    <a:lnTo>
                      <a:pt x="552" y="468"/>
                    </a:lnTo>
                    <a:lnTo>
                      <a:pt x="552" y="462"/>
                    </a:lnTo>
                    <a:lnTo>
                      <a:pt x="582" y="450"/>
                    </a:lnTo>
                    <a:lnTo>
                      <a:pt x="600" y="438"/>
                    </a:lnTo>
                    <a:lnTo>
                      <a:pt x="612" y="444"/>
                    </a:lnTo>
                    <a:lnTo>
                      <a:pt x="624" y="444"/>
                    </a:lnTo>
                    <a:lnTo>
                      <a:pt x="636" y="450"/>
                    </a:lnTo>
                    <a:lnTo>
                      <a:pt x="654" y="450"/>
                    </a:lnTo>
                    <a:lnTo>
                      <a:pt x="666" y="438"/>
                    </a:lnTo>
                    <a:lnTo>
                      <a:pt x="648" y="462"/>
                    </a:lnTo>
                    <a:lnTo>
                      <a:pt x="624" y="462"/>
                    </a:lnTo>
                    <a:lnTo>
                      <a:pt x="630" y="468"/>
                    </a:lnTo>
                    <a:lnTo>
                      <a:pt x="642" y="474"/>
                    </a:lnTo>
                    <a:lnTo>
                      <a:pt x="654" y="486"/>
                    </a:lnTo>
                    <a:lnTo>
                      <a:pt x="726" y="486"/>
                    </a:lnTo>
                    <a:lnTo>
                      <a:pt x="738" y="504"/>
                    </a:lnTo>
                    <a:lnTo>
                      <a:pt x="726" y="510"/>
                    </a:lnTo>
                    <a:lnTo>
                      <a:pt x="720" y="516"/>
                    </a:lnTo>
                    <a:lnTo>
                      <a:pt x="684" y="534"/>
                    </a:lnTo>
                    <a:lnTo>
                      <a:pt x="678" y="540"/>
                    </a:lnTo>
                    <a:lnTo>
                      <a:pt x="678" y="546"/>
                    </a:lnTo>
                    <a:lnTo>
                      <a:pt x="684" y="546"/>
                    </a:lnTo>
                    <a:lnTo>
                      <a:pt x="690" y="552"/>
                    </a:lnTo>
                    <a:lnTo>
                      <a:pt x="720" y="552"/>
                    </a:lnTo>
                    <a:lnTo>
                      <a:pt x="732" y="558"/>
                    </a:lnTo>
                    <a:lnTo>
                      <a:pt x="744" y="570"/>
                    </a:lnTo>
                    <a:lnTo>
                      <a:pt x="744" y="594"/>
                    </a:lnTo>
                    <a:lnTo>
                      <a:pt x="738" y="606"/>
                    </a:lnTo>
                    <a:lnTo>
                      <a:pt x="738" y="618"/>
                    </a:lnTo>
                    <a:lnTo>
                      <a:pt x="756" y="618"/>
                    </a:lnTo>
                    <a:lnTo>
                      <a:pt x="768" y="624"/>
                    </a:lnTo>
                    <a:lnTo>
                      <a:pt x="780" y="624"/>
                    </a:lnTo>
                    <a:lnTo>
                      <a:pt x="780" y="618"/>
                    </a:lnTo>
                    <a:lnTo>
                      <a:pt x="792" y="606"/>
                    </a:lnTo>
                    <a:lnTo>
                      <a:pt x="804" y="600"/>
                    </a:lnTo>
                    <a:lnTo>
                      <a:pt x="810" y="594"/>
                    </a:lnTo>
                    <a:lnTo>
                      <a:pt x="840" y="594"/>
                    </a:lnTo>
                    <a:lnTo>
                      <a:pt x="858" y="576"/>
                    </a:lnTo>
                    <a:lnTo>
                      <a:pt x="858" y="570"/>
                    </a:lnTo>
                    <a:lnTo>
                      <a:pt x="864" y="564"/>
                    </a:lnTo>
                    <a:lnTo>
                      <a:pt x="870" y="564"/>
                    </a:lnTo>
                    <a:lnTo>
                      <a:pt x="882" y="576"/>
                    </a:lnTo>
                    <a:lnTo>
                      <a:pt x="918" y="570"/>
                    </a:lnTo>
                    <a:lnTo>
                      <a:pt x="918" y="552"/>
                    </a:lnTo>
                    <a:lnTo>
                      <a:pt x="930" y="540"/>
                    </a:lnTo>
                    <a:lnTo>
                      <a:pt x="900" y="540"/>
                    </a:lnTo>
                    <a:lnTo>
                      <a:pt x="894" y="546"/>
                    </a:lnTo>
                    <a:lnTo>
                      <a:pt x="882" y="552"/>
                    </a:lnTo>
                    <a:lnTo>
                      <a:pt x="852" y="552"/>
                    </a:lnTo>
                    <a:lnTo>
                      <a:pt x="846" y="546"/>
                    </a:lnTo>
                    <a:lnTo>
                      <a:pt x="834" y="540"/>
                    </a:lnTo>
                    <a:lnTo>
                      <a:pt x="828" y="534"/>
                    </a:lnTo>
                    <a:lnTo>
                      <a:pt x="828" y="522"/>
                    </a:lnTo>
                    <a:lnTo>
                      <a:pt x="822" y="516"/>
                    </a:lnTo>
                    <a:lnTo>
                      <a:pt x="810" y="516"/>
                    </a:lnTo>
                    <a:lnTo>
                      <a:pt x="786" y="498"/>
                    </a:lnTo>
                    <a:lnTo>
                      <a:pt x="750" y="492"/>
                    </a:lnTo>
                    <a:lnTo>
                      <a:pt x="744" y="480"/>
                    </a:lnTo>
                    <a:lnTo>
                      <a:pt x="810" y="480"/>
                    </a:lnTo>
                    <a:lnTo>
                      <a:pt x="822" y="474"/>
                    </a:lnTo>
                    <a:lnTo>
                      <a:pt x="834" y="462"/>
                    </a:lnTo>
                    <a:lnTo>
                      <a:pt x="846" y="468"/>
                    </a:lnTo>
                    <a:lnTo>
                      <a:pt x="852" y="462"/>
                    </a:lnTo>
                    <a:lnTo>
                      <a:pt x="864" y="456"/>
                    </a:lnTo>
                    <a:lnTo>
                      <a:pt x="870" y="450"/>
                    </a:lnTo>
                    <a:lnTo>
                      <a:pt x="882" y="444"/>
                    </a:lnTo>
                    <a:lnTo>
                      <a:pt x="906" y="444"/>
                    </a:lnTo>
                    <a:lnTo>
                      <a:pt x="918" y="438"/>
                    </a:lnTo>
                    <a:lnTo>
                      <a:pt x="930" y="438"/>
                    </a:lnTo>
                    <a:lnTo>
                      <a:pt x="978" y="408"/>
                    </a:lnTo>
                    <a:lnTo>
                      <a:pt x="1014" y="408"/>
                    </a:lnTo>
                    <a:lnTo>
                      <a:pt x="1014" y="372"/>
                    </a:lnTo>
                    <a:lnTo>
                      <a:pt x="1032" y="372"/>
                    </a:lnTo>
                    <a:lnTo>
                      <a:pt x="1038" y="366"/>
                    </a:lnTo>
                    <a:lnTo>
                      <a:pt x="1038" y="360"/>
                    </a:lnTo>
                    <a:lnTo>
                      <a:pt x="1050" y="348"/>
                    </a:lnTo>
                    <a:lnTo>
                      <a:pt x="1080" y="348"/>
                    </a:lnTo>
                    <a:lnTo>
                      <a:pt x="1092" y="342"/>
                    </a:lnTo>
                    <a:lnTo>
                      <a:pt x="1104" y="342"/>
                    </a:lnTo>
                    <a:lnTo>
                      <a:pt x="1116" y="330"/>
                    </a:lnTo>
                    <a:lnTo>
                      <a:pt x="1116" y="324"/>
                    </a:lnTo>
                    <a:lnTo>
                      <a:pt x="1110" y="312"/>
                    </a:lnTo>
                    <a:lnTo>
                      <a:pt x="1110" y="300"/>
                    </a:lnTo>
                    <a:lnTo>
                      <a:pt x="1098" y="294"/>
                    </a:lnTo>
                    <a:lnTo>
                      <a:pt x="1086" y="282"/>
                    </a:lnTo>
                    <a:lnTo>
                      <a:pt x="1092" y="276"/>
                    </a:lnTo>
                    <a:lnTo>
                      <a:pt x="1110" y="276"/>
                    </a:lnTo>
                    <a:lnTo>
                      <a:pt x="1116" y="270"/>
                    </a:lnTo>
                    <a:lnTo>
                      <a:pt x="1110" y="264"/>
                    </a:lnTo>
                    <a:lnTo>
                      <a:pt x="1104" y="264"/>
                    </a:lnTo>
                    <a:lnTo>
                      <a:pt x="1098" y="258"/>
                    </a:lnTo>
                    <a:lnTo>
                      <a:pt x="1092" y="258"/>
                    </a:lnTo>
                    <a:lnTo>
                      <a:pt x="1110" y="246"/>
                    </a:lnTo>
                    <a:lnTo>
                      <a:pt x="1110" y="222"/>
                    </a:lnTo>
                    <a:lnTo>
                      <a:pt x="1104" y="216"/>
                    </a:lnTo>
                    <a:lnTo>
                      <a:pt x="1080" y="216"/>
                    </a:lnTo>
                    <a:lnTo>
                      <a:pt x="1062" y="204"/>
                    </a:lnTo>
                    <a:lnTo>
                      <a:pt x="1056" y="198"/>
                    </a:lnTo>
                    <a:lnTo>
                      <a:pt x="1056" y="192"/>
                    </a:lnTo>
                    <a:lnTo>
                      <a:pt x="1014" y="192"/>
                    </a:lnTo>
                    <a:lnTo>
                      <a:pt x="1002" y="186"/>
                    </a:lnTo>
                    <a:lnTo>
                      <a:pt x="996" y="180"/>
                    </a:lnTo>
                    <a:lnTo>
                      <a:pt x="978" y="180"/>
                    </a:lnTo>
                    <a:lnTo>
                      <a:pt x="966" y="186"/>
                    </a:lnTo>
                    <a:lnTo>
                      <a:pt x="942" y="162"/>
                    </a:lnTo>
                    <a:lnTo>
                      <a:pt x="936" y="150"/>
                    </a:lnTo>
                    <a:lnTo>
                      <a:pt x="924" y="150"/>
                    </a:lnTo>
                    <a:lnTo>
                      <a:pt x="918" y="156"/>
                    </a:lnTo>
                    <a:lnTo>
                      <a:pt x="918" y="162"/>
                    </a:lnTo>
                    <a:lnTo>
                      <a:pt x="912" y="156"/>
                    </a:lnTo>
                    <a:lnTo>
                      <a:pt x="864" y="156"/>
                    </a:lnTo>
                    <a:lnTo>
                      <a:pt x="858" y="150"/>
                    </a:lnTo>
                    <a:lnTo>
                      <a:pt x="846" y="150"/>
                    </a:lnTo>
                    <a:lnTo>
                      <a:pt x="840" y="144"/>
                    </a:lnTo>
                    <a:lnTo>
                      <a:pt x="816" y="150"/>
                    </a:lnTo>
                    <a:lnTo>
                      <a:pt x="810" y="150"/>
                    </a:lnTo>
                    <a:lnTo>
                      <a:pt x="798" y="102"/>
                    </a:lnTo>
                    <a:lnTo>
                      <a:pt x="756" y="84"/>
                    </a:lnTo>
                    <a:lnTo>
                      <a:pt x="720" y="84"/>
                    </a:lnTo>
                    <a:lnTo>
                      <a:pt x="720" y="66"/>
                    </a:lnTo>
                    <a:lnTo>
                      <a:pt x="714" y="48"/>
                    </a:lnTo>
                    <a:lnTo>
                      <a:pt x="720" y="48"/>
                    </a:lnTo>
                    <a:lnTo>
                      <a:pt x="726" y="42"/>
                    </a:lnTo>
                    <a:lnTo>
                      <a:pt x="726" y="30"/>
                    </a:lnTo>
                    <a:lnTo>
                      <a:pt x="720" y="30"/>
                    </a:lnTo>
                    <a:lnTo>
                      <a:pt x="708" y="24"/>
                    </a:lnTo>
                    <a:lnTo>
                      <a:pt x="702" y="18"/>
                    </a:lnTo>
                    <a:lnTo>
                      <a:pt x="696" y="18"/>
                    </a:lnTo>
                    <a:lnTo>
                      <a:pt x="690" y="0"/>
                    </a:lnTo>
                    <a:lnTo>
                      <a:pt x="642" y="0"/>
                    </a:lnTo>
                    <a:lnTo>
                      <a:pt x="630" y="6"/>
                    </a:lnTo>
                    <a:lnTo>
                      <a:pt x="600" y="6"/>
                    </a:lnTo>
                    <a:lnTo>
                      <a:pt x="600" y="18"/>
                    </a:lnTo>
                    <a:lnTo>
                      <a:pt x="594" y="24"/>
                    </a:lnTo>
                    <a:lnTo>
                      <a:pt x="558" y="24"/>
                    </a:lnTo>
                    <a:lnTo>
                      <a:pt x="546" y="18"/>
                    </a:lnTo>
                    <a:lnTo>
                      <a:pt x="516" y="18"/>
                    </a:lnTo>
                    <a:lnTo>
                      <a:pt x="510" y="30"/>
                    </a:lnTo>
                    <a:lnTo>
                      <a:pt x="498" y="36"/>
                    </a:lnTo>
                    <a:lnTo>
                      <a:pt x="492" y="42"/>
                    </a:lnTo>
                    <a:lnTo>
                      <a:pt x="486" y="54"/>
                    </a:lnTo>
                    <a:lnTo>
                      <a:pt x="492" y="60"/>
                    </a:lnTo>
                    <a:lnTo>
                      <a:pt x="492" y="72"/>
                    </a:lnTo>
                    <a:lnTo>
                      <a:pt x="486" y="78"/>
                    </a:lnTo>
                    <a:lnTo>
                      <a:pt x="468" y="78"/>
                    </a:lnTo>
                    <a:lnTo>
                      <a:pt x="462" y="72"/>
                    </a:lnTo>
                    <a:lnTo>
                      <a:pt x="438" y="72"/>
                    </a:lnTo>
                    <a:lnTo>
                      <a:pt x="426" y="78"/>
                    </a:lnTo>
                    <a:lnTo>
                      <a:pt x="420" y="78"/>
                    </a:lnTo>
                    <a:lnTo>
                      <a:pt x="420" y="66"/>
                    </a:lnTo>
                    <a:lnTo>
                      <a:pt x="414" y="60"/>
                    </a:lnTo>
                    <a:lnTo>
                      <a:pt x="396" y="60"/>
                    </a:lnTo>
                    <a:lnTo>
                      <a:pt x="390" y="66"/>
                    </a:lnTo>
                    <a:lnTo>
                      <a:pt x="390" y="72"/>
                    </a:lnTo>
                    <a:lnTo>
                      <a:pt x="378" y="60"/>
                    </a:lnTo>
                    <a:lnTo>
                      <a:pt x="366" y="66"/>
                    </a:lnTo>
                    <a:lnTo>
                      <a:pt x="360" y="60"/>
                    </a:lnTo>
                    <a:lnTo>
                      <a:pt x="342" y="66"/>
                    </a:lnTo>
                    <a:lnTo>
                      <a:pt x="336" y="54"/>
                    </a:lnTo>
                    <a:lnTo>
                      <a:pt x="324" y="66"/>
                    </a:lnTo>
                    <a:lnTo>
                      <a:pt x="306" y="54"/>
                    </a:lnTo>
                    <a:lnTo>
                      <a:pt x="300" y="60"/>
                    </a:lnTo>
                    <a:lnTo>
                      <a:pt x="282" y="48"/>
                    </a:lnTo>
                    <a:lnTo>
                      <a:pt x="258" y="42"/>
                    </a:lnTo>
                    <a:lnTo>
                      <a:pt x="222" y="42"/>
                    </a:lnTo>
                    <a:lnTo>
                      <a:pt x="216" y="36"/>
                    </a:lnTo>
                    <a:lnTo>
                      <a:pt x="216" y="30"/>
                    </a:lnTo>
                    <a:lnTo>
                      <a:pt x="168" y="30"/>
                    </a:lnTo>
                    <a:lnTo>
                      <a:pt x="162" y="36"/>
                    </a:lnTo>
                    <a:lnTo>
                      <a:pt x="150" y="42"/>
                    </a:lnTo>
                    <a:lnTo>
                      <a:pt x="114" y="42"/>
                    </a:lnTo>
                    <a:lnTo>
                      <a:pt x="114" y="48"/>
                    </a:lnTo>
                    <a:lnTo>
                      <a:pt x="96" y="66"/>
                    </a:lnTo>
                    <a:lnTo>
                      <a:pt x="78" y="66"/>
                    </a:lnTo>
                    <a:lnTo>
                      <a:pt x="66" y="60"/>
                    </a:lnTo>
                    <a:lnTo>
                      <a:pt x="72" y="78"/>
                    </a:lnTo>
                    <a:lnTo>
                      <a:pt x="90" y="96"/>
                    </a:lnTo>
                    <a:lnTo>
                      <a:pt x="90" y="102"/>
                    </a:lnTo>
                    <a:lnTo>
                      <a:pt x="102" y="108"/>
                    </a:lnTo>
                    <a:lnTo>
                      <a:pt x="108" y="114"/>
                    </a:lnTo>
                    <a:lnTo>
                      <a:pt x="102" y="126"/>
                    </a:lnTo>
                    <a:lnTo>
                      <a:pt x="108" y="132"/>
                    </a:lnTo>
                    <a:lnTo>
                      <a:pt x="108" y="138"/>
                    </a:lnTo>
                    <a:lnTo>
                      <a:pt x="114" y="144"/>
                    </a:lnTo>
                    <a:lnTo>
                      <a:pt x="108" y="150"/>
                    </a:lnTo>
                    <a:lnTo>
                      <a:pt x="102" y="150"/>
                    </a:lnTo>
                    <a:lnTo>
                      <a:pt x="96" y="156"/>
                    </a:lnTo>
                    <a:lnTo>
                      <a:pt x="84" y="156"/>
                    </a:lnTo>
                    <a:lnTo>
                      <a:pt x="30" y="204"/>
                    </a:lnTo>
                    <a:lnTo>
                      <a:pt x="30" y="246"/>
                    </a:lnTo>
                    <a:lnTo>
                      <a:pt x="42" y="258"/>
                    </a:lnTo>
                    <a:lnTo>
                      <a:pt x="18" y="258"/>
                    </a:lnTo>
                    <a:lnTo>
                      <a:pt x="18" y="270"/>
                    </a:lnTo>
                    <a:lnTo>
                      <a:pt x="12" y="276"/>
                    </a:lnTo>
                    <a:lnTo>
                      <a:pt x="12" y="282"/>
                    </a:lnTo>
                    <a:lnTo>
                      <a:pt x="6" y="288"/>
                    </a:lnTo>
                    <a:lnTo>
                      <a:pt x="0" y="288"/>
                    </a:lnTo>
                    <a:lnTo>
                      <a:pt x="0" y="306"/>
                    </a:lnTo>
                    <a:lnTo>
                      <a:pt x="6" y="306"/>
                    </a:lnTo>
                    <a:lnTo>
                      <a:pt x="24" y="32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96" name="Romania" descr="© INSCALE GmbH, 05.05.2010&#10;http://www.presentationload.com/"/>
              <p:cNvSpPr>
                <a:spLocks/>
              </p:cNvSpPr>
              <p:nvPr/>
            </p:nvSpPr>
            <p:spPr bwMode="gray">
              <a:xfrm>
                <a:off x="4907285" y="3099827"/>
                <a:ext cx="199655" cy="113905"/>
              </a:xfrm>
              <a:custGeom>
                <a:avLst/>
                <a:gdLst>
                  <a:gd name="T0" fmla="*/ 2147483647 w 612"/>
                  <a:gd name="T1" fmla="*/ 2147483647 h 366"/>
                  <a:gd name="T2" fmla="*/ 2147483647 w 612"/>
                  <a:gd name="T3" fmla="*/ 2147483647 h 366"/>
                  <a:gd name="T4" fmla="*/ 2147483647 w 612"/>
                  <a:gd name="T5" fmla="*/ 2147483647 h 366"/>
                  <a:gd name="T6" fmla="*/ 2147483647 w 612"/>
                  <a:gd name="T7" fmla="*/ 2147483647 h 366"/>
                  <a:gd name="T8" fmla="*/ 2147483647 w 612"/>
                  <a:gd name="T9" fmla="*/ 2147483647 h 366"/>
                  <a:gd name="T10" fmla="*/ 2147483647 w 612"/>
                  <a:gd name="T11" fmla="*/ 2147483647 h 366"/>
                  <a:gd name="T12" fmla="*/ 2147483647 w 612"/>
                  <a:gd name="T13" fmla="*/ 2147483647 h 366"/>
                  <a:gd name="T14" fmla="*/ 2147483647 w 612"/>
                  <a:gd name="T15" fmla="*/ 2147483647 h 366"/>
                  <a:gd name="T16" fmla="*/ 2147483647 w 612"/>
                  <a:gd name="T17" fmla="*/ 2147483647 h 366"/>
                  <a:gd name="T18" fmla="*/ 2147483647 w 612"/>
                  <a:gd name="T19" fmla="*/ 2147483647 h 366"/>
                  <a:gd name="T20" fmla="*/ 2147483647 w 612"/>
                  <a:gd name="T21" fmla="*/ 2147483647 h 366"/>
                  <a:gd name="T22" fmla="*/ 2147483647 w 612"/>
                  <a:gd name="T23" fmla="*/ 2147483647 h 366"/>
                  <a:gd name="T24" fmla="*/ 2147483647 w 612"/>
                  <a:gd name="T25" fmla="*/ 2147483647 h 366"/>
                  <a:gd name="T26" fmla="*/ 2147483647 w 612"/>
                  <a:gd name="T27" fmla="*/ 0 h 366"/>
                  <a:gd name="T28" fmla="*/ 2147483647 w 612"/>
                  <a:gd name="T29" fmla="*/ 2147483647 h 366"/>
                  <a:gd name="T30" fmla="*/ 2147483647 w 612"/>
                  <a:gd name="T31" fmla="*/ 2147483647 h 366"/>
                  <a:gd name="T32" fmla="*/ 2147483647 w 612"/>
                  <a:gd name="T33" fmla="*/ 2147483647 h 366"/>
                  <a:gd name="T34" fmla="*/ 2147483647 w 612"/>
                  <a:gd name="T35" fmla="*/ 2147483647 h 366"/>
                  <a:gd name="T36" fmla="*/ 2147483647 w 612"/>
                  <a:gd name="T37" fmla="*/ 2147483647 h 366"/>
                  <a:gd name="T38" fmla="*/ 2147483647 w 612"/>
                  <a:gd name="T39" fmla="*/ 2147483647 h 366"/>
                  <a:gd name="T40" fmla="*/ 2147483647 w 612"/>
                  <a:gd name="T41" fmla="*/ 2147483647 h 366"/>
                  <a:gd name="T42" fmla="*/ 2147483647 w 612"/>
                  <a:gd name="T43" fmla="*/ 2147483647 h 366"/>
                  <a:gd name="T44" fmla="*/ 2147483647 w 612"/>
                  <a:gd name="T45" fmla="*/ 2147483647 h 366"/>
                  <a:gd name="T46" fmla="*/ 2147483647 w 612"/>
                  <a:gd name="T47" fmla="*/ 2147483647 h 366"/>
                  <a:gd name="T48" fmla="*/ 0 w 612"/>
                  <a:gd name="T49" fmla="*/ 2147483647 h 366"/>
                  <a:gd name="T50" fmla="*/ 2147483647 w 612"/>
                  <a:gd name="T51" fmla="*/ 2147483647 h 366"/>
                  <a:gd name="T52" fmla="*/ 2147483647 w 612"/>
                  <a:gd name="T53" fmla="*/ 2147483647 h 366"/>
                  <a:gd name="T54" fmla="*/ 2147483647 w 612"/>
                  <a:gd name="T55" fmla="*/ 2147483647 h 366"/>
                  <a:gd name="T56" fmla="*/ 2147483647 w 612"/>
                  <a:gd name="T57" fmla="*/ 2147483647 h 366"/>
                  <a:gd name="T58" fmla="*/ 2147483647 w 612"/>
                  <a:gd name="T59" fmla="*/ 2147483647 h 366"/>
                  <a:gd name="T60" fmla="*/ 2147483647 w 612"/>
                  <a:gd name="T61" fmla="*/ 2147483647 h 366"/>
                  <a:gd name="T62" fmla="*/ 2147483647 w 612"/>
                  <a:gd name="T63" fmla="*/ 2147483647 h 366"/>
                  <a:gd name="T64" fmla="*/ 2147483647 w 612"/>
                  <a:gd name="T65" fmla="*/ 2147483647 h 366"/>
                  <a:gd name="T66" fmla="*/ 2147483647 w 612"/>
                  <a:gd name="T67" fmla="*/ 2147483647 h 366"/>
                  <a:gd name="T68" fmla="*/ 2147483647 w 612"/>
                  <a:gd name="T69" fmla="*/ 2147483647 h 366"/>
                  <a:gd name="T70" fmla="*/ 2147483647 w 612"/>
                  <a:gd name="T71" fmla="*/ 2147483647 h 366"/>
                  <a:gd name="T72" fmla="*/ 2147483647 w 612"/>
                  <a:gd name="T73" fmla="*/ 2147483647 h 366"/>
                  <a:gd name="T74" fmla="*/ 2147483647 w 612"/>
                  <a:gd name="T75" fmla="*/ 2147483647 h 366"/>
                  <a:gd name="T76" fmla="*/ 2147483647 w 612"/>
                  <a:gd name="T77" fmla="*/ 2147483647 h 366"/>
                  <a:gd name="T78" fmla="*/ 2147483647 w 612"/>
                  <a:gd name="T79" fmla="*/ 2147483647 h 366"/>
                  <a:gd name="T80" fmla="*/ 2147483647 w 612"/>
                  <a:gd name="T81" fmla="*/ 2147483647 h 366"/>
                  <a:gd name="T82" fmla="*/ 2147483647 w 612"/>
                  <a:gd name="T83" fmla="*/ 2147483647 h 366"/>
                  <a:gd name="T84" fmla="*/ 2147483647 w 612"/>
                  <a:gd name="T85" fmla="*/ 2147483647 h 36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612"/>
                  <a:gd name="T130" fmla="*/ 0 h 366"/>
                  <a:gd name="T131" fmla="*/ 612 w 612"/>
                  <a:gd name="T132" fmla="*/ 366 h 36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612" h="366">
                    <a:moveTo>
                      <a:pt x="516" y="354"/>
                    </a:moveTo>
                    <a:lnTo>
                      <a:pt x="522" y="360"/>
                    </a:lnTo>
                    <a:lnTo>
                      <a:pt x="540" y="360"/>
                    </a:lnTo>
                    <a:lnTo>
                      <a:pt x="540" y="318"/>
                    </a:lnTo>
                    <a:lnTo>
                      <a:pt x="546" y="312"/>
                    </a:lnTo>
                    <a:lnTo>
                      <a:pt x="558" y="294"/>
                    </a:lnTo>
                    <a:lnTo>
                      <a:pt x="564" y="282"/>
                    </a:lnTo>
                    <a:lnTo>
                      <a:pt x="570" y="276"/>
                    </a:lnTo>
                    <a:lnTo>
                      <a:pt x="606" y="276"/>
                    </a:lnTo>
                    <a:lnTo>
                      <a:pt x="612" y="270"/>
                    </a:lnTo>
                    <a:lnTo>
                      <a:pt x="612" y="258"/>
                    </a:lnTo>
                    <a:lnTo>
                      <a:pt x="600" y="222"/>
                    </a:lnTo>
                    <a:lnTo>
                      <a:pt x="600" y="216"/>
                    </a:lnTo>
                    <a:lnTo>
                      <a:pt x="594" y="216"/>
                    </a:lnTo>
                    <a:lnTo>
                      <a:pt x="588" y="222"/>
                    </a:lnTo>
                    <a:lnTo>
                      <a:pt x="570" y="222"/>
                    </a:lnTo>
                    <a:lnTo>
                      <a:pt x="564" y="228"/>
                    </a:lnTo>
                    <a:lnTo>
                      <a:pt x="558" y="228"/>
                    </a:lnTo>
                    <a:lnTo>
                      <a:pt x="552" y="234"/>
                    </a:lnTo>
                    <a:lnTo>
                      <a:pt x="522" y="234"/>
                    </a:lnTo>
                    <a:lnTo>
                      <a:pt x="510" y="222"/>
                    </a:lnTo>
                    <a:lnTo>
                      <a:pt x="510" y="198"/>
                    </a:lnTo>
                    <a:lnTo>
                      <a:pt x="504" y="192"/>
                    </a:lnTo>
                    <a:lnTo>
                      <a:pt x="498" y="180"/>
                    </a:lnTo>
                    <a:lnTo>
                      <a:pt x="498" y="168"/>
                    </a:lnTo>
                    <a:lnTo>
                      <a:pt x="504" y="162"/>
                    </a:lnTo>
                    <a:lnTo>
                      <a:pt x="504" y="150"/>
                    </a:lnTo>
                    <a:lnTo>
                      <a:pt x="510" y="144"/>
                    </a:lnTo>
                    <a:lnTo>
                      <a:pt x="504" y="144"/>
                    </a:lnTo>
                    <a:lnTo>
                      <a:pt x="504" y="102"/>
                    </a:lnTo>
                    <a:lnTo>
                      <a:pt x="498" y="96"/>
                    </a:lnTo>
                    <a:lnTo>
                      <a:pt x="480" y="96"/>
                    </a:lnTo>
                    <a:lnTo>
                      <a:pt x="474" y="78"/>
                    </a:lnTo>
                    <a:lnTo>
                      <a:pt x="462" y="78"/>
                    </a:lnTo>
                    <a:lnTo>
                      <a:pt x="456" y="54"/>
                    </a:lnTo>
                    <a:lnTo>
                      <a:pt x="432" y="42"/>
                    </a:lnTo>
                    <a:lnTo>
                      <a:pt x="432" y="30"/>
                    </a:lnTo>
                    <a:lnTo>
                      <a:pt x="426" y="24"/>
                    </a:lnTo>
                    <a:lnTo>
                      <a:pt x="420" y="12"/>
                    </a:lnTo>
                    <a:lnTo>
                      <a:pt x="414" y="6"/>
                    </a:lnTo>
                    <a:lnTo>
                      <a:pt x="396" y="0"/>
                    </a:lnTo>
                    <a:lnTo>
                      <a:pt x="384" y="0"/>
                    </a:lnTo>
                    <a:lnTo>
                      <a:pt x="378" y="6"/>
                    </a:lnTo>
                    <a:lnTo>
                      <a:pt x="378" y="12"/>
                    </a:lnTo>
                    <a:lnTo>
                      <a:pt x="366" y="24"/>
                    </a:lnTo>
                    <a:lnTo>
                      <a:pt x="348" y="24"/>
                    </a:lnTo>
                    <a:lnTo>
                      <a:pt x="342" y="18"/>
                    </a:lnTo>
                    <a:lnTo>
                      <a:pt x="336" y="30"/>
                    </a:lnTo>
                    <a:lnTo>
                      <a:pt x="312" y="24"/>
                    </a:lnTo>
                    <a:lnTo>
                      <a:pt x="312" y="30"/>
                    </a:lnTo>
                    <a:lnTo>
                      <a:pt x="300" y="42"/>
                    </a:lnTo>
                    <a:lnTo>
                      <a:pt x="288" y="42"/>
                    </a:lnTo>
                    <a:lnTo>
                      <a:pt x="264" y="18"/>
                    </a:lnTo>
                    <a:lnTo>
                      <a:pt x="258" y="18"/>
                    </a:lnTo>
                    <a:lnTo>
                      <a:pt x="246" y="24"/>
                    </a:lnTo>
                    <a:lnTo>
                      <a:pt x="240" y="24"/>
                    </a:lnTo>
                    <a:lnTo>
                      <a:pt x="228" y="30"/>
                    </a:lnTo>
                    <a:lnTo>
                      <a:pt x="222" y="24"/>
                    </a:lnTo>
                    <a:lnTo>
                      <a:pt x="198" y="24"/>
                    </a:lnTo>
                    <a:lnTo>
                      <a:pt x="192" y="18"/>
                    </a:lnTo>
                    <a:lnTo>
                      <a:pt x="168" y="18"/>
                    </a:lnTo>
                    <a:lnTo>
                      <a:pt x="150" y="36"/>
                    </a:lnTo>
                    <a:lnTo>
                      <a:pt x="120" y="36"/>
                    </a:lnTo>
                    <a:lnTo>
                      <a:pt x="108" y="48"/>
                    </a:lnTo>
                    <a:lnTo>
                      <a:pt x="108" y="90"/>
                    </a:lnTo>
                    <a:lnTo>
                      <a:pt x="90" y="108"/>
                    </a:lnTo>
                    <a:lnTo>
                      <a:pt x="78" y="114"/>
                    </a:lnTo>
                    <a:lnTo>
                      <a:pt x="72" y="120"/>
                    </a:lnTo>
                    <a:lnTo>
                      <a:pt x="72" y="138"/>
                    </a:lnTo>
                    <a:lnTo>
                      <a:pt x="66" y="144"/>
                    </a:lnTo>
                    <a:lnTo>
                      <a:pt x="54" y="150"/>
                    </a:lnTo>
                    <a:lnTo>
                      <a:pt x="48" y="156"/>
                    </a:lnTo>
                    <a:lnTo>
                      <a:pt x="30" y="150"/>
                    </a:lnTo>
                    <a:lnTo>
                      <a:pt x="30" y="168"/>
                    </a:lnTo>
                    <a:lnTo>
                      <a:pt x="0" y="174"/>
                    </a:lnTo>
                    <a:lnTo>
                      <a:pt x="6" y="174"/>
                    </a:lnTo>
                    <a:lnTo>
                      <a:pt x="30" y="192"/>
                    </a:lnTo>
                    <a:lnTo>
                      <a:pt x="36" y="192"/>
                    </a:lnTo>
                    <a:lnTo>
                      <a:pt x="48" y="228"/>
                    </a:lnTo>
                    <a:lnTo>
                      <a:pt x="54" y="234"/>
                    </a:lnTo>
                    <a:lnTo>
                      <a:pt x="60" y="234"/>
                    </a:lnTo>
                    <a:lnTo>
                      <a:pt x="66" y="228"/>
                    </a:lnTo>
                    <a:lnTo>
                      <a:pt x="72" y="228"/>
                    </a:lnTo>
                    <a:lnTo>
                      <a:pt x="84" y="234"/>
                    </a:lnTo>
                    <a:lnTo>
                      <a:pt x="84" y="252"/>
                    </a:lnTo>
                    <a:lnTo>
                      <a:pt x="78" y="258"/>
                    </a:lnTo>
                    <a:lnTo>
                      <a:pt x="90" y="276"/>
                    </a:lnTo>
                    <a:lnTo>
                      <a:pt x="114" y="282"/>
                    </a:lnTo>
                    <a:lnTo>
                      <a:pt x="120" y="288"/>
                    </a:lnTo>
                    <a:lnTo>
                      <a:pt x="144" y="282"/>
                    </a:lnTo>
                    <a:lnTo>
                      <a:pt x="168" y="288"/>
                    </a:lnTo>
                    <a:lnTo>
                      <a:pt x="162" y="294"/>
                    </a:lnTo>
                    <a:lnTo>
                      <a:pt x="156" y="306"/>
                    </a:lnTo>
                    <a:lnTo>
                      <a:pt x="162" y="312"/>
                    </a:lnTo>
                    <a:lnTo>
                      <a:pt x="162" y="324"/>
                    </a:lnTo>
                    <a:lnTo>
                      <a:pt x="186" y="324"/>
                    </a:lnTo>
                    <a:lnTo>
                      <a:pt x="192" y="330"/>
                    </a:lnTo>
                    <a:lnTo>
                      <a:pt x="186" y="336"/>
                    </a:lnTo>
                    <a:lnTo>
                      <a:pt x="186" y="342"/>
                    </a:lnTo>
                    <a:lnTo>
                      <a:pt x="180" y="348"/>
                    </a:lnTo>
                    <a:lnTo>
                      <a:pt x="186" y="354"/>
                    </a:lnTo>
                    <a:lnTo>
                      <a:pt x="204" y="354"/>
                    </a:lnTo>
                    <a:lnTo>
                      <a:pt x="216" y="342"/>
                    </a:lnTo>
                    <a:lnTo>
                      <a:pt x="240" y="354"/>
                    </a:lnTo>
                    <a:lnTo>
                      <a:pt x="252" y="354"/>
                    </a:lnTo>
                    <a:lnTo>
                      <a:pt x="258" y="360"/>
                    </a:lnTo>
                    <a:lnTo>
                      <a:pt x="282" y="360"/>
                    </a:lnTo>
                    <a:lnTo>
                      <a:pt x="288" y="354"/>
                    </a:lnTo>
                    <a:lnTo>
                      <a:pt x="288" y="348"/>
                    </a:lnTo>
                    <a:lnTo>
                      <a:pt x="306" y="354"/>
                    </a:lnTo>
                    <a:lnTo>
                      <a:pt x="330" y="354"/>
                    </a:lnTo>
                    <a:lnTo>
                      <a:pt x="336" y="360"/>
                    </a:lnTo>
                    <a:lnTo>
                      <a:pt x="348" y="366"/>
                    </a:lnTo>
                    <a:lnTo>
                      <a:pt x="366" y="366"/>
                    </a:lnTo>
                    <a:lnTo>
                      <a:pt x="372" y="360"/>
                    </a:lnTo>
                    <a:lnTo>
                      <a:pt x="372" y="348"/>
                    </a:lnTo>
                    <a:lnTo>
                      <a:pt x="378" y="342"/>
                    </a:lnTo>
                    <a:lnTo>
                      <a:pt x="384" y="342"/>
                    </a:lnTo>
                    <a:lnTo>
                      <a:pt x="396" y="336"/>
                    </a:lnTo>
                    <a:lnTo>
                      <a:pt x="402" y="336"/>
                    </a:lnTo>
                    <a:lnTo>
                      <a:pt x="402" y="330"/>
                    </a:lnTo>
                    <a:lnTo>
                      <a:pt x="432" y="336"/>
                    </a:lnTo>
                    <a:lnTo>
                      <a:pt x="432" y="324"/>
                    </a:lnTo>
                    <a:lnTo>
                      <a:pt x="438" y="324"/>
                    </a:lnTo>
                    <a:lnTo>
                      <a:pt x="450" y="330"/>
                    </a:lnTo>
                    <a:lnTo>
                      <a:pt x="462" y="330"/>
                    </a:lnTo>
                    <a:lnTo>
                      <a:pt x="474" y="336"/>
                    </a:lnTo>
                    <a:lnTo>
                      <a:pt x="498" y="336"/>
                    </a:lnTo>
                    <a:lnTo>
                      <a:pt x="516" y="35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97" name="Poland" descr="© INSCALE GmbH, 05.05.2010&#10;http://www.presentationload.com/"/>
              <p:cNvSpPr>
                <a:spLocks/>
              </p:cNvSpPr>
              <p:nvPr/>
            </p:nvSpPr>
            <p:spPr bwMode="gray">
              <a:xfrm>
                <a:off x="4779301" y="2941829"/>
                <a:ext cx="203495" cy="139626"/>
              </a:xfrm>
              <a:custGeom>
                <a:avLst/>
                <a:gdLst>
                  <a:gd name="T0" fmla="*/ 2147483647 w 624"/>
                  <a:gd name="T1" fmla="*/ 2147483647 h 450"/>
                  <a:gd name="T2" fmla="*/ 2147483647 w 624"/>
                  <a:gd name="T3" fmla="*/ 2147483647 h 450"/>
                  <a:gd name="T4" fmla="*/ 2147483647 w 624"/>
                  <a:gd name="T5" fmla="*/ 2147483647 h 450"/>
                  <a:gd name="T6" fmla="*/ 2147483647 w 624"/>
                  <a:gd name="T7" fmla="*/ 2147483647 h 450"/>
                  <a:gd name="T8" fmla="*/ 2147483647 w 624"/>
                  <a:gd name="T9" fmla="*/ 2147483647 h 450"/>
                  <a:gd name="T10" fmla="*/ 2147483647 w 624"/>
                  <a:gd name="T11" fmla="*/ 2147483647 h 450"/>
                  <a:gd name="T12" fmla="*/ 2147483647 w 624"/>
                  <a:gd name="T13" fmla="*/ 2147483647 h 450"/>
                  <a:gd name="T14" fmla="*/ 2147483647 w 624"/>
                  <a:gd name="T15" fmla="*/ 2147483647 h 450"/>
                  <a:gd name="T16" fmla="*/ 2147483647 w 624"/>
                  <a:gd name="T17" fmla="*/ 2147483647 h 450"/>
                  <a:gd name="T18" fmla="*/ 2147483647 w 624"/>
                  <a:gd name="T19" fmla="*/ 2147483647 h 450"/>
                  <a:gd name="T20" fmla="*/ 2147483647 w 624"/>
                  <a:gd name="T21" fmla="*/ 2147483647 h 450"/>
                  <a:gd name="T22" fmla="*/ 2147483647 w 624"/>
                  <a:gd name="T23" fmla="*/ 2147483647 h 450"/>
                  <a:gd name="T24" fmla="*/ 2147483647 w 624"/>
                  <a:gd name="T25" fmla="*/ 2147483647 h 450"/>
                  <a:gd name="T26" fmla="*/ 2147483647 w 624"/>
                  <a:gd name="T27" fmla="*/ 2147483647 h 450"/>
                  <a:gd name="T28" fmla="*/ 2147483647 w 624"/>
                  <a:gd name="T29" fmla="*/ 2147483647 h 450"/>
                  <a:gd name="T30" fmla="*/ 2147483647 w 624"/>
                  <a:gd name="T31" fmla="*/ 2147483647 h 450"/>
                  <a:gd name="T32" fmla="*/ 2147483647 w 624"/>
                  <a:gd name="T33" fmla="*/ 2147483647 h 450"/>
                  <a:gd name="T34" fmla="*/ 2147483647 w 624"/>
                  <a:gd name="T35" fmla="*/ 2147483647 h 450"/>
                  <a:gd name="T36" fmla="*/ 2147483647 w 624"/>
                  <a:gd name="T37" fmla="*/ 2147483647 h 450"/>
                  <a:gd name="T38" fmla="*/ 2147483647 w 624"/>
                  <a:gd name="T39" fmla="*/ 2147483647 h 450"/>
                  <a:gd name="T40" fmla="*/ 2147483647 w 624"/>
                  <a:gd name="T41" fmla="*/ 2147483647 h 450"/>
                  <a:gd name="T42" fmla="*/ 2147483647 w 624"/>
                  <a:gd name="T43" fmla="*/ 2147483647 h 450"/>
                  <a:gd name="T44" fmla="*/ 2147483647 w 624"/>
                  <a:gd name="T45" fmla="*/ 2147483647 h 450"/>
                  <a:gd name="T46" fmla="*/ 2147483647 w 624"/>
                  <a:gd name="T47" fmla="*/ 2147483647 h 450"/>
                  <a:gd name="T48" fmla="*/ 2147483647 w 624"/>
                  <a:gd name="T49" fmla="*/ 2147483647 h 450"/>
                  <a:gd name="T50" fmla="*/ 2147483647 w 624"/>
                  <a:gd name="T51" fmla="*/ 2147483647 h 450"/>
                  <a:gd name="T52" fmla="*/ 2147483647 w 624"/>
                  <a:gd name="T53" fmla="*/ 2147483647 h 450"/>
                  <a:gd name="T54" fmla="*/ 2147483647 w 624"/>
                  <a:gd name="T55" fmla="*/ 2147483647 h 450"/>
                  <a:gd name="T56" fmla="*/ 2147483647 w 624"/>
                  <a:gd name="T57" fmla="*/ 2147483647 h 450"/>
                  <a:gd name="T58" fmla="*/ 0 w 624"/>
                  <a:gd name="T59" fmla="*/ 2147483647 h 450"/>
                  <a:gd name="T60" fmla="*/ 2147483647 w 624"/>
                  <a:gd name="T61" fmla="*/ 2147483647 h 450"/>
                  <a:gd name="T62" fmla="*/ 2147483647 w 624"/>
                  <a:gd name="T63" fmla="*/ 2147483647 h 450"/>
                  <a:gd name="T64" fmla="*/ 2147483647 w 624"/>
                  <a:gd name="T65" fmla="*/ 2147483647 h 450"/>
                  <a:gd name="T66" fmla="*/ 2147483647 w 624"/>
                  <a:gd name="T67" fmla="*/ 2147483647 h 450"/>
                  <a:gd name="T68" fmla="*/ 2147483647 w 624"/>
                  <a:gd name="T69" fmla="*/ 2147483647 h 450"/>
                  <a:gd name="T70" fmla="*/ 2147483647 w 624"/>
                  <a:gd name="T71" fmla="*/ 2147483647 h 450"/>
                  <a:gd name="T72" fmla="*/ 2147483647 w 624"/>
                  <a:gd name="T73" fmla="*/ 2147483647 h 450"/>
                  <a:gd name="T74" fmla="*/ 2147483647 w 624"/>
                  <a:gd name="T75" fmla="*/ 2147483647 h 450"/>
                  <a:gd name="T76" fmla="*/ 2147483647 w 624"/>
                  <a:gd name="T77" fmla="*/ 2147483647 h 450"/>
                  <a:gd name="T78" fmla="*/ 2147483647 w 624"/>
                  <a:gd name="T79" fmla="*/ 2147483647 h 450"/>
                  <a:gd name="T80" fmla="*/ 2147483647 w 624"/>
                  <a:gd name="T81" fmla="*/ 2147483647 h 450"/>
                  <a:gd name="T82" fmla="*/ 2147483647 w 624"/>
                  <a:gd name="T83" fmla="*/ 2147483647 h 450"/>
                  <a:gd name="T84" fmla="*/ 2147483647 w 624"/>
                  <a:gd name="T85" fmla="*/ 2147483647 h 450"/>
                  <a:gd name="T86" fmla="*/ 2147483647 w 624"/>
                  <a:gd name="T87" fmla="*/ 2147483647 h 450"/>
                  <a:gd name="T88" fmla="*/ 2147483647 w 624"/>
                  <a:gd name="T89" fmla="*/ 2147483647 h 450"/>
                  <a:gd name="T90" fmla="*/ 2147483647 w 624"/>
                  <a:gd name="T91" fmla="*/ 2147483647 h 450"/>
                  <a:gd name="T92" fmla="*/ 2147483647 w 624"/>
                  <a:gd name="T93" fmla="*/ 2147483647 h 450"/>
                  <a:gd name="T94" fmla="*/ 2147483647 w 624"/>
                  <a:gd name="T95" fmla="*/ 2147483647 h 450"/>
                  <a:gd name="T96" fmla="*/ 2147483647 w 624"/>
                  <a:gd name="T97" fmla="*/ 2147483647 h 450"/>
                  <a:gd name="T98" fmla="*/ 2147483647 w 624"/>
                  <a:gd name="T99" fmla="*/ 2147483647 h 450"/>
                  <a:gd name="T100" fmla="*/ 2147483647 w 624"/>
                  <a:gd name="T101" fmla="*/ 2147483647 h 450"/>
                  <a:gd name="T102" fmla="*/ 2147483647 w 624"/>
                  <a:gd name="T103" fmla="*/ 2147483647 h 450"/>
                  <a:gd name="T104" fmla="*/ 2147483647 w 624"/>
                  <a:gd name="T105" fmla="*/ 2147483647 h 450"/>
                  <a:gd name="T106" fmla="*/ 2147483647 w 624"/>
                  <a:gd name="T107" fmla="*/ 2147483647 h 450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624"/>
                  <a:gd name="T163" fmla="*/ 0 h 450"/>
                  <a:gd name="T164" fmla="*/ 624 w 624"/>
                  <a:gd name="T165" fmla="*/ 450 h 450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624" h="450">
                    <a:moveTo>
                      <a:pt x="426" y="426"/>
                    </a:moveTo>
                    <a:lnTo>
                      <a:pt x="432" y="426"/>
                    </a:lnTo>
                    <a:lnTo>
                      <a:pt x="444" y="420"/>
                    </a:lnTo>
                    <a:lnTo>
                      <a:pt x="450" y="414"/>
                    </a:lnTo>
                    <a:lnTo>
                      <a:pt x="474" y="414"/>
                    </a:lnTo>
                    <a:lnTo>
                      <a:pt x="498" y="438"/>
                    </a:lnTo>
                    <a:lnTo>
                      <a:pt x="528" y="438"/>
                    </a:lnTo>
                    <a:lnTo>
                      <a:pt x="528" y="450"/>
                    </a:lnTo>
                    <a:lnTo>
                      <a:pt x="552" y="450"/>
                    </a:lnTo>
                    <a:lnTo>
                      <a:pt x="540" y="438"/>
                    </a:lnTo>
                    <a:lnTo>
                      <a:pt x="540" y="396"/>
                    </a:lnTo>
                    <a:lnTo>
                      <a:pt x="594" y="348"/>
                    </a:lnTo>
                    <a:lnTo>
                      <a:pt x="606" y="348"/>
                    </a:lnTo>
                    <a:lnTo>
                      <a:pt x="612" y="342"/>
                    </a:lnTo>
                    <a:lnTo>
                      <a:pt x="618" y="342"/>
                    </a:lnTo>
                    <a:lnTo>
                      <a:pt x="624" y="336"/>
                    </a:lnTo>
                    <a:lnTo>
                      <a:pt x="618" y="330"/>
                    </a:lnTo>
                    <a:lnTo>
                      <a:pt x="618" y="324"/>
                    </a:lnTo>
                    <a:lnTo>
                      <a:pt x="612" y="318"/>
                    </a:lnTo>
                    <a:lnTo>
                      <a:pt x="618" y="306"/>
                    </a:lnTo>
                    <a:lnTo>
                      <a:pt x="612" y="300"/>
                    </a:lnTo>
                    <a:lnTo>
                      <a:pt x="600" y="294"/>
                    </a:lnTo>
                    <a:lnTo>
                      <a:pt x="600" y="288"/>
                    </a:lnTo>
                    <a:lnTo>
                      <a:pt x="582" y="270"/>
                    </a:lnTo>
                    <a:lnTo>
                      <a:pt x="576" y="252"/>
                    </a:lnTo>
                    <a:lnTo>
                      <a:pt x="582" y="252"/>
                    </a:lnTo>
                    <a:lnTo>
                      <a:pt x="576" y="240"/>
                    </a:lnTo>
                    <a:lnTo>
                      <a:pt x="576" y="210"/>
                    </a:lnTo>
                    <a:lnTo>
                      <a:pt x="564" y="198"/>
                    </a:lnTo>
                    <a:lnTo>
                      <a:pt x="558" y="198"/>
                    </a:lnTo>
                    <a:lnTo>
                      <a:pt x="552" y="192"/>
                    </a:lnTo>
                    <a:lnTo>
                      <a:pt x="552" y="186"/>
                    </a:lnTo>
                    <a:lnTo>
                      <a:pt x="564" y="186"/>
                    </a:lnTo>
                    <a:lnTo>
                      <a:pt x="564" y="168"/>
                    </a:lnTo>
                    <a:lnTo>
                      <a:pt x="588" y="162"/>
                    </a:lnTo>
                    <a:lnTo>
                      <a:pt x="588" y="150"/>
                    </a:lnTo>
                    <a:lnTo>
                      <a:pt x="594" y="144"/>
                    </a:lnTo>
                    <a:lnTo>
                      <a:pt x="594" y="138"/>
                    </a:lnTo>
                    <a:lnTo>
                      <a:pt x="588" y="132"/>
                    </a:lnTo>
                    <a:lnTo>
                      <a:pt x="576" y="108"/>
                    </a:lnTo>
                    <a:lnTo>
                      <a:pt x="570" y="102"/>
                    </a:lnTo>
                    <a:lnTo>
                      <a:pt x="570" y="90"/>
                    </a:lnTo>
                    <a:lnTo>
                      <a:pt x="564" y="84"/>
                    </a:lnTo>
                    <a:lnTo>
                      <a:pt x="558" y="72"/>
                    </a:lnTo>
                    <a:lnTo>
                      <a:pt x="558" y="48"/>
                    </a:lnTo>
                    <a:lnTo>
                      <a:pt x="546" y="42"/>
                    </a:lnTo>
                    <a:lnTo>
                      <a:pt x="540" y="42"/>
                    </a:lnTo>
                    <a:lnTo>
                      <a:pt x="522" y="36"/>
                    </a:lnTo>
                    <a:lnTo>
                      <a:pt x="498" y="36"/>
                    </a:lnTo>
                    <a:lnTo>
                      <a:pt x="498" y="42"/>
                    </a:lnTo>
                    <a:lnTo>
                      <a:pt x="408" y="42"/>
                    </a:lnTo>
                    <a:lnTo>
                      <a:pt x="402" y="36"/>
                    </a:lnTo>
                    <a:lnTo>
                      <a:pt x="390" y="36"/>
                    </a:lnTo>
                    <a:lnTo>
                      <a:pt x="384" y="30"/>
                    </a:lnTo>
                    <a:lnTo>
                      <a:pt x="360" y="30"/>
                    </a:lnTo>
                    <a:lnTo>
                      <a:pt x="354" y="36"/>
                    </a:lnTo>
                    <a:lnTo>
                      <a:pt x="348" y="36"/>
                    </a:lnTo>
                    <a:lnTo>
                      <a:pt x="342" y="30"/>
                    </a:lnTo>
                    <a:lnTo>
                      <a:pt x="312" y="30"/>
                    </a:lnTo>
                    <a:lnTo>
                      <a:pt x="300" y="36"/>
                    </a:lnTo>
                    <a:lnTo>
                      <a:pt x="282" y="36"/>
                    </a:lnTo>
                    <a:lnTo>
                      <a:pt x="276" y="30"/>
                    </a:lnTo>
                    <a:lnTo>
                      <a:pt x="270" y="18"/>
                    </a:lnTo>
                    <a:lnTo>
                      <a:pt x="264" y="12"/>
                    </a:lnTo>
                    <a:lnTo>
                      <a:pt x="264" y="6"/>
                    </a:lnTo>
                    <a:lnTo>
                      <a:pt x="258" y="6"/>
                    </a:lnTo>
                    <a:lnTo>
                      <a:pt x="252" y="0"/>
                    </a:lnTo>
                    <a:lnTo>
                      <a:pt x="210" y="0"/>
                    </a:lnTo>
                    <a:lnTo>
                      <a:pt x="192" y="6"/>
                    </a:lnTo>
                    <a:lnTo>
                      <a:pt x="180" y="12"/>
                    </a:lnTo>
                    <a:lnTo>
                      <a:pt x="162" y="12"/>
                    </a:lnTo>
                    <a:lnTo>
                      <a:pt x="150" y="18"/>
                    </a:lnTo>
                    <a:lnTo>
                      <a:pt x="144" y="24"/>
                    </a:lnTo>
                    <a:lnTo>
                      <a:pt x="138" y="24"/>
                    </a:lnTo>
                    <a:lnTo>
                      <a:pt x="120" y="42"/>
                    </a:lnTo>
                    <a:lnTo>
                      <a:pt x="60" y="48"/>
                    </a:lnTo>
                    <a:lnTo>
                      <a:pt x="54" y="48"/>
                    </a:lnTo>
                    <a:lnTo>
                      <a:pt x="48" y="54"/>
                    </a:lnTo>
                    <a:lnTo>
                      <a:pt x="24" y="66"/>
                    </a:lnTo>
                    <a:lnTo>
                      <a:pt x="18" y="66"/>
                    </a:lnTo>
                    <a:lnTo>
                      <a:pt x="12" y="72"/>
                    </a:lnTo>
                    <a:lnTo>
                      <a:pt x="18" y="78"/>
                    </a:lnTo>
                    <a:lnTo>
                      <a:pt x="18" y="96"/>
                    </a:lnTo>
                    <a:lnTo>
                      <a:pt x="6" y="90"/>
                    </a:lnTo>
                    <a:lnTo>
                      <a:pt x="6" y="108"/>
                    </a:lnTo>
                    <a:lnTo>
                      <a:pt x="12" y="108"/>
                    </a:lnTo>
                    <a:lnTo>
                      <a:pt x="18" y="114"/>
                    </a:lnTo>
                    <a:lnTo>
                      <a:pt x="18" y="132"/>
                    </a:lnTo>
                    <a:lnTo>
                      <a:pt x="6" y="144"/>
                    </a:lnTo>
                    <a:lnTo>
                      <a:pt x="0" y="144"/>
                    </a:lnTo>
                    <a:lnTo>
                      <a:pt x="0" y="156"/>
                    </a:lnTo>
                    <a:lnTo>
                      <a:pt x="6" y="162"/>
                    </a:lnTo>
                    <a:lnTo>
                      <a:pt x="12" y="162"/>
                    </a:lnTo>
                    <a:lnTo>
                      <a:pt x="18" y="168"/>
                    </a:lnTo>
                    <a:lnTo>
                      <a:pt x="30" y="168"/>
                    </a:lnTo>
                    <a:lnTo>
                      <a:pt x="30" y="186"/>
                    </a:lnTo>
                    <a:lnTo>
                      <a:pt x="24" y="186"/>
                    </a:lnTo>
                    <a:lnTo>
                      <a:pt x="24" y="198"/>
                    </a:lnTo>
                    <a:lnTo>
                      <a:pt x="36" y="198"/>
                    </a:lnTo>
                    <a:lnTo>
                      <a:pt x="36" y="204"/>
                    </a:lnTo>
                    <a:lnTo>
                      <a:pt x="30" y="210"/>
                    </a:lnTo>
                    <a:lnTo>
                      <a:pt x="36" y="210"/>
                    </a:lnTo>
                    <a:lnTo>
                      <a:pt x="42" y="216"/>
                    </a:lnTo>
                    <a:lnTo>
                      <a:pt x="36" y="222"/>
                    </a:lnTo>
                    <a:lnTo>
                      <a:pt x="24" y="228"/>
                    </a:lnTo>
                    <a:lnTo>
                      <a:pt x="24" y="234"/>
                    </a:lnTo>
                    <a:lnTo>
                      <a:pt x="30" y="240"/>
                    </a:lnTo>
                    <a:lnTo>
                      <a:pt x="36" y="240"/>
                    </a:lnTo>
                    <a:lnTo>
                      <a:pt x="42" y="246"/>
                    </a:lnTo>
                    <a:lnTo>
                      <a:pt x="42" y="264"/>
                    </a:lnTo>
                    <a:lnTo>
                      <a:pt x="48" y="258"/>
                    </a:lnTo>
                    <a:lnTo>
                      <a:pt x="54" y="258"/>
                    </a:lnTo>
                    <a:lnTo>
                      <a:pt x="54" y="270"/>
                    </a:lnTo>
                    <a:lnTo>
                      <a:pt x="48" y="276"/>
                    </a:lnTo>
                    <a:lnTo>
                      <a:pt x="60" y="276"/>
                    </a:lnTo>
                    <a:lnTo>
                      <a:pt x="60" y="282"/>
                    </a:lnTo>
                    <a:lnTo>
                      <a:pt x="54" y="282"/>
                    </a:lnTo>
                    <a:lnTo>
                      <a:pt x="54" y="294"/>
                    </a:lnTo>
                    <a:lnTo>
                      <a:pt x="72" y="294"/>
                    </a:lnTo>
                    <a:lnTo>
                      <a:pt x="78" y="312"/>
                    </a:lnTo>
                    <a:lnTo>
                      <a:pt x="96" y="312"/>
                    </a:lnTo>
                    <a:lnTo>
                      <a:pt x="108" y="318"/>
                    </a:lnTo>
                    <a:lnTo>
                      <a:pt x="114" y="318"/>
                    </a:lnTo>
                    <a:lnTo>
                      <a:pt x="114" y="324"/>
                    </a:lnTo>
                    <a:lnTo>
                      <a:pt x="138" y="324"/>
                    </a:lnTo>
                    <a:lnTo>
                      <a:pt x="144" y="330"/>
                    </a:lnTo>
                    <a:lnTo>
                      <a:pt x="132" y="336"/>
                    </a:lnTo>
                    <a:lnTo>
                      <a:pt x="144" y="342"/>
                    </a:lnTo>
                    <a:lnTo>
                      <a:pt x="144" y="354"/>
                    </a:lnTo>
                    <a:lnTo>
                      <a:pt x="150" y="354"/>
                    </a:lnTo>
                    <a:lnTo>
                      <a:pt x="156" y="360"/>
                    </a:lnTo>
                    <a:lnTo>
                      <a:pt x="174" y="360"/>
                    </a:lnTo>
                    <a:lnTo>
                      <a:pt x="174" y="354"/>
                    </a:lnTo>
                    <a:lnTo>
                      <a:pt x="180" y="354"/>
                    </a:lnTo>
                    <a:lnTo>
                      <a:pt x="192" y="348"/>
                    </a:lnTo>
                    <a:lnTo>
                      <a:pt x="210" y="348"/>
                    </a:lnTo>
                    <a:lnTo>
                      <a:pt x="204" y="354"/>
                    </a:lnTo>
                    <a:lnTo>
                      <a:pt x="222" y="354"/>
                    </a:lnTo>
                    <a:lnTo>
                      <a:pt x="228" y="360"/>
                    </a:lnTo>
                    <a:lnTo>
                      <a:pt x="234" y="372"/>
                    </a:lnTo>
                    <a:lnTo>
                      <a:pt x="240" y="378"/>
                    </a:lnTo>
                    <a:lnTo>
                      <a:pt x="246" y="366"/>
                    </a:lnTo>
                    <a:lnTo>
                      <a:pt x="252" y="372"/>
                    </a:lnTo>
                    <a:lnTo>
                      <a:pt x="252" y="378"/>
                    </a:lnTo>
                    <a:lnTo>
                      <a:pt x="270" y="378"/>
                    </a:lnTo>
                    <a:lnTo>
                      <a:pt x="282" y="384"/>
                    </a:lnTo>
                    <a:lnTo>
                      <a:pt x="282" y="390"/>
                    </a:lnTo>
                    <a:lnTo>
                      <a:pt x="288" y="402"/>
                    </a:lnTo>
                    <a:lnTo>
                      <a:pt x="306" y="420"/>
                    </a:lnTo>
                    <a:lnTo>
                      <a:pt x="318" y="420"/>
                    </a:lnTo>
                    <a:lnTo>
                      <a:pt x="330" y="408"/>
                    </a:lnTo>
                    <a:lnTo>
                      <a:pt x="342" y="408"/>
                    </a:lnTo>
                    <a:lnTo>
                      <a:pt x="354" y="420"/>
                    </a:lnTo>
                    <a:lnTo>
                      <a:pt x="360" y="420"/>
                    </a:lnTo>
                    <a:lnTo>
                      <a:pt x="360" y="426"/>
                    </a:lnTo>
                    <a:lnTo>
                      <a:pt x="366" y="432"/>
                    </a:lnTo>
                    <a:lnTo>
                      <a:pt x="378" y="432"/>
                    </a:lnTo>
                    <a:lnTo>
                      <a:pt x="384" y="426"/>
                    </a:lnTo>
                    <a:lnTo>
                      <a:pt x="384" y="420"/>
                    </a:lnTo>
                    <a:lnTo>
                      <a:pt x="414" y="420"/>
                    </a:lnTo>
                    <a:lnTo>
                      <a:pt x="420" y="426"/>
                    </a:lnTo>
                    <a:lnTo>
                      <a:pt x="426" y="42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98" name="Lithuania" descr="© INSCALE GmbH, 05.05.2010&#10;http://www.presentationload.com/"/>
              <p:cNvSpPr>
                <a:spLocks/>
              </p:cNvSpPr>
              <p:nvPr/>
            </p:nvSpPr>
            <p:spPr bwMode="gray">
              <a:xfrm>
                <a:off x="4909844" y="2902636"/>
                <a:ext cx="111346" cy="61239"/>
              </a:xfrm>
              <a:custGeom>
                <a:avLst/>
                <a:gdLst>
                  <a:gd name="T0" fmla="*/ 2147483647 w 342"/>
                  <a:gd name="T1" fmla="*/ 2147483647 h 198"/>
                  <a:gd name="T2" fmla="*/ 2147483647 w 342"/>
                  <a:gd name="T3" fmla="*/ 2147483647 h 198"/>
                  <a:gd name="T4" fmla="*/ 2147483647 w 342"/>
                  <a:gd name="T5" fmla="*/ 2147483647 h 198"/>
                  <a:gd name="T6" fmla="*/ 2147483647 w 342"/>
                  <a:gd name="T7" fmla="*/ 2147483647 h 198"/>
                  <a:gd name="T8" fmla="*/ 2147483647 w 342"/>
                  <a:gd name="T9" fmla="*/ 2147483647 h 198"/>
                  <a:gd name="T10" fmla="*/ 2147483647 w 342"/>
                  <a:gd name="T11" fmla="*/ 2147483647 h 198"/>
                  <a:gd name="T12" fmla="*/ 2147483647 w 342"/>
                  <a:gd name="T13" fmla="*/ 2147483647 h 198"/>
                  <a:gd name="T14" fmla="*/ 2147483647 w 342"/>
                  <a:gd name="T15" fmla="*/ 2147483647 h 198"/>
                  <a:gd name="T16" fmla="*/ 2147483647 w 342"/>
                  <a:gd name="T17" fmla="*/ 2147483647 h 198"/>
                  <a:gd name="T18" fmla="*/ 2147483647 w 342"/>
                  <a:gd name="T19" fmla="*/ 2147483647 h 198"/>
                  <a:gd name="T20" fmla="*/ 2147483647 w 342"/>
                  <a:gd name="T21" fmla="*/ 2147483647 h 198"/>
                  <a:gd name="T22" fmla="*/ 2147483647 w 342"/>
                  <a:gd name="T23" fmla="*/ 2147483647 h 198"/>
                  <a:gd name="T24" fmla="*/ 2147483647 w 342"/>
                  <a:gd name="T25" fmla="*/ 0 h 198"/>
                  <a:gd name="T26" fmla="*/ 2147483647 w 342"/>
                  <a:gd name="T27" fmla="*/ 2147483647 h 198"/>
                  <a:gd name="T28" fmla="*/ 0 w 342"/>
                  <a:gd name="T29" fmla="*/ 2147483647 h 198"/>
                  <a:gd name="T30" fmla="*/ 2147483647 w 342"/>
                  <a:gd name="T31" fmla="*/ 2147483647 h 198"/>
                  <a:gd name="T32" fmla="*/ 2147483647 w 342"/>
                  <a:gd name="T33" fmla="*/ 2147483647 h 198"/>
                  <a:gd name="T34" fmla="*/ 2147483647 w 342"/>
                  <a:gd name="T35" fmla="*/ 2147483647 h 198"/>
                  <a:gd name="T36" fmla="*/ 2147483647 w 342"/>
                  <a:gd name="T37" fmla="*/ 2147483647 h 198"/>
                  <a:gd name="T38" fmla="*/ 2147483647 w 342"/>
                  <a:gd name="T39" fmla="*/ 2147483647 h 198"/>
                  <a:gd name="T40" fmla="*/ 2147483647 w 342"/>
                  <a:gd name="T41" fmla="*/ 2147483647 h 198"/>
                  <a:gd name="T42" fmla="*/ 2147483647 w 342"/>
                  <a:gd name="T43" fmla="*/ 2147483647 h 198"/>
                  <a:gd name="T44" fmla="*/ 2147483647 w 342"/>
                  <a:gd name="T45" fmla="*/ 2147483647 h 198"/>
                  <a:gd name="T46" fmla="*/ 2147483647 w 342"/>
                  <a:gd name="T47" fmla="*/ 2147483647 h 198"/>
                  <a:gd name="T48" fmla="*/ 2147483647 w 342"/>
                  <a:gd name="T49" fmla="*/ 2147483647 h 198"/>
                  <a:gd name="T50" fmla="*/ 2147483647 w 342"/>
                  <a:gd name="T51" fmla="*/ 2147483647 h 198"/>
                  <a:gd name="T52" fmla="*/ 2147483647 w 342"/>
                  <a:gd name="T53" fmla="*/ 2147483647 h 198"/>
                  <a:gd name="T54" fmla="*/ 2147483647 w 342"/>
                  <a:gd name="T55" fmla="*/ 2147483647 h 198"/>
                  <a:gd name="T56" fmla="*/ 2147483647 w 342"/>
                  <a:gd name="T57" fmla="*/ 2147483647 h 198"/>
                  <a:gd name="T58" fmla="*/ 2147483647 w 342"/>
                  <a:gd name="T59" fmla="*/ 2147483647 h 198"/>
                  <a:gd name="T60" fmla="*/ 2147483647 w 342"/>
                  <a:gd name="T61" fmla="*/ 2147483647 h 198"/>
                  <a:gd name="T62" fmla="*/ 2147483647 w 342"/>
                  <a:gd name="T63" fmla="*/ 2147483647 h 198"/>
                  <a:gd name="T64" fmla="*/ 2147483647 w 342"/>
                  <a:gd name="T65" fmla="*/ 2147483647 h 198"/>
                  <a:gd name="T66" fmla="*/ 2147483647 w 342"/>
                  <a:gd name="T67" fmla="*/ 2147483647 h 198"/>
                  <a:gd name="T68" fmla="*/ 2147483647 w 342"/>
                  <a:gd name="T69" fmla="*/ 2147483647 h 198"/>
                  <a:gd name="T70" fmla="*/ 2147483647 w 342"/>
                  <a:gd name="T71" fmla="*/ 2147483647 h 198"/>
                  <a:gd name="T72" fmla="*/ 2147483647 w 342"/>
                  <a:gd name="T73" fmla="*/ 2147483647 h 198"/>
                  <a:gd name="T74" fmla="*/ 2147483647 w 342"/>
                  <a:gd name="T75" fmla="*/ 2147483647 h 198"/>
                  <a:gd name="T76" fmla="*/ 2147483647 w 342"/>
                  <a:gd name="T77" fmla="*/ 2147483647 h 198"/>
                  <a:gd name="T78" fmla="*/ 2147483647 w 342"/>
                  <a:gd name="T79" fmla="*/ 2147483647 h 198"/>
                  <a:gd name="T80" fmla="*/ 2147483647 w 342"/>
                  <a:gd name="T81" fmla="*/ 2147483647 h 198"/>
                  <a:gd name="T82" fmla="*/ 2147483647 w 342"/>
                  <a:gd name="T83" fmla="*/ 2147483647 h 198"/>
                  <a:gd name="T84" fmla="*/ 2147483647 w 342"/>
                  <a:gd name="T85" fmla="*/ 2147483647 h 198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342"/>
                  <a:gd name="T130" fmla="*/ 0 h 198"/>
                  <a:gd name="T131" fmla="*/ 342 w 342"/>
                  <a:gd name="T132" fmla="*/ 198 h 198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342" h="198">
                    <a:moveTo>
                      <a:pt x="330" y="60"/>
                    </a:moveTo>
                    <a:lnTo>
                      <a:pt x="312" y="54"/>
                    </a:lnTo>
                    <a:lnTo>
                      <a:pt x="294" y="42"/>
                    </a:lnTo>
                    <a:lnTo>
                      <a:pt x="282" y="30"/>
                    </a:lnTo>
                    <a:lnTo>
                      <a:pt x="276" y="30"/>
                    </a:lnTo>
                    <a:lnTo>
                      <a:pt x="264" y="24"/>
                    </a:lnTo>
                    <a:lnTo>
                      <a:pt x="234" y="24"/>
                    </a:lnTo>
                    <a:lnTo>
                      <a:pt x="228" y="12"/>
                    </a:lnTo>
                    <a:lnTo>
                      <a:pt x="222" y="6"/>
                    </a:lnTo>
                    <a:lnTo>
                      <a:pt x="210" y="6"/>
                    </a:lnTo>
                    <a:lnTo>
                      <a:pt x="198" y="18"/>
                    </a:lnTo>
                    <a:lnTo>
                      <a:pt x="180" y="18"/>
                    </a:lnTo>
                    <a:lnTo>
                      <a:pt x="174" y="12"/>
                    </a:lnTo>
                    <a:lnTo>
                      <a:pt x="162" y="12"/>
                    </a:lnTo>
                    <a:lnTo>
                      <a:pt x="156" y="18"/>
                    </a:lnTo>
                    <a:lnTo>
                      <a:pt x="150" y="18"/>
                    </a:lnTo>
                    <a:lnTo>
                      <a:pt x="144" y="12"/>
                    </a:lnTo>
                    <a:lnTo>
                      <a:pt x="138" y="12"/>
                    </a:lnTo>
                    <a:lnTo>
                      <a:pt x="126" y="6"/>
                    </a:lnTo>
                    <a:lnTo>
                      <a:pt x="120" y="6"/>
                    </a:lnTo>
                    <a:lnTo>
                      <a:pt x="114" y="12"/>
                    </a:lnTo>
                    <a:lnTo>
                      <a:pt x="108" y="12"/>
                    </a:lnTo>
                    <a:lnTo>
                      <a:pt x="102" y="6"/>
                    </a:lnTo>
                    <a:lnTo>
                      <a:pt x="96" y="6"/>
                    </a:lnTo>
                    <a:lnTo>
                      <a:pt x="90" y="0"/>
                    </a:lnTo>
                    <a:lnTo>
                      <a:pt x="72" y="0"/>
                    </a:lnTo>
                    <a:lnTo>
                      <a:pt x="60" y="12"/>
                    </a:lnTo>
                    <a:lnTo>
                      <a:pt x="18" y="12"/>
                    </a:lnTo>
                    <a:lnTo>
                      <a:pt x="6" y="18"/>
                    </a:lnTo>
                    <a:lnTo>
                      <a:pt x="0" y="18"/>
                    </a:lnTo>
                    <a:lnTo>
                      <a:pt x="0" y="60"/>
                    </a:lnTo>
                    <a:lnTo>
                      <a:pt x="12" y="84"/>
                    </a:lnTo>
                    <a:lnTo>
                      <a:pt x="18" y="90"/>
                    </a:lnTo>
                    <a:lnTo>
                      <a:pt x="18" y="96"/>
                    </a:lnTo>
                    <a:lnTo>
                      <a:pt x="30" y="96"/>
                    </a:lnTo>
                    <a:lnTo>
                      <a:pt x="30" y="102"/>
                    </a:lnTo>
                    <a:lnTo>
                      <a:pt x="42" y="102"/>
                    </a:lnTo>
                    <a:lnTo>
                      <a:pt x="48" y="108"/>
                    </a:lnTo>
                    <a:lnTo>
                      <a:pt x="72" y="108"/>
                    </a:lnTo>
                    <a:lnTo>
                      <a:pt x="84" y="102"/>
                    </a:lnTo>
                    <a:lnTo>
                      <a:pt x="102" y="102"/>
                    </a:lnTo>
                    <a:lnTo>
                      <a:pt x="108" y="114"/>
                    </a:lnTo>
                    <a:lnTo>
                      <a:pt x="108" y="132"/>
                    </a:lnTo>
                    <a:lnTo>
                      <a:pt x="96" y="144"/>
                    </a:lnTo>
                    <a:lnTo>
                      <a:pt x="102" y="162"/>
                    </a:lnTo>
                    <a:lnTo>
                      <a:pt x="120" y="162"/>
                    </a:lnTo>
                    <a:lnTo>
                      <a:pt x="138" y="168"/>
                    </a:lnTo>
                    <a:lnTo>
                      <a:pt x="144" y="168"/>
                    </a:lnTo>
                    <a:lnTo>
                      <a:pt x="156" y="174"/>
                    </a:lnTo>
                    <a:lnTo>
                      <a:pt x="156" y="198"/>
                    </a:lnTo>
                    <a:lnTo>
                      <a:pt x="162" y="198"/>
                    </a:lnTo>
                    <a:lnTo>
                      <a:pt x="168" y="192"/>
                    </a:lnTo>
                    <a:lnTo>
                      <a:pt x="180" y="192"/>
                    </a:lnTo>
                    <a:lnTo>
                      <a:pt x="192" y="186"/>
                    </a:lnTo>
                    <a:lnTo>
                      <a:pt x="198" y="186"/>
                    </a:lnTo>
                    <a:lnTo>
                      <a:pt x="204" y="192"/>
                    </a:lnTo>
                    <a:lnTo>
                      <a:pt x="204" y="198"/>
                    </a:lnTo>
                    <a:lnTo>
                      <a:pt x="234" y="198"/>
                    </a:lnTo>
                    <a:lnTo>
                      <a:pt x="234" y="180"/>
                    </a:lnTo>
                    <a:lnTo>
                      <a:pt x="246" y="192"/>
                    </a:lnTo>
                    <a:lnTo>
                      <a:pt x="252" y="180"/>
                    </a:lnTo>
                    <a:lnTo>
                      <a:pt x="258" y="174"/>
                    </a:lnTo>
                    <a:lnTo>
                      <a:pt x="270" y="168"/>
                    </a:lnTo>
                    <a:lnTo>
                      <a:pt x="288" y="168"/>
                    </a:lnTo>
                    <a:lnTo>
                      <a:pt x="288" y="174"/>
                    </a:lnTo>
                    <a:lnTo>
                      <a:pt x="282" y="180"/>
                    </a:lnTo>
                    <a:lnTo>
                      <a:pt x="294" y="180"/>
                    </a:lnTo>
                    <a:lnTo>
                      <a:pt x="294" y="174"/>
                    </a:lnTo>
                    <a:lnTo>
                      <a:pt x="288" y="168"/>
                    </a:lnTo>
                    <a:lnTo>
                      <a:pt x="288" y="156"/>
                    </a:lnTo>
                    <a:lnTo>
                      <a:pt x="282" y="150"/>
                    </a:lnTo>
                    <a:lnTo>
                      <a:pt x="282" y="144"/>
                    </a:lnTo>
                    <a:lnTo>
                      <a:pt x="294" y="144"/>
                    </a:lnTo>
                    <a:lnTo>
                      <a:pt x="294" y="138"/>
                    </a:lnTo>
                    <a:lnTo>
                      <a:pt x="288" y="126"/>
                    </a:lnTo>
                    <a:lnTo>
                      <a:pt x="288" y="120"/>
                    </a:lnTo>
                    <a:lnTo>
                      <a:pt x="294" y="114"/>
                    </a:lnTo>
                    <a:lnTo>
                      <a:pt x="312" y="114"/>
                    </a:lnTo>
                    <a:lnTo>
                      <a:pt x="306" y="96"/>
                    </a:lnTo>
                    <a:lnTo>
                      <a:pt x="312" y="96"/>
                    </a:lnTo>
                    <a:lnTo>
                      <a:pt x="318" y="102"/>
                    </a:lnTo>
                    <a:lnTo>
                      <a:pt x="336" y="102"/>
                    </a:lnTo>
                    <a:lnTo>
                      <a:pt x="342" y="96"/>
                    </a:lnTo>
                    <a:lnTo>
                      <a:pt x="324" y="78"/>
                    </a:lnTo>
                    <a:lnTo>
                      <a:pt x="324" y="72"/>
                    </a:lnTo>
                    <a:lnTo>
                      <a:pt x="330" y="66"/>
                    </a:lnTo>
                    <a:lnTo>
                      <a:pt x="330" y="6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99" name="Germany" descr="© INSCALE GmbH, 05.05.2010&#10;http://www.presentationload.com/"/>
              <p:cNvSpPr>
                <a:spLocks/>
              </p:cNvSpPr>
              <p:nvPr/>
            </p:nvSpPr>
            <p:spPr bwMode="gray">
              <a:xfrm>
                <a:off x="4615482" y="2939380"/>
                <a:ext cx="183017" cy="183718"/>
              </a:xfrm>
              <a:custGeom>
                <a:avLst/>
                <a:gdLst>
                  <a:gd name="T0" fmla="*/ 2147483647 w 564"/>
                  <a:gd name="T1" fmla="*/ 2147483647 h 588"/>
                  <a:gd name="T2" fmla="*/ 2147483647 w 564"/>
                  <a:gd name="T3" fmla="*/ 2147483647 h 588"/>
                  <a:gd name="T4" fmla="*/ 2147483647 w 564"/>
                  <a:gd name="T5" fmla="*/ 2147483647 h 588"/>
                  <a:gd name="T6" fmla="*/ 2147483647 w 564"/>
                  <a:gd name="T7" fmla="*/ 2147483647 h 588"/>
                  <a:gd name="T8" fmla="*/ 2147483647 w 564"/>
                  <a:gd name="T9" fmla="*/ 2147483647 h 588"/>
                  <a:gd name="T10" fmla="*/ 2147483647 w 564"/>
                  <a:gd name="T11" fmla="*/ 2147483647 h 588"/>
                  <a:gd name="T12" fmla="*/ 2147483647 w 564"/>
                  <a:gd name="T13" fmla="*/ 2147483647 h 588"/>
                  <a:gd name="T14" fmla="*/ 2147483647 w 564"/>
                  <a:gd name="T15" fmla="*/ 2147483647 h 588"/>
                  <a:gd name="T16" fmla="*/ 2147483647 w 564"/>
                  <a:gd name="T17" fmla="*/ 2147483647 h 588"/>
                  <a:gd name="T18" fmla="*/ 2147483647 w 564"/>
                  <a:gd name="T19" fmla="*/ 2147483647 h 588"/>
                  <a:gd name="T20" fmla="*/ 2147483647 w 564"/>
                  <a:gd name="T21" fmla="*/ 2147483647 h 588"/>
                  <a:gd name="T22" fmla="*/ 2147483647 w 564"/>
                  <a:gd name="T23" fmla="*/ 2147483647 h 588"/>
                  <a:gd name="T24" fmla="*/ 2147483647 w 564"/>
                  <a:gd name="T25" fmla="*/ 2147483647 h 588"/>
                  <a:gd name="T26" fmla="*/ 2147483647 w 564"/>
                  <a:gd name="T27" fmla="*/ 2147483647 h 588"/>
                  <a:gd name="T28" fmla="*/ 2147483647 w 564"/>
                  <a:gd name="T29" fmla="*/ 2147483647 h 588"/>
                  <a:gd name="T30" fmla="*/ 2147483647 w 564"/>
                  <a:gd name="T31" fmla="*/ 2147483647 h 588"/>
                  <a:gd name="T32" fmla="*/ 2147483647 w 564"/>
                  <a:gd name="T33" fmla="*/ 2147483647 h 588"/>
                  <a:gd name="T34" fmla="*/ 2147483647 w 564"/>
                  <a:gd name="T35" fmla="*/ 2147483647 h 588"/>
                  <a:gd name="T36" fmla="*/ 2147483647 w 564"/>
                  <a:gd name="T37" fmla="*/ 2147483647 h 588"/>
                  <a:gd name="T38" fmla="*/ 2147483647 w 564"/>
                  <a:gd name="T39" fmla="*/ 2147483647 h 588"/>
                  <a:gd name="T40" fmla="*/ 2147483647 w 564"/>
                  <a:gd name="T41" fmla="*/ 2147483647 h 588"/>
                  <a:gd name="T42" fmla="*/ 2147483647 w 564"/>
                  <a:gd name="T43" fmla="*/ 2147483647 h 588"/>
                  <a:gd name="T44" fmla="*/ 2147483647 w 564"/>
                  <a:gd name="T45" fmla="*/ 2147483647 h 588"/>
                  <a:gd name="T46" fmla="*/ 2147483647 w 564"/>
                  <a:gd name="T47" fmla="*/ 2147483647 h 588"/>
                  <a:gd name="T48" fmla="*/ 2147483647 w 564"/>
                  <a:gd name="T49" fmla="*/ 2147483647 h 588"/>
                  <a:gd name="T50" fmla="*/ 2147483647 w 564"/>
                  <a:gd name="T51" fmla="*/ 2147483647 h 588"/>
                  <a:gd name="T52" fmla="*/ 2147483647 w 564"/>
                  <a:gd name="T53" fmla="*/ 2147483647 h 588"/>
                  <a:gd name="T54" fmla="*/ 2147483647 w 564"/>
                  <a:gd name="T55" fmla="*/ 2147483647 h 588"/>
                  <a:gd name="T56" fmla="*/ 2147483647 w 564"/>
                  <a:gd name="T57" fmla="*/ 2147483647 h 588"/>
                  <a:gd name="T58" fmla="*/ 2147483647 w 564"/>
                  <a:gd name="T59" fmla="*/ 2147483647 h 588"/>
                  <a:gd name="T60" fmla="*/ 2147483647 w 564"/>
                  <a:gd name="T61" fmla="*/ 2147483647 h 588"/>
                  <a:gd name="T62" fmla="*/ 2147483647 w 564"/>
                  <a:gd name="T63" fmla="*/ 2147483647 h 588"/>
                  <a:gd name="T64" fmla="*/ 2147483647 w 564"/>
                  <a:gd name="T65" fmla="*/ 2147483647 h 588"/>
                  <a:gd name="T66" fmla="*/ 2147483647 w 564"/>
                  <a:gd name="T67" fmla="*/ 2147483647 h 588"/>
                  <a:gd name="T68" fmla="*/ 2147483647 w 564"/>
                  <a:gd name="T69" fmla="*/ 2147483647 h 588"/>
                  <a:gd name="T70" fmla="*/ 2147483647 w 564"/>
                  <a:gd name="T71" fmla="*/ 2147483647 h 588"/>
                  <a:gd name="T72" fmla="*/ 2147483647 w 564"/>
                  <a:gd name="T73" fmla="*/ 2147483647 h 588"/>
                  <a:gd name="T74" fmla="*/ 2147483647 w 564"/>
                  <a:gd name="T75" fmla="*/ 2147483647 h 588"/>
                  <a:gd name="T76" fmla="*/ 2147483647 w 564"/>
                  <a:gd name="T77" fmla="*/ 2147483647 h 588"/>
                  <a:gd name="T78" fmla="*/ 2147483647 w 564"/>
                  <a:gd name="T79" fmla="*/ 2147483647 h 588"/>
                  <a:gd name="T80" fmla="*/ 2147483647 w 564"/>
                  <a:gd name="T81" fmla="*/ 2147483647 h 588"/>
                  <a:gd name="T82" fmla="*/ 2147483647 w 564"/>
                  <a:gd name="T83" fmla="*/ 0 h 588"/>
                  <a:gd name="T84" fmla="*/ 2147483647 w 564"/>
                  <a:gd name="T85" fmla="*/ 2147483647 h 588"/>
                  <a:gd name="T86" fmla="*/ 2147483647 w 564"/>
                  <a:gd name="T87" fmla="*/ 2147483647 h 588"/>
                  <a:gd name="T88" fmla="*/ 2147483647 w 564"/>
                  <a:gd name="T89" fmla="*/ 2147483647 h 588"/>
                  <a:gd name="T90" fmla="*/ 2147483647 w 564"/>
                  <a:gd name="T91" fmla="*/ 2147483647 h 588"/>
                  <a:gd name="T92" fmla="*/ 2147483647 w 564"/>
                  <a:gd name="T93" fmla="*/ 2147483647 h 588"/>
                  <a:gd name="T94" fmla="*/ 2147483647 w 564"/>
                  <a:gd name="T95" fmla="*/ 2147483647 h 588"/>
                  <a:gd name="T96" fmla="*/ 2147483647 w 564"/>
                  <a:gd name="T97" fmla="*/ 2147483647 h 588"/>
                  <a:gd name="T98" fmla="*/ 2147483647 w 564"/>
                  <a:gd name="T99" fmla="*/ 2147483647 h 588"/>
                  <a:gd name="T100" fmla="*/ 2147483647 w 564"/>
                  <a:gd name="T101" fmla="*/ 2147483647 h 588"/>
                  <a:gd name="T102" fmla="*/ 2147483647 w 564"/>
                  <a:gd name="T103" fmla="*/ 2147483647 h 588"/>
                  <a:gd name="T104" fmla="*/ 0 w 564"/>
                  <a:gd name="T105" fmla="*/ 2147483647 h 588"/>
                  <a:gd name="T106" fmla="*/ 2147483647 w 564"/>
                  <a:gd name="T107" fmla="*/ 2147483647 h 588"/>
                  <a:gd name="T108" fmla="*/ 2147483647 w 564"/>
                  <a:gd name="T109" fmla="*/ 2147483647 h 588"/>
                  <a:gd name="T110" fmla="*/ 2147483647 w 564"/>
                  <a:gd name="T111" fmla="*/ 2147483647 h 588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564"/>
                  <a:gd name="T169" fmla="*/ 0 h 588"/>
                  <a:gd name="T170" fmla="*/ 564 w 564"/>
                  <a:gd name="T171" fmla="*/ 588 h 588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564" h="588">
                    <a:moveTo>
                      <a:pt x="30" y="414"/>
                    </a:moveTo>
                    <a:lnTo>
                      <a:pt x="30" y="420"/>
                    </a:lnTo>
                    <a:lnTo>
                      <a:pt x="36" y="420"/>
                    </a:lnTo>
                    <a:lnTo>
                      <a:pt x="36" y="444"/>
                    </a:lnTo>
                    <a:lnTo>
                      <a:pt x="60" y="444"/>
                    </a:lnTo>
                    <a:lnTo>
                      <a:pt x="60" y="450"/>
                    </a:lnTo>
                    <a:lnTo>
                      <a:pt x="72" y="450"/>
                    </a:lnTo>
                    <a:lnTo>
                      <a:pt x="84" y="444"/>
                    </a:lnTo>
                    <a:lnTo>
                      <a:pt x="96" y="444"/>
                    </a:lnTo>
                    <a:lnTo>
                      <a:pt x="96" y="450"/>
                    </a:lnTo>
                    <a:lnTo>
                      <a:pt x="120" y="450"/>
                    </a:lnTo>
                    <a:lnTo>
                      <a:pt x="138" y="456"/>
                    </a:lnTo>
                    <a:lnTo>
                      <a:pt x="132" y="468"/>
                    </a:lnTo>
                    <a:lnTo>
                      <a:pt x="114" y="486"/>
                    </a:lnTo>
                    <a:lnTo>
                      <a:pt x="114" y="498"/>
                    </a:lnTo>
                    <a:lnTo>
                      <a:pt x="108" y="510"/>
                    </a:lnTo>
                    <a:lnTo>
                      <a:pt x="102" y="516"/>
                    </a:lnTo>
                    <a:lnTo>
                      <a:pt x="96" y="528"/>
                    </a:lnTo>
                    <a:lnTo>
                      <a:pt x="96" y="570"/>
                    </a:lnTo>
                    <a:lnTo>
                      <a:pt x="132" y="570"/>
                    </a:lnTo>
                    <a:lnTo>
                      <a:pt x="150" y="564"/>
                    </a:lnTo>
                    <a:lnTo>
                      <a:pt x="156" y="570"/>
                    </a:lnTo>
                    <a:lnTo>
                      <a:pt x="150" y="564"/>
                    </a:lnTo>
                    <a:lnTo>
                      <a:pt x="150" y="552"/>
                    </a:lnTo>
                    <a:lnTo>
                      <a:pt x="156" y="546"/>
                    </a:lnTo>
                    <a:lnTo>
                      <a:pt x="162" y="546"/>
                    </a:lnTo>
                    <a:lnTo>
                      <a:pt x="174" y="552"/>
                    </a:lnTo>
                    <a:lnTo>
                      <a:pt x="180" y="558"/>
                    </a:lnTo>
                    <a:lnTo>
                      <a:pt x="192" y="558"/>
                    </a:lnTo>
                    <a:lnTo>
                      <a:pt x="210" y="564"/>
                    </a:lnTo>
                    <a:lnTo>
                      <a:pt x="216" y="576"/>
                    </a:lnTo>
                    <a:lnTo>
                      <a:pt x="252" y="576"/>
                    </a:lnTo>
                    <a:lnTo>
                      <a:pt x="258" y="582"/>
                    </a:lnTo>
                    <a:lnTo>
                      <a:pt x="258" y="588"/>
                    </a:lnTo>
                    <a:lnTo>
                      <a:pt x="270" y="588"/>
                    </a:lnTo>
                    <a:lnTo>
                      <a:pt x="276" y="582"/>
                    </a:lnTo>
                    <a:lnTo>
                      <a:pt x="276" y="570"/>
                    </a:lnTo>
                    <a:lnTo>
                      <a:pt x="294" y="570"/>
                    </a:lnTo>
                    <a:lnTo>
                      <a:pt x="312" y="588"/>
                    </a:lnTo>
                    <a:lnTo>
                      <a:pt x="330" y="588"/>
                    </a:lnTo>
                    <a:lnTo>
                      <a:pt x="336" y="582"/>
                    </a:lnTo>
                    <a:lnTo>
                      <a:pt x="354" y="570"/>
                    </a:lnTo>
                    <a:lnTo>
                      <a:pt x="372" y="570"/>
                    </a:lnTo>
                    <a:lnTo>
                      <a:pt x="390" y="558"/>
                    </a:lnTo>
                    <a:lnTo>
                      <a:pt x="402" y="564"/>
                    </a:lnTo>
                    <a:lnTo>
                      <a:pt x="420" y="570"/>
                    </a:lnTo>
                    <a:lnTo>
                      <a:pt x="432" y="582"/>
                    </a:lnTo>
                    <a:lnTo>
                      <a:pt x="438" y="582"/>
                    </a:lnTo>
                    <a:lnTo>
                      <a:pt x="438" y="540"/>
                    </a:lnTo>
                    <a:lnTo>
                      <a:pt x="426" y="540"/>
                    </a:lnTo>
                    <a:lnTo>
                      <a:pt x="426" y="534"/>
                    </a:lnTo>
                    <a:lnTo>
                      <a:pt x="432" y="528"/>
                    </a:lnTo>
                    <a:lnTo>
                      <a:pt x="432" y="522"/>
                    </a:lnTo>
                    <a:lnTo>
                      <a:pt x="438" y="516"/>
                    </a:lnTo>
                    <a:lnTo>
                      <a:pt x="456" y="516"/>
                    </a:lnTo>
                    <a:lnTo>
                      <a:pt x="462" y="522"/>
                    </a:lnTo>
                    <a:lnTo>
                      <a:pt x="468" y="522"/>
                    </a:lnTo>
                    <a:lnTo>
                      <a:pt x="468" y="504"/>
                    </a:lnTo>
                    <a:lnTo>
                      <a:pt x="462" y="492"/>
                    </a:lnTo>
                    <a:lnTo>
                      <a:pt x="480" y="492"/>
                    </a:lnTo>
                    <a:lnTo>
                      <a:pt x="486" y="474"/>
                    </a:lnTo>
                    <a:lnTo>
                      <a:pt x="486" y="462"/>
                    </a:lnTo>
                    <a:lnTo>
                      <a:pt x="480" y="462"/>
                    </a:lnTo>
                    <a:lnTo>
                      <a:pt x="474" y="456"/>
                    </a:lnTo>
                    <a:lnTo>
                      <a:pt x="462" y="456"/>
                    </a:lnTo>
                    <a:lnTo>
                      <a:pt x="456" y="444"/>
                    </a:lnTo>
                    <a:lnTo>
                      <a:pt x="450" y="444"/>
                    </a:lnTo>
                    <a:lnTo>
                      <a:pt x="444" y="432"/>
                    </a:lnTo>
                    <a:lnTo>
                      <a:pt x="432" y="432"/>
                    </a:lnTo>
                    <a:lnTo>
                      <a:pt x="420" y="426"/>
                    </a:lnTo>
                    <a:lnTo>
                      <a:pt x="420" y="420"/>
                    </a:lnTo>
                    <a:lnTo>
                      <a:pt x="414" y="420"/>
                    </a:lnTo>
                    <a:lnTo>
                      <a:pt x="408" y="408"/>
                    </a:lnTo>
                    <a:lnTo>
                      <a:pt x="396" y="396"/>
                    </a:lnTo>
                    <a:lnTo>
                      <a:pt x="396" y="390"/>
                    </a:lnTo>
                    <a:lnTo>
                      <a:pt x="402" y="390"/>
                    </a:lnTo>
                    <a:lnTo>
                      <a:pt x="408" y="384"/>
                    </a:lnTo>
                    <a:lnTo>
                      <a:pt x="396" y="372"/>
                    </a:lnTo>
                    <a:lnTo>
                      <a:pt x="390" y="372"/>
                    </a:lnTo>
                    <a:lnTo>
                      <a:pt x="384" y="366"/>
                    </a:lnTo>
                    <a:lnTo>
                      <a:pt x="384" y="354"/>
                    </a:lnTo>
                    <a:lnTo>
                      <a:pt x="390" y="354"/>
                    </a:lnTo>
                    <a:lnTo>
                      <a:pt x="390" y="360"/>
                    </a:lnTo>
                    <a:lnTo>
                      <a:pt x="402" y="360"/>
                    </a:lnTo>
                    <a:lnTo>
                      <a:pt x="402" y="354"/>
                    </a:lnTo>
                    <a:lnTo>
                      <a:pt x="414" y="354"/>
                    </a:lnTo>
                    <a:lnTo>
                      <a:pt x="414" y="348"/>
                    </a:lnTo>
                    <a:lnTo>
                      <a:pt x="420" y="342"/>
                    </a:lnTo>
                    <a:lnTo>
                      <a:pt x="426" y="342"/>
                    </a:lnTo>
                    <a:lnTo>
                      <a:pt x="438" y="348"/>
                    </a:lnTo>
                    <a:lnTo>
                      <a:pt x="450" y="336"/>
                    </a:lnTo>
                    <a:lnTo>
                      <a:pt x="468" y="330"/>
                    </a:lnTo>
                    <a:lnTo>
                      <a:pt x="468" y="324"/>
                    </a:lnTo>
                    <a:lnTo>
                      <a:pt x="492" y="324"/>
                    </a:lnTo>
                    <a:lnTo>
                      <a:pt x="492" y="318"/>
                    </a:lnTo>
                    <a:lnTo>
                      <a:pt x="510" y="318"/>
                    </a:lnTo>
                    <a:lnTo>
                      <a:pt x="510" y="312"/>
                    </a:lnTo>
                    <a:lnTo>
                      <a:pt x="516" y="306"/>
                    </a:lnTo>
                    <a:lnTo>
                      <a:pt x="522" y="306"/>
                    </a:lnTo>
                    <a:lnTo>
                      <a:pt x="528" y="300"/>
                    </a:lnTo>
                    <a:lnTo>
                      <a:pt x="540" y="312"/>
                    </a:lnTo>
                    <a:lnTo>
                      <a:pt x="552" y="312"/>
                    </a:lnTo>
                    <a:lnTo>
                      <a:pt x="558" y="300"/>
                    </a:lnTo>
                    <a:lnTo>
                      <a:pt x="558" y="294"/>
                    </a:lnTo>
                    <a:lnTo>
                      <a:pt x="564" y="288"/>
                    </a:lnTo>
                    <a:lnTo>
                      <a:pt x="564" y="282"/>
                    </a:lnTo>
                    <a:lnTo>
                      <a:pt x="552" y="282"/>
                    </a:lnTo>
                    <a:lnTo>
                      <a:pt x="558" y="276"/>
                    </a:lnTo>
                    <a:lnTo>
                      <a:pt x="558" y="264"/>
                    </a:lnTo>
                    <a:lnTo>
                      <a:pt x="552" y="264"/>
                    </a:lnTo>
                    <a:lnTo>
                      <a:pt x="546" y="270"/>
                    </a:lnTo>
                    <a:lnTo>
                      <a:pt x="546" y="252"/>
                    </a:lnTo>
                    <a:lnTo>
                      <a:pt x="540" y="246"/>
                    </a:lnTo>
                    <a:lnTo>
                      <a:pt x="534" y="246"/>
                    </a:lnTo>
                    <a:lnTo>
                      <a:pt x="528" y="240"/>
                    </a:lnTo>
                    <a:lnTo>
                      <a:pt x="528" y="234"/>
                    </a:lnTo>
                    <a:lnTo>
                      <a:pt x="540" y="228"/>
                    </a:lnTo>
                    <a:lnTo>
                      <a:pt x="546" y="222"/>
                    </a:lnTo>
                    <a:lnTo>
                      <a:pt x="540" y="216"/>
                    </a:lnTo>
                    <a:lnTo>
                      <a:pt x="534" y="216"/>
                    </a:lnTo>
                    <a:lnTo>
                      <a:pt x="540" y="210"/>
                    </a:lnTo>
                    <a:lnTo>
                      <a:pt x="540" y="204"/>
                    </a:lnTo>
                    <a:lnTo>
                      <a:pt x="528" y="204"/>
                    </a:lnTo>
                    <a:lnTo>
                      <a:pt x="528" y="192"/>
                    </a:lnTo>
                    <a:lnTo>
                      <a:pt x="534" y="192"/>
                    </a:lnTo>
                    <a:lnTo>
                      <a:pt x="534" y="174"/>
                    </a:lnTo>
                    <a:lnTo>
                      <a:pt x="522" y="174"/>
                    </a:lnTo>
                    <a:lnTo>
                      <a:pt x="516" y="168"/>
                    </a:lnTo>
                    <a:lnTo>
                      <a:pt x="510" y="168"/>
                    </a:lnTo>
                    <a:lnTo>
                      <a:pt x="504" y="162"/>
                    </a:lnTo>
                    <a:lnTo>
                      <a:pt x="504" y="150"/>
                    </a:lnTo>
                    <a:lnTo>
                      <a:pt x="510" y="150"/>
                    </a:lnTo>
                    <a:lnTo>
                      <a:pt x="522" y="138"/>
                    </a:lnTo>
                    <a:lnTo>
                      <a:pt x="522" y="120"/>
                    </a:lnTo>
                    <a:lnTo>
                      <a:pt x="516" y="114"/>
                    </a:lnTo>
                    <a:lnTo>
                      <a:pt x="510" y="114"/>
                    </a:lnTo>
                    <a:lnTo>
                      <a:pt x="510" y="96"/>
                    </a:lnTo>
                    <a:lnTo>
                      <a:pt x="504" y="90"/>
                    </a:lnTo>
                    <a:lnTo>
                      <a:pt x="486" y="84"/>
                    </a:lnTo>
                    <a:lnTo>
                      <a:pt x="486" y="78"/>
                    </a:lnTo>
                    <a:lnTo>
                      <a:pt x="480" y="66"/>
                    </a:lnTo>
                    <a:lnTo>
                      <a:pt x="474" y="60"/>
                    </a:lnTo>
                    <a:lnTo>
                      <a:pt x="456" y="60"/>
                    </a:lnTo>
                    <a:lnTo>
                      <a:pt x="450" y="54"/>
                    </a:lnTo>
                    <a:lnTo>
                      <a:pt x="444" y="54"/>
                    </a:lnTo>
                    <a:lnTo>
                      <a:pt x="438" y="48"/>
                    </a:lnTo>
                    <a:lnTo>
                      <a:pt x="426" y="48"/>
                    </a:lnTo>
                    <a:lnTo>
                      <a:pt x="420" y="42"/>
                    </a:lnTo>
                    <a:lnTo>
                      <a:pt x="396" y="42"/>
                    </a:lnTo>
                    <a:lnTo>
                      <a:pt x="384" y="54"/>
                    </a:lnTo>
                    <a:lnTo>
                      <a:pt x="342" y="54"/>
                    </a:lnTo>
                    <a:lnTo>
                      <a:pt x="342" y="72"/>
                    </a:lnTo>
                    <a:lnTo>
                      <a:pt x="300" y="72"/>
                    </a:lnTo>
                    <a:lnTo>
                      <a:pt x="300" y="60"/>
                    </a:lnTo>
                    <a:lnTo>
                      <a:pt x="312" y="48"/>
                    </a:lnTo>
                    <a:lnTo>
                      <a:pt x="312" y="42"/>
                    </a:lnTo>
                    <a:lnTo>
                      <a:pt x="318" y="30"/>
                    </a:lnTo>
                    <a:lnTo>
                      <a:pt x="294" y="42"/>
                    </a:lnTo>
                    <a:lnTo>
                      <a:pt x="252" y="36"/>
                    </a:lnTo>
                    <a:lnTo>
                      <a:pt x="246" y="30"/>
                    </a:lnTo>
                    <a:lnTo>
                      <a:pt x="246" y="18"/>
                    </a:lnTo>
                    <a:lnTo>
                      <a:pt x="240" y="6"/>
                    </a:lnTo>
                    <a:lnTo>
                      <a:pt x="234" y="6"/>
                    </a:lnTo>
                    <a:lnTo>
                      <a:pt x="234" y="12"/>
                    </a:lnTo>
                    <a:lnTo>
                      <a:pt x="228" y="6"/>
                    </a:lnTo>
                    <a:lnTo>
                      <a:pt x="204" y="6"/>
                    </a:lnTo>
                    <a:lnTo>
                      <a:pt x="198" y="0"/>
                    </a:lnTo>
                    <a:lnTo>
                      <a:pt x="168" y="0"/>
                    </a:lnTo>
                    <a:lnTo>
                      <a:pt x="192" y="36"/>
                    </a:lnTo>
                    <a:lnTo>
                      <a:pt x="180" y="48"/>
                    </a:lnTo>
                    <a:lnTo>
                      <a:pt x="198" y="72"/>
                    </a:lnTo>
                    <a:lnTo>
                      <a:pt x="216" y="90"/>
                    </a:lnTo>
                    <a:lnTo>
                      <a:pt x="186" y="78"/>
                    </a:lnTo>
                    <a:lnTo>
                      <a:pt x="162" y="84"/>
                    </a:lnTo>
                    <a:lnTo>
                      <a:pt x="162" y="108"/>
                    </a:lnTo>
                    <a:lnTo>
                      <a:pt x="132" y="108"/>
                    </a:lnTo>
                    <a:lnTo>
                      <a:pt x="126" y="96"/>
                    </a:lnTo>
                    <a:lnTo>
                      <a:pt x="84" y="96"/>
                    </a:lnTo>
                    <a:lnTo>
                      <a:pt x="84" y="126"/>
                    </a:lnTo>
                    <a:lnTo>
                      <a:pt x="90" y="126"/>
                    </a:lnTo>
                    <a:lnTo>
                      <a:pt x="84" y="132"/>
                    </a:lnTo>
                    <a:lnTo>
                      <a:pt x="90" y="144"/>
                    </a:lnTo>
                    <a:lnTo>
                      <a:pt x="78" y="150"/>
                    </a:lnTo>
                    <a:lnTo>
                      <a:pt x="72" y="150"/>
                    </a:lnTo>
                    <a:lnTo>
                      <a:pt x="72" y="168"/>
                    </a:lnTo>
                    <a:lnTo>
                      <a:pt x="78" y="174"/>
                    </a:lnTo>
                    <a:lnTo>
                      <a:pt x="66" y="174"/>
                    </a:lnTo>
                    <a:lnTo>
                      <a:pt x="54" y="180"/>
                    </a:lnTo>
                    <a:lnTo>
                      <a:pt x="48" y="180"/>
                    </a:lnTo>
                    <a:lnTo>
                      <a:pt x="48" y="186"/>
                    </a:lnTo>
                    <a:lnTo>
                      <a:pt x="54" y="192"/>
                    </a:lnTo>
                    <a:lnTo>
                      <a:pt x="60" y="192"/>
                    </a:lnTo>
                    <a:lnTo>
                      <a:pt x="72" y="204"/>
                    </a:lnTo>
                    <a:lnTo>
                      <a:pt x="72" y="210"/>
                    </a:lnTo>
                    <a:lnTo>
                      <a:pt x="66" y="210"/>
                    </a:lnTo>
                    <a:lnTo>
                      <a:pt x="60" y="216"/>
                    </a:lnTo>
                    <a:lnTo>
                      <a:pt x="54" y="228"/>
                    </a:lnTo>
                    <a:lnTo>
                      <a:pt x="48" y="228"/>
                    </a:lnTo>
                    <a:lnTo>
                      <a:pt x="42" y="234"/>
                    </a:lnTo>
                    <a:lnTo>
                      <a:pt x="42" y="240"/>
                    </a:lnTo>
                    <a:lnTo>
                      <a:pt x="18" y="240"/>
                    </a:lnTo>
                    <a:lnTo>
                      <a:pt x="12" y="234"/>
                    </a:lnTo>
                    <a:lnTo>
                      <a:pt x="6" y="234"/>
                    </a:lnTo>
                    <a:lnTo>
                      <a:pt x="12" y="258"/>
                    </a:lnTo>
                    <a:lnTo>
                      <a:pt x="12" y="264"/>
                    </a:lnTo>
                    <a:lnTo>
                      <a:pt x="18" y="270"/>
                    </a:lnTo>
                    <a:lnTo>
                      <a:pt x="18" y="276"/>
                    </a:lnTo>
                    <a:lnTo>
                      <a:pt x="6" y="282"/>
                    </a:lnTo>
                    <a:lnTo>
                      <a:pt x="0" y="288"/>
                    </a:lnTo>
                    <a:lnTo>
                      <a:pt x="6" y="294"/>
                    </a:lnTo>
                    <a:lnTo>
                      <a:pt x="6" y="306"/>
                    </a:lnTo>
                    <a:lnTo>
                      <a:pt x="0" y="312"/>
                    </a:lnTo>
                    <a:lnTo>
                      <a:pt x="0" y="324"/>
                    </a:lnTo>
                    <a:lnTo>
                      <a:pt x="12" y="324"/>
                    </a:lnTo>
                    <a:lnTo>
                      <a:pt x="24" y="336"/>
                    </a:lnTo>
                    <a:lnTo>
                      <a:pt x="24" y="354"/>
                    </a:lnTo>
                    <a:lnTo>
                      <a:pt x="30" y="360"/>
                    </a:lnTo>
                    <a:lnTo>
                      <a:pt x="18" y="360"/>
                    </a:lnTo>
                    <a:lnTo>
                      <a:pt x="12" y="366"/>
                    </a:lnTo>
                    <a:lnTo>
                      <a:pt x="12" y="384"/>
                    </a:lnTo>
                    <a:lnTo>
                      <a:pt x="18" y="390"/>
                    </a:lnTo>
                    <a:lnTo>
                      <a:pt x="24" y="390"/>
                    </a:lnTo>
                    <a:lnTo>
                      <a:pt x="36" y="396"/>
                    </a:lnTo>
                    <a:lnTo>
                      <a:pt x="36" y="408"/>
                    </a:lnTo>
                    <a:lnTo>
                      <a:pt x="30" y="41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00" name="Czech Republic" descr="© INSCALE GmbH, 05.05.2010&#10;http://www.presentationload.com/"/>
              <p:cNvSpPr>
                <a:spLocks/>
              </p:cNvSpPr>
              <p:nvPr/>
            </p:nvSpPr>
            <p:spPr bwMode="gray">
              <a:xfrm>
                <a:off x="4740906" y="3032464"/>
                <a:ext cx="136943" cy="60015"/>
              </a:xfrm>
              <a:custGeom>
                <a:avLst/>
                <a:gdLst>
                  <a:gd name="T0" fmla="*/ 2147483647 w 420"/>
                  <a:gd name="T1" fmla="*/ 2147483647 h 192"/>
                  <a:gd name="T2" fmla="*/ 2147483647 w 420"/>
                  <a:gd name="T3" fmla="*/ 2147483647 h 192"/>
                  <a:gd name="T4" fmla="*/ 2147483647 w 420"/>
                  <a:gd name="T5" fmla="*/ 2147483647 h 192"/>
                  <a:gd name="T6" fmla="*/ 2147483647 w 420"/>
                  <a:gd name="T7" fmla="*/ 2147483647 h 192"/>
                  <a:gd name="T8" fmla="*/ 2147483647 w 420"/>
                  <a:gd name="T9" fmla="*/ 2147483647 h 192"/>
                  <a:gd name="T10" fmla="*/ 2147483647 w 420"/>
                  <a:gd name="T11" fmla="*/ 2147483647 h 192"/>
                  <a:gd name="T12" fmla="*/ 2147483647 w 420"/>
                  <a:gd name="T13" fmla="*/ 2147483647 h 192"/>
                  <a:gd name="T14" fmla="*/ 2147483647 w 420"/>
                  <a:gd name="T15" fmla="*/ 2147483647 h 192"/>
                  <a:gd name="T16" fmla="*/ 2147483647 w 420"/>
                  <a:gd name="T17" fmla="*/ 2147483647 h 192"/>
                  <a:gd name="T18" fmla="*/ 2147483647 w 420"/>
                  <a:gd name="T19" fmla="*/ 2147483647 h 192"/>
                  <a:gd name="T20" fmla="*/ 2147483647 w 420"/>
                  <a:gd name="T21" fmla="*/ 2147483647 h 192"/>
                  <a:gd name="T22" fmla="*/ 2147483647 w 420"/>
                  <a:gd name="T23" fmla="*/ 2147483647 h 192"/>
                  <a:gd name="T24" fmla="*/ 2147483647 w 420"/>
                  <a:gd name="T25" fmla="*/ 2147483647 h 192"/>
                  <a:gd name="T26" fmla="*/ 2147483647 w 420"/>
                  <a:gd name="T27" fmla="*/ 2147483647 h 192"/>
                  <a:gd name="T28" fmla="*/ 2147483647 w 420"/>
                  <a:gd name="T29" fmla="*/ 0 h 192"/>
                  <a:gd name="T30" fmla="*/ 2147483647 w 420"/>
                  <a:gd name="T31" fmla="*/ 2147483647 h 192"/>
                  <a:gd name="T32" fmla="*/ 2147483647 w 420"/>
                  <a:gd name="T33" fmla="*/ 0 h 192"/>
                  <a:gd name="T34" fmla="*/ 2147483647 w 420"/>
                  <a:gd name="T35" fmla="*/ 2147483647 h 192"/>
                  <a:gd name="T36" fmla="*/ 2147483647 w 420"/>
                  <a:gd name="T37" fmla="*/ 2147483647 h 192"/>
                  <a:gd name="T38" fmla="*/ 2147483647 w 420"/>
                  <a:gd name="T39" fmla="*/ 2147483647 h 192"/>
                  <a:gd name="T40" fmla="*/ 2147483647 w 420"/>
                  <a:gd name="T41" fmla="*/ 2147483647 h 192"/>
                  <a:gd name="T42" fmla="*/ 2147483647 w 420"/>
                  <a:gd name="T43" fmla="*/ 2147483647 h 192"/>
                  <a:gd name="T44" fmla="*/ 2147483647 w 420"/>
                  <a:gd name="T45" fmla="*/ 2147483647 h 192"/>
                  <a:gd name="T46" fmla="*/ 2147483647 w 420"/>
                  <a:gd name="T47" fmla="*/ 2147483647 h 192"/>
                  <a:gd name="T48" fmla="*/ 2147483647 w 420"/>
                  <a:gd name="T49" fmla="*/ 2147483647 h 192"/>
                  <a:gd name="T50" fmla="*/ 2147483647 w 420"/>
                  <a:gd name="T51" fmla="*/ 2147483647 h 192"/>
                  <a:gd name="T52" fmla="*/ 0 w 420"/>
                  <a:gd name="T53" fmla="*/ 2147483647 h 192"/>
                  <a:gd name="T54" fmla="*/ 2147483647 w 420"/>
                  <a:gd name="T55" fmla="*/ 2147483647 h 192"/>
                  <a:gd name="T56" fmla="*/ 2147483647 w 420"/>
                  <a:gd name="T57" fmla="*/ 2147483647 h 192"/>
                  <a:gd name="T58" fmla="*/ 2147483647 w 420"/>
                  <a:gd name="T59" fmla="*/ 2147483647 h 192"/>
                  <a:gd name="T60" fmla="*/ 2147483647 w 420"/>
                  <a:gd name="T61" fmla="*/ 2147483647 h 192"/>
                  <a:gd name="T62" fmla="*/ 2147483647 w 420"/>
                  <a:gd name="T63" fmla="*/ 2147483647 h 192"/>
                  <a:gd name="T64" fmla="*/ 2147483647 w 420"/>
                  <a:gd name="T65" fmla="*/ 2147483647 h 192"/>
                  <a:gd name="T66" fmla="*/ 2147483647 w 420"/>
                  <a:gd name="T67" fmla="*/ 2147483647 h 192"/>
                  <a:gd name="T68" fmla="*/ 2147483647 w 420"/>
                  <a:gd name="T69" fmla="*/ 2147483647 h 192"/>
                  <a:gd name="T70" fmla="*/ 2147483647 w 420"/>
                  <a:gd name="T71" fmla="*/ 2147483647 h 192"/>
                  <a:gd name="T72" fmla="*/ 2147483647 w 420"/>
                  <a:gd name="T73" fmla="*/ 2147483647 h 192"/>
                  <a:gd name="T74" fmla="*/ 2147483647 w 420"/>
                  <a:gd name="T75" fmla="*/ 2147483647 h 192"/>
                  <a:gd name="T76" fmla="*/ 2147483647 w 420"/>
                  <a:gd name="T77" fmla="*/ 2147483647 h 192"/>
                  <a:gd name="T78" fmla="*/ 2147483647 w 420"/>
                  <a:gd name="T79" fmla="*/ 2147483647 h 192"/>
                  <a:gd name="T80" fmla="*/ 2147483647 w 420"/>
                  <a:gd name="T81" fmla="*/ 2147483647 h 192"/>
                  <a:gd name="T82" fmla="*/ 2147483647 w 420"/>
                  <a:gd name="T83" fmla="*/ 2147483647 h 192"/>
                  <a:gd name="T84" fmla="*/ 2147483647 w 420"/>
                  <a:gd name="T85" fmla="*/ 2147483647 h 192"/>
                  <a:gd name="T86" fmla="*/ 2147483647 w 420"/>
                  <a:gd name="T87" fmla="*/ 2147483647 h 192"/>
                  <a:gd name="T88" fmla="*/ 2147483647 w 420"/>
                  <a:gd name="T89" fmla="*/ 2147483647 h 192"/>
                  <a:gd name="T90" fmla="*/ 2147483647 w 420"/>
                  <a:gd name="T91" fmla="*/ 2147483647 h 192"/>
                  <a:gd name="T92" fmla="*/ 2147483647 w 420"/>
                  <a:gd name="T93" fmla="*/ 2147483647 h 192"/>
                  <a:gd name="T94" fmla="*/ 2147483647 w 420"/>
                  <a:gd name="T95" fmla="*/ 2147483647 h 192"/>
                  <a:gd name="T96" fmla="*/ 2147483647 w 420"/>
                  <a:gd name="T97" fmla="*/ 2147483647 h 192"/>
                  <a:gd name="T98" fmla="*/ 2147483647 w 420"/>
                  <a:gd name="T99" fmla="*/ 2147483647 h 192"/>
                  <a:gd name="T100" fmla="*/ 2147483647 w 420"/>
                  <a:gd name="T101" fmla="*/ 2147483647 h 192"/>
                  <a:gd name="T102" fmla="*/ 2147483647 w 420"/>
                  <a:gd name="T103" fmla="*/ 2147483647 h 192"/>
                  <a:gd name="T104" fmla="*/ 2147483647 w 420"/>
                  <a:gd name="T105" fmla="*/ 2147483647 h 192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420"/>
                  <a:gd name="T160" fmla="*/ 0 h 192"/>
                  <a:gd name="T161" fmla="*/ 420 w 420"/>
                  <a:gd name="T162" fmla="*/ 192 h 192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420" h="192">
                    <a:moveTo>
                      <a:pt x="408" y="108"/>
                    </a:moveTo>
                    <a:lnTo>
                      <a:pt x="402" y="96"/>
                    </a:lnTo>
                    <a:lnTo>
                      <a:pt x="402" y="90"/>
                    </a:lnTo>
                    <a:lnTo>
                      <a:pt x="390" y="84"/>
                    </a:lnTo>
                    <a:lnTo>
                      <a:pt x="372" y="84"/>
                    </a:lnTo>
                    <a:lnTo>
                      <a:pt x="372" y="78"/>
                    </a:lnTo>
                    <a:lnTo>
                      <a:pt x="366" y="72"/>
                    </a:lnTo>
                    <a:lnTo>
                      <a:pt x="360" y="84"/>
                    </a:lnTo>
                    <a:lnTo>
                      <a:pt x="354" y="78"/>
                    </a:lnTo>
                    <a:lnTo>
                      <a:pt x="348" y="66"/>
                    </a:lnTo>
                    <a:lnTo>
                      <a:pt x="342" y="60"/>
                    </a:lnTo>
                    <a:lnTo>
                      <a:pt x="324" y="60"/>
                    </a:lnTo>
                    <a:lnTo>
                      <a:pt x="330" y="54"/>
                    </a:lnTo>
                    <a:lnTo>
                      <a:pt x="312" y="54"/>
                    </a:lnTo>
                    <a:lnTo>
                      <a:pt x="300" y="60"/>
                    </a:lnTo>
                    <a:lnTo>
                      <a:pt x="294" y="60"/>
                    </a:lnTo>
                    <a:lnTo>
                      <a:pt x="294" y="66"/>
                    </a:lnTo>
                    <a:lnTo>
                      <a:pt x="276" y="66"/>
                    </a:lnTo>
                    <a:lnTo>
                      <a:pt x="270" y="60"/>
                    </a:lnTo>
                    <a:lnTo>
                      <a:pt x="264" y="60"/>
                    </a:lnTo>
                    <a:lnTo>
                      <a:pt x="264" y="48"/>
                    </a:lnTo>
                    <a:lnTo>
                      <a:pt x="252" y="42"/>
                    </a:lnTo>
                    <a:lnTo>
                      <a:pt x="264" y="36"/>
                    </a:lnTo>
                    <a:lnTo>
                      <a:pt x="258" y="30"/>
                    </a:lnTo>
                    <a:lnTo>
                      <a:pt x="234" y="30"/>
                    </a:lnTo>
                    <a:lnTo>
                      <a:pt x="234" y="24"/>
                    </a:lnTo>
                    <a:lnTo>
                      <a:pt x="228" y="24"/>
                    </a:lnTo>
                    <a:lnTo>
                      <a:pt x="216" y="18"/>
                    </a:lnTo>
                    <a:lnTo>
                      <a:pt x="198" y="18"/>
                    </a:lnTo>
                    <a:lnTo>
                      <a:pt x="192" y="0"/>
                    </a:lnTo>
                    <a:lnTo>
                      <a:pt x="174" y="0"/>
                    </a:lnTo>
                    <a:lnTo>
                      <a:pt x="162" y="12"/>
                    </a:lnTo>
                    <a:lnTo>
                      <a:pt x="156" y="12"/>
                    </a:lnTo>
                    <a:lnTo>
                      <a:pt x="144" y="0"/>
                    </a:lnTo>
                    <a:lnTo>
                      <a:pt x="138" y="6"/>
                    </a:lnTo>
                    <a:lnTo>
                      <a:pt x="132" y="6"/>
                    </a:lnTo>
                    <a:lnTo>
                      <a:pt x="126" y="12"/>
                    </a:lnTo>
                    <a:lnTo>
                      <a:pt x="126" y="18"/>
                    </a:lnTo>
                    <a:lnTo>
                      <a:pt x="108" y="18"/>
                    </a:lnTo>
                    <a:lnTo>
                      <a:pt x="108" y="24"/>
                    </a:lnTo>
                    <a:lnTo>
                      <a:pt x="84" y="24"/>
                    </a:lnTo>
                    <a:lnTo>
                      <a:pt x="84" y="30"/>
                    </a:lnTo>
                    <a:lnTo>
                      <a:pt x="66" y="36"/>
                    </a:lnTo>
                    <a:lnTo>
                      <a:pt x="54" y="48"/>
                    </a:lnTo>
                    <a:lnTo>
                      <a:pt x="42" y="42"/>
                    </a:lnTo>
                    <a:lnTo>
                      <a:pt x="36" y="42"/>
                    </a:lnTo>
                    <a:lnTo>
                      <a:pt x="30" y="48"/>
                    </a:lnTo>
                    <a:lnTo>
                      <a:pt x="30" y="54"/>
                    </a:lnTo>
                    <a:lnTo>
                      <a:pt x="18" y="54"/>
                    </a:lnTo>
                    <a:lnTo>
                      <a:pt x="18" y="60"/>
                    </a:lnTo>
                    <a:lnTo>
                      <a:pt x="6" y="60"/>
                    </a:lnTo>
                    <a:lnTo>
                      <a:pt x="6" y="54"/>
                    </a:lnTo>
                    <a:lnTo>
                      <a:pt x="0" y="54"/>
                    </a:lnTo>
                    <a:lnTo>
                      <a:pt x="0" y="66"/>
                    </a:lnTo>
                    <a:lnTo>
                      <a:pt x="6" y="72"/>
                    </a:lnTo>
                    <a:lnTo>
                      <a:pt x="12" y="72"/>
                    </a:lnTo>
                    <a:lnTo>
                      <a:pt x="24" y="84"/>
                    </a:lnTo>
                    <a:lnTo>
                      <a:pt x="18" y="90"/>
                    </a:lnTo>
                    <a:lnTo>
                      <a:pt x="12" y="90"/>
                    </a:lnTo>
                    <a:lnTo>
                      <a:pt x="12" y="96"/>
                    </a:lnTo>
                    <a:lnTo>
                      <a:pt x="24" y="108"/>
                    </a:lnTo>
                    <a:lnTo>
                      <a:pt x="30" y="120"/>
                    </a:lnTo>
                    <a:lnTo>
                      <a:pt x="36" y="120"/>
                    </a:lnTo>
                    <a:lnTo>
                      <a:pt x="36" y="126"/>
                    </a:lnTo>
                    <a:lnTo>
                      <a:pt x="48" y="132"/>
                    </a:lnTo>
                    <a:lnTo>
                      <a:pt x="60" y="132"/>
                    </a:lnTo>
                    <a:lnTo>
                      <a:pt x="66" y="144"/>
                    </a:lnTo>
                    <a:lnTo>
                      <a:pt x="72" y="144"/>
                    </a:lnTo>
                    <a:lnTo>
                      <a:pt x="78" y="156"/>
                    </a:lnTo>
                    <a:lnTo>
                      <a:pt x="90" y="156"/>
                    </a:lnTo>
                    <a:lnTo>
                      <a:pt x="96" y="162"/>
                    </a:lnTo>
                    <a:lnTo>
                      <a:pt x="102" y="162"/>
                    </a:lnTo>
                    <a:lnTo>
                      <a:pt x="102" y="174"/>
                    </a:lnTo>
                    <a:lnTo>
                      <a:pt x="120" y="192"/>
                    </a:lnTo>
                    <a:lnTo>
                      <a:pt x="132" y="192"/>
                    </a:lnTo>
                    <a:lnTo>
                      <a:pt x="144" y="186"/>
                    </a:lnTo>
                    <a:lnTo>
                      <a:pt x="150" y="186"/>
                    </a:lnTo>
                    <a:lnTo>
                      <a:pt x="162" y="192"/>
                    </a:lnTo>
                    <a:lnTo>
                      <a:pt x="162" y="174"/>
                    </a:lnTo>
                    <a:lnTo>
                      <a:pt x="168" y="174"/>
                    </a:lnTo>
                    <a:lnTo>
                      <a:pt x="174" y="162"/>
                    </a:lnTo>
                    <a:lnTo>
                      <a:pt x="180" y="156"/>
                    </a:lnTo>
                    <a:lnTo>
                      <a:pt x="198" y="156"/>
                    </a:lnTo>
                    <a:lnTo>
                      <a:pt x="210" y="162"/>
                    </a:lnTo>
                    <a:lnTo>
                      <a:pt x="222" y="174"/>
                    </a:lnTo>
                    <a:lnTo>
                      <a:pt x="234" y="168"/>
                    </a:lnTo>
                    <a:lnTo>
                      <a:pt x="246" y="180"/>
                    </a:lnTo>
                    <a:lnTo>
                      <a:pt x="258" y="174"/>
                    </a:lnTo>
                    <a:lnTo>
                      <a:pt x="264" y="168"/>
                    </a:lnTo>
                    <a:lnTo>
                      <a:pt x="276" y="168"/>
                    </a:lnTo>
                    <a:lnTo>
                      <a:pt x="282" y="174"/>
                    </a:lnTo>
                    <a:lnTo>
                      <a:pt x="288" y="174"/>
                    </a:lnTo>
                    <a:lnTo>
                      <a:pt x="300" y="180"/>
                    </a:lnTo>
                    <a:lnTo>
                      <a:pt x="306" y="174"/>
                    </a:lnTo>
                    <a:lnTo>
                      <a:pt x="324" y="174"/>
                    </a:lnTo>
                    <a:lnTo>
                      <a:pt x="330" y="168"/>
                    </a:lnTo>
                    <a:lnTo>
                      <a:pt x="330" y="174"/>
                    </a:lnTo>
                    <a:lnTo>
                      <a:pt x="348" y="174"/>
                    </a:lnTo>
                    <a:lnTo>
                      <a:pt x="360" y="168"/>
                    </a:lnTo>
                    <a:lnTo>
                      <a:pt x="366" y="162"/>
                    </a:lnTo>
                    <a:lnTo>
                      <a:pt x="378" y="156"/>
                    </a:lnTo>
                    <a:lnTo>
                      <a:pt x="378" y="132"/>
                    </a:lnTo>
                    <a:lnTo>
                      <a:pt x="402" y="126"/>
                    </a:lnTo>
                    <a:lnTo>
                      <a:pt x="420" y="114"/>
                    </a:lnTo>
                    <a:lnTo>
                      <a:pt x="414" y="108"/>
                    </a:lnTo>
                    <a:lnTo>
                      <a:pt x="408" y="10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151" name="Cyprus" descr="© INSCALE GmbH, 05.05.2010&#10;http://www.presentationload.com/"/>
            <p:cNvSpPr>
              <a:spLocks/>
            </p:cNvSpPr>
            <p:nvPr/>
          </p:nvSpPr>
          <p:spPr bwMode="gray">
            <a:xfrm>
              <a:off x="5181171" y="3413373"/>
              <a:ext cx="47355" cy="25721"/>
            </a:xfrm>
            <a:custGeom>
              <a:avLst/>
              <a:gdLst>
                <a:gd name="T0" fmla="*/ 0 w 150"/>
                <a:gd name="T1" fmla="*/ 2147483647 h 84"/>
                <a:gd name="T2" fmla="*/ 2147483647 w 150"/>
                <a:gd name="T3" fmla="*/ 2147483647 h 84"/>
                <a:gd name="T4" fmla="*/ 2147483647 w 150"/>
                <a:gd name="T5" fmla="*/ 2147483647 h 84"/>
                <a:gd name="T6" fmla="*/ 2147483647 w 150"/>
                <a:gd name="T7" fmla="*/ 2147483647 h 84"/>
                <a:gd name="T8" fmla="*/ 2147483647 w 150"/>
                <a:gd name="T9" fmla="*/ 2147483647 h 84"/>
                <a:gd name="T10" fmla="*/ 2147483647 w 150"/>
                <a:gd name="T11" fmla="*/ 2147483647 h 84"/>
                <a:gd name="T12" fmla="*/ 2147483647 w 150"/>
                <a:gd name="T13" fmla="*/ 2147483647 h 84"/>
                <a:gd name="T14" fmla="*/ 2147483647 w 150"/>
                <a:gd name="T15" fmla="*/ 2147483647 h 84"/>
                <a:gd name="T16" fmla="*/ 2147483647 w 150"/>
                <a:gd name="T17" fmla="*/ 2147483647 h 84"/>
                <a:gd name="T18" fmla="*/ 2147483647 w 150"/>
                <a:gd name="T19" fmla="*/ 2147483647 h 84"/>
                <a:gd name="T20" fmla="*/ 2147483647 w 150"/>
                <a:gd name="T21" fmla="*/ 2147483647 h 84"/>
                <a:gd name="T22" fmla="*/ 2147483647 w 150"/>
                <a:gd name="T23" fmla="*/ 2147483647 h 84"/>
                <a:gd name="T24" fmla="*/ 2147483647 w 150"/>
                <a:gd name="T25" fmla="*/ 2147483647 h 84"/>
                <a:gd name="T26" fmla="*/ 2147483647 w 150"/>
                <a:gd name="T27" fmla="*/ 0 h 84"/>
                <a:gd name="T28" fmla="*/ 2147483647 w 150"/>
                <a:gd name="T29" fmla="*/ 2147483647 h 84"/>
                <a:gd name="T30" fmla="*/ 2147483647 w 150"/>
                <a:gd name="T31" fmla="*/ 2147483647 h 84"/>
                <a:gd name="T32" fmla="*/ 2147483647 w 150"/>
                <a:gd name="T33" fmla="*/ 2147483647 h 84"/>
                <a:gd name="T34" fmla="*/ 2147483647 w 150"/>
                <a:gd name="T35" fmla="*/ 2147483647 h 84"/>
                <a:gd name="T36" fmla="*/ 2147483647 w 150"/>
                <a:gd name="T37" fmla="*/ 2147483647 h 84"/>
                <a:gd name="T38" fmla="*/ 0 w 150"/>
                <a:gd name="T39" fmla="*/ 2147483647 h 84"/>
                <a:gd name="T40" fmla="*/ 0 w 150"/>
                <a:gd name="T41" fmla="*/ 2147483647 h 8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50"/>
                <a:gd name="T64" fmla="*/ 0 h 84"/>
                <a:gd name="T65" fmla="*/ 150 w 150"/>
                <a:gd name="T66" fmla="*/ 84 h 8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50" h="84">
                  <a:moveTo>
                    <a:pt x="0" y="48"/>
                  </a:moveTo>
                  <a:lnTo>
                    <a:pt x="6" y="60"/>
                  </a:lnTo>
                  <a:lnTo>
                    <a:pt x="30" y="72"/>
                  </a:lnTo>
                  <a:lnTo>
                    <a:pt x="36" y="84"/>
                  </a:lnTo>
                  <a:lnTo>
                    <a:pt x="54" y="84"/>
                  </a:lnTo>
                  <a:lnTo>
                    <a:pt x="60" y="78"/>
                  </a:lnTo>
                  <a:lnTo>
                    <a:pt x="72" y="72"/>
                  </a:lnTo>
                  <a:lnTo>
                    <a:pt x="78" y="66"/>
                  </a:lnTo>
                  <a:lnTo>
                    <a:pt x="90" y="60"/>
                  </a:lnTo>
                  <a:lnTo>
                    <a:pt x="96" y="54"/>
                  </a:lnTo>
                  <a:lnTo>
                    <a:pt x="102" y="60"/>
                  </a:lnTo>
                  <a:lnTo>
                    <a:pt x="120" y="60"/>
                  </a:lnTo>
                  <a:lnTo>
                    <a:pt x="120" y="36"/>
                  </a:lnTo>
                  <a:lnTo>
                    <a:pt x="150" y="0"/>
                  </a:lnTo>
                  <a:lnTo>
                    <a:pt x="108" y="24"/>
                  </a:lnTo>
                  <a:lnTo>
                    <a:pt x="54" y="24"/>
                  </a:lnTo>
                  <a:lnTo>
                    <a:pt x="48" y="30"/>
                  </a:lnTo>
                  <a:lnTo>
                    <a:pt x="48" y="36"/>
                  </a:lnTo>
                  <a:lnTo>
                    <a:pt x="12" y="36"/>
                  </a:lnTo>
                  <a:lnTo>
                    <a:pt x="0" y="42"/>
                  </a:lnTo>
                  <a:lnTo>
                    <a:pt x="0" y="4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152" name="Cuba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2551098" y="3723245"/>
              <a:ext cx="239330" cy="83285"/>
            </a:xfrm>
            <a:custGeom>
              <a:avLst/>
              <a:gdLst>
                <a:gd name="T0" fmla="*/ 2147483647 w 738"/>
                <a:gd name="T1" fmla="*/ 2147483647 h 270"/>
                <a:gd name="T2" fmla="*/ 2147483647 w 738"/>
                <a:gd name="T3" fmla="*/ 2147483647 h 270"/>
                <a:gd name="T4" fmla="*/ 2147483647 w 738"/>
                <a:gd name="T5" fmla="*/ 2147483647 h 270"/>
                <a:gd name="T6" fmla="*/ 2147483647 w 738"/>
                <a:gd name="T7" fmla="*/ 2147483647 h 270"/>
                <a:gd name="T8" fmla="*/ 2147483647 w 738"/>
                <a:gd name="T9" fmla="*/ 2147483647 h 270"/>
                <a:gd name="T10" fmla="*/ 2147483647 w 738"/>
                <a:gd name="T11" fmla="*/ 2147483647 h 270"/>
                <a:gd name="T12" fmla="*/ 2147483647 w 738"/>
                <a:gd name="T13" fmla="*/ 2147483647 h 270"/>
                <a:gd name="T14" fmla="*/ 2147483647 w 738"/>
                <a:gd name="T15" fmla="*/ 2147483647 h 270"/>
                <a:gd name="T16" fmla="*/ 2147483647 w 738"/>
                <a:gd name="T17" fmla="*/ 2147483647 h 270"/>
                <a:gd name="T18" fmla="*/ 2147483647 w 738"/>
                <a:gd name="T19" fmla="*/ 2147483647 h 270"/>
                <a:gd name="T20" fmla="*/ 2147483647 w 738"/>
                <a:gd name="T21" fmla="*/ 2147483647 h 270"/>
                <a:gd name="T22" fmla="*/ 2147483647 w 738"/>
                <a:gd name="T23" fmla="*/ 2147483647 h 270"/>
                <a:gd name="T24" fmla="*/ 2147483647 w 738"/>
                <a:gd name="T25" fmla="*/ 2147483647 h 270"/>
                <a:gd name="T26" fmla="*/ 2147483647 w 738"/>
                <a:gd name="T27" fmla="*/ 2147483647 h 270"/>
                <a:gd name="T28" fmla="*/ 2147483647 w 738"/>
                <a:gd name="T29" fmla="*/ 2147483647 h 270"/>
                <a:gd name="T30" fmla="*/ 2147483647 w 738"/>
                <a:gd name="T31" fmla="*/ 2147483647 h 270"/>
                <a:gd name="T32" fmla="*/ 2147483647 w 738"/>
                <a:gd name="T33" fmla="*/ 2147483647 h 270"/>
                <a:gd name="T34" fmla="*/ 2147483647 w 738"/>
                <a:gd name="T35" fmla="*/ 2147483647 h 270"/>
                <a:gd name="T36" fmla="*/ 2147483647 w 738"/>
                <a:gd name="T37" fmla="*/ 0 h 270"/>
                <a:gd name="T38" fmla="*/ 2147483647 w 738"/>
                <a:gd name="T39" fmla="*/ 2147483647 h 270"/>
                <a:gd name="T40" fmla="*/ 2147483647 w 738"/>
                <a:gd name="T41" fmla="*/ 2147483647 h 270"/>
                <a:gd name="T42" fmla="*/ 2147483647 w 738"/>
                <a:gd name="T43" fmla="*/ 2147483647 h 270"/>
                <a:gd name="T44" fmla="*/ 2147483647 w 738"/>
                <a:gd name="T45" fmla="*/ 2147483647 h 270"/>
                <a:gd name="T46" fmla="*/ 2147483647 w 738"/>
                <a:gd name="T47" fmla="*/ 2147483647 h 270"/>
                <a:gd name="T48" fmla="*/ 2147483647 w 738"/>
                <a:gd name="T49" fmla="*/ 2147483647 h 270"/>
                <a:gd name="T50" fmla="*/ 2147483647 w 738"/>
                <a:gd name="T51" fmla="*/ 2147483647 h 270"/>
                <a:gd name="T52" fmla="*/ 2147483647 w 738"/>
                <a:gd name="T53" fmla="*/ 2147483647 h 270"/>
                <a:gd name="T54" fmla="*/ 2147483647 w 738"/>
                <a:gd name="T55" fmla="*/ 2147483647 h 270"/>
                <a:gd name="T56" fmla="*/ 2147483647 w 738"/>
                <a:gd name="T57" fmla="*/ 2147483647 h 270"/>
                <a:gd name="T58" fmla="*/ 2147483647 w 738"/>
                <a:gd name="T59" fmla="*/ 2147483647 h 270"/>
                <a:gd name="T60" fmla="*/ 2147483647 w 738"/>
                <a:gd name="T61" fmla="*/ 2147483647 h 270"/>
                <a:gd name="T62" fmla="*/ 2147483647 w 738"/>
                <a:gd name="T63" fmla="*/ 2147483647 h 270"/>
                <a:gd name="T64" fmla="*/ 2147483647 w 738"/>
                <a:gd name="T65" fmla="*/ 2147483647 h 270"/>
                <a:gd name="T66" fmla="*/ 2147483647 w 738"/>
                <a:gd name="T67" fmla="*/ 2147483647 h 270"/>
                <a:gd name="T68" fmla="*/ 2147483647 w 738"/>
                <a:gd name="T69" fmla="*/ 2147483647 h 270"/>
                <a:gd name="T70" fmla="*/ 2147483647 w 738"/>
                <a:gd name="T71" fmla="*/ 2147483647 h 270"/>
                <a:gd name="T72" fmla="*/ 2147483647 w 738"/>
                <a:gd name="T73" fmla="*/ 2147483647 h 270"/>
                <a:gd name="T74" fmla="*/ 2147483647 w 738"/>
                <a:gd name="T75" fmla="*/ 2147483647 h 270"/>
                <a:gd name="T76" fmla="*/ 2147483647 w 738"/>
                <a:gd name="T77" fmla="*/ 2147483647 h 270"/>
                <a:gd name="T78" fmla="*/ 2147483647 w 738"/>
                <a:gd name="T79" fmla="*/ 2147483647 h 270"/>
                <a:gd name="T80" fmla="*/ 2147483647 w 738"/>
                <a:gd name="T81" fmla="*/ 2147483647 h 270"/>
                <a:gd name="T82" fmla="*/ 2147483647 w 738"/>
                <a:gd name="T83" fmla="*/ 2147483647 h 270"/>
                <a:gd name="T84" fmla="*/ 2147483647 w 738"/>
                <a:gd name="T85" fmla="*/ 2147483647 h 270"/>
                <a:gd name="T86" fmla="*/ 2147483647 w 738"/>
                <a:gd name="T87" fmla="*/ 2147483647 h 270"/>
                <a:gd name="T88" fmla="*/ 2147483647 w 738"/>
                <a:gd name="T89" fmla="*/ 2147483647 h 270"/>
                <a:gd name="T90" fmla="*/ 2147483647 w 738"/>
                <a:gd name="T91" fmla="*/ 2147483647 h 270"/>
                <a:gd name="T92" fmla="*/ 2147483647 w 738"/>
                <a:gd name="T93" fmla="*/ 2147483647 h 270"/>
                <a:gd name="T94" fmla="*/ 2147483647 w 738"/>
                <a:gd name="T95" fmla="*/ 2147483647 h 270"/>
                <a:gd name="T96" fmla="*/ 2147483647 w 738"/>
                <a:gd name="T97" fmla="*/ 2147483647 h 270"/>
                <a:gd name="T98" fmla="*/ 2147483647 w 738"/>
                <a:gd name="T99" fmla="*/ 2147483647 h 270"/>
                <a:gd name="T100" fmla="*/ 2147483647 w 738"/>
                <a:gd name="T101" fmla="*/ 2147483647 h 270"/>
                <a:gd name="T102" fmla="*/ 2147483647 w 738"/>
                <a:gd name="T103" fmla="*/ 2147483647 h 270"/>
                <a:gd name="T104" fmla="*/ 2147483647 w 738"/>
                <a:gd name="T105" fmla="*/ 2147483647 h 270"/>
                <a:gd name="T106" fmla="*/ 2147483647 w 738"/>
                <a:gd name="T107" fmla="*/ 2147483647 h 270"/>
                <a:gd name="T108" fmla="*/ 2147483647 w 738"/>
                <a:gd name="T109" fmla="*/ 2147483647 h 270"/>
                <a:gd name="T110" fmla="*/ 2147483647 w 738"/>
                <a:gd name="T111" fmla="*/ 2147483647 h 270"/>
                <a:gd name="T112" fmla="*/ 2147483647 w 738"/>
                <a:gd name="T113" fmla="*/ 2147483647 h 270"/>
                <a:gd name="T114" fmla="*/ 2147483647 w 738"/>
                <a:gd name="T115" fmla="*/ 2147483647 h 27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738"/>
                <a:gd name="T175" fmla="*/ 0 h 270"/>
                <a:gd name="T176" fmla="*/ 738 w 738"/>
                <a:gd name="T177" fmla="*/ 270 h 27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738" h="270">
                  <a:moveTo>
                    <a:pt x="708" y="228"/>
                  </a:moveTo>
                  <a:lnTo>
                    <a:pt x="690" y="222"/>
                  </a:lnTo>
                  <a:lnTo>
                    <a:pt x="666" y="222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00" y="192"/>
                  </a:lnTo>
                  <a:lnTo>
                    <a:pt x="624" y="168"/>
                  </a:lnTo>
                  <a:lnTo>
                    <a:pt x="612" y="168"/>
                  </a:lnTo>
                  <a:lnTo>
                    <a:pt x="600" y="162"/>
                  </a:lnTo>
                  <a:lnTo>
                    <a:pt x="558" y="162"/>
                  </a:lnTo>
                  <a:lnTo>
                    <a:pt x="534" y="150"/>
                  </a:lnTo>
                  <a:lnTo>
                    <a:pt x="528" y="144"/>
                  </a:lnTo>
                  <a:lnTo>
                    <a:pt x="522" y="144"/>
                  </a:lnTo>
                  <a:lnTo>
                    <a:pt x="528" y="138"/>
                  </a:lnTo>
                  <a:lnTo>
                    <a:pt x="528" y="132"/>
                  </a:lnTo>
                  <a:lnTo>
                    <a:pt x="534" y="126"/>
                  </a:lnTo>
                  <a:lnTo>
                    <a:pt x="534" y="120"/>
                  </a:lnTo>
                  <a:lnTo>
                    <a:pt x="522" y="120"/>
                  </a:lnTo>
                  <a:lnTo>
                    <a:pt x="510" y="114"/>
                  </a:lnTo>
                  <a:lnTo>
                    <a:pt x="504" y="114"/>
                  </a:lnTo>
                  <a:lnTo>
                    <a:pt x="474" y="84"/>
                  </a:lnTo>
                  <a:lnTo>
                    <a:pt x="462" y="78"/>
                  </a:lnTo>
                  <a:lnTo>
                    <a:pt x="450" y="66"/>
                  </a:lnTo>
                  <a:lnTo>
                    <a:pt x="432" y="66"/>
                  </a:lnTo>
                  <a:lnTo>
                    <a:pt x="432" y="84"/>
                  </a:lnTo>
                  <a:lnTo>
                    <a:pt x="444" y="96"/>
                  </a:lnTo>
                  <a:lnTo>
                    <a:pt x="450" y="96"/>
                  </a:lnTo>
                  <a:lnTo>
                    <a:pt x="378" y="60"/>
                  </a:lnTo>
                  <a:lnTo>
                    <a:pt x="372" y="54"/>
                  </a:lnTo>
                  <a:lnTo>
                    <a:pt x="360" y="48"/>
                  </a:lnTo>
                  <a:lnTo>
                    <a:pt x="354" y="36"/>
                  </a:lnTo>
                  <a:lnTo>
                    <a:pt x="342" y="30"/>
                  </a:lnTo>
                  <a:lnTo>
                    <a:pt x="330" y="18"/>
                  </a:lnTo>
                  <a:lnTo>
                    <a:pt x="270" y="18"/>
                  </a:lnTo>
                  <a:lnTo>
                    <a:pt x="258" y="12"/>
                  </a:lnTo>
                  <a:lnTo>
                    <a:pt x="228" y="6"/>
                  </a:lnTo>
                  <a:lnTo>
                    <a:pt x="174" y="0"/>
                  </a:lnTo>
                  <a:lnTo>
                    <a:pt x="126" y="6"/>
                  </a:lnTo>
                  <a:lnTo>
                    <a:pt x="96" y="18"/>
                  </a:lnTo>
                  <a:lnTo>
                    <a:pt x="72" y="42"/>
                  </a:lnTo>
                  <a:lnTo>
                    <a:pt x="60" y="48"/>
                  </a:lnTo>
                  <a:lnTo>
                    <a:pt x="42" y="60"/>
                  </a:lnTo>
                  <a:lnTo>
                    <a:pt x="24" y="66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72" y="72"/>
                  </a:lnTo>
                  <a:lnTo>
                    <a:pt x="72" y="60"/>
                  </a:lnTo>
                  <a:lnTo>
                    <a:pt x="150" y="54"/>
                  </a:lnTo>
                  <a:lnTo>
                    <a:pt x="174" y="42"/>
                  </a:lnTo>
                  <a:lnTo>
                    <a:pt x="198" y="42"/>
                  </a:lnTo>
                  <a:lnTo>
                    <a:pt x="222" y="54"/>
                  </a:lnTo>
                  <a:lnTo>
                    <a:pt x="222" y="60"/>
                  </a:lnTo>
                  <a:lnTo>
                    <a:pt x="216" y="60"/>
                  </a:lnTo>
                  <a:lnTo>
                    <a:pt x="210" y="66"/>
                  </a:lnTo>
                  <a:lnTo>
                    <a:pt x="198" y="66"/>
                  </a:lnTo>
                  <a:lnTo>
                    <a:pt x="192" y="72"/>
                  </a:lnTo>
                  <a:lnTo>
                    <a:pt x="186" y="72"/>
                  </a:lnTo>
                  <a:lnTo>
                    <a:pt x="204" y="78"/>
                  </a:lnTo>
                  <a:lnTo>
                    <a:pt x="210" y="78"/>
                  </a:lnTo>
                  <a:lnTo>
                    <a:pt x="216" y="84"/>
                  </a:lnTo>
                  <a:lnTo>
                    <a:pt x="228" y="90"/>
                  </a:lnTo>
                  <a:lnTo>
                    <a:pt x="246" y="96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82" y="90"/>
                  </a:lnTo>
                  <a:lnTo>
                    <a:pt x="294" y="96"/>
                  </a:lnTo>
                  <a:lnTo>
                    <a:pt x="300" y="102"/>
                  </a:lnTo>
                  <a:lnTo>
                    <a:pt x="318" y="114"/>
                  </a:lnTo>
                  <a:lnTo>
                    <a:pt x="342" y="126"/>
                  </a:lnTo>
                  <a:lnTo>
                    <a:pt x="372" y="126"/>
                  </a:lnTo>
                  <a:lnTo>
                    <a:pt x="390" y="120"/>
                  </a:lnTo>
                  <a:lnTo>
                    <a:pt x="402" y="120"/>
                  </a:lnTo>
                  <a:lnTo>
                    <a:pt x="390" y="144"/>
                  </a:lnTo>
                  <a:lnTo>
                    <a:pt x="450" y="168"/>
                  </a:lnTo>
                  <a:lnTo>
                    <a:pt x="474" y="204"/>
                  </a:lnTo>
                  <a:lnTo>
                    <a:pt x="480" y="210"/>
                  </a:lnTo>
                  <a:lnTo>
                    <a:pt x="492" y="216"/>
                  </a:lnTo>
                  <a:lnTo>
                    <a:pt x="498" y="222"/>
                  </a:lnTo>
                  <a:lnTo>
                    <a:pt x="498" y="228"/>
                  </a:lnTo>
                  <a:lnTo>
                    <a:pt x="474" y="252"/>
                  </a:lnTo>
                  <a:lnTo>
                    <a:pt x="474" y="258"/>
                  </a:lnTo>
                  <a:lnTo>
                    <a:pt x="480" y="264"/>
                  </a:lnTo>
                  <a:lnTo>
                    <a:pt x="492" y="258"/>
                  </a:lnTo>
                  <a:lnTo>
                    <a:pt x="504" y="258"/>
                  </a:lnTo>
                  <a:lnTo>
                    <a:pt x="528" y="246"/>
                  </a:lnTo>
                  <a:lnTo>
                    <a:pt x="558" y="246"/>
                  </a:lnTo>
                  <a:lnTo>
                    <a:pt x="558" y="252"/>
                  </a:lnTo>
                  <a:lnTo>
                    <a:pt x="552" y="252"/>
                  </a:lnTo>
                  <a:lnTo>
                    <a:pt x="546" y="258"/>
                  </a:lnTo>
                  <a:lnTo>
                    <a:pt x="546" y="264"/>
                  </a:lnTo>
                  <a:lnTo>
                    <a:pt x="558" y="264"/>
                  </a:lnTo>
                  <a:lnTo>
                    <a:pt x="564" y="270"/>
                  </a:lnTo>
                  <a:lnTo>
                    <a:pt x="612" y="270"/>
                  </a:lnTo>
                  <a:lnTo>
                    <a:pt x="636" y="264"/>
                  </a:lnTo>
                  <a:lnTo>
                    <a:pt x="684" y="258"/>
                  </a:lnTo>
                  <a:lnTo>
                    <a:pt x="720" y="252"/>
                  </a:lnTo>
                  <a:lnTo>
                    <a:pt x="738" y="246"/>
                  </a:lnTo>
                  <a:lnTo>
                    <a:pt x="738" y="240"/>
                  </a:lnTo>
                  <a:lnTo>
                    <a:pt x="732" y="234"/>
                  </a:lnTo>
                  <a:lnTo>
                    <a:pt x="720" y="228"/>
                  </a:lnTo>
                  <a:lnTo>
                    <a:pt x="708" y="228"/>
                  </a:lnTo>
                  <a:close/>
                  <a:moveTo>
                    <a:pt x="114" y="126"/>
                  </a:moveTo>
                  <a:lnTo>
                    <a:pt x="114" y="132"/>
                  </a:lnTo>
                  <a:lnTo>
                    <a:pt x="120" y="138"/>
                  </a:lnTo>
                  <a:lnTo>
                    <a:pt x="132" y="144"/>
                  </a:lnTo>
                  <a:lnTo>
                    <a:pt x="144" y="138"/>
                  </a:lnTo>
                  <a:lnTo>
                    <a:pt x="150" y="138"/>
                  </a:lnTo>
                  <a:lnTo>
                    <a:pt x="156" y="126"/>
                  </a:lnTo>
                  <a:lnTo>
                    <a:pt x="156" y="120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20"/>
                  </a:lnTo>
                  <a:lnTo>
                    <a:pt x="114" y="12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153" name="Croatia" descr="© INSCALE GmbH, 05.05.2010&#10;http://www.presentationload.com/"/>
            <p:cNvSpPr>
              <a:spLocks/>
            </p:cNvSpPr>
            <p:nvPr/>
          </p:nvSpPr>
          <p:spPr bwMode="gray">
            <a:xfrm>
              <a:off x="4772902" y="3143919"/>
              <a:ext cx="120305" cy="84510"/>
            </a:xfrm>
            <a:custGeom>
              <a:avLst/>
              <a:gdLst>
                <a:gd name="T0" fmla="*/ 2147483647 w 366"/>
                <a:gd name="T1" fmla="*/ 2147483647 h 276"/>
                <a:gd name="T2" fmla="*/ 2147483647 w 366"/>
                <a:gd name="T3" fmla="*/ 2147483647 h 276"/>
                <a:gd name="T4" fmla="*/ 2147483647 w 366"/>
                <a:gd name="T5" fmla="*/ 2147483647 h 276"/>
                <a:gd name="T6" fmla="*/ 2147483647 w 366"/>
                <a:gd name="T7" fmla="*/ 2147483647 h 276"/>
                <a:gd name="T8" fmla="*/ 2147483647 w 366"/>
                <a:gd name="T9" fmla="*/ 2147483647 h 276"/>
                <a:gd name="T10" fmla="*/ 2147483647 w 366"/>
                <a:gd name="T11" fmla="*/ 2147483647 h 276"/>
                <a:gd name="T12" fmla="*/ 2147483647 w 366"/>
                <a:gd name="T13" fmla="*/ 2147483647 h 276"/>
                <a:gd name="T14" fmla="*/ 2147483647 w 366"/>
                <a:gd name="T15" fmla="*/ 2147483647 h 276"/>
                <a:gd name="T16" fmla="*/ 2147483647 w 366"/>
                <a:gd name="T17" fmla="*/ 2147483647 h 276"/>
                <a:gd name="T18" fmla="*/ 2147483647 w 366"/>
                <a:gd name="T19" fmla="*/ 2147483647 h 276"/>
                <a:gd name="T20" fmla="*/ 2147483647 w 366"/>
                <a:gd name="T21" fmla="*/ 2147483647 h 276"/>
                <a:gd name="T22" fmla="*/ 2147483647 w 366"/>
                <a:gd name="T23" fmla="*/ 0 h 276"/>
                <a:gd name="T24" fmla="*/ 2147483647 w 366"/>
                <a:gd name="T25" fmla="*/ 2147483647 h 276"/>
                <a:gd name="T26" fmla="*/ 2147483647 w 366"/>
                <a:gd name="T27" fmla="*/ 2147483647 h 276"/>
                <a:gd name="T28" fmla="*/ 2147483647 w 366"/>
                <a:gd name="T29" fmla="*/ 2147483647 h 276"/>
                <a:gd name="T30" fmla="*/ 2147483647 w 366"/>
                <a:gd name="T31" fmla="*/ 2147483647 h 276"/>
                <a:gd name="T32" fmla="*/ 2147483647 w 366"/>
                <a:gd name="T33" fmla="*/ 2147483647 h 276"/>
                <a:gd name="T34" fmla="*/ 2147483647 w 366"/>
                <a:gd name="T35" fmla="*/ 2147483647 h 276"/>
                <a:gd name="T36" fmla="*/ 2147483647 w 366"/>
                <a:gd name="T37" fmla="*/ 2147483647 h 276"/>
                <a:gd name="T38" fmla="*/ 2147483647 w 366"/>
                <a:gd name="T39" fmla="*/ 2147483647 h 276"/>
                <a:gd name="T40" fmla="*/ 0 w 366"/>
                <a:gd name="T41" fmla="*/ 2147483647 h 276"/>
                <a:gd name="T42" fmla="*/ 2147483647 w 366"/>
                <a:gd name="T43" fmla="*/ 2147483647 h 276"/>
                <a:gd name="T44" fmla="*/ 2147483647 w 366"/>
                <a:gd name="T45" fmla="*/ 2147483647 h 276"/>
                <a:gd name="T46" fmla="*/ 2147483647 w 366"/>
                <a:gd name="T47" fmla="*/ 2147483647 h 276"/>
                <a:gd name="T48" fmla="*/ 2147483647 w 366"/>
                <a:gd name="T49" fmla="*/ 2147483647 h 276"/>
                <a:gd name="T50" fmla="*/ 2147483647 w 366"/>
                <a:gd name="T51" fmla="*/ 2147483647 h 276"/>
                <a:gd name="T52" fmla="*/ 2147483647 w 366"/>
                <a:gd name="T53" fmla="*/ 2147483647 h 276"/>
                <a:gd name="T54" fmla="*/ 2147483647 w 366"/>
                <a:gd name="T55" fmla="*/ 2147483647 h 276"/>
                <a:gd name="T56" fmla="*/ 2147483647 w 366"/>
                <a:gd name="T57" fmla="*/ 2147483647 h 276"/>
                <a:gd name="T58" fmla="*/ 2147483647 w 366"/>
                <a:gd name="T59" fmla="*/ 2147483647 h 276"/>
                <a:gd name="T60" fmla="*/ 2147483647 w 366"/>
                <a:gd name="T61" fmla="*/ 2147483647 h 276"/>
                <a:gd name="T62" fmla="*/ 2147483647 w 366"/>
                <a:gd name="T63" fmla="*/ 2147483647 h 276"/>
                <a:gd name="T64" fmla="*/ 2147483647 w 366"/>
                <a:gd name="T65" fmla="*/ 2147483647 h 276"/>
                <a:gd name="T66" fmla="*/ 2147483647 w 366"/>
                <a:gd name="T67" fmla="*/ 2147483647 h 276"/>
                <a:gd name="T68" fmla="*/ 2147483647 w 366"/>
                <a:gd name="T69" fmla="*/ 2147483647 h 276"/>
                <a:gd name="T70" fmla="*/ 2147483647 w 366"/>
                <a:gd name="T71" fmla="*/ 2147483647 h 276"/>
                <a:gd name="T72" fmla="*/ 2147483647 w 366"/>
                <a:gd name="T73" fmla="*/ 2147483647 h 276"/>
                <a:gd name="T74" fmla="*/ 2147483647 w 366"/>
                <a:gd name="T75" fmla="*/ 2147483647 h 276"/>
                <a:gd name="T76" fmla="*/ 2147483647 w 366"/>
                <a:gd name="T77" fmla="*/ 2147483647 h 276"/>
                <a:gd name="T78" fmla="*/ 2147483647 w 366"/>
                <a:gd name="T79" fmla="*/ 2147483647 h 276"/>
                <a:gd name="T80" fmla="*/ 2147483647 w 366"/>
                <a:gd name="T81" fmla="*/ 2147483647 h 276"/>
                <a:gd name="T82" fmla="*/ 2147483647 w 366"/>
                <a:gd name="T83" fmla="*/ 2147483647 h 276"/>
                <a:gd name="T84" fmla="*/ 2147483647 w 366"/>
                <a:gd name="T85" fmla="*/ 2147483647 h 276"/>
                <a:gd name="T86" fmla="*/ 2147483647 w 366"/>
                <a:gd name="T87" fmla="*/ 2147483647 h 276"/>
                <a:gd name="T88" fmla="*/ 2147483647 w 366"/>
                <a:gd name="T89" fmla="*/ 2147483647 h 276"/>
                <a:gd name="T90" fmla="*/ 2147483647 w 366"/>
                <a:gd name="T91" fmla="*/ 2147483647 h 27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366"/>
                <a:gd name="T139" fmla="*/ 0 h 276"/>
                <a:gd name="T140" fmla="*/ 366 w 366"/>
                <a:gd name="T141" fmla="*/ 276 h 27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366" h="276">
                  <a:moveTo>
                    <a:pt x="342" y="126"/>
                  </a:moveTo>
                  <a:lnTo>
                    <a:pt x="342" y="114"/>
                  </a:lnTo>
                  <a:lnTo>
                    <a:pt x="348" y="114"/>
                  </a:lnTo>
                  <a:lnTo>
                    <a:pt x="354" y="108"/>
                  </a:lnTo>
                  <a:lnTo>
                    <a:pt x="360" y="108"/>
                  </a:lnTo>
                  <a:lnTo>
                    <a:pt x="366" y="102"/>
                  </a:lnTo>
                  <a:lnTo>
                    <a:pt x="360" y="102"/>
                  </a:lnTo>
                  <a:lnTo>
                    <a:pt x="348" y="96"/>
                  </a:lnTo>
                  <a:lnTo>
                    <a:pt x="336" y="96"/>
                  </a:lnTo>
                  <a:lnTo>
                    <a:pt x="342" y="78"/>
                  </a:lnTo>
                  <a:lnTo>
                    <a:pt x="336" y="78"/>
                  </a:lnTo>
                  <a:lnTo>
                    <a:pt x="330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70" y="60"/>
                  </a:lnTo>
                  <a:lnTo>
                    <a:pt x="264" y="48"/>
                  </a:lnTo>
                  <a:lnTo>
                    <a:pt x="246" y="48"/>
                  </a:lnTo>
                  <a:lnTo>
                    <a:pt x="234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04" y="18"/>
                  </a:lnTo>
                  <a:lnTo>
                    <a:pt x="204" y="12"/>
                  </a:lnTo>
                  <a:lnTo>
                    <a:pt x="198" y="6"/>
                  </a:lnTo>
                  <a:lnTo>
                    <a:pt x="186" y="0"/>
                  </a:lnTo>
                  <a:lnTo>
                    <a:pt x="162" y="0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20" y="18"/>
                  </a:lnTo>
                  <a:lnTo>
                    <a:pt x="120" y="30"/>
                  </a:lnTo>
                  <a:lnTo>
                    <a:pt x="126" y="36"/>
                  </a:lnTo>
                  <a:lnTo>
                    <a:pt x="126" y="42"/>
                  </a:lnTo>
                  <a:lnTo>
                    <a:pt x="114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60" y="78"/>
                  </a:lnTo>
                  <a:lnTo>
                    <a:pt x="54" y="72"/>
                  </a:lnTo>
                  <a:lnTo>
                    <a:pt x="54" y="66"/>
                  </a:lnTo>
                  <a:lnTo>
                    <a:pt x="48" y="78"/>
                  </a:lnTo>
                  <a:lnTo>
                    <a:pt x="30" y="78"/>
                  </a:lnTo>
                  <a:lnTo>
                    <a:pt x="18" y="72"/>
                  </a:lnTo>
                  <a:lnTo>
                    <a:pt x="18" y="84"/>
                  </a:lnTo>
                  <a:lnTo>
                    <a:pt x="0" y="84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12" y="120"/>
                  </a:lnTo>
                  <a:lnTo>
                    <a:pt x="24" y="114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14"/>
                  </a:lnTo>
                  <a:lnTo>
                    <a:pt x="48" y="132"/>
                  </a:lnTo>
                  <a:lnTo>
                    <a:pt x="78" y="126"/>
                  </a:lnTo>
                  <a:lnTo>
                    <a:pt x="78" y="132"/>
                  </a:lnTo>
                  <a:lnTo>
                    <a:pt x="72" y="144"/>
                  </a:lnTo>
                  <a:lnTo>
                    <a:pt x="72" y="150"/>
                  </a:lnTo>
                  <a:lnTo>
                    <a:pt x="84" y="162"/>
                  </a:lnTo>
                  <a:lnTo>
                    <a:pt x="96" y="168"/>
                  </a:lnTo>
                  <a:lnTo>
                    <a:pt x="96" y="180"/>
                  </a:lnTo>
                  <a:lnTo>
                    <a:pt x="144" y="216"/>
                  </a:lnTo>
                  <a:lnTo>
                    <a:pt x="144" y="240"/>
                  </a:lnTo>
                  <a:lnTo>
                    <a:pt x="198" y="240"/>
                  </a:lnTo>
                  <a:lnTo>
                    <a:pt x="210" y="246"/>
                  </a:lnTo>
                  <a:lnTo>
                    <a:pt x="216" y="252"/>
                  </a:lnTo>
                  <a:lnTo>
                    <a:pt x="216" y="276"/>
                  </a:lnTo>
                  <a:lnTo>
                    <a:pt x="246" y="276"/>
                  </a:lnTo>
                  <a:lnTo>
                    <a:pt x="252" y="270"/>
                  </a:lnTo>
                  <a:lnTo>
                    <a:pt x="252" y="264"/>
                  </a:lnTo>
                  <a:lnTo>
                    <a:pt x="246" y="252"/>
                  </a:lnTo>
                  <a:lnTo>
                    <a:pt x="234" y="246"/>
                  </a:lnTo>
                  <a:lnTo>
                    <a:pt x="216" y="234"/>
                  </a:lnTo>
                  <a:lnTo>
                    <a:pt x="204" y="228"/>
                  </a:lnTo>
                  <a:lnTo>
                    <a:pt x="192" y="216"/>
                  </a:lnTo>
                  <a:lnTo>
                    <a:pt x="180" y="186"/>
                  </a:lnTo>
                  <a:lnTo>
                    <a:pt x="162" y="180"/>
                  </a:lnTo>
                  <a:lnTo>
                    <a:pt x="162" y="162"/>
                  </a:lnTo>
                  <a:lnTo>
                    <a:pt x="156" y="156"/>
                  </a:lnTo>
                  <a:lnTo>
                    <a:pt x="150" y="156"/>
                  </a:lnTo>
                  <a:lnTo>
                    <a:pt x="150" y="144"/>
                  </a:lnTo>
                  <a:lnTo>
                    <a:pt x="132" y="138"/>
                  </a:lnTo>
                  <a:lnTo>
                    <a:pt x="120" y="126"/>
                  </a:lnTo>
                  <a:lnTo>
                    <a:pt x="138" y="120"/>
                  </a:lnTo>
                  <a:lnTo>
                    <a:pt x="138" y="96"/>
                  </a:lnTo>
                  <a:lnTo>
                    <a:pt x="144" y="96"/>
                  </a:lnTo>
                  <a:lnTo>
                    <a:pt x="150" y="102"/>
                  </a:lnTo>
                  <a:lnTo>
                    <a:pt x="162" y="108"/>
                  </a:lnTo>
                  <a:lnTo>
                    <a:pt x="186" y="102"/>
                  </a:lnTo>
                  <a:lnTo>
                    <a:pt x="210" y="102"/>
                  </a:lnTo>
                  <a:lnTo>
                    <a:pt x="228" y="108"/>
                  </a:lnTo>
                  <a:lnTo>
                    <a:pt x="240" y="102"/>
                  </a:lnTo>
                  <a:lnTo>
                    <a:pt x="252" y="102"/>
                  </a:lnTo>
                  <a:lnTo>
                    <a:pt x="258" y="108"/>
                  </a:lnTo>
                  <a:lnTo>
                    <a:pt x="312" y="108"/>
                  </a:lnTo>
                  <a:lnTo>
                    <a:pt x="324" y="126"/>
                  </a:lnTo>
                  <a:lnTo>
                    <a:pt x="342" y="12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154" name="Côte d'Ivoire" descr="© INSCALE GmbH, 05.05.2010&#10;http://www.presentationload.com/"/>
            <p:cNvSpPr>
              <a:spLocks/>
            </p:cNvSpPr>
            <p:nvPr/>
          </p:nvSpPr>
          <p:spPr bwMode="gray">
            <a:xfrm>
              <a:off x="4267364" y="4035567"/>
              <a:ext cx="142063" cy="160447"/>
            </a:xfrm>
            <a:custGeom>
              <a:avLst/>
              <a:gdLst>
                <a:gd name="T0" fmla="*/ 2147483647 w 438"/>
                <a:gd name="T1" fmla="*/ 2147483647 h 516"/>
                <a:gd name="T2" fmla="*/ 2147483647 w 438"/>
                <a:gd name="T3" fmla="*/ 2147483647 h 516"/>
                <a:gd name="T4" fmla="*/ 2147483647 w 438"/>
                <a:gd name="T5" fmla="*/ 2147483647 h 516"/>
                <a:gd name="T6" fmla="*/ 2147483647 w 438"/>
                <a:gd name="T7" fmla="*/ 2147483647 h 516"/>
                <a:gd name="T8" fmla="*/ 2147483647 w 438"/>
                <a:gd name="T9" fmla="*/ 2147483647 h 516"/>
                <a:gd name="T10" fmla="*/ 2147483647 w 438"/>
                <a:gd name="T11" fmla="*/ 2147483647 h 516"/>
                <a:gd name="T12" fmla="*/ 2147483647 w 438"/>
                <a:gd name="T13" fmla="*/ 2147483647 h 516"/>
                <a:gd name="T14" fmla="*/ 2147483647 w 438"/>
                <a:gd name="T15" fmla="*/ 2147483647 h 516"/>
                <a:gd name="T16" fmla="*/ 2147483647 w 438"/>
                <a:gd name="T17" fmla="*/ 2147483647 h 516"/>
                <a:gd name="T18" fmla="*/ 2147483647 w 438"/>
                <a:gd name="T19" fmla="*/ 2147483647 h 516"/>
                <a:gd name="T20" fmla="*/ 2147483647 w 438"/>
                <a:gd name="T21" fmla="*/ 2147483647 h 516"/>
                <a:gd name="T22" fmla="*/ 2147483647 w 438"/>
                <a:gd name="T23" fmla="*/ 2147483647 h 516"/>
                <a:gd name="T24" fmla="*/ 2147483647 w 438"/>
                <a:gd name="T25" fmla="*/ 2147483647 h 516"/>
                <a:gd name="T26" fmla="*/ 2147483647 w 438"/>
                <a:gd name="T27" fmla="*/ 2147483647 h 516"/>
                <a:gd name="T28" fmla="*/ 2147483647 w 438"/>
                <a:gd name="T29" fmla="*/ 2147483647 h 516"/>
                <a:gd name="T30" fmla="*/ 2147483647 w 438"/>
                <a:gd name="T31" fmla="*/ 2147483647 h 516"/>
                <a:gd name="T32" fmla="*/ 2147483647 w 438"/>
                <a:gd name="T33" fmla="*/ 0 h 516"/>
                <a:gd name="T34" fmla="*/ 2147483647 w 438"/>
                <a:gd name="T35" fmla="*/ 2147483647 h 516"/>
                <a:gd name="T36" fmla="*/ 2147483647 w 438"/>
                <a:gd name="T37" fmla="*/ 2147483647 h 516"/>
                <a:gd name="T38" fmla="*/ 2147483647 w 438"/>
                <a:gd name="T39" fmla="*/ 2147483647 h 516"/>
                <a:gd name="T40" fmla="*/ 2147483647 w 438"/>
                <a:gd name="T41" fmla="*/ 2147483647 h 516"/>
                <a:gd name="T42" fmla="*/ 2147483647 w 438"/>
                <a:gd name="T43" fmla="*/ 2147483647 h 516"/>
                <a:gd name="T44" fmla="*/ 2147483647 w 438"/>
                <a:gd name="T45" fmla="*/ 2147483647 h 516"/>
                <a:gd name="T46" fmla="*/ 2147483647 w 438"/>
                <a:gd name="T47" fmla="*/ 2147483647 h 516"/>
                <a:gd name="T48" fmla="*/ 2147483647 w 438"/>
                <a:gd name="T49" fmla="*/ 2147483647 h 516"/>
                <a:gd name="T50" fmla="*/ 2147483647 w 438"/>
                <a:gd name="T51" fmla="*/ 2147483647 h 516"/>
                <a:gd name="T52" fmla="*/ 2147483647 w 438"/>
                <a:gd name="T53" fmla="*/ 2147483647 h 516"/>
                <a:gd name="T54" fmla="*/ 2147483647 w 438"/>
                <a:gd name="T55" fmla="*/ 2147483647 h 516"/>
                <a:gd name="T56" fmla="*/ 2147483647 w 438"/>
                <a:gd name="T57" fmla="*/ 2147483647 h 516"/>
                <a:gd name="T58" fmla="*/ 2147483647 w 438"/>
                <a:gd name="T59" fmla="*/ 2147483647 h 516"/>
                <a:gd name="T60" fmla="*/ 2147483647 w 438"/>
                <a:gd name="T61" fmla="*/ 2147483647 h 516"/>
                <a:gd name="T62" fmla="*/ 2147483647 w 438"/>
                <a:gd name="T63" fmla="*/ 2147483647 h 516"/>
                <a:gd name="T64" fmla="*/ 2147483647 w 438"/>
                <a:gd name="T65" fmla="*/ 2147483647 h 516"/>
                <a:gd name="T66" fmla="*/ 2147483647 w 438"/>
                <a:gd name="T67" fmla="*/ 2147483647 h 516"/>
                <a:gd name="T68" fmla="*/ 2147483647 w 438"/>
                <a:gd name="T69" fmla="*/ 2147483647 h 516"/>
                <a:gd name="T70" fmla="*/ 2147483647 w 438"/>
                <a:gd name="T71" fmla="*/ 2147483647 h 516"/>
                <a:gd name="T72" fmla="*/ 2147483647 w 438"/>
                <a:gd name="T73" fmla="*/ 2147483647 h 516"/>
                <a:gd name="T74" fmla="*/ 2147483647 w 438"/>
                <a:gd name="T75" fmla="*/ 2147483647 h 516"/>
                <a:gd name="T76" fmla="*/ 2147483647 w 438"/>
                <a:gd name="T77" fmla="*/ 2147483647 h 516"/>
                <a:gd name="T78" fmla="*/ 2147483647 w 438"/>
                <a:gd name="T79" fmla="*/ 2147483647 h 516"/>
                <a:gd name="T80" fmla="*/ 2147483647 w 438"/>
                <a:gd name="T81" fmla="*/ 2147483647 h 516"/>
                <a:gd name="T82" fmla="*/ 2147483647 w 438"/>
                <a:gd name="T83" fmla="*/ 2147483647 h 516"/>
                <a:gd name="T84" fmla="*/ 2147483647 w 438"/>
                <a:gd name="T85" fmla="*/ 2147483647 h 516"/>
                <a:gd name="T86" fmla="*/ 2147483647 w 438"/>
                <a:gd name="T87" fmla="*/ 2147483647 h 516"/>
                <a:gd name="T88" fmla="*/ 2147483647 w 438"/>
                <a:gd name="T89" fmla="*/ 2147483647 h 51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38"/>
                <a:gd name="T136" fmla="*/ 0 h 516"/>
                <a:gd name="T137" fmla="*/ 438 w 438"/>
                <a:gd name="T138" fmla="*/ 516 h 51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38" h="516">
                  <a:moveTo>
                    <a:pt x="402" y="408"/>
                  </a:moveTo>
                  <a:lnTo>
                    <a:pt x="402" y="402"/>
                  </a:lnTo>
                  <a:lnTo>
                    <a:pt x="396" y="396"/>
                  </a:lnTo>
                  <a:lnTo>
                    <a:pt x="390" y="384"/>
                  </a:lnTo>
                  <a:lnTo>
                    <a:pt x="390" y="372"/>
                  </a:lnTo>
                  <a:lnTo>
                    <a:pt x="384" y="354"/>
                  </a:lnTo>
                  <a:lnTo>
                    <a:pt x="378" y="342"/>
                  </a:lnTo>
                  <a:lnTo>
                    <a:pt x="378" y="318"/>
                  </a:lnTo>
                  <a:lnTo>
                    <a:pt x="384" y="312"/>
                  </a:lnTo>
                  <a:lnTo>
                    <a:pt x="390" y="300"/>
                  </a:lnTo>
                  <a:lnTo>
                    <a:pt x="408" y="282"/>
                  </a:lnTo>
                  <a:lnTo>
                    <a:pt x="408" y="270"/>
                  </a:lnTo>
                  <a:lnTo>
                    <a:pt x="414" y="258"/>
                  </a:lnTo>
                  <a:lnTo>
                    <a:pt x="414" y="240"/>
                  </a:lnTo>
                  <a:lnTo>
                    <a:pt x="420" y="228"/>
                  </a:lnTo>
                  <a:lnTo>
                    <a:pt x="426" y="222"/>
                  </a:lnTo>
                  <a:lnTo>
                    <a:pt x="438" y="198"/>
                  </a:lnTo>
                  <a:lnTo>
                    <a:pt x="438" y="186"/>
                  </a:lnTo>
                  <a:lnTo>
                    <a:pt x="432" y="174"/>
                  </a:lnTo>
                  <a:lnTo>
                    <a:pt x="432" y="162"/>
                  </a:lnTo>
                  <a:lnTo>
                    <a:pt x="426" y="150"/>
                  </a:lnTo>
                  <a:lnTo>
                    <a:pt x="426" y="138"/>
                  </a:lnTo>
                  <a:lnTo>
                    <a:pt x="420" y="132"/>
                  </a:lnTo>
                  <a:lnTo>
                    <a:pt x="420" y="126"/>
                  </a:lnTo>
                  <a:lnTo>
                    <a:pt x="432" y="126"/>
                  </a:lnTo>
                  <a:lnTo>
                    <a:pt x="426" y="96"/>
                  </a:lnTo>
                  <a:lnTo>
                    <a:pt x="408" y="102"/>
                  </a:lnTo>
                  <a:lnTo>
                    <a:pt x="408" y="90"/>
                  </a:lnTo>
                  <a:lnTo>
                    <a:pt x="390" y="72"/>
                  </a:lnTo>
                  <a:lnTo>
                    <a:pt x="372" y="66"/>
                  </a:lnTo>
                  <a:lnTo>
                    <a:pt x="342" y="66"/>
                  </a:lnTo>
                  <a:lnTo>
                    <a:pt x="318" y="78"/>
                  </a:lnTo>
                  <a:lnTo>
                    <a:pt x="318" y="84"/>
                  </a:lnTo>
                  <a:lnTo>
                    <a:pt x="312" y="90"/>
                  </a:lnTo>
                  <a:lnTo>
                    <a:pt x="300" y="90"/>
                  </a:lnTo>
                  <a:lnTo>
                    <a:pt x="294" y="84"/>
                  </a:lnTo>
                  <a:lnTo>
                    <a:pt x="282" y="84"/>
                  </a:lnTo>
                  <a:lnTo>
                    <a:pt x="276" y="78"/>
                  </a:lnTo>
                  <a:lnTo>
                    <a:pt x="264" y="72"/>
                  </a:lnTo>
                  <a:lnTo>
                    <a:pt x="258" y="60"/>
                  </a:lnTo>
                  <a:lnTo>
                    <a:pt x="258" y="48"/>
                  </a:lnTo>
                  <a:lnTo>
                    <a:pt x="252" y="42"/>
                  </a:lnTo>
                  <a:lnTo>
                    <a:pt x="252" y="36"/>
                  </a:lnTo>
                  <a:lnTo>
                    <a:pt x="228" y="42"/>
                  </a:lnTo>
                  <a:lnTo>
                    <a:pt x="228" y="18"/>
                  </a:lnTo>
                  <a:lnTo>
                    <a:pt x="216" y="18"/>
                  </a:lnTo>
                  <a:lnTo>
                    <a:pt x="210" y="24"/>
                  </a:lnTo>
                  <a:lnTo>
                    <a:pt x="204" y="36"/>
                  </a:lnTo>
                  <a:lnTo>
                    <a:pt x="198" y="42"/>
                  </a:lnTo>
                  <a:lnTo>
                    <a:pt x="174" y="3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50" y="6"/>
                  </a:lnTo>
                  <a:lnTo>
                    <a:pt x="144" y="30"/>
                  </a:lnTo>
                  <a:lnTo>
                    <a:pt x="126" y="30"/>
                  </a:lnTo>
                  <a:lnTo>
                    <a:pt x="120" y="48"/>
                  </a:lnTo>
                  <a:lnTo>
                    <a:pt x="102" y="30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6" y="30"/>
                  </a:lnTo>
                  <a:lnTo>
                    <a:pt x="66" y="48"/>
                  </a:lnTo>
                  <a:lnTo>
                    <a:pt x="54" y="42"/>
                  </a:lnTo>
                  <a:lnTo>
                    <a:pt x="36" y="66"/>
                  </a:lnTo>
                  <a:lnTo>
                    <a:pt x="42" y="102"/>
                  </a:lnTo>
                  <a:lnTo>
                    <a:pt x="60" y="108"/>
                  </a:lnTo>
                  <a:lnTo>
                    <a:pt x="48" y="126"/>
                  </a:lnTo>
                  <a:lnTo>
                    <a:pt x="66" y="132"/>
                  </a:lnTo>
                  <a:lnTo>
                    <a:pt x="60" y="138"/>
                  </a:lnTo>
                  <a:lnTo>
                    <a:pt x="54" y="150"/>
                  </a:lnTo>
                  <a:lnTo>
                    <a:pt x="54" y="162"/>
                  </a:lnTo>
                  <a:lnTo>
                    <a:pt x="60" y="162"/>
                  </a:lnTo>
                  <a:lnTo>
                    <a:pt x="72" y="168"/>
                  </a:lnTo>
                  <a:lnTo>
                    <a:pt x="78" y="168"/>
                  </a:lnTo>
                  <a:lnTo>
                    <a:pt x="78" y="180"/>
                  </a:lnTo>
                  <a:lnTo>
                    <a:pt x="72" y="186"/>
                  </a:lnTo>
                  <a:lnTo>
                    <a:pt x="72" y="192"/>
                  </a:lnTo>
                  <a:lnTo>
                    <a:pt x="66" y="186"/>
                  </a:lnTo>
                  <a:lnTo>
                    <a:pt x="54" y="186"/>
                  </a:lnTo>
                  <a:lnTo>
                    <a:pt x="48" y="180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36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36" y="222"/>
                  </a:lnTo>
                  <a:lnTo>
                    <a:pt x="36" y="228"/>
                  </a:lnTo>
                  <a:lnTo>
                    <a:pt x="42" y="234"/>
                  </a:lnTo>
                  <a:lnTo>
                    <a:pt x="42" y="252"/>
                  </a:lnTo>
                  <a:lnTo>
                    <a:pt x="36" y="258"/>
                  </a:lnTo>
                  <a:lnTo>
                    <a:pt x="30" y="258"/>
                  </a:lnTo>
                  <a:lnTo>
                    <a:pt x="18" y="252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24" y="282"/>
                  </a:lnTo>
                  <a:lnTo>
                    <a:pt x="24" y="306"/>
                  </a:lnTo>
                  <a:lnTo>
                    <a:pt x="18" y="324"/>
                  </a:lnTo>
                  <a:lnTo>
                    <a:pt x="6" y="330"/>
                  </a:lnTo>
                  <a:lnTo>
                    <a:pt x="0" y="342"/>
                  </a:lnTo>
                  <a:lnTo>
                    <a:pt x="6" y="348"/>
                  </a:lnTo>
                  <a:lnTo>
                    <a:pt x="24" y="348"/>
                  </a:lnTo>
                  <a:lnTo>
                    <a:pt x="24" y="360"/>
                  </a:lnTo>
                  <a:lnTo>
                    <a:pt x="60" y="354"/>
                  </a:lnTo>
                  <a:lnTo>
                    <a:pt x="60" y="384"/>
                  </a:lnTo>
                  <a:lnTo>
                    <a:pt x="90" y="414"/>
                  </a:lnTo>
                  <a:lnTo>
                    <a:pt x="90" y="438"/>
                  </a:lnTo>
                  <a:lnTo>
                    <a:pt x="84" y="450"/>
                  </a:lnTo>
                  <a:lnTo>
                    <a:pt x="84" y="462"/>
                  </a:lnTo>
                  <a:lnTo>
                    <a:pt x="78" y="468"/>
                  </a:lnTo>
                  <a:lnTo>
                    <a:pt x="78" y="516"/>
                  </a:lnTo>
                  <a:lnTo>
                    <a:pt x="90" y="516"/>
                  </a:lnTo>
                  <a:lnTo>
                    <a:pt x="96" y="510"/>
                  </a:lnTo>
                  <a:lnTo>
                    <a:pt x="102" y="498"/>
                  </a:lnTo>
                  <a:lnTo>
                    <a:pt x="114" y="498"/>
                  </a:lnTo>
                  <a:lnTo>
                    <a:pt x="126" y="486"/>
                  </a:lnTo>
                  <a:lnTo>
                    <a:pt x="138" y="480"/>
                  </a:lnTo>
                  <a:lnTo>
                    <a:pt x="198" y="456"/>
                  </a:lnTo>
                  <a:lnTo>
                    <a:pt x="228" y="450"/>
                  </a:lnTo>
                  <a:lnTo>
                    <a:pt x="264" y="450"/>
                  </a:lnTo>
                  <a:lnTo>
                    <a:pt x="270" y="444"/>
                  </a:lnTo>
                  <a:lnTo>
                    <a:pt x="282" y="444"/>
                  </a:lnTo>
                  <a:lnTo>
                    <a:pt x="294" y="438"/>
                  </a:lnTo>
                  <a:lnTo>
                    <a:pt x="330" y="438"/>
                  </a:lnTo>
                  <a:lnTo>
                    <a:pt x="336" y="444"/>
                  </a:lnTo>
                  <a:lnTo>
                    <a:pt x="342" y="444"/>
                  </a:lnTo>
                  <a:lnTo>
                    <a:pt x="348" y="450"/>
                  </a:lnTo>
                  <a:lnTo>
                    <a:pt x="366" y="450"/>
                  </a:lnTo>
                  <a:lnTo>
                    <a:pt x="378" y="438"/>
                  </a:lnTo>
                  <a:lnTo>
                    <a:pt x="384" y="438"/>
                  </a:lnTo>
                  <a:lnTo>
                    <a:pt x="384" y="444"/>
                  </a:lnTo>
                  <a:lnTo>
                    <a:pt x="396" y="456"/>
                  </a:lnTo>
                  <a:lnTo>
                    <a:pt x="408" y="462"/>
                  </a:lnTo>
                  <a:lnTo>
                    <a:pt x="420" y="462"/>
                  </a:lnTo>
                  <a:lnTo>
                    <a:pt x="426" y="468"/>
                  </a:lnTo>
                  <a:lnTo>
                    <a:pt x="426" y="414"/>
                  </a:lnTo>
                  <a:lnTo>
                    <a:pt x="402" y="40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155" name="Costa Rica" descr="© INSCALE GmbH, 05.05.2010&#10;http://www.presentationload.com/"/>
            <p:cNvSpPr>
              <a:spLocks/>
            </p:cNvSpPr>
            <p:nvPr/>
          </p:nvSpPr>
          <p:spPr bwMode="gray">
            <a:xfrm>
              <a:off x="2490945" y="4023318"/>
              <a:ext cx="78070" cy="72263"/>
            </a:xfrm>
            <a:custGeom>
              <a:avLst/>
              <a:gdLst>
                <a:gd name="T0" fmla="*/ 2147483647 w 240"/>
                <a:gd name="T1" fmla="*/ 2147483647 h 228"/>
                <a:gd name="T2" fmla="*/ 2147483647 w 240"/>
                <a:gd name="T3" fmla="*/ 2147483647 h 228"/>
                <a:gd name="T4" fmla="*/ 2147483647 w 240"/>
                <a:gd name="T5" fmla="*/ 2147483647 h 228"/>
                <a:gd name="T6" fmla="*/ 2147483647 w 240"/>
                <a:gd name="T7" fmla="*/ 2147483647 h 228"/>
                <a:gd name="T8" fmla="*/ 2147483647 w 240"/>
                <a:gd name="T9" fmla="*/ 2147483647 h 228"/>
                <a:gd name="T10" fmla="*/ 2147483647 w 240"/>
                <a:gd name="T11" fmla="*/ 2147483647 h 228"/>
                <a:gd name="T12" fmla="*/ 2147483647 w 240"/>
                <a:gd name="T13" fmla="*/ 2147483647 h 228"/>
                <a:gd name="T14" fmla="*/ 2147483647 w 240"/>
                <a:gd name="T15" fmla="*/ 2147483647 h 228"/>
                <a:gd name="T16" fmla="*/ 2147483647 w 240"/>
                <a:gd name="T17" fmla="*/ 2147483647 h 228"/>
                <a:gd name="T18" fmla="*/ 2147483647 w 240"/>
                <a:gd name="T19" fmla="*/ 2147483647 h 228"/>
                <a:gd name="T20" fmla="*/ 2147483647 w 240"/>
                <a:gd name="T21" fmla="*/ 2147483647 h 228"/>
                <a:gd name="T22" fmla="*/ 2147483647 w 240"/>
                <a:gd name="T23" fmla="*/ 2147483647 h 228"/>
                <a:gd name="T24" fmla="*/ 2147483647 w 240"/>
                <a:gd name="T25" fmla="*/ 2147483647 h 228"/>
                <a:gd name="T26" fmla="*/ 2147483647 w 240"/>
                <a:gd name="T27" fmla="*/ 2147483647 h 228"/>
                <a:gd name="T28" fmla="*/ 2147483647 w 240"/>
                <a:gd name="T29" fmla="*/ 2147483647 h 228"/>
                <a:gd name="T30" fmla="*/ 2147483647 w 240"/>
                <a:gd name="T31" fmla="*/ 0 h 228"/>
                <a:gd name="T32" fmla="*/ 2147483647 w 240"/>
                <a:gd name="T33" fmla="*/ 2147483647 h 228"/>
                <a:gd name="T34" fmla="*/ 2147483647 w 240"/>
                <a:gd name="T35" fmla="*/ 2147483647 h 228"/>
                <a:gd name="T36" fmla="*/ 0 w 240"/>
                <a:gd name="T37" fmla="*/ 2147483647 h 228"/>
                <a:gd name="T38" fmla="*/ 2147483647 w 240"/>
                <a:gd name="T39" fmla="*/ 2147483647 h 228"/>
                <a:gd name="T40" fmla="*/ 2147483647 w 240"/>
                <a:gd name="T41" fmla="*/ 2147483647 h 228"/>
                <a:gd name="T42" fmla="*/ 2147483647 w 240"/>
                <a:gd name="T43" fmla="*/ 2147483647 h 228"/>
                <a:gd name="T44" fmla="*/ 2147483647 w 240"/>
                <a:gd name="T45" fmla="*/ 2147483647 h 228"/>
                <a:gd name="T46" fmla="*/ 2147483647 w 240"/>
                <a:gd name="T47" fmla="*/ 2147483647 h 228"/>
                <a:gd name="T48" fmla="*/ 2147483647 w 240"/>
                <a:gd name="T49" fmla="*/ 2147483647 h 228"/>
                <a:gd name="T50" fmla="*/ 2147483647 w 240"/>
                <a:gd name="T51" fmla="*/ 2147483647 h 228"/>
                <a:gd name="T52" fmla="*/ 2147483647 w 240"/>
                <a:gd name="T53" fmla="*/ 2147483647 h 228"/>
                <a:gd name="T54" fmla="*/ 2147483647 w 240"/>
                <a:gd name="T55" fmla="*/ 2147483647 h 228"/>
                <a:gd name="T56" fmla="*/ 2147483647 w 240"/>
                <a:gd name="T57" fmla="*/ 2147483647 h 228"/>
                <a:gd name="T58" fmla="*/ 2147483647 w 240"/>
                <a:gd name="T59" fmla="*/ 2147483647 h 228"/>
                <a:gd name="T60" fmla="*/ 2147483647 w 240"/>
                <a:gd name="T61" fmla="*/ 2147483647 h 228"/>
                <a:gd name="T62" fmla="*/ 2147483647 w 240"/>
                <a:gd name="T63" fmla="*/ 2147483647 h 228"/>
                <a:gd name="T64" fmla="*/ 2147483647 w 240"/>
                <a:gd name="T65" fmla="*/ 2147483647 h 228"/>
                <a:gd name="T66" fmla="*/ 2147483647 w 240"/>
                <a:gd name="T67" fmla="*/ 2147483647 h 22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40"/>
                <a:gd name="T103" fmla="*/ 0 h 228"/>
                <a:gd name="T104" fmla="*/ 240 w 240"/>
                <a:gd name="T105" fmla="*/ 228 h 22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40" h="228">
                  <a:moveTo>
                    <a:pt x="210" y="198"/>
                  </a:moveTo>
                  <a:lnTo>
                    <a:pt x="216" y="198"/>
                  </a:lnTo>
                  <a:lnTo>
                    <a:pt x="234" y="180"/>
                  </a:lnTo>
                  <a:lnTo>
                    <a:pt x="228" y="174"/>
                  </a:lnTo>
                  <a:lnTo>
                    <a:pt x="210" y="174"/>
                  </a:lnTo>
                  <a:lnTo>
                    <a:pt x="210" y="168"/>
                  </a:lnTo>
                  <a:lnTo>
                    <a:pt x="204" y="162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22" y="138"/>
                  </a:lnTo>
                  <a:lnTo>
                    <a:pt x="228" y="132"/>
                  </a:lnTo>
                  <a:lnTo>
                    <a:pt x="240" y="132"/>
                  </a:lnTo>
                  <a:lnTo>
                    <a:pt x="228" y="126"/>
                  </a:lnTo>
                  <a:lnTo>
                    <a:pt x="210" y="108"/>
                  </a:lnTo>
                  <a:lnTo>
                    <a:pt x="198" y="84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74" y="36"/>
                  </a:lnTo>
                  <a:lnTo>
                    <a:pt x="138" y="36"/>
                  </a:lnTo>
                  <a:lnTo>
                    <a:pt x="126" y="24"/>
                  </a:lnTo>
                  <a:lnTo>
                    <a:pt x="126" y="18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84" y="12"/>
                  </a:lnTo>
                  <a:lnTo>
                    <a:pt x="84" y="18"/>
                  </a:lnTo>
                  <a:lnTo>
                    <a:pt x="78" y="18"/>
                  </a:lnTo>
                  <a:lnTo>
                    <a:pt x="72" y="12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2" y="0"/>
                  </a:lnTo>
                  <a:lnTo>
                    <a:pt x="24" y="0"/>
                  </a:lnTo>
                  <a:lnTo>
                    <a:pt x="6" y="30"/>
                  </a:lnTo>
                  <a:lnTo>
                    <a:pt x="18" y="42"/>
                  </a:lnTo>
                  <a:lnTo>
                    <a:pt x="24" y="42"/>
                  </a:lnTo>
                  <a:lnTo>
                    <a:pt x="24" y="48"/>
                  </a:lnTo>
                  <a:lnTo>
                    <a:pt x="6" y="66"/>
                  </a:lnTo>
                  <a:lnTo>
                    <a:pt x="0" y="78"/>
                  </a:lnTo>
                  <a:lnTo>
                    <a:pt x="6" y="90"/>
                  </a:lnTo>
                  <a:lnTo>
                    <a:pt x="18" y="102"/>
                  </a:lnTo>
                  <a:lnTo>
                    <a:pt x="30" y="108"/>
                  </a:lnTo>
                  <a:lnTo>
                    <a:pt x="42" y="108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72" y="102"/>
                  </a:lnTo>
                  <a:lnTo>
                    <a:pt x="66" y="96"/>
                  </a:lnTo>
                  <a:lnTo>
                    <a:pt x="54" y="90"/>
                  </a:lnTo>
                  <a:lnTo>
                    <a:pt x="42" y="78"/>
                  </a:lnTo>
                  <a:lnTo>
                    <a:pt x="42" y="72"/>
                  </a:lnTo>
                  <a:lnTo>
                    <a:pt x="48" y="72"/>
                  </a:lnTo>
                  <a:lnTo>
                    <a:pt x="60" y="78"/>
                  </a:lnTo>
                  <a:lnTo>
                    <a:pt x="66" y="84"/>
                  </a:lnTo>
                  <a:lnTo>
                    <a:pt x="90" y="96"/>
                  </a:lnTo>
                  <a:lnTo>
                    <a:pt x="96" y="102"/>
                  </a:lnTo>
                  <a:lnTo>
                    <a:pt x="96" y="132"/>
                  </a:lnTo>
                  <a:lnTo>
                    <a:pt x="114" y="132"/>
                  </a:lnTo>
                  <a:lnTo>
                    <a:pt x="126" y="138"/>
                  </a:lnTo>
                  <a:lnTo>
                    <a:pt x="138" y="138"/>
                  </a:lnTo>
                  <a:lnTo>
                    <a:pt x="156" y="180"/>
                  </a:lnTo>
                  <a:lnTo>
                    <a:pt x="150" y="186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80" y="222"/>
                  </a:lnTo>
                  <a:lnTo>
                    <a:pt x="192" y="222"/>
                  </a:lnTo>
                  <a:lnTo>
                    <a:pt x="174" y="198"/>
                  </a:lnTo>
                  <a:lnTo>
                    <a:pt x="204" y="228"/>
                  </a:lnTo>
                  <a:lnTo>
                    <a:pt x="210" y="222"/>
                  </a:lnTo>
                  <a:lnTo>
                    <a:pt x="210" y="19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156" name="Colombia" descr="© INSCALE GmbH, 05.05.2010&#10;http://www.presentationload.com/"/>
            <p:cNvSpPr>
              <a:spLocks/>
            </p:cNvSpPr>
            <p:nvPr/>
          </p:nvSpPr>
          <p:spPr bwMode="gray">
            <a:xfrm>
              <a:off x="2640687" y="3992698"/>
              <a:ext cx="281565" cy="417653"/>
            </a:xfrm>
            <a:custGeom>
              <a:avLst/>
              <a:gdLst>
                <a:gd name="T0" fmla="*/ 2147483647 w 870"/>
                <a:gd name="T1" fmla="*/ 2147483647 h 1344"/>
                <a:gd name="T2" fmla="*/ 2147483647 w 870"/>
                <a:gd name="T3" fmla="*/ 2147483647 h 1344"/>
                <a:gd name="T4" fmla="*/ 2147483647 w 870"/>
                <a:gd name="T5" fmla="*/ 2147483647 h 1344"/>
                <a:gd name="T6" fmla="*/ 2147483647 w 870"/>
                <a:gd name="T7" fmla="*/ 2147483647 h 1344"/>
                <a:gd name="T8" fmla="*/ 2147483647 w 870"/>
                <a:gd name="T9" fmla="*/ 2147483647 h 1344"/>
                <a:gd name="T10" fmla="*/ 2147483647 w 870"/>
                <a:gd name="T11" fmla="*/ 2147483647 h 1344"/>
                <a:gd name="T12" fmla="*/ 2147483647 w 870"/>
                <a:gd name="T13" fmla="*/ 2147483647 h 1344"/>
                <a:gd name="T14" fmla="*/ 2147483647 w 870"/>
                <a:gd name="T15" fmla="*/ 2147483647 h 1344"/>
                <a:gd name="T16" fmla="*/ 2147483647 w 870"/>
                <a:gd name="T17" fmla="*/ 2147483647 h 1344"/>
                <a:gd name="T18" fmla="*/ 2147483647 w 870"/>
                <a:gd name="T19" fmla="*/ 2147483647 h 1344"/>
                <a:gd name="T20" fmla="*/ 2147483647 w 870"/>
                <a:gd name="T21" fmla="*/ 2147483647 h 1344"/>
                <a:gd name="T22" fmla="*/ 2147483647 w 870"/>
                <a:gd name="T23" fmla="*/ 2147483647 h 1344"/>
                <a:gd name="T24" fmla="*/ 2147483647 w 870"/>
                <a:gd name="T25" fmla="*/ 2147483647 h 1344"/>
                <a:gd name="T26" fmla="*/ 2147483647 w 870"/>
                <a:gd name="T27" fmla="*/ 2147483647 h 1344"/>
                <a:gd name="T28" fmla="*/ 2147483647 w 870"/>
                <a:gd name="T29" fmla="*/ 2147483647 h 1344"/>
                <a:gd name="T30" fmla="*/ 2147483647 w 870"/>
                <a:gd name="T31" fmla="*/ 2147483647 h 1344"/>
                <a:gd name="T32" fmla="*/ 2147483647 w 870"/>
                <a:gd name="T33" fmla="*/ 2147483647 h 1344"/>
                <a:gd name="T34" fmla="*/ 2147483647 w 870"/>
                <a:gd name="T35" fmla="*/ 2147483647 h 1344"/>
                <a:gd name="T36" fmla="*/ 2147483647 w 870"/>
                <a:gd name="T37" fmla="*/ 2147483647 h 1344"/>
                <a:gd name="T38" fmla="*/ 2147483647 w 870"/>
                <a:gd name="T39" fmla="*/ 2147483647 h 1344"/>
                <a:gd name="T40" fmla="*/ 2147483647 w 870"/>
                <a:gd name="T41" fmla="*/ 2147483647 h 1344"/>
                <a:gd name="T42" fmla="*/ 2147483647 w 870"/>
                <a:gd name="T43" fmla="*/ 2147483647 h 1344"/>
                <a:gd name="T44" fmla="*/ 2147483647 w 870"/>
                <a:gd name="T45" fmla="*/ 2147483647 h 1344"/>
                <a:gd name="T46" fmla="*/ 2147483647 w 870"/>
                <a:gd name="T47" fmla="*/ 2147483647 h 1344"/>
                <a:gd name="T48" fmla="*/ 2147483647 w 870"/>
                <a:gd name="T49" fmla="*/ 2147483647 h 1344"/>
                <a:gd name="T50" fmla="*/ 2147483647 w 870"/>
                <a:gd name="T51" fmla="*/ 2147483647 h 1344"/>
                <a:gd name="T52" fmla="*/ 2147483647 w 870"/>
                <a:gd name="T53" fmla="*/ 2147483647 h 1344"/>
                <a:gd name="T54" fmla="*/ 2147483647 w 870"/>
                <a:gd name="T55" fmla="*/ 2147483647 h 1344"/>
                <a:gd name="T56" fmla="*/ 2147483647 w 870"/>
                <a:gd name="T57" fmla="*/ 2147483647 h 1344"/>
                <a:gd name="T58" fmla="*/ 2147483647 w 870"/>
                <a:gd name="T59" fmla="*/ 2147483647 h 1344"/>
                <a:gd name="T60" fmla="*/ 2147483647 w 870"/>
                <a:gd name="T61" fmla="*/ 2147483647 h 1344"/>
                <a:gd name="T62" fmla="*/ 2147483647 w 870"/>
                <a:gd name="T63" fmla="*/ 2147483647 h 1344"/>
                <a:gd name="T64" fmla="*/ 2147483647 w 870"/>
                <a:gd name="T65" fmla="*/ 2147483647 h 1344"/>
                <a:gd name="T66" fmla="*/ 2147483647 w 870"/>
                <a:gd name="T67" fmla="*/ 2147483647 h 1344"/>
                <a:gd name="T68" fmla="*/ 2147483647 w 870"/>
                <a:gd name="T69" fmla="*/ 2147483647 h 1344"/>
                <a:gd name="T70" fmla="*/ 2147483647 w 870"/>
                <a:gd name="T71" fmla="*/ 2147483647 h 1344"/>
                <a:gd name="T72" fmla="*/ 2147483647 w 870"/>
                <a:gd name="T73" fmla="*/ 0 h 1344"/>
                <a:gd name="T74" fmla="*/ 2147483647 w 870"/>
                <a:gd name="T75" fmla="*/ 2147483647 h 1344"/>
                <a:gd name="T76" fmla="*/ 2147483647 w 870"/>
                <a:gd name="T77" fmla="*/ 2147483647 h 1344"/>
                <a:gd name="T78" fmla="*/ 2147483647 w 870"/>
                <a:gd name="T79" fmla="*/ 2147483647 h 1344"/>
                <a:gd name="T80" fmla="*/ 2147483647 w 870"/>
                <a:gd name="T81" fmla="*/ 2147483647 h 1344"/>
                <a:gd name="T82" fmla="*/ 2147483647 w 870"/>
                <a:gd name="T83" fmla="*/ 2147483647 h 1344"/>
                <a:gd name="T84" fmla="*/ 2147483647 w 870"/>
                <a:gd name="T85" fmla="*/ 2147483647 h 1344"/>
                <a:gd name="T86" fmla="*/ 2147483647 w 870"/>
                <a:gd name="T87" fmla="*/ 2147483647 h 1344"/>
                <a:gd name="T88" fmla="*/ 2147483647 w 870"/>
                <a:gd name="T89" fmla="*/ 2147483647 h 1344"/>
                <a:gd name="T90" fmla="*/ 2147483647 w 870"/>
                <a:gd name="T91" fmla="*/ 2147483647 h 1344"/>
                <a:gd name="T92" fmla="*/ 2147483647 w 870"/>
                <a:gd name="T93" fmla="*/ 2147483647 h 1344"/>
                <a:gd name="T94" fmla="*/ 2147483647 w 870"/>
                <a:gd name="T95" fmla="*/ 2147483647 h 1344"/>
                <a:gd name="T96" fmla="*/ 2147483647 w 870"/>
                <a:gd name="T97" fmla="*/ 2147483647 h 1344"/>
                <a:gd name="T98" fmla="*/ 2147483647 w 870"/>
                <a:gd name="T99" fmla="*/ 2147483647 h 1344"/>
                <a:gd name="T100" fmla="*/ 2147483647 w 870"/>
                <a:gd name="T101" fmla="*/ 2147483647 h 1344"/>
                <a:gd name="T102" fmla="*/ 2147483647 w 870"/>
                <a:gd name="T103" fmla="*/ 2147483647 h 1344"/>
                <a:gd name="T104" fmla="*/ 2147483647 w 870"/>
                <a:gd name="T105" fmla="*/ 2147483647 h 1344"/>
                <a:gd name="T106" fmla="*/ 2147483647 w 870"/>
                <a:gd name="T107" fmla="*/ 2147483647 h 134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70"/>
                <a:gd name="T163" fmla="*/ 0 h 1344"/>
                <a:gd name="T164" fmla="*/ 870 w 870"/>
                <a:gd name="T165" fmla="*/ 1344 h 134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70" h="1344">
                  <a:moveTo>
                    <a:pt x="36" y="912"/>
                  </a:moveTo>
                  <a:lnTo>
                    <a:pt x="60" y="924"/>
                  </a:lnTo>
                  <a:lnTo>
                    <a:pt x="66" y="936"/>
                  </a:lnTo>
                  <a:lnTo>
                    <a:pt x="84" y="936"/>
                  </a:lnTo>
                  <a:lnTo>
                    <a:pt x="96" y="942"/>
                  </a:lnTo>
                  <a:lnTo>
                    <a:pt x="102" y="948"/>
                  </a:lnTo>
                  <a:lnTo>
                    <a:pt x="108" y="960"/>
                  </a:lnTo>
                  <a:lnTo>
                    <a:pt x="108" y="966"/>
                  </a:lnTo>
                  <a:lnTo>
                    <a:pt x="114" y="972"/>
                  </a:lnTo>
                  <a:lnTo>
                    <a:pt x="126" y="978"/>
                  </a:lnTo>
                  <a:lnTo>
                    <a:pt x="138" y="978"/>
                  </a:lnTo>
                  <a:lnTo>
                    <a:pt x="144" y="972"/>
                  </a:lnTo>
                  <a:lnTo>
                    <a:pt x="156" y="978"/>
                  </a:lnTo>
                  <a:lnTo>
                    <a:pt x="162" y="984"/>
                  </a:lnTo>
                  <a:lnTo>
                    <a:pt x="186" y="984"/>
                  </a:lnTo>
                  <a:lnTo>
                    <a:pt x="186" y="972"/>
                  </a:lnTo>
                  <a:lnTo>
                    <a:pt x="192" y="966"/>
                  </a:lnTo>
                  <a:lnTo>
                    <a:pt x="198" y="966"/>
                  </a:lnTo>
                  <a:lnTo>
                    <a:pt x="210" y="972"/>
                  </a:lnTo>
                  <a:lnTo>
                    <a:pt x="210" y="978"/>
                  </a:lnTo>
                  <a:lnTo>
                    <a:pt x="216" y="984"/>
                  </a:lnTo>
                  <a:lnTo>
                    <a:pt x="216" y="990"/>
                  </a:lnTo>
                  <a:lnTo>
                    <a:pt x="228" y="1002"/>
                  </a:lnTo>
                  <a:lnTo>
                    <a:pt x="264" y="1002"/>
                  </a:lnTo>
                  <a:lnTo>
                    <a:pt x="276" y="1008"/>
                  </a:lnTo>
                  <a:lnTo>
                    <a:pt x="282" y="1014"/>
                  </a:lnTo>
                  <a:lnTo>
                    <a:pt x="294" y="1020"/>
                  </a:lnTo>
                  <a:lnTo>
                    <a:pt x="312" y="1038"/>
                  </a:lnTo>
                  <a:lnTo>
                    <a:pt x="324" y="1044"/>
                  </a:lnTo>
                  <a:lnTo>
                    <a:pt x="330" y="1050"/>
                  </a:lnTo>
                  <a:lnTo>
                    <a:pt x="342" y="1086"/>
                  </a:lnTo>
                  <a:lnTo>
                    <a:pt x="360" y="1086"/>
                  </a:lnTo>
                  <a:lnTo>
                    <a:pt x="372" y="1104"/>
                  </a:lnTo>
                  <a:lnTo>
                    <a:pt x="384" y="1104"/>
                  </a:lnTo>
                  <a:lnTo>
                    <a:pt x="390" y="1110"/>
                  </a:lnTo>
                  <a:lnTo>
                    <a:pt x="390" y="1134"/>
                  </a:lnTo>
                  <a:lnTo>
                    <a:pt x="396" y="1140"/>
                  </a:lnTo>
                  <a:lnTo>
                    <a:pt x="396" y="1146"/>
                  </a:lnTo>
                  <a:lnTo>
                    <a:pt x="408" y="1146"/>
                  </a:lnTo>
                  <a:lnTo>
                    <a:pt x="420" y="1152"/>
                  </a:lnTo>
                  <a:lnTo>
                    <a:pt x="426" y="1158"/>
                  </a:lnTo>
                  <a:lnTo>
                    <a:pt x="426" y="1164"/>
                  </a:lnTo>
                  <a:lnTo>
                    <a:pt x="420" y="1170"/>
                  </a:lnTo>
                  <a:lnTo>
                    <a:pt x="420" y="1194"/>
                  </a:lnTo>
                  <a:lnTo>
                    <a:pt x="432" y="1200"/>
                  </a:lnTo>
                  <a:lnTo>
                    <a:pt x="456" y="1206"/>
                  </a:lnTo>
                  <a:lnTo>
                    <a:pt x="492" y="1206"/>
                  </a:lnTo>
                  <a:lnTo>
                    <a:pt x="492" y="1194"/>
                  </a:lnTo>
                  <a:lnTo>
                    <a:pt x="504" y="1182"/>
                  </a:lnTo>
                  <a:lnTo>
                    <a:pt x="528" y="1182"/>
                  </a:lnTo>
                  <a:lnTo>
                    <a:pt x="534" y="1188"/>
                  </a:lnTo>
                  <a:lnTo>
                    <a:pt x="540" y="1188"/>
                  </a:lnTo>
                  <a:lnTo>
                    <a:pt x="546" y="1194"/>
                  </a:lnTo>
                  <a:lnTo>
                    <a:pt x="558" y="1194"/>
                  </a:lnTo>
                  <a:lnTo>
                    <a:pt x="570" y="1188"/>
                  </a:lnTo>
                  <a:lnTo>
                    <a:pt x="576" y="1182"/>
                  </a:lnTo>
                  <a:lnTo>
                    <a:pt x="588" y="1182"/>
                  </a:lnTo>
                  <a:lnTo>
                    <a:pt x="588" y="1188"/>
                  </a:lnTo>
                  <a:lnTo>
                    <a:pt x="594" y="1200"/>
                  </a:lnTo>
                  <a:lnTo>
                    <a:pt x="600" y="1206"/>
                  </a:lnTo>
                  <a:lnTo>
                    <a:pt x="624" y="1206"/>
                  </a:lnTo>
                  <a:lnTo>
                    <a:pt x="636" y="1212"/>
                  </a:lnTo>
                  <a:lnTo>
                    <a:pt x="642" y="1218"/>
                  </a:lnTo>
                  <a:lnTo>
                    <a:pt x="642" y="1236"/>
                  </a:lnTo>
                  <a:lnTo>
                    <a:pt x="636" y="1248"/>
                  </a:lnTo>
                  <a:lnTo>
                    <a:pt x="630" y="1254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66"/>
                  </a:lnTo>
                  <a:lnTo>
                    <a:pt x="606" y="1290"/>
                  </a:lnTo>
                  <a:lnTo>
                    <a:pt x="606" y="1308"/>
                  </a:lnTo>
                  <a:lnTo>
                    <a:pt x="612" y="1314"/>
                  </a:lnTo>
                  <a:lnTo>
                    <a:pt x="630" y="1314"/>
                  </a:lnTo>
                  <a:lnTo>
                    <a:pt x="642" y="1332"/>
                  </a:lnTo>
                  <a:lnTo>
                    <a:pt x="660" y="1344"/>
                  </a:lnTo>
                  <a:lnTo>
                    <a:pt x="660" y="1308"/>
                  </a:lnTo>
                  <a:lnTo>
                    <a:pt x="666" y="1236"/>
                  </a:lnTo>
                  <a:lnTo>
                    <a:pt x="684" y="1188"/>
                  </a:lnTo>
                  <a:lnTo>
                    <a:pt x="678" y="1140"/>
                  </a:lnTo>
                  <a:lnTo>
                    <a:pt x="690" y="1128"/>
                  </a:lnTo>
                  <a:lnTo>
                    <a:pt x="696" y="1116"/>
                  </a:lnTo>
                  <a:lnTo>
                    <a:pt x="696" y="1104"/>
                  </a:lnTo>
                  <a:lnTo>
                    <a:pt x="690" y="1092"/>
                  </a:lnTo>
                  <a:lnTo>
                    <a:pt x="678" y="1080"/>
                  </a:lnTo>
                  <a:lnTo>
                    <a:pt x="678" y="1074"/>
                  </a:lnTo>
                  <a:lnTo>
                    <a:pt x="672" y="1068"/>
                  </a:lnTo>
                  <a:lnTo>
                    <a:pt x="672" y="1044"/>
                  </a:lnTo>
                  <a:lnTo>
                    <a:pt x="666" y="1038"/>
                  </a:lnTo>
                  <a:lnTo>
                    <a:pt x="654" y="1032"/>
                  </a:lnTo>
                  <a:lnTo>
                    <a:pt x="642" y="1020"/>
                  </a:lnTo>
                  <a:lnTo>
                    <a:pt x="636" y="1020"/>
                  </a:lnTo>
                  <a:lnTo>
                    <a:pt x="642" y="954"/>
                  </a:lnTo>
                  <a:lnTo>
                    <a:pt x="672" y="948"/>
                  </a:lnTo>
                  <a:lnTo>
                    <a:pt x="678" y="954"/>
                  </a:lnTo>
                  <a:lnTo>
                    <a:pt x="708" y="954"/>
                  </a:lnTo>
                  <a:lnTo>
                    <a:pt x="714" y="948"/>
                  </a:lnTo>
                  <a:lnTo>
                    <a:pt x="714" y="942"/>
                  </a:lnTo>
                  <a:lnTo>
                    <a:pt x="708" y="936"/>
                  </a:lnTo>
                  <a:lnTo>
                    <a:pt x="708" y="930"/>
                  </a:lnTo>
                  <a:lnTo>
                    <a:pt x="696" y="918"/>
                  </a:lnTo>
                  <a:lnTo>
                    <a:pt x="684" y="924"/>
                  </a:lnTo>
                  <a:lnTo>
                    <a:pt x="660" y="912"/>
                  </a:lnTo>
                  <a:lnTo>
                    <a:pt x="660" y="900"/>
                  </a:lnTo>
                  <a:lnTo>
                    <a:pt x="654" y="888"/>
                  </a:lnTo>
                  <a:lnTo>
                    <a:pt x="654" y="876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84" y="858"/>
                  </a:lnTo>
                  <a:lnTo>
                    <a:pt x="696" y="870"/>
                  </a:lnTo>
                  <a:lnTo>
                    <a:pt x="762" y="864"/>
                  </a:lnTo>
                  <a:lnTo>
                    <a:pt x="762" y="846"/>
                  </a:lnTo>
                  <a:lnTo>
                    <a:pt x="768" y="840"/>
                  </a:lnTo>
                  <a:lnTo>
                    <a:pt x="774" y="840"/>
                  </a:lnTo>
                  <a:lnTo>
                    <a:pt x="798" y="864"/>
                  </a:lnTo>
                  <a:lnTo>
                    <a:pt x="828" y="834"/>
                  </a:lnTo>
                  <a:lnTo>
                    <a:pt x="834" y="834"/>
                  </a:lnTo>
                  <a:lnTo>
                    <a:pt x="834" y="846"/>
                  </a:lnTo>
                  <a:lnTo>
                    <a:pt x="840" y="852"/>
                  </a:lnTo>
                  <a:lnTo>
                    <a:pt x="840" y="864"/>
                  </a:lnTo>
                  <a:lnTo>
                    <a:pt x="846" y="876"/>
                  </a:lnTo>
                  <a:lnTo>
                    <a:pt x="846" y="906"/>
                  </a:lnTo>
                  <a:lnTo>
                    <a:pt x="870" y="906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58" y="870"/>
                  </a:lnTo>
                  <a:lnTo>
                    <a:pt x="858" y="852"/>
                  </a:lnTo>
                  <a:lnTo>
                    <a:pt x="852" y="846"/>
                  </a:lnTo>
                  <a:lnTo>
                    <a:pt x="852" y="828"/>
                  </a:lnTo>
                  <a:lnTo>
                    <a:pt x="846" y="822"/>
                  </a:lnTo>
                  <a:lnTo>
                    <a:pt x="846" y="798"/>
                  </a:lnTo>
                  <a:lnTo>
                    <a:pt x="834" y="798"/>
                  </a:lnTo>
                  <a:lnTo>
                    <a:pt x="822" y="786"/>
                  </a:lnTo>
                  <a:lnTo>
                    <a:pt x="798" y="774"/>
                  </a:lnTo>
                  <a:lnTo>
                    <a:pt x="804" y="774"/>
                  </a:lnTo>
                  <a:lnTo>
                    <a:pt x="834" y="744"/>
                  </a:lnTo>
                  <a:lnTo>
                    <a:pt x="840" y="732"/>
                  </a:lnTo>
                  <a:lnTo>
                    <a:pt x="840" y="726"/>
                  </a:lnTo>
                  <a:lnTo>
                    <a:pt x="834" y="714"/>
                  </a:lnTo>
                  <a:lnTo>
                    <a:pt x="822" y="708"/>
                  </a:lnTo>
                  <a:lnTo>
                    <a:pt x="816" y="696"/>
                  </a:lnTo>
                  <a:lnTo>
                    <a:pt x="816" y="672"/>
                  </a:lnTo>
                  <a:lnTo>
                    <a:pt x="804" y="672"/>
                  </a:lnTo>
                  <a:lnTo>
                    <a:pt x="798" y="666"/>
                  </a:lnTo>
                  <a:lnTo>
                    <a:pt x="798" y="654"/>
                  </a:lnTo>
                  <a:lnTo>
                    <a:pt x="804" y="642"/>
                  </a:lnTo>
                  <a:lnTo>
                    <a:pt x="804" y="612"/>
                  </a:lnTo>
                  <a:lnTo>
                    <a:pt x="798" y="600"/>
                  </a:lnTo>
                  <a:lnTo>
                    <a:pt x="798" y="576"/>
                  </a:lnTo>
                  <a:lnTo>
                    <a:pt x="810" y="564"/>
                  </a:lnTo>
                  <a:lnTo>
                    <a:pt x="816" y="564"/>
                  </a:lnTo>
                  <a:lnTo>
                    <a:pt x="822" y="558"/>
                  </a:lnTo>
                  <a:lnTo>
                    <a:pt x="822" y="534"/>
                  </a:lnTo>
                  <a:lnTo>
                    <a:pt x="840" y="516"/>
                  </a:lnTo>
                  <a:lnTo>
                    <a:pt x="840" y="504"/>
                  </a:lnTo>
                  <a:lnTo>
                    <a:pt x="834" y="498"/>
                  </a:lnTo>
                  <a:lnTo>
                    <a:pt x="816" y="498"/>
                  </a:lnTo>
                  <a:lnTo>
                    <a:pt x="804" y="504"/>
                  </a:lnTo>
                  <a:lnTo>
                    <a:pt x="798" y="510"/>
                  </a:lnTo>
                  <a:lnTo>
                    <a:pt x="774" y="504"/>
                  </a:lnTo>
                  <a:lnTo>
                    <a:pt x="768" y="510"/>
                  </a:lnTo>
                  <a:lnTo>
                    <a:pt x="744" y="510"/>
                  </a:lnTo>
                  <a:lnTo>
                    <a:pt x="738" y="504"/>
                  </a:lnTo>
                  <a:lnTo>
                    <a:pt x="720" y="504"/>
                  </a:lnTo>
                  <a:lnTo>
                    <a:pt x="720" y="510"/>
                  </a:lnTo>
                  <a:lnTo>
                    <a:pt x="696" y="510"/>
                  </a:lnTo>
                  <a:lnTo>
                    <a:pt x="672" y="486"/>
                  </a:lnTo>
                  <a:lnTo>
                    <a:pt x="666" y="468"/>
                  </a:lnTo>
                  <a:lnTo>
                    <a:pt x="660" y="456"/>
                  </a:lnTo>
                  <a:lnTo>
                    <a:pt x="654" y="450"/>
                  </a:lnTo>
                  <a:lnTo>
                    <a:pt x="654" y="444"/>
                  </a:lnTo>
                  <a:lnTo>
                    <a:pt x="630" y="444"/>
                  </a:lnTo>
                  <a:lnTo>
                    <a:pt x="618" y="438"/>
                  </a:lnTo>
                  <a:lnTo>
                    <a:pt x="612" y="432"/>
                  </a:lnTo>
                  <a:lnTo>
                    <a:pt x="600" y="432"/>
                  </a:lnTo>
                  <a:lnTo>
                    <a:pt x="600" y="438"/>
                  </a:lnTo>
                  <a:lnTo>
                    <a:pt x="594" y="444"/>
                  </a:lnTo>
                  <a:lnTo>
                    <a:pt x="582" y="444"/>
                  </a:lnTo>
                  <a:lnTo>
                    <a:pt x="570" y="438"/>
                  </a:lnTo>
                  <a:lnTo>
                    <a:pt x="564" y="438"/>
                  </a:lnTo>
                  <a:lnTo>
                    <a:pt x="552" y="432"/>
                  </a:lnTo>
                  <a:lnTo>
                    <a:pt x="540" y="432"/>
                  </a:lnTo>
                  <a:lnTo>
                    <a:pt x="534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86" y="408"/>
                  </a:lnTo>
                  <a:lnTo>
                    <a:pt x="486" y="366"/>
                  </a:lnTo>
                  <a:lnTo>
                    <a:pt x="498" y="342"/>
                  </a:lnTo>
                  <a:lnTo>
                    <a:pt x="498" y="330"/>
                  </a:lnTo>
                  <a:lnTo>
                    <a:pt x="492" y="324"/>
                  </a:lnTo>
                  <a:lnTo>
                    <a:pt x="480" y="318"/>
                  </a:lnTo>
                  <a:lnTo>
                    <a:pt x="474" y="312"/>
                  </a:lnTo>
                  <a:lnTo>
                    <a:pt x="474" y="276"/>
                  </a:lnTo>
                  <a:lnTo>
                    <a:pt x="468" y="264"/>
                  </a:lnTo>
                  <a:lnTo>
                    <a:pt x="456" y="252"/>
                  </a:lnTo>
                  <a:lnTo>
                    <a:pt x="450" y="252"/>
                  </a:lnTo>
                  <a:lnTo>
                    <a:pt x="438" y="264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32" y="252"/>
                  </a:lnTo>
                  <a:lnTo>
                    <a:pt x="438" y="240"/>
                  </a:lnTo>
                  <a:lnTo>
                    <a:pt x="462" y="216"/>
                  </a:lnTo>
                  <a:lnTo>
                    <a:pt x="462" y="192"/>
                  </a:lnTo>
                  <a:lnTo>
                    <a:pt x="468" y="186"/>
                  </a:lnTo>
                  <a:lnTo>
                    <a:pt x="468" y="168"/>
                  </a:lnTo>
                  <a:lnTo>
                    <a:pt x="480" y="132"/>
                  </a:lnTo>
                  <a:lnTo>
                    <a:pt x="504" y="108"/>
                  </a:lnTo>
                  <a:lnTo>
                    <a:pt x="522" y="102"/>
                  </a:lnTo>
                  <a:lnTo>
                    <a:pt x="534" y="90"/>
                  </a:lnTo>
                  <a:lnTo>
                    <a:pt x="540" y="78"/>
                  </a:lnTo>
                  <a:lnTo>
                    <a:pt x="540" y="72"/>
                  </a:lnTo>
                  <a:lnTo>
                    <a:pt x="546" y="66"/>
                  </a:lnTo>
                  <a:lnTo>
                    <a:pt x="558" y="66"/>
                  </a:lnTo>
                  <a:lnTo>
                    <a:pt x="564" y="60"/>
                  </a:lnTo>
                  <a:lnTo>
                    <a:pt x="570" y="60"/>
                  </a:lnTo>
                  <a:lnTo>
                    <a:pt x="576" y="54"/>
                  </a:lnTo>
                  <a:lnTo>
                    <a:pt x="582" y="54"/>
                  </a:lnTo>
                  <a:lnTo>
                    <a:pt x="600" y="36"/>
                  </a:lnTo>
                  <a:lnTo>
                    <a:pt x="600" y="12"/>
                  </a:lnTo>
                  <a:lnTo>
                    <a:pt x="594" y="6"/>
                  </a:lnTo>
                  <a:lnTo>
                    <a:pt x="582" y="0"/>
                  </a:lnTo>
                  <a:lnTo>
                    <a:pt x="570" y="6"/>
                  </a:lnTo>
                  <a:lnTo>
                    <a:pt x="546" y="6"/>
                  </a:lnTo>
                  <a:lnTo>
                    <a:pt x="540" y="12"/>
                  </a:lnTo>
                  <a:lnTo>
                    <a:pt x="534" y="12"/>
                  </a:lnTo>
                  <a:lnTo>
                    <a:pt x="522" y="24"/>
                  </a:lnTo>
                  <a:lnTo>
                    <a:pt x="522" y="36"/>
                  </a:lnTo>
                  <a:lnTo>
                    <a:pt x="516" y="48"/>
                  </a:lnTo>
                  <a:lnTo>
                    <a:pt x="504" y="60"/>
                  </a:lnTo>
                  <a:lnTo>
                    <a:pt x="492" y="60"/>
                  </a:lnTo>
                  <a:lnTo>
                    <a:pt x="480" y="54"/>
                  </a:lnTo>
                  <a:lnTo>
                    <a:pt x="474" y="54"/>
                  </a:lnTo>
                  <a:lnTo>
                    <a:pt x="444" y="84"/>
                  </a:lnTo>
                  <a:lnTo>
                    <a:pt x="444" y="90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90" y="90"/>
                  </a:lnTo>
                  <a:lnTo>
                    <a:pt x="384" y="90"/>
                  </a:lnTo>
                  <a:lnTo>
                    <a:pt x="378" y="102"/>
                  </a:lnTo>
                  <a:lnTo>
                    <a:pt x="378" y="120"/>
                  </a:lnTo>
                  <a:lnTo>
                    <a:pt x="372" y="132"/>
                  </a:lnTo>
                  <a:lnTo>
                    <a:pt x="366" y="138"/>
                  </a:lnTo>
                  <a:lnTo>
                    <a:pt x="354" y="138"/>
                  </a:lnTo>
                  <a:lnTo>
                    <a:pt x="354" y="132"/>
                  </a:lnTo>
                  <a:lnTo>
                    <a:pt x="360" y="126"/>
                  </a:lnTo>
                  <a:lnTo>
                    <a:pt x="354" y="120"/>
                  </a:lnTo>
                  <a:lnTo>
                    <a:pt x="342" y="120"/>
                  </a:lnTo>
                  <a:lnTo>
                    <a:pt x="330" y="126"/>
                  </a:lnTo>
                  <a:lnTo>
                    <a:pt x="318" y="126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300" y="144"/>
                  </a:lnTo>
                  <a:lnTo>
                    <a:pt x="288" y="150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6" y="186"/>
                  </a:lnTo>
                  <a:lnTo>
                    <a:pt x="282" y="192"/>
                  </a:lnTo>
                  <a:lnTo>
                    <a:pt x="264" y="222"/>
                  </a:lnTo>
                  <a:lnTo>
                    <a:pt x="276" y="246"/>
                  </a:lnTo>
                  <a:lnTo>
                    <a:pt x="252" y="246"/>
                  </a:lnTo>
                  <a:lnTo>
                    <a:pt x="240" y="252"/>
                  </a:lnTo>
                  <a:lnTo>
                    <a:pt x="228" y="264"/>
                  </a:lnTo>
                  <a:lnTo>
                    <a:pt x="228" y="276"/>
                  </a:lnTo>
                  <a:lnTo>
                    <a:pt x="222" y="288"/>
                  </a:lnTo>
                  <a:lnTo>
                    <a:pt x="216" y="294"/>
                  </a:lnTo>
                  <a:lnTo>
                    <a:pt x="204" y="294"/>
                  </a:lnTo>
                  <a:lnTo>
                    <a:pt x="198" y="300"/>
                  </a:lnTo>
                  <a:lnTo>
                    <a:pt x="192" y="300"/>
                  </a:lnTo>
                  <a:lnTo>
                    <a:pt x="174" y="306"/>
                  </a:lnTo>
                  <a:lnTo>
                    <a:pt x="186" y="330"/>
                  </a:lnTo>
                  <a:lnTo>
                    <a:pt x="186" y="366"/>
                  </a:lnTo>
                  <a:lnTo>
                    <a:pt x="168" y="366"/>
                  </a:lnTo>
                  <a:lnTo>
                    <a:pt x="168" y="360"/>
                  </a:lnTo>
                  <a:lnTo>
                    <a:pt x="174" y="354"/>
                  </a:lnTo>
                  <a:lnTo>
                    <a:pt x="174" y="342"/>
                  </a:lnTo>
                  <a:lnTo>
                    <a:pt x="144" y="312"/>
                  </a:lnTo>
                  <a:lnTo>
                    <a:pt x="138" y="312"/>
                  </a:lnTo>
                  <a:lnTo>
                    <a:pt x="132" y="318"/>
                  </a:lnTo>
                  <a:lnTo>
                    <a:pt x="132" y="336"/>
                  </a:lnTo>
                  <a:lnTo>
                    <a:pt x="138" y="348"/>
                  </a:lnTo>
                  <a:lnTo>
                    <a:pt x="150" y="354"/>
                  </a:lnTo>
                  <a:lnTo>
                    <a:pt x="150" y="366"/>
                  </a:lnTo>
                  <a:lnTo>
                    <a:pt x="138" y="390"/>
                  </a:lnTo>
                  <a:lnTo>
                    <a:pt x="132" y="396"/>
                  </a:lnTo>
                  <a:lnTo>
                    <a:pt x="120" y="390"/>
                  </a:lnTo>
                  <a:lnTo>
                    <a:pt x="114" y="384"/>
                  </a:lnTo>
                  <a:lnTo>
                    <a:pt x="102" y="414"/>
                  </a:lnTo>
                  <a:lnTo>
                    <a:pt x="114" y="438"/>
                  </a:lnTo>
                  <a:lnTo>
                    <a:pt x="114" y="450"/>
                  </a:lnTo>
                  <a:lnTo>
                    <a:pt x="126" y="462"/>
                  </a:lnTo>
                  <a:lnTo>
                    <a:pt x="132" y="474"/>
                  </a:lnTo>
                  <a:lnTo>
                    <a:pt x="132" y="480"/>
                  </a:lnTo>
                  <a:lnTo>
                    <a:pt x="120" y="492"/>
                  </a:lnTo>
                  <a:lnTo>
                    <a:pt x="114" y="492"/>
                  </a:lnTo>
                  <a:lnTo>
                    <a:pt x="132" y="516"/>
                  </a:lnTo>
                  <a:lnTo>
                    <a:pt x="138" y="552"/>
                  </a:lnTo>
                  <a:lnTo>
                    <a:pt x="114" y="558"/>
                  </a:lnTo>
                  <a:lnTo>
                    <a:pt x="132" y="576"/>
                  </a:lnTo>
                  <a:lnTo>
                    <a:pt x="132" y="636"/>
                  </a:lnTo>
                  <a:lnTo>
                    <a:pt x="120" y="642"/>
                  </a:lnTo>
                  <a:lnTo>
                    <a:pt x="114" y="654"/>
                  </a:lnTo>
                  <a:lnTo>
                    <a:pt x="114" y="678"/>
                  </a:lnTo>
                  <a:lnTo>
                    <a:pt x="138" y="702"/>
                  </a:lnTo>
                  <a:lnTo>
                    <a:pt x="138" y="720"/>
                  </a:lnTo>
                  <a:lnTo>
                    <a:pt x="132" y="732"/>
                  </a:lnTo>
                  <a:lnTo>
                    <a:pt x="120" y="738"/>
                  </a:lnTo>
                  <a:lnTo>
                    <a:pt x="114" y="750"/>
                  </a:lnTo>
                  <a:lnTo>
                    <a:pt x="102" y="756"/>
                  </a:lnTo>
                  <a:lnTo>
                    <a:pt x="96" y="762"/>
                  </a:lnTo>
                  <a:lnTo>
                    <a:pt x="114" y="774"/>
                  </a:lnTo>
                  <a:lnTo>
                    <a:pt x="84" y="798"/>
                  </a:lnTo>
                  <a:lnTo>
                    <a:pt x="66" y="798"/>
                  </a:lnTo>
                  <a:lnTo>
                    <a:pt x="54" y="804"/>
                  </a:lnTo>
                  <a:lnTo>
                    <a:pt x="36" y="810"/>
                  </a:lnTo>
                  <a:lnTo>
                    <a:pt x="30" y="822"/>
                  </a:lnTo>
                  <a:lnTo>
                    <a:pt x="30" y="846"/>
                  </a:lnTo>
                  <a:lnTo>
                    <a:pt x="36" y="852"/>
                  </a:lnTo>
                  <a:lnTo>
                    <a:pt x="36" y="858"/>
                  </a:lnTo>
                  <a:lnTo>
                    <a:pt x="6" y="858"/>
                  </a:lnTo>
                  <a:lnTo>
                    <a:pt x="0" y="864"/>
                  </a:lnTo>
                  <a:lnTo>
                    <a:pt x="0" y="876"/>
                  </a:lnTo>
                  <a:lnTo>
                    <a:pt x="6" y="888"/>
                  </a:lnTo>
                  <a:lnTo>
                    <a:pt x="18" y="894"/>
                  </a:lnTo>
                  <a:lnTo>
                    <a:pt x="24" y="906"/>
                  </a:lnTo>
                  <a:lnTo>
                    <a:pt x="36" y="91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157" name="Chile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2867219" y="4744719"/>
              <a:ext cx="376273" cy="941863"/>
            </a:xfrm>
            <a:custGeom>
              <a:avLst/>
              <a:gdLst>
                <a:gd name="T0" fmla="*/ 2147483647 w 1158"/>
                <a:gd name="T1" fmla="*/ 2147483647 h 3030"/>
                <a:gd name="T2" fmla="*/ 2147483647 w 1158"/>
                <a:gd name="T3" fmla="*/ 2147483647 h 3030"/>
                <a:gd name="T4" fmla="*/ 2147483647 w 1158"/>
                <a:gd name="T5" fmla="*/ 2147483647 h 3030"/>
                <a:gd name="T6" fmla="*/ 2147483647 w 1158"/>
                <a:gd name="T7" fmla="*/ 2147483647 h 3030"/>
                <a:gd name="T8" fmla="*/ 2147483647 w 1158"/>
                <a:gd name="T9" fmla="*/ 2147483647 h 3030"/>
                <a:gd name="T10" fmla="*/ 2147483647 w 1158"/>
                <a:gd name="T11" fmla="*/ 2147483647 h 3030"/>
                <a:gd name="T12" fmla="*/ 2147483647 w 1158"/>
                <a:gd name="T13" fmla="*/ 2147483647 h 3030"/>
                <a:gd name="T14" fmla="*/ 2147483647 w 1158"/>
                <a:gd name="T15" fmla="*/ 2147483647 h 3030"/>
                <a:gd name="T16" fmla="*/ 2147483647 w 1158"/>
                <a:gd name="T17" fmla="*/ 2147483647 h 3030"/>
                <a:gd name="T18" fmla="*/ 2147483647 w 1158"/>
                <a:gd name="T19" fmla="*/ 2147483647 h 3030"/>
                <a:gd name="T20" fmla="*/ 2147483647 w 1158"/>
                <a:gd name="T21" fmla="*/ 2147483647 h 3030"/>
                <a:gd name="T22" fmla="*/ 2147483647 w 1158"/>
                <a:gd name="T23" fmla="*/ 2147483647 h 3030"/>
                <a:gd name="T24" fmla="*/ 2147483647 w 1158"/>
                <a:gd name="T25" fmla="*/ 2147483647 h 3030"/>
                <a:gd name="T26" fmla="*/ 2147483647 w 1158"/>
                <a:gd name="T27" fmla="*/ 2147483647 h 3030"/>
                <a:gd name="T28" fmla="*/ 2147483647 w 1158"/>
                <a:gd name="T29" fmla="*/ 2147483647 h 3030"/>
                <a:gd name="T30" fmla="*/ 2147483647 w 1158"/>
                <a:gd name="T31" fmla="*/ 2147483647 h 3030"/>
                <a:gd name="T32" fmla="*/ 2147483647 w 1158"/>
                <a:gd name="T33" fmla="*/ 2147483647 h 3030"/>
                <a:gd name="T34" fmla="*/ 2147483647 w 1158"/>
                <a:gd name="T35" fmla="*/ 2147483647 h 3030"/>
                <a:gd name="T36" fmla="*/ 2147483647 w 1158"/>
                <a:gd name="T37" fmla="*/ 2147483647 h 3030"/>
                <a:gd name="T38" fmla="*/ 2147483647 w 1158"/>
                <a:gd name="T39" fmla="*/ 2147483647 h 3030"/>
                <a:gd name="T40" fmla="*/ 2147483647 w 1158"/>
                <a:gd name="T41" fmla="*/ 2147483647 h 3030"/>
                <a:gd name="T42" fmla="*/ 2147483647 w 1158"/>
                <a:gd name="T43" fmla="*/ 2147483647 h 3030"/>
                <a:gd name="T44" fmla="*/ 2147483647 w 1158"/>
                <a:gd name="T45" fmla="*/ 2147483647 h 3030"/>
                <a:gd name="T46" fmla="*/ 2147483647 w 1158"/>
                <a:gd name="T47" fmla="*/ 2147483647 h 3030"/>
                <a:gd name="T48" fmla="*/ 2147483647 w 1158"/>
                <a:gd name="T49" fmla="*/ 2147483647 h 3030"/>
                <a:gd name="T50" fmla="*/ 2147483647 w 1158"/>
                <a:gd name="T51" fmla="*/ 2147483647 h 3030"/>
                <a:gd name="T52" fmla="*/ 2147483647 w 1158"/>
                <a:gd name="T53" fmla="*/ 2147483647 h 3030"/>
                <a:gd name="T54" fmla="*/ 2147483647 w 1158"/>
                <a:gd name="T55" fmla="*/ 2147483647 h 3030"/>
                <a:gd name="T56" fmla="*/ 2147483647 w 1158"/>
                <a:gd name="T57" fmla="*/ 2147483647 h 3030"/>
                <a:gd name="T58" fmla="*/ 2147483647 w 1158"/>
                <a:gd name="T59" fmla="*/ 2147483647 h 3030"/>
                <a:gd name="T60" fmla="*/ 2147483647 w 1158"/>
                <a:gd name="T61" fmla="*/ 2147483647 h 3030"/>
                <a:gd name="T62" fmla="*/ 2147483647 w 1158"/>
                <a:gd name="T63" fmla="*/ 2147483647 h 3030"/>
                <a:gd name="T64" fmla="*/ 2147483647 w 1158"/>
                <a:gd name="T65" fmla="*/ 2147483647 h 3030"/>
                <a:gd name="T66" fmla="*/ 2147483647 w 1158"/>
                <a:gd name="T67" fmla="*/ 2147483647 h 3030"/>
                <a:gd name="T68" fmla="*/ 2147483647 w 1158"/>
                <a:gd name="T69" fmla="*/ 2147483647 h 3030"/>
                <a:gd name="T70" fmla="*/ 2147483647 w 1158"/>
                <a:gd name="T71" fmla="*/ 2147483647 h 3030"/>
                <a:gd name="T72" fmla="*/ 2147483647 w 1158"/>
                <a:gd name="T73" fmla="*/ 2147483647 h 3030"/>
                <a:gd name="T74" fmla="*/ 2147483647 w 1158"/>
                <a:gd name="T75" fmla="*/ 2147483647 h 3030"/>
                <a:gd name="T76" fmla="*/ 2147483647 w 1158"/>
                <a:gd name="T77" fmla="*/ 2147483647 h 3030"/>
                <a:gd name="T78" fmla="*/ 0 w 1158"/>
                <a:gd name="T79" fmla="*/ 2147483647 h 3030"/>
                <a:gd name="T80" fmla="*/ 2147483647 w 1158"/>
                <a:gd name="T81" fmla="*/ 2147483647 h 3030"/>
                <a:gd name="T82" fmla="*/ 2147483647 w 1158"/>
                <a:gd name="T83" fmla="*/ 2147483647 h 3030"/>
                <a:gd name="T84" fmla="*/ 2147483647 w 1158"/>
                <a:gd name="T85" fmla="*/ 2147483647 h 3030"/>
                <a:gd name="T86" fmla="*/ 2147483647 w 1158"/>
                <a:gd name="T87" fmla="*/ 2147483647 h 3030"/>
                <a:gd name="T88" fmla="*/ 2147483647 w 1158"/>
                <a:gd name="T89" fmla="*/ 2147483647 h 3030"/>
                <a:gd name="T90" fmla="*/ 2147483647 w 1158"/>
                <a:gd name="T91" fmla="*/ 2147483647 h 3030"/>
                <a:gd name="T92" fmla="*/ 2147483647 w 1158"/>
                <a:gd name="T93" fmla="*/ 2147483647 h 3030"/>
                <a:gd name="T94" fmla="*/ 2147483647 w 1158"/>
                <a:gd name="T95" fmla="*/ 2147483647 h 3030"/>
                <a:gd name="T96" fmla="*/ 2147483647 w 1158"/>
                <a:gd name="T97" fmla="*/ 2147483647 h 3030"/>
                <a:gd name="T98" fmla="*/ 2147483647 w 1158"/>
                <a:gd name="T99" fmla="*/ 2147483647 h 3030"/>
                <a:gd name="T100" fmla="*/ 2147483647 w 1158"/>
                <a:gd name="T101" fmla="*/ 2147483647 h 3030"/>
                <a:gd name="T102" fmla="*/ 2147483647 w 1158"/>
                <a:gd name="T103" fmla="*/ 2147483647 h 3030"/>
                <a:gd name="T104" fmla="*/ 2147483647 w 1158"/>
                <a:gd name="T105" fmla="*/ 2147483647 h 3030"/>
                <a:gd name="T106" fmla="*/ 2147483647 w 1158"/>
                <a:gd name="T107" fmla="*/ 2147483647 h 3030"/>
                <a:gd name="T108" fmla="*/ 2147483647 w 1158"/>
                <a:gd name="T109" fmla="*/ 2147483647 h 3030"/>
                <a:gd name="T110" fmla="*/ 2147483647 w 1158"/>
                <a:gd name="T111" fmla="*/ 2147483647 h 3030"/>
                <a:gd name="T112" fmla="*/ 2147483647 w 1158"/>
                <a:gd name="T113" fmla="*/ 2147483647 h 3030"/>
                <a:gd name="T114" fmla="*/ 2147483647 w 1158"/>
                <a:gd name="T115" fmla="*/ 2147483647 h 3030"/>
                <a:gd name="T116" fmla="*/ 2147483647 w 1158"/>
                <a:gd name="T117" fmla="*/ 2147483647 h 3030"/>
                <a:gd name="T118" fmla="*/ 2147483647 w 1158"/>
                <a:gd name="T119" fmla="*/ 2147483647 h 3030"/>
                <a:gd name="T120" fmla="*/ 2147483647 w 1158"/>
                <a:gd name="T121" fmla="*/ 2147483647 h 3030"/>
                <a:gd name="T122" fmla="*/ 2147483647 w 1158"/>
                <a:gd name="T123" fmla="*/ 2147483647 h 303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58"/>
                <a:gd name="T187" fmla="*/ 0 h 3030"/>
                <a:gd name="T188" fmla="*/ 1158 w 1158"/>
                <a:gd name="T189" fmla="*/ 3030 h 303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58" h="3030">
                  <a:moveTo>
                    <a:pt x="1014" y="2910"/>
                  </a:moveTo>
                  <a:lnTo>
                    <a:pt x="984" y="2898"/>
                  </a:lnTo>
                  <a:lnTo>
                    <a:pt x="966" y="2880"/>
                  </a:lnTo>
                  <a:lnTo>
                    <a:pt x="948" y="2874"/>
                  </a:lnTo>
                  <a:lnTo>
                    <a:pt x="942" y="2862"/>
                  </a:lnTo>
                  <a:lnTo>
                    <a:pt x="936" y="2856"/>
                  </a:lnTo>
                  <a:lnTo>
                    <a:pt x="936" y="2850"/>
                  </a:lnTo>
                  <a:lnTo>
                    <a:pt x="906" y="2850"/>
                  </a:lnTo>
                  <a:lnTo>
                    <a:pt x="912" y="2832"/>
                  </a:lnTo>
                  <a:lnTo>
                    <a:pt x="870" y="2796"/>
                  </a:lnTo>
                  <a:lnTo>
                    <a:pt x="840" y="2802"/>
                  </a:lnTo>
                  <a:lnTo>
                    <a:pt x="828" y="2796"/>
                  </a:lnTo>
                  <a:lnTo>
                    <a:pt x="816" y="2808"/>
                  </a:lnTo>
                  <a:lnTo>
                    <a:pt x="792" y="2814"/>
                  </a:lnTo>
                  <a:lnTo>
                    <a:pt x="798" y="2832"/>
                  </a:lnTo>
                  <a:lnTo>
                    <a:pt x="780" y="2832"/>
                  </a:lnTo>
                  <a:lnTo>
                    <a:pt x="780" y="2862"/>
                  </a:lnTo>
                  <a:lnTo>
                    <a:pt x="786" y="2868"/>
                  </a:lnTo>
                  <a:lnTo>
                    <a:pt x="798" y="2868"/>
                  </a:lnTo>
                  <a:lnTo>
                    <a:pt x="810" y="2862"/>
                  </a:lnTo>
                  <a:lnTo>
                    <a:pt x="816" y="2856"/>
                  </a:lnTo>
                  <a:lnTo>
                    <a:pt x="828" y="2850"/>
                  </a:lnTo>
                  <a:lnTo>
                    <a:pt x="834" y="2844"/>
                  </a:lnTo>
                  <a:lnTo>
                    <a:pt x="858" y="2856"/>
                  </a:lnTo>
                  <a:lnTo>
                    <a:pt x="858" y="2874"/>
                  </a:lnTo>
                  <a:lnTo>
                    <a:pt x="846" y="2880"/>
                  </a:lnTo>
                  <a:lnTo>
                    <a:pt x="828" y="2898"/>
                  </a:lnTo>
                  <a:lnTo>
                    <a:pt x="822" y="2898"/>
                  </a:lnTo>
                  <a:lnTo>
                    <a:pt x="828" y="2904"/>
                  </a:lnTo>
                  <a:lnTo>
                    <a:pt x="882" y="2922"/>
                  </a:lnTo>
                  <a:lnTo>
                    <a:pt x="912" y="2928"/>
                  </a:lnTo>
                  <a:lnTo>
                    <a:pt x="924" y="2934"/>
                  </a:lnTo>
                  <a:lnTo>
                    <a:pt x="906" y="2958"/>
                  </a:lnTo>
                  <a:lnTo>
                    <a:pt x="906" y="2952"/>
                  </a:lnTo>
                  <a:lnTo>
                    <a:pt x="894" y="2940"/>
                  </a:lnTo>
                  <a:lnTo>
                    <a:pt x="876" y="2940"/>
                  </a:lnTo>
                  <a:lnTo>
                    <a:pt x="870" y="2946"/>
                  </a:lnTo>
                  <a:lnTo>
                    <a:pt x="870" y="2952"/>
                  </a:lnTo>
                  <a:lnTo>
                    <a:pt x="852" y="2928"/>
                  </a:lnTo>
                  <a:lnTo>
                    <a:pt x="834" y="2934"/>
                  </a:lnTo>
                  <a:lnTo>
                    <a:pt x="846" y="2946"/>
                  </a:lnTo>
                  <a:lnTo>
                    <a:pt x="816" y="2940"/>
                  </a:lnTo>
                  <a:lnTo>
                    <a:pt x="822" y="2946"/>
                  </a:lnTo>
                  <a:lnTo>
                    <a:pt x="828" y="2958"/>
                  </a:lnTo>
                  <a:lnTo>
                    <a:pt x="834" y="2964"/>
                  </a:lnTo>
                  <a:lnTo>
                    <a:pt x="894" y="2964"/>
                  </a:lnTo>
                  <a:lnTo>
                    <a:pt x="906" y="2970"/>
                  </a:lnTo>
                  <a:lnTo>
                    <a:pt x="1050" y="2970"/>
                  </a:lnTo>
                  <a:lnTo>
                    <a:pt x="1074" y="2982"/>
                  </a:lnTo>
                  <a:lnTo>
                    <a:pt x="1080" y="2988"/>
                  </a:lnTo>
                  <a:lnTo>
                    <a:pt x="1086" y="2988"/>
                  </a:lnTo>
                  <a:lnTo>
                    <a:pt x="1122" y="2970"/>
                  </a:lnTo>
                  <a:lnTo>
                    <a:pt x="1140" y="2976"/>
                  </a:lnTo>
                  <a:lnTo>
                    <a:pt x="1152" y="2976"/>
                  </a:lnTo>
                  <a:lnTo>
                    <a:pt x="1158" y="2952"/>
                  </a:lnTo>
                  <a:lnTo>
                    <a:pt x="1140" y="2952"/>
                  </a:lnTo>
                  <a:lnTo>
                    <a:pt x="1086" y="2940"/>
                  </a:lnTo>
                  <a:lnTo>
                    <a:pt x="1014" y="2910"/>
                  </a:lnTo>
                  <a:close/>
                  <a:moveTo>
                    <a:pt x="990" y="2988"/>
                  </a:moveTo>
                  <a:lnTo>
                    <a:pt x="1014" y="3000"/>
                  </a:lnTo>
                  <a:lnTo>
                    <a:pt x="1068" y="3006"/>
                  </a:lnTo>
                  <a:lnTo>
                    <a:pt x="1038" y="2982"/>
                  </a:lnTo>
                  <a:lnTo>
                    <a:pt x="990" y="2988"/>
                  </a:lnTo>
                  <a:close/>
                  <a:moveTo>
                    <a:pt x="960" y="2994"/>
                  </a:moveTo>
                  <a:lnTo>
                    <a:pt x="966" y="2982"/>
                  </a:lnTo>
                  <a:lnTo>
                    <a:pt x="888" y="2982"/>
                  </a:lnTo>
                  <a:lnTo>
                    <a:pt x="906" y="3012"/>
                  </a:lnTo>
                  <a:lnTo>
                    <a:pt x="936" y="3018"/>
                  </a:lnTo>
                  <a:lnTo>
                    <a:pt x="930" y="3006"/>
                  </a:lnTo>
                  <a:lnTo>
                    <a:pt x="936" y="3000"/>
                  </a:lnTo>
                  <a:lnTo>
                    <a:pt x="948" y="3012"/>
                  </a:lnTo>
                  <a:lnTo>
                    <a:pt x="996" y="3012"/>
                  </a:lnTo>
                  <a:lnTo>
                    <a:pt x="1008" y="3030"/>
                  </a:lnTo>
                  <a:lnTo>
                    <a:pt x="1026" y="3030"/>
                  </a:lnTo>
                  <a:lnTo>
                    <a:pt x="996" y="3000"/>
                  </a:lnTo>
                  <a:lnTo>
                    <a:pt x="960" y="2994"/>
                  </a:lnTo>
                  <a:close/>
                  <a:moveTo>
                    <a:pt x="804" y="2946"/>
                  </a:moveTo>
                  <a:lnTo>
                    <a:pt x="744" y="2940"/>
                  </a:lnTo>
                  <a:lnTo>
                    <a:pt x="750" y="2958"/>
                  </a:lnTo>
                  <a:lnTo>
                    <a:pt x="792" y="2958"/>
                  </a:lnTo>
                  <a:lnTo>
                    <a:pt x="804" y="2976"/>
                  </a:lnTo>
                  <a:lnTo>
                    <a:pt x="864" y="3000"/>
                  </a:lnTo>
                  <a:lnTo>
                    <a:pt x="828" y="2970"/>
                  </a:lnTo>
                  <a:lnTo>
                    <a:pt x="804" y="2946"/>
                  </a:lnTo>
                  <a:close/>
                  <a:moveTo>
                    <a:pt x="804" y="2880"/>
                  </a:moveTo>
                  <a:lnTo>
                    <a:pt x="786" y="2898"/>
                  </a:lnTo>
                  <a:lnTo>
                    <a:pt x="792" y="2928"/>
                  </a:lnTo>
                  <a:lnTo>
                    <a:pt x="816" y="2922"/>
                  </a:lnTo>
                  <a:lnTo>
                    <a:pt x="804" y="2880"/>
                  </a:lnTo>
                  <a:close/>
                  <a:moveTo>
                    <a:pt x="774" y="2928"/>
                  </a:moveTo>
                  <a:lnTo>
                    <a:pt x="768" y="2910"/>
                  </a:lnTo>
                  <a:lnTo>
                    <a:pt x="720" y="2898"/>
                  </a:lnTo>
                  <a:lnTo>
                    <a:pt x="708" y="2916"/>
                  </a:lnTo>
                  <a:lnTo>
                    <a:pt x="708" y="2934"/>
                  </a:lnTo>
                  <a:lnTo>
                    <a:pt x="744" y="2922"/>
                  </a:lnTo>
                  <a:lnTo>
                    <a:pt x="774" y="2928"/>
                  </a:lnTo>
                  <a:close/>
                  <a:moveTo>
                    <a:pt x="612" y="2772"/>
                  </a:moveTo>
                  <a:lnTo>
                    <a:pt x="606" y="2766"/>
                  </a:lnTo>
                  <a:lnTo>
                    <a:pt x="594" y="2766"/>
                  </a:lnTo>
                  <a:lnTo>
                    <a:pt x="588" y="2760"/>
                  </a:lnTo>
                  <a:lnTo>
                    <a:pt x="570" y="2760"/>
                  </a:lnTo>
                  <a:lnTo>
                    <a:pt x="570" y="2766"/>
                  </a:lnTo>
                  <a:lnTo>
                    <a:pt x="564" y="2778"/>
                  </a:lnTo>
                  <a:lnTo>
                    <a:pt x="564" y="2808"/>
                  </a:lnTo>
                  <a:lnTo>
                    <a:pt x="570" y="2808"/>
                  </a:lnTo>
                  <a:lnTo>
                    <a:pt x="576" y="2802"/>
                  </a:lnTo>
                  <a:lnTo>
                    <a:pt x="588" y="2802"/>
                  </a:lnTo>
                  <a:lnTo>
                    <a:pt x="594" y="2796"/>
                  </a:lnTo>
                  <a:lnTo>
                    <a:pt x="600" y="2820"/>
                  </a:lnTo>
                  <a:lnTo>
                    <a:pt x="630" y="2808"/>
                  </a:lnTo>
                  <a:lnTo>
                    <a:pt x="612" y="2790"/>
                  </a:lnTo>
                  <a:lnTo>
                    <a:pt x="618" y="2772"/>
                  </a:lnTo>
                  <a:lnTo>
                    <a:pt x="612" y="2772"/>
                  </a:lnTo>
                  <a:close/>
                  <a:moveTo>
                    <a:pt x="552" y="2826"/>
                  </a:moveTo>
                  <a:lnTo>
                    <a:pt x="516" y="2808"/>
                  </a:lnTo>
                  <a:lnTo>
                    <a:pt x="546" y="2832"/>
                  </a:lnTo>
                  <a:lnTo>
                    <a:pt x="588" y="2844"/>
                  </a:lnTo>
                  <a:lnTo>
                    <a:pt x="606" y="2850"/>
                  </a:lnTo>
                  <a:lnTo>
                    <a:pt x="588" y="2832"/>
                  </a:lnTo>
                  <a:lnTo>
                    <a:pt x="552" y="2826"/>
                  </a:lnTo>
                  <a:close/>
                  <a:moveTo>
                    <a:pt x="552" y="2748"/>
                  </a:moveTo>
                  <a:lnTo>
                    <a:pt x="534" y="2730"/>
                  </a:lnTo>
                  <a:lnTo>
                    <a:pt x="528" y="2766"/>
                  </a:lnTo>
                  <a:lnTo>
                    <a:pt x="504" y="2772"/>
                  </a:lnTo>
                  <a:lnTo>
                    <a:pt x="546" y="2784"/>
                  </a:lnTo>
                  <a:lnTo>
                    <a:pt x="552" y="2748"/>
                  </a:lnTo>
                  <a:close/>
                  <a:moveTo>
                    <a:pt x="444" y="2736"/>
                  </a:moveTo>
                  <a:lnTo>
                    <a:pt x="480" y="2772"/>
                  </a:lnTo>
                  <a:lnTo>
                    <a:pt x="492" y="2760"/>
                  </a:lnTo>
                  <a:lnTo>
                    <a:pt x="462" y="2724"/>
                  </a:lnTo>
                  <a:lnTo>
                    <a:pt x="444" y="2736"/>
                  </a:lnTo>
                  <a:close/>
                  <a:moveTo>
                    <a:pt x="516" y="2724"/>
                  </a:moveTo>
                  <a:lnTo>
                    <a:pt x="504" y="2718"/>
                  </a:lnTo>
                  <a:lnTo>
                    <a:pt x="492" y="2730"/>
                  </a:lnTo>
                  <a:lnTo>
                    <a:pt x="504" y="2748"/>
                  </a:lnTo>
                  <a:lnTo>
                    <a:pt x="516" y="2724"/>
                  </a:lnTo>
                  <a:close/>
                  <a:moveTo>
                    <a:pt x="456" y="2706"/>
                  </a:moveTo>
                  <a:lnTo>
                    <a:pt x="462" y="2676"/>
                  </a:lnTo>
                  <a:lnTo>
                    <a:pt x="456" y="2640"/>
                  </a:lnTo>
                  <a:lnTo>
                    <a:pt x="438" y="2634"/>
                  </a:lnTo>
                  <a:lnTo>
                    <a:pt x="438" y="2652"/>
                  </a:lnTo>
                  <a:lnTo>
                    <a:pt x="408" y="2646"/>
                  </a:lnTo>
                  <a:lnTo>
                    <a:pt x="432" y="2682"/>
                  </a:lnTo>
                  <a:lnTo>
                    <a:pt x="426" y="2724"/>
                  </a:lnTo>
                  <a:lnTo>
                    <a:pt x="456" y="2706"/>
                  </a:lnTo>
                  <a:close/>
                  <a:moveTo>
                    <a:pt x="366" y="2622"/>
                  </a:moveTo>
                  <a:lnTo>
                    <a:pt x="384" y="2628"/>
                  </a:lnTo>
                  <a:lnTo>
                    <a:pt x="390" y="2658"/>
                  </a:lnTo>
                  <a:lnTo>
                    <a:pt x="396" y="2628"/>
                  </a:lnTo>
                  <a:lnTo>
                    <a:pt x="402" y="2604"/>
                  </a:lnTo>
                  <a:lnTo>
                    <a:pt x="372" y="2598"/>
                  </a:lnTo>
                  <a:lnTo>
                    <a:pt x="366" y="2622"/>
                  </a:lnTo>
                  <a:close/>
                  <a:moveTo>
                    <a:pt x="372" y="2586"/>
                  </a:moveTo>
                  <a:lnTo>
                    <a:pt x="378" y="2586"/>
                  </a:lnTo>
                  <a:lnTo>
                    <a:pt x="378" y="2580"/>
                  </a:lnTo>
                  <a:lnTo>
                    <a:pt x="384" y="2574"/>
                  </a:lnTo>
                  <a:lnTo>
                    <a:pt x="414" y="2598"/>
                  </a:lnTo>
                  <a:lnTo>
                    <a:pt x="414" y="2574"/>
                  </a:lnTo>
                  <a:lnTo>
                    <a:pt x="384" y="2544"/>
                  </a:lnTo>
                  <a:lnTo>
                    <a:pt x="378" y="2532"/>
                  </a:lnTo>
                  <a:lnTo>
                    <a:pt x="372" y="2526"/>
                  </a:lnTo>
                  <a:lnTo>
                    <a:pt x="360" y="2502"/>
                  </a:lnTo>
                  <a:lnTo>
                    <a:pt x="360" y="2490"/>
                  </a:lnTo>
                  <a:lnTo>
                    <a:pt x="342" y="2454"/>
                  </a:lnTo>
                  <a:lnTo>
                    <a:pt x="330" y="2448"/>
                  </a:lnTo>
                  <a:lnTo>
                    <a:pt x="324" y="2442"/>
                  </a:lnTo>
                  <a:lnTo>
                    <a:pt x="318" y="2442"/>
                  </a:lnTo>
                  <a:lnTo>
                    <a:pt x="312" y="2448"/>
                  </a:lnTo>
                  <a:lnTo>
                    <a:pt x="312" y="2454"/>
                  </a:lnTo>
                  <a:lnTo>
                    <a:pt x="294" y="2448"/>
                  </a:lnTo>
                  <a:lnTo>
                    <a:pt x="288" y="2454"/>
                  </a:lnTo>
                  <a:lnTo>
                    <a:pt x="288" y="2466"/>
                  </a:lnTo>
                  <a:lnTo>
                    <a:pt x="282" y="2472"/>
                  </a:lnTo>
                  <a:lnTo>
                    <a:pt x="282" y="2490"/>
                  </a:lnTo>
                  <a:lnTo>
                    <a:pt x="330" y="2490"/>
                  </a:lnTo>
                  <a:lnTo>
                    <a:pt x="312" y="2532"/>
                  </a:lnTo>
                  <a:lnTo>
                    <a:pt x="324" y="2532"/>
                  </a:lnTo>
                  <a:lnTo>
                    <a:pt x="348" y="2508"/>
                  </a:lnTo>
                  <a:lnTo>
                    <a:pt x="342" y="2532"/>
                  </a:lnTo>
                  <a:lnTo>
                    <a:pt x="342" y="2538"/>
                  </a:lnTo>
                  <a:lnTo>
                    <a:pt x="348" y="2544"/>
                  </a:lnTo>
                  <a:lnTo>
                    <a:pt x="366" y="2580"/>
                  </a:lnTo>
                  <a:lnTo>
                    <a:pt x="366" y="2586"/>
                  </a:lnTo>
                  <a:lnTo>
                    <a:pt x="372" y="2586"/>
                  </a:lnTo>
                  <a:close/>
                  <a:moveTo>
                    <a:pt x="246" y="2082"/>
                  </a:moveTo>
                  <a:lnTo>
                    <a:pt x="246" y="2034"/>
                  </a:lnTo>
                  <a:lnTo>
                    <a:pt x="216" y="2004"/>
                  </a:lnTo>
                  <a:lnTo>
                    <a:pt x="234" y="1992"/>
                  </a:lnTo>
                  <a:lnTo>
                    <a:pt x="210" y="1968"/>
                  </a:lnTo>
                  <a:lnTo>
                    <a:pt x="174" y="1956"/>
                  </a:lnTo>
                  <a:lnTo>
                    <a:pt x="174" y="1986"/>
                  </a:lnTo>
                  <a:lnTo>
                    <a:pt x="180" y="1998"/>
                  </a:lnTo>
                  <a:lnTo>
                    <a:pt x="180" y="2004"/>
                  </a:lnTo>
                  <a:lnTo>
                    <a:pt x="192" y="2016"/>
                  </a:lnTo>
                  <a:lnTo>
                    <a:pt x="198" y="2028"/>
                  </a:lnTo>
                  <a:lnTo>
                    <a:pt x="204" y="2034"/>
                  </a:lnTo>
                  <a:lnTo>
                    <a:pt x="204" y="2046"/>
                  </a:lnTo>
                  <a:lnTo>
                    <a:pt x="198" y="2064"/>
                  </a:lnTo>
                  <a:lnTo>
                    <a:pt x="246" y="2082"/>
                  </a:lnTo>
                  <a:close/>
                  <a:moveTo>
                    <a:pt x="246" y="2178"/>
                  </a:moveTo>
                  <a:lnTo>
                    <a:pt x="258" y="2190"/>
                  </a:lnTo>
                  <a:lnTo>
                    <a:pt x="282" y="2190"/>
                  </a:lnTo>
                  <a:lnTo>
                    <a:pt x="294" y="2172"/>
                  </a:lnTo>
                  <a:lnTo>
                    <a:pt x="264" y="2178"/>
                  </a:lnTo>
                  <a:lnTo>
                    <a:pt x="246" y="2178"/>
                  </a:lnTo>
                  <a:close/>
                  <a:moveTo>
                    <a:pt x="282" y="2220"/>
                  </a:moveTo>
                  <a:lnTo>
                    <a:pt x="282" y="2238"/>
                  </a:lnTo>
                  <a:lnTo>
                    <a:pt x="306" y="2256"/>
                  </a:lnTo>
                  <a:lnTo>
                    <a:pt x="306" y="2232"/>
                  </a:lnTo>
                  <a:lnTo>
                    <a:pt x="294" y="2208"/>
                  </a:lnTo>
                  <a:lnTo>
                    <a:pt x="258" y="2208"/>
                  </a:lnTo>
                  <a:lnTo>
                    <a:pt x="282" y="2220"/>
                  </a:lnTo>
                  <a:close/>
                  <a:moveTo>
                    <a:pt x="318" y="2190"/>
                  </a:moveTo>
                  <a:lnTo>
                    <a:pt x="324" y="2184"/>
                  </a:lnTo>
                  <a:lnTo>
                    <a:pt x="336" y="2178"/>
                  </a:lnTo>
                  <a:lnTo>
                    <a:pt x="348" y="2166"/>
                  </a:lnTo>
                  <a:lnTo>
                    <a:pt x="336" y="2154"/>
                  </a:lnTo>
                  <a:lnTo>
                    <a:pt x="324" y="2154"/>
                  </a:lnTo>
                  <a:lnTo>
                    <a:pt x="312" y="2160"/>
                  </a:lnTo>
                  <a:lnTo>
                    <a:pt x="306" y="2166"/>
                  </a:lnTo>
                  <a:lnTo>
                    <a:pt x="306" y="2184"/>
                  </a:lnTo>
                  <a:lnTo>
                    <a:pt x="312" y="2190"/>
                  </a:lnTo>
                  <a:lnTo>
                    <a:pt x="318" y="2190"/>
                  </a:lnTo>
                  <a:close/>
                  <a:moveTo>
                    <a:pt x="252" y="2112"/>
                  </a:moveTo>
                  <a:lnTo>
                    <a:pt x="240" y="2118"/>
                  </a:lnTo>
                  <a:lnTo>
                    <a:pt x="240" y="2136"/>
                  </a:lnTo>
                  <a:lnTo>
                    <a:pt x="252" y="2136"/>
                  </a:lnTo>
                  <a:lnTo>
                    <a:pt x="264" y="2124"/>
                  </a:lnTo>
                  <a:lnTo>
                    <a:pt x="264" y="2106"/>
                  </a:lnTo>
                  <a:lnTo>
                    <a:pt x="258" y="2106"/>
                  </a:lnTo>
                  <a:lnTo>
                    <a:pt x="252" y="2112"/>
                  </a:lnTo>
                  <a:close/>
                  <a:moveTo>
                    <a:pt x="234" y="2154"/>
                  </a:moveTo>
                  <a:lnTo>
                    <a:pt x="216" y="2154"/>
                  </a:lnTo>
                  <a:lnTo>
                    <a:pt x="228" y="2178"/>
                  </a:lnTo>
                  <a:lnTo>
                    <a:pt x="234" y="2154"/>
                  </a:lnTo>
                  <a:close/>
                  <a:moveTo>
                    <a:pt x="714" y="2874"/>
                  </a:moveTo>
                  <a:lnTo>
                    <a:pt x="726" y="2874"/>
                  </a:lnTo>
                  <a:lnTo>
                    <a:pt x="726" y="2886"/>
                  </a:lnTo>
                  <a:lnTo>
                    <a:pt x="768" y="2886"/>
                  </a:lnTo>
                  <a:lnTo>
                    <a:pt x="774" y="2880"/>
                  </a:lnTo>
                  <a:lnTo>
                    <a:pt x="774" y="2874"/>
                  </a:lnTo>
                  <a:lnTo>
                    <a:pt x="744" y="2844"/>
                  </a:lnTo>
                  <a:lnTo>
                    <a:pt x="744" y="2808"/>
                  </a:lnTo>
                  <a:lnTo>
                    <a:pt x="786" y="2802"/>
                  </a:lnTo>
                  <a:lnTo>
                    <a:pt x="780" y="2790"/>
                  </a:lnTo>
                  <a:lnTo>
                    <a:pt x="804" y="2790"/>
                  </a:lnTo>
                  <a:lnTo>
                    <a:pt x="816" y="2772"/>
                  </a:lnTo>
                  <a:lnTo>
                    <a:pt x="792" y="2754"/>
                  </a:lnTo>
                  <a:lnTo>
                    <a:pt x="696" y="2754"/>
                  </a:lnTo>
                  <a:lnTo>
                    <a:pt x="684" y="2760"/>
                  </a:lnTo>
                  <a:lnTo>
                    <a:pt x="672" y="2760"/>
                  </a:lnTo>
                  <a:lnTo>
                    <a:pt x="654" y="2742"/>
                  </a:lnTo>
                  <a:lnTo>
                    <a:pt x="618" y="2724"/>
                  </a:lnTo>
                  <a:lnTo>
                    <a:pt x="606" y="2706"/>
                  </a:lnTo>
                  <a:lnTo>
                    <a:pt x="588" y="2682"/>
                  </a:lnTo>
                  <a:lnTo>
                    <a:pt x="588" y="2658"/>
                  </a:lnTo>
                  <a:lnTo>
                    <a:pt x="576" y="2646"/>
                  </a:lnTo>
                  <a:lnTo>
                    <a:pt x="564" y="2640"/>
                  </a:lnTo>
                  <a:lnTo>
                    <a:pt x="546" y="2640"/>
                  </a:lnTo>
                  <a:lnTo>
                    <a:pt x="534" y="2652"/>
                  </a:lnTo>
                  <a:lnTo>
                    <a:pt x="528" y="2652"/>
                  </a:lnTo>
                  <a:lnTo>
                    <a:pt x="516" y="2646"/>
                  </a:lnTo>
                  <a:lnTo>
                    <a:pt x="510" y="2640"/>
                  </a:lnTo>
                  <a:lnTo>
                    <a:pt x="510" y="2628"/>
                  </a:lnTo>
                  <a:lnTo>
                    <a:pt x="504" y="2622"/>
                  </a:lnTo>
                  <a:lnTo>
                    <a:pt x="504" y="2616"/>
                  </a:lnTo>
                  <a:lnTo>
                    <a:pt x="474" y="2610"/>
                  </a:lnTo>
                  <a:lnTo>
                    <a:pt x="474" y="2574"/>
                  </a:lnTo>
                  <a:lnTo>
                    <a:pt x="468" y="2568"/>
                  </a:lnTo>
                  <a:lnTo>
                    <a:pt x="462" y="2556"/>
                  </a:lnTo>
                  <a:lnTo>
                    <a:pt x="462" y="2544"/>
                  </a:lnTo>
                  <a:lnTo>
                    <a:pt x="474" y="2538"/>
                  </a:lnTo>
                  <a:lnTo>
                    <a:pt x="474" y="2514"/>
                  </a:lnTo>
                  <a:lnTo>
                    <a:pt x="480" y="2514"/>
                  </a:lnTo>
                  <a:lnTo>
                    <a:pt x="486" y="2508"/>
                  </a:lnTo>
                  <a:lnTo>
                    <a:pt x="492" y="2508"/>
                  </a:lnTo>
                  <a:lnTo>
                    <a:pt x="498" y="2502"/>
                  </a:lnTo>
                  <a:lnTo>
                    <a:pt x="498" y="2496"/>
                  </a:lnTo>
                  <a:lnTo>
                    <a:pt x="474" y="2472"/>
                  </a:lnTo>
                  <a:lnTo>
                    <a:pt x="480" y="2466"/>
                  </a:lnTo>
                  <a:lnTo>
                    <a:pt x="492" y="2460"/>
                  </a:lnTo>
                  <a:lnTo>
                    <a:pt x="498" y="2460"/>
                  </a:lnTo>
                  <a:lnTo>
                    <a:pt x="498" y="2454"/>
                  </a:lnTo>
                  <a:lnTo>
                    <a:pt x="474" y="2430"/>
                  </a:lnTo>
                  <a:lnTo>
                    <a:pt x="468" y="2430"/>
                  </a:lnTo>
                  <a:lnTo>
                    <a:pt x="474" y="2388"/>
                  </a:lnTo>
                  <a:lnTo>
                    <a:pt x="486" y="2382"/>
                  </a:lnTo>
                  <a:lnTo>
                    <a:pt x="474" y="2358"/>
                  </a:lnTo>
                  <a:lnTo>
                    <a:pt x="480" y="2322"/>
                  </a:lnTo>
                  <a:lnTo>
                    <a:pt x="456" y="2298"/>
                  </a:lnTo>
                  <a:lnTo>
                    <a:pt x="462" y="2274"/>
                  </a:lnTo>
                  <a:lnTo>
                    <a:pt x="438" y="2256"/>
                  </a:lnTo>
                  <a:lnTo>
                    <a:pt x="450" y="2244"/>
                  </a:lnTo>
                  <a:lnTo>
                    <a:pt x="456" y="2232"/>
                  </a:lnTo>
                  <a:lnTo>
                    <a:pt x="462" y="2226"/>
                  </a:lnTo>
                  <a:lnTo>
                    <a:pt x="438" y="2202"/>
                  </a:lnTo>
                  <a:lnTo>
                    <a:pt x="426" y="2202"/>
                  </a:lnTo>
                  <a:lnTo>
                    <a:pt x="420" y="2196"/>
                  </a:lnTo>
                  <a:lnTo>
                    <a:pt x="408" y="2190"/>
                  </a:lnTo>
                  <a:lnTo>
                    <a:pt x="402" y="2190"/>
                  </a:lnTo>
                  <a:lnTo>
                    <a:pt x="396" y="2184"/>
                  </a:lnTo>
                  <a:lnTo>
                    <a:pt x="414" y="2184"/>
                  </a:lnTo>
                  <a:lnTo>
                    <a:pt x="426" y="2178"/>
                  </a:lnTo>
                  <a:lnTo>
                    <a:pt x="438" y="2178"/>
                  </a:lnTo>
                  <a:lnTo>
                    <a:pt x="444" y="2172"/>
                  </a:lnTo>
                  <a:lnTo>
                    <a:pt x="444" y="2166"/>
                  </a:lnTo>
                  <a:lnTo>
                    <a:pt x="432" y="2160"/>
                  </a:lnTo>
                  <a:lnTo>
                    <a:pt x="402" y="2160"/>
                  </a:lnTo>
                  <a:lnTo>
                    <a:pt x="390" y="2148"/>
                  </a:lnTo>
                  <a:lnTo>
                    <a:pt x="390" y="2118"/>
                  </a:lnTo>
                  <a:lnTo>
                    <a:pt x="384" y="2106"/>
                  </a:lnTo>
                  <a:lnTo>
                    <a:pt x="384" y="2100"/>
                  </a:lnTo>
                  <a:lnTo>
                    <a:pt x="378" y="2094"/>
                  </a:lnTo>
                  <a:lnTo>
                    <a:pt x="366" y="2088"/>
                  </a:lnTo>
                  <a:lnTo>
                    <a:pt x="360" y="2088"/>
                  </a:lnTo>
                  <a:lnTo>
                    <a:pt x="366" y="2058"/>
                  </a:lnTo>
                  <a:lnTo>
                    <a:pt x="342" y="2046"/>
                  </a:lnTo>
                  <a:lnTo>
                    <a:pt x="336" y="2040"/>
                  </a:lnTo>
                  <a:lnTo>
                    <a:pt x="336" y="2028"/>
                  </a:lnTo>
                  <a:lnTo>
                    <a:pt x="330" y="2016"/>
                  </a:lnTo>
                  <a:lnTo>
                    <a:pt x="330" y="1998"/>
                  </a:lnTo>
                  <a:lnTo>
                    <a:pt x="324" y="1986"/>
                  </a:lnTo>
                  <a:lnTo>
                    <a:pt x="324" y="1974"/>
                  </a:lnTo>
                  <a:lnTo>
                    <a:pt x="330" y="1968"/>
                  </a:lnTo>
                  <a:lnTo>
                    <a:pt x="342" y="1962"/>
                  </a:lnTo>
                  <a:lnTo>
                    <a:pt x="348" y="1962"/>
                  </a:lnTo>
                  <a:lnTo>
                    <a:pt x="336" y="1950"/>
                  </a:lnTo>
                  <a:lnTo>
                    <a:pt x="324" y="1944"/>
                  </a:lnTo>
                  <a:lnTo>
                    <a:pt x="306" y="1926"/>
                  </a:lnTo>
                  <a:lnTo>
                    <a:pt x="300" y="1914"/>
                  </a:lnTo>
                  <a:lnTo>
                    <a:pt x="300" y="1890"/>
                  </a:lnTo>
                  <a:lnTo>
                    <a:pt x="294" y="1878"/>
                  </a:lnTo>
                  <a:lnTo>
                    <a:pt x="288" y="1872"/>
                  </a:lnTo>
                  <a:lnTo>
                    <a:pt x="288" y="1842"/>
                  </a:lnTo>
                  <a:lnTo>
                    <a:pt x="294" y="1836"/>
                  </a:lnTo>
                  <a:lnTo>
                    <a:pt x="294" y="1824"/>
                  </a:lnTo>
                  <a:lnTo>
                    <a:pt x="276" y="1812"/>
                  </a:lnTo>
                  <a:lnTo>
                    <a:pt x="276" y="1806"/>
                  </a:lnTo>
                  <a:lnTo>
                    <a:pt x="282" y="1794"/>
                  </a:lnTo>
                  <a:lnTo>
                    <a:pt x="282" y="1788"/>
                  </a:lnTo>
                  <a:lnTo>
                    <a:pt x="264" y="1770"/>
                  </a:lnTo>
                  <a:lnTo>
                    <a:pt x="282" y="1758"/>
                  </a:lnTo>
                  <a:lnTo>
                    <a:pt x="270" y="1716"/>
                  </a:lnTo>
                  <a:lnTo>
                    <a:pt x="276" y="1716"/>
                  </a:lnTo>
                  <a:lnTo>
                    <a:pt x="282" y="1710"/>
                  </a:lnTo>
                  <a:lnTo>
                    <a:pt x="294" y="1704"/>
                  </a:lnTo>
                  <a:lnTo>
                    <a:pt x="300" y="1692"/>
                  </a:lnTo>
                  <a:lnTo>
                    <a:pt x="300" y="1686"/>
                  </a:lnTo>
                  <a:lnTo>
                    <a:pt x="282" y="1668"/>
                  </a:lnTo>
                  <a:lnTo>
                    <a:pt x="276" y="1668"/>
                  </a:lnTo>
                  <a:lnTo>
                    <a:pt x="276" y="1650"/>
                  </a:lnTo>
                  <a:lnTo>
                    <a:pt x="246" y="1626"/>
                  </a:lnTo>
                  <a:lnTo>
                    <a:pt x="246" y="1578"/>
                  </a:lnTo>
                  <a:lnTo>
                    <a:pt x="240" y="1566"/>
                  </a:lnTo>
                  <a:lnTo>
                    <a:pt x="234" y="1548"/>
                  </a:lnTo>
                  <a:lnTo>
                    <a:pt x="234" y="1536"/>
                  </a:lnTo>
                  <a:lnTo>
                    <a:pt x="228" y="1530"/>
                  </a:lnTo>
                  <a:lnTo>
                    <a:pt x="228" y="1524"/>
                  </a:lnTo>
                  <a:lnTo>
                    <a:pt x="252" y="1518"/>
                  </a:lnTo>
                  <a:lnTo>
                    <a:pt x="258" y="1500"/>
                  </a:lnTo>
                  <a:lnTo>
                    <a:pt x="258" y="1494"/>
                  </a:lnTo>
                  <a:lnTo>
                    <a:pt x="264" y="1482"/>
                  </a:lnTo>
                  <a:lnTo>
                    <a:pt x="264" y="1470"/>
                  </a:lnTo>
                  <a:lnTo>
                    <a:pt x="258" y="1464"/>
                  </a:lnTo>
                  <a:lnTo>
                    <a:pt x="252" y="1452"/>
                  </a:lnTo>
                  <a:lnTo>
                    <a:pt x="246" y="1446"/>
                  </a:lnTo>
                  <a:lnTo>
                    <a:pt x="240" y="1434"/>
                  </a:lnTo>
                  <a:lnTo>
                    <a:pt x="234" y="1428"/>
                  </a:lnTo>
                  <a:lnTo>
                    <a:pt x="246" y="1428"/>
                  </a:lnTo>
                  <a:lnTo>
                    <a:pt x="246" y="1398"/>
                  </a:lnTo>
                  <a:lnTo>
                    <a:pt x="252" y="1380"/>
                  </a:lnTo>
                  <a:lnTo>
                    <a:pt x="252" y="1356"/>
                  </a:lnTo>
                  <a:lnTo>
                    <a:pt x="270" y="1338"/>
                  </a:lnTo>
                  <a:lnTo>
                    <a:pt x="270" y="1332"/>
                  </a:lnTo>
                  <a:lnTo>
                    <a:pt x="264" y="1320"/>
                  </a:lnTo>
                  <a:lnTo>
                    <a:pt x="258" y="1314"/>
                  </a:lnTo>
                  <a:lnTo>
                    <a:pt x="252" y="1302"/>
                  </a:lnTo>
                  <a:lnTo>
                    <a:pt x="246" y="1260"/>
                  </a:lnTo>
                  <a:lnTo>
                    <a:pt x="222" y="1260"/>
                  </a:lnTo>
                  <a:lnTo>
                    <a:pt x="210" y="1248"/>
                  </a:lnTo>
                  <a:lnTo>
                    <a:pt x="210" y="1236"/>
                  </a:lnTo>
                  <a:lnTo>
                    <a:pt x="216" y="1230"/>
                  </a:lnTo>
                  <a:lnTo>
                    <a:pt x="210" y="1218"/>
                  </a:lnTo>
                  <a:lnTo>
                    <a:pt x="198" y="1188"/>
                  </a:lnTo>
                  <a:lnTo>
                    <a:pt x="180" y="1170"/>
                  </a:lnTo>
                  <a:lnTo>
                    <a:pt x="180" y="1164"/>
                  </a:lnTo>
                  <a:lnTo>
                    <a:pt x="186" y="1158"/>
                  </a:lnTo>
                  <a:lnTo>
                    <a:pt x="186" y="1146"/>
                  </a:lnTo>
                  <a:lnTo>
                    <a:pt x="168" y="1128"/>
                  </a:lnTo>
                  <a:lnTo>
                    <a:pt x="156" y="1122"/>
                  </a:lnTo>
                  <a:lnTo>
                    <a:pt x="156" y="1116"/>
                  </a:lnTo>
                  <a:lnTo>
                    <a:pt x="150" y="1110"/>
                  </a:lnTo>
                  <a:lnTo>
                    <a:pt x="150" y="1086"/>
                  </a:lnTo>
                  <a:lnTo>
                    <a:pt x="156" y="1086"/>
                  </a:lnTo>
                  <a:lnTo>
                    <a:pt x="168" y="1080"/>
                  </a:lnTo>
                  <a:lnTo>
                    <a:pt x="162" y="1026"/>
                  </a:lnTo>
                  <a:lnTo>
                    <a:pt x="186" y="1026"/>
                  </a:lnTo>
                  <a:lnTo>
                    <a:pt x="186" y="1020"/>
                  </a:lnTo>
                  <a:lnTo>
                    <a:pt x="180" y="1008"/>
                  </a:lnTo>
                  <a:lnTo>
                    <a:pt x="168" y="972"/>
                  </a:lnTo>
                  <a:lnTo>
                    <a:pt x="156" y="948"/>
                  </a:lnTo>
                  <a:lnTo>
                    <a:pt x="156" y="936"/>
                  </a:lnTo>
                  <a:lnTo>
                    <a:pt x="168" y="924"/>
                  </a:lnTo>
                  <a:lnTo>
                    <a:pt x="168" y="858"/>
                  </a:lnTo>
                  <a:lnTo>
                    <a:pt x="174" y="852"/>
                  </a:lnTo>
                  <a:lnTo>
                    <a:pt x="180" y="840"/>
                  </a:lnTo>
                  <a:lnTo>
                    <a:pt x="192" y="828"/>
                  </a:lnTo>
                  <a:lnTo>
                    <a:pt x="192" y="816"/>
                  </a:lnTo>
                  <a:lnTo>
                    <a:pt x="198" y="804"/>
                  </a:lnTo>
                  <a:lnTo>
                    <a:pt x="198" y="792"/>
                  </a:lnTo>
                  <a:lnTo>
                    <a:pt x="204" y="774"/>
                  </a:lnTo>
                  <a:lnTo>
                    <a:pt x="204" y="762"/>
                  </a:lnTo>
                  <a:lnTo>
                    <a:pt x="222" y="762"/>
                  </a:lnTo>
                  <a:lnTo>
                    <a:pt x="228" y="756"/>
                  </a:lnTo>
                  <a:lnTo>
                    <a:pt x="240" y="750"/>
                  </a:lnTo>
                  <a:lnTo>
                    <a:pt x="240" y="738"/>
                  </a:lnTo>
                  <a:lnTo>
                    <a:pt x="234" y="726"/>
                  </a:lnTo>
                  <a:lnTo>
                    <a:pt x="210" y="714"/>
                  </a:lnTo>
                  <a:lnTo>
                    <a:pt x="204" y="708"/>
                  </a:lnTo>
                  <a:lnTo>
                    <a:pt x="198" y="708"/>
                  </a:lnTo>
                  <a:lnTo>
                    <a:pt x="204" y="708"/>
                  </a:lnTo>
                  <a:lnTo>
                    <a:pt x="216" y="696"/>
                  </a:lnTo>
                  <a:lnTo>
                    <a:pt x="222" y="684"/>
                  </a:lnTo>
                  <a:lnTo>
                    <a:pt x="228" y="678"/>
                  </a:lnTo>
                  <a:lnTo>
                    <a:pt x="222" y="666"/>
                  </a:lnTo>
                  <a:lnTo>
                    <a:pt x="210" y="654"/>
                  </a:lnTo>
                  <a:lnTo>
                    <a:pt x="198" y="648"/>
                  </a:lnTo>
                  <a:lnTo>
                    <a:pt x="192" y="642"/>
                  </a:lnTo>
                  <a:lnTo>
                    <a:pt x="192" y="624"/>
                  </a:lnTo>
                  <a:lnTo>
                    <a:pt x="216" y="600"/>
                  </a:lnTo>
                  <a:lnTo>
                    <a:pt x="216" y="594"/>
                  </a:lnTo>
                  <a:lnTo>
                    <a:pt x="204" y="594"/>
                  </a:lnTo>
                  <a:lnTo>
                    <a:pt x="192" y="588"/>
                  </a:lnTo>
                  <a:lnTo>
                    <a:pt x="186" y="582"/>
                  </a:lnTo>
                  <a:lnTo>
                    <a:pt x="186" y="576"/>
                  </a:lnTo>
                  <a:lnTo>
                    <a:pt x="192" y="570"/>
                  </a:lnTo>
                  <a:lnTo>
                    <a:pt x="198" y="558"/>
                  </a:lnTo>
                  <a:lnTo>
                    <a:pt x="210" y="552"/>
                  </a:lnTo>
                  <a:lnTo>
                    <a:pt x="222" y="540"/>
                  </a:lnTo>
                  <a:lnTo>
                    <a:pt x="240" y="534"/>
                  </a:lnTo>
                  <a:lnTo>
                    <a:pt x="252" y="528"/>
                  </a:lnTo>
                  <a:lnTo>
                    <a:pt x="258" y="522"/>
                  </a:lnTo>
                  <a:lnTo>
                    <a:pt x="264" y="522"/>
                  </a:lnTo>
                  <a:lnTo>
                    <a:pt x="276" y="438"/>
                  </a:lnTo>
                  <a:lnTo>
                    <a:pt x="264" y="420"/>
                  </a:lnTo>
                  <a:lnTo>
                    <a:pt x="222" y="420"/>
                  </a:lnTo>
                  <a:lnTo>
                    <a:pt x="216" y="408"/>
                  </a:lnTo>
                  <a:lnTo>
                    <a:pt x="216" y="384"/>
                  </a:lnTo>
                  <a:lnTo>
                    <a:pt x="192" y="360"/>
                  </a:lnTo>
                  <a:lnTo>
                    <a:pt x="192" y="294"/>
                  </a:lnTo>
                  <a:lnTo>
                    <a:pt x="186" y="288"/>
                  </a:lnTo>
                  <a:lnTo>
                    <a:pt x="174" y="282"/>
                  </a:lnTo>
                  <a:lnTo>
                    <a:pt x="168" y="276"/>
                  </a:lnTo>
                  <a:lnTo>
                    <a:pt x="156" y="270"/>
                  </a:lnTo>
                  <a:lnTo>
                    <a:pt x="150" y="264"/>
                  </a:lnTo>
                  <a:lnTo>
                    <a:pt x="144" y="264"/>
                  </a:lnTo>
                  <a:lnTo>
                    <a:pt x="144" y="240"/>
                  </a:lnTo>
                  <a:lnTo>
                    <a:pt x="138" y="234"/>
                  </a:lnTo>
                  <a:lnTo>
                    <a:pt x="132" y="222"/>
                  </a:lnTo>
                  <a:lnTo>
                    <a:pt x="132" y="210"/>
                  </a:lnTo>
                  <a:lnTo>
                    <a:pt x="138" y="204"/>
                  </a:lnTo>
                  <a:lnTo>
                    <a:pt x="144" y="192"/>
                  </a:lnTo>
                  <a:lnTo>
                    <a:pt x="150" y="186"/>
                  </a:lnTo>
                  <a:lnTo>
                    <a:pt x="132" y="168"/>
                  </a:lnTo>
                  <a:lnTo>
                    <a:pt x="144" y="156"/>
                  </a:lnTo>
                  <a:lnTo>
                    <a:pt x="150" y="144"/>
                  </a:lnTo>
                  <a:lnTo>
                    <a:pt x="150" y="138"/>
                  </a:lnTo>
                  <a:lnTo>
                    <a:pt x="144" y="126"/>
                  </a:lnTo>
                  <a:lnTo>
                    <a:pt x="120" y="114"/>
                  </a:lnTo>
                  <a:lnTo>
                    <a:pt x="114" y="114"/>
                  </a:lnTo>
                  <a:lnTo>
                    <a:pt x="102" y="108"/>
                  </a:lnTo>
                  <a:lnTo>
                    <a:pt x="90" y="30"/>
                  </a:lnTo>
                  <a:lnTo>
                    <a:pt x="66" y="30"/>
                  </a:lnTo>
                  <a:lnTo>
                    <a:pt x="48" y="0"/>
                  </a:lnTo>
                  <a:lnTo>
                    <a:pt x="36" y="6"/>
                  </a:lnTo>
                  <a:lnTo>
                    <a:pt x="42" y="18"/>
                  </a:lnTo>
                  <a:lnTo>
                    <a:pt x="42" y="36"/>
                  </a:lnTo>
                  <a:lnTo>
                    <a:pt x="36" y="42"/>
                  </a:lnTo>
                  <a:lnTo>
                    <a:pt x="0" y="66"/>
                  </a:lnTo>
                  <a:lnTo>
                    <a:pt x="0" y="108"/>
                  </a:lnTo>
                  <a:lnTo>
                    <a:pt x="24" y="156"/>
                  </a:lnTo>
                  <a:lnTo>
                    <a:pt x="30" y="174"/>
                  </a:lnTo>
                  <a:lnTo>
                    <a:pt x="36" y="228"/>
                  </a:lnTo>
                  <a:lnTo>
                    <a:pt x="36" y="282"/>
                  </a:lnTo>
                  <a:lnTo>
                    <a:pt x="48" y="318"/>
                  </a:lnTo>
                  <a:lnTo>
                    <a:pt x="48" y="360"/>
                  </a:lnTo>
                  <a:lnTo>
                    <a:pt x="54" y="384"/>
                  </a:lnTo>
                  <a:lnTo>
                    <a:pt x="54" y="432"/>
                  </a:lnTo>
                  <a:lnTo>
                    <a:pt x="30" y="444"/>
                  </a:lnTo>
                  <a:lnTo>
                    <a:pt x="36" y="474"/>
                  </a:lnTo>
                  <a:lnTo>
                    <a:pt x="54" y="486"/>
                  </a:lnTo>
                  <a:lnTo>
                    <a:pt x="48" y="582"/>
                  </a:lnTo>
                  <a:lnTo>
                    <a:pt x="72" y="624"/>
                  </a:lnTo>
                  <a:lnTo>
                    <a:pt x="54" y="642"/>
                  </a:lnTo>
                  <a:lnTo>
                    <a:pt x="60" y="702"/>
                  </a:lnTo>
                  <a:lnTo>
                    <a:pt x="66" y="708"/>
                  </a:lnTo>
                  <a:lnTo>
                    <a:pt x="78" y="732"/>
                  </a:lnTo>
                  <a:lnTo>
                    <a:pt x="78" y="744"/>
                  </a:lnTo>
                  <a:lnTo>
                    <a:pt x="72" y="756"/>
                  </a:lnTo>
                  <a:lnTo>
                    <a:pt x="66" y="762"/>
                  </a:lnTo>
                  <a:lnTo>
                    <a:pt x="60" y="762"/>
                  </a:lnTo>
                  <a:lnTo>
                    <a:pt x="60" y="792"/>
                  </a:lnTo>
                  <a:lnTo>
                    <a:pt x="72" y="810"/>
                  </a:lnTo>
                  <a:lnTo>
                    <a:pt x="60" y="822"/>
                  </a:lnTo>
                  <a:lnTo>
                    <a:pt x="48" y="846"/>
                  </a:lnTo>
                  <a:lnTo>
                    <a:pt x="48" y="852"/>
                  </a:lnTo>
                  <a:lnTo>
                    <a:pt x="60" y="852"/>
                  </a:lnTo>
                  <a:lnTo>
                    <a:pt x="60" y="864"/>
                  </a:lnTo>
                  <a:lnTo>
                    <a:pt x="66" y="870"/>
                  </a:lnTo>
                  <a:lnTo>
                    <a:pt x="66" y="888"/>
                  </a:lnTo>
                  <a:lnTo>
                    <a:pt x="54" y="900"/>
                  </a:lnTo>
                  <a:lnTo>
                    <a:pt x="54" y="906"/>
                  </a:lnTo>
                  <a:lnTo>
                    <a:pt x="48" y="912"/>
                  </a:lnTo>
                  <a:lnTo>
                    <a:pt x="48" y="936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66" y="954"/>
                  </a:lnTo>
                  <a:lnTo>
                    <a:pt x="78" y="966"/>
                  </a:lnTo>
                  <a:lnTo>
                    <a:pt x="78" y="1020"/>
                  </a:lnTo>
                  <a:lnTo>
                    <a:pt x="60" y="1020"/>
                  </a:lnTo>
                  <a:lnTo>
                    <a:pt x="60" y="1044"/>
                  </a:lnTo>
                  <a:lnTo>
                    <a:pt x="66" y="1056"/>
                  </a:lnTo>
                  <a:lnTo>
                    <a:pt x="90" y="1128"/>
                  </a:lnTo>
                  <a:lnTo>
                    <a:pt x="96" y="1140"/>
                  </a:lnTo>
                  <a:lnTo>
                    <a:pt x="102" y="1146"/>
                  </a:lnTo>
                  <a:lnTo>
                    <a:pt x="102" y="1164"/>
                  </a:lnTo>
                  <a:lnTo>
                    <a:pt x="108" y="1170"/>
                  </a:lnTo>
                  <a:lnTo>
                    <a:pt x="114" y="1182"/>
                  </a:lnTo>
                  <a:lnTo>
                    <a:pt x="120" y="1188"/>
                  </a:lnTo>
                  <a:lnTo>
                    <a:pt x="120" y="1236"/>
                  </a:lnTo>
                  <a:lnTo>
                    <a:pt x="114" y="1266"/>
                  </a:lnTo>
                  <a:lnTo>
                    <a:pt x="138" y="1290"/>
                  </a:lnTo>
                  <a:lnTo>
                    <a:pt x="138" y="1296"/>
                  </a:lnTo>
                  <a:lnTo>
                    <a:pt x="132" y="1302"/>
                  </a:lnTo>
                  <a:lnTo>
                    <a:pt x="126" y="1314"/>
                  </a:lnTo>
                  <a:lnTo>
                    <a:pt x="126" y="1326"/>
                  </a:lnTo>
                  <a:lnTo>
                    <a:pt x="120" y="1338"/>
                  </a:lnTo>
                  <a:lnTo>
                    <a:pt x="120" y="1416"/>
                  </a:lnTo>
                  <a:lnTo>
                    <a:pt x="102" y="1452"/>
                  </a:lnTo>
                  <a:lnTo>
                    <a:pt x="114" y="1464"/>
                  </a:lnTo>
                  <a:lnTo>
                    <a:pt x="114" y="1470"/>
                  </a:lnTo>
                  <a:lnTo>
                    <a:pt x="108" y="1476"/>
                  </a:lnTo>
                  <a:lnTo>
                    <a:pt x="108" y="1536"/>
                  </a:lnTo>
                  <a:lnTo>
                    <a:pt x="102" y="1554"/>
                  </a:lnTo>
                  <a:lnTo>
                    <a:pt x="102" y="1578"/>
                  </a:lnTo>
                  <a:lnTo>
                    <a:pt x="84" y="1584"/>
                  </a:lnTo>
                  <a:lnTo>
                    <a:pt x="84" y="1608"/>
                  </a:lnTo>
                  <a:lnTo>
                    <a:pt x="108" y="1650"/>
                  </a:lnTo>
                  <a:lnTo>
                    <a:pt x="108" y="1692"/>
                  </a:lnTo>
                  <a:lnTo>
                    <a:pt x="114" y="1704"/>
                  </a:lnTo>
                  <a:lnTo>
                    <a:pt x="144" y="1734"/>
                  </a:lnTo>
                  <a:lnTo>
                    <a:pt x="156" y="1758"/>
                  </a:lnTo>
                  <a:lnTo>
                    <a:pt x="156" y="1800"/>
                  </a:lnTo>
                  <a:lnTo>
                    <a:pt x="150" y="1812"/>
                  </a:lnTo>
                  <a:lnTo>
                    <a:pt x="150" y="1824"/>
                  </a:lnTo>
                  <a:lnTo>
                    <a:pt x="162" y="1836"/>
                  </a:lnTo>
                  <a:lnTo>
                    <a:pt x="162" y="1896"/>
                  </a:lnTo>
                  <a:lnTo>
                    <a:pt x="168" y="1908"/>
                  </a:lnTo>
                  <a:lnTo>
                    <a:pt x="174" y="1914"/>
                  </a:lnTo>
                  <a:lnTo>
                    <a:pt x="186" y="1920"/>
                  </a:lnTo>
                  <a:lnTo>
                    <a:pt x="192" y="1926"/>
                  </a:lnTo>
                  <a:lnTo>
                    <a:pt x="198" y="1926"/>
                  </a:lnTo>
                  <a:lnTo>
                    <a:pt x="192" y="1944"/>
                  </a:lnTo>
                  <a:lnTo>
                    <a:pt x="234" y="1944"/>
                  </a:lnTo>
                  <a:lnTo>
                    <a:pt x="234" y="1914"/>
                  </a:lnTo>
                  <a:lnTo>
                    <a:pt x="246" y="1926"/>
                  </a:lnTo>
                  <a:lnTo>
                    <a:pt x="258" y="1932"/>
                  </a:lnTo>
                  <a:lnTo>
                    <a:pt x="270" y="1932"/>
                  </a:lnTo>
                  <a:lnTo>
                    <a:pt x="276" y="1926"/>
                  </a:lnTo>
                  <a:lnTo>
                    <a:pt x="276" y="1914"/>
                  </a:lnTo>
                  <a:lnTo>
                    <a:pt x="288" y="1932"/>
                  </a:lnTo>
                  <a:lnTo>
                    <a:pt x="282" y="1938"/>
                  </a:lnTo>
                  <a:lnTo>
                    <a:pt x="270" y="1944"/>
                  </a:lnTo>
                  <a:lnTo>
                    <a:pt x="264" y="1956"/>
                  </a:lnTo>
                  <a:lnTo>
                    <a:pt x="258" y="1962"/>
                  </a:lnTo>
                  <a:lnTo>
                    <a:pt x="258" y="1968"/>
                  </a:lnTo>
                  <a:lnTo>
                    <a:pt x="288" y="1968"/>
                  </a:lnTo>
                  <a:lnTo>
                    <a:pt x="294" y="1974"/>
                  </a:lnTo>
                  <a:lnTo>
                    <a:pt x="294" y="1992"/>
                  </a:lnTo>
                  <a:lnTo>
                    <a:pt x="270" y="1986"/>
                  </a:lnTo>
                  <a:lnTo>
                    <a:pt x="288" y="2010"/>
                  </a:lnTo>
                  <a:lnTo>
                    <a:pt x="276" y="2022"/>
                  </a:lnTo>
                  <a:lnTo>
                    <a:pt x="294" y="2046"/>
                  </a:lnTo>
                  <a:lnTo>
                    <a:pt x="276" y="2064"/>
                  </a:lnTo>
                  <a:lnTo>
                    <a:pt x="270" y="2076"/>
                  </a:lnTo>
                  <a:lnTo>
                    <a:pt x="270" y="2082"/>
                  </a:lnTo>
                  <a:lnTo>
                    <a:pt x="276" y="2088"/>
                  </a:lnTo>
                  <a:lnTo>
                    <a:pt x="282" y="2088"/>
                  </a:lnTo>
                  <a:lnTo>
                    <a:pt x="306" y="2100"/>
                  </a:lnTo>
                  <a:lnTo>
                    <a:pt x="318" y="2100"/>
                  </a:lnTo>
                  <a:lnTo>
                    <a:pt x="300" y="2118"/>
                  </a:lnTo>
                  <a:lnTo>
                    <a:pt x="300" y="2130"/>
                  </a:lnTo>
                  <a:lnTo>
                    <a:pt x="312" y="2136"/>
                  </a:lnTo>
                  <a:lnTo>
                    <a:pt x="318" y="2142"/>
                  </a:lnTo>
                  <a:lnTo>
                    <a:pt x="330" y="2148"/>
                  </a:lnTo>
                  <a:lnTo>
                    <a:pt x="354" y="2148"/>
                  </a:lnTo>
                  <a:lnTo>
                    <a:pt x="360" y="2184"/>
                  </a:lnTo>
                  <a:lnTo>
                    <a:pt x="354" y="2184"/>
                  </a:lnTo>
                  <a:lnTo>
                    <a:pt x="324" y="2214"/>
                  </a:lnTo>
                  <a:lnTo>
                    <a:pt x="324" y="2220"/>
                  </a:lnTo>
                  <a:lnTo>
                    <a:pt x="330" y="2226"/>
                  </a:lnTo>
                  <a:lnTo>
                    <a:pt x="354" y="2226"/>
                  </a:lnTo>
                  <a:lnTo>
                    <a:pt x="366" y="2232"/>
                  </a:lnTo>
                  <a:lnTo>
                    <a:pt x="378" y="2244"/>
                  </a:lnTo>
                  <a:lnTo>
                    <a:pt x="348" y="2244"/>
                  </a:lnTo>
                  <a:lnTo>
                    <a:pt x="342" y="2238"/>
                  </a:lnTo>
                  <a:lnTo>
                    <a:pt x="330" y="2238"/>
                  </a:lnTo>
                  <a:lnTo>
                    <a:pt x="324" y="2244"/>
                  </a:lnTo>
                  <a:lnTo>
                    <a:pt x="324" y="2250"/>
                  </a:lnTo>
                  <a:lnTo>
                    <a:pt x="354" y="2256"/>
                  </a:lnTo>
                  <a:lnTo>
                    <a:pt x="330" y="2268"/>
                  </a:lnTo>
                  <a:lnTo>
                    <a:pt x="336" y="2292"/>
                  </a:lnTo>
                  <a:lnTo>
                    <a:pt x="348" y="2292"/>
                  </a:lnTo>
                  <a:lnTo>
                    <a:pt x="348" y="2316"/>
                  </a:lnTo>
                  <a:lnTo>
                    <a:pt x="336" y="2328"/>
                  </a:lnTo>
                  <a:lnTo>
                    <a:pt x="336" y="2322"/>
                  </a:lnTo>
                  <a:lnTo>
                    <a:pt x="330" y="2316"/>
                  </a:lnTo>
                  <a:lnTo>
                    <a:pt x="324" y="2304"/>
                  </a:lnTo>
                  <a:lnTo>
                    <a:pt x="324" y="2298"/>
                  </a:lnTo>
                  <a:lnTo>
                    <a:pt x="288" y="2298"/>
                  </a:lnTo>
                  <a:lnTo>
                    <a:pt x="306" y="2292"/>
                  </a:lnTo>
                  <a:lnTo>
                    <a:pt x="282" y="2268"/>
                  </a:lnTo>
                  <a:lnTo>
                    <a:pt x="276" y="2268"/>
                  </a:lnTo>
                  <a:lnTo>
                    <a:pt x="276" y="2280"/>
                  </a:lnTo>
                  <a:lnTo>
                    <a:pt x="270" y="2268"/>
                  </a:lnTo>
                  <a:lnTo>
                    <a:pt x="228" y="2280"/>
                  </a:lnTo>
                  <a:lnTo>
                    <a:pt x="264" y="2286"/>
                  </a:lnTo>
                  <a:lnTo>
                    <a:pt x="258" y="2292"/>
                  </a:lnTo>
                  <a:lnTo>
                    <a:pt x="252" y="2304"/>
                  </a:lnTo>
                  <a:lnTo>
                    <a:pt x="246" y="2310"/>
                  </a:lnTo>
                  <a:lnTo>
                    <a:pt x="234" y="2316"/>
                  </a:lnTo>
                  <a:lnTo>
                    <a:pt x="228" y="2328"/>
                  </a:lnTo>
                  <a:lnTo>
                    <a:pt x="222" y="2334"/>
                  </a:lnTo>
                  <a:lnTo>
                    <a:pt x="222" y="2340"/>
                  </a:lnTo>
                  <a:lnTo>
                    <a:pt x="228" y="2346"/>
                  </a:lnTo>
                  <a:lnTo>
                    <a:pt x="240" y="2352"/>
                  </a:lnTo>
                  <a:lnTo>
                    <a:pt x="252" y="2352"/>
                  </a:lnTo>
                  <a:lnTo>
                    <a:pt x="252" y="2346"/>
                  </a:lnTo>
                  <a:lnTo>
                    <a:pt x="240" y="2334"/>
                  </a:lnTo>
                  <a:lnTo>
                    <a:pt x="264" y="2328"/>
                  </a:lnTo>
                  <a:lnTo>
                    <a:pt x="282" y="2346"/>
                  </a:lnTo>
                  <a:lnTo>
                    <a:pt x="324" y="2346"/>
                  </a:lnTo>
                  <a:lnTo>
                    <a:pt x="336" y="2352"/>
                  </a:lnTo>
                  <a:lnTo>
                    <a:pt x="342" y="2364"/>
                  </a:lnTo>
                  <a:lnTo>
                    <a:pt x="354" y="2370"/>
                  </a:lnTo>
                  <a:lnTo>
                    <a:pt x="354" y="2376"/>
                  </a:lnTo>
                  <a:lnTo>
                    <a:pt x="336" y="2394"/>
                  </a:lnTo>
                  <a:lnTo>
                    <a:pt x="342" y="2406"/>
                  </a:lnTo>
                  <a:lnTo>
                    <a:pt x="360" y="2406"/>
                  </a:lnTo>
                  <a:lnTo>
                    <a:pt x="360" y="2418"/>
                  </a:lnTo>
                  <a:lnTo>
                    <a:pt x="378" y="2424"/>
                  </a:lnTo>
                  <a:lnTo>
                    <a:pt x="384" y="2406"/>
                  </a:lnTo>
                  <a:lnTo>
                    <a:pt x="402" y="2424"/>
                  </a:lnTo>
                  <a:lnTo>
                    <a:pt x="408" y="2424"/>
                  </a:lnTo>
                  <a:lnTo>
                    <a:pt x="420" y="2430"/>
                  </a:lnTo>
                  <a:lnTo>
                    <a:pt x="426" y="2436"/>
                  </a:lnTo>
                  <a:lnTo>
                    <a:pt x="426" y="2448"/>
                  </a:lnTo>
                  <a:lnTo>
                    <a:pt x="414" y="2460"/>
                  </a:lnTo>
                  <a:lnTo>
                    <a:pt x="408" y="2454"/>
                  </a:lnTo>
                  <a:lnTo>
                    <a:pt x="396" y="2454"/>
                  </a:lnTo>
                  <a:lnTo>
                    <a:pt x="384" y="2448"/>
                  </a:lnTo>
                  <a:lnTo>
                    <a:pt x="378" y="2442"/>
                  </a:lnTo>
                  <a:lnTo>
                    <a:pt x="366" y="2442"/>
                  </a:lnTo>
                  <a:lnTo>
                    <a:pt x="366" y="2454"/>
                  </a:lnTo>
                  <a:lnTo>
                    <a:pt x="372" y="2460"/>
                  </a:lnTo>
                  <a:lnTo>
                    <a:pt x="378" y="2460"/>
                  </a:lnTo>
                  <a:lnTo>
                    <a:pt x="390" y="2472"/>
                  </a:lnTo>
                  <a:lnTo>
                    <a:pt x="402" y="2496"/>
                  </a:lnTo>
                  <a:lnTo>
                    <a:pt x="402" y="2508"/>
                  </a:lnTo>
                  <a:lnTo>
                    <a:pt x="384" y="2508"/>
                  </a:lnTo>
                  <a:lnTo>
                    <a:pt x="396" y="2526"/>
                  </a:lnTo>
                  <a:lnTo>
                    <a:pt x="414" y="2562"/>
                  </a:lnTo>
                  <a:lnTo>
                    <a:pt x="426" y="2520"/>
                  </a:lnTo>
                  <a:lnTo>
                    <a:pt x="426" y="2550"/>
                  </a:lnTo>
                  <a:lnTo>
                    <a:pt x="444" y="2574"/>
                  </a:lnTo>
                  <a:lnTo>
                    <a:pt x="420" y="2574"/>
                  </a:lnTo>
                  <a:lnTo>
                    <a:pt x="426" y="2592"/>
                  </a:lnTo>
                  <a:lnTo>
                    <a:pt x="450" y="2592"/>
                  </a:lnTo>
                  <a:lnTo>
                    <a:pt x="432" y="2604"/>
                  </a:lnTo>
                  <a:lnTo>
                    <a:pt x="462" y="2616"/>
                  </a:lnTo>
                  <a:lnTo>
                    <a:pt x="444" y="2628"/>
                  </a:lnTo>
                  <a:lnTo>
                    <a:pt x="474" y="2640"/>
                  </a:lnTo>
                  <a:lnTo>
                    <a:pt x="462" y="2652"/>
                  </a:lnTo>
                  <a:lnTo>
                    <a:pt x="480" y="2658"/>
                  </a:lnTo>
                  <a:lnTo>
                    <a:pt x="480" y="2652"/>
                  </a:lnTo>
                  <a:lnTo>
                    <a:pt x="486" y="2640"/>
                  </a:lnTo>
                  <a:lnTo>
                    <a:pt x="486" y="2634"/>
                  </a:lnTo>
                  <a:lnTo>
                    <a:pt x="492" y="2634"/>
                  </a:lnTo>
                  <a:lnTo>
                    <a:pt x="498" y="2640"/>
                  </a:lnTo>
                  <a:lnTo>
                    <a:pt x="504" y="2652"/>
                  </a:lnTo>
                  <a:lnTo>
                    <a:pt x="498" y="2658"/>
                  </a:lnTo>
                  <a:lnTo>
                    <a:pt x="498" y="2664"/>
                  </a:lnTo>
                  <a:lnTo>
                    <a:pt x="492" y="2664"/>
                  </a:lnTo>
                  <a:lnTo>
                    <a:pt x="480" y="2676"/>
                  </a:lnTo>
                  <a:lnTo>
                    <a:pt x="480" y="2682"/>
                  </a:lnTo>
                  <a:lnTo>
                    <a:pt x="486" y="2688"/>
                  </a:lnTo>
                  <a:lnTo>
                    <a:pt x="516" y="2688"/>
                  </a:lnTo>
                  <a:lnTo>
                    <a:pt x="516" y="2700"/>
                  </a:lnTo>
                  <a:lnTo>
                    <a:pt x="540" y="2724"/>
                  </a:lnTo>
                  <a:lnTo>
                    <a:pt x="552" y="2730"/>
                  </a:lnTo>
                  <a:lnTo>
                    <a:pt x="558" y="2736"/>
                  </a:lnTo>
                  <a:lnTo>
                    <a:pt x="558" y="2700"/>
                  </a:lnTo>
                  <a:lnTo>
                    <a:pt x="564" y="2700"/>
                  </a:lnTo>
                  <a:lnTo>
                    <a:pt x="570" y="2706"/>
                  </a:lnTo>
                  <a:lnTo>
                    <a:pt x="582" y="2712"/>
                  </a:lnTo>
                  <a:lnTo>
                    <a:pt x="600" y="2718"/>
                  </a:lnTo>
                  <a:lnTo>
                    <a:pt x="624" y="2742"/>
                  </a:lnTo>
                  <a:lnTo>
                    <a:pt x="618" y="2748"/>
                  </a:lnTo>
                  <a:lnTo>
                    <a:pt x="618" y="2754"/>
                  </a:lnTo>
                  <a:lnTo>
                    <a:pt x="612" y="2760"/>
                  </a:lnTo>
                  <a:lnTo>
                    <a:pt x="630" y="2766"/>
                  </a:lnTo>
                  <a:lnTo>
                    <a:pt x="630" y="2790"/>
                  </a:lnTo>
                  <a:lnTo>
                    <a:pt x="684" y="2790"/>
                  </a:lnTo>
                  <a:lnTo>
                    <a:pt x="696" y="2802"/>
                  </a:lnTo>
                  <a:lnTo>
                    <a:pt x="666" y="2802"/>
                  </a:lnTo>
                  <a:lnTo>
                    <a:pt x="654" y="2814"/>
                  </a:lnTo>
                  <a:lnTo>
                    <a:pt x="630" y="2814"/>
                  </a:lnTo>
                  <a:lnTo>
                    <a:pt x="618" y="2832"/>
                  </a:lnTo>
                  <a:lnTo>
                    <a:pt x="648" y="2832"/>
                  </a:lnTo>
                  <a:lnTo>
                    <a:pt x="636" y="2850"/>
                  </a:lnTo>
                  <a:lnTo>
                    <a:pt x="666" y="2844"/>
                  </a:lnTo>
                  <a:lnTo>
                    <a:pt x="666" y="2826"/>
                  </a:lnTo>
                  <a:lnTo>
                    <a:pt x="690" y="2838"/>
                  </a:lnTo>
                  <a:lnTo>
                    <a:pt x="696" y="2826"/>
                  </a:lnTo>
                  <a:lnTo>
                    <a:pt x="702" y="2820"/>
                  </a:lnTo>
                  <a:lnTo>
                    <a:pt x="714" y="2814"/>
                  </a:lnTo>
                  <a:lnTo>
                    <a:pt x="720" y="2808"/>
                  </a:lnTo>
                  <a:lnTo>
                    <a:pt x="732" y="2808"/>
                  </a:lnTo>
                  <a:lnTo>
                    <a:pt x="732" y="2820"/>
                  </a:lnTo>
                  <a:lnTo>
                    <a:pt x="726" y="2832"/>
                  </a:lnTo>
                  <a:lnTo>
                    <a:pt x="702" y="2856"/>
                  </a:lnTo>
                  <a:lnTo>
                    <a:pt x="696" y="2850"/>
                  </a:lnTo>
                  <a:lnTo>
                    <a:pt x="678" y="2850"/>
                  </a:lnTo>
                  <a:lnTo>
                    <a:pt x="678" y="2868"/>
                  </a:lnTo>
                  <a:lnTo>
                    <a:pt x="642" y="2868"/>
                  </a:lnTo>
                  <a:lnTo>
                    <a:pt x="630" y="2880"/>
                  </a:lnTo>
                  <a:lnTo>
                    <a:pt x="642" y="2886"/>
                  </a:lnTo>
                  <a:lnTo>
                    <a:pt x="648" y="2916"/>
                  </a:lnTo>
                  <a:lnTo>
                    <a:pt x="678" y="2898"/>
                  </a:lnTo>
                  <a:lnTo>
                    <a:pt x="684" y="2910"/>
                  </a:lnTo>
                  <a:lnTo>
                    <a:pt x="684" y="2916"/>
                  </a:lnTo>
                  <a:lnTo>
                    <a:pt x="690" y="2916"/>
                  </a:lnTo>
                  <a:lnTo>
                    <a:pt x="696" y="2910"/>
                  </a:lnTo>
                  <a:lnTo>
                    <a:pt x="702" y="2898"/>
                  </a:lnTo>
                  <a:lnTo>
                    <a:pt x="702" y="2892"/>
                  </a:lnTo>
                  <a:lnTo>
                    <a:pt x="708" y="2880"/>
                  </a:lnTo>
                  <a:lnTo>
                    <a:pt x="714" y="287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158" name="China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6059142" y="2969999"/>
              <a:ext cx="1186413" cy="878174"/>
            </a:xfrm>
            <a:custGeom>
              <a:avLst/>
              <a:gdLst>
                <a:gd name="T0" fmla="*/ 2147483647 w 3660"/>
                <a:gd name="T1" fmla="*/ 2147483647 h 2826"/>
                <a:gd name="T2" fmla="*/ 2147483647 w 3660"/>
                <a:gd name="T3" fmla="*/ 2147483647 h 2826"/>
                <a:gd name="T4" fmla="*/ 2147483647 w 3660"/>
                <a:gd name="T5" fmla="*/ 2147483647 h 2826"/>
                <a:gd name="T6" fmla="*/ 2147483647 w 3660"/>
                <a:gd name="T7" fmla="*/ 2147483647 h 2826"/>
                <a:gd name="T8" fmla="*/ 2147483647 w 3660"/>
                <a:gd name="T9" fmla="*/ 2147483647 h 2826"/>
                <a:gd name="T10" fmla="*/ 2147483647 w 3660"/>
                <a:gd name="T11" fmla="*/ 2147483647 h 2826"/>
                <a:gd name="T12" fmla="*/ 2147483647 w 3660"/>
                <a:gd name="T13" fmla="*/ 2147483647 h 2826"/>
                <a:gd name="T14" fmla="*/ 2147483647 w 3660"/>
                <a:gd name="T15" fmla="*/ 2147483647 h 2826"/>
                <a:gd name="T16" fmla="*/ 2147483647 w 3660"/>
                <a:gd name="T17" fmla="*/ 2147483647 h 2826"/>
                <a:gd name="T18" fmla="*/ 2147483647 w 3660"/>
                <a:gd name="T19" fmla="*/ 2147483647 h 2826"/>
                <a:gd name="T20" fmla="*/ 2147483647 w 3660"/>
                <a:gd name="T21" fmla="*/ 2147483647 h 2826"/>
                <a:gd name="T22" fmla="*/ 2147483647 w 3660"/>
                <a:gd name="T23" fmla="*/ 2147483647 h 2826"/>
                <a:gd name="T24" fmla="*/ 2147483647 w 3660"/>
                <a:gd name="T25" fmla="*/ 2147483647 h 2826"/>
                <a:gd name="T26" fmla="*/ 2147483647 w 3660"/>
                <a:gd name="T27" fmla="*/ 2147483647 h 2826"/>
                <a:gd name="T28" fmla="*/ 2147483647 w 3660"/>
                <a:gd name="T29" fmla="*/ 2147483647 h 2826"/>
                <a:gd name="T30" fmla="*/ 2147483647 w 3660"/>
                <a:gd name="T31" fmla="*/ 2147483647 h 2826"/>
                <a:gd name="T32" fmla="*/ 2147483647 w 3660"/>
                <a:gd name="T33" fmla="*/ 2147483647 h 2826"/>
                <a:gd name="T34" fmla="*/ 2147483647 w 3660"/>
                <a:gd name="T35" fmla="*/ 2147483647 h 2826"/>
                <a:gd name="T36" fmla="*/ 2147483647 w 3660"/>
                <a:gd name="T37" fmla="*/ 2147483647 h 2826"/>
                <a:gd name="T38" fmla="*/ 2147483647 w 3660"/>
                <a:gd name="T39" fmla="*/ 2147483647 h 2826"/>
                <a:gd name="T40" fmla="*/ 2147483647 w 3660"/>
                <a:gd name="T41" fmla="*/ 2147483647 h 2826"/>
                <a:gd name="T42" fmla="*/ 2147483647 w 3660"/>
                <a:gd name="T43" fmla="*/ 2147483647 h 2826"/>
                <a:gd name="T44" fmla="*/ 2147483647 w 3660"/>
                <a:gd name="T45" fmla="*/ 2147483647 h 2826"/>
                <a:gd name="T46" fmla="*/ 0 w 3660"/>
                <a:gd name="T47" fmla="*/ 2147483647 h 2826"/>
                <a:gd name="T48" fmla="*/ 2147483647 w 3660"/>
                <a:gd name="T49" fmla="*/ 2147483647 h 2826"/>
                <a:gd name="T50" fmla="*/ 2147483647 w 3660"/>
                <a:gd name="T51" fmla="*/ 2147483647 h 2826"/>
                <a:gd name="T52" fmla="*/ 2147483647 w 3660"/>
                <a:gd name="T53" fmla="*/ 2147483647 h 2826"/>
                <a:gd name="T54" fmla="*/ 2147483647 w 3660"/>
                <a:gd name="T55" fmla="*/ 2147483647 h 2826"/>
                <a:gd name="T56" fmla="*/ 2147483647 w 3660"/>
                <a:gd name="T57" fmla="*/ 2147483647 h 2826"/>
                <a:gd name="T58" fmla="*/ 2147483647 w 3660"/>
                <a:gd name="T59" fmla="*/ 2147483647 h 2826"/>
                <a:gd name="T60" fmla="*/ 2147483647 w 3660"/>
                <a:gd name="T61" fmla="*/ 2147483647 h 2826"/>
                <a:gd name="T62" fmla="*/ 2147483647 w 3660"/>
                <a:gd name="T63" fmla="*/ 2147483647 h 2826"/>
                <a:gd name="T64" fmla="*/ 2147483647 w 3660"/>
                <a:gd name="T65" fmla="*/ 2147483647 h 2826"/>
                <a:gd name="T66" fmla="*/ 2147483647 w 3660"/>
                <a:gd name="T67" fmla="*/ 2147483647 h 2826"/>
                <a:gd name="T68" fmla="*/ 2147483647 w 3660"/>
                <a:gd name="T69" fmla="*/ 2147483647 h 2826"/>
                <a:gd name="T70" fmla="*/ 2147483647 w 3660"/>
                <a:gd name="T71" fmla="*/ 2147483647 h 2826"/>
                <a:gd name="T72" fmla="*/ 2147483647 w 3660"/>
                <a:gd name="T73" fmla="*/ 2147483647 h 2826"/>
                <a:gd name="T74" fmla="*/ 2147483647 w 3660"/>
                <a:gd name="T75" fmla="*/ 2147483647 h 2826"/>
                <a:gd name="T76" fmla="*/ 2147483647 w 3660"/>
                <a:gd name="T77" fmla="*/ 2147483647 h 2826"/>
                <a:gd name="T78" fmla="*/ 2147483647 w 3660"/>
                <a:gd name="T79" fmla="*/ 2147483647 h 2826"/>
                <a:gd name="T80" fmla="*/ 2147483647 w 3660"/>
                <a:gd name="T81" fmla="*/ 2147483647 h 2826"/>
                <a:gd name="T82" fmla="*/ 2147483647 w 3660"/>
                <a:gd name="T83" fmla="*/ 2147483647 h 2826"/>
                <a:gd name="T84" fmla="*/ 2147483647 w 3660"/>
                <a:gd name="T85" fmla="*/ 2147483647 h 2826"/>
                <a:gd name="T86" fmla="*/ 2147483647 w 3660"/>
                <a:gd name="T87" fmla="*/ 2147483647 h 2826"/>
                <a:gd name="T88" fmla="*/ 2147483647 w 3660"/>
                <a:gd name="T89" fmla="*/ 2147483647 h 2826"/>
                <a:gd name="T90" fmla="*/ 2147483647 w 3660"/>
                <a:gd name="T91" fmla="*/ 2147483647 h 2826"/>
                <a:gd name="T92" fmla="*/ 2147483647 w 3660"/>
                <a:gd name="T93" fmla="*/ 2147483647 h 2826"/>
                <a:gd name="T94" fmla="*/ 2147483647 w 3660"/>
                <a:gd name="T95" fmla="*/ 2147483647 h 2826"/>
                <a:gd name="T96" fmla="*/ 2147483647 w 3660"/>
                <a:gd name="T97" fmla="*/ 2147483647 h 2826"/>
                <a:gd name="T98" fmla="*/ 2147483647 w 3660"/>
                <a:gd name="T99" fmla="*/ 2147483647 h 2826"/>
                <a:gd name="T100" fmla="*/ 2147483647 w 3660"/>
                <a:gd name="T101" fmla="*/ 2147483647 h 2826"/>
                <a:gd name="T102" fmla="*/ 2147483647 w 3660"/>
                <a:gd name="T103" fmla="*/ 2147483647 h 2826"/>
                <a:gd name="T104" fmla="*/ 2147483647 w 3660"/>
                <a:gd name="T105" fmla="*/ 2147483647 h 2826"/>
                <a:gd name="T106" fmla="*/ 2147483647 w 3660"/>
                <a:gd name="T107" fmla="*/ 2147483647 h 2826"/>
                <a:gd name="T108" fmla="*/ 2147483647 w 3660"/>
                <a:gd name="T109" fmla="*/ 2147483647 h 2826"/>
                <a:gd name="T110" fmla="*/ 2147483647 w 3660"/>
                <a:gd name="T111" fmla="*/ 2147483647 h 2826"/>
                <a:gd name="T112" fmla="*/ 2147483647 w 3660"/>
                <a:gd name="T113" fmla="*/ 2147483647 h 2826"/>
                <a:gd name="T114" fmla="*/ 2147483647 w 3660"/>
                <a:gd name="T115" fmla="*/ 2147483647 h 2826"/>
                <a:gd name="T116" fmla="*/ 2147483647 w 3660"/>
                <a:gd name="T117" fmla="*/ 2147483647 h 2826"/>
                <a:gd name="T118" fmla="*/ 2147483647 w 3660"/>
                <a:gd name="T119" fmla="*/ 2147483647 h 2826"/>
                <a:gd name="T120" fmla="*/ 2147483647 w 3660"/>
                <a:gd name="T121" fmla="*/ 2147483647 h 2826"/>
                <a:gd name="T122" fmla="*/ 2147483647 w 3660"/>
                <a:gd name="T123" fmla="*/ 2147483647 h 282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660"/>
                <a:gd name="T187" fmla="*/ 0 h 2826"/>
                <a:gd name="T188" fmla="*/ 3660 w 3660"/>
                <a:gd name="T189" fmla="*/ 2826 h 282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660" h="2826">
                  <a:moveTo>
                    <a:pt x="2862" y="2688"/>
                  </a:moveTo>
                  <a:lnTo>
                    <a:pt x="2850" y="2682"/>
                  </a:lnTo>
                  <a:lnTo>
                    <a:pt x="2772" y="2682"/>
                  </a:lnTo>
                  <a:lnTo>
                    <a:pt x="2766" y="2700"/>
                  </a:lnTo>
                  <a:lnTo>
                    <a:pt x="2748" y="2694"/>
                  </a:lnTo>
                  <a:lnTo>
                    <a:pt x="2736" y="2718"/>
                  </a:lnTo>
                  <a:lnTo>
                    <a:pt x="2730" y="2724"/>
                  </a:lnTo>
                  <a:lnTo>
                    <a:pt x="2712" y="2760"/>
                  </a:lnTo>
                  <a:lnTo>
                    <a:pt x="2718" y="2772"/>
                  </a:lnTo>
                  <a:lnTo>
                    <a:pt x="2724" y="2790"/>
                  </a:lnTo>
                  <a:lnTo>
                    <a:pt x="2754" y="2820"/>
                  </a:lnTo>
                  <a:lnTo>
                    <a:pt x="2766" y="2826"/>
                  </a:lnTo>
                  <a:lnTo>
                    <a:pt x="2772" y="2826"/>
                  </a:lnTo>
                  <a:lnTo>
                    <a:pt x="2802" y="2820"/>
                  </a:lnTo>
                  <a:lnTo>
                    <a:pt x="2820" y="2820"/>
                  </a:lnTo>
                  <a:lnTo>
                    <a:pt x="2844" y="2808"/>
                  </a:lnTo>
                  <a:lnTo>
                    <a:pt x="2850" y="2802"/>
                  </a:lnTo>
                  <a:lnTo>
                    <a:pt x="2850" y="2754"/>
                  </a:lnTo>
                  <a:lnTo>
                    <a:pt x="2856" y="2742"/>
                  </a:lnTo>
                  <a:lnTo>
                    <a:pt x="2862" y="2736"/>
                  </a:lnTo>
                  <a:lnTo>
                    <a:pt x="2868" y="2724"/>
                  </a:lnTo>
                  <a:lnTo>
                    <a:pt x="2868" y="2700"/>
                  </a:lnTo>
                  <a:lnTo>
                    <a:pt x="2862" y="2688"/>
                  </a:lnTo>
                  <a:close/>
                  <a:moveTo>
                    <a:pt x="3660" y="624"/>
                  </a:moveTo>
                  <a:lnTo>
                    <a:pt x="3654" y="600"/>
                  </a:lnTo>
                  <a:lnTo>
                    <a:pt x="3660" y="570"/>
                  </a:lnTo>
                  <a:lnTo>
                    <a:pt x="3642" y="564"/>
                  </a:lnTo>
                  <a:lnTo>
                    <a:pt x="3642" y="540"/>
                  </a:lnTo>
                  <a:lnTo>
                    <a:pt x="3630" y="528"/>
                  </a:lnTo>
                  <a:lnTo>
                    <a:pt x="3630" y="510"/>
                  </a:lnTo>
                  <a:lnTo>
                    <a:pt x="3618" y="492"/>
                  </a:lnTo>
                  <a:lnTo>
                    <a:pt x="3636" y="486"/>
                  </a:lnTo>
                  <a:lnTo>
                    <a:pt x="3636" y="456"/>
                  </a:lnTo>
                  <a:lnTo>
                    <a:pt x="3612" y="444"/>
                  </a:lnTo>
                  <a:lnTo>
                    <a:pt x="3612" y="426"/>
                  </a:lnTo>
                  <a:lnTo>
                    <a:pt x="3606" y="414"/>
                  </a:lnTo>
                  <a:lnTo>
                    <a:pt x="3594" y="408"/>
                  </a:lnTo>
                  <a:lnTo>
                    <a:pt x="3552" y="408"/>
                  </a:lnTo>
                  <a:lnTo>
                    <a:pt x="3546" y="432"/>
                  </a:lnTo>
                  <a:lnTo>
                    <a:pt x="3516" y="432"/>
                  </a:lnTo>
                  <a:lnTo>
                    <a:pt x="3504" y="438"/>
                  </a:lnTo>
                  <a:lnTo>
                    <a:pt x="3498" y="438"/>
                  </a:lnTo>
                  <a:lnTo>
                    <a:pt x="3492" y="444"/>
                  </a:lnTo>
                  <a:lnTo>
                    <a:pt x="3492" y="462"/>
                  </a:lnTo>
                  <a:lnTo>
                    <a:pt x="3462" y="456"/>
                  </a:lnTo>
                  <a:lnTo>
                    <a:pt x="3462" y="468"/>
                  </a:lnTo>
                  <a:lnTo>
                    <a:pt x="3444" y="468"/>
                  </a:lnTo>
                  <a:lnTo>
                    <a:pt x="3432" y="456"/>
                  </a:lnTo>
                  <a:lnTo>
                    <a:pt x="3408" y="462"/>
                  </a:lnTo>
                  <a:lnTo>
                    <a:pt x="3366" y="432"/>
                  </a:lnTo>
                  <a:lnTo>
                    <a:pt x="3366" y="420"/>
                  </a:lnTo>
                  <a:lnTo>
                    <a:pt x="3360" y="408"/>
                  </a:lnTo>
                  <a:lnTo>
                    <a:pt x="3360" y="402"/>
                  </a:lnTo>
                  <a:lnTo>
                    <a:pt x="3354" y="396"/>
                  </a:lnTo>
                  <a:lnTo>
                    <a:pt x="3336" y="396"/>
                  </a:lnTo>
                  <a:lnTo>
                    <a:pt x="3318" y="366"/>
                  </a:lnTo>
                  <a:lnTo>
                    <a:pt x="3276" y="366"/>
                  </a:lnTo>
                  <a:lnTo>
                    <a:pt x="3258" y="348"/>
                  </a:lnTo>
                  <a:lnTo>
                    <a:pt x="3246" y="342"/>
                  </a:lnTo>
                  <a:lnTo>
                    <a:pt x="3228" y="324"/>
                  </a:lnTo>
                  <a:lnTo>
                    <a:pt x="3216" y="324"/>
                  </a:lnTo>
                  <a:lnTo>
                    <a:pt x="3204" y="336"/>
                  </a:lnTo>
                  <a:lnTo>
                    <a:pt x="3192" y="330"/>
                  </a:lnTo>
                  <a:lnTo>
                    <a:pt x="3186" y="324"/>
                  </a:lnTo>
                  <a:lnTo>
                    <a:pt x="3174" y="318"/>
                  </a:lnTo>
                  <a:lnTo>
                    <a:pt x="3126" y="318"/>
                  </a:lnTo>
                  <a:lnTo>
                    <a:pt x="3114" y="312"/>
                  </a:lnTo>
                  <a:lnTo>
                    <a:pt x="3108" y="306"/>
                  </a:lnTo>
                  <a:lnTo>
                    <a:pt x="3084" y="294"/>
                  </a:lnTo>
                  <a:lnTo>
                    <a:pt x="3078" y="288"/>
                  </a:lnTo>
                  <a:lnTo>
                    <a:pt x="3072" y="288"/>
                  </a:lnTo>
                  <a:lnTo>
                    <a:pt x="3066" y="264"/>
                  </a:lnTo>
                  <a:lnTo>
                    <a:pt x="3054" y="264"/>
                  </a:lnTo>
                  <a:lnTo>
                    <a:pt x="3048" y="252"/>
                  </a:lnTo>
                  <a:lnTo>
                    <a:pt x="3030" y="234"/>
                  </a:lnTo>
                  <a:lnTo>
                    <a:pt x="3024" y="222"/>
                  </a:lnTo>
                  <a:lnTo>
                    <a:pt x="2976" y="198"/>
                  </a:lnTo>
                  <a:lnTo>
                    <a:pt x="2964" y="198"/>
                  </a:lnTo>
                  <a:lnTo>
                    <a:pt x="2952" y="168"/>
                  </a:lnTo>
                  <a:lnTo>
                    <a:pt x="2904" y="144"/>
                  </a:lnTo>
                  <a:lnTo>
                    <a:pt x="2898" y="114"/>
                  </a:lnTo>
                  <a:lnTo>
                    <a:pt x="2892" y="114"/>
                  </a:lnTo>
                  <a:lnTo>
                    <a:pt x="2886" y="108"/>
                  </a:lnTo>
                  <a:lnTo>
                    <a:pt x="2874" y="108"/>
                  </a:lnTo>
                  <a:lnTo>
                    <a:pt x="2862" y="96"/>
                  </a:lnTo>
                  <a:lnTo>
                    <a:pt x="2850" y="90"/>
                  </a:lnTo>
                  <a:lnTo>
                    <a:pt x="2838" y="78"/>
                  </a:lnTo>
                  <a:lnTo>
                    <a:pt x="2832" y="78"/>
                  </a:lnTo>
                  <a:lnTo>
                    <a:pt x="2832" y="66"/>
                  </a:lnTo>
                  <a:lnTo>
                    <a:pt x="2820" y="60"/>
                  </a:lnTo>
                  <a:lnTo>
                    <a:pt x="2814" y="54"/>
                  </a:lnTo>
                  <a:lnTo>
                    <a:pt x="2802" y="48"/>
                  </a:lnTo>
                  <a:lnTo>
                    <a:pt x="2796" y="42"/>
                  </a:lnTo>
                  <a:lnTo>
                    <a:pt x="2724" y="42"/>
                  </a:lnTo>
                  <a:lnTo>
                    <a:pt x="2688" y="18"/>
                  </a:lnTo>
                  <a:lnTo>
                    <a:pt x="2652" y="0"/>
                  </a:lnTo>
                  <a:lnTo>
                    <a:pt x="2598" y="12"/>
                  </a:lnTo>
                  <a:lnTo>
                    <a:pt x="2556" y="6"/>
                  </a:lnTo>
                  <a:lnTo>
                    <a:pt x="2550" y="18"/>
                  </a:lnTo>
                  <a:lnTo>
                    <a:pt x="2514" y="24"/>
                  </a:lnTo>
                  <a:lnTo>
                    <a:pt x="2472" y="66"/>
                  </a:lnTo>
                  <a:lnTo>
                    <a:pt x="2466" y="66"/>
                  </a:lnTo>
                  <a:lnTo>
                    <a:pt x="2466" y="78"/>
                  </a:lnTo>
                  <a:lnTo>
                    <a:pt x="2472" y="78"/>
                  </a:lnTo>
                  <a:lnTo>
                    <a:pt x="2490" y="84"/>
                  </a:lnTo>
                  <a:lnTo>
                    <a:pt x="2502" y="84"/>
                  </a:lnTo>
                  <a:lnTo>
                    <a:pt x="2508" y="90"/>
                  </a:lnTo>
                  <a:lnTo>
                    <a:pt x="2520" y="90"/>
                  </a:lnTo>
                  <a:lnTo>
                    <a:pt x="2532" y="102"/>
                  </a:lnTo>
                  <a:lnTo>
                    <a:pt x="2544" y="108"/>
                  </a:lnTo>
                  <a:lnTo>
                    <a:pt x="2550" y="114"/>
                  </a:lnTo>
                  <a:lnTo>
                    <a:pt x="2550" y="126"/>
                  </a:lnTo>
                  <a:lnTo>
                    <a:pt x="2532" y="144"/>
                  </a:lnTo>
                  <a:lnTo>
                    <a:pt x="2532" y="216"/>
                  </a:lnTo>
                  <a:lnTo>
                    <a:pt x="2538" y="258"/>
                  </a:lnTo>
                  <a:lnTo>
                    <a:pt x="2544" y="264"/>
                  </a:lnTo>
                  <a:lnTo>
                    <a:pt x="2556" y="264"/>
                  </a:lnTo>
                  <a:lnTo>
                    <a:pt x="2556" y="276"/>
                  </a:lnTo>
                  <a:lnTo>
                    <a:pt x="2550" y="282"/>
                  </a:lnTo>
                  <a:lnTo>
                    <a:pt x="2538" y="288"/>
                  </a:lnTo>
                  <a:lnTo>
                    <a:pt x="2514" y="288"/>
                  </a:lnTo>
                  <a:lnTo>
                    <a:pt x="2514" y="300"/>
                  </a:lnTo>
                  <a:lnTo>
                    <a:pt x="2496" y="318"/>
                  </a:lnTo>
                  <a:lnTo>
                    <a:pt x="2484" y="318"/>
                  </a:lnTo>
                  <a:lnTo>
                    <a:pt x="2478" y="312"/>
                  </a:lnTo>
                  <a:lnTo>
                    <a:pt x="2442" y="312"/>
                  </a:lnTo>
                  <a:lnTo>
                    <a:pt x="2406" y="288"/>
                  </a:lnTo>
                  <a:lnTo>
                    <a:pt x="2406" y="372"/>
                  </a:lnTo>
                  <a:lnTo>
                    <a:pt x="2412" y="384"/>
                  </a:lnTo>
                  <a:lnTo>
                    <a:pt x="2418" y="408"/>
                  </a:lnTo>
                  <a:lnTo>
                    <a:pt x="2424" y="420"/>
                  </a:lnTo>
                  <a:lnTo>
                    <a:pt x="2418" y="420"/>
                  </a:lnTo>
                  <a:lnTo>
                    <a:pt x="2418" y="438"/>
                  </a:lnTo>
                  <a:lnTo>
                    <a:pt x="2424" y="450"/>
                  </a:lnTo>
                  <a:lnTo>
                    <a:pt x="2436" y="456"/>
                  </a:lnTo>
                  <a:lnTo>
                    <a:pt x="2442" y="462"/>
                  </a:lnTo>
                  <a:lnTo>
                    <a:pt x="2460" y="462"/>
                  </a:lnTo>
                  <a:lnTo>
                    <a:pt x="2460" y="456"/>
                  </a:lnTo>
                  <a:lnTo>
                    <a:pt x="2454" y="456"/>
                  </a:lnTo>
                  <a:lnTo>
                    <a:pt x="2460" y="450"/>
                  </a:lnTo>
                  <a:lnTo>
                    <a:pt x="2514" y="450"/>
                  </a:lnTo>
                  <a:lnTo>
                    <a:pt x="2526" y="462"/>
                  </a:lnTo>
                  <a:lnTo>
                    <a:pt x="2538" y="468"/>
                  </a:lnTo>
                  <a:lnTo>
                    <a:pt x="2544" y="468"/>
                  </a:lnTo>
                  <a:lnTo>
                    <a:pt x="2550" y="462"/>
                  </a:lnTo>
                  <a:lnTo>
                    <a:pt x="2550" y="438"/>
                  </a:lnTo>
                  <a:lnTo>
                    <a:pt x="2616" y="438"/>
                  </a:lnTo>
                  <a:lnTo>
                    <a:pt x="2616" y="450"/>
                  </a:lnTo>
                  <a:lnTo>
                    <a:pt x="2622" y="456"/>
                  </a:lnTo>
                  <a:lnTo>
                    <a:pt x="2634" y="462"/>
                  </a:lnTo>
                  <a:lnTo>
                    <a:pt x="2652" y="462"/>
                  </a:lnTo>
                  <a:lnTo>
                    <a:pt x="2658" y="468"/>
                  </a:lnTo>
                  <a:lnTo>
                    <a:pt x="2670" y="474"/>
                  </a:lnTo>
                  <a:lnTo>
                    <a:pt x="2682" y="486"/>
                  </a:lnTo>
                  <a:lnTo>
                    <a:pt x="2706" y="498"/>
                  </a:lnTo>
                  <a:lnTo>
                    <a:pt x="2718" y="498"/>
                  </a:lnTo>
                  <a:lnTo>
                    <a:pt x="2724" y="510"/>
                  </a:lnTo>
                  <a:lnTo>
                    <a:pt x="2748" y="534"/>
                  </a:lnTo>
                  <a:lnTo>
                    <a:pt x="2748" y="540"/>
                  </a:lnTo>
                  <a:lnTo>
                    <a:pt x="2742" y="546"/>
                  </a:lnTo>
                  <a:lnTo>
                    <a:pt x="2706" y="546"/>
                  </a:lnTo>
                  <a:lnTo>
                    <a:pt x="2700" y="540"/>
                  </a:lnTo>
                  <a:lnTo>
                    <a:pt x="2688" y="534"/>
                  </a:lnTo>
                  <a:lnTo>
                    <a:pt x="2658" y="534"/>
                  </a:lnTo>
                  <a:lnTo>
                    <a:pt x="2652" y="540"/>
                  </a:lnTo>
                  <a:lnTo>
                    <a:pt x="2646" y="540"/>
                  </a:lnTo>
                  <a:lnTo>
                    <a:pt x="2628" y="558"/>
                  </a:lnTo>
                  <a:lnTo>
                    <a:pt x="2598" y="552"/>
                  </a:lnTo>
                  <a:lnTo>
                    <a:pt x="2598" y="570"/>
                  </a:lnTo>
                  <a:lnTo>
                    <a:pt x="2586" y="570"/>
                  </a:lnTo>
                  <a:lnTo>
                    <a:pt x="2550" y="588"/>
                  </a:lnTo>
                  <a:lnTo>
                    <a:pt x="2544" y="594"/>
                  </a:lnTo>
                  <a:lnTo>
                    <a:pt x="2550" y="606"/>
                  </a:lnTo>
                  <a:lnTo>
                    <a:pt x="2562" y="618"/>
                  </a:lnTo>
                  <a:lnTo>
                    <a:pt x="2538" y="642"/>
                  </a:lnTo>
                  <a:lnTo>
                    <a:pt x="2466" y="642"/>
                  </a:lnTo>
                  <a:lnTo>
                    <a:pt x="2466" y="666"/>
                  </a:lnTo>
                  <a:lnTo>
                    <a:pt x="2460" y="672"/>
                  </a:lnTo>
                  <a:lnTo>
                    <a:pt x="2454" y="684"/>
                  </a:lnTo>
                  <a:lnTo>
                    <a:pt x="2442" y="690"/>
                  </a:lnTo>
                  <a:lnTo>
                    <a:pt x="2424" y="690"/>
                  </a:lnTo>
                  <a:lnTo>
                    <a:pt x="2412" y="696"/>
                  </a:lnTo>
                  <a:lnTo>
                    <a:pt x="2388" y="696"/>
                  </a:lnTo>
                  <a:lnTo>
                    <a:pt x="2376" y="690"/>
                  </a:lnTo>
                  <a:lnTo>
                    <a:pt x="2370" y="684"/>
                  </a:lnTo>
                  <a:lnTo>
                    <a:pt x="2358" y="678"/>
                  </a:lnTo>
                  <a:lnTo>
                    <a:pt x="2352" y="672"/>
                  </a:lnTo>
                  <a:lnTo>
                    <a:pt x="2346" y="672"/>
                  </a:lnTo>
                  <a:lnTo>
                    <a:pt x="2340" y="666"/>
                  </a:lnTo>
                  <a:lnTo>
                    <a:pt x="2316" y="666"/>
                  </a:lnTo>
                  <a:lnTo>
                    <a:pt x="2304" y="672"/>
                  </a:lnTo>
                  <a:lnTo>
                    <a:pt x="2304" y="684"/>
                  </a:lnTo>
                  <a:lnTo>
                    <a:pt x="2298" y="696"/>
                  </a:lnTo>
                  <a:lnTo>
                    <a:pt x="2298" y="708"/>
                  </a:lnTo>
                  <a:lnTo>
                    <a:pt x="2304" y="720"/>
                  </a:lnTo>
                  <a:lnTo>
                    <a:pt x="2322" y="738"/>
                  </a:lnTo>
                  <a:lnTo>
                    <a:pt x="2334" y="744"/>
                  </a:lnTo>
                  <a:lnTo>
                    <a:pt x="2352" y="762"/>
                  </a:lnTo>
                  <a:lnTo>
                    <a:pt x="2364" y="768"/>
                  </a:lnTo>
                  <a:lnTo>
                    <a:pt x="2364" y="774"/>
                  </a:lnTo>
                  <a:lnTo>
                    <a:pt x="2358" y="780"/>
                  </a:lnTo>
                  <a:lnTo>
                    <a:pt x="2352" y="792"/>
                  </a:lnTo>
                  <a:lnTo>
                    <a:pt x="2340" y="804"/>
                  </a:lnTo>
                  <a:lnTo>
                    <a:pt x="2316" y="804"/>
                  </a:lnTo>
                  <a:lnTo>
                    <a:pt x="2316" y="810"/>
                  </a:lnTo>
                  <a:lnTo>
                    <a:pt x="2310" y="822"/>
                  </a:lnTo>
                  <a:lnTo>
                    <a:pt x="2310" y="828"/>
                  </a:lnTo>
                  <a:lnTo>
                    <a:pt x="2298" y="852"/>
                  </a:lnTo>
                  <a:lnTo>
                    <a:pt x="2286" y="858"/>
                  </a:lnTo>
                  <a:lnTo>
                    <a:pt x="2262" y="858"/>
                  </a:lnTo>
                  <a:lnTo>
                    <a:pt x="2244" y="882"/>
                  </a:lnTo>
                  <a:lnTo>
                    <a:pt x="2088" y="882"/>
                  </a:lnTo>
                  <a:lnTo>
                    <a:pt x="2070" y="894"/>
                  </a:lnTo>
                  <a:lnTo>
                    <a:pt x="2010" y="930"/>
                  </a:lnTo>
                  <a:lnTo>
                    <a:pt x="1992" y="942"/>
                  </a:lnTo>
                  <a:lnTo>
                    <a:pt x="1986" y="948"/>
                  </a:lnTo>
                  <a:lnTo>
                    <a:pt x="1968" y="948"/>
                  </a:lnTo>
                  <a:lnTo>
                    <a:pt x="1962" y="942"/>
                  </a:lnTo>
                  <a:lnTo>
                    <a:pt x="1956" y="942"/>
                  </a:lnTo>
                  <a:lnTo>
                    <a:pt x="1950" y="930"/>
                  </a:lnTo>
                  <a:lnTo>
                    <a:pt x="1950" y="924"/>
                  </a:lnTo>
                  <a:lnTo>
                    <a:pt x="1938" y="924"/>
                  </a:lnTo>
                  <a:lnTo>
                    <a:pt x="1926" y="930"/>
                  </a:lnTo>
                  <a:lnTo>
                    <a:pt x="1914" y="930"/>
                  </a:lnTo>
                  <a:lnTo>
                    <a:pt x="1908" y="936"/>
                  </a:lnTo>
                  <a:lnTo>
                    <a:pt x="1896" y="936"/>
                  </a:lnTo>
                  <a:lnTo>
                    <a:pt x="1890" y="930"/>
                  </a:lnTo>
                  <a:lnTo>
                    <a:pt x="1866" y="918"/>
                  </a:lnTo>
                  <a:lnTo>
                    <a:pt x="1848" y="912"/>
                  </a:lnTo>
                  <a:lnTo>
                    <a:pt x="1800" y="912"/>
                  </a:lnTo>
                  <a:lnTo>
                    <a:pt x="1776" y="906"/>
                  </a:lnTo>
                  <a:lnTo>
                    <a:pt x="1764" y="900"/>
                  </a:lnTo>
                  <a:lnTo>
                    <a:pt x="1758" y="888"/>
                  </a:lnTo>
                  <a:lnTo>
                    <a:pt x="1740" y="870"/>
                  </a:lnTo>
                  <a:lnTo>
                    <a:pt x="1728" y="870"/>
                  </a:lnTo>
                  <a:lnTo>
                    <a:pt x="1710" y="864"/>
                  </a:lnTo>
                  <a:lnTo>
                    <a:pt x="1656" y="864"/>
                  </a:lnTo>
                  <a:lnTo>
                    <a:pt x="1650" y="858"/>
                  </a:lnTo>
                  <a:lnTo>
                    <a:pt x="1644" y="858"/>
                  </a:lnTo>
                  <a:lnTo>
                    <a:pt x="1632" y="852"/>
                  </a:lnTo>
                  <a:lnTo>
                    <a:pt x="1620" y="852"/>
                  </a:lnTo>
                  <a:lnTo>
                    <a:pt x="1614" y="858"/>
                  </a:lnTo>
                  <a:lnTo>
                    <a:pt x="1602" y="864"/>
                  </a:lnTo>
                  <a:lnTo>
                    <a:pt x="1596" y="870"/>
                  </a:lnTo>
                  <a:lnTo>
                    <a:pt x="1560" y="864"/>
                  </a:lnTo>
                  <a:lnTo>
                    <a:pt x="1512" y="864"/>
                  </a:lnTo>
                  <a:lnTo>
                    <a:pt x="1458" y="858"/>
                  </a:lnTo>
                  <a:lnTo>
                    <a:pt x="1398" y="864"/>
                  </a:lnTo>
                  <a:lnTo>
                    <a:pt x="1386" y="858"/>
                  </a:lnTo>
                  <a:lnTo>
                    <a:pt x="1380" y="846"/>
                  </a:lnTo>
                  <a:lnTo>
                    <a:pt x="1368" y="840"/>
                  </a:lnTo>
                  <a:lnTo>
                    <a:pt x="1338" y="810"/>
                  </a:lnTo>
                  <a:lnTo>
                    <a:pt x="1332" y="798"/>
                  </a:lnTo>
                  <a:lnTo>
                    <a:pt x="1290" y="756"/>
                  </a:lnTo>
                  <a:lnTo>
                    <a:pt x="1278" y="732"/>
                  </a:lnTo>
                  <a:lnTo>
                    <a:pt x="1242" y="732"/>
                  </a:lnTo>
                  <a:lnTo>
                    <a:pt x="1236" y="726"/>
                  </a:lnTo>
                  <a:lnTo>
                    <a:pt x="1224" y="726"/>
                  </a:lnTo>
                  <a:lnTo>
                    <a:pt x="1200" y="714"/>
                  </a:lnTo>
                  <a:lnTo>
                    <a:pt x="1194" y="714"/>
                  </a:lnTo>
                  <a:lnTo>
                    <a:pt x="1188" y="708"/>
                  </a:lnTo>
                  <a:lnTo>
                    <a:pt x="1182" y="708"/>
                  </a:lnTo>
                  <a:lnTo>
                    <a:pt x="1176" y="696"/>
                  </a:lnTo>
                  <a:lnTo>
                    <a:pt x="1164" y="690"/>
                  </a:lnTo>
                  <a:lnTo>
                    <a:pt x="1158" y="690"/>
                  </a:lnTo>
                  <a:lnTo>
                    <a:pt x="1146" y="684"/>
                  </a:lnTo>
                  <a:lnTo>
                    <a:pt x="1140" y="684"/>
                  </a:lnTo>
                  <a:lnTo>
                    <a:pt x="1134" y="678"/>
                  </a:lnTo>
                  <a:lnTo>
                    <a:pt x="1038" y="678"/>
                  </a:lnTo>
                  <a:lnTo>
                    <a:pt x="1014" y="672"/>
                  </a:lnTo>
                  <a:lnTo>
                    <a:pt x="996" y="666"/>
                  </a:lnTo>
                  <a:lnTo>
                    <a:pt x="990" y="666"/>
                  </a:lnTo>
                  <a:lnTo>
                    <a:pt x="978" y="660"/>
                  </a:lnTo>
                  <a:lnTo>
                    <a:pt x="966" y="660"/>
                  </a:lnTo>
                  <a:lnTo>
                    <a:pt x="954" y="654"/>
                  </a:lnTo>
                  <a:lnTo>
                    <a:pt x="948" y="648"/>
                  </a:lnTo>
                  <a:lnTo>
                    <a:pt x="942" y="636"/>
                  </a:lnTo>
                  <a:lnTo>
                    <a:pt x="936" y="618"/>
                  </a:lnTo>
                  <a:lnTo>
                    <a:pt x="936" y="606"/>
                  </a:lnTo>
                  <a:lnTo>
                    <a:pt x="948" y="594"/>
                  </a:lnTo>
                  <a:lnTo>
                    <a:pt x="948" y="588"/>
                  </a:lnTo>
                  <a:lnTo>
                    <a:pt x="942" y="582"/>
                  </a:lnTo>
                  <a:lnTo>
                    <a:pt x="936" y="570"/>
                  </a:lnTo>
                  <a:lnTo>
                    <a:pt x="930" y="564"/>
                  </a:lnTo>
                  <a:lnTo>
                    <a:pt x="930" y="552"/>
                  </a:lnTo>
                  <a:lnTo>
                    <a:pt x="924" y="540"/>
                  </a:lnTo>
                  <a:lnTo>
                    <a:pt x="912" y="528"/>
                  </a:lnTo>
                  <a:lnTo>
                    <a:pt x="888" y="510"/>
                  </a:lnTo>
                  <a:lnTo>
                    <a:pt x="876" y="492"/>
                  </a:lnTo>
                  <a:lnTo>
                    <a:pt x="870" y="480"/>
                  </a:lnTo>
                  <a:lnTo>
                    <a:pt x="852" y="462"/>
                  </a:lnTo>
                  <a:lnTo>
                    <a:pt x="834" y="456"/>
                  </a:lnTo>
                  <a:lnTo>
                    <a:pt x="822" y="450"/>
                  </a:lnTo>
                  <a:lnTo>
                    <a:pt x="810" y="450"/>
                  </a:lnTo>
                  <a:lnTo>
                    <a:pt x="804" y="444"/>
                  </a:lnTo>
                  <a:lnTo>
                    <a:pt x="786" y="432"/>
                  </a:lnTo>
                  <a:lnTo>
                    <a:pt x="750" y="444"/>
                  </a:lnTo>
                  <a:lnTo>
                    <a:pt x="726" y="420"/>
                  </a:lnTo>
                  <a:lnTo>
                    <a:pt x="720" y="408"/>
                  </a:lnTo>
                  <a:lnTo>
                    <a:pt x="708" y="408"/>
                  </a:lnTo>
                  <a:lnTo>
                    <a:pt x="696" y="402"/>
                  </a:lnTo>
                  <a:lnTo>
                    <a:pt x="684" y="402"/>
                  </a:lnTo>
                  <a:lnTo>
                    <a:pt x="672" y="396"/>
                  </a:lnTo>
                  <a:lnTo>
                    <a:pt x="672" y="378"/>
                  </a:lnTo>
                  <a:lnTo>
                    <a:pt x="648" y="378"/>
                  </a:lnTo>
                  <a:lnTo>
                    <a:pt x="654" y="372"/>
                  </a:lnTo>
                  <a:lnTo>
                    <a:pt x="654" y="360"/>
                  </a:lnTo>
                  <a:lnTo>
                    <a:pt x="648" y="354"/>
                  </a:lnTo>
                  <a:lnTo>
                    <a:pt x="612" y="354"/>
                  </a:lnTo>
                  <a:lnTo>
                    <a:pt x="600" y="348"/>
                  </a:lnTo>
                  <a:lnTo>
                    <a:pt x="582" y="348"/>
                  </a:lnTo>
                  <a:lnTo>
                    <a:pt x="576" y="354"/>
                  </a:lnTo>
                  <a:lnTo>
                    <a:pt x="576" y="360"/>
                  </a:lnTo>
                  <a:lnTo>
                    <a:pt x="594" y="378"/>
                  </a:lnTo>
                  <a:lnTo>
                    <a:pt x="594" y="390"/>
                  </a:lnTo>
                  <a:lnTo>
                    <a:pt x="588" y="396"/>
                  </a:lnTo>
                  <a:lnTo>
                    <a:pt x="546" y="396"/>
                  </a:lnTo>
                  <a:lnTo>
                    <a:pt x="534" y="408"/>
                  </a:lnTo>
                  <a:lnTo>
                    <a:pt x="534" y="426"/>
                  </a:lnTo>
                  <a:lnTo>
                    <a:pt x="546" y="450"/>
                  </a:lnTo>
                  <a:lnTo>
                    <a:pt x="558" y="462"/>
                  </a:lnTo>
                  <a:lnTo>
                    <a:pt x="570" y="486"/>
                  </a:lnTo>
                  <a:lnTo>
                    <a:pt x="570" y="504"/>
                  </a:lnTo>
                  <a:lnTo>
                    <a:pt x="564" y="510"/>
                  </a:lnTo>
                  <a:lnTo>
                    <a:pt x="546" y="510"/>
                  </a:lnTo>
                  <a:lnTo>
                    <a:pt x="528" y="528"/>
                  </a:lnTo>
                  <a:lnTo>
                    <a:pt x="516" y="516"/>
                  </a:lnTo>
                  <a:lnTo>
                    <a:pt x="468" y="516"/>
                  </a:lnTo>
                  <a:lnTo>
                    <a:pt x="444" y="504"/>
                  </a:lnTo>
                  <a:lnTo>
                    <a:pt x="432" y="504"/>
                  </a:lnTo>
                  <a:lnTo>
                    <a:pt x="420" y="498"/>
                  </a:lnTo>
                  <a:lnTo>
                    <a:pt x="408" y="498"/>
                  </a:lnTo>
                  <a:lnTo>
                    <a:pt x="408" y="636"/>
                  </a:lnTo>
                  <a:lnTo>
                    <a:pt x="414" y="636"/>
                  </a:lnTo>
                  <a:lnTo>
                    <a:pt x="420" y="642"/>
                  </a:lnTo>
                  <a:lnTo>
                    <a:pt x="426" y="642"/>
                  </a:lnTo>
                  <a:lnTo>
                    <a:pt x="432" y="648"/>
                  </a:lnTo>
                  <a:lnTo>
                    <a:pt x="432" y="660"/>
                  </a:lnTo>
                  <a:lnTo>
                    <a:pt x="426" y="666"/>
                  </a:lnTo>
                  <a:lnTo>
                    <a:pt x="420" y="666"/>
                  </a:lnTo>
                  <a:lnTo>
                    <a:pt x="408" y="654"/>
                  </a:lnTo>
                  <a:lnTo>
                    <a:pt x="390" y="666"/>
                  </a:lnTo>
                  <a:lnTo>
                    <a:pt x="384" y="660"/>
                  </a:lnTo>
                  <a:lnTo>
                    <a:pt x="378" y="648"/>
                  </a:lnTo>
                  <a:lnTo>
                    <a:pt x="372" y="642"/>
                  </a:lnTo>
                  <a:lnTo>
                    <a:pt x="360" y="642"/>
                  </a:lnTo>
                  <a:lnTo>
                    <a:pt x="324" y="660"/>
                  </a:lnTo>
                  <a:lnTo>
                    <a:pt x="312" y="660"/>
                  </a:lnTo>
                  <a:lnTo>
                    <a:pt x="300" y="666"/>
                  </a:lnTo>
                  <a:lnTo>
                    <a:pt x="288" y="666"/>
                  </a:lnTo>
                  <a:lnTo>
                    <a:pt x="276" y="672"/>
                  </a:lnTo>
                  <a:lnTo>
                    <a:pt x="270" y="678"/>
                  </a:lnTo>
                  <a:lnTo>
                    <a:pt x="270" y="684"/>
                  </a:lnTo>
                  <a:lnTo>
                    <a:pt x="276" y="690"/>
                  </a:lnTo>
                  <a:lnTo>
                    <a:pt x="288" y="696"/>
                  </a:lnTo>
                  <a:lnTo>
                    <a:pt x="306" y="696"/>
                  </a:lnTo>
                  <a:lnTo>
                    <a:pt x="306" y="726"/>
                  </a:lnTo>
                  <a:lnTo>
                    <a:pt x="318" y="750"/>
                  </a:lnTo>
                  <a:lnTo>
                    <a:pt x="360" y="792"/>
                  </a:lnTo>
                  <a:lnTo>
                    <a:pt x="366" y="804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60" y="822"/>
                  </a:lnTo>
                  <a:lnTo>
                    <a:pt x="354" y="828"/>
                  </a:lnTo>
                  <a:lnTo>
                    <a:pt x="354" y="834"/>
                  </a:lnTo>
                  <a:lnTo>
                    <a:pt x="372" y="852"/>
                  </a:lnTo>
                  <a:lnTo>
                    <a:pt x="348" y="852"/>
                  </a:lnTo>
                  <a:lnTo>
                    <a:pt x="348" y="864"/>
                  </a:lnTo>
                  <a:lnTo>
                    <a:pt x="354" y="870"/>
                  </a:lnTo>
                  <a:lnTo>
                    <a:pt x="354" y="882"/>
                  </a:lnTo>
                  <a:lnTo>
                    <a:pt x="372" y="900"/>
                  </a:lnTo>
                  <a:lnTo>
                    <a:pt x="372" y="912"/>
                  </a:lnTo>
                  <a:lnTo>
                    <a:pt x="366" y="918"/>
                  </a:lnTo>
                  <a:lnTo>
                    <a:pt x="342" y="918"/>
                  </a:lnTo>
                  <a:lnTo>
                    <a:pt x="294" y="936"/>
                  </a:lnTo>
                  <a:lnTo>
                    <a:pt x="282" y="948"/>
                  </a:lnTo>
                  <a:lnTo>
                    <a:pt x="270" y="954"/>
                  </a:lnTo>
                  <a:lnTo>
                    <a:pt x="264" y="960"/>
                  </a:lnTo>
                  <a:lnTo>
                    <a:pt x="264" y="978"/>
                  </a:lnTo>
                  <a:lnTo>
                    <a:pt x="258" y="990"/>
                  </a:lnTo>
                  <a:lnTo>
                    <a:pt x="252" y="996"/>
                  </a:lnTo>
                  <a:lnTo>
                    <a:pt x="234" y="996"/>
                  </a:lnTo>
                  <a:lnTo>
                    <a:pt x="216" y="990"/>
                  </a:lnTo>
                  <a:lnTo>
                    <a:pt x="186" y="990"/>
                  </a:lnTo>
                  <a:lnTo>
                    <a:pt x="168" y="1008"/>
                  </a:lnTo>
                  <a:lnTo>
                    <a:pt x="162" y="1020"/>
                  </a:lnTo>
                  <a:lnTo>
                    <a:pt x="162" y="1044"/>
                  </a:lnTo>
                  <a:lnTo>
                    <a:pt x="156" y="1050"/>
                  </a:lnTo>
                  <a:lnTo>
                    <a:pt x="126" y="1044"/>
                  </a:lnTo>
                  <a:lnTo>
                    <a:pt x="114" y="1050"/>
                  </a:lnTo>
                  <a:lnTo>
                    <a:pt x="108" y="1044"/>
                  </a:lnTo>
                  <a:lnTo>
                    <a:pt x="102" y="1032"/>
                  </a:lnTo>
                  <a:lnTo>
                    <a:pt x="96" y="1026"/>
                  </a:lnTo>
                  <a:lnTo>
                    <a:pt x="84" y="1026"/>
                  </a:lnTo>
                  <a:lnTo>
                    <a:pt x="72" y="1038"/>
                  </a:lnTo>
                  <a:lnTo>
                    <a:pt x="48" y="1038"/>
                  </a:lnTo>
                  <a:lnTo>
                    <a:pt x="48" y="1056"/>
                  </a:lnTo>
                  <a:lnTo>
                    <a:pt x="36" y="1062"/>
                  </a:lnTo>
                  <a:lnTo>
                    <a:pt x="30" y="1068"/>
                  </a:lnTo>
                  <a:lnTo>
                    <a:pt x="18" y="1068"/>
                  </a:lnTo>
                  <a:lnTo>
                    <a:pt x="6" y="1074"/>
                  </a:lnTo>
                  <a:lnTo>
                    <a:pt x="0" y="1080"/>
                  </a:lnTo>
                  <a:lnTo>
                    <a:pt x="0" y="1086"/>
                  </a:lnTo>
                  <a:lnTo>
                    <a:pt x="12" y="1092"/>
                  </a:lnTo>
                  <a:lnTo>
                    <a:pt x="18" y="1104"/>
                  </a:lnTo>
                  <a:lnTo>
                    <a:pt x="18" y="1116"/>
                  </a:lnTo>
                  <a:lnTo>
                    <a:pt x="0" y="1116"/>
                  </a:lnTo>
                  <a:lnTo>
                    <a:pt x="0" y="1140"/>
                  </a:lnTo>
                  <a:lnTo>
                    <a:pt x="18" y="1140"/>
                  </a:lnTo>
                  <a:lnTo>
                    <a:pt x="18" y="1152"/>
                  </a:lnTo>
                  <a:lnTo>
                    <a:pt x="12" y="1164"/>
                  </a:lnTo>
                  <a:lnTo>
                    <a:pt x="12" y="1176"/>
                  </a:lnTo>
                  <a:lnTo>
                    <a:pt x="24" y="1188"/>
                  </a:lnTo>
                  <a:lnTo>
                    <a:pt x="36" y="1188"/>
                  </a:lnTo>
                  <a:lnTo>
                    <a:pt x="42" y="1182"/>
                  </a:lnTo>
                  <a:lnTo>
                    <a:pt x="66" y="1182"/>
                  </a:lnTo>
                  <a:lnTo>
                    <a:pt x="78" y="1188"/>
                  </a:lnTo>
                  <a:lnTo>
                    <a:pt x="84" y="1188"/>
                  </a:lnTo>
                  <a:lnTo>
                    <a:pt x="96" y="1194"/>
                  </a:lnTo>
                  <a:lnTo>
                    <a:pt x="102" y="1200"/>
                  </a:lnTo>
                  <a:lnTo>
                    <a:pt x="102" y="1242"/>
                  </a:lnTo>
                  <a:lnTo>
                    <a:pt x="114" y="1266"/>
                  </a:lnTo>
                  <a:lnTo>
                    <a:pt x="120" y="1272"/>
                  </a:lnTo>
                  <a:lnTo>
                    <a:pt x="126" y="1272"/>
                  </a:lnTo>
                  <a:lnTo>
                    <a:pt x="138" y="1284"/>
                  </a:lnTo>
                  <a:lnTo>
                    <a:pt x="132" y="1290"/>
                  </a:lnTo>
                  <a:lnTo>
                    <a:pt x="102" y="1290"/>
                  </a:lnTo>
                  <a:lnTo>
                    <a:pt x="96" y="1296"/>
                  </a:lnTo>
                  <a:lnTo>
                    <a:pt x="96" y="1308"/>
                  </a:lnTo>
                  <a:lnTo>
                    <a:pt x="108" y="1314"/>
                  </a:lnTo>
                  <a:lnTo>
                    <a:pt x="114" y="1320"/>
                  </a:lnTo>
                  <a:lnTo>
                    <a:pt x="162" y="1320"/>
                  </a:lnTo>
                  <a:lnTo>
                    <a:pt x="168" y="1332"/>
                  </a:lnTo>
                  <a:lnTo>
                    <a:pt x="180" y="1332"/>
                  </a:lnTo>
                  <a:lnTo>
                    <a:pt x="192" y="1338"/>
                  </a:lnTo>
                  <a:lnTo>
                    <a:pt x="204" y="1350"/>
                  </a:lnTo>
                  <a:lnTo>
                    <a:pt x="216" y="1374"/>
                  </a:lnTo>
                  <a:lnTo>
                    <a:pt x="216" y="1398"/>
                  </a:lnTo>
                  <a:lnTo>
                    <a:pt x="252" y="1410"/>
                  </a:lnTo>
                  <a:lnTo>
                    <a:pt x="264" y="1404"/>
                  </a:lnTo>
                  <a:lnTo>
                    <a:pt x="264" y="1410"/>
                  </a:lnTo>
                  <a:lnTo>
                    <a:pt x="270" y="1416"/>
                  </a:lnTo>
                  <a:lnTo>
                    <a:pt x="276" y="1428"/>
                  </a:lnTo>
                  <a:lnTo>
                    <a:pt x="288" y="1434"/>
                  </a:lnTo>
                  <a:lnTo>
                    <a:pt x="366" y="1434"/>
                  </a:lnTo>
                  <a:lnTo>
                    <a:pt x="378" y="1428"/>
                  </a:lnTo>
                  <a:lnTo>
                    <a:pt x="384" y="1416"/>
                  </a:lnTo>
                  <a:lnTo>
                    <a:pt x="402" y="1410"/>
                  </a:lnTo>
                  <a:lnTo>
                    <a:pt x="426" y="1398"/>
                  </a:lnTo>
                  <a:lnTo>
                    <a:pt x="438" y="1398"/>
                  </a:lnTo>
                  <a:lnTo>
                    <a:pt x="456" y="1410"/>
                  </a:lnTo>
                  <a:lnTo>
                    <a:pt x="480" y="1434"/>
                  </a:lnTo>
                  <a:lnTo>
                    <a:pt x="522" y="1434"/>
                  </a:lnTo>
                  <a:lnTo>
                    <a:pt x="522" y="1494"/>
                  </a:lnTo>
                  <a:lnTo>
                    <a:pt x="516" y="1500"/>
                  </a:lnTo>
                  <a:lnTo>
                    <a:pt x="498" y="1500"/>
                  </a:lnTo>
                  <a:lnTo>
                    <a:pt x="498" y="1506"/>
                  </a:lnTo>
                  <a:lnTo>
                    <a:pt x="504" y="1512"/>
                  </a:lnTo>
                  <a:lnTo>
                    <a:pt x="504" y="1536"/>
                  </a:lnTo>
                  <a:lnTo>
                    <a:pt x="498" y="1548"/>
                  </a:lnTo>
                  <a:lnTo>
                    <a:pt x="486" y="1554"/>
                  </a:lnTo>
                  <a:lnTo>
                    <a:pt x="456" y="1554"/>
                  </a:lnTo>
                  <a:lnTo>
                    <a:pt x="474" y="1578"/>
                  </a:lnTo>
                  <a:lnTo>
                    <a:pt x="456" y="1584"/>
                  </a:lnTo>
                  <a:lnTo>
                    <a:pt x="456" y="1608"/>
                  </a:lnTo>
                  <a:lnTo>
                    <a:pt x="480" y="1620"/>
                  </a:lnTo>
                  <a:lnTo>
                    <a:pt x="492" y="1620"/>
                  </a:lnTo>
                  <a:lnTo>
                    <a:pt x="498" y="1626"/>
                  </a:lnTo>
                  <a:lnTo>
                    <a:pt x="504" y="1638"/>
                  </a:lnTo>
                  <a:lnTo>
                    <a:pt x="522" y="1656"/>
                  </a:lnTo>
                  <a:lnTo>
                    <a:pt x="522" y="1668"/>
                  </a:lnTo>
                  <a:lnTo>
                    <a:pt x="510" y="1674"/>
                  </a:lnTo>
                  <a:lnTo>
                    <a:pt x="504" y="1680"/>
                  </a:lnTo>
                  <a:lnTo>
                    <a:pt x="498" y="1680"/>
                  </a:lnTo>
                  <a:lnTo>
                    <a:pt x="486" y="1698"/>
                  </a:lnTo>
                  <a:lnTo>
                    <a:pt x="474" y="1686"/>
                  </a:lnTo>
                  <a:lnTo>
                    <a:pt x="474" y="1668"/>
                  </a:lnTo>
                  <a:lnTo>
                    <a:pt x="462" y="1668"/>
                  </a:lnTo>
                  <a:lnTo>
                    <a:pt x="456" y="1674"/>
                  </a:lnTo>
                  <a:lnTo>
                    <a:pt x="450" y="1674"/>
                  </a:lnTo>
                  <a:lnTo>
                    <a:pt x="450" y="1692"/>
                  </a:lnTo>
                  <a:lnTo>
                    <a:pt x="456" y="1698"/>
                  </a:lnTo>
                  <a:lnTo>
                    <a:pt x="462" y="1710"/>
                  </a:lnTo>
                  <a:lnTo>
                    <a:pt x="474" y="1722"/>
                  </a:lnTo>
                  <a:lnTo>
                    <a:pt x="480" y="1722"/>
                  </a:lnTo>
                  <a:lnTo>
                    <a:pt x="480" y="1734"/>
                  </a:lnTo>
                  <a:lnTo>
                    <a:pt x="474" y="1740"/>
                  </a:lnTo>
                  <a:lnTo>
                    <a:pt x="474" y="1758"/>
                  </a:lnTo>
                  <a:lnTo>
                    <a:pt x="480" y="1764"/>
                  </a:lnTo>
                  <a:lnTo>
                    <a:pt x="510" y="1764"/>
                  </a:lnTo>
                  <a:lnTo>
                    <a:pt x="516" y="1776"/>
                  </a:lnTo>
                  <a:lnTo>
                    <a:pt x="528" y="1788"/>
                  </a:lnTo>
                  <a:lnTo>
                    <a:pt x="540" y="1794"/>
                  </a:lnTo>
                  <a:lnTo>
                    <a:pt x="552" y="1794"/>
                  </a:lnTo>
                  <a:lnTo>
                    <a:pt x="558" y="1800"/>
                  </a:lnTo>
                  <a:lnTo>
                    <a:pt x="564" y="1800"/>
                  </a:lnTo>
                  <a:lnTo>
                    <a:pt x="582" y="1818"/>
                  </a:lnTo>
                  <a:lnTo>
                    <a:pt x="600" y="1812"/>
                  </a:lnTo>
                  <a:lnTo>
                    <a:pt x="600" y="1830"/>
                  </a:lnTo>
                  <a:lnTo>
                    <a:pt x="612" y="1836"/>
                  </a:lnTo>
                  <a:lnTo>
                    <a:pt x="624" y="1836"/>
                  </a:lnTo>
                  <a:lnTo>
                    <a:pt x="666" y="1872"/>
                  </a:lnTo>
                  <a:lnTo>
                    <a:pt x="690" y="1854"/>
                  </a:lnTo>
                  <a:lnTo>
                    <a:pt x="696" y="1848"/>
                  </a:lnTo>
                  <a:lnTo>
                    <a:pt x="708" y="1842"/>
                  </a:lnTo>
                  <a:lnTo>
                    <a:pt x="720" y="1842"/>
                  </a:lnTo>
                  <a:lnTo>
                    <a:pt x="732" y="1848"/>
                  </a:lnTo>
                  <a:lnTo>
                    <a:pt x="744" y="1860"/>
                  </a:lnTo>
                  <a:lnTo>
                    <a:pt x="750" y="1872"/>
                  </a:lnTo>
                  <a:lnTo>
                    <a:pt x="762" y="1878"/>
                  </a:lnTo>
                  <a:lnTo>
                    <a:pt x="780" y="1896"/>
                  </a:lnTo>
                  <a:lnTo>
                    <a:pt x="822" y="1902"/>
                  </a:lnTo>
                  <a:lnTo>
                    <a:pt x="828" y="1914"/>
                  </a:lnTo>
                  <a:lnTo>
                    <a:pt x="834" y="1920"/>
                  </a:lnTo>
                  <a:lnTo>
                    <a:pt x="840" y="1932"/>
                  </a:lnTo>
                  <a:lnTo>
                    <a:pt x="846" y="1938"/>
                  </a:lnTo>
                  <a:lnTo>
                    <a:pt x="846" y="1950"/>
                  </a:lnTo>
                  <a:lnTo>
                    <a:pt x="858" y="1950"/>
                  </a:lnTo>
                  <a:lnTo>
                    <a:pt x="858" y="1944"/>
                  </a:lnTo>
                  <a:lnTo>
                    <a:pt x="864" y="1938"/>
                  </a:lnTo>
                  <a:lnTo>
                    <a:pt x="870" y="1926"/>
                  </a:lnTo>
                  <a:lnTo>
                    <a:pt x="882" y="1926"/>
                  </a:lnTo>
                  <a:lnTo>
                    <a:pt x="888" y="1932"/>
                  </a:lnTo>
                  <a:lnTo>
                    <a:pt x="894" y="1944"/>
                  </a:lnTo>
                  <a:lnTo>
                    <a:pt x="894" y="1962"/>
                  </a:lnTo>
                  <a:lnTo>
                    <a:pt x="924" y="1992"/>
                  </a:lnTo>
                  <a:lnTo>
                    <a:pt x="936" y="1998"/>
                  </a:lnTo>
                  <a:lnTo>
                    <a:pt x="942" y="1992"/>
                  </a:lnTo>
                  <a:lnTo>
                    <a:pt x="954" y="1986"/>
                  </a:lnTo>
                  <a:lnTo>
                    <a:pt x="960" y="1986"/>
                  </a:lnTo>
                  <a:lnTo>
                    <a:pt x="966" y="1992"/>
                  </a:lnTo>
                  <a:lnTo>
                    <a:pt x="966" y="1998"/>
                  </a:lnTo>
                  <a:lnTo>
                    <a:pt x="960" y="2004"/>
                  </a:lnTo>
                  <a:lnTo>
                    <a:pt x="960" y="2010"/>
                  </a:lnTo>
                  <a:lnTo>
                    <a:pt x="966" y="2010"/>
                  </a:lnTo>
                  <a:lnTo>
                    <a:pt x="972" y="2016"/>
                  </a:lnTo>
                  <a:lnTo>
                    <a:pt x="990" y="2022"/>
                  </a:lnTo>
                  <a:lnTo>
                    <a:pt x="1002" y="2022"/>
                  </a:lnTo>
                  <a:lnTo>
                    <a:pt x="1008" y="2016"/>
                  </a:lnTo>
                  <a:lnTo>
                    <a:pt x="1014" y="2016"/>
                  </a:lnTo>
                  <a:lnTo>
                    <a:pt x="1014" y="2034"/>
                  </a:lnTo>
                  <a:lnTo>
                    <a:pt x="1020" y="2040"/>
                  </a:lnTo>
                  <a:lnTo>
                    <a:pt x="1032" y="2040"/>
                  </a:lnTo>
                  <a:lnTo>
                    <a:pt x="1044" y="2028"/>
                  </a:lnTo>
                  <a:lnTo>
                    <a:pt x="1044" y="2022"/>
                  </a:lnTo>
                  <a:lnTo>
                    <a:pt x="1044" y="2034"/>
                  </a:lnTo>
                  <a:lnTo>
                    <a:pt x="1050" y="2040"/>
                  </a:lnTo>
                  <a:lnTo>
                    <a:pt x="1068" y="2040"/>
                  </a:lnTo>
                  <a:lnTo>
                    <a:pt x="1074" y="2034"/>
                  </a:lnTo>
                  <a:lnTo>
                    <a:pt x="1074" y="2028"/>
                  </a:lnTo>
                  <a:lnTo>
                    <a:pt x="1086" y="2034"/>
                  </a:lnTo>
                  <a:lnTo>
                    <a:pt x="1092" y="2040"/>
                  </a:lnTo>
                  <a:lnTo>
                    <a:pt x="1110" y="2046"/>
                  </a:lnTo>
                  <a:lnTo>
                    <a:pt x="1134" y="2058"/>
                  </a:lnTo>
                  <a:lnTo>
                    <a:pt x="1158" y="2058"/>
                  </a:lnTo>
                  <a:lnTo>
                    <a:pt x="1176" y="2040"/>
                  </a:lnTo>
                  <a:lnTo>
                    <a:pt x="1194" y="2034"/>
                  </a:lnTo>
                  <a:lnTo>
                    <a:pt x="1206" y="2028"/>
                  </a:lnTo>
                  <a:lnTo>
                    <a:pt x="1212" y="2028"/>
                  </a:lnTo>
                  <a:lnTo>
                    <a:pt x="1224" y="2034"/>
                  </a:lnTo>
                  <a:lnTo>
                    <a:pt x="1230" y="2040"/>
                  </a:lnTo>
                  <a:lnTo>
                    <a:pt x="1230" y="2088"/>
                  </a:lnTo>
                  <a:lnTo>
                    <a:pt x="1236" y="2094"/>
                  </a:lnTo>
                  <a:lnTo>
                    <a:pt x="1242" y="2094"/>
                  </a:lnTo>
                  <a:lnTo>
                    <a:pt x="1242" y="2088"/>
                  </a:lnTo>
                  <a:lnTo>
                    <a:pt x="1248" y="2082"/>
                  </a:lnTo>
                  <a:lnTo>
                    <a:pt x="1254" y="2070"/>
                  </a:lnTo>
                  <a:lnTo>
                    <a:pt x="1266" y="2052"/>
                  </a:lnTo>
                  <a:lnTo>
                    <a:pt x="1272" y="2040"/>
                  </a:lnTo>
                  <a:lnTo>
                    <a:pt x="1284" y="2028"/>
                  </a:lnTo>
                  <a:lnTo>
                    <a:pt x="1290" y="2016"/>
                  </a:lnTo>
                  <a:lnTo>
                    <a:pt x="1302" y="2016"/>
                  </a:lnTo>
                  <a:lnTo>
                    <a:pt x="1314" y="2022"/>
                  </a:lnTo>
                  <a:lnTo>
                    <a:pt x="1338" y="2022"/>
                  </a:lnTo>
                  <a:lnTo>
                    <a:pt x="1338" y="2046"/>
                  </a:lnTo>
                  <a:lnTo>
                    <a:pt x="1344" y="2046"/>
                  </a:lnTo>
                  <a:lnTo>
                    <a:pt x="1350" y="2040"/>
                  </a:lnTo>
                  <a:lnTo>
                    <a:pt x="1362" y="2034"/>
                  </a:lnTo>
                  <a:lnTo>
                    <a:pt x="1374" y="2034"/>
                  </a:lnTo>
                  <a:lnTo>
                    <a:pt x="1386" y="2028"/>
                  </a:lnTo>
                  <a:lnTo>
                    <a:pt x="1398" y="2028"/>
                  </a:lnTo>
                  <a:lnTo>
                    <a:pt x="1410" y="2034"/>
                  </a:lnTo>
                  <a:lnTo>
                    <a:pt x="1422" y="2046"/>
                  </a:lnTo>
                  <a:lnTo>
                    <a:pt x="1428" y="2058"/>
                  </a:lnTo>
                  <a:lnTo>
                    <a:pt x="1428" y="2064"/>
                  </a:lnTo>
                  <a:lnTo>
                    <a:pt x="1482" y="2064"/>
                  </a:lnTo>
                  <a:lnTo>
                    <a:pt x="1494" y="2052"/>
                  </a:lnTo>
                  <a:lnTo>
                    <a:pt x="1494" y="2034"/>
                  </a:lnTo>
                  <a:lnTo>
                    <a:pt x="1488" y="2022"/>
                  </a:lnTo>
                  <a:lnTo>
                    <a:pt x="1518" y="2022"/>
                  </a:lnTo>
                  <a:lnTo>
                    <a:pt x="1524" y="2016"/>
                  </a:lnTo>
                  <a:lnTo>
                    <a:pt x="1524" y="1992"/>
                  </a:lnTo>
                  <a:lnTo>
                    <a:pt x="1518" y="1986"/>
                  </a:lnTo>
                  <a:lnTo>
                    <a:pt x="1518" y="1980"/>
                  </a:lnTo>
                  <a:lnTo>
                    <a:pt x="1554" y="1980"/>
                  </a:lnTo>
                  <a:lnTo>
                    <a:pt x="1578" y="1956"/>
                  </a:lnTo>
                  <a:lnTo>
                    <a:pt x="1590" y="1950"/>
                  </a:lnTo>
                  <a:lnTo>
                    <a:pt x="1602" y="1938"/>
                  </a:lnTo>
                  <a:lnTo>
                    <a:pt x="1620" y="1938"/>
                  </a:lnTo>
                  <a:lnTo>
                    <a:pt x="1632" y="1944"/>
                  </a:lnTo>
                  <a:lnTo>
                    <a:pt x="1650" y="1956"/>
                  </a:lnTo>
                  <a:lnTo>
                    <a:pt x="1668" y="1956"/>
                  </a:lnTo>
                  <a:lnTo>
                    <a:pt x="1668" y="1932"/>
                  </a:lnTo>
                  <a:lnTo>
                    <a:pt x="1680" y="1920"/>
                  </a:lnTo>
                  <a:lnTo>
                    <a:pt x="1716" y="1938"/>
                  </a:lnTo>
                  <a:lnTo>
                    <a:pt x="1722" y="1944"/>
                  </a:lnTo>
                  <a:lnTo>
                    <a:pt x="1710" y="1956"/>
                  </a:lnTo>
                  <a:lnTo>
                    <a:pt x="1704" y="1956"/>
                  </a:lnTo>
                  <a:lnTo>
                    <a:pt x="1710" y="1962"/>
                  </a:lnTo>
                  <a:lnTo>
                    <a:pt x="1740" y="1962"/>
                  </a:lnTo>
                  <a:lnTo>
                    <a:pt x="1758" y="1992"/>
                  </a:lnTo>
                  <a:lnTo>
                    <a:pt x="1752" y="1992"/>
                  </a:lnTo>
                  <a:lnTo>
                    <a:pt x="1740" y="2004"/>
                  </a:lnTo>
                  <a:lnTo>
                    <a:pt x="1740" y="2010"/>
                  </a:lnTo>
                  <a:lnTo>
                    <a:pt x="1806" y="2010"/>
                  </a:lnTo>
                  <a:lnTo>
                    <a:pt x="1812" y="2016"/>
                  </a:lnTo>
                  <a:lnTo>
                    <a:pt x="1818" y="2016"/>
                  </a:lnTo>
                  <a:lnTo>
                    <a:pt x="1824" y="1998"/>
                  </a:lnTo>
                  <a:lnTo>
                    <a:pt x="1830" y="1998"/>
                  </a:lnTo>
                  <a:lnTo>
                    <a:pt x="1836" y="2004"/>
                  </a:lnTo>
                  <a:lnTo>
                    <a:pt x="1842" y="2016"/>
                  </a:lnTo>
                  <a:lnTo>
                    <a:pt x="1854" y="2022"/>
                  </a:lnTo>
                  <a:lnTo>
                    <a:pt x="1872" y="2058"/>
                  </a:lnTo>
                  <a:lnTo>
                    <a:pt x="1878" y="2064"/>
                  </a:lnTo>
                  <a:lnTo>
                    <a:pt x="1878" y="2070"/>
                  </a:lnTo>
                  <a:lnTo>
                    <a:pt x="1914" y="2070"/>
                  </a:lnTo>
                  <a:lnTo>
                    <a:pt x="1920" y="2076"/>
                  </a:lnTo>
                  <a:lnTo>
                    <a:pt x="1920" y="2106"/>
                  </a:lnTo>
                  <a:lnTo>
                    <a:pt x="1932" y="2130"/>
                  </a:lnTo>
                  <a:lnTo>
                    <a:pt x="1944" y="2190"/>
                  </a:lnTo>
                  <a:lnTo>
                    <a:pt x="1932" y="2190"/>
                  </a:lnTo>
                  <a:lnTo>
                    <a:pt x="1926" y="2196"/>
                  </a:lnTo>
                  <a:lnTo>
                    <a:pt x="1914" y="2196"/>
                  </a:lnTo>
                  <a:lnTo>
                    <a:pt x="1932" y="2214"/>
                  </a:lnTo>
                  <a:lnTo>
                    <a:pt x="1932" y="2220"/>
                  </a:lnTo>
                  <a:lnTo>
                    <a:pt x="1926" y="2232"/>
                  </a:lnTo>
                  <a:lnTo>
                    <a:pt x="1920" y="2238"/>
                  </a:lnTo>
                  <a:lnTo>
                    <a:pt x="1908" y="2238"/>
                  </a:lnTo>
                  <a:lnTo>
                    <a:pt x="1902" y="2232"/>
                  </a:lnTo>
                  <a:lnTo>
                    <a:pt x="1902" y="2268"/>
                  </a:lnTo>
                  <a:lnTo>
                    <a:pt x="1896" y="2274"/>
                  </a:lnTo>
                  <a:lnTo>
                    <a:pt x="1884" y="2274"/>
                  </a:lnTo>
                  <a:lnTo>
                    <a:pt x="1890" y="2304"/>
                  </a:lnTo>
                  <a:lnTo>
                    <a:pt x="1878" y="2304"/>
                  </a:lnTo>
                  <a:lnTo>
                    <a:pt x="1878" y="2322"/>
                  </a:lnTo>
                  <a:lnTo>
                    <a:pt x="1896" y="2340"/>
                  </a:lnTo>
                  <a:lnTo>
                    <a:pt x="1902" y="2352"/>
                  </a:lnTo>
                  <a:lnTo>
                    <a:pt x="1890" y="2370"/>
                  </a:lnTo>
                  <a:lnTo>
                    <a:pt x="1902" y="2364"/>
                  </a:lnTo>
                  <a:lnTo>
                    <a:pt x="1908" y="2358"/>
                  </a:lnTo>
                  <a:lnTo>
                    <a:pt x="1920" y="2358"/>
                  </a:lnTo>
                  <a:lnTo>
                    <a:pt x="1926" y="2352"/>
                  </a:lnTo>
                  <a:lnTo>
                    <a:pt x="1986" y="2352"/>
                  </a:lnTo>
                  <a:lnTo>
                    <a:pt x="1956" y="2376"/>
                  </a:lnTo>
                  <a:lnTo>
                    <a:pt x="1980" y="2394"/>
                  </a:lnTo>
                  <a:lnTo>
                    <a:pt x="1992" y="2436"/>
                  </a:lnTo>
                  <a:lnTo>
                    <a:pt x="2022" y="2436"/>
                  </a:lnTo>
                  <a:lnTo>
                    <a:pt x="2034" y="2442"/>
                  </a:lnTo>
                  <a:lnTo>
                    <a:pt x="2040" y="2448"/>
                  </a:lnTo>
                  <a:lnTo>
                    <a:pt x="2040" y="2454"/>
                  </a:lnTo>
                  <a:lnTo>
                    <a:pt x="2034" y="2460"/>
                  </a:lnTo>
                  <a:lnTo>
                    <a:pt x="2022" y="2460"/>
                  </a:lnTo>
                  <a:lnTo>
                    <a:pt x="2016" y="2466"/>
                  </a:lnTo>
                  <a:lnTo>
                    <a:pt x="2028" y="2478"/>
                  </a:lnTo>
                  <a:lnTo>
                    <a:pt x="2028" y="2490"/>
                  </a:lnTo>
                  <a:lnTo>
                    <a:pt x="2022" y="2496"/>
                  </a:lnTo>
                  <a:lnTo>
                    <a:pt x="2022" y="2502"/>
                  </a:lnTo>
                  <a:lnTo>
                    <a:pt x="2016" y="2514"/>
                  </a:lnTo>
                  <a:lnTo>
                    <a:pt x="2070" y="2520"/>
                  </a:lnTo>
                  <a:lnTo>
                    <a:pt x="2082" y="2550"/>
                  </a:lnTo>
                  <a:lnTo>
                    <a:pt x="2094" y="2550"/>
                  </a:lnTo>
                  <a:lnTo>
                    <a:pt x="2094" y="2568"/>
                  </a:lnTo>
                  <a:lnTo>
                    <a:pt x="2136" y="2568"/>
                  </a:lnTo>
                  <a:lnTo>
                    <a:pt x="2136" y="2562"/>
                  </a:lnTo>
                  <a:lnTo>
                    <a:pt x="2154" y="2544"/>
                  </a:lnTo>
                  <a:lnTo>
                    <a:pt x="2166" y="2544"/>
                  </a:lnTo>
                  <a:lnTo>
                    <a:pt x="2172" y="2550"/>
                  </a:lnTo>
                  <a:lnTo>
                    <a:pt x="2172" y="2592"/>
                  </a:lnTo>
                  <a:lnTo>
                    <a:pt x="2214" y="2592"/>
                  </a:lnTo>
                  <a:lnTo>
                    <a:pt x="2214" y="2556"/>
                  </a:lnTo>
                  <a:lnTo>
                    <a:pt x="2190" y="2532"/>
                  </a:lnTo>
                  <a:lnTo>
                    <a:pt x="2190" y="2490"/>
                  </a:lnTo>
                  <a:lnTo>
                    <a:pt x="2196" y="2484"/>
                  </a:lnTo>
                  <a:lnTo>
                    <a:pt x="2232" y="2490"/>
                  </a:lnTo>
                  <a:lnTo>
                    <a:pt x="2232" y="2472"/>
                  </a:lnTo>
                  <a:lnTo>
                    <a:pt x="2238" y="2460"/>
                  </a:lnTo>
                  <a:lnTo>
                    <a:pt x="2250" y="2460"/>
                  </a:lnTo>
                  <a:lnTo>
                    <a:pt x="2274" y="2484"/>
                  </a:lnTo>
                  <a:lnTo>
                    <a:pt x="2286" y="2484"/>
                  </a:lnTo>
                  <a:lnTo>
                    <a:pt x="2292" y="2478"/>
                  </a:lnTo>
                  <a:lnTo>
                    <a:pt x="2298" y="2466"/>
                  </a:lnTo>
                  <a:lnTo>
                    <a:pt x="2304" y="2460"/>
                  </a:lnTo>
                  <a:lnTo>
                    <a:pt x="2322" y="2478"/>
                  </a:lnTo>
                  <a:lnTo>
                    <a:pt x="2322" y="2460"/>
                  </a:lnTo>
                  <a:lnTo>
                    <a:pt x="2328" y="2460"/>
                  </a:lnTo>
                  <a:lnTo>
                    <a:pt x="2340" y="2478"/>
                  </a:lnTo>
                  <a:lnTo>
                    <a:pt x="2346" y="2484"/>
                  </a:lnTo>
                  <a:lnTo>
                    <a:pt x="2364" y="2484"/>
                  </a:lnTo>
                  <a:lnTo>
                    <a:pt x="2364" y="2472"/>
                  </a:lnTo>
                  <a:lnTo>
                    <a:pt x="2352" y="2460"/>
                  </a:lnTo>
                  <a:lnTo>
                    <a:pt x="2370" y="2460"/>
                  </a:lnTo>
                  <a:lnTo>
                    <a:pt x="2376" y="2466"/>
                  </a:lnTo>
                  <a:lnTo>
                    <a:pt x="2382" y="2460"/>
                  </a:lnTo>
                  <a:lnTo>
                    <a:pt x="2400" y="2460"/>
                  </a:lnTo>
                  <a:lnTo>
                    <a:pt x="2400" y="2454"/>
                  </a:lnTo>
                  <a:lnTo>
                    <a:pt x="2406" y="2442"/>
                  </a:lnTo>
                  <a:lnTo>
                    <a:pt x="2406" y="2430"/>
                  </a:lnTo>
                  <a:lnTo>
                    <a:pt x="2412" y="2424"/>
                  </a:lnTo>
                  <a:lnTo>
                    <a:pt x="2424" y="2418"/>
                  </a:lnTo>
                  <a:lnTo>
                    <a:pt x="2430" y="2412"/>
                  </a:lnTo>
                  <a:lnTo>
                    <a:pt x="2436" y="2412"/>
                  </a:lnTo>
                  <a:lnTo>
                    <a:pt x="2466" y="2448"/>
                  </a:lnTo>
                  <a:lnTo>
                    <a:pt x="2496" y="2442"/>
                  </a:lnTo>
                  <a:lnTo>
                    <a:pt x="2508" y="2454"/>
                  </a:lnTo>
                  <a:lnTo>
                    <a:pt x="2538" y="2454"/>
                  </a:lnTo>
                  <a:lnTo>
                    <a:pt x="2544" y="2460"/>
                  </a:lnTo>
                  <a:lnTo>
                    <a:pt x="2544" y="2466"/>
                  </a:lnTo>
                  <a:lnTo>
                    <a:pt x="2526" y="2484"/>
                  </a:lnTo>
                  <a:lnTo>
                    <a:pt x="2532" y="2502"/>
                  </a:lnTo>
                  <a:lnTo>
                    <a:pt x="2544" y="2508"/>
                  </a:lnTo>
                  <a:lnTo>
                    <a:pt x="2544" y="2526"/>
                  </a:lnTo>
                  <a:lnTo>
                    <a:pt x="2562" y="2526"/>
                  </a:lnTo>
                  <a:lnTo>
                    <a:pt x="2568" y="2532"/>
                  </a:lnTo>
                  <a:lnTo>
                    <a:pt x="2574" y="2544"/>
                  </a:lnTo>
                  <a:lnTo>
                    <a:pt x="2586" y="2550"/>
                  </a:lnTo>
                  <a:lnTo>
                    <a:pt x="2616" y="2550"/>
                  </a:lnTo>
                  <a:lnTo>
                    <a:pt x="2622" y="2556"/>
                  </a:lnTo>
                  <a:lnTo>
                    <a:pt x="2628" y="2556"/>
                  </a:lnTo>
                  <a:lnTo>
                    <a:pt x="2676" y="2526"/>
                  </a:lnTo>
                  <a:lnTo>
                    <a:pt x="2694" y="2538"/>
                  </a:lnTo>
                  <a:lnTo>
                    <a:pt x="2718" y="2538"/>
                  </a:lnTo>
                  <a:lnTo>
                    <a:pt x="2736" y="2544"/>
                  </a:lnTo>
                  <a:lnTo>
                    <a:pt x="2748" y="2544"/>
                  </a:lnTo>
                  <a:lnTo>
                    <a:pt x="2760" y="2550"/>
                  </a:lnTo>
                  <a:lnTo>
                    <a:pt x="2766" y="2556"/>
                  </a:lnTo>
                  <a:lnTo>
                    <a:pt x="2772" y="2568"/>
                  </a:lnTo>
                  <a:lnTo>
                    <a:pt x="2766" y="2580"/>
                  </a:lnTo>
                  <a:lnTo>
                    <a:pt x="2766" y="2604"/>
                  </a:lnTo>
                  <a:lnTo>
                    <a:pt x="2760" y="2616"/>
                  </a:lnTo>
                  <a:lnTo>
                    <a:pt x="2766" y="2628"/>
                  </a:lnTo>
                  <a:lnTo>
                    <a:pt x="2772" y="2634"/>
                  </a:lnTo>
                  <a:lnTo>
                    <a:pt x="2784" y="2640"/>
                  </a:lnTo>
                  <a:lnTo>
                    <a:pt x="2790" y="2652"/>
                  </a:lnTo>
                  <a:lnTo>
                    <a:pt x="2802" y="2658"/>
                  </a:lnTo>
                  <a:lnTo>
                    <a:pt x="2808" y="2664"/>
                  </a:lnTo>
                  <a:lnTo>
                    <a:pt x="2826" y="2664"/>
                  </a:lnTo>
                  <a:lnTo>
                    <a:pt x="2832" y="2640"/>
                  </a:lnTo>
                  <a:lnTo>
                    <a:pt x="2832" y="2634"/>
                  </a:lnTo>
                  <a:lnTo>
                    <a:pt x="2826" y="2628"/>
                  </a:lnTo>
                  <a:lnTo>
                    <a:pt x="2826" y="2586"/>
                  </a:lnTo>
                  <a:lnTo>
                    <a:pt x="2832" y="2568"/>
                  </a:lnTo>
                  <a:lnTo>
                    <a:pt x="2844" y="2556"/>
                  </a:lnTo>
                  <a:lnTo>
                    <a:pt x="2856" y="2550"/>
                  </a:lnTo>
                  <a:lnTo>
                    <a:pt x="2886" y="2550"/>
                  </a:lnTo>
                  <a:lnTo>
                    <a:pt x="2898" y="2544"/>
                  </a:lnTo>
                  <a:lnTo>
                    <a:pt x="2910" y="2544"/>
                  </a:lnTo>
                  <a:lnTo>
                    <a:pt x="2922" y="2538"/>
                  </a:lnTo>
                  <a:lnTo>
                    <a:pt x="2940" y="2538"/>
                  </a:lnTo>
                  <a:lnTo>
                    <a:pt x="2964" y="2532"/>
                  </a:lnTo>
                  <a:lnTo>
                    <a:pt x="2982" y="2526"/>
                  </a:lnTo>
                  <a:lnTo>
                    <a:pt x="3000" y="2508"/>
                  </a:lnTo>
                  <a:lnTo>
                    <a:pt x="3000" y="2466"/>
                  </a:lnTo>
                  <a:lnTo>
                    <a:pt x="3006" y="2454"/>
                  </a:lnTo>
                  <a:lnTo>
                    <a:pt x="3012" y="2448"/>
                  </a:lnTo>
                  <a:lnTo>
                    <a:pt x="3024" y="2460"/>
                  </a:lnTo>
                  <a:lnTo>
                    <a:pt x="3036" y="2484"/>
                  </a:lnTo>
                  <a:lnTo>
                    <a:pt x="3042" y="2490"/>
                  </a:lnTo>
                  <a:lnTo>
                    <a:pt x="3048" y="2490"/>
                  </a:lnTo>
                  <a:lnTo>
                    <a:pt x="3054" y="2484"/>
                  </a:lnTo>
                  <a:lnTo>
                    <a:pt x="3066" y="2478"/>
                  </a:lnTo>
                  <a:lnTo>
                    <a:pt x="3072" y="2466"/>
                  </a:lnTo>
                  <a:lnTo>
                    <a:pt x="3090" y="2448"/>
                  </a:lnTo>
                  <a:lnTo>
                    <a:pt x="3096" y="2436"/>
                  </a:lnTo>
                  <a:lnTo>
                    <a:pt x="3114" y="2454"/>
                  </a:lnTo>
                  <a:lnTo>
                    <a:pt x="3144" y="2442"/>
                  </a:lnTo>
                  <a:lnTo>
                    <a:pt x="3150" y="2442"/>
                  </a:lnTo>
                  <a:lnTo>
                    <a:pt x="3156" y="2448"/>
                  </a:lnTo>
                  <a:lnTo>
                    <a:pt x="3186" y="2448"/>
                  </a:lnTo>
                  <a:lnTo>
                    <a:pt x="3234" y="2424"/>
                  </a:lnTo>
                  <a:lnTo>
                    <a:pt x="3288" y="2370"/>
                  </a:lnTo>
                  <a:lnTo>
                    <a:pt x="3294" y="2358"/>
                  </a:lnTo>
                  <a:lnTo>
                    <a:pt x="3300" y="2352"/>
                  </a:lnTo>
                  <a:lnTo>
                    <a:pt x="3294" y="2340"/>
                  </a:lnTo>
                  <a:lnTo>
                    <a:pt x="3294" y="2334"/>
                  </a:lnTo>
                  <a:lnTo>
                    <a:pt x="3288" y="2322"/>
                  </a:lnTo>
                  <a:lnTo>
                    <a:pt x="3282" y="2316"/>
                  </a:lnTo>
                  <a:lnTo>
                    <a:pt x="3300" y="2316"/>
                  </a:lnTo>
                  <a:lnTo>
                    <a:pt x="3312" y="2286"/>
                  </a:lnTo>
                  <a:lnTo>
                    <a:pt x="3336" y="2286"/>
                  </a:lnTo>
                  <a:lnTo>
                    <a:pt x="3348" y="2250"/>
                  </a:lnTo>
                  <a:lnTo>
                    <a:pt x="3360" y="2250"/>
                  </a:lnTo>
                  <a:lnTo>
                    <a:pt x="3360" y="2208"/>
                  </a:lnTo>
                  <a:lnTo>
                    <a:pt x="3372" y="2208"/>
                  </a:lnTo>
                  <a:lnTo>
                    <a:pt x="3384" y="2196"/>
                  </a:lnTo>
                  <a:lnTo>
                    <a:pt x="3384" y="2172"/>
                  </a:lnTo>
                  <a:lnTo>
                    <a:pt x="3378" y="2160"/>
                  </a:lnTo>
                  <a:lnTo>
                    <a:pt x="3372" y="2154"/>
                  </a:lnTo>
                  <a:lnTo>
                    <a:pt x="3372" y="2142"/>
                  </a:lnTo>
                  <a:lnTo>
                    <a:pt x="3378" y="2136"/>
                  </a:lnTo>
                  <a:lnTo>
                    <a:pt x="3384" y="2136"/>
                  </a:lnTo>
                  <a:lnTo>
                    <a:pt x="3390" y="2130"/>
                  </a:lnTo>
                  <a:lnTo>
                    <a:pt x="3402" y="2124"/>
                  </a:lnTo>
                  <a:lnTo>
                    <a:pt x="3408" y="2118"/>
                  </a:lnTo>
                  <a:lnTo>
                    <a:pt x="3408" y="2094"/>
                  </a:lnTo>
                  <a:lnTo>
                    <a:pt x="3390" y="2076"/>
                  </a:lnTo>
                  <a:lnTo>
                    <a:pt x="3390" y="2064"/>
                  </a:lnTo>
                  <a:lnTo>
                    <a:pt x="3402" y="2058"/>
                  </a:lnTo>
                  <a:lnTo>
                    <a:pt x="3408" y="2052"/>
                  </a:lnTo>
                  <a:lnTo>
                    <a:pt x="3408" y="2016"/>
                  </a:lnTo>
                  <a:lnTo>
                    <a:pt x="3414" y="2016"/>
                  </a:lnTo>
                  <a:lnTo>
                    <a:pt x="3420" y="2010"/>
                  </a:lnTo>
                  <a:lnTo>
                    <a:pt x="3456" y="1992"/>
                  </a:lnTo>
                  <a:lnTo>
                    <a:pt x="3462" y="1980"/>
                  </a:lnTo>
                  <a:lnTo>
                    <a:pt x="3462" y="1962"/>
                  </a:lnTo>
                  <a:lnTo>
                    <a:pt x="3456" y="1956"/>
                  </a:lnTo>
                  <a:lnTo>
                    <a:pt x="3444" y="1956"/>
                  </a:lnTo>
                  <a:lnTo>
                    <a:pt x="3450" y="1956"/>
                  </a:lnTo>
                  <a:lnTo>
                    <a:pt x="3456" y="1950"/>
                  </a:lnTo>
                  <a:lnTo>
                    <a:pt x="3468" y="1950"/>
                  </a:lnTo>
                  <a:lnTo>
                    <a:pt x="3480" y="1944"/>
                  </a:lnTo>
                  <a:lnTo>
                    <a:pt x="3492" y="1932"/>
                  </a:lnTo>
                  <a:lnTo>
                    <a:pt x="3474" y="1914"/>
                  </a:lnTo>
                  <a:lnTo>
                    <a:pt x="3468" y="1914"/>
                  </a:lnTo>
                  <a:lnTo>
                    <a:pt x="3486" y="1896"/>
                  </a:lnTo>
                  <a:lnTo>
                    <a:pt x="3498" y="1872"/>
                  </a:lnTo>
                  <a:lnTo>
                    <a:pt x="3504" y="1866"/>
                  </a:lnTo>
                  <a:lnTo>
                    <a:pt x="3504" y="1854"/>
                  </a:lnTo>
                  <a:lnTo>
                    <a:pt x="3498" y="1848"/>
                  </a:lnTo>
                  <a:lnTo>
                    <a:pt x="3474" y="1842"/>
                  </a:lnTo>
                  <a:lnTo>
                    <a:pt x="3438" y="1848"/>
                  </a:lnTo>
                  <a:lnTo>
                    <a:pt x="3396" y="1854"/>
                  </a:lnTo>
                  <a:lnTo>
                    <a:pt x="3366" y="1860"/>
                  </a:lnTo>
                  <a:lnTo>
                    <a:pt x="3354" y="1866"/>
                  </a:lnTo>
                  <a:lnTo>
                    <a:pt x="3336" y="1848"/>
                  </a:lnTo>
                  <a:lnTo>
                    <a:pt x="3378" y="1848"/>
                  </a:lnTo>
                  <a:lnTo>
                    <a:pt x="3378" y="1836"/>
                  </a:lnTo>
                  <a:lnTo>
                    <a:pt x="3384" y="1824"/>
                  </a:lnTo>
                  <a:lnTo>
                    <a:pt x="3390" y="1818"/>
                  </a:lnTo>
                  <a:lnTo>
                    <a:pt x="3402" y="1812"/>
                  </a:lnTo>
                  <a:lnTo>
                    <a:pt x="3432" y="1812"/>
                  </a:lnTo>
                  <a:lnTo>
                    <a:pt x="3426" y="1800"/>
                  </a:lnTo>
                  <a:lnTo>
                    <a:pt x="3420" y="1794"/>
                  </a:lnTo>
                  <a:lnTo>
                    <a:pt x="3414" y="1782"/>
                  </a:lnTo>
                  <a:lnTo>
                    <a:pt x="3414" y="1776"/>
                  </a:lnTo>
                  <a:lnTo>
                    <a:pt x="3408" y="1770"/>
                  </a:lnTo>
                  <a:lnTo>
                    <a:pt x="3390" y="1770"/>
                  </a:lnTo>
                  <a:lnTo>
                    <a:pt x="3378" y="1764"/>
                  </a:lnTo>
                  <a:lnTo>
                    <a:pt x="3366" y="1764"/>
                  </a:lnTo>
                  <a:lnTo>
                    <a:pt x="3354" y="1746"/>
                  </a:lnTo>
                  <a:lnTo>
                    <a:pt x="3342" y="1746"/>
                  </a:lnTo>
                  <a:lnTo>
                    <a:pt x="3336" y="1734"/>
                  </a:lnTo>
                  <a:lnTo>
                    <a:pt x="3324" y="1728"/>
                  </a:lnTo>
                  <a:lnTo>
                    <a:pt x="3294" y="1728"/>
                  </a:lnTo>
                  <a:lnTo>
                    <a:pt x="3288" y="1734"/>
                  </a:lnTo>
                  <a:lnTo>
                    <a:pt x="3282" y="1734"/>
                  </a:lnTo>
                  <a:lnTo>
                    <a:pt x="3246" y="1686"/>
                  </a:lnTo>
                  <a:lnTo>
                    <a:pt x="3252" y="1698"/>
                  </a:lnTo>
                  <a:lnTo>
                    <a:pt x="3264" y="1704"/>
                  </a:lnTo>
                  <a:lnTo>
                    <a:pt x="3270" y="1710"/>
                  </a:lnTo>
                  <a:lnTo>
                    <a:pt x="3282" y="1716"/>
                  </a:lnTo>
                  <a:lnTo>
                    <a:pt x="3294" y="1716"/>
                  </a:lnTo>
                  <a:lnTo>
                    <a:pt x="3300" y="1710"/>
                  </a:lnTo>
                  <a:lnTo>
                    <a:pt x="3306" y="1710"/>
                  </a:lnTo>
                  <a:lnTo>
                    <a:pt x="3336" y="1716"/>
                  </a:lnTo>
                  <a:lnTo>
                    <a:pt x="3348" y="1734"/>
                  </a:lnTo>
                  <a:lnTo>
                    <a:pt x="3366" y="1728"/>
                  </a:lnTo>
                  <a:lnTo>
                    <a:pt x="3408" y="1740"/>
                  </a:lnTo>
                  <a:lnTo>
                    <a:pt x="3390" y="1716"/>
                  </a:lnTo>
                  <a:lnTo>
                    <a:pt x="3372" y="1710"/>
                  </a:lnTo>
                  <a:lnTo>
                    <a:pt x="3372" y="1692"/>
                  </a:lnTo>
                  <a:lnTo>
                    <a:pt x="3360" y="1680"/>
                  </a:lnTo>
                  <a:lnTo>
                    <a:pt x="3348" y="1674"/>
                  </a:lnTo>
                  <a:lnTo>
                    <a:pt x="3330" y="1674"/>
                  </a:lnTo>
                  <a:lnTo>
                    <a:pt x="3318" y="1662"/>
                  </a:lnTo>
                  <a:lnTo>
                    <a:pt x="3318" y="1650"/>
                  </a:lnTo>
                  <a:lnTo>
                    <a:pt x="3312" y="1644"/>
                  </a:lnTo>
                  <a:lnTo>
                    <a:pt x="3312" y="1632"/>
                  </a:lnTo>
                  <a:lnTo>
                    <a:pt x="3234" y="1530"/>
                  </a:lnTo>
                  <a:lnTo>
                    <a:pt x="3198" y="1524"/>
                  </a:lnTo>
                  <a:lnTo>
                    <a:pt x="3162" y="1494"/>
                  </a:lnTo>
                  <a:lnTo>
                    <a:pt x="3144" y="1500"/>
                  </a:lnTo>
                  <a:lnTo>
                    <a:pt x="3138" y="1488"/>
                  </a:lnTo>
                  <a:lnTo>
                    <a:pt x="3132" y="1482"/>
                  </a:lnTo>
                  <a:lnTo>
                    <a:pt x="3132" y="1470"/>
                  </a:lnTo>
                  <a:lnTo>
                    <a:pt x="3126" y="1464"/>
                  </a:lnTo>
                  <a:lnTo>
                    <a:pt x="3138" y="1452"/>
                  </a:lnTo>
                  <a:lnTo>
                    <a:pt x="3150" y="1446"/>
                  </a:lnTo>
                  <a:lnTo>
                    <a:pt x="3156" y="1434"/>
                  </a:lnTo>
                  <a:lnTo>
                    <a:pt x="3162" y="1428"/>
                  </a:lnTo>
                  <a:lnTo>
                    <a:pt x="3168" y="1416"/>
                  </a:lnTo>
                  <a:lnTo>
                    <a:pt x="3168" y="1410"/>
                  </a:lnTo>
                  <a:lnTo>
                    <a:pt x="3162" y="1398"/>
                  </a:lnTo>
                  <a:lnTo>
                    <a:pt x="3162" y="1392"/>
                  </a:lnTo>
                  <a:lnTo>
                    <a:pt x="3156" y="1380"/>
                  </a:lnTo>
                  <a:lnTo>
                    <a:pt x="3168" y="1386"/>
                  </a:lnTo>
                  <a:lnTo>
                    <a:pt x="3174" y="1392"/>
                  </a:lnTo>
                  <a:lnTo>
                    <a:pt x="3186" y="1398"/>
                  </a:lnTo>
                  <a:lnTo>
                    <a:pt x="3198" y="1386"/>
                  </a:lnTo>
                  <a:lnTo>
                    <a:pt x="3198" y="1368"/>
                  </a:lnTo>
                  <a:lnTo>
                    <a:pt x="3192" y="1356"/>
                  </a:lnTo>
                  <a:lnTo>
                    <a:pt x="3192" y="1344"/>
                  </a:lnTo>
                  <a:lnTo>
                    <a:pt x="3216" y="1344"/>
                  </a:lnTo>
                  <a:lnTo>
                    <a:pt x="3252" y="1320"/>
                  </a:lnTo>
                  <a:lnTo>
                    <a:pt x="3264" y="1320"/>
                  </a:lnTo>
                  <a:lnTo>
                    <a:pt x="3270" y="1326"/>
                  </a:lnTo>
                  <a:lnTo>
                    <a:pt x="3294" y="1326"/>
                  </a:lnTo>
                  <a:lnTo>
                    <a:pt x="3294" y="1320"/>
                  </a:lnTo>
                  <a:lnTo>
                    <a:pt x="3288" y="1314"/>
                  </a:lnTo>
                  <a:lnTo>
                    <a:pt x="3288" y="1308"/>
                  </a:lnTo>
                  <a:lnTo>
                    <a:pt x="3282" y="1302"/>
                  </a:lnTo>
                  <a:lnTo>
                    <a:pt x="3288" y="1278"/>
                  </a:lnTo>
                  <a:lnTo>
                    <a:pt x="3258" y="1278"/>
                  </a:lnTo>
                  <a:lnTo>
                    <a:pt x="3246" y="1266"/>
                  </a:lnTo>
                  <a:lnTo>
                    <a:pt x="3240" y="1278"/>
                  </a:lnTo>
                  <a:lnTo>
                    <a:pt x="3204" y="1278"/>
                  </a:lnTo>
                  <a:lnTo>
                    <a:pt x="3198" y="1272"/>
                  </a:lnTo>
                  <a:lnTo>
                    <a:pt x="3192" y="1260"/>
                  </a:lnTo>
                  <a:lnTo>
                    <a:pt x="3180" y="1254"/>
                  </a:lnTo>
                  <a:lnTo>
                    <a:pt x="3174" y="1248"/>
                  </a:lnTo>
                  <a:lnTo>
                    <a:pt x="3150" y="1248"/>
                  </a:lnTo>
                  <a:lnTo>
                    <a:pt x="3144" y="1260"/>
                  </a:lnTo>
                  <a:lnTo>
                    <a:pt x="3132" y="1266"/>
                  </a:lnTo>
                  <a:lnTo>
                    <a:pt x="3114" y="1284"/>
                  </a:lnTo>
                  <a:lnTo>
                    <a:pt x="3114" y="1296"/>
                  </a:lnTo>
                  <a:lnTo>
                    <a:pt x="3108" y="1302"/>
                  </a:lnTo>
                  <a:lnTo>
                    <a:pt x="3108" y="1308"/>
                  </a:lnTo>
                  <a:lnTo>
                    <a:pt x="3078" y="1308"/>
                  </a:lnTo>
                  <a:lnTo>
                    <a:pt x="3054" y="1296"/>
                  </a:lnTo>
                  <a:lnTo>
                    <a:pt x="3048" y="1290"/>
                  </a:lnTo>
                  <a:lnTo>
                    <a:pt x="3042" y="1278"/>
                  </a:lnTo>
                  <a:lnTo>
                    <a:pt x="3030" y="1242"/>
                  </a:lnTo>
                  <a:lnTo>
                    <a:pt x="3024" y="1230"/>
                  </a:lnTo>
                  <a:lnTo>
                    <a:pt x="3018" y="1224"/>
                  </a:lnTo>
                  <a:lnTo>
                    <a:pt x="3006" y="1224"/>
                  </a:lnTo>
                  <a:lnTo>
                    <a:pt x="3000" y="1230"/>
                  </a:lnTo>
                  <a:lnTo>
                    <a:pt x="3000" y="1242"/>
                  </a:lnTo>
                  <a:lnTo>
                    <a:pt x="2988" y="1224"/>
                  </a:lnTo>
                  <a:lnTo>
                    <a:pt x="2952" y="1224"/>
                  </a:lnTo>
                  <a:lnTo>
                    <a:pt x="2940" y="1218"/>
                  </a:lnTo>
                  <a:lnTo>
                    <a:pt x="2934" y="1212"/>
                  </a:lnTo>
                  <a:lnTo>
                    <a:pt x="2928" y="1200"/>
                  </a:lnTo>
                  <a:lnTo>
                    <a:pt x="2916" y="1194"/>
                  </a:lnTo>
                  <a:lnTo>
                    <a:pt x="2910" y="1182"/>
                  </a:lnTo>
                  <a:lnTo>
                    <a:pt x="2910" y="1140"/>
                  </a:lnTo>
                  <a:lnTo>
                    <a:pt x="2928" y="1140"/>
                  </a:lnTo>
                  <a:lnTo>
                    <a:pt x="2940" y="1152"/>
                  </a:lnTo>
                  <a:lnTo>
                    <a:pt x="2946" y="1152"/>
                  </a:lnTo>
                  <a:lnTo>
                    <a:pt x="2952" y="1146"/>
                  </a:lnTo>
                  <a:lnTo>
                    <a:pt x="2952" y="1140"/>
                  </a:lnTo>
                  <a:lnTo>
                    <a:pt x="2958" y="1134"/>
                  </a:lnTo>
                  <a:lnTo>
                    <a:pt x="2964" y="1134"/>
                  </a:lnTo>
                  <a:lnTo>
                    <a:pt x="2970" y="1140"/>
                  </a:lnTo>
                  <a:lnTo>
                    <a:pt x="2982" y="1140"/>
                  </a:lnTo>
                  <a:lnTo>
                    <a:pt x="2994" y="1134"/>
                  </a:lnTo>
                  <a:lnTo>
                    <a:pt x="3000" y="1128"/>
                  </a:lnTo>
                  <a:lnTo>
                    <a:pt x="3000" y="1116"/>
                  </a:lnTo>
                  <a:lnTo>
                    <a:pt x="2994" y="1110"/>
                  </a:lnTo>
                  <a:lnTo>
                    <a:pt x="2994" y="1086"/>
                  </a:lnTo>
                  <a:lnTo>
                    <a:pt x="3000" y="1074"/>
                  </a:lnTo>
                  <a:lnTo>
                    <a:pt x="3000" y="1068"/>
                  </a:lnTo>
                  <a:lnTo>
                    <a:pt x="3036" y="1068"/>
                  </a:lnTo>
                  <a:lnTo>
                    <a:pt x="3042" y="1062"/>
                  </a:lnTo>
                  <a:lnTo>
                    <a:pt x="3048" y="1050"/>
                  </a:lnTo>
                  <a:lnTo>
                    <a:pt x="3048" y="1038"/>
                  </a:lnTo>
                  <a:lnTo>
                    <a:pt x="3054" y="1032"/>
                  </a:lnTo>
                  <a:lnTo>
                    <a:pt x="3054" y="1026"/>
                  </a:lnTo>
                  <a:lnTo>
                    <a:pt x="3072" y="1014"/>
                  </a:lnTo>
                  <a:lnTo>
                    <a:pt x="3060" y="1002"/>
                  </a:lnTo>
                  <a:lnTo>
                    <a:pt x="3096" y="1014"/>
                  </a:lnTo>
                  <a:lnTo>
                    <a:pt x="3114" y="996"/>
                  </a:lnTo>
                  <a:lnTo>
                    <a:pt x="3126" y="1002"/>
                  </a:lnTo>
                  <a:lnTo>
                    <a:pt x="3132" y="1014"/>
                  </a:lnTo>
                  <a:lnTo>
                    <a:pt x="3144" y="1020"/>
                  </a:lnTo>
                  <a:lnTo>
                    <a:pt x="3156" y="1044"/>
                  </a:lnTo>
                  <a:lnTo>
                    <a:pt x="3156" y="1050"/>
                  </a:lnTo>
                  <a:lnTo>
                    <a:pt x="3144" y="1074"/>
                  </a:lnTo>
                  <a:lnTo>
                    <a:pt x="3126" y="1092"/>
                  </a:lnTo>
                  <a:lnTo>
                    <a:pt x="3126" y="1104"/>
                  </a:lnTo>
                  <a:lnTo>
                    <a:pt x="3132" y="1116"/>
                  </a:lnTo>
                  <a:lnTo>
                    <a:pt x="3144" y="1128"/>
                  </a:lnTo>
                  <a:lnTo>
                    <a:pt x="3150" y="1128"/>
                  </a:lnTo>
                  <a:lnTo>
                    <a:pt x="3162" y="1122"/>
                  </a:lnTo>
                  <a:lnTo>
                    <a:pt x="3168" y="1122"/>
                  </a:lnTo>
                  <a:lnTo>
                    <a:pt x="3162" y="1152"/>
                  </a:lnTo>
                  <a:lnTo>
                    <a:pt x="3144" y="1170"/>
                  </a:lnTo>
                  <a:lnTo>
                    <a:pt x="3144" y="1176"/>
                  </a:lnTo>
                  <a:lnTo>
                    <a:pt x="3150" y="1176"/>
                  </a:lnTo>
                  <a:lnTo>
                    <a:pt x="3162" y="1170"/>
                  </a:lnTo>
                  <a:lnTo>
                    <a:pt x="3168" y="1164"/>
                  </a:lnTo>
                  <a:lnTo>
                    <a:pt x="3180" y="1158"/>
                  </a:lnTo>
                  <a:lnTo>
                    <a:pt x="3186" y="1158"/>
                  </a:lnTo>
                  <a:lnTo>
                    <a:pt x="3198" y="1146"/>
                  </a:lnTo>
                  <a:lnTo>
                    <a:pt x="3198" y="1122"/>
                  </a:lnTo>
                  <a:lnTo>
                    <a:pt x="3204" y="1122"/>
                  </a:lnTo>
                  <a:lnTo>
                    <a:pt x="3210" y="1116"/>
                  </a:lnTo>
                  <a:lnTo>
                    <a:pt x="3258" y="1092"/>
                  </a:lnTo>
                  <a:lnTo>
                    <a:pt x="3264" y="1086"/>
                  </a:lnTo>
                  <a:lnTo>
                    <a:pt x="3306" y="1086"/>
                  </a:lnTo>
                  <a:lnTo>
                    <a:pt x="3312" y="1074"/>
                  </a:lnTo>
                  <a:lnTo>
                    <a:pt x="3312" y="1062"/>
                  </a:lnTo>
                  <a:lnTo>
                    <a:pt x="3318" y="1056"/>
                  </a:lnTo>
                  <a:lnTo>
                    <a:pt x="3324" y="1044"/>
                  </a:lnTo>
                  <a:lnTo>
                    <a:pt x="3360" y="1026"/>
                  </a:lnTo>
                  <a:lnTo>
                    <a:pt x="3372" y="1014"/>
                  </a:lnTo>
                  <a:lnTo>
                    <a:pt x="3390" y="978"/>
                  </a:lnTo>
                  <a:lnTo>
                    <a:pt x="3390" y="948"/>
                  </a:lnTo>
                  <a:lnTo>
                    <a:pt x="3396" y="942"/>
                  </a:lnTo>
                  <a:lnTo>
                    <a:pt x="3396" y="936"/>
                  </a:lnTo>
                  <a:lnTo>
                    <a:pt x="3408" y="936"/>
                  </a:lnTo>
                  <a:lnTo>
                    <a:pt x="3420" y="942"/>
                  </a:lnTo>
                  <a:lnTo>
                    <a:pt x="3432" y="954"/>
                  </a:lnTo>
                  <a:lnTo>
                    <a:pt x="3444" y="954"/>
                  </a:lnTo>
                  <a:lnTo>
                    <a:pt x="3456" y="960"/>
                  </a:lnTo>
                  <a:lnTo>
                    <a:pt x="3504" y="960"/>
                  </a:lnTo>
                  <a:lnTo>
                    <a:pt x="3504" y="948"/>
                  </a:lnTo>
                  <a:lnTo>
                    <a:pt x="3498" y="948"/>
                  </a:lnTo>
                  <a:lnTo>
                    <a:pt x="3474" y="924"/>
                  </a:lnTo>
                  <a:lnTo>
                    <a:pt x="3474" y="912"/>
                  </a:lnTo>
                  <a:lnTo>
                    <a:pt x="3480" y="906"/>
                  </a:lnTo>
                  <a:lnTo>
                    <a:pt x="3486" y="912"/>
                  </a:lnTo>
                  <a:lnTo>
                    <a:pt x="3510" y="912"/>
                  </a:lnTo>
                  <a:lnTo>
                    <a:pt x="3522" y="918"/>
                  </a:lnTo>
                  <a:lnTo>
                    <a:pt x="3534" y="912"/>
                  </a:lnTo>
                  <a:lnTo>
                    <a:pt x="3540" y="900"/>
                  </a:lnTo>
                  <a:lnTo>
                    <a:pt x="3540" y="894"/>
                  </a:lnTo>
                  <a:lnTo>
                    <a:pt x="3534" y="882"/>
                  </a:lnTo>
                  <a:lnTo>
                    <a:pt x="3558" y="882"/>
                  </a:lnTo>
                  <a:lnTo>
                    <a:pt x="3558" y="864"/>
                  </a:lnTo>
                  <a:lnTo>
                    <a:pt x="3552" y="852"/>
                  </a:lnTo>
                  <a:lnTo>
                    <a:pt x="3546" y="846"/>
                  </a:lnTo>
                  <a:lnTo>
                    <a:pt x="3546" y="840"/>
                  </a:lnTo>
                  <a:lnTo>
                    <a:pt x="3576" y="840"/>
                  </a:lnTo>
                  <a:lnTo>
                    <a:pt x="3594" y="864"/>
                  </a:lnTo>
                  <a:lnTo>
                    <a:pt x="3600" y="840"/>
                  </a:lnTo>
                  <a:lnTo>
                    <a:pt x="3630" y="846"/>
                  </a:lnTo>
                  <a:lnTo>
                    <a:pt x="3624" y="810"/>
                  </a:lnTo>
                  <a:lnTo>
                    <a:pt x="3618" y="798"/>
                  </a:lnTo>
                  <a:lnTo>
                    <a:pt x="3606" y="786"/>
                  </a:lnTo>
                  <a:lnTo>
                    <a:pt x="3606" y="774"/>
                  </a:lnTo>
                  <a:lnTo>
                    <a:pt x="3600" y="756"/>
                  </a:lnTo>
                  <a:lnTo>
                    <a:pt x="3588" y="744"/>
                  </a:lnTo>
                  <a:lnTo>
                    <a:pt x="3576" y="726"/>
                  </a:lnTo>
                  <a:lnTo>
                    <a:pt x="3564" y="720"/>
                  </a:lnTo>
                  <a:lnTo>
                    <a:pt x="3552" y="708"/>
                  </a:lnTo>
                  <a:lnTo>
                    <a:pt x="3546" y="708"/>
                  </a:lnTo>
                  <a:lnTo>
                    <a:pt x="3540" y="696"/>
                  </a:lnTo>
                  <a:lnTo>
                    <a:pt x="3540" y="684"/>
                  </a:lnTo>
                  <a:lnTo>
                    <a:pt x="3564" y="684"/>
                  </a:lnTo>
                  <a:lnTo>
                    <a:pt x="3564" y="672"/>
                  </a:lnTo>
                  <a:lnTo>
                    <a:pt x="3558" y="666"/>
                  </a:lnTo>
                  <a:lnTo>
                    <a:pt x="3564" y="660"/>
                  </a:lnTo>
                  <a:lnTo>
                    <a:pt x="3588" y="660"/>
                  </a:lnTo>
                  <a:lnTo>
                    <a:pt x="3600" y="666"/>
                  </a:lnTo>
                  <a:lnTo>
                    <a:pt x="3618" y="672"/>
                  </a:lnTo>
                  <a:lnTo>
                    <a:pt x="3630" y="672"/>
                  </a:lnTo>
                  <a:lnTo>
                    <a:pt x="3642" y="678"/>
                  </a:lnTo>
                  <a:lnTo>
                    <a:pt x="3648" y="678"/>
                  </a:lnTo>
                  <a:lnTo>
                    <a:pt x="3654" y="672"/>
                  </a:lnTo>
                  <a:lnTo>
                    <a:pt x="3654" y="660"/>
                  </a:lnTo>
                  <a:lnTo>
                    <a:pt x="3648" y="648"/>
                  </a:lnTo>
                  <a:lnTo>
                    <a:pt x="3648" y="630"/>
                  </a:lnTo>
                  <a:lnTo>
                    <a:pt x="3654" y="630"/>
                  </a:lnTo>
                  <a:lnTo>
                    <a:pt x="3660" y="624"/>
                  </a:lnTo>
                  <a:close/>
                </a:path>
              </a:pathLst>
            </a:custGeom>
            <a:solidFill>
              <a:srgbClr val="3B3939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159" name="Chad" descr="© INSCALE GmbH, 05.05.2010&#10;http://www.presentationload.com/"/>
            <p:cNvSpPr>
              <a:spLocks/>
            </p:cNvSpPr>
            <p:nvPr/>
          </p:nvSpPr>
          <p:spPr bwMode="gray">
            <a:xfrm>
              <a:off x="4775462" y="3717121"/>
              <a:ext cx="241890" cy="400506"/>
            </a:xfrm>
            <a:custGeom>
              <a:avLst/>
              <a:gdLst>
                <a:gd name="T0" fmla="*/ 2147483647 w 744"/>
                <a:gd name="T1" fmla="*/ 2147483647 h 1290"/>
                <a:gd name="T2" fmla="*/ 2147483647 w 744"/>
                <a:gd name="T3" fmla="*/ 0 h 1290"/>
                <a:gd name="T4" fmla="*/ 2147483647 w 744"/>
                <a:gd name="T5" fmla="*/ 2147483647 h 1290"/>
                <a:gd name="T6" fmla="*/ 2147483647 w 744"/>
                <a:gd name="T7" fmla="*/ 2147483647 h 1290"/>
                <a:gd name="T8" fmla="*/ 2147483647 w 744"/>
                <a:gd name="T9" fmla="*/ 2147483647 h 1290"/>
                <a:gd name="T10" fmla="*/ 2147483647 w 744"/>
                <a:gd name="T11" fmla="*/ 2147483647 h 1290"/>
                <a:gd name="T12" fmla="*/ 2147483647 w 744"/>
                <a:gd name="T13" fmla="*/ 2147483647 h 1290"/>
                <a:gd name="T14" fmla="*/ 2147483647 w 744"/>
                <a:gd name="T15" fmla="*/ 2147483647 h 1290"/>
                <a:gd name="T16" fmla="*/ 2147483647 w 744"/>
                <a:gd name="T17" fmla="*/ 2147483647 h 1290"/>
                <a:gd name="T18" fmla="*/ 0 w 744"/>
                <a:gd name="T19" fmla="*/ 2147483647 h 1290"/>
                <a:gd name="T20" fmla="*/ 2147483647 w 744"/>
                <a:gd name="T21" fmla="*/ 2147483647 h 1290"/>
                <a:gd name="T22" fmla="*/ 2147483647 w 744"/>
                <a:gd name="T23" fmla="*/ 2147483647 h 1290"/>
                <a:gd name="T24" fmla="*/ 2147483647 w 744"/>
                <a:gd name="T25" fmla="*/ 2147483647 h 1290"/>
                <a:gd name="T26" fmla="*/ 2147483647 w 744"/>
                <a:gd name="T27" fmla="*/ 2147483647 h 1290"/>
                <a:gd name="T28" fmla="*/ 2147483647 w 744"/>
                <a:gd name="T29" fmla="*/ 2147483647 h 1290"/>
                <a:gd name="T30" fmla="*/ 2147483647 w 744"/>
                <a:gd name="T31" fmla="*/ 2147483647 h 1290"/>
                <a:gd name="T32" fmla="*/ 2147483647 w 744"/>
                <a:gd name="T33" fmla="*/ 2147483647 h 1290"/>
                <a:gd name="T34" fmla="*/ 2147483647 w 744"/>
                <a:gd name="T35" fmla="*/ 2147483647 h 1290"/>
                <a:gd name="T36" fmla="*/ 2147483647 w 744"/>
                <a:gd name="T37" fmla="*/ 2147483647 h 1290"/>
                <a:gd name="T38" fmla="*/ 2147483647 w 744"/>
                <a:gd name="T39" fmla="*/ 2147483647 h 1290"/>
                <a:gd name="T40" fmla="*/ 2147483647 w 744"/>
                <a:gd name="T41" fmla="*/ 2147483647 h 1290"/>
                <a:gd name="T42" fmla="*/ 2147483647 w 744"/>
                <a:gd name="T43" fmla="*/ 2147483647 h 1290"/>
                <a:gd name="T44" fmla="*/ 2147483647 w 744"/>
                <a:gd name="T45" fmla="*/ 2147483647 h 1290"/>
                <a:gd name="T46" fmla="*/ 2147483647 w 744"/>
                <a:gd name="T47" fmla="*/ 2147483647 h 1290"/>
                <a:gd name="T48" fmla="*/ 2147483647 w 744"/>
                <a:gd name="T49" fmla="*/ 2147483647 h 1290"/>
                <a:gd name="T50" fmla="*/ 2147483647 w 744"/>
                <a:gd name="T51" fmla="*/ 2147483647 h 1290"/>
                <a:gd name="T52" fmla="*/ 2147483647 w 744"/>
                <a:gd name="T53" fmla="*/ 2147483647 h 1290"/>
                <a:gd name="T54" fmla="*/ 2147483647 w 744"/>
                <a:gd name="T55" fmla="*/ 2147483647 h 1290"/>
                <a:gd name="T56" fmla="*/ 2147483647 w 744"/>
                <a:gd name="T57" fmla="*/ 2147483647 h 1290"/>
                <a:gd name="T58" fmla="*/ 2147483647 w 744"/>
                <a:gd name="T59" fmla="*/ 2147483647 h 1290"/>
                <a:gd name="T60" fmla="*/ 2147483647 w 744"/>
                <a:gd name="T61" fmla="*/ 2147483647 h 1290"/>
                <a:gd name="T62" fmla="*/ 2147483647 w 744"/>
                <a:gd name="T63" fmla="*/ 2147483647 h 1290"/>
                <a:gd name="T64" fmla="*/ 2147483647 w 744"/>
                <a:gd name="T65" fmla="*/ 2147483647 h 1290"/>
                <a:gd name="T66" fmla="*/ 2147483647 w 744"/>
                <a:gd name="T67" fmla="*/ 2147483647 h 1290"/>
                <a:gd name="T68" fmla="*/ 2147483647 w 744"/>
                <a:gd name="T69" fmla="*/ 2147483647 h 1290"/>
                <a:gd name="T70" fmla="*/ 2147483647 w 744"/>
                <a:gd name="T71" fmla="*/ 2147483647 h 1290"/>
                <a:gd name="T72" fmla="*/ 2147483647 w 744"/>
                <a:gd name="T73" fmla="*/ 2147483647 h 1290"/>
                <a:gd name="T74" fmla="*/ 2147483647 w 744"/>
                <a:gd name="T75" fmla="*/ 2147483647 h 1290"/>
                <a:gd name="T76" fmla="*/ 2147483647 w 744"/>
                <a:gd name="T77" fmla="*/ 2147483647 h 1290"/>
                <a:gd name="T78" fmla="*/ 2147483647 w 744"/>
                <a:gd name="T79" fmla="*/ 2147483647 h 1290"/>
                <a:gd name="T80" fmla="*/ 2147483647 w 744"/>
                <a:gd name="T81" fmla="*/ 2147483647 h 1290"/>
                <a:gd name="T82" fmla="*/ 2147483647 w 744"/>
                <a:gd name="T83" fmla="*/ 2147483647 h 1290"/>
                <a:gd name="T84" fmla="*/ 2147483647 w 744"/>
                <a:gd name="T85" fmla="*/ 2147483647 h 1290"/>
                <a:gd name="T86" fmla="*/ 2147483647 w 744"/>
                <a:gd name="T87" fmla="*/ 2147483647 h 1290"/>
                <a:gd name="T88" fmla="*/ 2147483647 w 744"/>
                <a:gd name="T89" fmla="*/ 2147483647 h 1290"/>
                <a:gd name="T90" fmla="*/ 2147483647 w 744"/>
                <a:gd name="T91" fmla="*/ 2147483647 h 1290"/>
                <a:gd name="T92" fmla="*/ 2147483647 w 744"/>
                <a:gd name="T93" fmla="*/ 2147483647 h 129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744"/>
                <a:gd name="T142" fmla="*/ 0 h 1290"/>
                <a:gd name="T143" fmla="*/ 744 w 744"/>
                <a:gd name="T144" fmla="*/ 1290 h 1290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744" h="1290">
                  <a:moveTo>
                    <a:pt x="678" y="624"/>
                  </a:moveTo>
                  <a:lnTo>
                    <a:pt x="720" y="624"/>
                  </a:lnTo>
                  <a:lnTo>
                    <a:pt x="732" y="630"/>
                  </a:lnTo>
                  <a:lnTo>
                    <a:pt x="744" y="630"/>
                  </a:lnTo>
                  <a:lnTo>
                    <a:pt x="738" y="324"/>
                  </a:lnTo>
                  <a:lnTo>
                    <a:pt x="180" y="0"/>
                  </a:lnTo>
                  <a:lnTo>
                    <a:pt x="156" y="12"/>
                  </a:lnTo>
                  <a:lnTo>
                    <a:pt x="144" y="24"/>
                  </a:lnTo>
                  <a:lnTo>
                    <a:pt x="126" y="30"/>
                  </a:lnTo>
                  <a:lnTo>
                    <a:pt x="108" y="42"/>
                  </a:lnTo>
                  <a:lnTo>
                    <a:pt x="126" y="108"/>
                  </a:lnTo>
                  <a:lnTo>
                    <a:pt x="114" y="156"/>
                  </a:lnTo>
                  <a:lnTo>
                    <a:pt x="144" y="192"/>
                  </a:lnTo>
                  <a:lnTo>
                    <a:pt x="150" y="216"/>
                  </a:lnTo>
                  <a:lnTo>
                    <a:pt x="180" y="252"/>
                  </a:lnTo>
                  <a:lnTo>
                    <a:pt x="162" y="288"/>
                  </a:lnTo>
                  <a:lnTo>
                    <a:pt x="144" y="534"/>
                  </a:lnTo>
                  <a:lnTo>
                    <a:pt x="138" y="540"/>
                  </a:lnTo>
                  <a:lnTo>
                    <a:pt x="120" y="564"/>
                  </a:lnTo>
                  <a:lnTo>
                    <a:pt x="96" y="588"/>
                  </a:lnTo>
                  <a:lnTo>
                    <a:pt x="72" y="618"/>
                  </a:lnTo>
                  <a:lnTo>
                    <a:pt x="54" y="636"/>
                  </a:lnTo>
                  <a:lnTo>
                    <a:pt x="48" y="648"/>
                  </a:lnTo>
                  <a:lnTo>
                    <a:pt x="36" y="666"/>
                  </a:lnTo>
                  <a:lnTo>
                    <a:pt x="30" y="678"/>
                  </a:lnTo>
                  <a:lnTo>
                    <a:pt x="24" y="696"/>
                  </a:lnTo>
                  <a:lnTo>
                    <a:pt x="24" y="708"/>
                  </a:lnTo>
                  <a:lnTo>
                    <a:pt x="18" y="714"/>
                  </a:lnTo>
                  <a:lnTo>
                    <a:pt x="18" y="720"/>
                  </a:lnTo>
                  <a:lnTo>
                    <a:pt x="0" y="726"/>
                  </a:lnTo>
                  <a:lnTo>
                    <a:pt x="6" y="786"/>
                  </a:lnTo>
                  <a:lnTo>
                    <a:pt x="18" y="786"/>
                  </a:lnTo>
                  <a:lnTo>
                    <a:pt x="48" y="834"/>
                  </a:lnTo>
                  <a:lnTo>
                    <a:pt x="48" y="846"/>
                  </a:lnTo>
                  <a:lnTo>
                    <a:pt x="48" y="840"/>
                  </a:lnTo>
                  <a:lnTo>
                    <a:pt x="72" y="834"/>
                  </a:lnTo>
                  <a:lnTo>
                    <a:pt x="72" y="852"/>
                  </a:lnTo>
                  <a:lnTo>
                    <a:pt x="78" y="864"/>
                  </a:lnTo>
                  <a:lnTo>
                    <a:pt x="84" y="870"/>
                  </a:lnTo>
                  <a:lnTo>
                    <a:pt x="96" y="870"/>
                  </a:lnTo>
                  <a:lnTo>
                    <a:pt x="102" y="876"/>
                  </a:lnTo>
                  <a:lnTo>
                    <a:pt x="108" y="876"/>
                  </a:lnTo>
                  <a:lnTo>
                    <a:pt x="102" y="912"/>
                  </a:lnTo>
                  <a:lnTo>
                    <a:pt x="114" y="918"/>
                  </a:lnTo>
                  <a:lnTo>
                    <a:pt x="120" y="930"/>
                  </a:lnTo>
                  <a:lnTo>
                    <a:pt x="120" y="966"/>
                  </a:lnTo>
                  <a:lnTo>
                    <a:pt x="114" y="966"/>
                  </a:lnTo>
                  <a:lnTo>
                    <a:pt x="114" y="1002"/>
                  </a:lnTo>
                  <a:lnTo>
                    <a:pt x="120" y="1020"/>
                  </a:lnTo>
                  <a:lnTo>
                    <a:pt x="120" y="1038"/>
                  </a:lnTo>
                  <a:lnTo>
                    <a:pt x="126" y="1050"/>
                  </a:lnTo>
                  <a:lnTo>
                    <a:pt x="138" y="1056"/>
                  </a:lnTo>
                  <a:lnTo>
                    <a:pt x="144" y="1068"/>
                  </a:lnTo>
                  <a:lnTo>
                    <a:pt x="162" y="1086"/>
                  </a:lnTo>
                  <a:lnTo>
                    <a:pt x="66" y="1086"/>
                  </a:lnTo>
                  <a:lnTo>
                    <a:pt x="54" y="1092"/>
                  </a:lnTo>
                  <a:lnTo>
                    <a:pt x="48" y="1098"/>
                  </a:lnTo>
                  <a:lnTo>
                    <a:pt x="48" y="1110"/>
                  </a:lnTo>
                  <a:lnTo>
                    <a:pt x="60" y="1134"/>
                  </a:lnTo>
                  <a:lnTo>
                    <a:pt x="72" y="1146"/>
                  </a:lnTo>
                  <a:lnTo>
                    <a:pt x="78" y="1158"/>
                  </a:lnTo>
                  <a:lnTo>
                    <a:pt x="90" y="1170"/>
                  </a:lnTo>
                  <a:lnTo>
                    <a:pt x="108" y="1182"/>
                  </a:lnTo>
                  <a:lnTo>
                    <a:pt x="120" y="1188"/>
                  </a:lnTo>
                  <a:lnTo>
                    <a:pt x="132" y="1200"/>
                  </a:lnTo>
                  <a:lnTo>
                    <a:pt x="144" y="1224"/>
                  </a:lnTo>
                  <a:lnTo>
                    <a:pt x="144" y="1242"/>
                  </a:lnTo>
                  <a:lnTo>
                    <a:pt x="150" y="1254"/>
                  </a:lnTo>
                  <a:lnTo>
                    <a:pt x="156" y="1272"/>
                  </a:lnTo>
                  <a:lnTo>
                    <a:pt x="156" y="1284"/>
                  </a:lnTo>
                  <a:lnTo>
                    <a:pt x="162" y="1284"/>
                  </a:lnTo>
                  <a:lnTo>
                    <a:pt x="168" y="1290"/>
                  </a:lnTo>
                  <a:lnTo>
                    <a:pt x="186" y="1290"/>
                  </a:lnTo>
                  <a:lnTo>
                    <a:pt x="198" y="1284"/>
                  </a:lnTo>
                  <a:lnTo>
                    <a:pt x="216" y="1266"/>
                  </a:lnTo>
                  <a:lnTo>
                    <a:pt x="228" y="1260"/>
                  </a:lnTo>
                  <a:lnTo>
                    <a:pt x="234" y="1254"/>
                  </a:lnTo>
                  <a:lnTo>
                    <a:pt x="234" y="1278"/>
                  </a:lnTo>
                  <a:lnTo>
                    <a:pt x="240" y="1284"/>
                  </a:lnTo>
                  <a:lnTo>
                    <a:pt x="246" y="1284"/>
                  </a:lnTo>
                  <a:lnTo>
                    <a:pt x="258" y="1278"/>
                  </a:lnTo>
                  <a:lnTo>
                    <a:pt x="270" y="1266"/>
                  </a:lnTo>
                  <a:lnTo>
                    <a:pt x="276" y="1254"/>
                  </a:lnTo>
                  <a:lnTo>
                    <a:pt x="282" y="1248"/>
                  </a:lnTo>
                  <a:lnTo>
                    <a:pt x="372" y="1248"/>
                  </a:lnTo>
                  <a:lnTo>
                    <a:pt x="378" y="1242"/>
                  </a:lnTo>
                  <a:lnTo>
                    <a:pt x="384" y="1230"/>
                  </a:lnTo>
                  <a:lnTo>
                    <a:pt x="390" y="1224"/>
                  </a:lnTo>
                  <a:lnTo>
                    <a:pt x="396" y="1212"/>
                  </a:lnTo>
                  <a:lnTo>
                    <a:pt x="402" y="1206"/>
                  </a:lnTo>
                  <a:lnTo>
                    <a:pt x="402" y="1194"/>
                  </a:lnTo>
                  <a:lnTo>
                    <a:pt x="390" y="1182"/>
                  </a:lnTo>
                  <a:lnTo>
                    <a:pt x="384" y="1182"/>
                  </a:lnTo>
                  <a:lnTo>
                    <a:pt x="402" y="1170"/>
                  </a:lnTo>
                  <a:lnTo>
                    <a:pt x="420" y="1170"/>
                  </a:lnTo>
                  <a:lnTo>
                    <a:pt x="462" y="1164"/>
                  </a:lnTo>
                  <a:lnTo>
                    <a:pt x="510" y="1146"/>
                  </a:lnTo>
                  <a:lnTo>
                    <a:pt x="528" y="1134"/>
                  </a:lnTo>
                  <a:lnTo>
                    <a:pt x="552" y="1110"/>
                  </a:lnTo>
                  <a:lnTo>
                    <a:pt x="552" y="1092"/>
                  </a:lnTo>
                  <a:lnTo>
                    <a:pt x="588" y="1068"/>
                  </a:lnTo>
                  <a:lnTo>
                    <a:pt x="594" y="1038"/>
                  </a:lnTo>
                  <a:lnTo>
                    <a:pt x="648" y="1008"/>
                  </a:lnTo>
                  <a:lnTo>
                    <a:pt x="672" y="1008"/>
                  </a:lnTo>
                  <a:lnTo>
                    <a:pt x="672" y="996"/>
                  </a:lnTo>
                  <a:lnTo>
                    <a:pt x="684" y="996"/>
                  </a:lnTo>
                  <a:lnTo>
                    <a:pt x="684" y="990"/>
                  </a:lnTo>
                  <a:lnTo>
                    <a:pt x="678" y="984"/>
                  </a:lnTo>
                  <a:lnTo>
                    <a:pt x="666" y="966"/>
                  </a:lnTo>
                  <a:lnTo>
                    <a:pt x="654" y="960"/>
                  </a:lnTo>
                  <a:lnTo>
                    <a:pt x="648" y="960"/>
                  </a:lnTo>
                  <a:lnTo>
                    <a:pt x="642" y="936"/>
                  </a:lnTo>
                  <a:lnTo>
                    <a:pt x="660" y="930"/>
                  </a:lnTo>
                  <a:lnTo>
                    <a:pt x="642" y="918"/>
                  </a:lnTo>
                  <a:lnTo>
                    <a:pt x="642" y="876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8" y="876"/>
                  </a:lnTo>
                  <a:lnTo>
                    <a:pt x="606" y="876"/>
                  </a:lnTo>
                  <a:lnTo>
                    <a:pt x="600" y="870"/>
                  </a:lnTo>
                  <a:lnTo>
                    <a:pt x="600" y="852"/>
                  </a:lnTo>
                  <a:lnTo>
                    <a:pt x="606" y="840"/>
                  </a:lnTo>
                  <a:lnTo>
                    <a:pt x="618" y="834"/>
                  </a:lnTo>
                  <a:lnTo>
                    <a:pt x="630" y="822"/>
                  </a:lnTo>
                  <a:lnTo>
                    <a:pt x="630" y="810"/>
                  </a:lnTo>
                  <a:lnTo>
                    <a:pt x="618" y="786"/>
                  </a:lnTo>
                  <a:lnTo>
                    <a:pt x="612" y="780"/>
                  </a:lnTo>
                  <a:lnTo>
                    <a:pt x="630" y="762"/>
                  </a:lnTo>
                  <a:lnTo>
                    <a:pt x="648" y="750"/>
                  </a:lnTo>
                  <a:lnTo>
                    <a:pt x="642" y="732"/>
                  </a:lnTo>
                  <a:lnTo>
                    <a:pt x="636" y="708"/>
                  </a:lnTo>
                  <a:lnTo>
                    <a:pt x="648" y="708"/>
                  </a:lnTo>
                  <a:lnTo>
                    <a:pt x="648" y="690"/>
                  </a:lnTo>
                  <a:lnTo>
                    <a:pt x="660" y="678"/>
                  </a:lnTo>
                  <a:lnTo>
                    <a:pt x="672" y="672"/>
                  </a:lnTo>
                  <a:lnTo>
                    <a:pt x="678" y="666"/>
                  </a:lnTo>
                  <a:lnTo>
                    <a:pt x="678" y="660"/>
                  </a:lnTo>
                  <a:lnTo>
                    <a:pt x="672" y="654"/>
                  </a:lnTo>
                  <a:lnTo>
                    <a:pt x="672" y="642"/>
                  </a:lnTo>
                  <a:lnTo>
                    <a:pt x="666" y="636"/>
                  </a:lnTo>
                  <a:lnTo>
                    <a:pt x="678" y="62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160" name="Canada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1904779" y="2358830"/>
              <a:ext cx="1808415" cy="896545"/>
            </a:xfrm>
            <a:custGeom>
              <a:avLst/>
              <a:gdLst>
                <a:gd name="T0" fmla="*/ 2147483647 w 5574"/>
                <a:gd name="T1" fmla="*/ 2147483647 h 2886"/>
                <a:gd name="T2" fmla="*/ 2147483647 w 5574"/>
                <a:gd name="T3" fmla="*/ 2147483647 h 2886"/>
                <a:gd name="T4" fmla="*/ 2147483647 w 5574"/>
                <a:gd name="T5" fmla="*/ 2147483647 h 2886"/>
                <a:gd name="T6" fmla="*/ 2147483647 w 5574"/>
                <a:gd name="T7" fmla="*/ 2147483647 h 2886"/>
                <a:gd name="T8" fmla="*/ 2147483647 w 5574"/>
                <a:gd name="T9" fmla="*/ 2147483647 h 2886"/>
                <a:gd name="T10" fmla="*/ 2147483647 w 5574"/>
                <a:gd name="T11" fmla="*/ 2147483647 h 2886"/>
                <a:gd name="T12" fmla="*/ 2147483647 w 5574"/>
                <a:gd name="T13" fmla="*/ 2147483647 h 2886"/>
                <a:gd name="T14" fmla="*/ 2147483647 w 5574"/>
                <a:gd name="T15" fmla="*/ 2147483647 h 2886"/>
                <a:gd name="T16" fmla="*/ 2147483647 w 5574"/>
                <a:gd name="T17" fmla="*/ 2147483647 h 2886"/>
                <a:gd name="T18" fmla="*/ 2147483647 w 5574"/>
                <a:gd name="T19" fmla="*/ 2147483647 h 2886"/>
                <a:gd name="T20" fmla="*/ 2147483647 w 5574"/>
                <a:gd name="T21" fmla="*/ 2147483647 h 2886"/>
                <a:gd name="T22" fmla="*/ 2147483647 w 5574"/>
                <a:gd name="T23" fmla="*/ 2147483647 h 2886"/>
                <a:gd name="T24" fmla="*/ 2147483647 w 5574"/>
                <a:gd name="T25" fmla="*/ 2147483647 h 2886"/>
                <a:gd name="T26" fmla="*/ 2147483647 w 5574"/>
                <a:gd name="T27" fmla="*/ 2147483647 h 2886"/>
                <a:gd name="T28" fmla="*/ 2147483647 w 5574"/>
                <a:gd name="T29" fmla="*/ 2147483647 h 2886"/>
                <a:gd name="T30" fmla="*/ 2147483647 w 5574"/>
                <a:gd name="T31" fmla="*/ 2147483647 h 2886"/>
                <a:gd name="T32" fmla="*/ 2147483647 w 5574"/>
                <a:gd name="T33" fmla="*/ 2147483647 h 2886"/>
                <a:gd name="T34" fmla="*/ 2147483647 w 5574"/>
                <a:gd name="T35" fmla="*/ 2147483647 h 2886"/>
                <a:gd name="T36" fmla="*/ 2147483647 w 5574"/>
                <a:gd name="T37" fmla="*/ 2147483647 h 2886"/>
                <a:gd name="T38" fmla="*/ 2147483647 w 5574"/>
                <a:gd name="T39" fmla="*/ 2147483647 h 2886"/>
                <a:gd name="T40" fmla="*/ 2147483647 w 5574"/>
                <a:gd name="T41" fmla="*/ 2147483647 h 2886"/>
                <a:gd name="T42" fmla="*/ 2147483647 w 5574"/>
                <a:gd name="T43" fmla="*/ 2147483647 h 2886"/>
                <a:gd name="T44" fmla="*/ 2147483647 w 5574"/>
                <a:gd name="T45" fmla="*/ 2147483647 h 2886"/>
                <a:gd name="T46" fmla="*/ 2147483647 w 5574"/>
                <a:gd name="T47" fmla="*/ 2147483647 h 2886"/>
                <a:gd name="T48" fmla="*/ 2147483647 w 5574"/>
                <a:gd name="T49" fmla="*/ 2147483647 h 2886"/>
                <a:gd name="T50" fmla="*/ 2147483647 w 5574"/>
                <a:gd name="T51" fmla="*/ 2147483647 h 2886"/>
                <a:gd name="T52" fmla="*/ 2147483647 w 5574"/>
                <a:gd name="T53" fmla="*/ 2147483647 h 2886"/>
                <a:gd name="T54" fmla="*/ 2147483647 w 5574"/>
                <a:gd name="T55" fmla="*/ 2147483647 h 2886"/>
                <a:gd name="T56" fmla="*/ 2147483647 w 5574"/>
                <a:gd name="T57" fmla="*/ 2147483647 h 2886"/>
                <a:gd name="T58" fmla="*/ 2147483647 w 5574"/>
                <a:gd name="T59" fmla="*/ 2147483647 h 2886"/>
                <a:gd name="T60" fmla="*/ 2147483647 w 5574"/>
                <a:gd name="T61" fmla="*/ 2147483647 h 2886"/>
                <a:gd name="T62" fmla="*/ 2147483647 w 5574"/>
                <a:gd name="T63" fmla="*/ 2147483647 h 2886"/>
                <a:gd name="T64" fmla="*/ 2147483647 w 5574"/>
                <a:gd name="T65" fmla="*/ 2147483647 h 2886"/>
                <a:gd name="T66" fmla="*/ 2147483647 w 5574"/>
                <a:gd name="T67" fmla="*/ 2147483647 h 2886"/>
                <a:gd name="T68" fmla="*/ 2147483647 w 5574"/>
                <a:gd name="T69" fmla="*/ 2147483647 h 2886"/>
                <a:gd name="T70" fmla="*/ 2147483647 w 5574"/>
                <a:gd name="T71" fmla="*/ 2147483647 h 2886"/>
                <a:gd name="T72" fmla="*/ 2147483647 w 5574"/>
                <a:gd name="T73" fmla="*/ 2147483647 h 2886"/>
                <a:gd name="T74" fmla="*/ 2147483647 w 5574"/>
                <a:gd name="T75" fmla="*/ 2147483647 h 2886"/>
                <a:gd name="T76" fmla="*/ 2147483647 w 5574"/>
                <a:gd name="T77" fmla="*/ 2147483647 h 2886"/>
                <a:gd name="T78" fmla="*/ 2147483647 w 5574"/>
                <a:gd name="T79" fmla="*/ 2147483647 h 2886"/>
                <a:gd name="T80" fmla="*/ 2147483647 w 5574"/>
                <a:gd name="T81" fmla="*/ 2147483647 h 2886"/>
                <a:gd name="T82" fmla="*/ 2147483647 w 5574"/>
                <a:gd name="T83" fmla="*/ 2147483647 h 2886"/>
                <a:gd name="T84" fmla="*/ 2147483647 w 5574"/>
                <a:gd name="T85" fmla="*/ 2147483647 h 2886"/>
                <a:gd name="T86" fmla="*/ 2147483647 w 5574"/>
                <a:gd name="T87" fmla="*/ 2147483647 h 2886"/>
                <a:gd name="T88" fmla="*/ 2147483647 w 5574"/>
                <a:gd name="T89" fmla="*/ 2147483647 h 2886"/>
                <a:gd name="T90" fmla="*/ 2147483647 w 5574"/>
                <a:gd name="T91" fmla="*/ 2147483647 h 2886"/>
                <a:gd name="T92" fmla="*/ 2147483647 w 5574"/>
                <a:gd name="T93" fmla="*/ 2147483647 h 2886"/>
                <a:gd name="T94" fmla="*/ 2147483647 w 5574"/>
                <a:gd name="T95" fmla="*/ 2147483647 h 2886"/>
                <a:gd name="T96" fmla="*/ 2147483647 w 5574"/>
                <a:gd name="T97" fmla="*/ 2147483647 h 2886"/>
                <a:gd name="T98" fmla="*/ 2147483647 w 5574"/>
                <a:gd name="T99" fmla="*/ 2147483647 h 2886"/>
                <a:gd name="T100" fmla="*/ 2147483647 w 5574"/>
                <a:gd name="T101" fmla="*/ 2147483647 h 2886"/>
                <a:gd name="T102" fmla="*/ 2147483647 w 5574"/>
                <a:gd name="T103" fmla="*/ 2147483647 h 2886"/>
                <a:gd name="T104" fmla="*/ 2147483647 w 5574"/>
                <a:gd name="T105" fmla="*/ 2147483647 h 2886"/>
                <a:gd name="T106" fmla="*/ 2147483647 w 5574"/>
                <a:gd name="T107" fmla="*/ 2147483647 h 2886"/>
                <a:gd name="T108" fmla="*/ 2147483647 w 5574"/>
                <a:gd name="T109" fmla="*/ 2147483647 h 2886"/>
                <a:gd name="T110" fmla="*/ 2147483647 w 5574"/>
                <a:gd name="T111" fmla="*/ 2147483647 h 2886"/>
                <a:gd name="T112" fmla="*/ 2147483647 w 5574"/>
                <a:gd name="T113" fmla="*/ 2147483647 h 2886"/>
                <a:gd name="T114" fmla="*/ 2147483647 w 5574"/>
                <a:gd name="T115" fmla="*/ 2147483647 h 2886"/>
                <a:gd name="T116" fmla="*/ 2147483647 w 5574"/>
                <a:gd name="T117" fmla="*/ 2147483647 h 2886"/>
                <a:gd name="T118" fmla="*/ 2147483647 w 5574"/>
                <a:gd name="T119" fmla="*/ 2147483647 h 2886"/>
                <a:gd name="T120" fmla="*/ 2147483647 w 5574"/>
                <a:gd name="T121" fmla="*/ 2147483647 h 2886"/>
                <a:gd name="T122" fmla="*/ 2147483647 w 5574"/>
                <a:gd name="T123" fmla="*/ 2147483647 h 2886"/>
                <a:gd name="T124" fmla="*/ 2147483647 w 5574"/>
                <a:gd name="T125" fmla="*/ 2147483647 h 288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574"/>
                <a:gd name="T190" fmla="*/ 0 h 2886"/>
                <a:gd name="T191" fmla="*/ 5574 w 5574"/>
                <a:gd name="T192" fmla="*/ 2886 h 288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574" h="2886">
                  <a:moveTo>
                    <a:pt x="3114" y="252"/>
                  </a:moveTo>
                  <a:lnTo>
                    <a:pt x="3138" y="252"/>
                  </a:lnTo>
                  <a:lnTo>
                    <a:pt x="3150" y="258"/>
                  </a:lnTo>
                  <a:lnTo>
                    <a:pt x="3168" y="258"/>
                  </a:lnTo>
                  <a:lnTo>
                    <a:pt x="3174" y="252"/>
                  </a:lnTo>
                  <a:lnTo>
                    <a:pt x="3174" y="246"/>
                  </a:lnTo>
                  <a:lnTo>
                    <a:pt x="3168" y="234"/>
                  </a:lnTo>
                  <a:lnTo>
                    <a:pt x="3156" y="228"/>
                  </a:lnTo>
                  <a:lnTo>
                    <a:pt x="3108" y="228"/>
                  </a:lnTo>
                  <a:lnTo>
                    <a:pt x="3066" y="234"/>
                  </a:lnTo>
                  <a:lnTo>
                    <a:pt x="3036" y="246"/>
                  </a:lnTo>
                  <a:lnTo>
                    <a:pt x="3018" y="246"/>
                  </a:lnTo>
                  <a:lnTo>
                    <a:pt x="3060" y="246"/>
                  </a:lnTo>
                  <a:lnTo>
                    <a:pt x="3096" y="252"/>
                  </a:lnTo>
                  <a:lnTo>
                    <a:pt x="3114" y="252"/>
                  </a:lnTo>
                  <a:close/>
                  <a:moveTo>
                    <a:pt x="2988" y="318"/>
                  </a:moveTo>
                  <a:lnTo>
                    <a:pt x="3036" y="318"/>
                  </a:lnTo>
                  <a:lnTo>
                    <a:pt x="3048" y="312"/>
                  </a:lnTo>
                  <a:lnTo>
                    <a:pt x="3060" y="312"/>
                  </a:lnTo>
                  <a:lnTo>
                    <a:pt x="3072" y="300"/>
                  </a:lnTo>
                  <a:lnTo>
                    <a:pt x="3072" y="294"/>
                  </a:lnTo>
                  <a:lnTo>
                    <a:pt x="3066" y="282"/>
                  </a:lnTo>
                  <a:lnTo>
                    <a:pt x="3138" y="270"/>
                  </a:lnTo>
                  <a:lnTo>
                    <a:pt x="3120" y="264"/>
                  </a:lnTo>
                  <a:lnTo>
                    <a:pt x="3054" y="264"/>
                  </a:lnTo>
                  <a:lnTo>
                    <a:pt x="3042" y="276"/>
                  </a:lnTo>
                  <a:lnTo>
                    <a:pt x="3030" y="276"/>
                  </a:lnTo>
                  <a:lnTo>
                    <a:pt x="2994" y="270"/>
                  </a:lnTo>
                  <a:lnTo>
                    <a:pt x="2958" y="270"/>
                  </a:lnTo>
                  <a:lnTo>
                    <a:pt x="2940" y="282"/>
                  </a:lnTo>
                  <a:lnTo>
                    <a:pt x="2940" y="294"/>
                  </a:lnTo>
                  <a:lnTo>
                    <a:pt x="2946" y="300"/>
                  </a:lnTo>
                  <a:lnTo>
                    <a:pt x="2970" y="312"/>
                  </a:lnTo>
                  <a:lnTo>
                    <a:pt x="2976" y="318"/>
                  </a:lnTo>
                  <a:lnTo>
                    <a:pt x="2988" y="318"/>
                  </a:lnTo>
                  <a:close/>
                  <a:moveTo>
                    <a:pt x="2682" y="384"/>
                  </a:moveTo>
                  <a:lnTo>
                    <a:pt x="2628" y="408"/>
                  </a:lnTo>
                  <a:lnTo>
                    <a:pt x="2634" y="408"/>
                  </a:lnTo>
                  <a:lnTo>
                    <a:pt x="2646" y="414"/>
                  </a:lnTo>
                  <a:lnTo>
                    <a:pt x="2652" y="414"/>
                  </a:lnTo>
                  <a:lnTo>
                    <a:pt x="2658" y="420"/>
                  </a:lnTo>
                  <a:lnTo>
                    <a:pt x="2658" y="426"/>
                  </a:lnTo>
                  <a:lnTo>
                    <a:pt x="2622" y="426"/>
                  </a:lnTo>
                  <a:lnTo>
                    <a:pt x="2586" y="432"/>
                  </a:lnTo>
                  <a:lnTo>
                    <a:pt x="2556" y="438"/>
                  </a:lnTo>
                  <a:lnTo>
                    <a:pt x="2544" y="438"/>
                  </a:lnTo>
                  <a:lnTo>
                    <a:pt x="2520" y="456"/>
                  </a:lnTo>
                  <a:lnTo>
                    <a:pt x="2580" y="450"/>
                  </a:lnTo>
                  <a:lnTo>
                    <a:pt x="2586" y="450"/>
                  </a:lnTo>
                  <a:lnTo>
                    <a:pt x="2592" y="456"/>
                  </a:lnTo>
                  <a:lnTo>
                    <a:pt x="2610" y="456"/>
                  </a:lnTo>
                  <a:lnTo>
                    <a:pt x="2628" y="462"/>
                  </a:lnTo>
                  <a:lnTo>
                    <a:pt x="2658" y="462"/>
                  </a:lnTo>
                  <a:lnTo>
                    <a:pt x="2694" y="450"/>
                  </a:lnTo>
                  <a:lnTo>
                    <a:pt x="2730" y="444"/>
                  </a:lnTo>
                  <a:lnTo>
                    <a:pt x="2742" y="438"/>
                  </a:lnTo>
                  <a:lnTo>
                    <a:pt x="2742" y="450"/>
                  </a:lnTo>
                  <a:lnTo>
                    <a:pt x="2760" y="450"/>
                  </a:lnTo>
                  <a:lnTo>
                    <a:pt x="2796" y="444"/>
                  </a:lnTo>
                  <a:lnTo>
                    <a:pt x="2856" y="444"/>
                  </a:lnTo>
                  <a:lnTo>
                    <a:pt x="2850" y="444"/>
                  </a:lnTo>
                  <a:lnTo>
                    <a:pt x="2844" y="450"/>
                  </a:lnTo>
                  <a:lnTo>
                    <a:pt x="2832" y="450"/>
                  </a:lnTo>
                  <a:lnTo>
                    <a:pt x="2790" y="456"/>
                  </a:lnTo>
                  <a:lnTo>
                    <a:pt x="2730" y="468"/>
                  </a:lnTo>
                  <a:lnTo>
                    <a:pt x="2706" y="468"/>
                  </a:lnTo>
                  <a:lnTo>
                    <a:pt x="2688" y="474"/>
                  </a:lnTo>
                  <a:lnTo>
                    <a:pt x="2670" y="474"/>
                  </a:lnTo>
                  <a:lnTo>
                    <a:pt x="2652" y="480"/>
                  </a:lnTo>
                  <a:lnTo>
                    <a:pt x="2646" y="486"/>
                  </a:lnTo>
                  <a:lnTo>
                    <a:pt x="2640" y="486"/>
                  </a:lnTo>
                  <a:lnTo>
                    <a:pt x="2658" y="486"/>
                  </a:lnTo>
                  <a:lnTo>
                    <a:pt x="2694" y="492"/>
                  </a:lnTo>
                  <a:lnTo>
                    <a:pt x="2760" y="498"/>
                  </a:lnTo>
                  <a:lnTo>
                    <a:pt x="2808" y="492"/>
                  </a:lnTo>
                  <a:lnTo>
                    <a:pt x="2850" y="480"/>
                  </a:lnTo>
                  <a:lnTo>
                    <a:pt x="2874" y="474"/>
                  </a:lnTo>
                  <a:lnTo>
                    <a:pt x="2886" y="468"/>
                  </a:lnTo>
                  <a:lnTo>
                    <a:pt x="2958" y="450"/>
                  </a:lnTo>
                  <a:lnTo>
                    <a:pt x="3000" y="450"/>
                  </a:lnTo>
                  <a:lnTo>
                    <a:pt x="3054" y="444"/>
                  </a:lnTo>
                  <a:lnTo>
                    <a:pt x="3096" y="438"/>
                  </a:lnTo>
                  <a:lnTo>
                    <a:pt x="3120" y="432"/>
                  </a:lnTo>
                  <a:lnTo>
                    <a:pt x="3138" y="420"/>
                  </a:lnTo>
                  <a:lnTo>
                    <a:pt x="3156" y="414"/>
                  </a:lnTo>
                  <a:lnTo>
                    <a:pt x="3168" y="408"/>
                  </a:lnTo>
                  <a:lnTo>
                    <a:pt x="3168" y="396"/>
                  </a:lnTo>
                  <a:lnTo>
                    <a:pt x="3156" y="384"/>
                  </a:lnTo>
                  <a:lnTo>
                    <a:pt x="3144" y="378"/>
                  </a:lnTo>
                  <a:lnTo>
                    <a:pt x="3120" y="378"/>
                  </a:lnTo>
                  <a:lnTo>
                    <a:pt x="3114" y="384"/>
                  </a:lnTo>
                  <a:lnTo>
                    <a:pt x="3108" y="384"/>
                  </a:lnTo>
                  <a:lnTo>
                    <a:pt x="3108" y="396"/>
                  </a:lnTo>
                  <a:lnTo>
                    <a:pt x="3072" y="396"/>
                  </a:lnTo>
                  <a:lnTo>
                    <a:pt x="3078" y="390"/>
                  </a:lnTo>
                  <a:lnTo>
                    <a:pt x="3078" y="378"/>
                  </a:lnTo>
                  <a:lnTo>
                    <a:pt x="3102" y="354"/>
                  </a:lnTo>
                  <a:lnTo>
                    <a:pt x="3102" y="342"/>
                  </a:lnTo>
                  <a:lnTo>
                    <a:pt x="3096" y="342"/>
                  </a:lnTo>
                  <a:lnTo>
                    <a:pt x="3054" y="348"/>
                  </a:lnTo>
                  <a:lnTo>
                    <a:pt x="2988" y="372"/>
                  </a:lnTo>
                  <a:lnTo>
                    <a:pt x="2976" y="378"/>
                  </a:lnTo>
                  <a:lnTo>
                    <a:pt x="3024" y="378"/>
                  </a:lnTo>
                  <a:lnTo>
                    <a:pt x="3018" y="408"/>
                  </a:lnTo>
                  <a:lnTo>
                    <a:pt x="2898" y="420"/>
                  </a:lnTo>
                  <a:lnTo>
                    <a:pt x="2898" y="414"/>
                  </a:lnTo>
                  <a:lnTo>
                    <a:pt x="2892" y="408"/>
                  </a:lnTo>
                  <a:lnTo>
                    <a:pt x="2892" y="372"/>
                  </a:lnTo>
                  <a:lnTo>
                    <a:pt x="2886" y="366"/>
                  </a:lnTo>
                  <a:lnTo>
                    <a:pt x="2874" y="366"/>
                  </a:lnTo>
                  <a:lnTo>
                    <a:pt x="2856" y="360"/>
                  </a:lnTo>
                  <a:lnTo>
                    <a:pt x="2814" y="360"/>
                  </a:lnTo>
                  <a:lnTo>
                    <a:pt x="2682" y="384"/>
                  </a:lnTo>
                  <a:close/>
                  <a:moveTo>
                    <a:pt x="2832" y="342"/>
                  </a:moveTo>
                  <a:lnTo>
                    <a:pt x="2844" y="330"/>
                  </a:lnTo>
                  <a:lnTo>
                    <a:pt x="2844" y="318"/>
                  </a:lnTo>
                  <a:lnTo>
                    <a:pt x="2838" y="312"/>
                  </a:lnTo>
                  <a:lnTo>
                    <a:pt x="2814" y="312"/>
                  </a:lnTo>
                  <a:lnTo>
                    <a:pt x="2802" y="318"/>
                  </a:lnTo>
                  <a:lnTo>
                    <a:pt x="2796" y="324"/>
                  </a:lnTo>
                  <a:lnTo>
                    <a:pt x="2796" y="330"/>
                  </a:lnTo>
                  <a:lnTo>
                    <a:pt x="2802" y="336"/>
                  </a:lnTo>
                  <a:lnTo>
                    <a:pt x="2814" y="336"/>
                  </a:lnTo>
                  <a:lnTo>
                    <a:pt x="2820" y="342"/>
                  </a:lnTo>
                  <a:lnTo>
                    <a:pt x="2832" y="342"/>
                  </a:lnTo>
                  <a:close/>
                  <a:moveTo>
                    <a:pt x="3012" y="564"/>
                  </a:moveTo>
                  <a:lnTo>
                    <a:pt x="2988" y="540"/>
                  </a:lnTo>
                  <a:lnTo>
                    <a:pt x="2958" y="540"/>
                  </a:lnTo>
                  <a:lnTo>
                    <a:pt x="2952" y="534"/>
                  </a:lnTo>
                  <a:lnTo>
                    <a:pt x="2946" y="534"/>
                  </a:lnTo>
                  <a:lnTo>
                    <a:pt x="2934" y="528"/>
                  </a:lnTo>
                  <a:lnTo>
                    <a:pt x="2916" y="528"/>
                  </a:lnTo>
                  <a:lnTo>
                    <a:pt x="2898" y="534"/>
                  </a:lnTo>
                  <a:lnTo>
                    <a:pt x="2892" y="540"/>
                  </a:lnTo>
                  <a:lnTo>
                    <a:pt x="2892" y="552"/>
                  </a:lnTo>
                  <a:lnTo>
                    <a:pt x="2928" y="570"/>
                  </a:lnTo>
                  <a:lnTo>
                    <a:pt x="2934" y="576"/>
                  </a:lnTo>
                  <a:lnTo>
                    <a:pt x="2946" y="582"/>
                  </a:lnTo>
                  <a:lnTo>
                    <a:pt x="3012" y="564"/>
                  </a:lnTo>
                  <a:close/>
                  <a:moveTo>
                    <a:pt x="2460" y="414"/>
                  </a:moveTo>
                  <a:lnTo>
                    <a:pt x="2442" y="420"/>
                  </a:lnTo>
                  <a:lnTo>
                    <a:pt x="2430" y="426"/>
                  </a:lnTo>
                  <a:lnTo>
                    <a:pt x="2430" y="438"/>
                  </a:lnTo>
                  <a:lnTo>
                    <a:pt x="2442" y="438"/>
                  </a:lnTo>
                  <a:lnTo>
                    <a:pt x="2472" y="432"/>
                  </a:lnTo>
                  <a:lnTo>
                    <a:pt x="2490" y="426"/>
                  </a:lnTo>
                  <a:lnTo>
                    <a:pt x="2502" y="420"/>
                  </a:lnTo>
                  <a:lnTo>
                    <a:pt x="2502" y="414"/>
                  </a:lnTo>
                  <a:lnTo>
                    <a:pt x="2496" y="408"/>
                  </a:lnTo>
                  <a:lnTo>
                    <a:pt x="2484" y="408"/>
                  </a:lnTo>
                  <a:lnTo>
                    <a:pt x="2460" y="414"/>
                  </a:lnTo>
                  <a:close/>
                  <a:moveTo>
                    <a:pt x="2970" y="858"/>
                  </a:moveTo>
                  <a:lnTo>
                    <a:pt x="2988" y="858"/>
                  </a:lnTo>
                  <a:lnTo>
                    <a:pt x="3006" y="864"/>
                  </a:lnTo>
                  <a:lnTo>
                    <a:pt x="3018" y="870"/>
                  </a:lnTo>
                  <a:lnTo>
                    <a:pt x="3036" y="876"/>
                  </a:lnTo>
                  <a:lnTo>
                    <a:pt x="3060" y="882"/>
                  </a:lnTo>
                  <a:lnTo>
                    <a:pt x="3096" y="882"/>
                  </a:lnTo>
                  <a:lnTo>
                    <a:pt x="3126" y="876"/>
                  </a:lnTo>
                  <a:lnTo>
                    <a:pt x="3138" y="876"/>
                  </a:lnTo>
                  <a:lnTo>
                    <a:pt x="3120" y="810"/>
                  </a:lnTo>
                  <a:lnTo>
                    <a:pt x="3018" y="792"/>
                  </a:lnTo>
                  <a:lnTo>
                    <a:pt x="2988" y="828"/>
                  </a:lnTo>
                  <a:lnTo>
                    <a:pt x="2958" y="828"/>
                  </a:lnTo>
                  <a:lnTo>
                    <a:pt x="2952" y="834"/>
                  </a:lnTo>
                  <a:lnTo>
                    <a:pt x="2952" y="846"/>
                  </a:lnTo>
                  <a:lnTo>
                    <a:pt x="2958" y="852"/>
                  </a:lnTo>
                  <a:lnTo>
                    <a:pt x="2970" y="858"/>
                  </a:lnTo>
                  <a:close/>
                  <a:moveTo>
                    <a:pt x="168" y="2034"/>
                  </a:moveTo>
                  <a:lnTo>
                    <a:pt x="168" y="2040"/>
                  </a:lnTo>
                  <a:lnTo>
                    <a:pt x="174" y="2046"/>
                  </a:lnTo>
                  <a:lnTo>
                    <a:pt x="192" y="2046"/>
                  </a:lnTo>
                  <a:lnTo>
                    <a:pt x="186" y="2070"/>
                  </a:lnTo>
                  <a:lnTo>
                    <a:pt x="216" y="2052"/>
                  </a:lnTo>
                  <a:lnTo>
                    <a:pt x="216" y="2028"/>
                  </a:lnTo>
                  <a:lnTo>
                    <a:pt x="174" y="2028"/>
                  </a:lnTo>
                  <a:lnTo>
                    <a:pt x="168" y="2034"/>
                  </a:lnTo>
                  <a:close/>
                  <a:moveTo>
                    <a:pt x="252" y="2298"/>
                  </a:moveTo>
                  <a:lnTo>
                    <a:pt x="252" y="2292"/>
                  </a:lnTo>
                  <a:lnTo>
                    <a:pt x="246" y="2286"/>
                  </a:lnTo>
                  <a:lnTo>
                    <a:pt x="246" y="2268"/>
                  </a:lnTo>
                  <a:lnTo>
                    <a:pt x="252" y="2256"/>
                  </a:lnTo>
                  <a:lnTo>
                    <a:pt x="252" y="2238"/>
                  </a:lnTo>
                  <a:lnTo>
                    <a:pt x="246" y="2226"/>
                  </a:lnTo>
                  <a:lnTo>
                    <a:pt x="228" y="2226"/>
                  </a:lnTo>
                  <a:lnTo>
                    <a:pt x="216" y="2220"/>
                  </a:lnTo>
                  <a:lnTo>
                    <a:pt x="204" y="2220"/>
                  </a:lnTo>
                  <a:lnTo>
                    <a:pt x="192" y="2214"/>
                  </a:lnTo>
                  <a:lnTo>
                    <a:pt x="186" y="2208"/>
                  </a:lnTo>
                  <a:lnTo>
                    <a:pt x="174" y="2202"/>
                  </a:lnTo>
                  <a:lnTo>
                    <a:pt x="150" y="2178"/>
                  </a:lnTo>
                  <a:lnTo>
                    <a:pt x="138" y="2172"/>
                  </a:lnTo>
                  <a:lnTo>
                    <a:pt x="126" y="2172"/>
                  </a:lnTo>
                  <a:lnTo>
                    <a:pt x="102" y="2184"/>
                  </a:lnTo>
                  <a:lnTo>
                    <a:pt x="96" y="2196"/>
                  </a:lnTo>
                  <a:lnTo>
                    <a:pt x="96" y="2202"/>
                  </a:lnTo>
                  <a:lnTo>
                    <a:pt x="108" y="2208"/>
                  </a:lnTo>
                  <a:lnTo>
                    <a:pt x="114" y="2214"/>
                  </a:lnTo>
                  <a:lnTo>
                    <a:pt x="120" y="2214"/>
                  </a:lnTo>
                  <a:lnTo>
                    <a:pt x="132" y="2202"/>
                  </a:lnTo>
                  <a:lnTo>
                    <a:pt x="144" y="2208"/>
                  </a:lnTo>
                  <a:lnTo>
                    <a:pt x="132" y="2220"/>
                  </a:lnTo>
                  <a:lnTo>
                    <a:pt x="120" y="2220"/>
                  </a:lnTo>
                  <a:lnTo>
                    <a:pt x="114" y="2226"/>
                  </a:lnTo>
                  <a:lnTo>
                    <a:pt x="102" y="2232"/>
                  </a:lnTo>
                  <a:lnTo>
                    <a:pt x="102" y="2244"/>
                  </a:lnTo>
                  <a:lnTo>
                    <a:pt x="108" y="2250"/>
                  </a:lnTo>
                  <a:lnTo>
                    <a:pt x="126" y="2250"/>
                  </a:lnTo>
                  <a:lnTo>
                    <a:pt x="138" y="2244"/>
                  </a:lnTo>
                  <a:lnTo>
                    <a:pt x="132" y="2262"/>
                  </a:lnTo>
                  <a:lnTo>
                    <a:pt x="150" y="2262"/>
                  </a:lnTo>
                  <a:lnTo>
                    <a:pt x="132" y="2280"/>
                  </a:lnTo>
                  <a:lnTo>
                    <a:pt x="168" y="2274"/>
                  </a:lnTo>
                  <a:lnTo>
                    <a:pt x="156" y="2280"/>
                  </a:lnTo>
                  <a:lnTo>
                    <a:pt x="144" y="2292"/>
                  </a:lnTo>
                  <a:lnTo>
                    <a:pt x="138" y="2292"/>
                  </a:lnTo>
                  <a:lnTo>
                    <a:pt x="138" y="2298"/>
                  </a:lnTo>
                  <a:lnTo>
                    <a:pt x="150" y="2298"/>
                  </a:lnTo>
                  <a:lnTo>
                    <a:pt x="162" y="2286"/>
                  </a:lnTo>
                  <a:lnTo>
                    <a:pt x="168" y="2286"/>
                  </a:lnTo>
                  <a:lnTo>
                    <a:pt x="174" y="2292"/>
                  </a:lnTo>
                  <a:lnTo>
                    <a:pt x="174" y="2304"/>
                  </a:lnTo>
                  <a:lnTo>
                    <a:pt x="162" y="2316"/>
                  </a:lnTo>
                  <a:lnTo>
                    <a:pt x="162" y="2328"/>
                  </a:lnTo>
                  <a:lnTo>
                    <a:pt x="210" y="2328"/>
                  </a:lnTo>
                  <a:lnTo>
                    <a:pt x="228" y="2316"/>
                  </a:lnTo>
                  <a:lnTo>
                    <a:pt x="210" y="2340"/>
                  </a:lnTo>
                  <a:lnTo>
                    <a:pt x="192" y="2340"/>
                  </a:lnTo>
                  <a:lnTo>
                    <a:pt x="186" y="2346"/>
                  </a:lnTo>
                  <a:lnTo>
                    <a:pt x="186" y="2352"/>
                  </a:lnTo>
                  <a:lnTo>
                    <a:pt x="210" y="2364"/>
                  </a:lnTo>
                  <a:lnTo>
                    <a:pt x="216" y="2364"/>
                  </a:lnTo>
                  <a:lnTo>
                    <a:pt x="228" y="2370"/>
                  </a:lnTo>
                  <a:lnTo>
                    <a:pt x="234" y="2376"/>
                  </a:lnTo>
                  <a:lnTo>
                    <a:pt x="246" y="2376"/>
                  </a:lnTo>
                  <a:lnTo>
                    <a:pt x="258" y="2382"/>
                  </a:lnTo>
                  <a:lnTo>
                    <a:pt x="270" y="2376"/>
                  </a:lnTo>
                  <a:lnTo>
                    <a:pt x="288" y="2358"/>
                  </a:lnTo>
                  <a:lnTo>
                    <a:pt x="294" y="2346"/>
                  </a:lnTo>
                  <a:lnTo>
                    <a:pt x="294" y="2340"/>
                  </a:lnTo>
                  <a:lnTo>
                    <a:pt x="288" y="2334"/>
                  </a:lnTo>
                  <a:lnTo>
                    <a:pt x="282" y="2322"/>
                  </a:lnTo>
                  <a:lnTo>
                    <a:pt x="270" y="2316"/>
                  </a:lnTo>
                  <a:lnTo>
                    <a:pt x="264" y="2304"/>
                  </a:lnTo>
                  <a:lnTo>
                    <a:pt x="252" y="2298"/>
                  </a:lnTo>
                  <a:close/>
                  <a:moveTo>
                    <a:pt x="2304" y="372"/>
                  </a:moveTo>
                  <a:lnTo>
                    <a:pt x="2316" y="372"/>
                  </a:lnTo>
                  <a:lnTo>
                    <a:pt x="2328" y="366"/>
                  </a:lnTo>
                  <a:lnTo>
                    <a:pt x="2376" y="366"/>
                  </a:lnTo>
                  <a:lnTo>
                    <a:pt x="2388" y="378"/>
                  </a:lnTo>
                  <a:lnTo>
                    <a:pt x="2388" y="390"/>
                  </a:lnTo>
                  <a:lnTo>
                    <a:pt x="2424" y="390"/>
                  </a:lnTo>
                  <a:lnTo>
                    <a:pt x="2442" y="384"/>
                  </a:lnTo>
                  <a:lnTo>
                    <a:pt x="2454" y="384"/>
                  </a:lnTo>
                  <a:lnTo>
                    <a:pt x="2466" y="390"/>
                  </a:lnTo>
                  <a:lnTo>
                    <a:pt x="2472" y="396"/>
                  </a:lnTo>
                  <a:lnTo>
                    <a:pt x="2490" y="396"/>
                  </a:lnTo>
                  <a:lnTo>
                    <a:pt x="2514" y="384"/>
                  </a:lnTo>
                  <a:lnTo>
                    <a:pt x="2520" y="372"/>
                  </a:lnTo>
                  <a:lnTo>
                    <a:pt x="2520" y="354"/>
                  </a:lnTo>
                  <a:lnTo>
                    <a:pt x="2550" y="354"/>
                  </a:lnTo>
                  <a:lnTo>
                    <a:pt x="2616" y="336"/>
                  </a:lnTo>
                  <a:lnTo>
                    <a:pt x="2580" y="366"/>
                  </a:lnTo>
                  <a:lnTo>
                    <a:pt x="2634" y="378"/>
                  </a:lnTo>
                  <a:lnTo>
                    <a:pt x="2688" y="354"/>
                  </a:lnTo>
                  <a:lnTo>
                    <a:pt x="2784" y="312"/>
                  </a:lnTo>
                  <a:lnTo>
                    <a:pt x="2778" y="312"/>
                  </a:lnTo>
                  <a:lnTo>
                    <a:pt x="2772" y="306"/>
                  </a:lnTo>
                  <a:lnTo>
                    <a:pt x="2754" y="300"/>
                  </a:lnTo>
                  <a:lnTo>
                    <a:pt x="2736" y="300"/>
                  </a:lnTo>
                  <a:lnTo>
                    <a:pt x="2724" y="294"/>
                  </a:lnTo>
                  <a:lnTo>
                    <a:pt x="2706" y="288"/>
                  </a:lnTo>
                  <a:lnTo>
                    <a:pt x="2676" y="288"/>
                  </a:lnTo>
                  <a:lnTo>
                    <a:pt x="2646" y="282"/>
                  </a:lnTo>
                  <a:lnTo>
                    <a:pt x="2604" y="282"/>
                  </a:lnTo>
                  <a:lnTo>
                    <a:pt x="2526" y="294"/>
                  </a:lnTo>
                  <a:lnTo>
                    <a:pt x="2526" y="318"/>
                  </a:lnTo>
                  <a:lnTo>
                    <a:pt x="2406" y="324"/>
                  </a:lnTo>
                  <a:lnTo>
                    <a:pt x="2400" y="324"/>
                  </a:lnTo>
                  <a:lnTo>
                    <a:pt x="2394" y="318"/>
                  </a:lnTo>
                  <a:lnTo>
                    <a:pt x="2334" y="318"/>
                  </a:lnTo>
                  <a:lnTo>
                    <a:pt x="2322" y="324"/>
                  </a:lnTo>
                  <a:lnTo>
                    <a:pt x="2310" y="324"/>
                  </a:lnTo>
                  <a:lnTo>
                    <a:pt x="2304" y="330"/>
                  </a:lnTo>
                  <a:lnTo>
                    <a:pt x="2304" y="372"/>
                  </a:lnTo>
                  <a:close/>
                  <a:moveTo>
                    <a:pt x="150" y="1980"/>
                  </a:moveTo>
                  <a:lnTo>
                    <a:pt x="162" y="2004"/>
                  </a:lnTo>
                  <a:lnTo>
                    <a:pt x="174" y="2010"/>
                  </a:lnTo>
                  <a:lnTo>
                    <a:pt x="186" y="1980"/>
                  </a:lnTo>
                  <a:lnTo>
                    <a:pt x="180" y="1974"/>
                  </a:lnTo>
                  <a:lnTo>
                    <a:pt x="174" y="1974"/>
                  </a:lnTo>
                  <a:lnTo>
                    <a:pt x="162" y="1968"/>
                  </a:lnTo>
                  <a:lnTo>
                    <a:pt x="156" y="1968"/>
                  </a:lnTo>
                  <a:lnTo>
                    <a:pt x="150" y="1974"/>
                  </a:lnTo>
                  <a:lnTo>
                    <a:pt x="150" y="1980"/>
                  </a:lnTo>
                  <a:close/>
                  <a:moveTo>
                    <a:pt x="126" y="1932"/>
                  </a:moveTo>
                  <a:lnTo>
                    <a:pt x="120" y="1932"/>
                  </a:lnTo>
                  <a:lnTo>
                    <a:pt x="108" y="1938"/>
                  </a:lnTo>
                  <a:lnTo>
                    <a:pt x="96" y="1938"/>
                  </a:lnTo>
                  <a:lnTo>
                    <a:pt x="84" y="1944"/>
                  </a:lnTo>
                  <a:lnTo>
                    <a:pt x="78" y="1944"/>
                  </a:lnTo>
                  <a:lnTo>
                    <a:pt x="78" y="1950"/>
                  </a:lnTo>
                  <a:lnTo>
                    <a:pt x="72" y="1962"/>
                  </a:lnTo>
                  <a:lnTo>
                    <a:pt x="66" y="1968"/>
                  </a:lnTo>
                  <a:lnTo>
                    <a:pt x="48" y="1968"/>
                  </a:lnTo>
                  <a:lnTo>
                    <a:pt x="42" y="1962"/>
                  </a:lnTo>
                  <a:lnTo>
                    <a:pt x="48" y="1956"/>
                  </a:lnTo>
                  <a:lnTo>
                    <a:pt x="60" y="1956"/>
                  </a:lnTo>
                  <a:lnTo>
                    <a:pt x="66" y="1950"/>
                  </a:lnTo>
                  <a:lnTo>
                    <a:pt x="72" y="1950"/>
                  </a:lnTo>
                  <a:lnTo>
                    <a:pt x="78" y="1944"/>
                  </a:lnTo>
                  <a:lnTo>
                    <a:pt x="84" y="1944"/>
                  </a:lnTo>
                  <a:lnTo>
                    <a:pt x="78" y="1938"/>
                  </a:lnTo>
                  <a:lnTo>
                    <a:pt x="54" y="1938"/>
                  </a:lnTo>
                  <a:lnTo>
                    <a:pt x="48" y="1944"/>
                  </a:lnTo>
                  <a:lnTo>
                    <a:pt x="48" y="1932"/>
                  </a:lnTo>
                  <a:lnTo>
                    <a:pt x="36" y="1932"/>
                  </a:lnTo>
                  <a:lnTo>
                    <a:pt x="24" y="1944"/>
                  </a:lnTo>
                  <a:lnTo>
                    <a:pt x="6" y="1980"/>
                  </a:lnTo>
                  <a:lnTo>
                    <a:pt x="6" y="2004"/>
                  </a:lnTo>
                  <a:lnTo>
                    <a:pt x="12" y="2004"/>
                  </a:lnTo>
                  <a:lnTo>
                    <a:pt x="12" y="2010"/>
                  </a:lnTo>
                  <a:lnTo>
                    <a:pt x="18" y="2016"/>
                  </a:lnTo>
                  <a:lnTo>
                    <a:pt x="0" y="2022"/>
                  </a:lnTo>
                  <a:lnTo>
                    <a:pt x="12" y="2076"/>
                  </a:lnTo>
                  <a:lnTo>
                    <a:pt x="12" y="2082"/>
                  </a:lnTo>
                  <a:lnTo>
                    <a:pt x="6" y="2082"/>
                  </a:lnTo>
                  <a:lnTo>
                    <a:pt x="12" y="2088"/>
                  </a:lnTo>
                  <a:lnTo>
                    <a:pt x="12" y="2094"/>
                  </a:lnTo>
                  <a:lnTo>
                    <a:pt x="30" y="2094"/>
                  </a:lnTo>
                  <a:lnTo>
                    <a:pt x="30" y="2070"/>
                  </a:lnTo>
                  <a:lnTo>
                    <a:pt x="24" y="2058"/>
                  </a:lnTo>
                  <a:lnTo>
                    <a:pt x="24" y="2040"/>
                  </a:lnTo>
                  <a:lnTo>
                    <a:pt x="36" y="2028"/>
                  </a:lnTo>
                  <a:lnTo>
                    <a:pt x="42" y="2028"/>
                  </a:lnTo>
                  <a:lnTo>
                    <a:pt x="48" y="2016"/>
                  </a:lnTo>
                  <a:lnTo>
                    <a:pt x="54" y="2010"/>
                  </a:lnTo>
                  <a:lnTo>
                    <a:pt x="54" y="1986"/>
                  </a:lnTo>
                  <a:lnTo>
                    <a:pt x="84" y="1956"/>
                  </a:lnTo>
                  <a:lnTo>
                    <a:pt x="108" y="1944"/>
                  </a:lnTo>
                  <a:lnTo>
                    <a:pt x="114" y="1944"/>
                  </a:lnTo>
                  <a:lnTo>
                    <a:pt x="126" y="1938"/>
                  </a:lnTo>
                  <a:lnTo>
                    <a:pt x="126" y="1932"/>
                  </a:lnTo>
                  <a:close/>
                  <a:moveTo>
                    <a:pt x="1896" y="678"/>
                  </a:moveTo>
                  <a:lnTo>
                    <a:pt x="1896" y="690"/>
                  </a:lnTo>
                  <a:lnTo>
                    <a:pt x="1884" y="702"/>
                  </a:lnTo>
                  <a:lnTo>
                    <a:pt x="1884" y="714"/>
                  </a:lnTo>
                  <a:lnTo>
                    <a:pt x="1902" y="714"/>
                  </a:lnTo>
                  <a:lnTo>
                    <a:pt x="1926" y="708"/>
                  </a:lnTo>
                  <a:lnTo>
                    <a:pt x="1944" y="708"/>
                  </a:lnTo>
                  <a:lnTo>
                    <a:pt x="1980" y="696"/>
                  </a:lnTo>
                  <a:lnTo>
                    <a:pt x="1986" y="690"/>
                  </a:lnTo>
                  <a:lnTo>
                    <a:pt x="1992" y="690"/>
                  </a:lnTo>
                  <a:lnTo>
                    <a:pt x="2034" y="702"/>
                  </a:lnTo>
                  <a:lnTo>
                    <a:pt x="2112" y="642"/>
                  </a:lnTo>
                  <a:lnTo>
                    <a:pt x="2244" y="600"/>
                  </a:lnTo>
                  <a:lnTo>
                    <a:pt x="2370" y="564"/>
                  </a:lnTo>
                  <a:lnTo>
                    <a:pt x="2466" y="546"/>
                  </a:lnTo>
                  <a:lnTo>
                    <a:pt x="2454" y="540"/>
                  </a:lnTo>
                  <a:lnTo>
                    <a:pt x="2448" y="528"/>
                  </a:lnTo>
                  <a:lnTo>
                    <a:pt x="2436" y="522"/>
                  </a:lnTo>
                  <a:lnTo>
                    <a:pt x="2424" y="510"/>
                  </a:lnTo>
                  <a:lnTo>
                    <a:pt x="2412" y="504"/>
                  </a:lnTo>
                  <a:lnTo>
                    <a:pt x="2400" y="492"/>
                  </a:lnTo>
                  <a:lnTo>
                    <a:pt x="2352" y="492"/>
                  </a:lnTo>
                  <a:lnTo>
                    <a:pt x="2340" y="498"/>
                  </a:lnTo>
                  <a:lnTo>
                    <a:pt x="2328" y="498"/>
                  </a:lnTo>
                  <a:lnTo>
                    <a:pt x="2262" y="504"/>
                  </a:lnTo>
                  <a:lnTo>
                    <a:pt x="2226" y="480"/>
                  </a:lnTo>
                  <a:lnTo>
                    <a:pt x="2142" y="486"/>
                  </a:lnTo>
                  <a:lnTo>
                    <a:pt x="2094" y="504"/>
                  </a:lnTo>
                  <a:lnTo>
                    <a:pt x="2076" y="522"/>
                  </a:lnTo>
                  <a:lnTo>
                    <a:pt x="2064" y="552"/>
                  </a:lnTo>
                  <a:lnTo>
                    <a:pt x="2010" y="564"/>
                  </a:lnTo>
                  <a:lnTo>
                    <a:pt x="1944" y="588"/>
                  </a:lnTo>
                  <a:lnTo>
                    <a:pt x="1962" y="600"/>
                  </a:lnTo>
                  <a:lnTo>
                    <a:pt x="1842" y="654"/>
                  </a:lnTo>
                  <a:lnTo>
                    <a:pt x="1854" y="654"/>
                  </a:lnTo>
                  <a:lnTo>
                    <a:pt x="1890" y="672"/>
                  </a:lnTo>
                  <a:lnTo>
                    <a:pt x="1896" y="678"/>
                  </a:lnTo>
                  <a:close/>
                  <a:moveTo>
                    <a:pt x="198" y="1968"/>
                  </a:moveTo>
                  <a:lnTo>
                    <a:pt x="192" y="1992"/>
                  </a:lnTo>
                  <a:lnTo>
                    <a:pt x="192" y="2010"/>
                  </a:lnTo>
                  <a:lnTo>
                    <a:pt x="216" y="1998"/>
                  </a:lnTo>
                  <a:lnTo>
                    <a:pt x="198" y="1968"/>
                  </a:lnTo>
                  <a:close/>
                  <a:moveTo>
                    <a:pt x="4182" y="600"/>
                  </a:moveTo>
                  <a:lnTo>
                    <a:pt x="4194" y="606"/>
                  </a:lnTo>
                  <a:lnTo>
                    <a:pt x="4206" y="600"/>
                  </a:lnTo>
                  <a:lnTo>
                    <a:pt x="4218" y="600"/>
                  </a:lnTo>
                  <a:lnTo>
                    <a:pt x="4242" y="588"/>
                  </a:lnTo>
                  <a:lnTo>
                    <a:pt x="4308" y="588"/>
                  </a:lnTo>
                  <a:lnTo>
                    <a:pt x="4314" y="594"/>
                  </a:lnTo>
                  <a:lnTo>
                    <a:pt x="4350" y="594"/>
                  </a:lnTo>
                  <a:lnTo>
                    <a:pt x="4356" y="588"/>
                  </a:lnTo>
                  <a:lnTo>
                    <a:pt x="4356" y="582"/>
                  </a:lnTo>
                  <a:lnTo>
                    <a:pt x="4344" y="558"/>
                  </a:lnTo>
                  <a:lnTo>
                    <a:pt x="4338" y="552"/>
                  </a:lnTo>
                  <a:lnTo>
                    <a:pt x="4326" y="546"/>
                  </a:lnTo>
                  <a:lnTo>
                    <a:pt x="4230" y="546"/>
                  </a:lnTo>
                  <a:lnTo>
                    <a:pt x="4224" y="540"/>
                  </a:lnTo>
                  <a:lnTo>
                    <a:pt x="4212" y="540"/>
                  </a:lnTo>
                  <a:lnTo>
                    <a:pt x="4200" y="534"/>
                  </a:lnTo>
                  <a:lnTo>
                    <a:pt x="4188" y="534"/>
                  </a:lnTo>
                  <a:lnTo>
                    <a:pt x="4176" y="540"/>
                  </a:lnTo>
                  <a:lnTo>
                    <a:pt x="4158" y="558"/>
                  </a:lnTo>
                  <a:lnTo>
                    <a:pt x="4158" y="564"/>
                  </a:lnTo>
                  <a:lnTo>
                    <a:pt x="4176" y="576"/>
                  </a:lnTo>
                  <a:lnTo>
                    <a:pt x="4170" y="582"/>
                  </a:lnTo>
                  <a:lnTo>
                    <a:pt x="4170" y="594"/>
                  </a:lnTo>
                  <a:lnTo>
                    <a:pt x="4176" y="594"/>
                  </a:lnTo>
                  <a:lnTo>
                    <a:pt x="4182" y="600"/>
                  </a:lnTo>
                  <a:close/>
                  <a:moveTo>
                    <a:pt x="3708" y="516"/>
                  </a:moveTo>
                  <a:lnTo>
                    <a:pt x="3678" y="516"/>
                  </a:lnTo>
                  <a:lnTo>
                    <a:pt x="3624" y="510"/>
                  </a:lnTo>
                  <a:lnTo>
                    <a:pt x="3564" y="504"/>
                  </a:lnTo>
                  <a:lnTo>
                    <a:pt x="3468" y="504"/>
                  </a:lnTo>
                  <a:lnTo>
                    <a:pt x="3468" y="516"/>
                  </a:lnTo>
                  <a:lnTo>
                    <a:pt x="3462" y="522"/>
                  </a:lnTo>
                  <a:lnTo>
                    <a:pt x="3426" y="540"/>
                  </a:lnTo>
                  <a:lnTo>
                    <a:pt x="3396" y="546"/>
                  </a:lnTo>
                  <a:lnTo>
                    <a:pt x="3378" y="552"/>
                  </a:lnTo>
                  <a:lnTo>
                    <a:pt x="3372" y="552"/>
                  </a:lnTo>
                  <a:lnTo>
                    <a:pt x="3372" y="558"/>
                  </a:lnTo>
                  <a:lnTo>
                    <a:pt x="3384" y="570"/>
                  </a:lnTo>
                  <a:lnTo>
                    <a:pt x="3390" y="582"/>
                  </a:lnTo>
                  <a:lnTo>
                    <a:pt x="3390" y="594"/>
                  </a:lnTo>
                  <a:lnTo>
                    <a:pt x="3372" y="618"/>
                  </a:lnTo>
                  <a:lnTo>
                    <a:pt x="3402" y="636"/>
                  </a:lnTo>
                  <a:lnTo>
                    <a:pt x="3480" y="606"/>
                  </a:lnTo>
                  <a:lnTo>
                    <a:pt x="3474" y="600"/>
                  </a:lnTo>
                  <a:lnTo>
                    <a:pt x="3468" y="600"/>
                  </a:lnTo>
                  <a:lnTo>
                    <a:pt x="3468" y="594"/>
                  </a:lnTo>
                  <a:lnTo>
                    <a:pt x="3474" y="588"/>
                  </a:lnTo>
                  <a:lnTo>
                    <a:pt x="3486" y="582"/>
                  </a:lnTo>
                  <a:lnTo>
                    <a:pt x="3522" y="582"/>
                  </a:lnTo>
                  <a:lnTo>
                    <a:pt x="3546" y="594"/>
                  </a:lnTo>
                  <a:lnTo>
                    <a:pt x="3552" y="600"/>
                  </a:lnTo>
                  <a:lnTo>
                    <a:pt x="3606" y="594"/>
                  </a:lnTo>
                  <a:lnTo>
                    <a:pt x="3600" y="570"/>
                  </a:lnTo>
                  <a:lnTo>
                    <a:pt x="3630" y="570"/>
                  </a:lnTo>
                  <a:lnTo>
                    <a:pt x="3648" y="564"/>
                  </a:lnTo>
                  <a:lnTo>
                    <a:pt x="3666" y="564"/>
                  </a:lnTo>
                  <a:lnTo>
                    <a:pt x="3690" y="552"/>
                  </a:lnTo>
                  <a:lnTo>
                    <a:pt x="3696" y="546"/>
                  </a:lnTo>
                  <a:lnTo>
                    <a:pt x="3702" y="534"/>
                  </a:lnTo>
                  <a:lnTo>
                    <a:pt x="3714" y="522"/>
                  </a:lnTo>
                  <a:lnTo>
                    <a:pt x="3720" y="522"/>
                  </a:lnTo>
                  <a:lnTo>
                    <a:pt x="3714" y="516"/>
                  </a:lnTo>
                  <a:lnTo>
                    <a:pt x="3708" y="516"/>
                  </a:lnTo>
                  <a:close/>
                  <a:moveTo>
                    <a:pt x="3792" y="150"/>
                  </a:moveTo>
                  <a:lnTo>
                    <a:pt x="3738" y="156"/>
                  </a:lnTo>
                  <a:lnTo>
                    <a:pt x="3756" y="180"/>
                  </a:lnTo>
                  <a:lnTo>
                    <a:pt x="3792" y="150"/>
                  </a:lnTo>
                  <a:close/>
                  <a:moveTo>
                    <a:pt x="3612" y="480"/>
                  </a:moveTo>
                  <a:lnTo>
                    <a:pt x="3636" y="468"/>
                  </a:lnTo>
                  <a:lnTo>
                    <a:pt x="3642" y="456"/>
                  </a:lnTo>
                  <a:lnTo>
                    <a:pt x="3654" y="450"/>
                  </a:lnTo>
                  <a:lnTo>
                    <a:pt x="3660" y="438"/>
                  </a:lnTo>
                  <a:lnTo>
                    <a:pt x="3660" y="432"/>
                  </a:lnTo>
                  <a:lnTo>
                    <a:pt x="3654" y="426"/>
                  </a:lnTo>
                  <a:lnTo>
                    <a:pt x="3642" y="426"/>
                  </a:lnTo>
                  <a:lnTo>
                    <a:pt x="3630" y="420"/>
                  </a:lnTo>
                  <a:lnTo>
                    <a:pt x="3588" y="420"/>
                  </a:lnTo>
                  <a:lnTo>
                    <a:pt x="3570" y="426"/>
                  </a:lnTo>
                  <a:lnTo>
                    <a:pt x="3552" y="426"/>
                  </a:lnTo>
                  <a:lnTo>
                    <a:pt x="3534" y="438"/>
                  </a:lnTo>
                  <a:lnTo>
                    <a:pt x="3516" y="444"/>
                  </a:lnTo>
                  <a:lnTo>
                    <a:pt x="3504" y="450"/>
                  </a:lnTo>
                  <a:lnTo>
                    <a:pt x="3504" y="462"/>
                  </a:lnTo>
                  <a:lnTo>
                    <a:pt x="3528" y="468"/>
                  </a:lnTo>
                  <a:lnTo>
                    <a:pt x="3600" y="480"/>
                  </a:lnTo>
                  <a:lnTo>
                    <a:pt x="3612" y="480"/>
                  </a:lnTo>
                  <a:close/>
                  <a:moveTo>
                    <a:pt x="3954" y="180"/>
                  </a:moveTo>
                  <a:lnTo>
                    <a:pt x="3900" y="192"/>
                  </a:lnTo>
                  <a:lnTo>
                    <a:pt x="3936" y="210"/>
                  </a:lnTo>
                  <a:lnTo>
                    <a:pt x="3924" y="216"/>
                  </a:lnTo>
                  <a:lnTo>
                    <a:pt x="3918" y="222"/>
                  </a:lnTo>
                  <a:lnTo>
                    <a:pt x="3918" y="228"/>
                  </a:lnTo>
                  <a:lnTo>
                    <a:pt x="3924" y="234"/>
                  </a:lnTo>
                  <a:lnTo>
                    <a:pt x="3936" y="240"/>
                  </a:lnTo>
                  <a:lnTo>
                    <a:pt x="3966" y="240"/>
                  </a:lnTo>
                  <a:lnTo>
                    <a:pt x="3942" y="252"/>
                  </a:lnTo>
                  <a:lnTo>
                    <a:pt x="3954" y="252"/>
                  </a:lnTo>
                  <a:lnTo>
                    <a:pt x="4002" y="276"/>
                  </a:lnTo>
                  <a:lnTo>
                    <a:pt x="4014" y="276"/>
                  </a:lnTo>
                  <a:lnTo>
                    <a:pt x="4026" y="270"/>
                  </a:lnTo>
                  <a:lnTo>
                    <a:pt x="4032" y="264"/>
                  </a:lnTo>
                  <a:lnTo>
                    <a:pt x="4044" y="258"/>
                  </a:lnTo>
                  <a:lnTo>
                    <a:pt x="4050" y="252"/>
                  </a:lnTo>
                  <a:lnTo>
                    <a:pt x="4074" y="246"/>
                  </a:lnTo>
                  <a:lnTo>
                    <a:pt x="4086" y="258"/>
                  </a:lnTo>
                  <a:lnTo>
                    <a:pt x="4092" y="270"/>
                  </a:lnTo>
                  <a:lnTo>
                    <a:pt x="4098" y="276"/>
                  </a:lnTo>
                  <a:lnTo>
                    <a:pt x="4104" y="270"/>
                  </a:lnTo>
                  <a:lnTo>
                    <a:pt x="4116" y="270"/>
                  </a:lnTo>
                  <a:lnTo>
                    <a:pt x="4128" y="264"/>
                  </a:lnTo>
                  <a:lnTo>
                    <a:pt x="4134" y="258"/>
                  </a:lnTo>
                  <a:lnTo>
                    <a:pt x="4146" y="258"/>
                  </a:lnTo>
                  <a:lnTo>
                    <a:pt x="4152" y="252"/>
                  </a:lnTo>
                  <a:lnTo>
                    <a:pt x="4158" y="252"/>
                  </a:lnTo>
                  <a:lnTo>
                    <a:pt x="4170" y="246"/>
                  </a:lnTo>
                  <a:lnTo>
                    <a:pt x="4176" y="234"/>
                  </a:lnTo>
                  <a:lnTo>
                    <a:pt x="4182" y="228"/>
                  </a:lnTo>
                  <a:lnTo>
                    <a:pt x="4194" y="246"/>
                  </a:lnTo>
                  <a:lnTo>
                    <a:pt x="4218" y="222"/>
                  </a:lnTo>
                  <a:lnTo>
                    <a:pt x="4218" y="216"/>
                  </a:lnTo>
                  <a:lnTo>
                    <a:pt x="4236" y="210"/>
                  </a:lnTo>
                  <a:lnTo>
                    <a:pt x="4326" y="210"/>
                  </a:lnTo>
                  <a:lnTo>
                    <a:pt x="4332" y="204"/>
                  </a:lnTo>
                  <a:lnTo>
                    <a:pt x="4332" y="192"/>
                  </a:lnTo>
                  <a:lnTo>
                    <a:pt x="4266" y="186"/>
                  </a:lnTo>
                  <a:lnTo>
                    <a:pt x="4302" y="174"/>
                  </a:lnTo>
                  <a:lnTo>
                    <a:pt x="4302" y="132"/>
                  </a:lnTo>
                  <a:lnTo>
                    <a:pt x="4278" y="132"/>
                  </a:lnTo>
                  <a:lnTo>
                    <a:pt x="4266" y="138"/>
                  </a:lnTo>
                  <a:lnTo>
                    <a:pt x="4260" y="144"/>
                  </a:lnTo>
                  <a:lnTo>
                    <a:pt x="4248" y="150"/>
                  </a:lnTo>
                  <a:lnTo>
                    <a:pt x="4242" y="126"/>
                  </a:lnTo>
                  <a:lnTo>
                    <a:pt x="4194" y="132"/>
                  </a:lnTo>
                  <a:lnTo>
                    <a:pt x="4194" y="120"/>
                  </a:lnTo>
                  <a:lnTo>
                    <a:pt x="4176" y="84"/>
                  </a:lnTo>
                  <a:lnTo>
                    <a:pt x="4140" y="84"/>
                  </a:lnTo>
                  <a:lnTo>
                    <a:pt x="4122" y="90"/>
                  </a:lnTo>
                  <a:lnTo>
                    <a:pt x="4110" y="96"/>
                  </a:lnTo>
                  <a:lnTo>
                    <a:pt x="4104" y="102"/>
                  </a:lnTo>
                  <a:lnTo>
                    <a:pt x="4098" y="102"/>
                  </a:lnTo>
                  <a:lnTo>
                    <a:pt x="4020" y="108"/>
                  </a:lnTo>
                  <a:lnTo>
                    <a:pt x="4044" y="126"/>
                  </a:lnTo>
                  <a:lnTo>
                    <a:pt x="3996" y="126"/>
                  </a:lnTo>
                  <a:lnTo>
                    <a:pt x="3984" y="132"/>
                  </a:lnTo>
                  <a:lnTo>
                    <a:pt x="3972" y="132"/>
                  </a:lnTo>
                  <a:lnTo>
                    <a:pt x="3966" y="138"/>
                  </a:lnTo>
                  <a:lnTo>
                    <a:pt x="3984" y="156"/>
                  </a:lnTo>
                  <a:lnTo>
                    <a:pt x="3972" y="156"/>
                  </a:lnTo>
                  <a:lnTo>
                    <a:pt x="3936" y="150"/>
                  </a:lnTo>
                  <a:lnTo>
                    <a:pt x="3906" y="156"/>
                  </a:lnTo>
                  <a:lnTo>
                    <a:pt x="3888" y="168"/>
                  </a:lnTo>
                  <a:lnTo>
                    <a:pt x="3888" y="174"/>
                  </a:lnTo>
                  <a:lnTo>
                    <a:pt x="3894" y="180"/>
                  </a:lnTo>
                  <a:lnTo>
                    <a:pt x="3954" y="180"/>
                  </a:lnTo>
                  <a:close/>
                  <a:moveTo>
                    <a:pt x="3972" y="294"/>
                  </a:moveTo>
                  <a:lnTo>
                    <a:pt x="3954" y="300"/>
                  </a:lnTo>
                  <a:lnTo>
                    <a:pt x="3942" y="306"/>
                  </a:lnTo>
                  <a:lnTo>
                    <a:pt x="3936" y="312"/>
                  </a:lnTo>
                  <a:lnTo>
                    <a:pt x="3936" y="318"/>
                  </a:lnTo>
                  <a:lnTo>
                    <a:pt x="3966" y="324"/>
                  </a:lnTo>
                  <a:lnTo>
                    <a:pt x="3972" y="324"/>
                  </a:lnTo>
                  <a:lnTo>
                    <a:pt x="3990" y="306"/>
                  </a:lnTo>
                  <a:lnTo>
                    <a:pt x="3990" y="300"/>
                  </a:lnTo>
                  <a:lnTo>
                    <a:pt x="3984" y="294"/>
                  </a:lnTo>
                  <a:lnTo>
                    <a:pt x="3972" y="294"/>
                  </a:lnTo>
                  <a:close/>
                  <a:moveTo>
                    <a:pt x="3738" y="336"/>
                  </a:moveTo>
                  <a:lnTo>
                    <a:pt x="3726" y="336"/>
                  </a:lnTo>
                  <a:lnTo>
                    <a:pt x="3720" y="330"/>
                  </a:lnTo>
                  <a:lnTo>
                    <a:pt x="3672" y="330"/>
                  </a:lnTo>
                  <a:lnTo>
                    <a:pt x="3636" y="336"/>
                  </a:lnTo>
                  <a:lnTo>
                    <a:pt x="3624" y="342"/>
                  </a:lnTo>
                  <a:lnTo>
                    <a:pt x="3642" y="360"/>
                  </a:lnTo>
                  <a:lnTo>
                    <a:pt x="3654" y="360"/>
                  </a:lnTo>
                  <a:lnTo>
                    <a:pt x="3660" y="378"/>
                  </a:lnTo>
                  <a:lnTo>
                    <a:pt x="3768" y="378"/>
                  </a:lnTo>
                  <a:lnTo>
                    <a:pt x="3768" y="390"/>
                  </a:lnTo>
                  <a:lnTo>
                    <a:pt x="3762" y="396"/>
                  </a:lnTo>
                  <a:lnTo>
                    <a:pt x="3762" y="408"/>
                  </a:lnTo>
                  <a:lnTo>
                    <a:pt x="3708" y="450"/>
                  </a:lnTo>
                  <a:lnTo>
                    <a:pt x="3732" y="456"/>
                  </a:lnTo>
                  <a:lnTo>
                    <a:pt x="3720" y="468"/>
                  </a:lnTo>
                  <a:lnTo>
                    <a:pt x="3714" y="468"/>
                  </a:lnTo>
                  <a:lnTo>
                    <a:pt x="3708" y="474"/>
                  </a:lnTo>
                  <a:lnTo>
                    <a:pt x="3708" y="480"/>
                  </a:lnTo>
                  <a:lnTo>
                    <a:pt x="3726" y="480"/>
                  </a:lnTo>
                  <a:lnTo>
                    <a:pt x="3738" y="474"/>
                  </a:lnTo>
                  <a:lnTo>
                    <a:pt x="3744" y="474"/>
                  </a:lnTo>
                  <a:lnTo>
                    <a:pt x="3756" y="468"/>
                  </a:lnTo>
                  <a:lnTo>
                    <a:pt x="3756" y="480"/>
                  </a:lnTo>
                  <a:lnTo>
                    <a:pt x="3792" y="480"/>
                  </a:lnTo>
                  <a:lnTo>
                    <a:pt x="3810" y="474"/>
                  </a:lnTo>
                  <a:lnTo>
                    <a:pt x="3822" y="468"/>
                  </a:lnTo>
                  <a:lnTo>
                    <a:pt x="3840" y="468"/>
                  </a:lnTo>
                  <a:lnTo>
                    <a:pt x="3846" y="462"/>
                  </a:lnTo>
                  <a:lnTo>
                    <a:pt x="3852" y="462"/>
                  </a:lnTo>
                  <a:lnTo>
                    <a:pt x="3858" y="486"/>
                  </a:lnTo>
                  <a:lnTo>
                    <a:pt x="3924" y="480"/>
                  </a:lnTo>
                  <a:lnTo>
                    <a:pt x="4002" y="498"/>
                  </a:lnTo>
                  <a:lnTo>
                    <a:pt x="4098" y="486"/>
                  </a:lnTo>
                  <a:lnTo>
                    <a:pt x="4128" y="468"/>
                  </a:lnTo>
                  <a:lnTo>
                    <a:pt x="4122" y="474"/>
                  </a:lnTo>
                  <a:lnTo>
                    <a:pt x="4122" y="486"/>
                  </a:lnTo>
                  <a:lnTo>
                    <a:pt x="4260" y="486"/>
                  </a:lnTo>
                  <a:lnTo>
                    <a:pt x="4272" y="468"/>
                  </a:lnTo>
                  <a:lnTo>
                    <a:pt x="4338" y="438"/>
                  </a:lnTo>
                  <a:lnTo>
                    <a:pt x="4320" y="432"/>
                  </a:lnTo>
                  <a:lnTo>
                    <a:pt x="4320" y="420"/>
                  </a:lnTo>
                  <a:lnTo>
                    <a:pt x="4314" y="420"/>
                  </a:lnTo>
                  <a:lnTo>
                    <a:pt x="4308" y="414"/>
                  </a:lnTo>
                  <a:lnTo>
                    <a:pt x="4290" y="414"/>
                  </a:lnTo>
                  <a:lnTo>
                    <a:pt x="4278" y="408"/>
                  </a:lnTo>
                  <a:lnTo>
                    <a:pt x="4260" y="408"/>
                  </a:lnTo>
                  <a:lnTo>
                    <a:pt x="4242" y="402"/>
                  </a:lnTo>
                  <a:lnTo>
                    <a:pt x="4206" y="402"/>
                  </a:lnTo>
                  <a:lnTo>
                    <a:pt x="4164" y="414"/>
                  </a:lnTo>
                  <a:lnTo>
                    <a:pt x="4116" y="420"/>
                  </a:lnTo>
                  <a:lnTo>
                    <a:pt x="4074" y="426"/>
                  </a:lnTo>
                  <a:lnTo>
                    <a:pt x="4038" y="438"/>
                  </a:lnTo>
                  <a:lnTo>
                    <a:pt x="4026" y="438"/>
                  </a:lnTo>
                  <a:lnTo>
                    <a:pt x="4014" y="432"/>
                  </a:lnTo>
                  <a:lnTo>
                    <a:pt x="4008" y="426"/>
                  </a:lnTo>
                  <a:lnTo>
                    <a:pt x="3996" y="420"/>
                  </a:lnTo>
                  <a:lnTo>
                    <a:pt x="3984" y="420"/>
                  </a:lnTo>
                  <a:lnTo>
                    <a:pt x="3972" y="426"/>
                  </a:lnTo>
                  <a:lnTo>
                    <a:pt x="3960" y="426"/>
                  </a:lnTo>
                  <a:lnTo>
                    <a:pt x="3948" y="432"/>
                  </a:lnTo>
                  <a:lnTo>
                    <a:pt x="3942" y="438"/>
                  </a:lnTo>
                  <a:lnTo>
                    <a:pt x="3936" y="438"/>
                  </a:lnTo>
                  <a:lnTo>
                    <a:pt x="3912" y="414"/>
                  </a:lnTo>
                  <a:lnTo>
                    <a:pt x="3894" y="426"/>
                  </a:lnTo>
                  <a:lnTo>
                    <a:pt x="3864" y="420"/>
                  </a:lnTo>
                  <a:lnTo>
                    <a:pt x="3894" y="408"/>
                  </a:lnTo>
                  <a:lnTo>
                    <a:pt x="3876" y="396"/>
                  </a:lnTo>
                  <a:lnTo>
                    <a:pt x="3822" y="408"/>
                  </a:lnTo>
                  <a:lnTo>
                    <a:pt x="3858" y="396"/>
                  </a:lnTo>
                  <a:lnTo>
                    <a:pt x="3858" y="390"/>
                  </a:lnTo>
                  <a:lnTo>
                    <a:pt x="3924" y="384"/>
                  </a:lnTo>
                  <a:lnTo>
                    <a:pt x="3888" y="372"/>
                  </a:lnTo>
                  <a:lnTo>
                    <a:pt x="3870" y="372"/>
                  </a:lnTo>
                  <a:lnTo>
                    <a:pt x="3876" y="366"/>
                  </a:lnTo>
                  <a:lnTo>
                    <a:pt x="3876" y="360"/>
                  </a:lnTo>
                  <a:lnTo>
                    <a:pt x="3870" y="354"/>
                  </a:lnTo>
                  <a:lnTo>
                    <a:pt x="3840" y="354"/>
                  </a:lnTo>
                  <a:lnTo>
                    <a:pt x="3822" y="360"/>
                  </a:lnTo>
                  <a:lnTo>
                    <a:pt x="3804" y="360"/>
                  </a:lnTo>
                  <a:lnTo>
                    <a:pt x="3786" y="366"/>
                  </a:lnTo>
                  <a:lnTo>
                    <a:pt x="3774" y="354"/>
                  </a:lnTo>
                  <a:lnTo>
                    <a:pt x="3762" y="348"/>
                  </a:lnTo>
                  <a:lnTo>
                    <a:pt x="3756" y="342"/>
                  </a:lnTo>
                  <a:lnTo>
                    <a:pt x="3744" y="336"/>
                  </a:lnTo>
                  <a:lnTo>
                    <a:pt x="3738" y="336"/>
                  </a:lnTo>
                  <a:close/>
                  <a:moveTo>
                    <a:pt x="3264" y="420"/>
                  </a:moveTo>
                  <a:lnTo>
                    <a:pt x="3282" y="420"/>
                  </a:lnTo>
                  <a:lnTo>
                    <a:pt x="3300" y="426"/>
                  </a:lnTo>
                  <a:lnTo>
                    <a:pt x="3318" y="426"/>
                  </a:lnTo>
                  <a:lnTo>
                    <a:pt x="3330" y="432"/>
                  </a:lnTo>
                  <a:lnTo>
                    <a:pt x="3342" y="432"/>
                  </a:lnTo>
                  <a:lnTo>
                    <a:pt x="3330" y="444"/>
                  </a:lnTo>
                  <a:lnTo>
                    <a:pt x="3324" y="444"/>
                  </a:lnTo>
                  <a:lnTo>
                    <a:pt x="3324" y="456"/>
                  </a:lnTo>
                  <a:lnTo>
                    <a:pt x="3438" y="456"/>
                  </a:lnTo>
                  <a:lnTo>
                    <a:pt x="3462" y="444"/>
                  </a:lnTo>
                  <a:lnTo>
                    <a:pt x="3462" y="432"/>
                  </a:lnTo>
                  <a:lnTo>
                    <a:pt x="3468" y="426"/>
                  </a:lnTo>
                  <a:lnTo>
                    <a:pt x="3480" y="426"/>
                  </a:lnTo>
                  <a:lnTo>
                    <a:pt x="3492" y="420"/>
                  </a:lnTo>
                  <a:lnTo>
                    <a:pt x="3504" y="420"/>
                  </a:lnTo>
                  <a:lnTo>
                    <a:pt x="3510" y="414"/>
                  </a:lnTo>
                  <a:lnTo>
                    <a:pt x="3510" y="408"/>
                  </a:lnTo>
                  <a:lnTo>
                    <a:pt x="3522" y="396"/>
                  </a:lnTo>
                  <a:lnTo>
                    <a:pt x="3534" y="390"/>
                  </a:lnTo>
                  <a:lnTo>
                    <a:pt x="3540" y="384"/>
                  </a:lnTo>
                  <a:lnTo>
                    <a:pt x="3552" y="378"/>
                  </a:lnTo>
                  <a:lnTo>
                    <a:pt x="3552" y="372"/>
                  </a:lnTo>
                  <a:lnTo>
                    <a:pt x="3546" y="366"/>
                  </a:lnTo>
                  <a:lnTo>
                    <a:pt x="3534" y="360"/>
                  </a:lnTo>
                  <a:lnTo>
                    <a:pt x="3510" y="360"/>
                  </a:lnTo>
                  <a:lnTo>
                    <a:pt x="3504" y="366"/>
                  </a:lnTo>
                  <a:lnTo>
                    <a:pt x="3492" y="366"/>
                  </a:lnTo>
                  <a:lnTo>
                    <a:pt x="3486" y="360"/>
                  </a:lnTo>
                  <a:lnTo>
                    <a:pt x="3474" y="360"/>
                  </a:lnTo>
                  <a:lnTo>
                    <a:pt x="3462" y="354"/>
                  </a:lnTo>
                  <a:lnTo>
                    <a:pt x="3450" y="354"/>
                  </a:lnTo>
                  <a:lnTo>
                    <a:pt x="3432" y="348"/>
                  </a:lnTo>
                  <a:lnTo>
                    <a:pt x="3426" y="354"/>
                  </a:lnTo>
                  <a:lnTo>
                    <a:pt x="3420" y="354"/>
                  </a:lnTo>
                  <a:lnTo>
                    <a:pt x="3414" y="366"/>
                  </a:lnTo>
                  <a:lnTo>
                    <a:pt x="3414" y="396"/>
                  </a:lnTo>
                  <a:lnTo>
                    <a:pt x="3396" y="378"/>
                  </a:lnTo>
                  <a:lnTo>
                    <a:pt x="3384" y="372"/>
                  </a:lnTo>
                  <a:lnTo>
                    <a:pt x="3366" y="372"/>
                  </a:lnTo>
                  <a:lnTo>
                    <a:pt x="3354" y="384"/>
                  </a:lnTo>
                  <a:lnTo>
                    <a:pt x="3348" y="396"/>
                  </a:lnTo>
                  <a:lnTo>
                    <a:pt x="3330" y="414"/>
                  </a:lnTo>
                  <a:lnTo>
                    <a:pt x="3324" y="414"/>
                  </a:lnTo>
                  <a:lnTo>
                    <a:pt x="3300" y="366"/>
                  </a:lnTo>
                  <a:lnTo>
                    <a:pt x="3288" y="360"/>
                  </a:lnTo>
                  <a:lnTo>
                    <a:pt x="3258" y="360"/>
                  </a:lnTo>
                  <a:lnTo>
                    <a:pt x="3246" y="366"/>
                  </a:lnTo>
                  <a:lnTo>
                    <a:pt x="3240" y="372"/>
                  </a:lnTo>
                  <a:lnTo>
                    <a:pt x="3240" y="396"/>
                  </a:lnTo>
                  <a:lnTo>
                    <a:pt x="3246" y="408"/>
                  </a:lnTo>
                  <a:lnTo>
                    <a:pt x="3258" y="414"/>
                  </a:lnTo>
                  <a:lnTo>
                    <a:pt x="3264" y="420"/>
                  </a:lnTo>
                  <a:close/>
                  <a:moveTo>
                    <a:pt x="3720" y="288"/>
                  </a:moveTo>
                  <a:lnTo>
                    <a:pt x="3726" y="288"/>
                  </a:lnTo>
                  <a:lnTo>
                    <a:pt x="3732" y="294"/>
                  </a:lnTo>
                  <a:lnTo>
                    <a:pt x="3738" y="306"/>
                  </a:lnTo>
                  <a:lnTo>
                    <a:pt x="3768" y="306"/>
                  </a:lnTo>
                  <a:lnTo>
                    <a:pt x="3780" y="300"/>
                  </a:lnTo>
                  <a:lnTo>
                    <a:pt x="3834" y="300"/>
                  </a:lnTo>
                  <a:lnTo>
                    <a:pt x="3834" y="294"/>
                  </a:lnTo>
                  <a:lnTo>
                    <a:pt x="3828" y="294"/>
                  </a:lnTo>
                  <a:lnTo>
                    <a:pt x="3822" y="288"/>
                  </a:lnTo>
                  <a:lnTo>
                    <a:pt x="3810" y="288"/>
                  </a:lnTo>
                  <a:lnTo>
                    <a:pt x="3804" y="282"/>
                  </a:lnTo>
                  <a:lnTo>
                    <a:pt x="3792" y="282"/>
                  </a:lnTo>
                  <a:lnTo>
                    <a:pt x="3804" y="270"/>
                  </a:lnTo>
                  <a:lnTo>
                    <a:pt x="3816" y="264"/>
                  </a:lnTo>
                  <a:lnTo>
                    <a:pt x="3822" y="264"/>
                  </a:lnTo>
                  <a:lnTo>
                    <a:pt x="3828" y="258"/>
                  </a:lnTo>
                  <a:lnTo>
                    <a:pt x="3822" y="258"/>
                  </a:lnTo>
                  <a:lnTo>
                    <a:pt x="3810" y="252"/>
                  </a:lnTo>
                  <a:lnTo>
                    <a:pt x="3738" y="228"/>
                  </a:lnTo>
                  <a:lnTo>
                    <a:pt x="3732" y="228"/>
                  </a:lnTo>
                  <a:lnTo>
                    <a:pt x="3726" y="234"/>
                  </a:lnTo>
                  <a:lnTo>
                    <a:pt x="3714" y="240"/>
                  </a:lnTo>
                  <a:lnTo>
                    <a:pt x="3702" y="240"/>
                  </a:lnTo>
                  <a:lnTo>
                    <a:pt x="3690" y="252"/>
                  </a:lnTo>
                  <a:lnTo>
                    <a:pt x="3690" y="258"/>
                  </a:lnTo>
                  <a:lnTo>
                    <a:pt x="3696" y="264"/>
                  </a:lnTo>
                  <a:lnTo>
                    <a:pt x="3702" y="276"/>
                  </a:lnTo>
                  <a:lnTo>
                    <a:pt x="3714" y="282"/>
                  </a:lnTo>
                  <a:lnTo>
                    <a:pt x="3720" y="288"/>
                  </a:lnTo>
                  <a:close/>
                  <a:moveTo>
                    <a:pt x="3288" y="504"/>
                  </a:moveTo>
                  <a:lnTo>
                    <a:pt x="3270" y="504"/>
                  </a:lnTo>
                  <a:lnTo>
                    <a:pt x="3234" y="510"/>
                  </a:lnTo>
                  <a:lnTo>
                    <a:pt x="3186" y="516"/>
                  </a:lnTo>
                  <a:lnTo>
                    <a:pt x="3144" y="528"/>
                  </a:lnTo>
                  <a:lnTo>
                    <a:pt x="3132" y="534"/>
                  </a:lnTo>
                  <a:lnTo>
                    <a:pt x="3126" y="540"/>
                  </a:lnTo>
                  <a:lnTo>
                    <a:pt x="3132" y="540"/>
                  </a:lnTo>
                  <a:lnTo>
                    <a:pt x="3150" y="558"/>
                  </a:lnTo>
                  <a:lnTo>
                    <a:pt x="3156" y="570"/>
                  </a:lnTo>
                  <a:lnTo>
                    <a:pt x="3156" y="576"/>
                  </a:lnTo>
                  <a:lnTo>
                    <a:pt x="3138" y="582"/>
                  </a:lnTo>
                  <a:lnTo>
                    <a:pt x="3120" y="570"/>
                  </a:lnTo>
                  <a:lnTo>
                    <a:pt x="3090" y="564"/>
                  </a:lnTo>
                  <a:lnTo>
                    <a:pt x="3048" y="570"/>
                  </a:lnTo>
                  <a:lnTo>
                    <a:pt x="3066" y="606"/>
                  </a:lnTo>
                  <a:lnTo>
                    <a:pt x="3072" y="612"/>
                  </a:lnTo>
                  <a:lnTo>
                    <a:pt x="3084" y="618"/>
                  </a:lnTo>
                  <a:lnTo>
                    <a:pt x="3102" y="624"/>
                  </a:lnTo>
                  <a:lnTo>
                    <a:pt x="3114" y="630"/>
                  </a:lnTo>
                  <a:lnTo>
                    <a:pt x="3120" y="642"/>
                  </a:lnTo>
                  <a:lnTo>
                    <a:pt x="3120" y="654"/>
                  </a:lnTo>
                  <a:lnTo>
                    <a:pt x="3126" y="666"/>
                  </a:lnTo>
                  <a:lnTo>
                    <a:pt x="3126" y="678"/>
                  </a:lnTo>
                  <a:lnTo>
                    <a:pt x="3144" y="678"/>
                  </a:lnTo>
                  <a:lnTo>
                    <a:pt x="3228" y="666"/>
                  </a:lnTo>
                  <a:lnTo>
                    <a:pt x="3264" y="660"/>
                  </a:lnTo>
                  <a:lnTo>
                    <a:pt x="3276" y="654"/>
                  </a:lnTo>
                  <a:lnTo>
                    <a:pt x="3282" y="642"/>
                  </a:lnTo>
                  <a:lnTo>
                    <a:pt x="3288" y="624"/>
                  </a:lnTo>
                  <a:lnTo>
                    <a:pt x="3300" y="600"/>
                  </a:lnTo>
                  <a:lnTo>
                    <a:pt x="3300" y="588"/>
                  </a:lnTo>
                  <a:lnTo>
                    <a:pt x="3228" y="576"/>
                  </a:lnTo>
                  <a:lnTo>
                    <a:pt x="3240" y="570"/>
                  </a:lnTo>
                  <a:lnTo>
                    <a:pt x="3348" y="534"/>
                  </a:lnTo>
                  <a:lnTo>
                    <a:pt x="3360" y="528"/>
                  </a:lnTo>
                  <a:lnTo>
                    <a:pt x="3354" y="522"/>
                  </a:lnTo>
                  <a:lnTo>
                    <a:pt x="3342" y="516"/>
                  </a:lnTo>
                  <a:lnTo>
                    <a:pt x="3324" y="510"/>
                  </a:lnTo>
                  <a:lnTo>
                    <a:pt x="3312" y="510"/>
                  </a:lnTo>
                  <a:lnTo>
                    <a:pt x="3300" y="504"/>
                  </a:lnTo>
                  <a:lnTo>
                    <a:pt x="3288" y="504"/>
                  </a:lnTo>
                  <a:close/>
                  <a:moveTo>
                    <a:pt x="2898" y="744"/>
                  </a:moveTo>
                  <a:lnTo>
                    <a:pt x="2880" y="738"/>
                  </a:lnTo>
                  <a:lnTo>
                    <a:pt x="2796" y="738"/>
                  </a:lnTo>
                  <a:lnTo>
                    <a:pt x="2874" y="696"/>
                  </a:lnTo>
                  <a:lnTo>
                    <a:pt x="2880" y="684"/>
                  </a:lnTo>
                  <a:lnTo>
                    <a:pt x="2886" y="654"/>
                  </a:lnTo>
                  <a:lnTo>
                    <a:pt x="2898" y="624"/>
                  </a:lnTo>
                  <a:lnTo>
                    <a:pt x="2898" y="588"/>
                  </a:lnTo>
                  <a:lnTo>
                    <a:pt x="2880" y="570"/>
                  </a:lnTo>
                  <a:lnTo>
                    <a:pt x="2850" y="570"/>
                  </a:lnTo>
                  <a:lnTo>
                    <a:pt x="2814" y="576"/>
                  </a:lnTo>
                  <a:lnTo>
                    <a:pt x="2796" y="582"/>
                  </a:lnTo>
                  <a:lnTo>
                    <a:pt x="2784" y="588"/>
                  </a:lnTo>
                  <a:lnTo>
                    <a:pt x="2784" y="594"/>
                  </a:lnTo>
                  <a:lnTo>
                    <a:pt x="2766" y="612"/>
                  </a:lnTo>
                  <a:lnTo>
                    <a:pt x="2760" y="630"/>
                  </a:lnTo>
                  <a:lnTo>
                    <a:pt x="2736" y="654"/>
                  </a:lnTo>
                  <a:lnTo>
                    <a:pt x="2718" y="666"/>
                  </a:lnTo>
                  <a:lnTo>
                    <a:pt x="2706" y="672"/>
                  </a:lnTo>
                  <a:lnTo>
                    <a:pt x="2700" y="672"/>
                  </a:lnTo>
                  <a:lnTo>
                    <a:pt x="2694" y="666"/>
                  </a:lnTo>
                  <a:lnTo>
                    <a:pt x="2694" y="660"/>
                  </a:lnTo>
                  <a:lnTo>
                    <a:pt x="2700" y="654"/>
                  </a:lnTo>
                  <a:lnTo>
                    <a:pt x="2706" y="642"/>
                  </a:lnTo>
                  <a:lnTo>
                    <a:pt x="2712" y="636"/>
                  </a:lnTo>
                  <a:lnTo>
                    <a:pt x="2718" y="624"/>
                  </a:lnTo>
                  <a:lnTo>
                    <a:pt x="2718" y="612"/>
                  </a:lnTo>
                  <a:lnTo>
                    <a:pt x="2724" y="606"/>
                  </a:lnTo>
                  <a:lnTo>
                    <a:pt x="2724" y="600"/>
                  </a:lnTo>
                  <a:lnTo>
                    <a:pt x="2706" y="594"/>
                  </a:lnTo>
                  <a:lnTo>
                    <a:pt x="2676" y="588"/>
                  </a:lnTo>
                  <a:lnTo>
                    <a:pt x="2628" y="588"/>
                  </a:lnTo>
                  <a:lnTo>
                    <a:pt x="2622" y="606"/>
                  </a:lnTo>
                  <a:lnTo>
                    <a:pt x="2610" y="612"/>
                  </a:lnTo>
                  <a:lnTo>
                    <a:pt x="2586" y="618"/>
                  </a:lnTo>
                  <a:lnTo>
                    <a:pt x="2550" y="624"/>
                  </a:lnTo>
                  <a:lnTo>
                    <a:pt x="2508" y="630"/>
                  </a:lnTo>
                  <a:lnTo>
                    <a:pt x="2490" y="630"/>
                  </a:lnTo>
                  <a:lnTo>
                    <a:pt x="2496" y="624"/>
                  </a:lnTo>
                  <a:lnTo>
                    <a:pt x="2508" y="618"/>
                  </a:lnTo>
                  <a:lnTo>
                    <a:pt x="2520" y="618"/>
                  </a:lnTo>
                  <a:lnTo>
                    <a:pt x="2538" y="612"/>
                  </a:lnTo>
                  <a:lnTo>
                    <a:pt x="2550" y="606"/>
                  </a:lnTo>
                  <a:lnTo>
                    <a:pt x="2586" y="594"/>
                  </a:lnTo>
                  <a:lnTo>
                    <a:pt x="2598" y="588"/>
                  </a:lnTo>
                  <a:lnTo>
                    <a:pt x="2604" y="588"/>
                  </a:lnTo>
                  <a:lnTo>
                    <a:pt x="2604" y="582"/>
                  </a:lnTo>
                  <a:lnTo>
                    <a:pt x="2592" y="576"/>
                  </a:lnTo>
                  <a:lnTo>
                    <a:pt x="2556" y="576"/>
                  </a:lnTo>
                  <a:lnTo>
                    <a:pt x="2496" y="594"/>
                  </a:lnTo>
                  <a:lnTo>
                    <a:pt x="2460" y="600"/>
                  </a:lnTo>
                  <a:lnTo>
                    <a:pt x="2466" y="594"/>
                  </a:lnTo>
                  <a:lnTo>
                    <a:pt x="2478" y="588"/>
                  </a:lnTo>
                  <a:lnTo>
                    <a:pt x="2490" y="576"/>
                  </a:lnTo>
                  <a:lnTo>
                    <a:pt x="2502" y="570"/>
                  </a:lnTo>
                  <a:lnTo>
                    <a:pt x="2514" y="558"/>
                  </a:lnTo>
                  <a:lnTo>
                    <a:pt x="2508" y="558"/>
                  </a:lnTo>
                  <a:lnTo>
                    <a:pt x="2508" y="552"/>
                  </a:lnTo>
                  <a:lnTo>
                    <a:pt x="2496" y="552"/>
                  </a:lnTo>
                  <a:lnTo>
                    <a:pt x="2346" y="600"/>
                  </a:lnTo>
                  <a:lnTo>
                    <a:pt x="2328" y="600"/>
                  </a:lnTo>
                  <a:lnTo>
                    <a:pt x="2244" y="624"/>
                  </a:lnTo>
                  <a:lnTo>
                    <a:pt x="2250" y="642"/>
                  </a:lnTo>
                  <a:lnTo>
                    <a:pt x="2190" y="660"/>
                  </a:lnTo>
                  <a:lnTo>
                    <a:pt x="2172" y="678"/>
                  </a:lnTo>
                  <a:lnTo>
                    <a:pt x="2202" y="690"/>
                  </a:lnTo>
                  <a:lnTo>
                    <a:pt x="2208" y="684"/>
                  </a:lnTo>
                  <a:lnTo>
                    <a:pt x="2220" y="678"/>
                  </a:lnTo>
                  <a:lnTo>
                    <a:pt x="2238" y="678"/>
                  </a:lnTo>
                  <a:lnTo>
                    <a:pt x="2244" y="684"/>
                  </a:lnTo>
                  <a:lnTo>
                    <a:pt x="2244" y="690"/>
                  </a:lnTo>
                  <a:lnTo>
                    <a:pt x="2238" y="696"/>
                  </a:lnTo>
                  <a:lnTo>
                    <a:pt x="2226" y="696"/>
                  </a:lnTo>
                  <a:lnTo>
                    <a:pt x="2208" y="702"/>
                  </a:lnTo>
                  <a:lnTo>
                    <a:pt x="2196" y="702"/>
                  </a:lnTo>
                  <a:lnTo>
                    <a:pt x="2160" y="720"/>
                  </a:lnTo>
                  <a:lnTo>
                    <a:pt x="2166" y="732"/>
                  </a:lnTo>
                  <a:lnTo>
                    <a:pt x="2196" y="732"/>
                  </a:lnTo>
                  <a:lnTo>
                    <a:pt x="2238" y="738"/>
                  </a:lnTo>
                  <a:lnTo>
                    <a:pt x="2322" y="738"/>
                  </a:lnTo>
                  <a:lnTo>
                    <a:pt x="2352" y="744"/>
                  </a:lnTo>
                  <a:lnTo>
                    <a:pt x="2352" y="750"/>
                  </a:lnTo>
                  <a:lnTo>
                    <a:pt x="2322" y="762"/>
                  </a:lnTo>
                  <a:lnTo>
                    <a:pt x="2280" y="762"/>
                  </a:lnTo>
                  <a:lnTo>
                    <a:pt x="2172" y="774"/>
                  </a:lnTo>
                  <a:lnTo>
                    <a:pt x="2136" y="774"/>
                  </a:lnTo>
                  <a:lnTo>
                    <a:pt x="2112" y="786"/>
                  </a:lnTo>
                  <a:lnTo>
                    <a:pt x="2106" y="792"/>
                  </a:lnTo>
                  <a:lnTo>
                    <a:pt x="2118" y="804"/>
                  </a:lnTo>
                  <a:lnTo>
                    <a:pt x="2130" y="810"/>
                  </a:lnTo>
                  <a:lnTo>
                    <a:pt x="2148" y="810"/>
                  </a:lnTo>
                  <a:lnTo>
                    <a:pt x="2160" y="816"/>
                  </a:lnTo>
                  <a:lnTo>
                    <a:pt x="2178" y="822"/>
                  </a:lnTo>
                  <a:lnTo>
                    <a:pt x="2190" y="828"/>
                  </a:lnTo>
                  <a:lnTo>
                    <a:pt x="2190" y="834"/>
                  </a:lnTo>
                  <a:lnTo>
                    <a:pt x="2184" y="840"/>
                  </a:lnTo>
                  <a:lnTo>
                    <a:pt x="2172" y="840"/>
                  </a:lnTo>
                  <a:lnTo>
                    <a:pt x="2154" y="858"/>
                  </a:lnTo>
                  <a:lnTo>
                    <a:pt x="2166" y="870"/>
                  </a:lnTo>
                  <a:lnTo>
                    <a:pt x="2322" y="870"/>
                  </a:lnTo>
                  <a:lnTo>
                    <a:pt x="2370" y="864"/>
                  </a:lnTo>
                  <a:lnTo>
                    <a:pt x="2436" y="858"/>
                  </a:lnTo>
                  <a:lnTo>
                    <a:pt x="2508" y="846"/>
                  </a:lnTo>
                  <a:lnTo>
                    <a:pt x="2574" y="840"/>
                  </a:lnTo>
                  <a:lnTo>
                    <a:pt x="2616" y="828"/>
                  </a:lnTo>
                  <a:lnTo>
                    <a:pt x="2652" y="828"/>
                  </a:lnTo>
                  <a:lnTo>
                    <a:pt x="2736" y="864"/>
                  </a:lnTo>
                  <a:lnTo>
                    <a:pt x="2778" y="876"/>
                  </a:lnTo>
                  <a:lnTo>
                    <a:pt x="2796" y="876"/>
                  </a:lnTo>
                  <a:lnTo>
                    <a:pt x="2814" y="870"/>
                  </a:lnTo>
                  <a:lnTo>
                    <a:pt x="2832" y="852"/>
                  </a:lnTo>
                  <a:lnTo>
                    <a:pt x="2838" y="840"/>
                  </a:lnTo>
                  <a:lnTo>
                    <a:pt x="2844" y="834"/>
                  </a:lnTo>
                  <a:lnTo>
                    <a:pt x="2844" y="822"/>
                  </a:lnTo>
                  <a:lnTo>
                    <a:pt x="2766" y="822"/>
                  </a:lnTo>
                  <a:lnTo>
                    <a:pt x="2802" y="798"/>
                  </a:lnTo>
                  <a:lnTo>
                    <a:pt x="2850" y="798"/>
                  </a:lnTo>
                  <a:lnTo>
                    <a:pt x="2898" y="792"/>
                  </a:lnTo>
                  <a:lnTo>
                    <a:pt x="2910" y="786"/>
                  </a:lnTo>
                  <a:lnTo>
                    <a:pt x="2916" y="786"/>
                  </a:lnTo>
                  <a:lnTo>
                    <a:pt x="2922" y="780"/>
                  </a:lnTo>
                  <a:lnTo>
                    <a:pt x="2916" y="768"/>
                  </a:lnTo>
                  <a:lnTo>
                    <a:pt x="2898" y="750"/>
                  </a:lnTo>
                  <a:lnTo>
                    <a:pt x="2898" y="744"/>
                  </a:lnTo>
                  <a:close/>
                  <a:moveTo>
                    <a:pt x="2868" y="882"/>
                  </a:moveTo>
                  <a:lnTo>
                    <a:pt x="2886" y="882"/>
                  </a:lnTo>
                  <a:lnTo>
                    <a:pt x="2904" y="876"/>
                  </a:lnTo>
                  <a:lnTo>
                    <a:pt x="2910" y="870"/>
                  </a:lnTo>
                  <a:lnTo>
                    <a:pt x="2910" y="864"/>
                  </a:lnTo>
                  <a:lnTo>
                    <a:pt x="2904" y="858"/>
                  </a:lnTo>
                  <a:lnTo>
                    <a:pt x="2880" y="858"/>
                  </a:lnTo>
                  <a:lnTo>
                    <a:pt x="2868" y="870"/>
                  </a:lnTo>
                  <a:lnTo>
                    <a:pt x="2868" y="882"/>
                  </a:lnTo>
                  <a:close/>
                  <a:moveTo>
                    <a:pt x="3276" y="330"/>
                  </a:moveTo>
                  <a:lnTo>
                    <a:pt x="3288" y="330"/>
                  </a:lnTo>
                  <a:lnTo>
                    <a:pt x="3294" y="324"/>
                  </a:lnTo>
                  <a:lnTo>
                    <a:pt x="3300" y="312"/>
                  </a:lnTo>
                  <a:lnTo>
                    <a:pt x="3300" y="306"/>
                  </a:lnTo>
                  <a:lnTo>
                    <a:pt x="3294" y="294"/>
                  </a:lnTo>
                  <a:lnTo>
                    <a:pt x="3288" y="288"/>
                  </a:lnTo>
                  <a:lnTo>
                    <a:pt x="3276" y="288"/>
                  </a:lnTo>
                  <a:lnTo>
                    <a:pt x="3270" y="300"/>
                  </a:lnTo>
                  <a:lnTo>
                    <a:pt x="3264" y="306"/>
                  </a:lnTo>
                  <a:lnTo>
                    <a:pt x="3264" y="324"/>
                  </a:lnTo>
                  <a:lnTo>
                    <a:pt x="3270" y="330"/>
                  </a:lnTo>
                  <a:lnTo>
                    <a:pt x="3276" y="330"/>
                  </a:lnTo>
                  <a:close/>
                  <a:moveTo>
                    <a:pt x="3462" y="228"/>
                  </a:moveTo>
                  <a:lnTo>
                    <a:pt x="3450" y="240"/>
                  </a:lnTo>
                  <a:lnTo>
                    <a:pt x="3450" y="252"/>
                  </a:lnTo>
                  <a:lnTo>
                    <a:pt x="3456" y="258"/>
                  </a:lnTo>
                  <a:lnTo>
                    <a:pt x="3528" y="258"/>
                  </a:lnTo>
                  <a:lnTo>
                    <a:pt x="3546" y="276"/>
                  </a:lnTo>
                  <a:lnTo>
                    <a:pt x="3558" y="282"/>
                  </a:lnTo>
                  <a:lnTo>
                    <a:pt x="3588" y="282"/>
                  </a:lnTo>
                  <a:lnTo>
                    <a:pt x="3612" y="270"/>
                  </a:lnTo>
                  <a:lnTo>
                    <a:pt x="3618" y="264"/>
                  </a:lnTo>
                  <a:lnTo>
                    <a:pt x="3606" y="252"/>
                  </a:lnTo>
                  <a:lnTo>
                    <a:pt x="3636" y="246"/>
                  </a:lnTo>
                  <a:lnTo>
                    <a:pt x="3594" y="210"/>
                  </a:lnTo>
                  <a:lnTo>
                    <a:pt x="3552" y="216"/>
                  </a:lnTo>
                  <a:lnTo>
                    <a:pt x="3534" y="198"/>
                  </a:lnTo>
                  <a:lnTo>
                    <a:pt x="3450" y="198"/>
                  </a:lnTo>
                  <a:lnTo>
                    <a:pt x="3438" y="204"/>
                  </a:lnTo>
                  <a:lnTo>
                    <a:pt x="3426" y="204"/>
                  </a:lnTo>
                  <a:lnTo>
                    <a:pt x="3420" y="210"/>
                  </a:lnTo>
                  <a:lnTo>
                    <a:pt x="3438" y="228"/>
                  </a:lnTo>
                  <a:lnTo>
                    <a:pt x="3462" y="228"/>
                  </a:lnTo>
                  <a:close/>
                  <a:moveTo>
                    <a:pt x="3432" y="1302"/>
                  </a:moveTo>
                  <a:lnTo>
                    <a:pt x="3408" y="1326"/>
                  </a:lnTo>
                  <a:lnTo>
                    <a:pt x="3408" y="1344"/>
                  </a:lnTo>
                  <a:lnTo>
                    <a:pt x="3438" y="1344"/>
                  </a:lnTo>
                  <a:lnTo>
                    <a:pt x="3462" y="1332"/>
                  </a:lnTo>
                  <a:lnTo>
                    <a:pt x="3468" y="1332"/>
                  </a:lnTo>
                  <a:lnTo>
                    <a:pt x="3480" y="1326"/>
                  </a:lnTo>
                  <a:lnTo>
                    <a:pt x="3486" y="1326"/>
                  </a:lnTo>
                  <a:lnTo>
                    <a:pt x="3504" y="1308"/>
                  </a:lnTo>
                  <a:lnTo>
                    <a:pt x="3516" y="1290"/>
                  </a:lnTo>
                  <a:lnTo>
                    <a:pt x="3516" y="1266"/>
                  </a:lnTo>
                  <a:lnTo>
                    <a:pt x="3510" y="1260"/>
                  </a:lnTo>
                  <a:lnTo>
                    <a:pt x="3498" y="1260"/>
                  </a:lnTo>
                  <a:lnTo>
                    <a:pt x="3480" y="1266"/>
                  </a:lnTo>
                  <a:lnTo>
                    <a:pt x="3432" y="1302"/>
                  </a:lnTo>
                  <a:close/>
                  <a:moveTo>
                    <a:pt x="4416" y="1392"/>
                  </a:moveTo>
                  <a:lnTo>
                    <a:pt x="4428" y="1380"/>
                  </a:lnTo>
                  <a:lnTo>
                    <a:pt x="4428" y="1374"/>
                  </a:lnTo>
                  <a:lnTo>
                    <a:pt x="4386" y="1374"/>
                  </a:lnTo>
                  <a:lnTo>
                    <a:pt x="4386" y="1380"/>
                  </a:lnTo>
                  <a:lnTo>
                    <a:pt x="4404" y="1398"/>
                  </a:lnTo>
                  <a:lnTo>
                    <a:pt x="4416" y="1392"/>
                  </a:lnTo>
                  <a:close/>
                  <a:moveTo>
                    <a:pt x="3120" y="2034"/>
                  </a:moveTo>
                  <a:lnTo>
                    <a:pt x="3132" y="2034"/>
                  </a:lnTo>
                  <a:lnTo>
                    <a:pt x="3138" y="2028"/>
                  </a:lnTo>
                  <a:lnTo>
                    <a:pt x="3132" y="2022"/>
                  </a:lnTo>
                  <a:lnTo>
                    <a:pt x="3120" y="2016"/>
                  </a:lnTo>
                  <a:lnTo>
                    <a:pt x="3114" y="2010"/>
                  </a:lnTo>
                  <a:lnTo>
                    <a:pt x="3108" y="2010"/>
                  </a:lnTo>
                  <a:lnTo>
                    <a:pt x="3090" y="2016"/>
                  </a:lnTo>
                  <a:lnTo>
                    <a:pt x="3078" y="2022"/>
                  </a:lnTo>
                  <a:lnTo>
                    <a:pt x="3072" y="2022"/>
                  </a:lnTo>
                  <a:lnTo>
                    <a:pt x="3072" y="2028"/>
                  </a:lnTo>
                  <a:lnTo>
                    <a:pt x="3078" y="2034"/>
                  </a:lnTo>
                  <a:lnTo>
                    <a:pt x="3120" y="2034"/>
                  </a:lnTo>
                  <a:close/>
                  <a:moveTo>
                    <a:pt x="4758" y="996"/>
                  </a:moveTo>
                  <a:lnTo>
                    <a:pt x="4746" y="996"/>
                  </a:lnTo>
                  <a:lnTo>
                    <a:pt x="4734" y="984"/>
                  </a:lnTo>
                  <a:lnTo>
                    <a:pt x="4704" y="1008"/>
                  </a:lnTo>
                  <a:lnTo>
                    <a:pt x="4704" y="978"/>
                  </a:lnTo>
                  <a:lnTo>
                    <a:pt x="4662" y="978"/>
                  </a:lnTo>
                  <a:lnTo>
                    <a:pt x="4668" y="978"/>
                  </a:lnTo>
                  <a:lnTo>
                    <a:pt x="4674" y="972"/>
                  </a:lnTo>
                  <a:lnTo>
                    <a:pt x="4686" y="972"/>
                  </a:lnTo>
                  <a:lnTo>
                    <a:pt x="4698" y="966"/>
                  </a:lnTo>
                  <a:lnTo>
                    <a:pt x="4704" y="954"/>
                  </a:lnTo>
                  <a:lnTo>
                    <a:pt x="4704" y="948"/>
                  </a:lnTo>
                  <a:lnTo>
                    <a:pt x="4698" y="942"/>
                  </a:lnTo>
                  <a:lnTo>
                    <a:pt x="4680" y="942"/>
                  </a:lnTo>
                  <a:lnTo>
                    <a:pt x="4668" y="936"/>
                  </a:lnTo>
                  <a:lnTo>
                    <a:pt x="4650" y="936"/>
                  </a:lnTo>
                  <a:lnTo>
                    <a:pt x="4632" y="930"/>
                  </a:lnTo>
                  <a:lnTo>
                    <a:pt x="4620" y="930"/>
                  </a:lnTo>
                  <a:lnTo>
                    <a:pt x="4614" y="918"/>
                  </a:lnTo>
                  <a:lnTo>
                    <a:pt x="4566" y="912"/>
                  </a:lnTo>
                  <a:lnTo>
                    <a:pt x="4500" y="870"/>
                  </a:lnTo>
                  <a:lnTo>
                    <a:pt x="4566" y="864"/>
                  </a:lnTo>
                  <a:lnTo>
                    <a:pt x="4536" y="840"/>
                  </a:lnTo>
                  <a:lnTo>
                    <a:pt x="4542" y="840"/>
                  </a:lnTo>
                  <a:lnTo>
                    <a:pt x="4548" y="834"/>
                  </a:lnTo>
                  <a:lnTo>
                    <a:pt x="4584" y="834"/>
                  </a:lnTo>
                  <a:lnTo>
                    <a:pt x="4596" y="840"/>
                  </a:lnTo>
                  <a:lnTo>
                    <a:pt x="4638" y="840"/>
                  </a:lnTo>
                  <a:lnTo>
                    <a:pt x="4638" y="834"/>
                  </a:lnTo>
                  <a:lnTo>
                    <a:pt x="4632" y="828"/>
                  </a:lnTo>
                  <a:lnTo>
                    <a:pt x="4614" y="822"/>
                  </a:lnTo>
                  <a:lnTo>
                    <a:pt x="4596" y="822"/>
                  </a:lnTo>
                  <a:lnTo>
                    <a:pt x="4578" y="816"/>
                  </a:lnTo>
                  <a:lnTo>
                    <a:pt x="4518" y="816"/>
                  </a:lnTo>
                  <a:lnTo>
                    <a:pt x="4536" y="816"/>
                  </a:lnTo>
                  <a:lnTo>
                    <a:pt x="4620" y="804"/>
                  </a:lnTo>
                  <a:lnTo>
                    <a:pt x="4638" y="798"/>
                  </a:lnTo>
                  <a:lnTo>
                    <a:pt x="4638" y="792"/>
                  </a:lnTo>
                  <a:lnTo>
                    <a:pt x="4632" y="792"/>
                  </a:lnTo>
                  <a:lnTo>
                    <a:pt x="4626" y="786"/>
                  </a:lnTo>
                  <a:lnTo>
                    <a:pt x="4608" y="786"/>
                  </a:lnTo>
                  <a:lnTo>
                    <a:pt x="4500" y="798"/>
                  </a:lnTo>
                  <a:lnTo>
                    <a:pt x="4560" y="762"/>
                  </a:lnTo>
                  <a:lnTo>
                    <a:pt x="4620" y="762"/>
                  </a:lnTo>
                  <a:lnTo>
                    <a:pt x="4626" y="756"/>
                  </a:lnTo>
                  <a:lnTo>
                    <a:pt x="4620" y="750"/>
                  </a:lnTo>
                  <a:lnTo>
                    <a:pt x="4584" y="738"/>
                  </a:lnTo>
                  <a:lnTo>
                    <a:pt x="4572" y="732"/>
                  </a:lnTo>
                  <a:lnTo>
                    <a:pt x="4554" y="732"/>
                  </a:lnTo>
                  <a:lnTo>
                    <a:pt x="4518" y="750"/>
                  </a:lnTo>
                  <a:lnTo>
                    <a:pt x="4500" y="744"/>
                  </a:lnTo>
                  <a:lnTo>
                    <a:pt x="4458" y="774"/>
                  </a:lnTo>
                  <a:lnTo>
                    <a:pt x="4464" y="756"/>
                  </a:lnTo>
                  <a:lnTo>
                    <a:pt x="4440" y="774"/>
                  </a:lnTo>
                  <a:lnTo>
                    <a:pt x="4464" y="744"/>
                  </a:lnTo>
                  <a:lnTo>
                    <a:pt x="4500" y="744"/>
                  </a:lnTo>
                  <a:lnTo>
                    <a:pt x="4506" y="738"/>
                  </a:lnTo>
                  <a:lnTo>
                    <a:pt x="4518" y="714"/>
                  </a:lnTo>
                  <a:lnTo>
                    <a:pt x="4518" y="708"/>
                  </a:lnTo>
                  <a:lnTo>
                    <a:pt x="4512" y="702"/>
                  </a:lnTo>
                  <a:lnTo>
                    <a:pt x="4506" y="708"/>
                  </a:lnTo>
                  <a:lnTo>
                    <a:pt x="4494" y="714"/>
                  </a:lnTo>
                  <a:lnTo>
                    <a:pt x="4488" y="726"/>
                  </a:lnTo>
                  <a:lnTo>
                    <a:pt x="4452" y="726"/>
                  </a:lnTo>
                  <a:lnTo>
                    <a:pt x="4428" y="738"/>
                  </a:lnTo>
                  <a:lnTo>
                    <a:pt x="4452" y="708"/>
                  </a:lnTo>
                  <a:lnTo>
                    <a:pt x="4482" y="708"/>
                  </a:lnTo>
                  <a:lnTo>
                    <a:pt x="4494" y="702"/>
                  </a:lnTo>
                  <a:lnTo>
                    <a:pt x="4500" y="702"/>
                  </a:lnTo>
                  <a:lnTo>
                    <a:pt x="4506" y="696"/>
                  </a:lnTo>
                  <a:lnTo>
                    <a:pt x="4506" y="690"/>
                  </a:lnTo>
                  <a:lnTo>
                    <a:pt x="4500" y="684"/>
                  </a:lnTo>
                  <a:lnTo>
                    <a:pt x="4458" y="684"/>
                  </a:lnTo>
                  <a:lnTo>
                    <a:pt x="4446" y="690"/>
                  </a:lnTo>
                  <a:lnTo>
                    <a:pt x="4428" y="696"/>
                  </a:lnTo>
                  <a:lnTo>
                    <a:pt x="4422" y="702"/>
                  </a:lnTo>
                  <a:lnTo>
                    <a:pt x="4416" y="702"/>
                  </a:lnTo>
                  <a:lnTo>
                    <a:pt x="4404" y="684"/>
                  </a:lnTo>
                  <a:lnTo>
                    <a:pt x="4380" y="702"/>
                  </a:lnTo>
                  <a:lnTo>
                    <a:pt x="4398" y="672"/>
                  </a:lnTo>
                  <a:lnTo>
                    <a:pt x="4344" y="696"/>
                  </a:lnTo>
                  <a:lnTo>
                    <a:pt x="4344" y="672"/>
                  </a:lnTo>
                  <a:lnTo>
                    <a:pt x="4350" y="672"/>
                  </a:lnTo>
                  <a:lnTo>
                    <a:pt x="4356" y="666"/>
                  </a:lnTo>
                  <a:lnTo>
                    <a:pt x="4368" y="666"/>
                  </a:lnTo>
                  <a:lnTo>
                    <a:pt x="4386" y="660"/>
                  </a:lnTo>
                  <a:lnTo>
                    <a:pt x="4392" y="660"/>
                  </a:lnTo>
                  <a:lnTo>
                    <a:pt x="4398" y="654"/>
                  </a:lnTo>
                  <a:lnTo>
                    <a:pt x="4356" y="654"/>
                  </a:lnTo>
                  <a:lnTo>
                    <a:pt x="4338" y="660"/>
                  </a:lnTo>
                  <a:lnTo>
                    <a:pt x="4326" y="660"/>
                  </a:lnTo>
                  <a:lnTo>
                    <a:pt x="4320" y="648"/>
                  </a:lnTo>
                  <a:lnTo>
                    <a:pt x="4332" y="648"/>
                  </a:lnTo>
                  <a:lnTo>
                    <a:pt x="4356" y="636"/>
                  </a:lnTo>
                  <a:lnTo>
                    <a:pt x="4368" y="636"/>
                  </a:lnTo>
                  <a:lnTo>
                    <a:pt x="4380" y="630"/>
                  </a:lnTo>
                  <a:lnTo>
                    <a:pt x="4386" y="624"/>
                  </a:lnTo>
                  <a:lnTo>
                    <a:pt x="4368" y="618"/>
                  </a:lnTo>
                  <a:lnTo>
                    <a:pt x="4326" y="612"/>
                  </a:lnTo>
                  <a:lnTo>
                    <a:pt x="4290" y="612"/>
                  </a:lnTo>
                  <a:lnTo>
                    <a:pt x="4266" y="606"/>
                  </a:lnTo>
                  <a:lnTo>
                    <a:pt x="4236" y="606"/>
                  </a:lnTo>
                  <a:lnTo>
                    <a:pt x="4230" y="612"/>
                  </a:lnTo>
                  <a:lnTo>
                    <a:pt x="4230" y="618"/>
                  </a:lnTo>
                  <a:lnTo>
                    <a:pt x="4236" y="624"/>
                  </a:lnTo>
                  <a:lnTo>
                    <a:pt x="4242" y="636"/>
                  </a:lnTo>
                  <a:lnTo>
                    <a:pt x="4206" y="630"/>
                  </a:lnTo>
                  <a:lnTo>
                    <a:pt x="4212" y="660"/>
                  </a:lnTo>
                  <a:lnTo>
                    <a:pt x="4194" y="636"/>
                  </a:lnTo>
                  <a:lnTo>
                    <a:pt x="4152" y="660"/>
                  </a:lnTo>
                  <a:lnTo>
                    <a:pt x="4158" y="654"/>
                  </a:lnTo>
                  <a:lnTo>
                    <a:pt x="4158" y="636"/>
                  </a:lnTo>
                  <a:lnTo>
                    <a:pt x="4152" y="630"/>
                  </a:lnTo>
                  <a:lnTo>
                    <a:pt x="4140" y="630"/>
                  </a:lnTo>
                  <a:lnTo>
                    <a:pt x="4122" y="636"/>
                  </a:lnTo>
                  <a:lnTo>
                    <a:pt x="4110" y="642"/>
                  </a:lnTo>
                  <a:lnTo>
                    <a:pt x="4098" y="642"/>
                  </a:lnTo>
                  <a:lnTo>
                    <a:pt x="4086" y="648"/>
                  </a:lnTo>
                  <a:lnTo>
                    <a:pt x="4080" y="654"/>
                  </a:lnTo>
                  <a:lnTo>
                    <a:pt x="4074" y="654"/>
                  </a:lnTo>
                  <a:lnTo>
                    <a:pt x="4092" y="618"/>
                  </a:lnTo>
                  <a:lnTo>
                    <a:pt x="4110" y="618"/>
                  </a:lnTo>
                  <a:lnTo>
                    <a:pt x="4122" y="612"/>
                  </a:lnTo>
                  <a:lnTo>
                    <a:pt x="4134" y="612"/>
                  </a:lnTo>
                  <a:lnTo>
                    <a:pt x="4146" y="606"/>
                  </a:lnTo>
                  <a:lnTo>
                    <a:pt x="4152" y="600"/>
                  </a:lnTo>
                  <a:lnTo>
                    <a:pt x="4152" y="594"/>
                  </a:lnTo>
                  <a:lnTo>
                    <a:pt x="4146" y="582"/>
                  </a:lnTo>
                  <a:lnTo>
                    <a:pt x="4134" y="570"/>
                  </a:lnTo>
                  <a:lnTo>
                    <a:pt x="4152" y="552"/>
                  </a:lnTo>
                  <a:lnTo>
                    <a:pt x="4152" y="540"/>
                  </a:lnTo>
                  <a:lnTo>
                    <a:pt x="4050" y="540"/>
                  </a:lnTo>
                  <a:lnTo>
                    <a:pt x="4026" y="558"/>
                  </a:lnTo>
                  <a:lnTo>
                    <a:pt x="3942" y="558"/>
                  </a:lnTo>
                  <a:lnTo>
                    <a:pt x="3948" y="576"/>
                  </a:lnTo>
                  <a:lnTo>
                    <a:pt x="3978" y="588"/>
                  </a:lnTo>
                  <a:lnTo>
                    <a:pt x="3936" y="576"/>
                  </a:lnTo>
                  <a:lnTo>
                    <a:pt x="3948" y="600"/>
                  </a:lnTo>
                  <a:lnTo>
                    <a:pt x="3936" y="594"/>
                  </a:lnTo>
                  <a:lnTo>
                    <a:pt x="3930" y="594"/>
                  </a:lnTo>
                  <a:lnTo>
                    <a:pt x="3918" y="588"/>
                  </a:lnTo>
                  <a:lnTo>
                    <a:pt x="3894" y="588"/>
                  </a:lnTo>
                  <a:lnTo>
                    <a:pt x="3882" y="594"/>
                  </a:lnTo>
                  <a:lnTo>
                    <a:pt x="3876" y="606"/>
                  </a:lnTo>
                  <a:lnTo>
                    <a:pt x="3882" y="612"/>
                  </a:lnTo>
                  <a:lnTo>
                    <a:pt x="3888" y="624"/>
                  </a:lnTo>
                  <a:lnTo>
                    <a:pt x="3894" y="630"/>
                  </a:lnTo>
                  <a:lnTo>
                    <a:pt x="3900" y="660"/>
                  </a:lnTo>
                  <a:lnTo>
                    <a:pt x="3894" y="660"/>
                  </a:lnTo>
                  <a:lnTo>
                    <a:pt x="3888" y="654"/>
                  </a:lnTo>
                  <a:lnTo>
                    <a:pt x="3864" y="642"/>
                  </a:lnTo>
                  <a:lnTo>
                    <a:pt x="3852" y="642"/>
                  </a:lnTo>
                  <a:lnTo>
                    <a:pt x="3828" y="666"/>
                  </a:lnTo>
                  <a:lnTo>
                    <a:pt x="3828" y="678"/>
                  </a:lnTo>
                  <a:lnTo>
                    <a:pt x="3846" y="678"/>
                  </a:lnTo>
                  <a:lnTo>
                    <a:pt x="3858" y="690"/>
                  </a:lnTo>
                  <a:lnTo>
                    <a:pt x="3810" y="714"/>
                  </a:lnTo>
                  <a:lnTo>
                    <a:pt x="3750" y="720"/>
                  </a:lnTo>
                  <a:lnTo>
                    <a:pt x="3762" y="720"/>
                  </a:lnTo>
                  <a:lnTo>
                    <a:pt x="3798" y="702"/>
                  </a:lnTo>
                  <a:lnTo>
                    <a:pt x="3810" y="690"/>
                  </a:lnTo>
                  <a:lnTo>
                    <a:pt x="3810" y="684"/>
                  </a:lnTo>
                  <a:lnTo>
                    <a:pt x="3804" y="684"/>
                  </a:lnTo>
                  <a:lnTo>
                    <a:pt x="3792" y="672"/>
                  </a:lnTo>
                  <a:lnTo>
                    <a:pt x="3786" y="672"/>
                  </a:lnTo>
                  <a:lnTo>
                    <a:pt x="3786" y="660"/>
                  </a:lnTo>
                  <a:lnTo>
                    <a:pt x="3804" y="642"/>
                  </a:lnTo>
                  <a:lnTo>
                    <a:pt x="3816" y="636"/>
                  </a:lnTo>
                  <a:lnTo>
                    <a:pt x="3828" y="636"/>
                  </a:lnTo>
                  <a:lnTo>
                    <a:pt x="3828" y="606"/>
                  </a:lnTo>
                  <a:lnTo>
                    <a:pt x="3840" y="600"/>
                  </a:lnTo>
                  <a:lnTo>
                    <a:pt x="3858" y="582"/>
                  </a:lnTo>
                  <a:lnTo>
                    <a:pt x="3876" y="576"/>
                  </a:lnTo>
                  <a:lnTo>
                    <a:pt x="3882" y="570"/>
                  </a:lnTo>
                  <a:lnTo>
                    <a:pt x="3894" y="564"/>
                  </a:lnTo>
                  <a:lnTo>
                    <a:pt x="3906" y="564"/>
                  </a:lnTo>
                  <a:lnTo>
                    <a:pt x="3918" y="558"/>
                  </a:lnTo>
                  <a:lnTo>
                    <a:pt x="3936" y="552"/>
                  </a:lnTo>
                  <a:lnTo>
                    <a:pt x="3954" y="552"/>
                  </a:lnTo>
                  <a:lnTo>
                    <a:pt x="3966" y="546"/>
                  </a:lnTo>
                  <a:lnTo>
                    <a:pt x="3972" y="540"/>
                  </a:lnTo>
                  <a:lnTo>
                    <a:pt x="3942" y="534"/>
                  </a:lnTo>
                  <a:lnTo>
                    <a:pt x="3852" y="534"/>
                  </a:lnTo>
                  <a:lnTo>
                    <a:pt x="3822" y="540"/>
                  </a:lnTo>
                  <a:lnTo>
                    <a:pt x="3786" y="558"/>
                  </a:lnTo>
                  <a:lnTo>
                    <a:pt x="3744" y="576"/>
                  </a:lnTo>
                  <a:lnTo>
                    <a:pt x="3720" y="594"/>
                  </a:lnTo>
                  <a:lnTo>
                    <a:pt x="3708" y="600"/>
                  </a:lnTo>
                  <a:lnTo>
                    <a:pt x="3702" y="600"/>
                  </a:lnTo>
                  <a:lnTo>
                    <a:pt x="3696" y="606"/>
                  </a:lnTo>
                  <a:lnTo>
                    <a:pt x="3684" y="606"/>
                  </a:lnTo>
                  <a:lnTo>
                    <a:pt x="3660" y="618"/>
                  </a:lnTo>
                  <a:lnTo>
                    <a:pt x="3654" y="618"/>
                  </a:lnTo>
                  <a:lnTo>
                    <a:pt x="3642" y="624"/>
                  </a:lnTo>
                  <a:lnTo>
                    <a:pt x="3630" y="636"/>
                  </a:lnTo>
                  <a:lnTo>
                    <a:pt x="3618" y="642"/>
                  </a:lnTo>
                  <a:lnTo>
                    <a:pt x="3600" y="660"/>
                  </a:lnTo>
                  <a:lnTo>
                    <a:pt x="3588" y="666"/>
                  </a:lnTo>
                  <a:lnTo>
                    <a:pt x="3582" y="678"/>
                  </a:lnTo>
                  <a:lnTo>
                    <a:pt x="3582" y="684"/>
                  </a:lnTo>
                  <a:lnTo>
                    <a:pt x="3588" y="690"/>
                  </a:lnTo>
                  <a:lnTo>
                    <a:pt x="3612" y="690"/>
                  </a:lnTo>
                  <a:lnTo>
                    <a:pt x="3648" y="696"/>
                  </a:lnTo>
                  <a:lnTo>
                    <a:pt x="3672" y="696"/>
                  </a:lnTo>
                  <a:lnTo>
                    <a:pt x="3684" y="708"/>
                  </a:lnTo>
                  <a:lnTo>
                    <a:pt x="3666" y="714"/>
                  </a:lnTo>
                  <a:lnTo>
                    <a:pt x="3594" y="726"/>
                  </a:lnTo>
                  <a:lnTo>
                    <a:pt x="3570" y="732"/>
                  </a:lnTo>
                  <a:lnTo>
                    <a:pt x="3576" y="738"/>
                  </a:lnTo>
                  <a:lnTo>
                    <a:pt x="3594" y="750"/>
                  </a:lnTo>
                  <a:lnTo>
                    <a:pt x="3630" y="762"/>
                  </a:lnTo>
                  <a:lnTo>
                    <a:pt x="3642" y="768"/>
                  </a:lnTo>
                  <a:lnTo>
                    <a:pt x="3648" y="768"/>
                  </a:lnTo>
                  <a:lnTo>
                    <a:pt x="3690" y="750"/>
                  </a:lnTo>
                  <a:lnTo>
                    <a:pt x="3690" y="762"/>
                  </a:lnTo>
                  <a:lnTo>
                    <a:pt x="3702" y="774"/>
                  </a:lnTo>
                  <a:lnTo>
                    <a:pt x="3744" y="774"/>
                  </a:lnTo>
                  <a:lnTo>
                    <a:pt x="3786" y="780"/>
                  </a:lnTo>
                  <a:lnTo>
                    <a:pt x="3834" y="786"/>
                  </a:lnTo>
                  <a:lnTo>
                    <a:pt x="3876" y="792"/>
                  </a:lnTo>
                  <a:lnTo>
                    <a:pt x="3894" y="792"/>
                  </a:lnTo>
                  <a:lnTo>
                    <a:pt x="3900" y="786"/>
                  </a:lnTo>
                  <a:lnTo>
                    <a:pt x="3894" y="780"/>
                  </a:lnTo>
                  <a:lnTo>
                    <a:pt x="3882" y="774"/>
                  </a:lnTo>
                  <a:lnTo>
                    <a:pt x="3876" y="768"/>
                  </a:lnTo>
                  <a:lnTo>
                    <a:pt x="3894" y="768"/>
                  </a:lnTo>
                  <a:lnTo>
                    <a:pt x="3930" y="774"/>
                  </a:lnTo>
                  <a:lnTo>
                    <a:pt x="3966" y="774"/>
                  </a:lnTo>
                  <a:lnTo>
                    <a:pt x="3990" y="780"/>
                  </a:lnTo>
                  <a:lnTo>
                    <a:pt x="4002" y="780"/>
                  </a:lnTo>
                  <a:lnTo>
                    <a:pt x="4020" y="786"/>
                  </a:lnTo>
                  <a:lnTo>
                    <a:pt x="4032" y="792"/>
                  </a:lnTo>
                  <a:lnTo>
                    <a:pt x="4050" y="792"/>
                  </a:lnTo>
                  <a:lnTo>
                    <a:pt x="4062" y="786"/>
                  </a:lnTo>
                  <a:lnTo>
                    <a:pt x="4062" y="774"/>
                  </a:lnTo>
                  <a:lnTo>
                    <a:pt x="4056" y="768"/>
                  </a:lnTo>
                  <a:lnTo>
                    <a:pt x="4050" y="756"/>
                  </a:lnTo>
                  <a:lnTo>
                    <a:pt x="4044" y="750"/>
                  </a:lnTo>
                  <a:lnTo>
                    <a:pt x="4092" y="738"/>
                  </a:lnTo>
                  <a:lnTo>
                    <a:pt x="4092" y="744"/>
                  </a:lnTo>
                  <a:lnTo>
                    <a:pt x="4098" y="750"/>
                  </a:lnTo>
                  <a:lnTo>
                    <a:pt x="4104" y="762"/>
                  </a:lnTo>
                  <a:lnTo>
                    <a:pt x="4104" y="768"/>
                  </a:lnTo>
                  <a:lnTo>
                    <a:pt x="4110" y="774"/>
                  </a:lnTo>
                  <a:lnTo>
                    <a:pt x="4116" y="774"/>
                  </a:lnTo>
                  <a:lnTo>
                    <a:pt x="4122" y="780"/>
                  </a:lnTo>
                  <a:lnTo>
                    <a:pt x="4134" y="786"/>
                  </a:lnTo>
                  <a:lnTo>
                    <a:pt x="4140" y="792"/>
                  </a:lnTo>
                  <a:lnTo>
                    <a:pt x="4170" y="786"/>
                  </a:lnTo>
                  <a:lnTo>
                    <a:pt x="4170" y="792"/>
                  </a:lnTo>
                  <a:lnTo>
                    <a:pt x="4164" y="798"/>
                  </a:lnTo>
                  <a:lnTo>
                    <a:pt x="4164" y="816"/>
                  </a:lnTo>
                  <a:lnTo>
                    <a:pt x="4170" y="816"/>
                  </a:lnTo>
                  <a:lnTo>
                    <a:pt x="4182" y="822"/>
                  </a:lnTo>
                  <a:lnTo>
                    <a:pt x="4200" y="822"/>
                  </a:lnTo>
                  <a:lnTo>
                    <a:pt x="4206" y="828"/>
                  </a:lnTo>
                  <a:lnTo>
                    <a:pt x="4212" y="828"/>
                  </a:lnTo>
                  <a:lnTo>
                    <a:pt x="4194" y="846"/>
                  </a:lnTo>
                  <a:lnTo>
                    <a:pt x="4194" y="858"/>
                  </a:lnTo>
                  <a:lnTo>
                    <a:pt x="4230" y="858"/>
                  </a:lnTo>
                  <a:lnTo>
                    <a:pt x="4224" y="882"/>
                  </a:lnTo>
                  <a:lnTo>
                    <a:pt x="4236" y="882"/>
                  </a:lnTo>
                  <a:lnTo>
                    <a:pt x="4248" y="888"/>
                  </a:lnTo>
                  <a:lnTo>
                    <a:pt x="4254" y="888"/>
                  </a:lnTo>
                  <a:lnTo>
                    <a:pt x="4278" y="900"/>
                  </a:lnTo>
                  <a:lnTo>
                    <a:pt x="4278" y="924"/>
                  </a:lnTo>
                  <a:lnTo>
                    <a:pt x="4266" y="948"/>
                  </a:lnTo>
                  <a:lnTo>
                    <a:pt x="4254" y="966"/>
                  </a:lnTo>
                  <a:lnTo>
                    <a:pt x="4248" y="978"/>
                  </a:lnTo>
                  <a:lnTo>
                    <a:pt x="4236" y="990"/>
                  </a:lnTo>
                  <a:lnTo>
                    <a:pt x="4218" y="996"/>
                  </a:lnTo>
                  <a:lnTo>
                    <a:pt x="4182" y="1014"/>
                  </a:lnTo>
                  <a:lnTo>
                    <a:pt x="4140" y="1026"/>
                  </a:lnTo>
                  <a:lnTo>
                    <a:pt x="4092" y="1050"/>
                  </a:lnTo>
                  <a:lnTo>
                    <a:pt x="4098" y="1056"/>
                  </a:lnTo>
                  <a:lnTo>
                    <a:pt x="4110" y="1062"/>
                  </a:lnTo>
                  <a:lnTo>
                    <a:pt x="4122" y="1074"/>
                  </a:lnTo>
                  <a:lnTo>
                    <a:pt x="4122" y="1080"/>
                  </a:lnTo>
                  <a:lnTo>
                    <a:pt x="4116" y="1086"/>
                  </a:lnTo>
                  <a:lnTo>
                    <a:pt x="4080" y="1098"/>
                  </a:lnTo>
                  <a:lnTo>
                    <a:pt x="4062" y="1098"/>
                  </a:lnTo>
                  <a:lnTo>
                    <a:pt x="3984" y="1110"/>
                  </a:lnTo>
                  <a:lnTo>
                    <a:pt x="3978" y="1128"/>
                  </a:lnTo>
                  <a:lnTo>
                    <a:pt x="3960" y="1110"/>
                  </a:lnTo>
                  <a:lnTo>
                    <a:pt x="3954" y="1110"/>
                  </a:lnTo>
                  <a:lnTo>
                    <a:pt x="3948" y="1104"/>
                  </a:lnTo>
                  <a:lnTo>
                    <a:pt x="3930" y="1104"/>
                  </a:lnTo>
                  <a:lnTo>
                    <a:pt x="3918" y="1098"/>
                  </a:lnTo>
                  <a:lnTo>
                    <a:pt x="3900" y="1098"/>
                  </a:lnTo>
                  <a:lnTo>
                    <a:pt x="3888" y="1104"/>
                  </a:lnTo>
                  <a:lnTo>
                    <a:pt x="3882" y="1110"/>
                  </a:lnTo>
                  <a:lnTo>
                    <a:pt x="3882" y="1122"/>
                  </a:lnTo>
                  <a:lnTo>
                    <a:pt x="3870" y="1122"/>
                  </a:lnTo>
                  <a:lnTo>
                    <a:pt x="3858" y="1128"/>
                  </a:lnTo>
                  <a:lnTo>
                    <a:pt x="3840" y="1134"/>
                  </a:lnTo>
                  <a:lnTo>
                    <a:pt x="3828" y="1140"/>
                  </a:lnTo>
                  <a:lnTo>
                    <a:pt x="3822" y="1146"/>
                  </a:lnTo>
                  <a:lnTo>
                    <a:pt x="3816" y="1158"/>
                  </a:lnTo>
                  <a:lnTo>
                    <a:pt x="3816" y="1170"/>
                  </a:lnTo>
                  <a:lnTo>
                    <a:pt x="3822" y="1182"/>
                  </a:lnTo>
                  <a:lnTo>
                    <a:pt x="3834" y="1188"/>
                  </a:lnTo>
                  <a:lnTo>
                    <a:pt x="3864" y="1188"/>
                  </a:lnTo>
                  <a:lnTo>
                    <a:pt x="3876" y="1182"/>
                  </a:lnTo>
                  <a:lnTo>
                    <a:pt x="3894" y="1182"/>
                  </a:lnTo>
                  <a:lnTo>
                    <a:pt x="3906" y="1176"/>
                  </a:lnTo>
                  <a:lnTo>
                    <a:pt x="3924" y="1170"/>
                  </a:lnTo>
                  <a:lnTo>
                    <a:pt x="3936" y="1164"/>
                  </a:lnTo>
                  <a:lnTo>
                    <a:pt x="3966" y="1164"/>
                  </a:lnTo>
                  <a:lnTo>
                    <a:pt x="3978" y="1176"/>
                  </a:lnTo>
                  <a:lnTo>
                    <a:pt x="3996" y="1176"/>
                  </a:lnTo>
                  <a:lnTo>
                    <a:pt x="4002" y="1170"/>
                  </a:lnTo>
                  <a:lnTo>
                    <a:pt x="4002" y="1152"/>
                  </a:lnTo>
                  <a:lnTo>
                    <a:pt x="4026" y="1128"/>
                  </a:lnTo>
                  <a:lnTo>
                    <a:pt x="4014" y="1140"/>
                  </a:lnTo>
                  <a:lnTo>
                    <a:pt x="4014" y="1146"/>
                  </a:lnTo>
                  <a:lnTo>
                    <a:pt x="4020" y="1152"/>
                  </a:lnTo>
                  <a:lnTo>
                    <a:pt x="4086" y="1152"/>
                  </a:lnTo>
                  <a:lnTo>
                    <a:pt x="4080" y="1158"/>
                  </a:lnTo>
                  <a:lnTo>
                    <a:pt x="4068" y="1164"/>
                  </a:lnTo>
                  <a:lnTo>
                    <a:pt x="4062" y="1170"/>
                  </a:lnTo>
                  <a:lnTo>
                    <a:pt x="4062" y="1176"/>
                  </a:lnTo>
                  <a:lnTo>
                    <a:pt x="4068" y="1182"/>
                  </a:lnTo>
                  <a:lnTo>
                    <a:pt x="4080" y="1182"/>
                  </a:lnTo>
                  <a:lnTo>
                    <a:pt x="4086" y="1188"/>
                  </a:lnTo>
                  <a:lnTo>
                    <a:pt x="4098" y="1188"/>
                  </a:lnTo>
                  <a:lnTo>
                    <a:pt x="4086" y="1200"/>
                  </a:lnTo>
                  <a:lnTo>
                    <a:pt x="4086" y="1206"/>
                  </a:lnTo>
                  <a:lnTo>
                    <a:pt x="4092" y="1212"/>
                  </a:lnTo>
                  <a:lnTo>
                    <a:pt x="4116" y="1224"/>
                  </a:lnTo>
                  <a:lnTo>
                    <a:pt x="4146" y="1224"/>
                  </a:lnTo>
                  <a:lnTo>
                    <a:pt x="4098" y="1242"/>
                  </a:lnTo>
                  <a:lnTo>
                    <a:pt x="4098" y="1248"/>
                  </a:lnTo>
                  <a:lnTo>
                    <a:pt x="4110" y="1260"/>
                  </a:lnTo>
                  <a:lnTo>
                    <a:pt x="4110" y="1266"/>
                  </a:lnTo>
                  <a:lnTo>
                    <a:pt x="4116" y="1272"/>
                  </a:lnTo>
                  <a:lnTo>
                    <a:pt x="4122" y="1266"/>
                  </a:lnTo>
                  <a:lnTo>
                    <a:pt x="4128" y="1266"/>
                  </a:lnTo>
                  <a:lnTo>
                    <a:pt x="4140" y="1260"/>
                  </a:lnTo>
                  <a:lnTo>
                    <a:pt x="4146" y="1272"/>
                  </a:lnTo>
                  <a:lnTo>
                    <a:pt x="4158" y="1284"/>
                  </a:lnTo>
                  <a:lnTo>
                    <a:pt x="4182" y="1284"/>
                  </a:lnTo>
                  <a:lnTo>
                    <a:pt x="4194" y="1290"/>
                  </a:lnTo>
                  <a:lnTo>
                    <a:pt x="4206" y="1290"/>
                  </a:lnTo>
                  <a:lnTo>
                    <a:pt x="4206" y="1308"/>
                  </a:lnTo>
                  <a:lnTo>
                    <a:pt x="4212" y="1314"/>
                  </a:lnTo>
                  <a:lnTo>
                    <a:pt x="4224" y="1320"/>
                  </a:lnTo>
                  <a:lnTo>
                    <a:pt x="4272" y="1320"/>
                  </a:lnTo>
                  <a:lnTo>
                    <a:pt x="4290" y="1326"/>
                  </a:lnTo>
                  <a:lnTo>
                    <a:pt x="4350" y="1356"/>
                  </a:lnTo>
                  <a:lnTo>
                    <a:pt x="4356" y="1362"/>
                  </a:lnTo>
                  <a:lnTo>
                    <a:pt x="4362" y="1362"/>
                  </a:lnTo>
                  <a:lnTo>
                    <a:pt x="4362" y="1356"/>
                  </a:lnTo>
                  <a:lnTo>
                    <a:pt x="4368" y="1350"/>
                  </a:lnTo>
                  <a:lnTo>
                    <a:pt x="4368" y="1320"/>
                  </a:lnTo>
                  <a:lnTo>
                    <a:pt x="4362" y="1308"/>
                  </a:lnTo>
                  <a:lnTo>
                    <a:pt x="4350" y="1296"/>
                  </a:lnTo>
                  <a:lnTo>
                    <a:pt x="4338" y="1290"/>
                  </a:lnTo>
                  <a:lnTo>
                    <a:pt x="4320" y="1272"/>
                  </a:lnTo>
                  <a:lnTo>
                    <a:pt x="4314" y="1272"/>
                  </a:lnTo>
                  <a:lnTo>
                    <a:pt x="4308" y="1260"/>
                  </a:lnTo>
                  <a:lnTo>
                    <a:pt x="4302" y="1254"/>
                  </a:lnTo>
                  <a:lnTo>
                    <a:pt x="4290" y="1230"/>
                  </a:lnTo>
                  <a:lnTo>
                    <a:pt x="4290" y="1224"/>
                  </a:lnTo>
                  <a:lnTo>
                    <a:pt x="4308" y="1224"/>
                  </a:lnTo>
                  <a:lnTo>
                    <a:pt x="4314" y="1230"/>
                  </a:lnTo>
                  <a:lnTo>
                    <a:pt x="4326" y="1236"/>
                  </a:lnTo>
                  <a:lnTo>
                    <a:pt x="4332" y="1242"/>
                  </a:lnTo>
                  <a:lnTo>
                    <a:pt x="4332" y="1212"/>
                  </a:lnTo>
                  <a:lnTo>
                    <a:pt x="4332" y="1218"/>
                  </a:lnTo>
                  <a:lnTo>
                    <a:pt x="4344" y="1230"/>
                  </a:lnTo>
                  <a:lnTo>
                    <a:pt x="4350" y="1242"/>
                  </a:lnTo>
                  <a:lnTo>
                    <a:pt x="4362" y="1254"/>
                  </a:lnTo>
                  <a:lnTo>
                    <a:pt x="4374" y="1254"/>
                  </a:lnTo>
                  <a:lnTo>
                    <a:pt x="4386" y="1248"/>
                  </a:lnTo>
                  <a:lnTo>
                    <a:pt x="4398" y="1248"/>
                  </a:lnTo>
                  <a:lnTo>
                    <a:pt x="4398" y="1272"/>
                  </a:lnTo>
                  <a:lnTo>
                    <a:pt x="4404" y="1278"/>
                  </a:lnTo>
                  <a:lnTo>
                    <a:pt x="4416" y="1278"/>
                  </a:lnTo>
                  <a:lnTo>
                    <a:pt x="4428" y="1290"/>
                  </a:lnTo>
                  <a:lnTo>
                    <a:pt x="4452" y="1272"/>
                  </a:lnTo>
                  <a:lnTo>
                    <a:pt x="4464" y="1284"/>
                  </a:lnTo>
                  <a:lnTo>
                    <a:pt x="4470" y="1284"/>
                  </a:lnTo>
                  <a:lnTo>
                    <a:pt x="4476" y="1278"/>
                  </a:lnTo>
                  <a:lnTo>
                    <a:pt x="4476" y="1260"/>
                  </a:lnTo>
                  <a:lnTo>
                    <a:pt x="4470" y="1254"/>
                  </a:lnTo>
                  <a:lnTo>
                    <a:pt x="4488" y="1212"/>
                  </a:lnTo>
                  <a:lnTo>
                    <a:pt x="4488" y="1236"/>
                  </a:lnTo>
                  <a:lnTo>
                    <a:pt x="4500" y="1248"/>
                  </a:lnTo>
                  <a:lnTo>
                    <a:pt x="4512" y="1236"/>
                  </a:lnTo>
                  <a:lnTo>
                    <a:pt x="4518" y="1218"/>
                  </a:lnTo>
                  <a:lnTo>
                    <a:pt x="4518" y="1206"/>
                  </a:lnTo>
                  <a:lnTo>
                    <a:pt x="4494" y="1182"/>
                  </a:lnTo>
                  <a:lnTo>
                    <a:pt x="4518" y="1176"/>
                  </a:lnTo>
                  <a:lnTo>
                    <a:pt x="4500" y="1164"/>
                  </a:lnTo>
                  <a:lnTo>
                    <a:pt x="4500" y="1146"/>
                  </a:lnTo>
                  <a:lnTo>
                    <a:pt x="4470" y="1146"/>
                  </a:lnTo>
                  <a:lnTo>
                    <a:pt x="4470" y="1134"/>
                  </a:lnTo>
                  <a:lnTo>
                    <a:pt x="4446" y="1134"/>
                  </a:lnTo>
                  <a:lnTo>
                    <a:pt x="4446" y="1080"/>
                  </a:lnTo>
                  <a:lnTo>
                    <a:pt x="4416" y="1086"/>
                  </a:lnTo>
                  <a:lnTo>
                    <a:pt x="4410" y="1080"/>
                  </a:lnTo>
                  <a:lnTo>
                    <a:pt x="4410" y="1056"/>
                  </a:lnTo>
                  <a:lnTo>
                    <a:pt x="4416" y="1050"/>
                  </a:lnTo>
                  <a:lnTo>
                    <a:pt x="4428" y="1050"/>
                  </a:lnTo>
                  <a:lnTo>
                    <a:pt x="4434" y="1056"/>
                  </a:lnTo>
                  <a:lnTo>
                    <a:pt x="4446" y="1062"/>
                  </a:lnTo>
                  <a:lnTo>
                    <a:pt x="4452" y="1068"/>
                  </a:lnTo>
                  <a:lnTo>
                    <a:pt x="4458" y="1068"/>
                  </a:lnTo>
                  <a:lnTo>
                    <a:pt x="4464" y="1062"/>
                  </a:lnTo>
                  <a:lnTo>
                    <a:pt x="4464" y="1026"/>
                  </a:lnTo>
                  <a:lnTo>
                    <a:pt x="4488" y="1032"/>
                  </a:lnTo>
                  <a:lnTo>
                    <a:pt x="4524" y="1014"/>
                  </a:lnTo>
                  <a:lnTo>
                    <a:pt x="4524" y="1026"/>
                  </a:lnTo>
                  <a:lnTo>
                    <a:pt x="4530" y="1038"/>
                  </a:lnTo>
                  <a:lnTo>
                    <a:pt x="4530" y="1044"/>
                  </a:lnTo>
                  <a:lnTo>
                    <a:pt x="4536" y="1050"/>
                  </a:lnTo>
                  <a:lnTo>
                    <a:pt x="4548" y="1044"/>
                  </a:lnTo>
                  <a:lnTo>
                    <a:pt x="4566" y="1044"/>
                  </a:lnTo>
                  <a:lnTo>
                    <a:pt x="4554" y="1062"/>
                  </a:lnTo>
                  <a:lnTo>
                    <a:pt x="4578" y="1062"/>
                  </a:lnTo>
                  <a:lnTo>
                    <a:pt x="4566" y="1092"/>
                  </a:lnTo>
                  <a:lnTo>
                    <a:pt x="4566" y="1098"/>
                  </a:lnTo>
                  <a:lnTo>
                    <a:pt x="4584" y="1116"/>
                  </a:lnTo>
                  <a:lnTo>
                    <a:pt x="4590" y="1128"/>
                  </a:lnTo>
                  <a:lnTo>
                    <a:pt x="4614" y="1140"/>
                  </a:lnTo>
                  <a:lnTo>
                    <a:pt x="4626" y="1134"/>
                  </a:lnTo>
                  <a:lnTo>
                    <a:pt x="4638" y="1122"/>
                  </a:lnTo>
                  <a:lnTo>
                    <a:pt x="4656" y="1086"/>
                  </a:lnTo>
                  <a:lnTo>
                    <a:pt x="4656" y="1080"/>
                  </a:lnTo>
                  <a:lnTo>
                    <a:pt x="4662" y="1068"/>
                  </a:lnTo>
                  <a:lnTo>
                    <a:pt x="4668" y="1074"/>
                  </a:lnTo>
                  <a:lnTo>
                    <a:pt x="4680" y="1080"/>
                  </a:lnTo>
                  <a:lnTo>
                    <a:pt x="4692" y="1080"/>
                  </a:lnTo>
                  <a:lnTo>
                    <a:pt x="4698" y="1086"/>
                  </a:lnTo>
                  <a:lnTo>
                    <a:pt x="4710" y="1080"/>
                  </a:lnTo>
                  <a:lnTo>
                    <a:pt x="4722" y="1068"/>
                  </a:lnTo>
                  <a:lnTo>
                    <a:pt x="4728" y="1056"/>
                  </a:lnTo>
                  <a:lnTo>
                    <a:pt x="4728" y="1038"/>
                  </a:lnTo>
                  <a:lnTo>
                    <a:pt x="4794" y="1038"/>
                  </a:lnTo>
                  <a:lnTo>
                    <a:pt x="4806" y="1026"/>
                  </a:lnTo>
                  <a:lnTo>
                    <a:pt x="4812" y="1014"/>
                  </a:lnTo>
                  <a:lnTo>
                    <a:pt x="4800" y="1002"/>
                  </a:lnTo>
                  <a:lnTo>
                    <a:pt x="4788" y="996"/>
                  </a:lnTo>
                  <a:lnTo>
                    <a:pt x="4758" y="996"/>
                  </a:lnTo>
                  <a:close/>
                  <a:moveTo>
                    <a:pt x="4476" y="1308"/>
                  </a:moveTo>
                  <a:lnTo>
                    <a:pt x="4446" y="1308"/>
                  </a:lnTo>
                  <a:lnTo>
                    <a:pt x="4440" y="1326"/>
                  </a:lnTo>
                  <a:lnTo>
                    <a:pt x="4476" y="1320"/>
                  </a:lnTo>
                  <a:lnTo>
                    <a:pt x="4476" y="1308"/>
                  </a:lnTo>
                  <a:close/>
                  <a:moveTo>
                    <a:pt x="4140" y="1290"/>
                  </a:moveTo>
                  <a:lnTo>
                    <a:pt x="4134" y="1290"/>
                  </a:lnTo>
                  <a:lnTo>
                    <a:pt x="4128" y="1296"/>
                  </a:lnTo>
                  <a:lnTo>
                    <a:pt x="4128" y="1308"/>
                  </a:lnTo>
                  <a:lnTo>
                    <a:pt x="4134" y="1314"/>
                  </a:lnTo>
                  <a:lnTo>
                    <a:pt x="4158" y="1314"/>
                  </a:lnTo>
                  <a:lnTo>
                    <a:pt x="4164" y="1308"/>
                  </a:lnTo>
                  <a:lnTo>
                    <a:pt x="4164" y="1296"/>
                  </a:lnTo>
                  <a:lnTo>
                    <a:pt x="4158" y="1290"/>
                  </a:lnTo>
                  <a:lnTo>
                    <a:pt x="4140" y="1290"/>
                  </a:lnTo>
                  <a:close/>
                  <a:moveTo>
                    <a:pt x="3834" y="1242"/>
                  </a:moveTo>
                  <a:lnTo>
                    <a:pt x="3840" y="1236"/>
                  </a:lnTo>
                  <a:lnTo>
                    <a:pt x="3834" y="1230"/>
                  </a:lnTo>
                  <a:lnTo>
                    <a:pt x="3828" y="1230"/>
                  </a:lnTo>
                  <a:lnTo>
                    <a:pt x="3822" y="1224"/>
                  </a:lnTo>
                  <a:lnTo>
                    <a:pt x="3810" y="1224"/>
                  </a:lnTo>
                  <a:lnTo>
                    <a:pt x="3810" y="1236"/>
                  </a:lnTo>
                  <a:lnTo>
                    <a:pt x="3816" y="1242"/>
                  </a:lnTo>
                  <a:lnTo>
                    <a:pt x="3816" y="1248"/>
                  </a:lnTo>
                  <a:lnTo>
                    <a:pt x="3828" y="1248"/>
                  </a:lnTo>
                  <a:lnTo>
                    <a:pt x="3834" y="1242"/>
                  </a:lnTo>
                  <a:close/>
                  <a:moveTo>
                    <a:pt x="4206" y="1452"/>
                  </a:moveTo>
                  <a:lnTo>
                    <a:pt x="4170" y="1452"/>
                  </a:lnTo>
                  <a:lnTo>
                    <a:pt x="4206" y="1476"/>
                  </a:lnTo>
                  <a:lnTo>
                    <a:pt x="4218" y="1470"/>
                  </a:lnTo>
                  <a:lnTo>
                    <a:pt x="4218" y="1458"/>
                  </a:lnTo>
                  <a:lnTo>
                    <a:pt x="4212" y="1458"/>
                  </a:lnTo>
                  <a:lnTo>
                    <a:pt x="4206" y="1452"/>
                  </a:lnTo>
                  <a:close/>
                  <a:moveTo>
                    <a:pt x="4170" y="870"/>
                  </a:moveTo>
                  <a:lnTo>
                    <a:pt x="4152" y="870"/>
                  </a:lnTo>
                  <a:lnTo>
                    <a:pt x="4152" y="876"/>
                  </a:lnTo>
                  <a:lnTo>
                    <a:pt x="4158" y="882"/>
                  </a:lnTo>
                  <a:lnTo>
                    <a:pt x="4164" y="882"/>
                  </a:lnTo>
                  <a:lnTo>
                    <a:pt x="4170" y="888"/>
                  </a:lnTo>
                  <a:lnTo>
                    <a:pt x="4182" y="882"/>
                  </a:lnTo>
                  <a:lnTo>
                    <a:pt x="4188" y="882"/>
                  </a:lnTo>
                  <a:lnTo>
                    <a:pt x="4194" y="876"/>
                  </a:lnTo>
                  <a:lnTo>
                    <a:pt x="4188" y="870"/>
                  </a:lnTo>
                  <a:lnTo>
                    <a:pt x="4170" y="870"/>
                  </a:lnTo>
                  <a:close/>
                  <a:moveTo>
                    <a:pt x="4170" y="936"/>
                  </a:moveTo>
                  <a:lnTo>
                    <a:pt x="4236" y="936"/>
                  </a:lnTo>
                  <a:lnTo>
                    <a:pt x="4236" y="918"/>
                  </a:lnTo>
                  <a:lnTo>
                    <a:pt x="4188" y="918"/>
                  </a:lnTo>
                  <a:lnTo>
                    <a:pt x="4170" y="936"/>
                  </a:lnTo>
                  <a:close/>
                  <a:moveTo>
                    <a:pt x="5574" y="36"/>
                  </a:moveTo>
                  <a:lnTo>
                    <a:pt x="5490" y="36"/>
                  </a:lnTo>
                  <a:lnTo>
                    <a:pt x="5496" y="24"/>
                  </a:lnTo>
                  <a:lnTo>
                    <a:pt x="5490" y="24"/>
                  </a:lnTo>
                  <a:lnTo>
                    <a:pt x="5484" y="18"/>
                  </a:lnTo>
                  <a:lnTo>
                    <a:pt x="5448" y="18"/>
                  </a:lnTo>
                  <a:lnTo>
                    <a:pt x="5430" y="12"/>
                  </a:lnTo>
                  <a:lnTo>
                    <a:pt x="5400" y="12"/>
                  </a:lnTo>
                  <a:lnTo>
                    <a:pt x="5364" y="18"/>
                  </a:lnTo>
                  <a:lnTo>
                    <a:pt x="5334" y="30"/>
                  </a:lnTo>
                  <a:lnTo>
                    <a:pt x="5304" y="36"/>
                  </a:lnTo>
                  <a:lnTo>
                    <a:pt x="5292" y="36"/>
                  </a:lnTo>
                  <a:lnTo>
                    <a:pt x="5346" y="12"/>
                  </a:lnTo>
                  <a:lnTo>
                    <a:pt x="5274" y="18"/>
                  </a:lnTo>
                  <a:lnTo>
                    <a:pt x="5268" y="18"/>
                  </a:lnTo>
                  <a:lnTo>
                    <a:pt x="5262" y="12"/>
                  </a:lnTo>
                  <a:lnTo>
                    <a:pt x="5250" y="12"/>
                  </a:lnTo>
                  <a:lnTo>
                    <a:pt x="5226" y="0"/>
                  </a:lnTo>
                  <a:lnTo>
                    <a:pt x="5196" y="0"/>
                  </a:lnTo>
                  <a:lnTo>
                    <a:pt x="5190" y="6"/>
                  </a:lnTo>
                  <a:lnTo>
                    <a:pt x="5184" y="18"/>
                  </a:lnTo>
                  <a:lnTo>
                    <a:pt x="5178" y="18"/>
                  </a:lnTo>
                  <a:lnTo>
                    <a:pt x="5172" y="12"/>
                  </a:lnTo>
                  <a:lnTo>
                    <a:pt x="5160" y="6"/>
                  </a:lnTo>
                  <a:lnTo>
                    <a:pt x="5148" y="6"/>
                  </a:lnTo>
                  <a:lnTo>
                    <a:pt x="5136" y="0"/>
                  </a:lnTo>
                  <a:lnTo>
                    <a:pt x="5124" y="0"/>
                  </a:lnTo>
                  <a:lnTo>
                    <a:pt x="5112" y="6"/>
                  </a:lnTo>
                  <a:lnTo>
                    <a:pt x="5106" y="12"/>
                  </a:lnTo>
                  <a:lnTo>
                    <a:pt x="5094" y="18"/>
                  </a:lnTo>
                  <a:lnTo>
                    <a:pt x="5088" y="24"/>
                  </a:lnTo>
                  <a:lnTo>
                    <a:pt x="5046" y="12"/>
                  </a:lnTo>
                  <a:lnTo>
                    <a:pt x="4938" y="6"/>
                  </a:lnTo>
                  <a:lnTo>
                    <a:pt x="4968" y="36"/>
                  </a:lnTo>
                  <a:lnTo>
                    <a:pt x="4902" y="12"/>
                  </a:lnTo>
                  <a:lnTo>
                    <a:pt x="4842" y="24"/>
                  </a:lnTo>
                  <a:lnTo>
                    <a:pt x="4830" y="24"/>
                  </a:lnTo>
                  <a:lnTo>
                    <a:pt x="4812" y="18"/>
                  </a:lnTo>
                  <a:lnTo>
                    <a:pt x="4746" y="18"/>
                  </a:lnTo>
                  <a:lnTo>
                    <a:pt x="4710" y="24"/>
                  </a:lnTo>
                  <a:lnTo>
                    <a:pt x="4686" y="36"/>
                  </a:lnTo>
                  <a:lnTo>
                    <a:pt x="4674" y="36"/>
                  </a:lnTo>
                  <a:lnTo>
                    <a:pt x="4764" y="60"/>
                  </a:lnTo>
                  <a:lnTo>
                    <a:pt x="4674" y="48"/>
                  </a:lnTo>
                  <a:lnTo>
                    <a:pt x="4662" y="48"/>
                  </a:lnTo>
                  <a:lnTo>
                    <a:pt x="4590" y="36"/>
                  </a:lnTo>
                  <a:lnTo>
                    <a:pt x="4542" y="36"/>
                  </a:lnTo>
                  <a:lnTo>
                    <a:pt x="4530" y="48"/>
                  </a:lnTo>
                  <a:lnTo>
                    <a:pt x="4530" y="60"/>
                  </a:lnTo>
                  <a:lnTo>
                    <a:pt x="4512" y="60"/>
                  </a:lnTo>
                  <a:lnTo>
                    <a:pt x="4482" y="54"/>
                  </a:lnTo>
                  <a:lnTo>
                    <a:pt x="4392" y="54"/>
                  </a:lnTo>
                  <a:lnTo>
                    <a:pt x="4350" y="60"/>
                  </a:lnTo>
                  <a:lnTo>
                    <a:pt x="4302" y="66"/>
                  </a:lnTo>
                  <a:lnTo>
                    <a:pt x="4260" y="66"/>
                  </a:lnTo>
                  <a:lnTo>
                    <a:pt x="4242" y="72"/>
                  </a:lnTo>
                  <a:lnTo>
                    <a:pt x="4260" y="72"/>
                  </a:lnTo>
                  <a:lnTo>
                    <a:pt x="4266" y="78"/>
                  </a:lnTo>
                  <a:lnTo>
                    <a:pt x="4278" y="78"/>
                  </a:lnTo>
                  <a:lnTo>
                    <a:pt x="4362" y="84"/>
                  </a:lnTo>
                  <a:lnTo>
                    <a:pt x="4278" y="96"/>
                  </a:lnTo>
                  <a:lnTo>
                    <a:pt x="4284" y="96"/>
                  </a:lnTo>
                  <a:lnTo>
                    <a:pt x="4290" y="102"/>
                  </a:lnTo>
                  <a:lnTo>
                    <a:pt x="4314" y="114"/>
                  </a:lnTo>
                  <a:lnTo>
                    <a:pt x="4338" y="114"/>
                  </a:lnTo>
                  <a:lnTo>
                    <a:pt x="4356" y="108"/>
                  </a:lnTo>
                  <a:lnTo>
                    <a:pt x="4392" y="108"/>
                  </a:lnTo>
                  <a:lnTo>
                    <a:pt x="4398" y="102"/>
                  </a:lnTo>
                  <a:lnTo>
                    <a:pt x="4410" y="102"/>
                  </a:lnTo>
                  <a:lnTo>
                    <a:pt x="4416" y="96"/>
                  </a:lnTo>
                  <a:lnTo>
                    <a:pt x="4440" y="96"/>
                  </a:lnTo>
                  <a:lnTo>
                    <a:pt x="4458" y="90"/>
                  </a:lnTo>
                  <a:lnTo>
                    <a:pt x="4500" y="90"/>
                  </a:lnTo>
                  <a:lnTo>
                    <a:pt x="4518" y="96"/>
                  </a:lnTo>
                  <a:lnTo>
                    <a:pt x="4536" y="96"/>
                  </a:lnTo>
                  <a:lnTo>
                    <a:pt x="4548" y="102"/>
                  </a:lnTo>
                  <a:lnTo>
                    <a:pt x="4560" y="102"/>
                  </a:lnTo>
                  <a:lnTo>
                    <a:pt x="4494" y="102"/>
                  </a:lnTo>
                  <a:lnTo>
                    <a:pt x="4482" y="108"/>
                  </a:lnTo>
                  <a:lnTo>
                    <a:pt x="4458" y="108"/>
                  </a:lnTo>
                  <a:lnTo>
                    <a:pt x="4446" y="114"/>
                  </a:lnTo>
                  <a:lnTo>
                    <a:pt x="4434" y="114"/>
                  </a:lnTo>
                  <a:lnTo>
                    <a:pt x="4422" y="120"/>
                  </a:lnTo>
                  <a:lnTo>
                    <a:pt x="4410" y="120"/>
                  </a:lnTo>
                  <a:lnTo>
                    <a:pt x="4404" y="126"/>
                  </a:lnTo>
                  <a:lnTo>
                    <a:pt x="4398" y="126"/>
                  </a:lnTo>
                  <a:lnTo>
                    <a:pt x="4434" y="126"/>
                  </a:lnTo>
                  <a:lnTo>
                    <a:pt x="4452" y="132"/>
                  </a:lnTo>
                  <a:lnTo>
                    <a:pt x="4488" y="132"/>
                  </a:lnTo>
                  <a:lnTo>
                    <a:pt x="4500" y="126"/>
                  </a:lnTo>
                  <a:lnTo>
                    <a:pt x="4506" y="126"/>
                  </a:lnTo>
                  <a:lnTo>
                    <a:pt x="4512" y="120"/>
                  </a:lnTo>
                  <a:lnTo>
                    <a:pt x="4638" y="120"/>
                  </a:lnTo>
                  <a:lnTo>
                    <a:pt x="4656" y="114"/>
                  </a:lnTo>
                  <a:lnTo>
                    <a:pt x="4680" y="114"/>
                  </a:lnTo>
                  <a:lnTo>
                    <a:pt x="4698" y="108"/>
                  </a:lnTo>
                  <a:lnTo>
                    <a:pt x="4710" y="108"/>
                  </a:lnTo>
                  <a:lnTo>
                    <a:pt x="4722" y="96"/>
                  </a:lnTo>
                  <a:lnTo>
                    <a:pt x="4734" y="96"/>
                  </a:lnTo>
                  <a:lnTo>
                    <a:pt x="4752" y="90"/>
                  </a:lnTo>
                  <a:lnTo>
                    <a:pt x="4770" y="90"/>
                  </a:lnTo>
                  <a:lnTo>
                    <a:pt x="4782" y="84"/>
                  </a:lnTo>
                  <a:lnTo>
                    <a:pt x="4830" y="84"/>
                  </a:lnTo>
                  <a:lnTo>
                    <a:pt x="4746" y="114"/>
                  </a:lnTo>
                  <a:lnTo>
                    <a:pt x="4782" y="114"/>
                  </a:lnTo>
                  <a:lnTo>
                    <a:pt x="4734" y="126"/>
                  </a:lnTo>
                  <a:lnTo>
                    <a:pt x="4716" y="126"/>
                  </a:lnTo>
                  <a:lnTo>
                    <a:pt x="4674" y="132"/>
                  </a:lnTo>
                  <a:lnTo>
                    <a:pt x="4620" y="132"/>
                  </a:lnTo>
                  <a:lnTo>
                    <a:pt x="4566" y="138"/>
                  </a:lnTo>
                  <a:lnTo>
                    <a:pt x="4536" y="138"/>
                  </a:lnTo>
                  <a:lnTo>
                    <a:pt x="4524" y="150"/>
                  </a:lnTo>
                  <a:lnTo>
                    <a:pt x="4524" y="156"/>
                  </a:lnTo>
                  <a:lnTo>
                    <a:pt x="4602" y="174"/>
                  </a:lnTo>
                  <a:lnTo>
                    <a:pt x="4596" y="174"/>
                  </a:lnTo>
                  <a:lnTo>
                    <a:pt x="4590" y="180"/>
                  </a:lnTo>
                  <a:lnTo>
                    <a:pt x="4578" y="180"/>
                  </a:lnTo>
                  <a:lnTo>
                    <a:pt x="4566" y="186"/>
                  </a:lnTo>
                  <a:lnTo>
                    <a:pt x="4542" y="186"/>
                  </a:lnTo>
                  <a:lnTo>
                    <a:pt x="4518" y="174"/>
                  </a:lnTo>
                  <a:lnTo>
                    <a:pt x="4500" y="162"/>
                  </a:lnTo>
                  <a:lnTo>
                    <a:pt x="4476" y="150"/>
                  </a:lnTo>
                  <a:lnTo>
                    <a:pt x="4470" y="144"/>
                  </a:lnTo>
                  <a:lnTo>
                    <a:pt x="4356" y="144"/>
                  </a:lnTo>
                  <a:lnTo>
                    <a:pt x="4350" y="150"/>
                  </a:lnTo>
                  <a:lnTo>
                    <a:pt x="4344" y="162"/>
                  </a:lnTo>
                  <a:lnTo>
                    <a:pt x="4338" y="168"/>
                  </a:lnTo>
                  <a:lnTo>
                    <a:pt x="4368" y="186"/>
                  </a:lnTo>
                  <a:lnTo>
                    <a:pt x="4386" y="204"/>
                  </a:lnTo>
                  <a:lnTo>
                    <a:pt x="4410" y="216"/>
                  </a:lnTo>
                  <a:lnTo>
                    <a:pt x="4458" y="216"/>
                  </a:lnTo>
                  <a:lnTo>
                    <a:pt x="4476" y="210"/>
                  </a:lnTo>
                  <a:lnTo>
                    <a:pt x="4488" y="210"/>
                  </a:lnTo>
                  <a:lnTo>
                    <a:pt x="4476" y="216"/>
                  </a:lnTo>
                  <a:lnTo>
                    <a:pt x="4470" y="228"/>
                  </a:lnTo>
                  <a:lnTo>
                    <a:pt x="4398" y="228"/>
                  </a:lnTo>
                  <a:lnTo>
                    <a:pt x="4380" y="222"/>
                  </a:lnTo>
                  <a:lnTo>
                    <a:pt x="4350" y="222"/>
                  </a:lnTo>
                  <a:lnTo>
                    <a:pt x="4314" y="228"/>
                  </a:lnTo>
                  <a:lnTo>
                    <a:pt x="4272" y="234"/>
                  </a:lnTo>
                  <a:lnTo>
                    <a:pt x="4230" y="234"/>
                  </a:lnTo>
                  <a:lnTo>
                    <a:pt x="4218" y="240"/>
                  </a:lnTo>
                  <a:lnTo>
                    <a:pt x="4200" y="246"/>
                  </a:lnTo>
                  <a:lnTo>
                    <a:pt x="4188" y="258"/>
                  </a:lnTo>
                  <a:lnTo>
                    <a:pt x="4176" y="264"/>
                  </a:lnTo>
                  <a:lnTo>
                    <a:pt x="4170" y="270"/>
                  </a:lnTo>
                  <a:lnTo>
                    <a:pt x="4164" y="270"/>
                  </a:lnTo>
                  <a:lnTo>
                    <a:pt x="4236" y="258"/>
                  </a:lnTo>
                  <a:lnTo>
                    <a:pt x="4236" y="276"/>
                  </a:lnTo>
                  <a:lnTo>
                    <a:pt x="4296" y="258"/>
                  </a:lnTo>
                  <a:lnTo>
                    <a:pt x="4224" y="288"/>
                  </a:lnTo>
                  <a:lnTo>
                    <a:pt x="4230" y="288"/>
                  </a:lnTo>
                  <a:lnTo>
                    <a:pt x="4236" y="294"/>
                  </a:lnTo>
                  <a:lnTo>
                    <a:pt x="4248" y="300"/>
                  </a:lnTo>
                  <a:lnTo>
                    <a:pt x="4278" y="300"/>
                  </a:lnTo>
                  <a:lnTo>
                    <a:pt x="4314" y="288"/>
                  </a:lnTo>
                  <a:lnTo>
                    <a:pt x="4326" y="288"/>
                  </a:lnTo>
                  <a:lnTo>
                    <a:pt x="4344" y="282"/>
                  </a:lnTo>
                  <a:lnTo>
                    <a:pt x="4350" y="276"/>
                  </a:lnTo>
                  <a:lnTo>
                    <a:pt x="4356" y="276"/>
                  </a:lnTo>
                  <a:lnTo>
                    <a:pt x="4254" y="312"/>
                  </a:lnTo>
                  <a:lnTo>
                    <a:pt x="4188" y="312"/>
                  </a:lnTo>
                  <a:lnTo>
                    <a:pt x="4176" y="288"/>
                  </a:lnTo>
                  <a:lnTo>
                    <a:pt x="4164" y="288"/>
                  </a:lnTo>
                  <a:lnTo>
                    <a:pt x="4146" y="282"/>
                  </a:lnTo>
                  <a:lnTo>
                    <a:pt x="4110" y="282"/>
                  </a:lnTo>
                  <a:lnTo>
                    <a:pt x="4104" y="288"/>
                  </a:lnTo>
                  <a:lnTo>
                    <a:pt x="4104" y="300"/>
                  </a:lnTo>
                  <a:lnTo>
                    <a:pt x="4110" y="312"/>
                  </a:lnTo>
                  <a:lnTo>
                    <a:pt x="4110" y="318"/>
                  </a:lnTo>
                  <a:lnTo>
                    <a:pt x="4116" y="324"/>
                  </a:lnTo>
                  <a:lnTo>
                    <a:pt x="4092" y="324"/>
                  </a:lnTo>
                  <a:lnTo>
                    <a:pt x="4074" y="330"/>
                  </a:lnTo>
                  <a:lnTo>
                    <a:pt x="4032" y="330"/>
                  </a:lnTo>
                  <a:lnTo>
                    <a:pt x="4020" y="336"/>
                  </a:lnTo>
                  <a:lnTo>
                    <a:pt x="4002" y="342"/>
                  </a:lnTo>
                  <a:lnTo>
                    <a:pt x="3990" y="348"/>
                  </a:lnTo>
                  <a:lnTo>
                    <a:pt x="3972" y="354"/>
                  </a:lnTo>
                  <a:lnTo>
                    <a:pt x="3936" y="354"/>
                  </a:lnTo>
                  <a:lnTo>
                    <a:pt x="3924" y="360"/>
                  </a:lnTo>
                  <a:lnTo>
                    <a:pt x="3918" y="360"/>
                  </a:lnTo>
                  <a:lnTo>
                    <a:pt x="3924" y="360"/>
                  </a:lnTo>
                  <a:lnTo>
                    <a:pt x="3936" y="366"/>
                  </a:lnTo>
                  <a:lnTo>
                    <a:pt x="3978" y="366"/>
                  </a:lnTo>
                  <a:lnTo>
                    <a:pt x="3990" y="360"/>
                  </a:lnTo>
                  <a:lnTo>
                    <a:pt x="3996" y="354"/>
                  </a:lnTo>
                  <a:lnTo>
                    <a:pt x="3984" y="372"/>
                  </a:lnTo>
                  <a:lnTo>
                    <a:pt x="4020" y="366"/>
                  </a:lnTo>
                  <a:lnTo>
                    <a:pt x="4044" y="354"/>
                  </a:lnTo>
                  <a:lnTo>
                    <a:pt x="4044" y="372"/>
                  </a:lnTo>
                  <a:lnTo>
                    <a:pt x="4074" y="366"/>
                  </a:lnTo>
                  <a:lnTo>
                    <a:pt x="4098" y="366"/>
                  </a:lnTo>
                  <a:lnTo>
                    <a:pt x="4098" y="372"/>
                  </a:lnTo>
                  <a:lnTo>
                    <a:pt x="4104" y="378"/>
                  </a:lnTo>
                  <a:lnTo>
                    <a:pt x="4122" y="378"/>
                  </a:lnTo>
                  <a:lnTo>
                    <a:pt x="4146" y="366"/>
                  </a:lnTo>
                  <a:lnTo>
                    <a:pt x="4152" y="366"/>
                  </a:lnTo>
                  <a:lnTo>
                    <a:pt x="4164" y="360"/>
                  </a:lnTo>
                  <a:lnTo>
                    <a:pt x="4170" y="372"/>
                  </a:lnTo>
                  <a:lnTo>
                    <a:pt x="4200" y="354"/>
                  </a:lnTo>
                  <a:lnTo>
                    <a:pt x="4206" y="360"/>
                  </a:lnTo>
                  <a:lnTo>
                    <a:pt x="4212" y="372"/>
                  </a:lnTo>
                  <a:lnTo>
                    <a:pt x="4224" y="372"/>
                  </a:lnTo>
                  <a:lnTo>
                    <a:pt x="4236" y="366"/>
                  </a:lnTo>
                  <a:lnTo>
                    <a:pt x="4242" y="360"/>
                  </a:lnTo>
                  <a:lnTo>
                    <a:pt x="4248" y="360"/>
                  </a:lnTo>
                  <a:lnTo>
                    <a:pt x="4254" y="366"/>
                  </a:lnTo>
                  <a:lnTo>
                    <a:pt x="4266" y="372"/>
                  </a:lnTo>
                  <a:lnTo>
                    <a:pt x="4284" y="372"/>
                  </a:lnTo>
                  <a:lnTo>
                    <a:pt x="4290" y="366"/>
                  </a:lnTo>
                  <a:lnTo>
                    <a:pt x="4290" y="360"/>
                  </a:lnTo>
                  <a:lnTo>
                    <a:pt x="4284" y="354"/>
                  </a:lnTo>
                  <a:lnTo>
                    <a:pt x="4338" y="372"/>
                  </a:lnTo>
                  <a:lnTo>
                    <a:pt x="4344" y="378"/>
                  </a:lnTo>
                  <a:lnTo>
                    <a:pt x="4350" y="390"/>
                  </a:lnTo>
                  <a:lnTo>
                    <a:pt x="4374" y="390"/>
                  </a:lnTo>
                  <a:lnTo>
                    <a:pt x="4410" y="378"/>
                  </a:lnTo>
                  <a:lnTo>
                    <a:pt x="4440" y="372"/>
                  </a:lnTo>
                  <a:lnTo>
                    <a:pt x="4476" y="372"/>
                  </a:lnTo>
                  <a:lnTo>
                    <a:pt x="4494" y="366"/>
                  </a:lnTo>
                  <a:lnTo>
                    <a:pt x="4506" y="360"/>
                  </a:lnTo>
                  <a:lnTo>
                    <a:pt x="4524" y="342"/>
                  </a:lnTo>
                  <a:lnTo>
                    <a:pt x="4464" y="342"/>
                  </a:lnTo>
                  <a:lnTo>
                    <a:pt x="4470" y="336"/>
                  </a:lnTo>
                  <a:lnTo>
                    <a:pt x="4470" y="330"/>
                  </a:lnTo>
                  <a:lnTo>
                    <a:pt x="4416" y="330"/>
                  </a:lnTo>
                  <a:lnTo>
                    <a:pt x="4362" y="318"/>
                  </a:lnTo>
                  <a:lnTo>
                    <a:pt x="4380" y="300"/>
                  </a:lnTo>
                  <a:lnTo>
                    <a:pt x="4440" y="318"/>
                  </a:lnTo>
                  <a:lnTo>
                    <a:pt x="4452" y="318"/>
                  </a:lnTo>
                  <a:lnTo>
                    <a:pt x="4488" y="312"/>
                  </a:lnTo>
                  <a:lnTo>
                    <a:pt x="4566" y="312"/>
                  </a:lnTo>
                  <a:lnTo>
                    <a:pt x="4578" y="300"/>
                  </a:lnTo>
                  <a:lnTo>
                    <a:pt x="4578" y="288"/>
                  </a:lnTo>
                  <a:lnTo>
                    <a:pt x="4584" y="288"/>
                  </a:lnTo>
                  <a:lnTo>
                    <a:pt x="4590" y="282"/>
                  </a:lnTo>
                  <a:lnTo>
                    <a:pt x="4608" y="282"/>
                  </a:lnTo>
                  <a:lnTo>
                    <a:pt x="4626" y="276"/>
                  </a:lnTo>
                  <a:lnTo>
                    <a:pt x="4662" y="276"/>
                  </a:lnTo>
                  <a:lnTo>
                    <a:pt x="4680" y="270"/>
                  </a:lnTo>
                  <a:lnTo>
                    <a:pt x="4710" y="270"/>
                  </a:lnTo>
                  <a:lnTo>
                    <a:pt x="4722" y="264"/>
                  </a:lnTo>
                  <a:lnTo>
                    <a:pt x="4728" y="264"/>
                  </a:lnTo>
                  <a:lnTo>
                    <a:pt x="4704" y="246"/>
                  </a:lnTo>
                  <a:lnTo>
                    <a:pt x="4746" y="246"/>
                  </a:lnTo>
                  <a:lnTo>
                    <a:pt x="4770" y="240"/>
                  </a:lnTo>
                  <a:lnTo>
                    <a:pt x="4782" y="234"/>
                  </a:lnTo>
                  <a:lnTo>
                    <a:pt x="4776" y="228"/>
                  </a:lnTo>
                  <a:lnTo>
                    <a:pt x="4770" y="228"/>
                  </a:lnTo>
                  <a:lnTo>
                    <a:pt x="4758" y="222"/>
                  </a:lnTo>
                  <a:lnTo>
                    <a:pt x="4746" y="222"/>
                  </a:lnTo>
                  <a:lnTo>
                    <a:pt x="4734" y="216"/>
                  </a:lnTo>
                  <a:lnTo>
                    <a:pt x="4686" y="216"/>
                  </a:lnTo>
                  <a:lnTo>
                    <a:pt x="4674" y="210"/>
                  </a:lnTo>
                  <a:lnTo>
                    <a:pt x="4662" y="210"/>
                  </a:lnTo>
                  <a:lnTo>
                    <a:pt x="4662" y="204"/>
                  </a:lnTo>
                  <a:lnTo>
                    <a:pt x="4674" y="198"/>
                  </a:lnTo>
                  <a:lnTo>
                    <a:pt x="4686" y="198"/>
                  </a:lnTo>
                  <a:lnTo>
                    <a:pt x="4704" y="192"/>
                  </a:lnTo>
                  <a:lnTo>
                    <a:pt x="4716" y="186"/>
                  </a:lnTo>
                  <a:lnTo>
                    <a:pt x="4764" y="186"/>
                  </a:lnTo>
                  <a:lnTo>
                    <a:pt x="4782" y="192"/>
                  </a:lnTo>
                  <a:lnTo>
                    <a:pt x="4860" y="192"/>
                  </a:lnTo>
                  <a:lnTo>
                    <a:pt x="4878" y="186"/>
                  </a:lnTo>
                  <a:lnTo>
                    <a:pt x="4902" y="186"/>
                  </a:lnTo>
                  <a:lnTo>
                    <a:pt x="4896" y="180"/>
                  </a:lnTo>
                  <a:lnTo>
                    <a:pt x="4878" y="180"/>
                  </a:lnTo>
                  <a:lnTo>
                    <a:pt x="4866" y="174"/>
                  </a:lnTo>
                  <a:lnTo>
                    <a:pt x="4872" y="168"/>
                  </a:lnTo>
                  <a:lnTo>
                    <a:pt x="4902" y="162"/>
                  </a:lnTo>
                  <a:lnTo>
                    <a:pt x="4944" y="168"/>
                  </a:lnTo>
                  <a:lnTo>
                    <a:pt x="4974" y="174"/>
                  </a:lnTo>
                  <a:lnTo>
                    <a:pt x="4986" y="174"/>
                  </a:lnTo>
                  <a:lnTo>
                    <a:pt x="4992" y="168"/>
                  </a:lnTo>
                  <a:lnTo>
                    <a:pt x="4992" y="150"/>
                  </a:lnTo>
                  <a:lnTo>
                    <a:pt x="5070" y="156"/>
                  </a:lnTo>
                  <a:lnTo>
                    <a:pt x="5070" y="132"/>
                  </a:lnTo>
                  <a:lnTo>
                    <a:pt x="5082" y="132"/>
                  </a:lnTo>
                  <a:lnTo>
                    <a:pt x="5094" y="138"/>
                  </a:lnTo>
                  <a:lnTo>
                    <a:pt x="5112" y="138"/>
                  </a:lnTo>
                  <a:lnTo>
                    <a:pt x="5136" y="126"/>
                  </a:lnTo>
                  <a:lnTo>
                    <a:pt x="5148" y="126"/>
                  </a:lnTo>
                  <a:lnTo>
                    <a:pt x="5154" y="120"/>
                  </a:lnTo>
                  <a:lnTo>
                    <a:pt x="5172" y="120"/>
                  </a:lnTo>
                  <a:lnTo>
                    <a:pt x="5208" y="114"/>
                  </a:lnTo>
                  <a:lnTo>
                    <a:pt x="5256" y="102"/>
                  </a:lnTo>
                  <a:lnTo>
                    <a:pt x="5298" y="96"/>
                  </a:lnTo>
                  <a:lnTo>
                    <a:pt x="5322" y="90"/>
                  </a:lnTo>
                  <a:lnTo>
                    <a:pt x="5340" y="90"/>
                  </a:lnTo>
                  <a:lnTo>
                    <a:pt x="5346" y="84"/>
                  </a:lnTo>
                  <a:lnTo>
                    <a:pt x="5238" y="84"/>
                  </a:lnTo>
                  <a:lnTo>
                    <a:pt x="5214" y="96"/>
                  </a:lnTo>
                  <a:lnTo>
                    <a:pt x="5142" y="96"/>
                  </a:lnTo>
                  <a:lnTo>
                    <a:pt x="5226" y="90"/>
                  </a:lnTo>
                  <a:lnTo>
                    <a:pt x="5220" y="78"/>
                  </a:lnTo>
                  <a:lnTo>
                    <a:pt x="5268" y="84"/>
                  </a:lnTo>
                  <a:lnTo>
                    <a:pt x="5274" y="78"/>
                  </a:lnTo>
                  <a:lnTo>
                    <a:pt x="5286" y="72"/>
                  </a:lnTo>
                  <a:lnTo>
                    <a:pt x="5358" y="72"/>
                  </a:lnTo>
                  <a:lnTo>
                    <a:pt x="5406" y="66"/>
                  </a:lnTo>
                  <a:lnTo>
                    <a:pt x="5454" y="66"/>
                  </a:lnTo>
                  <a:lnTo>
                    <a:pt x="5484" y="60"/>
                  </a:lnTo>
                  <a:lnTo>
                    <a:pt x="5496" y="60"/>
                  </a:lnTo>
                  <a:lnTo>
                    <a:pt x="5514" y="54"/>
                  </a:lnTo>
                  <a:lnTo>
                    <a:pt x="5532" y="54"/>
                  </a:lnTo>
                  <a:lnTo>
                    <a:pt x="5550" y="48"/>
                  </a:lnTo>
                  <a:lnTo>
                    <a:pt x="5562" y="42"/>
                  </a:lnTo>
                  <a:lnTo>
                    <a:pt x="5574" y="42"/>
                  </a:lnTo>
                  <a:lnTo>
                    <a:pt x="5574" y="36"/>
                  </a:lnTo>
                  <a:close/>
                  <a:moveTo>
                    <a:pt x="4032" y="966"/>
                  </a:moveTo>
                  <a:lnTo>
                    <a:pt x="4086" y="966"/>
                  </a:lnTo>
                  <a:lnTo>
                    <a:pt x="4134" y="942"/>
                  </a:lnTo>
                  <a:lnTo>
                    <a:pt x="4140" y="930"/>
                  </a:lnTo>
                  <a:lnTo>
                    <a:pt x="4134" y="918"/>
                  </a:lnTo>
                  <a:lnTo>
                    <a:pt x="4134" y="912"/>
                  </a:lnTo>
                  <a:lnTo>
                    <a:pt x="4122" y="906"/>
                  </a:lnTo>
                  <a:lnTo>
                    <a:pt x="4074" y="906"/>
                  </a:lnTo>
                  <a:lnTo>
                    <a:pt x="4062" y="912"/>
                  </a:lnTo>
                  <a:lnTo>
                    <a:pt x="4050" y="912"/>
                  </a:lnTo>
                  <a:lnTo>
                    <a:pt x="4026" y="924"/>
                  </a:lnTo>
                  <a:lnTo>
                    <a:pt x="4014" y="936"/>
                  </a:lnTo>
                  <a:lnTo>
                    <a:pt x="4002" y="942"/>
                  </a:lnTo>
                  <a:lnTo>
                    <a:pt x="4002" y="954"/>
                  </a:lnTo>
                  <a:lnTo>
                    <a:pt x="4014" y="960"/>
                  </a:lnTo>
                  <a:lnTo>
                    <a:pt x="4032" y="966"/>
                  </a:lnTo>
                  <a:close/>
                  <a:moveTo>
                    <a:pt x="4014" y="840"/>
                  </a:moveTo>
                  <a:lnTo>
                    <a:pt x="4002" y="840"/>
                  </a:lnTo>
                  <a:lnTo>
                    <a:pt x="3990" y="846"/>
                  </a:lnTo>
                  <a:lnTo>
                    <a:pt x="3984" y="852"/>
                  </a:lnTo>
                  <a:lnTo>
                    <a:pt x="3972" y="852"/>
                  </a:lnTo>
                  <a:lnTo>
                    <a:pt x="3990" y="852"/>
                  </a:lnTo>
                  <a:lnTo>
                    <a:pt x="4008" y="846"/>
                  </a:lnTo>
                  <a:lnTo>
                    <a:pt x="4026" y="846"/>
                  </a:lnTo>
                  <a:lnTo>
                    <a:pt x="4044" y="840"/>
                  </a:lnTo>
                  <a:lnTo>
                    <a:pt x="4050" y="834"/>
                  </a:lnTo>
                  <a:lnTo>
                    <a:pt x="4056" y="834"/>
                  </a:lnTo>
                  <a:lnTo>
                    <a:pt x="4068" y="822"/>
                  </a:lnTo>
                  <a:lnTo>
                    <a:pt x="4050" y="822"/>
                  </a:lnTo>
                  <a:lnTo>
                    <a:pt x="4044" y="828"/>
                  </a:lnTo>
                  <a:lnTo>
                    <a:pt x="4032" y="828"/>
                  </a:lnTo>
                  <a:lnTo>
                    <a:pt x="4020" y="834"/>
                  </a:lnTo>
                  <a:lnTo>
                    <a:pt x="4014" y="840"/>
                  </a:lnTo>
                  <a:close/>
                  <a:moveTo>
                    <a:pt x="4122" y="822"/>
                  </a:moveTo>
                  <a:lnTo>
                    <a:pt x="4104" y="822"/>
                  </a:lnTo>
                  <a:lnTo>
                    <a:pt x="4098" y="828"/>
                  </a:lnTo>
                  <a:lnTo>
                    <a:pt x="4098" y="840"/>
                  </a:lnTo>
                  <a:lnTo>
                    <a:pt x="4104" y="846"/>
                  </a:lnTo>
                  <a:lnTo>
                    <a:pt x="4110" y="840"/>
                  </a:lnTo>
                  <a:lnTo>
                    <a:pt x="4116" y="840"/>
                  </a:lnTo>
                  <a:lnTo>
                    <a:pt x="4128" y="828"/>
                  </a:lnTo>
                  <a:lnTo>
                    <a:pt x="4122" y="822"/>
                  </a:lnTo>
                  <a:close/>
                  <a:moveTo>
                    <a:pt x="3528" y="1062"/>
                  </a:moveTo>
                  <a:lnTo>
                    <a:pt x="3522" y="1062"/>
                  </a:lnTo>
                  <a:lnTo>
                    <a:pt x="3504" y="1080"/>
                  </a:lnTo>
                  <a:lnTo>
                    <a:pt x="3504" y="1086"/>
                  </a:lnTo>
                  <a:lnTo>
                    <a:pt x="3510" y="1092"/>
                  </a:lnTo>
                  <a:lnTo>
                    <a:pt x="3528" y="1092"/>
                  </a:lnTo>
                  <a:lnTo>
                    <a:pt x="3534" y="1086"/>
                  </a:lnTo>
                  <a:lnTo>
                    <a:pt x="3540" y="1074"/>
                  </a:lnTo>
                  <a:lnTo>
                    <a:pt x="3540" y="1068"/>
                  </a:lnTo>
                  <a:lnTo>
                    <a:pt x="3534" y="1062"/>
                  </a:lnTo>
                  <a:lnTo>
                    <a:pt x="3528" y="1062"/>
                  </a:lnTo>
                  <a:close/>
                  <a:moveTo>
                    <a:pt x="3588" y="1062"/>
                  </a:moveTo>
                  <a:lnTo>
                    <a:pt x="3582" y="1062"/>
                  </a:lnTo>
                  <a:lnTo>
                    <a:pt x="3576" y="1068"/>
                  </a:lnTo>
                  <a:lnTo>
                    <a:pt x="3576" y="1080"/>
                  </a:lnTo>
                  <a:lnTo>
                    <a:pt x="3582" y="1086"/>
                  </a:lnTo>
                  <a:lnTo>
                    <a:pt x="3594" y="1086"/>
                  </a:lnTo>
                  <a:lnTo>
                    <a:pt x="3600" y="1080"/>
                  </a:lnTo>
                  <a:lnTo>
                    <a:pt x="3600" y="1068"/>
                  </a:lnTo>
                  <a:lnTo>
                    <a:pt x="3588" y="1062"/>
                  </a:lnTo>
                  <a:close/>
                  <a:moveTo>
                    <a:pt x="3756" y="1242"/>
                  </a:moveTo>
                  <a:lnTo>
                    <a:pt x="3744" y="1248"/>
                  </a:lnTo>
                  <a:lnTo>
                    <a:pt x="3744" y="1260"/>
                  </a:lnTo>
                  <a:lnTo>
                    <a:pt x="3750" y="1266"/>
                  </a:lnTo>
                  <a:lnTo>
                    <a:pt x="3762" y="1272"/>
                  </a:lnTo>
                  <a:lnTo>
                    <a:pt x="3768" y="1272"/>
                  </a:lnTo>
                  <a:lnTo>
                    <a:pt x="3786" y="1254"/>
                  </a:lnTo>
                  <a:lnTo>
                    <a:pt x="3786" y="1242"/>
                  </a:lnTo>
                  <a:lnTo>
                    <a:pt x="3780" y="1236"/>
                  </a:lnTo>
                  <a:lnTo>
                    <a:pt x="3768" y="1236"/>
                  </a:lnTo>
                  <a:lnTo>
                    <a:pt x="3756" y="1242"/>
                  </a:lnTo>
                  <a:close/>
                  <a:moveTo>
                    <a:pt x="3984" y="2532"/>
                  </a:moveTo>
                  <a:lnTo>
                    <a:pt x="3948" y="2520"/>
                  </a:lnTo>
                  <a:lnTo>
                    <a:pt x="3942" y="2514"/>
                  </a:lnTo>
                  <a:lnTo>
                    <a:pt x="3936" y="2514"/>
                  </a:lnTo>
                  <a:lnTo>
                    <a:pt x="3924" y="2526"/>
                  </a:lnTo>
                  <a:lnTo>
                    <a:pt x="3930" y="2532"/>
                  </a:lnTo>
                  <a:lnTo>
                    <a:pt x="3942" y="2538"/>
                  </a:lnTo>
                  <a:lnTo>
                    <a:pt x="3948" y="2544"/>
                  </a:lnTo>
                  <a:lnTo>
                    <a:pt x="3954" y="2544"/>
                  </a:lnTo>
                  <a:lnTo>
                    <a:pt x="3960" y="2550"/>
                  </a:lnTo>
                  <a:lnTo>
                    <a:pt x="3996" y="2550"/>
                  </a:lnTo>
                  <a:lnTo>
                    <a:pt x="4008" y="2556"/>
                  </a:lnTo>
                  <a:lnTo>
                    <a:pt x="4020" y="2556"/>
                  </a:lnTo>
                  <a:lnTo>
                    <a:pt x="4038" y="2538"/>
                  </a:lnTo>
                  <a:lnTo>
                    <a:pt x="4008" y="2538"/>
                  </a:lnTo>
                  <a:lnTo>
                    <a:pt x="3984" y="2532"/>
                  </a:lnTo>
                  <a:close/>
                  <a:moveTo>
                    <a:pt x="4098" y="2280"/>
                  </a:moveTo>
                  <a:lnTo>
                    <a:pt x="4092" y="2280"/>
                  </a:lnTo>
                  <a:lnTo>
                    <a:pt x="4086" y="2274"/>
                  </a:lnTo>
                  <a:lnTo>
                    <a:pt x="4050" y="2274"/>
                  </a:lnTo>
                  <a:lnTo>
                    <a:pt x="4032" y="2268"/>
                  </a:lnTo>
                  <a:lnTo>
                    <a:pt x="3996" y="2268"/>
                  </a:lnTo>
                  <a:lnTo>
                    <a:pt x="4002" y="2274"/>
                  </a:lnTo>
                  <a:lnTo>
                    <a:pt x="4008" y="2274"/>
                  </a:lnTo>
                  <a:lnTo>
                    <a:pt x="4014" y="2280"/>
                  </a:lnTo>
                  <a:lnTo>
                    <a:pt x="4026" y="2286"/>
                  </a:lnTo>
                  <a:lnTo>
                    <a:pt x="4032" y="2286"/>
                  </a:lnTo>
                  <a:lnTo>
                    <a:pt x="4032" y="2304"/>
                  </a:lnTo>
                  <a:lnTo>
                    <a:pt x="4044" y="2304"/>
                  </a:lnTo>
                  <a:lnTo>
                    <a:pt x="4080" y="2310"/>
                  </a:lnTo>
                  <a:lnTo>
                    <a:pt x="4128" y="2316"/>
                  </a:lnTo>
                  <a:lnTo>
                    <a:pt x="4164" y="2316"/>
                  </a:lnTo>
                  <a:lnTo>
                    <a:pt x="4170" y="2310"/>
                  </a:lnTo>
                  <a:lnTo>
                    <a:pt x="4170" y="2304"/>
                  </a:lnTo>
                  <a:lnTo>
                    <a:pt x="4164" y="2304"/>
                  </a:lnTo>
                  <a:lnTo>
                    <a:pt x="4152" y="2292"/>
                  </a:lnTo>
                  <a:lnTo>
                    <a:pt x="4128" y="2286"/>
                  </a:lnTo>
                  <a:lnTo>
                    <a:pt x="4098" y="2280"/>
                  </a:lnTo>
                  <a:close/>
                  <a:moveTo>
                    <a:pt x="4194" y="2550"/>
                  </a:moveTo>
                  <a:lnTo>
                    <a:pt x="4164" y="2550"/>
                  </a:lnTo>
                  <a:lnTo>
                    <a:pt x="4152" y="2556"/>
                  </a:lnTo>
                  <a:lnTo>
                    <a:pt x="4146" y="2562"/>
                  </a:lnTo>
                  <a:lnTo>
                    <a:pt x="4182" y="2526"/>
                  </a:lnTo>
                  <a:lnTo>
                    <a:pt x="4176" y="2520"/>
                  </a:lnTo>
                  <a:lnTo>
                    <a:pt x="4152" y="2520"/>
                  </a:lnTo>
                  <a:lnTo>
                    <a:pt x="4140" y="2526"/>
                  </a:lnTo>
                  <a:lnTo>
                    <a:pt x="4128" y="2538"/>
                  </a:lnTo>
                  <a:lnTo>
                    <a:pt x="4104" y="2574"/>
                  </a:lnTo>
                  <a:lnTo>
                    <a:pt x="4164" y="2568"/>
                  </a:lnTo>
                  <a:lnTo>
                    <a:pt x="4176" y="2568"/>
                  </a:lnTo>
                  <a:lnTo>
                    <a:pt x="4182" y="2562"/>
                  </a:lnTo>
                  <a:lnTo>
                    <a:pt x="4194" y="2562"/>
                  </a:lnTo>
                  <a:lnTo>
                    <a:pt x="4200" y="2556"/>
                  </a:lnTo>
                  <a:lnTo>
                    <a:pt x="4200" y="2550"/>
                  </a:lnTo>
                  <a:lnTo>
                    <a:pt x="4194" y="2550"/>
                  </a:lnTo>
                  <a:close/>
                  <a:moveTo>
                    <a:pt x="4590" y="1962"/>
                  </a:moveTo>
                  <a:lnTo>
                    <a:pt x="4578" y="1974"/>
                  </a:lnTo>
                  <a:lnTo>
                    <a:pt x="4578" y="1980"/>
                  </a:lnTo>
                  <a:lnTo>
                    <a:pt x="4572" y="1986"/>
                  </a:lnTo>
                  <a:lnTo>
                    <a:pt x="4566" y="1986"/>
                  </a:lnTo>
                  <a:lnTo>
                    <a:pt x="4554" y="1974"/>
                  </a:lnTo>
                  <a:lnTo>
                    <a:pt x="4554" y="1962"/>
                  </a:lnTo>
                  <a:lnTo>
                    <a:pt x="4566" y="1962"/>
                  </a:lnTo>
                  <a:lnTo>
                    <a:pt x="4572" y="1956"/>
                  </a:lnTo>
                  <a:lnTo>
                    <a:pt x="4566" y="1932"/>
                  </a:lnTo>
                  <a:lnTo>
                    <a:pt x="4536" y="1926"/>
                  </a:lnTo>
                  <a:lnTo>
                    <a:pt x="4530" y="1926"/>
                  </a:lnTo>
                  <a:lnTo>
                    <a:pt x="4524" y="1932"/>
                  </a:lnTo>
                  <a:lnTo>
                    <a:pt x="4512" y="1938"/>
                  </a:lnTo>
                  <a:lnTo>
                    <a:pt x="4494" y="1944"/>
                  </a:lnTo>
                  <a:lnTo>
                    <a:pt x="4470" y="1956"/>
                  </a:lnTo>
                  <a:lnTo>
                    <a:pt x="4464" y="1962"/>
                  </a:lnTo>
                  <a:lnTo>
                    <a:pt x="4458" y="1962"/>
                  </a:lnTo>
                  <a:lnTo>
                    <a:pt x="4446" y="1968"/>
                  </a:lnTo>
                  <a:lnTo>
                    <a:pt x="4434" y="1968"/>
                  </a:lnTo>
                  <a:lnTo>
                    <a:pt x="4416" y="1974"/>
                  </a:lnTo>
                  <a:lnTo>
                    <a:pt x="4404" y="1974"/>
                  </a:lnTo>
                  <a:lnTo>
                    <a:pt x="4374" y="1998"/>
                  </a:lnTo>
                  <a:lnTo>
                    <a:pt x="4386" y="1974"/>
                  </a:lnTo>
                  <a:lnTo>
                    <a:pt x="4362" y="1956"/>
                  </a:lnTo>
                  <a:lnTo>
                    <a:pt x="4398" y="1968"/>
                  </a:lnTo>
                  <a:lnTo>
                    <a:pt x="4410" y="1956"/>
                  </a:lnTo>
                  <a:lnTo>
                    <a:pt x="4440" y="1950"/>
                  </a:lnTo>
                  <a:lnTo>
                    <a:pt x="4440" y="1932"/>
                  </a:lnTo>
                  <a:lnTo>
                    <a:pt x="4494" y="1932"/>
                  </a:lnTo>
                  <a:lnTo>
                    <a:pt x="4518" y="1920"/>
                  </a:lnTo>
                  <a:lnTo>
                    <a:pt x="4524" y="1914"/>
                  </a:lnTo>
                  <a:lnTo>
                    <a:pt x="4536" y="1908"/>
                  </a:lnTo>
                  <a:lnTo>
                    <a:pt x="4608" y="1908"/>
                  </a:lnTo>
                  <a:lnTo>
                    <a:pt x="4602" y="1902"/>
                  </a:lnTo>
                  <a:lnTo>
                    <a:pt x="4596" y="1902"/>
                  </a:lnTo>
                  <a:lnTo>
                    <a:pt x="4584" y="1896"/>
                  </a:lnTo>
                  <a:lnTo>
                    <a:pt x="4578" y="1890"/>
                  </a:lnTo>
                  <a:lnTo>
                    <a:pt x="4578" y="1866"/>
                  </a:lnTo>
                  <a:lnTo>
                    <a:pt x="4572" y="1866"/>
                  </a:lnTo>
                  <a:lnTo>
                    <a:pt x="4566" y="1872"/>
                  </a:lnTo>
                  <a:lnTo>
                    <a:pt x="4542" y="1872"/>
                  </a:lnTo>
                  <a:lnTo>
                    <a:pt x="4530" y="1878"/>
                  </a:lnTo>
                  <a:lnTo>
                    <a:pt x="4518" y="1878"/>
                  </a:lnTo>
                  <a:lnTo>
                    <a:pt x="4518" y="1866"/>
                  </a:lnTo>
                  <a:lnTo>
                    <a:pt x="4512" y="1860"/>
                  </a:lnTo>
                  <a:lnTo>
                    <a:pt x="4452" y="1878"/>
                  </a:lnTo>
                  <a:lnTo>
                    <a:pt x="4458" y="1848"/>
                  </a:lnTo>
                  <a:lnTo>
                    <a:pt x="4410" y="1860"/>
                  </a:lnTo>
                  <a:lnTo>
                    <a:pt x="4416" y="1854"/>
                  </a:lnTo>
                  <a:lnTo>
                    <a:pt x="4422" y="1842"/>
                  </a:lnTo>
                  <a:lnTo>
                    <a:pt x="4440" y="1824"/>
                  </a:lnTo>
                  <a:lnTo>
                    <a:pt x="4446" y="1812"/>
                  </a:lnTo>
                  <a:lnTo>
                    <a:pt x="4446" y="1800"/>
                  </a:lnTo>
                  <a:lnTo>
                    <a:pt x="4434" y="1800"/>
                  </a:lnTo>
                  <a:lnTo>
                    <a:pt x="4422" y="1794"/>
                  </a:lnTo>
                  <a:lnTo>
                    <a:pt x="4398" y="1794"/>
                  </a:lnTo>
                  <a:lnTo>
                    <a:pt x="4404" y="1770"/>
                  </a:lnTo>
                  <a:lnTo>
                    <a:pt x="4368" y="1770"/>
                  </a:lnTo>
                  <a:lnTo>
                    <a:pt x="4380" y="1752"/>
                  </a:lnTo>
                  <a:lnTo>
                    <a:pt x="4356" y="1728"/>
                  </a:lnTo>
                  <a:lnTo>
                    <a:pt x="4368" y="1728"/>
                  </a:lnTo>
                  <a:lnTo>
                    <a:pt x="4380" y="1734"/>
                  </a:lnTo>
                  <a:lnTo>
                    <a:pt x="4404" y="1734"/>
                  </a:lnTo>
                  <a:lnTo>
                    <a:pt x="4410" y="1728"/>
                  </a:lnTo>
                  <a:lnTo>
                    <a:pt x="4422" y="1722"/>
                  </a:lnTo>
                  <a:lnTo>
                    <a:pt x="4434" y="1710"/>
                  </a:lnTo>
                  <a:lnTo>
                    <a:pt x="4440" y="1710"/>
                  </a:lnTo>
                  <a:lnTo>
                    <a:pt x="4398" y="1686"/>
                  </a:lnTo>
                  <a:lnTo>
                    <a:pt x="4446" y="1656"/>
                  </a:lnTo>
                  <a:lnTo>
                    <a:pt x="4398" y="1632"/>
                  </a:lnTo>
                  <a:lnTo>
                    <a:pt x="4350" y="1638"/>
                  </a:lnTo>
                  <a:lnTo>
                    <a:pt x="4404" y="1614"/>
                  </a:lnTo>
                  <a:lnTo>
                    <a:pt x="4368" y="1608"/>
                  </a:lnTo>
                  <a:lnTo>
                    <a:pt x="4410" y="1584"/>
                  </a:lnTo>
                  <a:lnTo>
                    <a:pt x="4404" y="1560"/>
                  </a:lnTo>
                  <a:lnTo>
                    <a:pt x="4374" y="1560"/>
                  </a:lnTo>
                  <a:lnTo>
                    <a:pt x="4380" y="1554"/>
                  </a:lnTo>
                  <a:lnTo>
                    <a:pt x="4392" y="1530"/>
                  </a:lnTo>
                  <a:lnTo>
                    <a:pt x="4374" y="1494"/>
                  </a:lnTo>
                  <a:lnTo>
                    <a:pt x="4362" y="1494"/>
                  </a:lnTo>
                  <a:lnTo>
                    <a:pt x="4374" y="1470"/>
                  </a:lnTo>
                  <a:lnTo>
                    <a:pt x="4362" y="1476"/>
                  </a:lnTo>
                  <a:lnTo>
                    <a:pt x="4356" y="1482"/>
                  </a:lnTo>
                  <a:lnTo>
                    <a:pt x="4344" y="1488"/>
                  </a:lnTo>
                  <a:lnTo>
                    <a:pt x="4332" y="1500"/>
                  </a:lnTo>
                  <a:lnTo>
                    <a:pt x="4332" y="1518"/>
                  </a:lnTo>
                  <a:lnTo>
                    <a:pt x="4302" y="1506"/>
                  </a:lnTo>
                  <a:lnTo>
                    <a:pt x="4308" y="1542"/>
                  </a:lnTo>
                  <a:lnTo>
                    <a:pt x="4284" y="1542"/>
                  </a:lnTo>
                  <a:lnTo>
                    <a:pt x="4272" y="1560"/>
                  </a:lnTo>
                  <a:lnTo>
                    <a:pt x="4278" y="1572"/>
                  </a:lnTo>
                  <a:lnTo>
                    <a:pt x="4254" y="1572"/>
                  </a:lnTo>
                  <a:lnTo>
                    <a:pt x="4230" y="1614"/>
                  </a:lnTo>
                  <a:lnTo>
                    <a:pt x="4218" y="1614"/>
                  </a:lnTo>
                  <a:lnTo>
                    <a:pt x="4236" y="1578"/>
                  </a:lnTo>
                  <a:lnTo>
                    <a:pt x="4224" y="1566"/>
                  </a:lnTo>
                  <a:lnTo>
                    <a:pt x="4212" y="1566"/>
                  </a:lnTo>
                  <a:lnTo>
                    <a:pt x="4194" y="1584"/>
                  </a:lnTo>
                  <a:lnTo>
                    <a:pt x="4182" y="1590"/>
                  </a:lnTo>
                  <a:lnTo>
                    <a:pt x="4176" y="1596"/>
                  </a:lnTo>
                  <a:lnTo>
                    <a:pt x="4164" y="1602"/>
                  </a:lnTo>
                  <a:lnTo>
                    <a:pt x="4158" y="1608"/>
                  </a:lnTo>
                  <a:lnTo>
                    <a:pt x="4146" y="1614"/>
                  </a:lnTo>
                  <a:lnTo>
                    <a:pt x="4140" y="1620"/>
                  </a:lnTo>
                  <a:lnTo>
                    <a:pt x="4116" y="1632"/>
                  </a:lnTo>
                  <a:lnTo>
                    <a:pt x="4110" y="1638"/>
                  </a:lnTo>
                  <a:lnTo>
                    <a:pt x="4116" y="1614"/>
                  </a:lnTo>
                  <a:lnTo>
                    <a:pt x="4116" y="1596"/>
                  </a:lnTo>
                  <a:lnTo>
                    <a:pt x="4080" y="1632"/>
                  </a:lnTo>
                  <a:lnTo>
                    <a:pt x="4014" y="1644"/>
                  </a:lnTo>
                  <a:lnTo>
                    <a:pt x="4074" y="1626"/>
                  </a:lnTo>
                  <a:lnTo>
                    <a:pt x="4080" y="1620"/>
                  </a:lnTo>
                  <a:lnTo>
                    <a:pt x="4092" y="1596"/>
                  </a:lnTo>
                  <a:lnTo>
                    <a:pt x="4098" y="1590"/>
                  </a:lnTo>
                  <a:lnTo>
                    <a:pt x="4098" y="1578"/>
                  </a:lnTo>
                  <a:lnTo>
                    <a:pt x="4092" y="1572"/>
                  </a:lnTo>
                  <a:lnTo>
                    <a:pt x="4050" y="1572"/>
                  </a:lnTo>
                  <a:lnTo>
                    <a:pt x="4038" y="1578"/>
                  </a:lnTo>
                  <a:lnTo>
                    <a:pt x="4032" y="1578"/>
                  </a:lnTo>
                  <a:lnTo>
                    <a:pt x="4020" y="1584"/>
                  </a:lnTo>
                  <a:lnTo>
                    <a:pt x="4002" y="1584"/>
                  </a:lnTo>
                  <a:lnTo>
                    <a:pt x="4002" y="1578"/>
                  </a:lnTo>
                  <a:lnTo>
                    <a:pt x="4008" y="1572"/>
                  </a:lnTo>
                  <a:lnTo>
                    <a:pt x="4020" y="1566"/>
                  </a:lnTo>
                  <a:lnTo>
                    <a:pt x="4026" y="1560"/>
                  </a:lnTo>
                  <a:lnTo>
                    <a:pt x="4032" y="1560"/>
                  </a:lnTo>
                  <a:lnTo>
                    <a:pt x="4032" y="1572"/>
                  </a:lnTo>
                  <a:lnTo>
                    <a:pt x="4050" y="1560"/>
                  </a:lnTo>
                  <a:lnTo>
                    <a:pt x="4044" y="1536"/>
                  </a:lnTo>
                  <a:lnTo>
                    <a:pt x="4050" y="1530"/>
                  </a:lnTo>
                  <a:lnTo>
                    <a:pt x="4062" y="1524"/>
                  </a:lnTo>
                  <a:lnTo>
                    <a:pt x="4074" y="1512"/>
                  </a:lnTo>
                  <a:lnTo>
                    <a:pt x="4074" y="1506"/>
                  </a:lnTo>
                  <a:lnTo>
                    <a:pt x="4068" y="1500"/>
                  </a:lnTo>
                  <a:lnTo>
                    <a:pt x="4056" y="1494"/>
                  </a:lnTo>
                  <a:lnTo>
                    <a:pt x="4044" y="1494"/>
                  </a:lnTo>
                  <a:lnTo>
                    <a:pt x="4032" y="1488"/>
                  </a:lnTo>
                  <a:lnTo>
                    <a:pt x="4014" y="1488"/>
                  </a:lnTo>
                  <a:lnTo>
                    <a:pt x="4044" y="1488"/>
                  </a:lnTo>
                  <a:lnTo>
                    <a:pt x="4056" y="1482"/>
                  </a:lnTo>
                  <a:lnTo>
                    <a:pt x="4074" y="1482"/>
                  </a:lnTo>
                  <a:lnTo>
                    <a:pt x="4086" y="1470"/>
                  </a:lnTo>
                  <a:lnTo>
                    <a:pt x="4098" y="1446"/>
                  </a:lnTo>
                  <a:lnTo>
                    <a:pt x="4104" y="1440"/>
                  </a:lnTo>
                  <a:lnTo>
                    <a:pt x="4110" y="1440"/>
                  </a:lnTo>
                  <a:lnTo>
                    <a:pt x="4122" y="1434"/>
                  </a:lnTo>
                  <a:lnTo>
                    <a:pt x="4128" y="1434"/>
                  </a:lnTo>
                  <a:lnTo>
                    <a:pt x="4134" y="1428"/>
                  </a:lnTo>
                  <a:lnTo>
                    <a:pt x="4122" y="1416"/>
                  </a:lnTo>
                  <a:lnTo>
                    <a:pt x="4110" y="1422"/>
                  </a:lnTo>
                  <a:lnTo>
                    <a:pt x="4098" y="1434"/>
                  </a:lnTo>
                  <a:lnTo>
                    <a:pt x="4092" y="1404"/>
                  </a:lnTo>
                  <a:lnTo>
                    <a:pt x="4068" y="1404"/>
                  </a:lnTo>
                  <a:lnTo>
                    <a:pt x="4050" y="1410"/>
                  </a:lnTo>
                  <a:lnTo>
                    <a:pt x="4026" y="1410"/>
                  </a:lnTo>
                  <a:lnTo>
                    <a:pt x="4020" y="1404"/>
                  </a:lnTo>
                  <a:lnTo>
                    <a:pt x="4020" y="1386"/>
                  </a:lnTo>
                  <a:lnTo>
                    <a:pt x="4038" y="1368"/>
                  </a:lnTo>
                  <a:lnTo>
                    <a:pt x="4032" y="1362"/>
                  </a:lnTo>
                  <a:lnTo>
                    <a:pt x="4014" y="1362"/>
                  </a:lnTo>
                  <a:lnTo>
                    <a:pt x="4008" y="1368"/>
                  </a:lnTo>
                  <a:lnTo>
                    <a:pt x="4020" y="1344"/>
                  </a:lnTo>
                  <a:lnTo>
                    <a:pt x="3984" y="1350"/>
                  </a:lnTo>
                  <a:lnTo>
                    <a:pt x="3984" y="1326"/>
                  </a:lnTo>
                  <a:lnTo>
                    <a:pt x="3978" y="1314"/>
                  </a:lnTo>
                  <a:lnTo>
                    <a:pt x="3972" y="1308"/>
                  </a:lnTo>
                  <a:lnTo>
                    <a:pt x="3948" y="1308"/>
                  </a:lnTo>
                  <a:lnTo>
                    <a:pt x="3930" y="1314"/>
                  </a:lnTo>
                  <a:lnTo>
                    <a:pt x="3906" y="1326"/>
                  </a:lnTo>
                  <a:lnTo>
                    <a:pt x="3900" y="1332"/>
                  </a:lnTo>
                  <a:lnTo>
                    <a:pt x="3894" y="1332"/>
                  </a:lnTo>
                  <a:lnTo>
                    <a:pt x="3888" y="1326"/>
                  </a:lnTo>
                  <a:lnTo>
                    <a:pt x="3876" y="1320"/>
                  </a:lnTo>
                  <a:lnTo>
                    <a:pt x="3864" y="1320"/>
                  </a:lnTo>
                  <a:lnTo>
                    <a:pt x="3852" y="1326"/>
                  </a:lnTo>
                  <a:lnTo>
                    <a:pt x="3846" y="1326"/>
                  </a:lnTo>
                  <a:lnTo>
                    <a:pt x="3834" y="1332"/>
                  </a:lnTo>
                  <a:lnTo>
                    <a:pt x="3822" y="1326"/>
                  </a:lnTo>
                  <a:lnTo>
                    <a:pt x="3762" y="1302"/>
                  </a:lnTo>
                  <a:lnTo>
                    <a:pt x="3738" y="1302"/>
                  </a:lnTo>
                  <a:lnTo>
                    <a:pt x="3714" y="1314"/>
                  </a:lnTo>
                  <a:lnTo>
                    <a:pt x="3708" y="1326"/>
                  </a:lnTo>
                  <a:lnTo>
                    <a:pt x="3702" y="1326"/>
                  </a:lnTo>
                  <a:lnTo>
                    <a:pt x="3684" y="1344"/>
                  </a:lnTo>
                  <a:lnTo>
                    <a:pt x="3684" y="1350"/>
                  </a:lnTo>
                  <a:lnTo>
                    <a:pt x="3696" y="1356"/>
                  </a:lnTo>
                  <a:lnTo>
                    <a:pt x="3702" y="1362"/>
                  </a:lnTo>
                  <a:lnTo>
                    <a:pt x="3708" y="1374"/>
                  </a:lnTo>
                  <a:lnTo>
                    <a:pt x="3708" y="1380"/>
                  </a:lnTo>
                  <a:lnTo>
                    <a:pt x="3702" y="1386"/>
                  </a:lnTo>
                  <a:lnTo>
                    <a:pt x="3690" y="1392"/>
                  </a:lnTo>
                  <a:lnTo>
                    <a:pt x="3672" y="1410"/>
                  </a:lnTo>
                  <a:lnTo>
                    <a:pt x="3660" y="1416"/>
                  </a:lnTo>
                  <a:lnTo>
                    <a:pt x="3636" y="1422"/>
                  </a:lnTo>
                  <a:lnTo>
                    <a:pt x="3660" y="1440"/>
                  </a:lnTo>
                  <a:lnTo>
                    <a:pt x="3654" y="1446"/>
                  </a:lnTo>
                  <a:lnTo>
                    <a:pt x="3642" y="1446"/>
                  </a:lnTo>
                  <a:lnTo>
                    <a:pt x="3636" y="1452"/>
                  </a:lnTo>
                  <a:lnTo>
                    <a:pt x="3636" y="1470"/>
                  </a:lnTo>
                  <a:lnTo>
                    <a:pt x="3642" y="1482"/>
                  </a:lnTo>
                  <a:lnTo>
                    <a:pt x="3642" y="1488"/>
                  </a:lnTo>
                  <a:lnTo>
                    <a:pt x="3636" y="1500"/>
                  </a:lnTo>
                  <a:lnTo>
                    <a:pt x="3624" y="1506"/>
                  </a:lnTo>
                  <a:lnTo>
                    <a:pt x="3618" y="1512"/>
                  </a:lnTo>
                  <a:lnTo>
                    <a:pt x="3606" y="1512"/>
                  </a:lnTo>
                  <a:lnTo>
                    <a:pt x="3582" y="1524"/>
                  </a:lnTo>
                  <a:lnTo>
                    <a:pt x="3576" y="1536"/>
                  </a:lnTo>
                  <a:lnTo>
                    <a:pt x="3576" y="1548"/>
                  </a:lnTo>
                  <a:lnTo>
                    <a:pt x="3570" y="1548"/>
                  </a:lnTo>
                  <a:lnTo>
                    <a:pt x="3564" y="1554"/>
                  </a:lnTo>
                  <a:lnTo>
                    <a:pt x="3552" y="1554"/>
                  </a:lnTo>
                  <a:lnTo>
                    <a:pt x="3540" y="1560"/>
                  </a:lnTo>
                  <a:lnTo>
                    <a:pt x="3534" y="1566"/>
                  </a:lnTo>
                  <a:lnTo>
                    <a:pt x="3522" y="1572"/>
                  </a:lnTo>
                  <a:lnTo>
                    <a:pt x="3504" y="1590"/>
                  </a:lnTo>
                  <a:lnTo>
                    <a:pt x="3510" y="1596"/>
                  </a:lnTo>
                  <a:lnTo>
                    <a:pt x="3522" y="1602"/>
                  </a:lnTo>
                  <a:lnTo>
                    <a:pt x="3534" y="1614"/>
                  </a:lnTo>
                  <a:lnTo>
                    <a:pt x="3552" y="1620"/>
                  </a:lnTo>
                  <a:lnTo>
                    <a:pt x="3558" y="1632"/>
                  </a:lnTo>
                  <a:lnTo>
                    <a:pt x="3564" y="1638"/>
                  </a:lnTo>
                  <a:lnTo>
                    <a:pt x="3564" y="1662"/>
                  </a:lnTo>
                  <a:lnTo>
                    <a:pt x="3558" y="1698"/>
                  </a:lnTo>
                  <a:lnTo>
                    <a:pt x="3540" y="1746"/>
                  </a:lnTo>
                  <a:lnTo>
                    <a:pt x="3510" y="1776"/>
                  </a:lnTo>
                  <a:lnTo>
                    <a:pt x="3468" y="1800"/>
                  </a:lnTo>
                  <a:lnTo>
                    <a:pt x="3426" y="1830"/>
                  </a:lnTo>
                  <a:lnTo>
                    <a:pt x="3390" y="1854"/>
                  </a:lnTo>
                  <a:lnTo>
                    <a:pt x="3366" y="1860"/>
                  </a:lnTo>
                  <a:lnTo>
                    <a:pt x="3336" y="1860"/>
                  </a:lnTo>
                  <a:lnTo>
                    <a:pt x="3300" y="1866"/>
                  </a:lnTo>
                  <a:lnTo>
                    <a:pt x="3276" y="1872"/>
                  </a:lnTo>
                  <a:lnTo>
                    <a:pt x="3258" y="1878"/>
                  </a:lnTo>
                  <a:lnTo>
                    <a:pt x="3258" y="1902"/>
                  </a:lnTo>
                  <a:lnTo>
                    <a:pt x="3264" y="1914"/>
                  </a:lnTo>
                  <a:lnTo>
                    <a:pt x="3264" y="1926"/>
                  </a:lnTo>
                  <a:lnTo>
                    <a:pt x="3270" y="1938"/>
                  </a:lnTo>
                  <a:lnTo>
                    <a:pt x="3270" y="1950"/>
                  </a:lnTo>
                  <a:lnTo>
                    <a:pt x="3252" y="1968"/>
                  </a:lnTo>
                  <a:lnTo>
                    <a:pt x="3234" y="2004"/>
                  </a:lnTo>
                  <a:lnTo>
                    <a:pt x="3234" y="2076"/>
                  </a:lnTo>
                  <a:lnTo>
                    <a:pt x="3210" y="2088"/>
                  </a:lnTo>
                  <a:lnTo>
                    <a:pt x="3204" y="2094"/>
                  </a:lnTo>
                  <a:lnTo>
                    <a:pt x="3180" y="2106"/>
                  </a:lnTo>
                  <a:lnTo>
                    <a:pt x="3180" y="2142"/>
                  </a:lnTo>
                  <a:lnTo>
                    <a:pt x="3156" y="2166"/>
                  </a:lnTo>
                  <a:lnTo>
                    <a:pt x="3156" y="2154"/>
                  </a:lnTo>
                  <a:lnTo>
                    <a:pt x="3162" y="2148"/>
                  </a:lnTo>
                  <a:lnTo>
                    <a:pt x="3162" y="2142"/>
                  </a:lnTo>
                  <a:lnTo>
                    <a:pt x="3156" y="2130"/>
                  </a:lnTo>
                  <a:lnTo>
                    <a:pt x="3138" y="2130"/>
                  </a:lnTo>
                  <a:lnTo>
                    <a:pt x="3126" y="2136"/>
                  </a:lnTo>
                  <a:lnTo>
                    <a:pt x="3108" y="2154"/>
                  </a:lnTo>
                  <a:lnTo>
                    <a:pt x="3108" y="2166"/>
                  </a:lnTo>
                  <a:lnTo>
                    <a:pt x="3114" y="2178"/>
                  </a:lnTo>
                  <a:lnTo>
                    <a:pt x="3114" y="2190"/>
                  </a:lnTo>
                  <a:lnTo>
                    <a:pt x="3108" y="2196"/>
                  </a:lnTo>
                  <a:lnTo>
                    <a:pt x="3108" y="2178"/>
                  </a:lnTo>
                  <a:lnTo>
                    <a:pt x="3102" y="2166"/>
                  </a:lnTo>
                  <a:lnTo>
                    <a:pt x="3090" y="2154"/>
                  </a:lnTo>
                  <a:lnTo>
                    <a:pt x="3078" y="2154"/>
                  </a:lnTo>
                  <a:lnTo>
                    <a:pt x="3066" y="2160"/>
                  </a:lnTo>
                  <a:lnTo>
                    <a:pt x="3042" y="2160"/>
                  </a:lnTo>
                  <a:lnTo>
                    <a:pt x="3036" y="2166"/>
                  </a:lnTo>
                  <a:lnTo>
                    <a:pt x="3030" y="2166"/>
                  </a:lnTo>
                  <a:lnTo>
                    <a:pt x="3042" y="2160"/>
                  </a:lnTo>
                  <a:lnTo>
                    <a:pt x="3060" y="2142"/>
                  </a:lnTo>
                  <a:lnTo>
                    <a:pt x="3072" y="2136"/>
                  </a:lnTo>
                  <a:lnTo>
                    <a:pt x="3078" y="2124"/>
                  </a:lnTo>
                  <a:lnTo>
                    <a:pt x="3078" y="2118"/>
                  </a:lnTo>
                  <a:lnTo>
                    <a:pt x="3072" y="2106"/>
                  </a:lnTo>
                  <a:lnTo>
                    <a:pt x="3060" y="2100"/>
                  </a:lnTo>
                  <a:lnTo>
                    <a:pt x="3048" y="2088"/>
                  </a:lnTo>
                  <a:lnTo>
                    <a:pt x="3030" y="2088"/>
                  </a:lnTo>
                  <a:lnTo>
                    <a:pt x="3024" y="2082"/>
                  </a:lnTo>
                  <a:lnTo>
                    <a:pt x="3018" y="2082"/>
                  </a:lnTo>
                  <a:lnTo>
                    <a:pt x="3024" y="2082"/>
                  </a:lnTo>
                  <a:lnTo>
                    <a:pt x="3042" y="2064"/>
                  </a:lnTo>
                  <a:lnTo>
                    <a:pt x="3042" y="2058"/>
                  </a:lnTo>
                  <a:lnTo>
                    <a:pt x="3030" y="2034"/>
                  </a:lnTo>
                  <a:lnTo>
                    <a:pt x="3030" y="2028"/>
                  </a:lnTo>
                  <a:lnTo>
                    <a:pt x="3024" y="2016"/>
                  </a:lnTo>
                  <a:lnTo>
                    <a:pt x="3060" y="1992"/>
                  </a:lnTo>
                  <a:lnTo>
                    <a:pt x="3060" y="1968"/>
                  </a:lnTo>
                  <a:lnTo>
                    <a:pt x="3084" y="1956"/>
                  </a:lnTo>
                  <a:lnTo>
                    <a:pt x="3084" y="1914"/>
                  </a:lnTo>
                  <a:lnTo>
                    <a:pt x="3090" y="1914"/>
                  </a:lnTo>
                  <a:lnTo>
                    <a:pt x="3102" y="1902"/>
                  </a:lnTo>
                  <a:lnTo>
                    <a:pt x="3114" y="1896"/>
                  </a:lnTo>
                  <a:lnTo>
                    <a:pt x="3132" y="1878"/>
                  </a:lnTo>
                  <a:lnTo>
                    <a:pt x="3126" y="1866"/>
                  </a:lnTo>
                  <a:lnTo>
                    <a:pt x="3120" y="1860"/>
                  </a:lnTo>
                  <a:lnTo>
                    <a:pt x="3084" y="1848"/>
                  </a:lnTo>
                  <a:lnTo>
                    <a:pt x="2976" y="1848"/>
                  </a:lnTo>
                  <a:lnTo>
                    <a:pt x="2940" y="1860"/>
                  </a:lnTo>
                  <a:lnTo>
                    <a:pt x="2946" y="1848"/>
                  </a:lnTo>
                  <a:lnTo>
                    <a:pt x="2952" y="1842"/>
                  </a:lnTo>
                  <a:lnTo>
                    <a:pt x="2952" y="1830"/>
                  </a:lnTo>
                  <a:lnTo>
                    <a:pt x="2958" y="1824"/>
                  </a:lnTo>
                  <a:lnTo>
                    <a:pt x="2952" y="1818"/>
                  </a:lnTo>
                  <a:lnTo>
                    <a:pt x="2940" y="1812"/>
                  </a:lnTo>
                  <a:lnTo>
                    <a:pt x="2928" y="1812"/>
                  </a:lnTo>
                  <a:lnTo>
                    <a:pt x="2892" y="1800"/>
                  </a:lnTo>
                  <a:lnTo>
                    <a:pt x="2874" y="1800"/>
                  </a:lnTo>
                  <a:lnTo>
                    <a:pt x="2868" y="1794"/>
                  </a:lnTo>
                  <a:lnTo>
                    <a:pt x="2862" y="1794"/>
                  </a:lnTo>
                  <a:lnTo>
                    <a:pt x="2862" y="1770"/>
                  </a:lnTo>
                  <a:lnTo>
                    <a:pt x="2856" y="1752"/>
                  </a:lnTo>
                  <a:lnTo>
                    <a:pt x="2844" y="1740"/>
                  </a:lnTo>
                  <a:lnTo>
                    <a:pt x="2790" y="1722"/>
                  </a:lnTo>
                  <a:lnTo>
                    <a:pt x="2778" y="1722"/>
                  </a:lnTo>
                  <a:lnTo>
                    <a:pt x="2778" y="1716"/>
                  </a:lnTo>
                  <a:lnTo>
                    <a:pt x="2766" y="1704"/>
                  </a:lnTo>
                  <a:lnTo>
                    <a:pt x="2754" y="1704"/>
                  </a:lnTo>
                  <a:lnTo>
                    <a:pt x="2736" y="1698"/>
                  </a:lnTo>
                  <a:lnTo>
                    <a:pt x="2694" y="1698"/>
                  </a:lnTo>
                  <a:lnTo>
                    <a:pt x="2646" y="1704"/>
                  </a:lnTo>
                  <a:lnTo>
                    <a:pt x="2610" y="1716"/>
                  </a:lnTo>
                  <a:lnTo>
                    <a:pt x="2592" y="1716"/>
                  </a:lnTo>
                  <a:lnTo>
                    <a:pt x="2598" y="1716"/>
                  </a:lnTo>
                  <a:lnTo>
                    <a:pt x="2604" y="1710"/>
                  </a:lnTo>
                  <a:lnTo>
                    <a:pt x="2616" y="1710"/>
                  </a:lnTo>
                  <a:lnTo>
                    <a:pt x="2628" y="1704"/>
                  </a:lnTo>
                  <a:lnTo>
                    <a:pt x="2634" y="1692"/>
                  </a:lnTo>
                  <a:lnTo>
                    <a:pt x="2640" y="1686"/>
                  </a:lnTo>
                  <a:lnTo>
                    <a:pt x="2646" y="1662"/>
                  </a:lnTo>
                  <a:lnTo>
                    <a:pt x="2658" y="1632"/>
                  </a:lnTo>
                  <a:lnTo>
                    <a:pt x="2664" y="1602"/>
                  </a:lnTo>
                  <a:lnTo>
                    <a:pt x="2670" y="1590"/>
                  </a:lnTo>
                  <a:lnTo>
                    <a:pt x="2658" y="1590"/>
                  </a:lnTo>
                  <a:lnTo>
                    <a:pt x="2646" y="1584"/>
                  </a:lnTo>
                  <a:lnTo>
                    <a:pt x="2616" y="1584"/>
                  </a:lnTo>
                  <a:lnTo>
                    <a:pt x="2610" y="1590"/>
                  </a:lnTo>
                  <a:lnTo>
                    <a:pt x="2598" y="1596"/>
                  </a:lnTo>
                  <a:lnTo>
                    <a:pt x="2592" y="1602"/>
                  </a:lnTo>
                  <a:lnTo>
                    <a:pt x="2580" y="1608"/>
                  </a:lnTo>
                  <a:lnTo>
                    <a:pt x="2598" y="1578"/>
                  </a:lnTo>
                  <a:lnTo>
                    <a:pt x="2592" y="1560"/>
                  </a:lnTo>
                  <a:lnTo>
                    <a:pt x="2610" y="1542"/>
                  </a:lnTo>
                  <a:lnTo>
                    <a:pt x="2616" y="1530"/>
                  </a:lnTo>
                  <a:lnTo>
                    <a:pt x="2640" y="1506"/>
                  </a:lnTo>
                  <a:lnTo>
                    <a:pt x="2646" y="1494"/>
                  </a:lnTo>
                  <a:lnTo>
                    <a:pt x="2664" y="1476"/>
                  </a:lnTo>
                  <a:lnTo>
                    <a:pt x="2694" y="1452"/>
                  </a:lnTo>
                  <a:lnTo>
                    <a:pt x="2730" y="1428"/>
                  </a:lnTo>
                  <a:lnTo>
                    <a:pt x="2754" y="1410"/>
                  </a:lnTo>
                  <a:lnTo>
                    <a:pt x="2766" y="1404"/>
                  </a:lnTo>
                  <a:lnTo>
                    <a:pt x="2760" y="1392"/>
                  </a:lnTo>
                  <a:lnTo>
                    <a:pt x="2826" y="1368"/>
                  </a:lnTo>
                  <a:lnTo>
                    <a:pt x="2826" y="1350"/>
                  </a:lnTo>
                  <a:lnTo>
                    <a:pt x="2868" y="1344"/>
                  </a:lnTo>
                  <a:lnTo>
                    <a:pt x="2868" y="1326"/>
                  </a:lnTo>
                  <a:lnTo>
                    <a:pt x="2898" y="1320"/>
                  </a:lnTo>
                  <a:lnTo>
                    <a:pt x="2952" y="1284"/>
                  </a:lnTo>
                  <a:lnTo>
                    <a:pt x="3006" y="1284"/>
                  </a:lnTo>
                  <a:lnTo>
                    <a:pt x="3042" y="1278"/>
                  </a:lnTo>
                  <a:lnTo>
                    <a:pt x="3060" y="1266"/>
                  </a:lnTo>
                  <a:lnTo>
                    <a:pt x="3060" y="1254"/>
                  </a:lnTo>
                  <a:lnTo>
                    <a:pt x="3030" y="1224"/>
                  </a:lnTo>
                  <a:lnTo>
                    <a:pt x="2970" y="1230"/>
                  </a:lnTo>
                  <a:lnTo>
                    <a:pt x="2982" y="1218"/>
                  </a:lnTo>
                  <a:lnTo>
                    <a:pt x="2928" y="1194"/>
                  </a:lnTo>
                  <a:lnTo>
                    <a:pt x="2952" y="1188"/>
                  </a:lnTo>
                  <a:lnTo>
                    <a:pt x="3036" y="1212"/>
                  </a:lnTo>
                  <a:lnTo>
                    <a:pt x="3054" y="1230"/>
                  </a:lnTo>
                  <a:lnTo>
                    <a:pt x="3066" y="1236"/>
                  </a:lnTo>
                  <a:lnTo>
                    <a:pt x="3096" y="1236"/>
                  </a:lnTo>
                  <a:lnTo>
                    <a:pt x="3108" y="1230"/>
                  </a:lnTo>
                  <a:lnTo>
                    <a:pt x="3114" y="1218"/>
                  </a:lnTo>
                  <a:lnTo>
                    <a:pt x="3126" y="1206"/>
                  </a:lnTo>
                  <a:lnTo>
                    <a:pt x="3132" y="1194"/>
                  </a:lnTo>
                  <a:lnTo>
                    <a:pt x="3144" y="1188"/>
                  </a:lnTo>
                  <a:lnTo>
                    <a:pt x="3150" y="1182"/>
                  </a:lnTo>
                  <a:lnTo>
                    <a:pt x="3156" y="1182"/>
                  </a:lnTo>
                  <a:lnTo>
                    <a:pt x="3180" y="1194"/>
                  </a:lnTo>
                  <a:lnTo>
                    <a:pt x="3198" y="1200"/>
                  </a:lnTo>
                  <a:lnTo>
                    <a:pt x="3210" y="1200"/>
                  </a:lnTo>
                  <a:lnTo>
                    <a:pt x="3246" y="1182"/>
                  </a:lnTo>
                  <a:lnTo>
                    <a:pt x="3282" y="1170"/>
                  </a:lnTo>
                  <a:lnTo>
                    <a:pt x="3318" y="1152"/>
                  </a:lnTo>
                  <a:lnTo>
                    <a:pt x="3336" y="1146"/>
                  </a:lnTo>
                  <a:lnTo>
                    <a:pt x="3360" y="1134"/>
                  </a:lnTo>
                  <a:lnTo>
                    <a:pt x="3372" y="1122"/>
                  </a:lnTo>
                  <a:lnTo>
                    <a:pt x="3366" y="1116"/>
                  </a:lnTo>
                  <a:lnTo>
                    <a:pt x="3342" y="1110"/>
                  </a:lnTo>
                  <a:lnTo>
                    <a:pt x="3264" y="1110"/>
                  </a:lnTo>
                  <a:lnTo>
                    <a:pt x="3258" y="1086"/>
                  </a:lnTo>
                  <a:lnTo>
                    <a:pt x="3174" y="1056"/>
                  </a:lnTo>
                  <a:lnTo>
                    <a:pt x="3186" y="1056"/>
                  </a:lnTo>
                  <a:lnTo>
                    <a:pt x="3216" y="1050"/>
                  </a:lnTo>
                  <a:lnTo>
                    <a:pt x="3252" y="1050"/>
                  </a:lnTo>
                  <a:lnTo>
                    <a:pt x="3282" y="1056"/>
                  </a:lnTo>
                  <a:lnTo>
                    <a:pt x="3294" y="1062"/>
                  </a:lnTo>
                  <a:lnTo>
                    <a:pt x="3306" y="1074"/>
                  </a:lnTo>
                  <a:lnTo>
                    <a:pt x="3324" y="1086"/>
                  </a:lnTo>
                  <a:lnTo>
                    <a:pt x="3336" y="1098"/>
                  </a:lnTo>
                  <a:lnTo>
                    <a:pt x="3348" y="1104"/>
                  </a:lnTo>
                  <a:lnTo>
                    <a:pt x="3372" y="1098"/>
                  </a:lnTo>
                  <a:lnTo>
                    <a:pt x="3408" y="1080"/>
                  </a:lnTo>
                  <a:lnTo>
                    <a:pt x="3444" y="1068"/>
                  </a:lnTo>
                  <a:lnTo>
                    <a:pt x="3474" y="1050"/>
                  </a:lnTo>
                  <a:lnTo>
                    <a:pt x="3486" y="1044"/>
                  </a:lnTo>
                  <a:lnTo>
                    <a:pt x="3462" y="1032"/>
                  </a:lnTo>
                  <a:lnTo>
                    <a:pt x="3468" y="1026"/>
                  </a:lnTo>
                  <a:lnTo>
                    <a:pt x="3492" y="1014"/>
                  </a:lnTo>
                  <a:lnTo>
                    <a:pt x="3522" y="1014"/>
                  </a:lnTo>
                  <a:lnTo>
                    <a:pt x="3528" y="1020"/>
                  </a:lnTo>
                  <a:lnTo>
                    <a:pt x="3534" y="1032"/>
                  </a:lnTo>
                  <a:lnTo>
                    <a:pt x="3540" y="1038"/>
                  </a:lnTo>
                  <a:lnTo>
                    <a:pt x="3570" y="1050"/>
                  </a:lnTo>
                  <a:lnTo>
                    <a:pt x="3576" y="1026"/>
                  </a:lnTo>
                  <a:lnTo>
                    <a:pt x="3594" y="1044"/>
                  </a:lnTo>
                  <a:lnTo>
                    <a:pt x="3600" y="1038"/>
                  </a:lnTo>
                  <a:lnTo>
                    <a:pt x="3600" y="1026"/>
                  </a:lnTo>
                  <a:lnTo>
                    <a:pt x="3594" y="1014"/>
                  </a:lnTo>
                  <a:lnTo>
                    <a:pt x="3582" y="1002"/>
                  </a:lnTo>
                  <a:lnTo>
                    <a:pt x="3564" y="990"/>
                  </a:lnTo>
                  <a:lnTo>
                    <a:pt x="3606" y="984"/>
                  </a:lnTo>
                  <a:lnTo>
                    <a:pt x="3606" y="990"/>
                  </a:lnTo>
                  <a:lnTo>
                    <a:pt x="3612" y="996"/>
                  </a:lnTo>
                  <a:lnTo>
                    <a:pt x="3612" y="1008"/>
                  </a:lnTo>
                  <a:lnTo>
                    <a:pt x="3624" y="1032"/>
                  </a:lnTo>
                  <a:lnTo>
                    <a:pt x="3630" y="1038"/>
                  </a:lnTo>
                  <a:lnTo>
                    <a:pt x="3636" y="1038"/>
                  </a:lnTo>
                  <a:lnTo>
                    <a:pt x="3654" y="1032"/>
                  </a:lnTo>
                  <a:lnTo>
                    <a:pt x="3690" y="1026"/>
                  </a:lnTo>
                  <a:lnTo>
                    <a:pt x="3732" y="1008"/>
                  </a:lnTo>
                  <a:lnTo>
                    <a:pt x="3768" y="990"/>
                  </a:lnTo>
                  <a:lnTo>
                    <a:pt x="3798" y="972"/>
                  </a:lnTo>
                  <a:lnTo>
                    <a:pt x="3798" y="960"/>
                  </a:lnTo>
                  <a:lnTo>
                    <a:pt x="3786" y="942"/>
                  </a:lnTo>
                  <a:lnTo>
                    <a:pt x="3780" y="930"/>
                  </a:lnTo>
                  <a:lnTo>
                    <a:pt x="3774" y="912"/>
                  </a:lnTo>
                  <a:lnTo>
                    <a:pt x="3774" y="900"/>
                  </a:lnTo>
                  <a:lnTo>
                    <a:pt x="3780" y="894"/>
                  </a:lnTo>
                  <a:lnTo>
                    <a:pt x="3792" y="894"/>
                  </a:lnTo>
                  <a:lnTo>
                    <a:pt x="3804" y="888"/>
                  </a:lnTo>
                  <a:lnTo>
                    <a:pt x="3822" y="888"/>
                  </a:lnTo>
                  <a:lnTo>
                    <a:pt x="3840" y="882"/>
                  </a:lnTo>
                  <a:lnTo>
                    <a:pt x="3858" y="882"/>
                  </a:lnTo>
                  <a:lnTo>
                    <a:pt x="3864" y="876"/>
                  </a:lnTo>
                  <a:lnTo>
                    <a:pt x="3870" y="876"/>
                  </a:lnTo>
                  <a:lnTo>
                    <a:pt x="3870" y="858"/>
                  </a:lnTo>
                  <a:lnTo>
                    <a:pt x="3864" y="846"/>
                  </a:lnTo>
                  <a:lnTo>
                    <a:pt x="3864" y="840"/>
                  </a:lnTo>
                  <a:lnTo>
                    <a:pt x="3858" y="828"/>
                  </a:lnTo>
                  <a:lnTo>
                    <a:pt x="3840" y="804"/>
                  </a:lnTo>
                  <a:lnTo>
                    <a:pt x="3822" y="798"/>
                  </a:lnTo>
                  <a:lnTo>
                    <a:pt x="3786" y="792"/>
                  </a:lnTo>
                  <a:lnTo>
                    <a:pt x="3744" y="792"/>
                  </a:lnTo>
                  <a:lnTo>
                    <a:pt x="3708" y="804"/>
                  </a:lnTo>
                  <a:lnTo>
                    <a:pt x="3690" y="822"/>
                  </a:lnTo>
                  <a:lnTo>
                    <a:pt x="3690" y="840"/>
                  </a:lnTo>
                  <a:lnTo>
                    <a:pt x="3696" y="840"/>
                  </a:lnTo>
                  <a:lnTo>
                    <a:pt x="3702" y="846"/>
                  </a:lnTo>
                  <a:lnTo>
                    <a:pt x="3666" y="870"/>
                  </a:lnTo>
                  <a:lnTo>
                    <a:pt x="3642" y="870"/>
                  </a:lnTo>
                  <a:lnTo>
                    <a:pt x="3576" y="918"/>
                  </a:lnTo>
                  <a:lnTo>
                    <a:pt x="3552" y="930"/>
                  </a:lnTo>
                  <a:lnTo>
                    <a:pt x="3546" y="936"/>
                  </a:lnTo>
                  <a:lnTo>
                    <a:pt x="3540" y="948"/>
                  </a:lnTo>
                  <a:lnTo>
                    <a:pt x="3522" y="966"/>
                  </a:lnTo>
                  <a:lnTo>
                    <a:pt x="3492" y="966"/>
                  </a:lnTo>
                  <a:lnTo>
                    <a:pt x="3456" y="984"/>
                  </a:lnTo>
                  <a:lnTo>
                    <a:pt x="3456" y="972"/>
                  </a:lnTo>
                  <a:lnTo>
                    <a:pt x="3450" y="954"/>
                  </a:lnTo>
                  <a:lnTo>
                    <a:pt x="3450" y="918"/>
                  </a:lnTo>
                  <a:lnTo>
                    <a:pt x="3456" y="912"/>
                  </a:lnTo>
                  <a:lnTo>
                    <a:pt x="3480" y="900"/>
                  </a:lnTo>
                  <a:lnTo>
                    <a:pt x="3498" y="900"/>
                  </a:lnTo>
                  <a:lnTo>
                    <a:pt x="3510" y="894"/>
                  </a:lnTo>
                  <a:lnTo>
                    <a:pt x="3516" y="882"/>
                  </a:lnTo>
                  <a:lnTo>
                    <a:pt x="3516" y="870"/>
                  </a:lnTo>
                  <a:lnTo>
                    <a:pt x="3510" y="852"/>
                  </a:lnTo>
                  <a:lnTo>
                    <a:pt x="3504" y="846"/>
                  </a:lnTo>
                  <a:lnTo>
                    <a:pt x="3498" y="834"/>
                  </a:lnTo>
                  <a:lnTo>
                    <a:pt x="3486" y="834"/>
                  </a:lnTo>
                  <a:lnTo>
                    <a:pt x="3450" y="852"/>
                  </a:lnTo>
                  <a:lnTo>
                    <a:pt x="3432" y="858"/>
                  </a:lnTo>
                  <a:lnTo>
                    <a:pt x="3420" y="864"/>
                  </a:lnTo>
                  <a:lnTo>
                    <a:pt x="3414" y="870"/>
                  </a:lnTo>
                  <a:lnTo>
                    <a:pt x="3408" y="870"/>
                  </a:lnTo>
                  <a:lnTo>
                    <a:pt x="3378" y="900"/>
                  </a:lnTo>
                  <a:lnTo>
                    <a:pt x="3372" y="888"/>
                  </a:lnTo>
                  <a:lnTo>
                    <a:pt x="3396" y="858"/>
                  </a:lnTo>
                  <a:lnTo>
                    <a:pt x="3396" y="840"/>
                  </a:lnTo>
                  <a:lnTo>
                    <a:pt x="3438" y="822"/>
                  </a:lnTo>
                  <a:lnTo>
                    <a:pt x="3402" y="816"/>
                  </a:lnTo>
                  <a:lnTo>
                    <a:pt x="3408" y="804"/>
                  </a:lnTo>
                  <a:lnTo>
                    <a:pt x="3360" y="816"/>
                  </a:lnTo>
                  <a:lnTo>
                    <a:pt x="3336" y="804"/>
                  </a:lnTo>
                  <a:lnTo>
                    <a:pt x="3378" y="792"/>
                  </a:lnTo>
                  <a:lnTo>
                    <a:pt x="3378" y="774"/>
                  </a:lnTo>
                  <a:lnTo>
                    <a:pt x="3390" y="774"/>
                  </a:lnTo>
                  <a:lnTo>
                    <a:pt x="3396" y="780"/>
                  </a:lnTo>
                  <a:lnTo>
                    <a:pt x="3420" y="780"/>
                  </a:lnTo>
                  <a:lnTo>
                    <a:pt x="3426" y="774"/>
                  </a:lnTo>
                  <a:lnTo>
                    <a:pt x="3426" y="762"/>
                  </a:lnTo>
                  <a:lnTo>
                    <a:pt x="3420" y="756"/>
                  </a:lnTo>
                  <a:lnTo>
                    <a:pt x="3408" y="756"/>
                  </a:lnTo>
                  <a:lnTo>
                    <a:pt x="3396" y="744"/>
                  </a:lnTo>
                  <a:lnTo>
                    <a:pt x="3396" y="738"/>
                  </a:lnTo>
                  <a:lnTo>
                    <a:pt x="3420" y="690"/>
                  </a:lnTo>
                  <a:lnTo>
                    <a:pt x="3426" y="684"/>
                  </a:lnTo>
                  <a:lnTo>
                    <a:pt x="3426" y="672"/>
                  </a:lnTo>
                  <a:lnTo>
                    <a:pt x="3420" y="666"/>
                  </a:lnTo>
                  <a:lnTo>
                    <a:pt x="3414" y="666"/>
                  </a:lnTo>
                  <a:lnTo>
                    <a:pt x="3372" y="648"/>
                  </a:lnTo>
                  <a:lnTo>
                    <a:pt x="3348" y="660"/>
                  </a:lnTo>
                  <a:lnTo>
                    <a:pt x="3336" y="660"/>
                  </a:lnTo>
                  <a:lnTo>
                    <a:pt x="3318" y="666"/>
                  </a:lnTo>
                  <a:lnTo>
                    <a:pt x="3312" y="666"/>
                  </a:lnTo>
                  <a:lnTo>
                    <a:pt x="3306" y="672"/>
                  </a:lnTo>
                  <a:lnTo>
                    <a:pt x="3306" y="690"/>
                  </a:lnTo>
                  <a:lnTo>
                    <a:pt x="3240" y="690"/>
                  </a:lnTo>
                  <a:lnTo>
                    <a:pt x="3228" y="696"/>
                  </a:lnTo>
                  <a:lnTo>
                    <a:pt x="3222" y="702"/>
                  </a:lnTo>
                  <a:lnTo>
                    <a:pt x="3210" y="708"/>
                  </a:lnTo>
                  <a:lnTo>
                    <a:pt x="3198" y="720"/>
                  </a:lnTo>
                  <a:lnTo>
                    <a:pt x="3204" y="726"/>
                  </a:lnTo>
                  <a:lnTo>
                    <a:pt x="3216" y="732"/>
                  </a:lnTo>
                  <a:lnTo>
                    <a:pt x="3228" y="732"/>
                  </a:lnTo>
                  <a:lnTo>
                    <a:pt x="3234" y="738"/>
                  </a:lnTo>
                  <a:lnTo>
                    <a:pt x="3228" y="738"/>
                  </a:lnTo>
                  <a:lnTo>
                    <a:pt x="3222" y="744"/>
                  </a:lnTo>
                  <a:lnTo>
                    <a:pt x="3204" y="744"/>
                  </a:lnTo>
                  <a:lnTo>
                    <a:pt x="3180" y="756"/>
                  </a:lnTo>
                  <a:lnTo>
                    <a:pt x="3168" y="768"/>
                  </a:lnTo>
                  <a:lnTo>
                    <a:pt x="3168" y="774"/>
                  </a:lnTo>
                  <a:lnTo>
                    <a:pt x="3174" y="786"/>
                  </a:lnTo>
                  <a:lnTo>
                    <a:pt x="3186" y="798"/>
                  </a:lnTo>
                  <a:lnTo>
                    <a:pt x="3198" y="804"/>
                  </a:lnTo>
                  <a:lnTo>
                    <a:pt x="3204" y="810"/>
                  </a:lnTo>
                  <a:lnTo>
                    <a:pt x="3210" y="810"/>
                  </a:lnTo>
                  <a:lnTo>
                    <a:pt x="3234" y="798"/>
                  </a:lnTo>
                  <a:lnTo>
                    <a:pt x="3234" y="822"/>
                  </a:lnTo>
                  <a:lnTo>
                    <a:pt x="3240" y="828"/>
                  </a:lnTo>
                  <a:lnTo>
                    <a:pt x="3246" y="828"/>
                  </a:lnTo>
                  <a:lnTo>
                    <a:pt x="3258" y="822"/>
                  </a:lnTo>
                  <a:lnTo>
                    <a:pt x="3282" y="822"/>
                  </a:lnTo>
                  <a:lnTo>
                    <a:pt x="3276" y="828"/>
                  </a:lnTo>
                  <a:lnTo>
                    <a:pt x="3252" y="840"/>
                  </a:lnTo>
                  <a:lnTo>
                    <a:pt x="3246" y="840"/>
                  </a:lnTo>
                  <a:lnTo>
                    <a:pt x="3228" y="828"/>
                  </a:lnTo>
                  <a:lnTo>
                    <a:pt x="3222" y="846"/>
                  </a:lnTo>
                  <a:lnTo>
                    <a:pt x="3204" y="846"/>
                  </a:lnTo>
                  <a:lnTo>
                    <a:pt x="3192" y="852"/>
                  </a:lnTo>
                  <a:lnTo>
                    <a:pt x="3186" y="852"/>
                  </a:lnTo>
                  <a:lnTo>
                    <a:pt x="3180" y="858"/>
                  </a:lnTo>
                  <a:lnTo>
                    <a:pt x="3204" y="858"/>
                  </a:lnTo>
                  <a:lnTo>
                    <a:pt x="3228" y="846"/>
                  </a:lnTo>
                  <a:lnTo>
                    <a:pt x="3240" y="846"/>
                  </a:lnTo>
                  <a:lnTo>
                    <a:pt x="3240" y="852"/>
                  </a:lnTo>
                  <a:lnTo>
                    <a:pt x="3228" y="870"/>
                  </a:lnTo>
                  <a:lnTo>
                    <a:pt x="3210" y="882"/>
                  </a:lnTo>
                  <a:lnTo>
                    <a:pt x="3198" y="888"/>
                  </a:lnTo>
                  <a:lnTo>
                    <a:pt x="3180" y="894"/>
                  </a:lnTo>
                  <a:lnTo>
                    <a:pt x="3168" y="900"/>
                  </a:lnTo>
                  <a:lnTo>
                    <a:pt x="3162" y="906"/>
                  </a:lnTo>
                  <a:lnTo>
                    <a:pt x="3138" y="918"/>
                  </a:lnTo>
                  <a:lnTo>
                    <a:pt x="3132" y="924"/>
                  </a:lnTo>
                  <a:lnTo>
                    <a:pt x="3120" y="918"/>
                  </a:lnTo>
                  <a:lnTo>
                    <a:pt x="3114" y="918"/>
                  </a:lnTo>
                  <a:lnTo>
                    <a:pt x="3102" y="912"/>
                  </a:lnTo>
                  <a:lnTo>
                    <a:pt x="3090" y="912"/>
                  </a:lnTo>
                  <a:lnTo>
                    <a:pt x="3072" y="930"/>
                  </a:lnTo>
                  <a:lnTo>
                    <a:pt x="3060" y="936"/>
                  </a:lnTo>
                  <a:lnTo>
                    <a:pt x="3054" y="948"/>
                  </a:lnTo>
                  <a:lnTo>
                    <a:pt x="3054" y="972"/>
                  </a:lnTo>
                  <a:lnTo>
                    <a:pt x="3048" y="978"/>
                  </a:lnTo>
                  <a:lnTo>
                    <a:pt x="3042" y="966"/>
                  </a:lnTo>
                  <a:lnTo>
                    <a:pt x="3030" y="966"/>
                  </a:lnTo>
                  <a:lnTo>
                    <a:pt x="3018" y="960"/>
                  </a:lnTo>
                  <a:lnTo>
                    <a:pt x="3012" y="960"/>
                  </a:lnTo>
                  <a:lnTo>
                    <a:pt x="3006" y="954"/>
                  </a:lnTo>
                  <a:lnTo>
                    <a:pt x="3030" y="930"/>
                  </a:lnTo>
                  <a:lnTo>
                    <a:pt x="3042" y="924"/>
                  </a:lnTo>
                  <a:lnTo>
                    <a:pt x="3060" y="906"/>
                  </a:lnTo>
                  <a:lnTo>
                    <a:pt x="3072" y="900"/>
                  </a:lnTo>
                  <a:lnTo>
                    <a:pt x="3036" y="900"/>
                  </a:lnTo>
                  <a:lnTo>
                    <a:pt x="3030" y="888"/>
                  </a:lnTo>
                  <a:lnTo>
                    <a:pt x="3018" y="882"/>
                  </a:lnTo>
                  <a:lnTo>
                    <a:pt x="2994" y="882"/>
                  </a:lnTo>
                  <a:lnTo>
                    <a:pt x="2988" y="888"/>
                  </a:lnTo>
                  <a:lnTo>
                    <a:pt x="2946" y="888"/>
                  </a:lnTo>
                  <a:lnTo>
                    <a:pt x="2946" y="894"/>
                  </a:lnTo>
                  <a:lnTo>
                    <a:pt x="2940" y="906"/>
                  </a:lnTo>
                  <a:lnTo>
                    <a:pt x="2940" y="918"/>
                  </a:lnTo>
                  <a:lnTo>
                    <a:pt x="2946" y="918"/>
                  </a:lnTo>
                  <a:lnTo>
                    <a:pt x="2952" y="924"/>
                  </a:lnTo>
                  <a:lnTo>
                    <a:pt x="2964" y="924"/>
                  </a:lnTo>
                  <a:lnTo>
                    <a:pt x="2976" y="936"/>
                  </a:lnTo>
                  <a:lnTo>
                    <a:pt x="2982" y="936"/>
                  </a:lnTo>
                  <a:lnTo>
                    <a:pt x="2976" y="942"/>
                  </a:lnTo>
                  <a:lnTo>
                    <a:pt x="2958" y="942"/>
                  </a:lnTo>
                  <a:lnTo>
                    <a:pt x="2952" y="936"/>
                  </a:lnTo>
                  <a:lnTo>
                    <a:pt x="2940" y="930"/>
                  </a:lnTo>
                  <a:lnTo>
                    <a:pt x="2934" y="924"/>
                  </a:lnTo>
                  <a:lnTo>
                    <a:pt x="2916" y="912"/>
                  </a:lnTo>
                  <a:lnTo>
                    <a:pt x="2910" y="942"/>
                  </a:lnTo>
                  <a:lnTo>
                    <a:pt x="2904" y="942"/>
                  </a:lnTo>
                  <a:lnTo>
                    <a:pt x="2898" y="948"/>
                  </a:lnTo>
                  <a:lnTo>
                    <a:pt x="2862" y="948"/>
                  </a:lnTo>
                  <a:lnTo>
                    <a:pt x="2844" y="942"/>
                  </a:lnTo>
                  <a:lnTo>
                    <a:pt x="2826" y="942"/>
                  </a:lnTo>
                  <a:lnTo>
                    <a:pt x="2808" y="936"/>
                  </a:lnTo>
                  <a:lnTo>
                    <a:pt x="2718" y="936"/>
                  </a:lnTo>
                  <a:lnTo>
                    <a:pt x="2706" y="930"/>
                  </a:lnTo>
                  <a:lnTo>
                    <a:pt x="2700" y="918"/>
                  </a:lnTo>
                  <a:lnTo>
                    <a:pt x="2688" y="912"/>
                  </a:lnTo>
                  <a:lnTo>
                    <a:pt x="2628" y="918"/>
                  </a:lnTo>
                  <a:lnTo>
                    <a:pt x="2622" y="912"/>
                  </a:lnTo>
                  <a:lnTo>
                    <a:pt x="2616" y="900"/>
                  </a:lnTo>
                  <a:lnTo>
                    <a:pt x="2604" y="894"/>
                  </a:lnTo>
                  <a:lnTo>
                    <a:pt x="2598" y="894"/>
                  </a:lnTo>
                  <a:lnTo>
                    <a:pt x="2586" y="888"/>
                  </a:lnTo>
                  <a:lnTo>
                    <a:pt x="2568" y="888"/>
                  </a:lnTo>
                  <a:lnTo>
                    <a:pt x="2556" y="894"/>
                  </a:lnTo>
                  <a:lnTo>
                    <a:pt x="2538" y="900"/>
                  </a:lnTo>
                  <a:lnTo>
                    <a:pt x="2532" y="906"/>
                  </a:lnTo>
                  <a:lnTo>
                    <a:pt x="2526" y="906"/>
                  </a:lnTo>
                  <a:lnTo>
                    <a:pt x="2526" y="912"/>
                  </a:lnTo>
                  <a:lnTo>
                    <a:pt x="2484" y="912"/>
                  </a:lnTo>
                  <a:lnTo>
                    <a:pt x="2472" y="906"/>
                  </a:lnTo>
                  <a:lnTo>
                    <a:pt x="2442" y="906"/>
                  </a:lnTo>
                  <a:lnTo>
                    <a:pt x="2430" y="918"/>
                  </a:lnTo>
                  <a:lnTo>
                    <a:pt x="2430" y="930"/>
                  </a:lnTo>
                  <a:lnTo>
                    <a:pt x="2418" y="954"/>
                  </a:lnTo>
                  <a:lnTo>
                    <a:pt x="2412" y="960"/>
                  </a:lnTo>
                  <a:lnTo>
                    <a:pt x="2412" y="966"/>
                  </a:lnTo>
                  <a:lnTo>
                    <a:pt x="2400" y="996"/>
                  </a:lnTo>
                  <a:lnTo>
                    <a:pt x="2364" y="996"/>
                  </a:lnTo>
                  <a:lnTo>
                    <a:pt x="2358" y="1026"/>
                  </a:lnTo>
                  <a:lnTo>
                    <a:pt x="2334" y="978"/>
                  </a:lnTo>
                  <a:lnTo>
                    <a:pt x="2340" y="978"/>
                  </a:lnTo>
                  <a:lnTo>
                    <a:pt x="2352" y="984"/>
                  </a:lnTo>
                  <a:lnTo>
                    <a:pt x="2376" y="984"/>
                  </a:lnTo>
                  <a:lnTo>
                    <a:pt x="2388" y="972"/>
                  </a:lnTo>
                  <a:lnTo>
                    <a:pt x="2358" y="942"/>
                  </a:lnTo>
                  <a:lnTo>
                    <a:pt x="2340" y="942"/>
                  </a:lnTo>
                  <a:lnTo>
                    <a:pt x="2328" y="936"/>
                  </a:lnTo>
                  <a:lnTo>
                    <a:pt x="2316" y="936"/>
                  </a:lnTo>
                  <a:lnTo>
                    <a:pt x="2322" y="918"/>
                  </a:lnTo>
                  <a:lnTo>
                    <a:pt x="2304" y="924"/>
                  </a:lnTo>
                  <a:lnTo>
                    <a:pt x="2262" y="930"/>
                  </a:lnTo>
                  <a:lnTo>
                    <a:pt x="2208" y="936"/>
                  </a:lnTo>
                  <a:lnTo>
                    <a:pt x="2160" y="942"/>
                  </a:lnTo>
                  <a:lnTo>
                    <a:pt x="2112" y="942"/>
                  </a:lnTo>
                  <a:lnTo>
                    <a:pt x="2064" y="936"/>
                  </a:lnTo>
                  <a:lnTo>
                    <a:pt x="2034" y="930"/>
                  </a:lnTo>
                  <a:lnTo>
                    <a:pt x="2028" y="924"/>
                  </a:lnTo>
                  <a:lnTo>
                    <a:pt x="2052" y="918"/>
                  </a:lnTo>
                  <a:lnTo>
                    <a:pt x="2082" y="918"/>
                  </a:lnTo>
                  <a:lnTo>
                    <a:pt x="2118" y="912"/>
                  </a:lnTo>
                  <a:lnTo>
                    <a:pt x="2142" y="900"/>
                  </a:lnTo>
                  <a:lnTo>
                    <a:pt x="2142" y="888"/>
                  </a:lnTo>
                  <a:lnTo>
                    <a:pt x="2112" y="864"/>
                  </a:lnTo>
                  <a:lnTo>
                    <a:pt x="2082" y="852"/>
                  </a:lnTo>
                  <a:lnTo>
                    <a:pt x="2004" y="852"/>
                  </a:lnTo>
                  <a:lnTo>
                    <a:pt x="1968" y="840"/>
                  </a:lnTo>
                  <a:lnTo>
                    <a:pt x="1944" y="834"/>
                  </a:lnTo>
                  <a:lnTo>
                    <a:pt x="1938" y="828"/>
                  </a:lnTo>
                  <a:lnTo>
                    <a:pt x="1908" y="828"/>
                  </a:lnTo>
                  <a:lnTo>
                    <a:pt x="1896" y="822"/>
                  </a:lnTo>
                  <a:lnTo>
                    <a:pt x="1866" y="804"/>
                  </a:lnTo>
                  <a:lnTo>
                    <a:pt x="1836" y="792"/>
                  </a:lnTo>
                  <a:lnTo>
                    <a:pt x="1812" y="786"/>
                  </a:lnTo>
                  <a:lnTo>
                    <a:pt x="1800" y="792"/>
                  </a:lnTo>
                  <a:lnTo>
                    <a:pt x="1782" y="798"/>
                  </a:lnTo>
                  <a:lnTo>
                    <a:pt x="1770" y="804"/>
                  </a:lnTo>
                  <a:lnTo>
                    <a:pt x="1758" y="816"/>
                  </a:lnTo>
                  <a:lnTo>
                    <a:pt x="1734" y="828"/>
                  </a:lnTo>
                  <a:lnTo>
                    <a:pt x="1680" y="828"/>
                  </a:lnTo>
                  <a:lnTo>
                    <a:pt x="1710" y="810"/>
                  </a:lnTo>
                  <a:lnTo>
                    <a:pt x="1710" y="798"/>
                  </a:lnTo>
                  <a:lnTo>
                    <a:pt x="1734" y="768"/>
                  </a:lnTo>
                  <a:lnTo>
                    <a:pt x="1728" y="768"/>
                  </a:lnTo>
                  <a:lnTo>
                    <a:pt x="1722" y="774"/>
                  </a:lnTo>
                  <a:lnTo>
                    <a:pt x="1674" y="798"/>
                  </a:lnTo>
                  <a:lnTo>
                    <a:pt x="1650" y="822"/>
                  </a:lnTo>
                  <a:lnTo>
                    <a:pt x="1638" y="828"/>
                  </a:lnTo>
                  <a:lnTo>
                    <a:pt x="1620" y="834"/>
                  </a:lnTo>
                  <a:lnTo>
                    <a:pt x="1608" y="828"/>
                  </a:lnTo>
                  <a:lnTo>
                    <a:pt x="1602" y="816"/>
                  </a:lnTo>
                  <a:lnTo>
                    <a:pt x="1602" y="798"/>
                  </a:lnTo>
                  <a:lnTo>
                    <a:pt x="1614" y="774"/>
                  </a:lnTo>
                  <a:lnTo>
                    <a:pt x="1614" y="762"/>
                  </a:lnTo>
                  <a:lnTo>
                    <a:pt x="1608" y="750"/>
                  </a:lnTo>
                  <a:lnTo>
                    <a:pt x="1596" y="744"/>
                  </a:lnTo>
                  <a:lnTo>
                    <a:pt x="1590" y="738"/>
                  </a:lnTo>
                  <a:lnTo>
                    <a:pt x="1578" y="738"/>
                  </a:lnTo>
                  <a:lnTo>
                    <a:pt x="1572" y="744"/>
                  </a:lnTo>
                  <a:lnTo>
                    <a:pt x="1572" y="750"/>
                  </a:lnTo>
                  <a:lnTo>
                    <a:pt x="1578" y="762"/>
                  </a:lnTo>
                  <a:lnTo>
                    <a:pt x="1584" y="768"/>
                  </a:lnTo>
                  <a:lnTo>
                    <a:pt x="1542" y="768"/>
                  </a:lnTo>
                  <a:lnTo>
                    <a:pt x="1530" y="774"/>
                  </a:lnTo>
                  <a:lnTo>
                    <a:pt x="1512" y="780"/>
                  </a:lnTo>
                  <a:lnTo>
                    <a:pt x="1494" y="798"/>
                  </a:lnTo>
                  <a:lnTo>
                    <a:pt x="1446" y="798"/>
                  </a:lnTo>
                  <a:lnTo>
                    <a:pt x="1428" y="804"/>
                  </a:lnTo>
                  <a:lnTo>
                    <a:pt x="1416" y="804"/>
                  </a:lnTo>
                  <a:lnTo>
                    <a:pt x="1398" y="810"/>
                  </a:lnTo>
                  <a:lnTo>
                    <a:pt x="1380" y="810"/>
                  </a:lnTo>
                  <a:lnTo>
                    <a:pt x="1374" y="816"/>
                  </a:lnTo>
                  <a:lnTo>
                    <a:pt x="1368" y="816"/>
                  </a:lnTo>
                  <a:lnTo>
                    <a:pt x="1356" y="822"/>
                  </a:lnTo>
                  <a:lnTo>
                    <a:pt x="1350" y="828"/>
                  </a:lnTo>
                  <a:lnTo>
                    <a:pt x="1338" y="834"/>
                  </a:lnTo>
                  <a:lnTo>
                    <a:pt x="1314" y="816"/>
                  </a:lnTo>
                  <a:lnTo>
                    <a:pt x="1302" y="822"/>
                  </a:lnTo>
                  <a:lnTo>
                    <a:pt x="1296" y="828"/>
                  </a:lnTo>
                  <a:lnTo>
                    <a:pt x="1272" y="840"/>
                  </a:lnTo>
                  <a:lnTo>
                    <a:pt x="1260" y="840"/>
                  </a:lnTo>
                  <a:lnTo>
                    <a:pt x="1254" y="846"/>
                  </a:lnTo>
                  <a:lnTo>
                    <a:pt x="1242" y="846"/>
                  </a:lnTo>
                  <a:lnTo>
                    <a:pt x="1230" y="852"/>
                  </a:lnTo>
                  <a:lnTo>
                    <a:pt x="1224" y="858"/>
                  </a:lnTo>
                  <a:lnTo>
                    <a:pt x="1212" y="864"/>
                  </a:lnTo>
                  <a:lnTo>
                    <a:pt x="1176" y="864"/>
                  </a:lnTo>
                  <a:lnTo>
                    <a:pt x="1188" y="858"/>
                  </a:lnTo>
                  <a:lnTo>
                    <a:pt x="1194" y="846"/>
                  </a:lnTo>
                  <a:lnTo>
                    <a:pt x="1212" y="840"/>
                  </a:lnTo>
                  <a:lnTo>
                    <a:pt x="1236" y="828"/>
                  </a:lnTo>
                  <a:lnTo>
                    <a:pt x="1254" y="828"/>
                  </a:lnTo>
                  <a:lnTo>
                    <a:pt x="1266" y="822"/>
                  </a:lnTo>
                  <a:lnTo>
                    <a:pt x="1284" y="816"/>
                  </a:lnTo>
                  <a:lnTo>
                    <a:pt x="1290" y="810"/>
                  </a:lnTo>
                  <a:lnTo>
                    <a:pt x="1362" y="810"/>
                  </a:lnTo>
                  <a:lnTo>
                    <a:pt x="1386" y="798"/>
                  </a:lnTo>
                  <a:lnTo>
                    <a:pt x="1422" y="792"/>
                  </a:lnTo>
                  <a:lnTo>
                    <a:pt x="1458" y="780"/>
                  </a:lnTo>
                  <a:lnTo>
                    <a:pt x="1470" y="780"/>
                  </a:lnTo>
                  <a:lnTo>
                    <a:pt x="1476" y="774"/>
                  </a:lnTo>
                  <a:lnTo>
                    <a:pt x="1482" y="774"/>
                  </a:lnTo>
                  <a:lnTo>
                    <a:pt x="1476" y="768"/>
                  </a:lnTo>
                  <a:lnTo>
                    <a:pt x="1410" y="768"/>
                  </a:lnTo>
                  <a:lnTo>
                    <a:pt x="1398" y="774"/>
                  </a:lnTo>
                  <a:lnTo>
                    <a:pt x="1392" y="774"/>
                  </a:lnTo>
                  <a:lnTo>
                    <a:pt x="1380" y="780"/>
                  </a:lnTo>
                  <a:lnTo>
                    <a:pt x="1374" y="786"/>
                  </a:lnTo>
                  <a:lnTo>
                    <a:pt x="1368" y="786"/>
                  </a:lnTo>
                  <a:lnTo>
                    <a:pt x="1362" y="792"/>
                  </a:lnTo>
                  <a:lnTo>
                    <a:pt x="1278" y="792"/>
                  </a:lnTo>
                  <a:lnTo>
                    <a:pt x="1254" y="804"/>
                  </a:lnTo>
                  <a:lnTo>
                    <a:pt x="1248" y="810"/>
                  </a:lnTo>
                  <a:lnTo>
                    <a:pt x="1236" y="816"/>
                  </a:lnTo>
                  <a:lnTo>
                    <a:pt x="1230" y="822"/>
                  </a:lnTo>
                  <a:lnTo>
                    <a:pt x="1212" y="822"/>
                  </a:lnTo>
                  <a:lnTo>
                    <a:pt x="1158" y="846"/>
                  </a:lnTo>
                  <a:lnTo>
                    <a:pt x="1140" y="846"/>
                  </a:lnTo>
                  <a:lnTo>
                    <a:pt x="1128" y="858"/>
                  </a:lnTo>
                  <a:lnTo>
                    <a:pt x="1122" y="870"/>
                  </a:lnTo>
                  <a:lnTo>
                    <a:pt x="1122" y="876"/>
                  </a:lnTo>
                  <a:lnTo>
                    <a:pt x="1116" y="876"/>
                  </a:lnTo>
                  <a:lnTo>
                    <a:pt x="1110" y="870"/>
                  </a:lnTo>
                  <a:lnTo>
                    <a:pt x="1110" y="846"/>
                  </a:lnTo>
                  <a:lnTo>
                    <a:pt x="1116" y="846"/>
                  </a:lnTo>
                  <a:lnTo>
                    <a:pt x="1152" y="834"/>
                  </a:lnTo>
                  <a:lnTo>
                    <a:pt x="1176" y="822"/>
                  </a:lnTo>
                  <a:lnTo>
                    <a:pt x="1194" y="816"/>
                  </a:lnTo>
                  <a:lnTo>
                    <a:pt x="1188" y="810"/>
                  </a:lnTo>
                  <a:lnTo>
                    <a:pt x="1176" y="810"/>
                  </a:lnTo>
                  <a:lnTo>
                    <a:pt x="1164" y="804"/>
                  </a:lnTo>
                  <a:lnTo>
                    <a:pt x="1140" y="804"/>
                  </a:lnTo>
                  <a:lnTo>
                    <a:pt x="1122" y="822"/>
                  </a:lnTo>
                  <a:lnTo>
                    <a:pt x="1110" y="828"/>
                  </a:lnTo>
                  <a:lnTo>
                    <a:pt x="1092" y="828"/>
                  </a:lnTo>
                  <a:lnTo>
                    <a:pt x="1080" y="834"/>
                  </a:lnTo>
                  <a:lnTo>
                    <a:pt x="1068" y="834"/>
                  </a:lnTo>
                  <a:lnTo>
                    <a:pt x="1068" y="840"/>
                  </a:lnTo>
                  <a:lnTo>
                    <a:pt x="1062" y="846"/>
                  </a:lnTo>
                  <a:lnTo>
                    <a:pt x="1062" y="876"/>
                  </a:lnTo>
                  <a:lnTo>
                    <a:pt x="1038" y="858"/>
                  </a:lnTo>
                  <a:lnTo>
                    <a:pt x="972" y="852"/>
                  </a:lnTo>
                  <a:lnTo>
                    <a:pt x="960" y="846"/>
                  </a:lnTo>
                  <a:lnTo>
                    <a:pt x="948" y="834"/>
                  </a:lnTo>
                  <a:lnTo>
                    <a:pt x="936" y="834"/>
                  </a:lnTo>
                  <a:lnTo>
                    <a:pt x="936" y="828"/>
                  </a:lnTo>
                  <a:lnTo>
                    <a:pt x="942" y="822"/>
                  </a:lnTo>
                  <a:lnTo>
                    <a:pt x="942" y="810"/>
                  </a:lnTo>
                  <a:lnTo>
                    <a:pt x="948" y="804"/>
                  </a:lnTo>
                  <a:lnTo>
                    <a:pt x="834" y="804"/>
                  </a:lnTo>
                  <a:lnTo>
                    <a:pt x="852" y="804"/>
                  </a:lnTo>
                  <a:lnTo>
                    <a:pt x="78" y="1440"/>
                  </a:lnTo>
                  <a:lnTo>
                    <a:pt x="72" y="1446"/>
                  </a:lnTo>
                  <a:lnTo>
                    <a:pt x="60" y="1452"/>
                  </a:lnTo>
                  <a:lnTo>
                    <a:pt x="54" y="1464"/>
                  </a:lnTo>
                  <a:lnTo>
                    <a:pt x="54" y="1476"/>
                  </a:lnTo>
                  <a:lnTo>
                    <a:pt x="108" y="1476"/>
                  </a:lnTo>
                  <a:lnTo>
                    <a:pt x="120" y="1464"/>
                  </a:lnTo>
                  <a:lnTo>
                    <a:pt x="156" y="1464"/>
                  </a:lnTo>
                  <a:lnTo>
                    <a:pt x="132" y="1488"/>
                  </a:lnTo>
                  <a:lnTo>
                    <a:pt x="132" y="1494"/>
                  </a:lnTo>
                  <a:lnTo>
                    <a:pt x="138" y="1506"/>
                  </a:lnTo>
                  <a:lnTo>
                    <a:pt x="138" y="1524"/>
                  </a:lnTo>
                  <a:lnTo>
                    <a:pt x="144" y="1530"/>
                  </a:lnTo>
                  <a:lnTo>
                    <a:pt x="156" y="1536"/>
                  </a:lnTo>
                  <a:lnTo>
                    <a:pt x="162" y="1542"/>
                  </a:lnTo>
                  <a:lnTo>
                    <a:pt x="144" y="1560"/>
                  </a:lnTo>
                  <a:lnTo>
                    <a:pt x="144" y="1572"/>
                  </a:lnTo>
                  <a:lnTo>
                    <a:pt x="150" y="1572"/>
                  </a:lnTo>
                  <a:lnTo>
                    <a:pt x="156" y="1566"/>
                  </a:lnTo>
                  <a:lnTo>
                    <a:pt x="168" y="1560"/>
                  </a:lnTo>
                  <a:lnTo>
                    <a:pt x="174" y="1554"/>
                  </a:lnTo>
                  <a:lnTo>
                    <a:pt x="180" y="1554"/>
                  </a:lnTo>
                  <a:lnTo>
                    <a:pt x="186" y="1548"/>
                  </a:lnTo>
                  <a:lnTo>
                    <a:pt x="198" y="1548"/>
                  </a:lnTo>
                  <a:lnTo>
                    <a:pt x="210" y="1542"/>
                  </a:lnTo>
                  <a:lnTo>
                    <a:pt x="222" y="1542"/>
                  </a:lnTo>
                  <a:lnTo>
                    <a:pt x="234" y="1536"/>
                  </a:lnTo>
                  <a:lnTo>
                    <a:pt x="240" y="1530"/>
                  </a:lnTo>
                  <a:lnTo>
                    <a:pt x="258" y="1530"/>
                  </a:lnTo>
                  <a:lnTo>
                    <a:pt x="258" y="1518"/>
                  </a:lnTo>
                  <a:lnTo>
                    <a:pt x="264" y="1518"/>
                  </a:lnTo>
                  <a:lnTo>
                    <a:pt x="270" y="1512"/>
                  </a:lnTo>
                  <a:lnTo>
                    <a:pt x="282" y="1512"/>
                  </a:lnTo>
                  <a:lnTo>
                    <a:pt x="300" y="1506"/>
                  </a:lnTo>
                  <a:lnTo>
                    <a:pt x="312" y="1506"/>
                  </a:lnTo>
                  <a:lnTo>
                    <a:pt x="330" y="1512"/>
                  </a:lnTo>
                  <a:lnTo>
                    <a:pt x="336" y="1518"/>
                  </a:lnTo>
                  <a:lnTo>
                    <a:pt x="330" y="1524"/>
                  </a:lnTo>
                  <a:lnTo>
                    <a:pt x="324" y="1524"/>
                  </a:lnTo>
                  <a:lnTo>
                    <a:pt x="318" y="1530"/>
                  </a:lnTo>
                  <a:lnTo>
                    <a:pt x="318" y="1560"/>
                  </a:lnTo>
                  <a:lnTo>
                    <a:pt x="306" y="1572"/>
                  </a:lnTo>
                  <a:lnTo>
                    <a:pt x="324" y="1590"/>
                  </a:lnTo>
                  <a:lnTo>
                    <a:pt x="330" y="1602"/>
                  </a:lnTo>
                  <a:lnTo>
                    <a:pt x="330" y="1620"/>
                  </a:lnTo>
                  <a:lnTo>
                    <a:pt x="312" y="1656"/>
                  </a:lnTo>
                  <a:lnTo>
                    <a:pt x="312" y="1698"/>
                  </a:lnTo>
                  <a:lnTo>
                    <a:pt x="306" y="1704"/>
                  </a:lnTo>
                  <a:lnTo>
                    <a:pt x="300" y="1716"/>
                  </a:lnTo>
                  <a:lnTo>
                    <a:pt x="300" y="1728"/>
                  </a:lnTo>
                  <a:lnTo>
                    <a:pt x="294" y="1740"/>
                  </a:lnTo>
                  <a:lnTo>
                    <a:pt x="294" y="1746"/>
                  </a:lnTo>
                  <a:lnTo>
                    <a:pt x="300" y="1752"/>
                  </a:lnTo>
                  <a:lnTo>
                    <a:pt x="312" y="1758"/>
                  </a:lnTo>
                  <a:lnTo>
                    <a:pt x="318" y="1764"/>
                  </a:lnTo>
                  <a:lnTo>
                    <a:pt x="324" y="1764"/>
                  </a:lnTo>
                  <a:lnTo>
                    <a:pt x="330" y="1770"/>
                  </a:lnTo>
                  <a:lnTo>
                    <a:pt x="330" y="1776"/>
                  </a:lnTo>
                  <a:lnTo>
                    <a:pt x="348" y="1776"/>
                  </a:lnTo>
                  <a:lnTo>
                    <a:pt x="354" y="1782"/>
                  </a:lnTo>
                  <a:lnTo>
                    <a:pt x="354" y="1794"/>
                  </a:lnTo>
                  <a:lnTo>
                    <a:pt x="342" y="1800"/>
                  </a:lnTo>
                  <a:lnTo>
                    <a:pt x="330" y="1812"/>
                  </a:lnTo>
                  <a:lnTo>
                    <a:pt x="318" y="1818"/>
                  </a:lnTo>
                  <a:lnTo>
                    <a:pt x="318" y="1830"/>
                  </a:lnTo>
                  <a:lnTo>
                    <a:pt x="312" y="1842"/>
                  </a:lnTo>
                  <a:lnTo>
                    <a:pt x="294" y="1860"/>
                  </a:lnTo>
                  <a:lnTo>
                    <a:pt x="282" y="1866"/>
                  </a:lnTo>
                  <a:lnTo>
                    <a:pt x="270" y="1878"/>
                  </a:lnTo>
                  <a:lnTo>
                    <a:pt x="252" y="1884"/>
                  </a:lnTo>
                  <a:lnTo>
                    <a:pt x="234" y="1896"/>
                  </a:lnTo>
                  <a:lnTo>
                    <a:pt x="228" y="1902"/>
                  </a:lnTo>
                  <a:lnTo>
                    <a:pt x="222" y="1914"/>
                  </a:lnTo>
                  <a:lnTo>
                    <a:pt x="222" y="1926"/>
                  </a:lnTo>
                  <a:lnTo>
                    <a:pt x="216" y="1932"/>
                  </a:lnTo>
                  <a:lnTo>
                    <a:pt x="216" y="1944"/>
                  </a:lnTo>
                  <a:lnTo>
                    <a:pt x="204" y="1956"/>
                  </a:lnTo>
                  <a:lnTo>
                    <a:pt x="210" y="1962"/>
                  </a:lnTo>
                  <a:lnTo>
                    <a:pt x="216" y="1962"/>
                  </a:lnTo>
                  <a:lnTo>
                    <a:pt x="216" y="1974"/>
                  </a:lnTo>
                  <a:lnTo>
                    <a:pt x="228" y="1986"/>
                  </a:lnTo>
                  <a:lnTo>
                    <a:pt x="240" y="1980"/>
                  </a:lnTo>
                  <a:lnTo>
                    <a:pt x="246" y="1968"/>
                  </a:lnTo>
                  <a:lnTo>
                    <a:pt x="258" y="1962"/>
                  </a:lnTo>
                  <a:lnTo>
                    <a:pt x="276" y="1956"/>
                  </a:lnTo>
                  <a:lnTo>
                    <a:pt x="294" y="1938"/>
                  </a:lnTo>
                  <a:lnTo>
                    <a:pt x="306" y="1938"/>
                  </a:lnTo>
                  <a:lnTo>
                    <a:pt x="306" y="1944"/>
                  </a:lnTo>
                  <a:lnTo>
                    <a:pt x="300" y="1950"/>
                  </a:lnTo>
                  <a:lnTo>
                    <a:pt x="288" y="1956"/>
                  </a:lnTo>
                  <a:lnTo>
                    <a:pt x="282" y="1956"/>
                  </a:lnTo>
                  <a:lnTo>
                    <a:pt x="276" y="1962"/>
                  </a:lnTo>
                  <a:lnTo>
                    <a:pt x="276" y="1974"/>
                  </a:lnTo>
                  <a:lnTo>
                    <a:pt x="282" y="1986"/>
                  </a:lnTo>
                  <a:lnTo>
                    <a:pt x="294" y="1998"/>
                  </a:lnTo>
                  <a:lnTo>
                    <a:pt x="252" y="1992"/>
                  </a:lnTo>
                  <a:lnTo>
                    <a:pt x="246" y="1998"/>
                  </a:lnTo>
                  <a:lnTo>
                    <a:pt x="240" y="2010"/>
                  </a:lnTo>
                  <a:lnTo>
                    <a:pt x="234" y="2016"/>
                  </a:lnTo>
                  <a:lnTo>
                    <a:pt x="228" y="2028"/>
                  </a:lnTo>
                  <a:lnTo>
                    <a:pt x="228" y="2034"/>
                  </a:lnTo>
                  <a:lnTo>
                    <a:pt x="234" y="2034"/>
                  </a:lnTo>
                  <a:lnTo>
                    <a:pt x="240" y="2040"/>
                  </a:lnTo>
                  <a:lnTo>
                    <a:pt x="252" y="2040"/>
                  </a:lnTo>
                  <a:lnTo>
                    <a:pt x="258" y="2046"/>
                  </a:lnTo>
                  <a:lnTo>
                    <a:pt x="252" y="2052"/>
                  </a:lnTo>
                  <a:lnTo>
                    <a:pt x="252" y="2058"/>
                  </a:lnTo>
                  <a:lnTo>
                    <a:pt x="246" y="2070"/>
                  </a:lnTo>
                  <a:lnTo>
                    <a:pt x="246" y="2076"/>
                  </a:lnTo>
                  <a:lnTo>
                    <a:pt x="252" y="2070"/>
                  </a:lnTo>
                  <a:lnTo>
                    <a:pt x="288" y="2052"/>
                  </a:lnTo>
                  <a:lnTo>
                    <a:pt x="306" y="2034"/>
                  </a:lnTo>
                  <a:lnTo>
                    <a:pt x="318" y="2028"/>
                  </a:lnTo>
                  <a:lnTo>
                    <a:pt x="318" y="2040"/>
                  </a:lnTo>
                  <a:lnTo>
                    <a:pt x="288" y="2058"/>
                  </a:lnTo>
                  <a:lnTo>
                    <a:pt x="312" y="2064"/>
                  </a:lnTo>
                  <a:lnTo>
                    <a:pt x="312" y="2076"/>
                  </a:lnTo>
                  <a:lnTo>
                    <a:pt x="294" y="2094"/>
                  </a:lnTo>
                  <a:lnTo>
                    <a:pt x="276" y="2076"/>
                  </a:lnTo>
                  <a:lnTo>
                    <a:pt x="270" y="2076"/>
                  </a:lnTo>
                  <a:lnTo>
                    <a:pt x="264" y="2082"/>
                  </a:lnTo>
                  <a:lnTo>
                    <a:pt x="240" y="2094"/>
                  </a:lnTo>
                  <a:lnTo>
                    <a:pt x="228" y="2094"/>
                  </a:lnTo>
                  <a:lnTo>
                    <a:pt x="216" y="2106"/>
                  </a:lnTo>
                  <a:lnTo>
                    <a:pt x="210" y="2118"/>
                  </a:lnTo>
                  <a:lnTo>
                    <a:pt x="204" y="2124"/>
                  </a:lnTo>
                  <a:lnTo>
                    <a:pt x="210" y="2118"/>
                  </a:lnTo>
                  <a:lnTo>
                    <a:pt x="222" y="2118"/>
                  </a:lnTo>
                  <a:lnTo>
                    <a:pt x="228" y="2112"/>
                  </a:lnTo>
                  <a:lnTo>
                    <a:pt x="276" y="2112"/>
                  </a:lnTo>
                  <a:lnTo>
                    <a:pt x="270" y="2112"/>
                  </a:lnTo>
                  <a:lnTo>
                    <a:pt x="264" y="2118"/>
                  </a:lnTo>
                  <a:lnTo>
                    <a:pt x="252" y="2118"/>
                  </a:lnTo>
                  <a:lnTo>
                    <a:pt x="240" y="2124"/>
                  </a:lnTo>
                  <a:lnTo>
                    <a:pt x="228" y="2124"/>
                  </a:lnTo>
                  <a:lnTo>
                    <a:pt x="216" y="2130"/>
                  </a:lnTo>
                  <a:lnTo>
                    <a:pt x="210" y="2130"/>
                  </a:lnTo>
                  <a:lnTo>
                    <a:pt x="210" y="2148"/>
                  </a:lnTo>
                  <a:lnTo>
                    <a:pt x="204" y="2148"/>
                  </a:lnTo>
                  <a:lnTo>
                    <a:pt x="198" y="2142"/>
                  </a:lnTo>
                  <a:lnTo>
                    <a:pt x="174" y="2142"/>
                  </a:lnTo>
                  <a:lnTo>
                    <a:pt x="174" y="2154"/>
                  </a:lnTo>
                  <a:lnTo>
                    <a:pt x="180" y="2166"/>
                  </a:lnTo>
                  <a:lnTo>
                    <a:pt x="192" y="2172"/>
                  </a:lnTo>
                  <a:lnTo>
                    <a:pt x="198" y="2178"/>
                  </a:lnTo>
                  <a:lnTo>
                    <a:pt x="246" y="2160"/>
                  </a:lnTo>
                  <a:lnTo>
                    <a:pt x="264" y="2184"/>
                  </a:lnTo>
                  <a:lnTo>
                    <a:pt x="300" y="2166"/>
                  </a:lnTo>
                  <a:lnTo>
                    <a:pt x="294" y="2172"/>
                  </a:lnTo>
                  <a:lnTo>
                    <a:pt x="288" y="2184"/>
                  </a:lnTo>
                  <a:lnTo>
                    <a:pt x="276" y="2190"/>
                  </a:lnTo>
                  <a:lnTo>
                    <a:pt x="270" y="2196"/>
                  </a:lnTo>
                  <a:lnTo>
                    <a:pt x="264" y="2208"/>
                  </a:lnTo>
                  <a:lnTo>
                    <a:pt x="264" y="2214"/>
                  </a:lnTo>
                  <a:lnTo>
                    <a:pt x="276" y="2214"/>
                  </a:lnTo>
                  <a:lnTo>
                    <a:pt x="282" y="2208"/>
                  </a:lnTo>
                  <a:lnTo>
                    <a:pt x="300" y="2202"/>
                  </a:lnTo>
                  <a:lnTo>
                    <a:pt x="318" y="2184"/>
                  </a:lnTo>
                  <a:lnTo>
                    <a:pt x="330" y="2178"/>
                  </a:lnTo>
                  <a:lnTo>
                    <a:pt x="306" y="2202"/>
                  </a:lnTo>
                  <a:lnTo>
                    <a:pt x="300" y="2214"/>
                  </a:lnTo>
                  <a:lnTo>
                    <a:pt x="294" y="2220"/>
                  </a:lnTo>
                  <a:lnTo>
                    <a:pt x="300" y="2220"/>
                  </a:lnTo>
                  <a:lnTo>
                    <a:pt x="312" y="2214"/>
                  </a:lnTo>
                  <a:lnTo>
                    <a:pt x="324" y="2214"/>
                  </a:lnTo>
                  <a:lnTo>
                    <a:pt x="318" y="2220"/>
                  </a:lnTo>
                  <a:lnTo>
                    <a:pt x="306" y="2226"/>
                  </a:lnTo>
                  <a:lnTo>
                    <a:pt x="300" y="2238"/>
                  </a:lnTo>
                  <a:lnTo>
                    <a:pt x="282" y="2256"/>
                  </a:lnTo>
                  <a:lnTo>
                    <a:pt x="288" y="2262"/>
                  </a:lnTo>
                  <a:lnTo>
                    <a:pt x="294" y="2262"/>
                  </a:lnTo>
                  <a:lnTo>
                    <a:pt x="342" y="2238"/>
                  </a:lnTo>
                  <a:lnTo>
                    <a:pt x="348" y="2232"/>
                  </a:lnTo>
                  <a:lnTo>
                    <a:pt x="324" y="2256"/>
                  </a:lnTo>
                  <a:lnTo>
                    <a:pt x="318" y="2268"/>
                  </a:lnTo>
                  <a:lnTo>
                    <a:pt x="318" y="2274"/>
                  </a:lnTo>
                  <a:lnTo>
                    <a:pt x="330" y="2280"/>
                  </a:lnTo>
                  <a:lnTo>
                    <a:pt x="342" y="2280"/>
                  </a:lnTo>
                  <a:lnTo>
                    <a:pt x="354" y="2292"/>
                  </a:lnTo>
                  <a:lnTo>
                    <a:pt x="354" y="2298"/>
                  </a:lnTo>
                  <a:lnTo>
                    <a:pt x="348" y="2304"/>
                  </a:lnTo>
                  <a:lnTo>
                    <a:pt x="348" y="2340"/>
                  </a:lnTo>
                  <a:lnTo>
                    <a:pt x="2058" y="2340"/>
                  </a:lnTo>
                  <a:lnTo>
                    <a:pt x="2064" y="2328"/>
                  </a:lnTo>
                  <a:lnTo>
                    <a:pt x="2064" y="2322"/>
                  </a:lnTo>
                  <a:lnTo>
                    <a:pt x="2070" y="2310"/>
                  </a:lnTo>
                  <a:lnTo>
                    <a:pt x="2076" y="2304"/>
                  </a:lnTo>
                  <a:lnTo>
                    <a:pt x="2088" y="2298"/>
                  </a:lnTo>
                  <a:lnTo>
                    <a:pt x="2100" y="2310"/>
                  </a:lnTo>
                  <a:lnTo>
                    <a:pt x="2088" y="2322"/>
                  </a:lnTo>
                  <a:lnTo>
                    <a:pt x="2082" y="2334"/>
                  </a:lnTo>
                  <a:lnTo>
                    <a:pt x="2082" y="2346"/>
                  </a:lnTo>
                  <a:lnTo>
                    <a:pt x="2094" y="2352"/>
                  </a:lnTo>
                  <a:lnTo>
                    <a:pt x="2112" y="2358"/>
                  </a:lnTo>
                  <a:lnTo>
                    <a:pt x="2124" y="2358"/>
                  </a:lnTo>
                  <a:lnTo>
                    <a:pt x="2142" y="2376"/>
                  </a:lnTo>
                  <a:lnTo>
                    <a:pt x="2154" y="2376"/>
                  </a:lnTo>
                  <a:lnTo>
                    <a:pt x="2154" y="2370"/>
                  </a:lnTo>
                  <a:lnTo>
                    <a:pt x="2166" y="2358"/>
                  </a:lnTo>
                  <a:lnTo>
                    <a:pt x="2178" y="2358"/>
                  </a:lnTo>
                  <a:lnTo>
                    <a:pt x="2190" y="2364"/>
                  </a:lnTo>
                  <a:lnTo>
                    <a:pt x="2202" y="2376"/>
                  </a:lnTo>
                  <a:lnTo>
                    <a:pt x="2202" y="2382"/>
                  </a:lnTo>
                  <a:lnTo>
                    <a:pt x="2208" y="2388"/>
                  </a:lnTo>
                  <a:lnTo>
                    <a:pt x="2238" y="2388"/>
                  </a:lnTo>
                  <a:lnTo>
                    <a:pt x="2256" y="2406"/>
                  </a:lnTo>
                  <a:lnTo>
                    <a:pt x="2268" y="2406"/>
                  </a:lnTo>
                  <a:lnTo>
                    <a:pt x="2280" y="2394"/>
                  </a:lnTo>
                  <a:lnTo>
                    <a:pt x="2292" y="2388"/>
                  </a:lnTo>
                  <a:lnTo>
                    <a:pt x="2298" y="2382"/>
                  </a:lnTo>
                  <a:lnTo>
                    <a:pt x="2298" y="2400"/>
                  </a:lnTo>
                  <a:lnTo>
                    <a:pt x="2346" y="2394"/>
                  </a:lnTo>
                  <a:lnTo>
                    <a:pt x="2346" y="2400"/>
                  </a:lnTo>
                  <a:lnTo>
                    <a:pt x="2352" y="2400"/>
                  </a:lnTo>
                  <a:lnTo>
                    <a:pt x="2364" y="2406"/>
                  </a:lnTo>
                  <a:lnTo>
                    <a:pt x="2382" y="2406"/>
                  </a:lnTo>
                  <a:lnTo>
                    <a:pt x="2394" y="2394"/>
                  </a:lnTo>
                  <a:lnTo>
                    <a:pt x="2406" y="2388"/>
                  </a:lnTo>
                  <a:lnTo>
                    <a:pt x="2412" y="2376"/>
                  </a:lnTo>
                  <a:lnTo>
                    <a:pt x="2412" y="2370"/>
                  </a:lnTo>
                  <a:lnTo>
                    <a:pt x="2430" y="2370"/>
                  </a:lnTo>
                  <a:lnTo>
                    <a:pt x="2436" y="2376"/>
                  </a:lnTo>
                  <a:lnTo>
                    <a:pt x="2442" y="2376"/>
                  </a:lnTo>
                  <a:lnTo>
                    <a:pt x="2454" y="2364"/>
                  </a:lnTo>
                  <a:lnTo>
                    <a:pt x="2460" y="2352"/>
                  </a:lnTo>
                  <a:lnTo>
                    <a:pt x="2466" y="2346"/>
                  </a:lnTo>
                  <a:lnTo>
                    <a:pt x="2472" y="2346"/>
                  </a:lnTo>
                  <a:lnTo>
                    <a:pt x="2472" y="2352"/>
                  </a:lnTo>
                  <a:lnTo>
                    <a:pt x="2478" y="2358"/>
                  </a:lnTo>
                  <a:lnTo>
                    <a:pt x="2502" y="2352"/>
                  </a:lnTo>
                  <a:lnTo>
                    <a:pt x="2496" y="2346"/>
                  </a:lnTo>
                  <a:lnTo>
                    <a:pt x="2496" y="2334"/>
                  </a:lnTo>
                  <a:lnTo>
                    <a:pt x="2502" y="2328"/>
                  </a:lnTo>
                  <a:lnTo>
                    <a:pt x="2514" y="2322"/>
                  </a:lnTo>
                  <a:lnTo>
                    <a:pt x="2532" y="2340"/>
                  </a:lnTo>
                  <a:lnTo>
                    <a:pt x="2556" y="2340"/>
                  </a:lnTo>
                  <a:lnTo>
                    <a:pt x="2562" y="2346"/>
                  </a:lnTo>
                  <a:lnTo>
                    <a:pt x="2580" y="2346"/>
                  </a:lnTo>
                  <a:lnTo>
                    <a:pt x="2604" y="2358"/>
                  </a:lnTo>
                  <a:lnTo>
                    <a:pt x="2604" y="2370"/>
                  </a:lnTo>
                  <a:lnTo>
                    <a:pt x="2598" y="2382"/>
                  </a:lnTo>
                  <a:lnTo>
                    <a:pt x="2598" y="2388"/>
                  </a:lnTo>
                  <a:lnTo>
                    <a:pt x="2592" y="2400"/>
                  </a:lnTo>
                  <a:lnTo>
                    <a:pt x="2604" y="2412"/>
                  </a:lnTo>
                  <a:lnTo>
                    <a:pt x="2592" y="2436"/>
                  </a:lnTo>
                  <a:lnTo>
                    <a:pt x="2598" y="2436"/>
                  </a:lnTo>
                  <a:lnTo>
                    <a:pt x="2604" y="2430"/>
                  </a:lnTo>
                  <a:lnTo>
                    <a:pt x="2616" y="2424"/>
                  </a:lnTo>
                  <a:lnTo>
                    <a:pt x="2634" y="2418"/>
                  </a:lnTo>
                  <a:lnTo>
                    <a:pt x="2646" y="2412"/>
                  </a:lnTo>
                  <a:lnTo>
                    <a:pt x="2670" y="2412"/>
                  </a:lnTo>
                  <a:lnTo>
                    <a:pt x="2670" y="2424"/>
                  </a:lnTo>
                  <a:lnTo>
                    <a:pt x="2658" y="2430"/>
                  </a:lnTo>
                  <a:lnTo>
                    <a:pt x="2652" y="2436"/>
                  </a:lnTo>
                  <a:lnTo>
                    <a:pt x="2646" y="2436"/>
                  </a:lnTo>
                  <a:lnTo>
                    <a:pt x="2640" y="2442"/>
                  </a:lnTo>
                  <a:lnTo>
                    <a:pt x="2646" y="2448"/>
                  </a:lnTo>
                  <a:lnTo>
                    <a:pt x="2652" y="2448"/>
                  </a:lnTo>
                  <a:lnTo>
                    <a:pt x="2664" y="2460"/>
                  </a:lnTo>
                  <a:lnTo>
                    <a:pt x="2640" y="2484"/>
                  </a:lnTo>
                  <a:lnTo>
                    <a:pt x="2640" y="2490"/>
                  </a:lnTo>
                  <a:lnTo>
                    <a:pt x="2652" y="2490"/>
                  </a:lnTo>
                  <a:lnTo>
                    <a:pt x="2652" y="2502"/>
                  </a:lnTo>
                  <a:lnTo>
                    <a:pt x="2640" y="2514"/>
                  </a:lnTo>
                  <a:lnTo>
                    <a:pt x="2640" y="2526"/>
                  </a:lnTo>
                  <a:lnTo>
                    <a:pt x="2658" y="2526"/>
                  </a:lnTo>
                  <a:lnTo>
                    <a:pt x="2652" y="2544"/>
                  </a:lnTo>
                  <a:lnTo>
                    <a:pt x="2658" y="2544"/>
                  </a:lnTo>
                  <a:lnTo>
                    <a:pt x="2670" y="2550"/>
                  </a:lnTo>
                  <a:lnTo>
                    <a:pt x="2754" y="2550"/>
                  </a:lnTo>
                  <a:lnTo>
                    <a:pt x="2766" y="2556"/>
                  </a:lnTo>
                  <a:lnTo>
                    <a:pt x="2784" y="2568"/>
                  </a:lnTo>
                  <a:lnTo>
                    <a:pt x="2838" y="2568"/>
                  </a:lnTo>
                  <a:lnTo>
                    <a:pt x="2850" y="2574"/>
                  </a:lnTo>
                  <a:lnTo>
                    <a:pt x="2856" y="2580"/>
                  </a:lnTo>
                  <a:lnTo>
                    <a:pt x="2856" y="2610"/>
                  </a:lnTo>
                  <a:lnTo>
                    <a:pt x="2874" y="2610"/>
                  </a:lnTo>
                  <a:lnTo>
                    <a:pt x="2874" y="2628"/>
                  </a:lnTo>
                  <a:lnTo>
                    <a:pt x="2862" y="2640"/>
                  </a:lnTo>
                  <a:lnTo>
                    <a:pt x="2862" y="2652"/>
                  </a:lnTo>
                  <a:lnTo>
                    <a:pt x="2874" y="2664"/>
                  </a:lnTo>
                  <a:lnTo>
                    <a:pt x="2880" y="2664"/>
                  </a:lnTo>
                  <a:lnTo>
                    <a:pt x="2856" y="2658"/>
                  </a:lnTo>
                  <a:lnTo>
                    <a:pt x="2856" y="2670"/>
                  </a:lnTo>
                  <a:lnTo>
                    <a:pt x="2850" y="2676"/>
                  </a:lnTo>
                  <a:lnTo>
                    <a:pt x="2844" y="2688"/>
                  </a:lnTo>
                  <a:lnTo>
                    <a:pt x="2838" y="2694"/>
                  </a:lnTo>
                  <a:lnTo>
                    <a:pt x="2832" y="2688"/>
                  </a:lnTo>
                  <a:lnTo>
                    <a:pt x="2820" y="2682"/>
                  </a:lnTo>
                  <a:lnTo>
                    <a:pt x="2802" y="2670"/>
                  </a:lnTo>
                  <a:lnTo>
                    <a:pt x="2790" y="2664"/>
                  </a:lnTo>
                  <a:lnTo>
                    <a:pt x="2784" y="2652"/>
                  </a:lnTo>
                  <a:lnTo>
                    <a:pt x="2784" y="2628"/>
                  </a:lnTo>
                  <a:lnTo>
                    <a:pt x="2766" y="2622"/>
                  </a:lnTo>
                  <a:lnTo>
                    <a:pt x="2772" y="2640"/>
                  </a:lnTo>
                  <a:lnTo>
                    <a:pt x="2772" y="2646"/>
                  </a:lnTo>
                  <a:lnTo>
                    <a:pt x="2778" y="2652"/>
                  </a:lnTo>
                  <a:lnTo>
                    <a:pt x="2778" y="2664"/>
                  </a:lnTo>
                  <a:lnTo>
                    <a:pt x="2772" y="2676"/>
                  </a:lnTo>
                  <a:lnTo>
                    <a:pt x="2760" y="2688"/>
                  </a:lnTo>
                  <a:lnTo>
                    <a:pt x="2754" y="2700"/>
                  </a:lnTo>
                  <a:lnTo>
                    <a:pt x="2736" y="2706"/>
                  </a:lnTo>
                  <a:lnTo>
                    <a:pt x="2718" y="2724"/>
                  </a:lnTo>
                  <a:lnTo>
                    <a:pt x="2712" y="2742"/>
                  </a:lnTo>
                  <a:lnTo>
                    <a:pt x="2700" y="2760"/>
                  </a:lnTo>
                  <a:lnTo>
                    <a:pt x="2694" y="2778"/>
                  </a:lnTo>
                  <a:lnTo>
                    <a:pt x="2688" y="2784"/>
                  </a:lnTo>
                  <a:lnTo>
                    <a:pt x="2664" y="2796"/>
                  </a:lnTo>
                  <a:lnTo>
                    <a:pt x="2652" y="2796"/>
                  </a:lnTo>
                  <a:lnTo>
                    <a:pt x="2646" y="2790"/>
                  </a:lnTo>
                  <a:lnTo>
                    <a:pt x="2640" y="2802"/>
                  </a:lnTo>
                  <a:lnTo>
                    <a:pt x="2634" y="2808"/>
                  </a:lnTo>
                  <a:lnTo>
                    <a:pt x="2634" y="2832"/>
                  </a:lnTo>
                  <a:lnTo>
                    <a:pt x="2628" y="2838"/>
                  </a:lnTo>
                  <a:lnTo>
                    <a:pt x="2622" y="2838"/>
                  </a:lnTo>
                  <a:lnTo>
                    <a:pt x="2586" y="2856"/>
                  </a:lnTo>
                  <a:lnTo>
                    <a:pt x="2562" y="2880"/>
                  </a:lnTo>
                  <a:lnTo>
                    <a:pt x="2562" y="2886"/>
                  </a:lnTo>
                  <a:lnTo>
                    <a:pt x="2568" y="2886"/>
                  </a:lnTo>
                  <a:lnTo>
                    <a:pt x="2580" y="2880"/>
                  </a:lnTo>
                  <a:lnTo>
                    <a:pt x="2592" y="2880"/>
                  </a:lnTo>
                  <a:lnTo>
                    <a:pt x="2598" y="2886"/>
                  </a:lnTo>
                  <a:lnTo>
                    <a:pt x="2610" y="2880"/>
                  </a:lnTo>
                  <a:lnTo>
                    <a:pt x="2616" y="2868"/>
                  </a:lnTo>
                  <a:lnTo>
                    <a:pt x="2628" y="2862"/>
                  </a:lnTo>
                  <a:lnTo>
                    <a:pt x="2658" y="2862"/>
                  </a:lnTo>
                  <a:lnTo>
                    <a:pt x="2658" y="2856"/>
                  </a:lnTo>
                  <a:lnTo>
                    <a:pt x="2664" y="2844"/>
                  </a:lnTo>
                  <a:lnTo>
                    <a:pt x="2676" y="2838"/>
                  </a:lnTo>
                  <a:lnTo>
                    <a:pt x="2682" y="2832"/>
                  </a:lnTo>
                  <a:lnTo>
                    <a:pt x="2754" y="2832"/>
                  </a:lnTo>
                  <a:lnTo>
                    <a:pt x="2766" y="2838"/>
                  </a:lnTo>
                  <a:lnTo>
                    <a:pt x="2790" y="2820"/>
                  </a:lnTo>
                  <a:lnTo>
                    <a:pt x="2856" y="2820"/>
                  </a:lnTo>
                  <a:lnTo>
                    <a:pt x="2862" y="2814"/>
                  </a:lnTo>
                  <a:lnTo>
                    <a:pt x="2862" y="2790"/>
                  </a:lnTo>
                  <a:lnTo>
                    <a:pt x="2844" y="2796"/>
                  </a:lnTo>
                  <a:lnTo>
                    <a:pt x="2832" y="2796"/>
                  </a:lnTo>
                  <a:lnTo>
                    <a:pt x="2826" y="2790"/>
                  </a:lnTo>
                  <a:lnTo>
                    <a:pt x="2826" y="2784"/>
                  </a:lnTo>
                  <a:lnTo>
                    <a:pt x="2832" y="2772"/>
                  </a:lnTo>
                  <a:lnTo>
                    <a:pt x="2850" y="2754"/>
                  </a:lnTo>
                  <a:lnTo>
                    <a:pt x="2868" y="2742"/>
                  </a:lnTo>
                  <a:lnTo>
                    <a:pt x="2880" y="2736"/>
                  </a:lnTo>
                  <a:lnTo>
                    <a:pt x="2910" y="2736"/>
                  </a:lnTo>
                  <a:lnTo>
                    <a:pt x="2928" y="2730"/>
                  </a:lnTo>
                  <a:lnTo>
                    <a:pt x="2952" y="2730"/>
                  </a:lnTo>
                  <a:lnTo>
                    <a:pt x="2964" y="2724"/>
                  </a:lnTo>
                  <a:lnTo>
                    <a:pt x="2970" y="2724"/>
                  </a:lnTo>
                  <a:lnTo>
                    <a:pt x="2976" y="2718"/>
                  </a:lnTo>
                  <a:lnTo>
                    <a:pt x="2982" y="2718"/>
                  </a:lnTo>
                  <a:lnTo>
                    <a:pt x="2994" y="2724"/>
                  </a:lnTo>
                  <a:lnTo>
                    <a:pt x="3000" y="2724"/>
                  </a:lnTo>
                  <a:lnTo>
                    <a:pt x="3012" y="2730"/>
                  </a:lnTo>
                  <a:lnTo>
                    <a:pt x="3018" y="2736"/>
                  </a:lnTo>
                  <a:lnTo>
                    <a:pt x="3024" y="2736"/>
                  </a:lnTo>
                  <a:lnTo>
                    <a:pt x="3030" y="2730"/>
                  </a:lnTo>
                  <a:lnTo>
                    <a:pt x="3030" y="2712"/>
                  </a:lnTo>
                  <a:lnTo>
                    <a:pt x="3036" y="2706"/>
                  </a:lnTo>
                  <a:lnTo>
                    <a:pt x="3048" y="2700"/>
                  </a:lnTo>
                  <a:lnTo>
                    <a:pt x="3060" y="2700"/>
                  </a:lnTo>
                  <a:lnTo>
                    <a:pt x="3066" y="2706"/>
                  </a:lnTo>
                  <a:lnTo>
                    <a:pt x="3072" y="2706"/>
                  </a:lnTo>
                  <a:lnTo>
                    <a:pt x="3072" y="2700"/>
                  </a:lnTo>
                  <a:lnTo>
                    <a:pt x="3102" y="2700"/>
                  </a:lnTo>
                  <a:lnTo>
                    <a:pt x="3114" y="2688"/>
                  </a:lnTo>
                  <a:lnTo>
                    <a:pt x="3126" y="2682"/>
                  </a:lnTo>
                  <a:lnTo>
                    <a:pt x="3150" y="2658"/>
                  </a:lnTo>
                  <a:lnTo>
                    <a:pt x="3162" y="2652"/>
                  </a:lnTo>
                  <a:lnTo>
                    <a:pt x="3174" y="2640"/>
                  </a:lnTo>
                  <a:lnTo>
                    <a:pt x="3408" y="2640"/>
                  </a:lnTo>
                  <a:lnTo>
                    <a:pt x="3408" y="2634"/>
                  </a:lnTo>
                  <a:lnTo>
                    <a:pt x="3420" y="2622"/>
                  </a:lnTo>
                  <a:lnTo>
                    <a:pt x="3438" y="2622"/>
                  </a:lnTo>
                  <a:lnTo>
                    <a:pt x="3450" y="2616"/>
                  </a:lnTo>
                  <a:lnTo>
                    <a:pt x="3456" y="2616"/>
                  </a:lnTo>
                  <a:lnTo>
                    <a:pt x="3456" y="2610"/>
                  </a:lnTo>
                  <a:lnTo>
                    <a:pt x="3468" y="2598"/>
                  </a:lnTo>
                  <a:lnTo>
                    <a:pt x="3480" y="2592"/>
                  </a:lnTo>
                  <a:lnTo>
                    <a:pt x="3486" y="2586"/>
                  </a:lnTo>
                  <a:lnTo>
                    <a:pt x="3498" y="2586"/>
                  </a:lnTo>
                  <a:lnTo>
                    <a:pt x="3504" y="2592"/>
                  </a:lnTo>
                  <a:lnTo>
                    <a:pt x="3510" y="2592"/>
                  </a:lnTo>
                  <a:lnTo>
                    <a:pt x="3510" y="2568"/>
                  </a:lnTo>
                  <a:lnTo>
                    <a:pt x="3516" y="2556"/>
                  </a:lnTo>
                  <a:lnTo>
                    <a:pt x="3528" y="2544"/>
                  </a:lnTo>
                  <a:lnTo>
                    <a:pt x="3534" y="2544"/>
                  </a:lnTo>
                  <a:lnTo>
                    <a:pt x="3546" y="2532"/>
                  </a:lnTo>
                  <a:lnTo>
                    <a:pt x="3546" y="2508"/>
                  </a:lnTo>
                  <a:lnTo>
                    <a:pt x="3588" y="2484"/>
                  </a:lnTo>
                  <a:lnTo>
                    <a:pt x="3594" y="2472"/>
                  </a:lnTo>
                  <a:lnTo>
                    <a:pt x="3618" y="2448"/>
                  </a:lnTo>
                  <a:lnTo>
                    <a:pt x="3630" y="2448"/>
                  </a:lnTo>
                  <a:lnTo>
                    <a:pt x="3636" y="2454"/>
                  </a:lnTo>
                  <a:lnTo>
                    <a:pt x="3636" y="2460"/>
                  </a:lnTo>
                  <a:lnTo>
                    <a:pt x="3642" y="2466"/>
                  </a:lnTo>
                  <a:lnTo>
                    <a:pt x="3654" y="2466"/>
                  </a:lnTo>
                  <a:lnTo>
                    <a:pt x="3666" y="2460"/>
                  </a:lnTo>
                  <a:lnTo>
                    <a:pt x="3702" y="2460"/>
                  </a:lnTo>
                  <a:lnTo>
                    <a:pt x="3708" y="2466"/>
                  </a:lnTo>
                  <a:lnTo>
                    <a:pt x="3708" y="2472"/>
                  </a:lnTo>
                  <a:lnTo>
                    <a:pt x="3702" y="2496"/>
                  </a:lnTo>
                  <a:lnTo>
                    <a:pt x="3690" y="2520"/>
                  </a:lnTo>
                  <a:lnTo>
                    <a:pt x="3678" y="2550"/>
                  </a:lnTo>
                  <a:lnTo>
                    <a:pt x="3666" y="2574"/>
                  </a:lnTo>
                  <a:lnTo>
                    <a:pt x="3666" y="2586"/>
                  </a:lnTo>
                  <a:lnTo>
                    <a:pt x="3672" y="2592"/>
                  </a:lnTo>
                  <a:lnTo>
                    <a:pt x="3678" y="2592"/>
                  </a:lnTo>
                  <a:lnTo>
                    <a:pt x="3684" y="2598"/>
                  </a:lnTo>
                  <a:lnTo>
                    <a:pt x="3672" y="2610"/>
                  </a:lnTo>
                  <a:lnTo>
                    <a:pt x="3666" y="2622"/>
                  </a:lnTo>
                  <a:lnTo>
                    <a:pt x="3666" y="2628"/>
                  </a:lnTo>
                  <a:lnTo>
                    <a:pt x="3690" y="2628"/>
                  </a:lnTo>
                  <a:lnTo>
                    <a:pt x="3690" y="2634"/>
                  </a:lnTo>
                  <a:lnTo>
                    <a:pt x="3696" y="2640"/>
                  </a:lnTo>
                  <a:lnTo>
                    <a:pt x="3714" y="2640"/>
                  </a:lnTo>
                  <a:lnTo>
                    <a:pt x="3750" y="2622"/>
                  </a:lnTo>
                  <a:lnTo>
                    <a:pt x="3768" y="2604"/>
                  </a:lnTo>
                  <a:lnTo>
                    <a:pt x="3780" y="2622"/>
                  </a:lnTo>
                  <a:lnTo>
                    <a:pt x="3786" y="2622"/>
                  </a:lnTo>
                  <a:lnTo>
                    <a:pt x="3792" y="2616"/>
                  </a:lnTo>
                  <a:lnTo>
                    <a:pt x="3816" y="2604"/>
                  </a:lnTo>
                  <a:lnTo>
                    <a:pt x="3828" y="2604"/>
                  </a:lnTo>
                  <a:lnTo>
                    <a:pt x="3840" y="2592"/>
                  </a:lnTo>
                  <a:lnTo>
                    <a:pt x="3852" y="2592"/>
                  </a:lnTo>
                  <a:lnTo>
                    <a:pt x="3864" y="2580"/>
                  </a:lnTo>
                  <a:lnTo>
                    <a:pt x="3870" y="2580"/>
                  </a:lnTo>
                  <a:lnTo>
                    <a:pt x="3888" y="2586"/>
                  </a:lnTo>
                  <a:lnTo>
                    <a:pt x="3846" y="2616"/>
                  </a:lnTo>
                  <a:lnTo>
                    <a:pt x="3936" y="2610"/>
                  </a:lnTo>
                  <a:lnTo>
                    <a:pt x="3918" y="2610"/>
                  </a:lnTo>
                  <a:lnTo>
                    <a:pt x="3906" y="2616"/>
                  </a:lnTo>
                  <a:lnTo>
                    <a:pt x="3894" y="2616"/>
                  </a:lnTo>
                  <a:lnTo>
                    <a:pt x="3888" y="2622"/>
                  </a:lnTo>
                  <a:lnTo>
                    <a:pt x="3888" y="2634"/>
                  </a:lnTo>
                  <a:lnTo>
                    <a:pt x="3882" y="2640"/>
                  </a:lnTo>
                  <a:lnTo>
                    <a:pt x="3876" y="2640"/>
                  </a:lnTo>
                  <a:lnTo>
                    <a:pt x="3870" y="2634"/>
                  </a:lnTo>
                  <a:lnTo>
                    <a:pt x="3864" y="2634"/>
                  </a:lnTo>
                  <a:lnTo>
                    <a:pt x="3852" y="2628"/>
                  </a:lnTo>
                  <a:lnTo>
                    <a:pt x="3846" y="2628"/>
                  </a:lnTo>
                  <a:lnTo>
                    <a:pt x="3828" y="2634"/>
                  </a:lnTo>
                  <a:lnTo>
                    <a:pt x="3738" y="2688"/>
                  </a:lnTo>
                  <a:lnTo>
                    <a:pt x="3726" y="2700"/>
                  </a:lnTo>
                  <a:lnTo>
                    <a:pt x="3720" y="2712"/>
                  </a:lnTo>
                  <a:lnTo>
                    <a:pt x="3720" y="2748"/>
                  </a:lnTo>
                  <a:lnTo>
                    <a:pt x="3726" y="2748"/>
                  </a:lnTo>
                  <a:lnTo>
                    <a:pt x="3732" y="2742"/>
                  </a:lnTo>
                  <a:lnTo>
                    <a:pt x="3738" y="2742"/>
                  </a:lnTo>
                  <a:lnTo>
                    <a:pt x="3738" y="2754"/>
                  </a:lnTo>
                  <a:lnTo>
                    <a:pt x="3744" y="2760"/>
                  </a:lnTo>
                  <a:lnTo>
                    <a:pt x="3756" y="2760"/>
                  </a:lnTo>
                  <a:lnTo>
                    <a:pt x="3762" y="2754"/>
                  </a:lnTo>
                  <a:lnTo>
                    <a:pt x="3768" y="2742"/>
                  </a:lnTo>
                  <a:lnTo>
                    <a:pt x="3774" y="2736"/>
                  </a:lnTo>
                  <a:lnTo>
                    <a:pt x="3786" y="2736"/>
                  </a:lnTo>
                  <a:lnTo>
                    <a:pt x="3804" y="2730"/>
                  </a:lnTo>
                  <a:lnTo>
                    <a:pt x="3816" y="2724"/>
                  </a:lnTo>
                  <a:lnTo>
                    <a:pt x="3834" y="2718"/>
                  </a:lnTo>
                  <a:lnTo>
                    <a:pt x="3846" y="2706"/>
                  </a:lnTo>
                  <a:lnTo>
                    <a:pt x="3852" y="2694"/>
                  </a:lnTo>
                  <a:lnTo>
                    <a:pt x="3870" y="2676"/>
                  </a:lnTo>
                  <a:lnTo>
                    <a:pt x="3876" y="2664"/>
                  </a:lnTo>
                  <a:lnTo>
                    <a:pt x="3876" y="2670"/>
                  </a:lnTo>
                  <a:lnTo>
                    <a:pt x="3882" y="2682"/>
                  </a:lnTo>
                  <a:lnTo>
                    <a:pt x="3888" y="2688"/>
                  </a:lnTo>
                  <a:lnTo>
                    <a:pt x="3894" y="2688"/>
                  </a:lnTo>
                  <a:lnTo>
                    <a:pt x="3930" y="2676"/>
                  </a:lnTo>
                  <a:lnTo>
                    <a:pt x="3954" y="2664"/>
                  </a:lnTo>
                  <a:lnTo>
                    <a:pt x="3972" y="2658"/>
                  </a:lnTo>
                  <a:lnTo>
                    <a:pt x="3984" y="2652"/>
                  </a:lnTo>
                  <a:lnTo>
                    <a:pt x="4008" y="2646"/>
                  </a:lnTo>
                  <a:lnTo>
                    <a:pt x="4068" y="2634"/>
                  </a:lnTo>
                  <a:lnTo>
                    <a:pt x="4080" y="2628"/>
                  </a:lnTo>
                  <a:lnTo>
                    <a:pt x="4068" y="2616"/>
                  </a:lnTo>
                  <a:lnTo>
                    <a:pt x="4074" y="2598"/>
                  </a:lnTo>
                  <a:lnTo>
                    <a:pt x="4038" y="2604"/>
                  </a:lnTo>
                  <a:lnTo>
                    <a:pt x="4038" y="2580"/>
                  </a:lnTo>
                  <a:lnTo>
                    <a:pt x="4026" y="2586"/>
                  </a:lnTo>
                  <a:lnTo>
                    <a:pt x="4020" y="2586"/>
                  </a:lnTo>
                  <a:lnTo>
                    <a:pt x="4008" y="2592"/>
                  </a:lnTo>
                  <a:lnTo>
                    <a:pt x="4002" y="2598"/>
                  </a:lnTo>
                  <a:lnTo>
                    <a:pt x="3990" y="2598"/>
                  </a:lnTo>
                  <a:lnTo>
                    <a:pt x="3990" y="2580"/>
                  </a:lnTo>
                  <a:lnTo>
                    <a:pt x="3930" y="2580"/>
                  </a:lnTo>
                  <a:lnTo>
                    <a:pt x="3924" y="2574"/>
                  </a:lnTo>
                  <a:lnTo>
                    <a:pt x="3924" y="2568"/>
                  </a:lnTo>
                  <a:lnTo>
                    <a:pt x="3918" y="2562"/>
                  </a:lnTo>
                  <a:lnTo>
                    <a:pt x="3918" y="2556"/>
                  </a:lnTo>
                  <a:lnTo>
                    <a:pt x="3930" y="2556"/>
                  </a:lnTo>
                  <a:lnTo>
                    <a:pt x="3918" y="2544"/>
                  </a:lnTo>
                  <a:lnTo>
                    <a:pt x="3888" y="2544"/>
                  </a:lnTo>
                  <a:lnTo>
                    <a:pt x="3882" y="2532"/>
                  </a:lnTo>
                  <a:lnTo>
                    <a:pt x="3882" y="2526"/>
                  </a:lnTo>
                  <a:lnTo>
                    <a:pt x="3876" y="2514"/>
                  </a:lnTo>
                  <a:lnTo>
                    <a:pt x="3876" y="2502"/>
                  </a:lnTo>
                  <a:lnTo>
                    <a:pt x="3894" y="2484"/>
                  </a:lnTo>
                  <a:lnTo>
                    <a:pt x="3870" y="2484"/>
                  </a:lnTo>
                  <a:lnTo>
                    <a:pt x="3876" y="2478"/>
                  </a:lnTo>
                  <a:lnTo>
                    <a:pt x="3888" y="2472"/>
                  </a:lnTo>
                  <a:lnTo>
                    <a:pt x="3894" y="2460"/>
                  </a:lnTo>
                  <a:lnTo>
                    <a:pt x="3906" y="2454"/>
                  </a:lnTo>
                  <a:lnTo>
                    <a:pt x="3918" y="2442"/>
                  </a:lnTo>
                  <a:lnTo>
                    <a:pt x="3924" y="2430"/>
                  </a:lnTo>
                  <a:lnTo>
                    <a:pt x="3936" y="2424"/>
                  </a:lnTo>
                  <a:lnTo>
                    <a:pt x="3942" y="2412"/>
                  </a:lnTo>
                  <a:lnTo>
                    <a:pt x="3948" y="2406"/>
                  </a:lnTo>
                  <a:lnTo>
                    <a:pt x="3936" y="2400"/>
                  </a:lnTo>
                  <a:lnTo>
                    <a:pt x="3912" y="2430"/>
                  </a:lnTo>
                  <a:lnTo>
                    <a:pt x="3894" y="2418"/>
                  </a:lnTo>
                  <a:lnTo>
                    <a:pt x="3864" y="2436"/>
                  </a:lnTo>
                  <a:lnTo>
                    <a:pt x="3858" y="2418"/>
                  </a:lnTo>
                  <a:lnTo>
                    <a:pt x="3828" y="2406"/>
                  </a:lnTo>
                  <a:lnTo>
                    <a:pt x="3810" y="2412"/>
                  </a:lnTo>
                  <a:lnTo>
                    <a:pt x="3864" y="2394"/>
                  </a:lnTo>
                  <a:lnTo>
                    <a:pt x="3870" y="2400"/>
                  </a:lnTo>
                  <a:lnTo>
                    <a:pt x="3882" y="2406"/>
                  </a:lnTo>
                  <a:lnTo>
                    <a:pt x="3900" y="2406"/>
                  </a:lnTo>
                  <a:lnTo>
                    <a:pt x="3918" y="2388"/>
                  </a:lnTo>
                  <a:lnTo>
                    <a:pt x="3930" y="2382"/>
                  </a:lnTo>
                  <a:lnTo>
                    <a:pt x="3936" y="2376"/>
                  </a:lnTo>
                  <a:lnTo>
                    <a:pt x="3978" y="2376"/>
                  </a:lnTo>
                  <a:lnTo>
                    <a:pt x="3978" y="2364"/>
                  </a:lnTo>
                  <a:lnTo>
                    <a:pt x="3972" y="2358"/>
                  </a:lnTo>
                  <a:lnTo>
                    <a:pt x="3966" y="2346"/>
                  </a:lnTo>
                  <a:lnTo>
                    <a:pt x="3990" y="2346"/>
                  </a:lnTo>
                  <a:lnTo>
                    <a:pt x="3978" y="2334"/>
                  </a:lnTo>
                  <a:lnTo>
                    <a:pt x="3972" y="2322"/>
                  </a:lnTo>
                  <a:lnTo>
                    <a:pt x="3960" y="2316"/>
                  </a:lnTo>
                  <a:lnTo>
                    <a:pt x="3942" y="2310"/>
                  </a:lnTo>
                  <a:lnTo>
                    <a:pt x="3918" y="2310"/>
                  </a:lnTo>
                  <a:lnTo>
                    <a:pt x="3852" y="2316"/>
                  </a:lnTo>
                  <a:lnTo>
                    <a:pt x="3792" y="2334"/>
                  </a:lnTo>
                  <a:lnTo>
                    <a:pt x="3744" y="2352"/>
                  </a:lnTo>
                  <a:lnTo>
                    <a:pt x="3684" y="2376"/>
                  </a:lnTo>
                  <a:lnTo>
                    <a:pt x="3660" y="2388"/>
                  </a:lnTo>
                  <a:lnTo>
                    <a:pt x="3642" y="2400"/>
                  </a:lnTo>
                  <a:lnTo>
                    <a:pt x="3624" y="2418"/>
                  </a:lnTo>
                  <a:lnTo>
                    <a:pt x="3606" y="2430"/>
                  </a:lnTo>
                  <a:lnTo>
                    <a:pt x="3594" y="2442"/>
                  </a:lnTo>
                  <a:lnTo>
                    <a:pt x="3576" y="2454"/>
                  </a:lnTo>
                  <a:lnTo>
                    <a:pt x="3564" y="2466"/>
                  </a:lnTo>
                  <a:lnTo>
                    <a:pt x="3528" y="2484"/>
                  </a:lnTo>
                  <a:lnTo>
                    <a:pt x="3516" y="2484"/>
                  </a:lnTo>
                  <a:lnTo>
                    <a:pt x="3498" y="2490"/>
                  </a:lnTo>
                  <a:lnTo>
                    <a:pt x="3486" y="2490"/>
                  </a:lnTo>
                  <a:lnTo>
                    <a:pt x="3492" y="2490"/>
                  </a:lnTo>
                  <a:lnTo>
                    <a:pt x="3498" y="2484"/>
                  </a:lnTo>
                  <a:lnTo>
                    <a:pt x="3510" y="2478"/>
                  </a:lnTo>
                  <a:lnTo>
                    <a:pt x="3522" y="2466"/>
                  </a:lnTo>
                  <a:lnTo>
                    <a:pt x="3540" y="2460"/>
                  </a:lnTo>
                  <a:lnTo>
                    <a:pt x="3552" y="2448"/>
                  </a:lnTo>
                  <a:lnTo>
                    <a:pt x="3576" y="2436"/>
                  </a:lnTo>
                  <a:lnTo>
                    <a:pt x="3600" y="2412"/>
                  </a:lnTo>
                  <a:lnTo>
                    <a:pt x="3606" y="2400"/>
                  </a:lnTo>
                  <a:lnTo>
                    <a:pt x="3582" y="2388"/>
                  </a:lnTo>
                  <a:lnTo>
                    <a:pt x="3588" y="2388"/>
                  </a:lnTo>
                  <a:lnTo>
                    <a:pt x="3594" y="2394"/>
                  </a:lnTo>
                  <a:lnTo>
                    <a:pt x="3624" y="2394"/>
                  </a:lnTo>
                  <a:lnTo>
                    <a:pt x="3642" y="2382"/>
                  </a:lnTo>
                  <a:lnTo>
                    <a:pt x="3702" y="2334"/>
                  </a:lnTo>
                  <a:lnTo>
                    <a:pt x="3750" y="2310"/>
                  </a:lnTo>
                  <a:lnTo>
                    <a:pt x="3768" y="2304"/>
                  </a:lnTo>
                  <a:lnTo>
                    <a:pt x="3804" y="2304"/>
                  </a:lnTo>
                  <a:lnTo>
                    <a:pt x="3852" y="2256"/>
                  </a:lnTo>
                  <a:lnTo>
                    <a:pt x="3870" y="2244"/>
                  </a:lnTo>
                  <a:lnTo>
                    <a:pt x="3888" y="2238"/>
                  </a:lnTo>
                  <a:lnTo>
                    <a:pt x="3936" y="2232"/>
                  </a:lnTo>
                  <a:lnTo>
                    <a:pt x="3990" y="2232"/>
                  </a:lnTo>
                  <a:lnTo>
                    <a:pt x="4044" y="2226"/>
                  </a:lnTo>
                  <a:lnTo>
                    <a:pt x="4074" y="2226"/>
                  </a:lnTo>
                  <a:lnTo>
                    <a:pt x="4104" y="2232"/>
                  </a:lnTo>
                  <a:lnTo>
                    <a:pt x="4176" y="2244"/>
                  </a:lnTo>
                  <a:lnTo>
                    <a:pt x="4200" y="2250"/>
                  </a:lnTo>
                  <a:lnTo>
                    <a:pt x="4212" y="2244"/>
                  </a:lnTo>
                  <a:lnTo>
                    <a:pt x="4248" y="2232"/>
                  </a:lnTo>
                  <a:lnTo>
                    <a:pt x="4260" y="2226"/>
                  </a:lnTo>
                  <a:lnTo>
                    <a:pt x="4278" y="2226"/>
                  </a:lnTo>
                  <a:lnTo>
                    <a:pt x="4296" y="2220"/>
                  </a:lnTo>
                  <a:lnTo>
                    <a:pt x="4320" y="2214"/>
                  </a:lnTo>
                  <a:lnTo>
                    <a:pt x="4338" y="2208"/>
                  </a:lnTo>
                  <a:lnTo>
                    <a:pt x="4374" y="2172"/>
                  </a:lnTo>
                  <a:lnTo>
                    <a:pt x="4392" y="2166"/>
                  </a:lnTo>
                  <a:lnTo>
                    <a:pt x="4404" y="2154"/>
                  </a:lnTo>
                  <a:lnTo>
                    <a:pt x="4410" y="2154"/>
                  </a:lnTo>
                  <a:lnTo>
                    <a:pt x="4422" y="2148"/>
                  </a:lnTo>
                  <a:lnTo>
                    <a:pt x="4452" y="2148"/>
                  </a:lnTo>
                  <a:lnTo>
                    <a:pt x="4458" y="2142"/>
                  </a:lnTo>
                  <a:lnTo>
                    <a:pt x="4470" y="2136"/>
                  </a:lnTo>
                  <a:lnTo>
                    <a:pt x="4476" y="2130"/>
                  </a:lnTo>
                  <a:lnTo>
                    <a:pt x="4494" y="2130"/>
                  </a:lnTo>
                  <a:lnTo>
                    <a:pt x="4500" y="2136"/>
                  </a:lnTo>
                  <a:lnTo>
                    <a:pt x="4518" y="2136"/>
                  </a:lnTo>
                  <a:lnTo>
                    <a:pt x="4530" y="2130"/>
                  </a:lnTo>
                  <a:lnTo>
                    <a:pt x="4536" y="2130"/>
                  </a:lnTo>
                  <a:lnTo>
                    <a:pt x="4542" y="2124"/>
                  </a:lnTo>
                  <a:lnTo>
                    <a:pt x="4596" y="2106"/>
                  </a:lnTo>
                  <a:lnTo>
                    <a:pt x="4620" y="2094"/>
                  </a:lnTo>
                  <a:lnTo>
                    <a:pt x="4620" y="2088"/>
                  </a:lnTo>
                  <a:lnTo>
                    <a:pt x="4614" y="2076"/>
                  </a:lnTo>
                  <a:lnTo>
                    <a:pt x="4602" y="2070"/>
                  </a:lnTo>
                  <a:lnTo>
                    <a:pt x="4584" y="2052"/>
                  </a:lnTo>
                  <a:lnTo>
                    <a:pt x="4578" y="2052"/>
                  </a:lnTo>
                  <a:lnTo>
                    <a:pt x="4602" y="2052"/>
                  </a:lnTo>
                  <a:lnTo>
                    <a:pt x="4614" y="2046"/>
                  </a:lnTo>
                  <a:lnTo>
                    <a:pt x="4614" y="2028"/>
                  </a:lnTo>
                  <a:lnTo>
                    <a:pt x="4608" y="2022"/>
                  </a:lnTo>
                  <a:lnTo>
                    <a:pt x="4608" y="2010"/>
                  </a:lnTo>
                  <a:lnTo>
                    <a:pt x="4632" y="2010"/>
                  </a:lnTo>
                  <a:lnTo>
                    <a:pt x="4644" y="1998"/>
                  </a:lnTo>
                  <a:lnTo>
                    <a:pt x="4644" y="1992"/>
                  </a:lnTo>
                  <a:lnTo>
                    <a:pt x="4632" y="1980"/>
                  </a:lnTo>
                  <a:lnTo>
                    <a:pt x="4626" y="1968"/>
                  </a:lnTo>
                  <a:lnTo>
                    <a:pt x="4608" y="1962"/>
                  </a:lnTo>
                  <a:lnTo>
                    <a:pt x="4602" y="1956"/>
                  </a:lnTo>
                  <a:lnTo>
                    <a:pt x="4590" y="196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grpSp>
          <p:nvGrpSpPr>
            <p:cNvPr id="161" name="Group 160"/>
            <p:cNvGrpSpPr/>
            <p:nvPr/>
          </p:nvGrpSpPr>
          <p:grpSpPr>
            <a:xfrm>
              <a:off x="4664115" y="3975551"/>
              <a:ext cx="524734" cy="665061"/>
              <a:chOff x="4664115" y="3975551"/>
              <a:chExt cx="524734" cy="665061"/>
            </a:xfrm>
            <a:grpFill/>
          </p:grpSpPr>
          <p:sp>
            <p:nvSpPr>
              <p:cNvPr id="191" name="Congo" descr="© INSCALE GmbH, 05.05.2010&#10;http://www.presentationload.com/"/>
              <p:cNvSpPr>
                <a:spLocks/>
              </p:cNvSpPr>
              <p:nvPr/>
            </p:nvSpPr>
            <p:spPr bwMode="gray">
              <a:xfrm>
                <a:off x="4751144" y="4169068"/>
                <a:ext cx="437705" cy="471544"/>
              </a:xfrm>
              <a:custGeom>
                <a:avLst/>
                <a:gdLst>
                  <a:gd name="T0" fmla="*/ 2147483647 w 1350"/>
                  <a:gd name="T1" fmla="*/ 2147483647 h 1518"/>
                  <a:gd name="T2" fmla="*/ 2147483647 w 1350"/>
                  <a:gd name="T3" fmla="*/ 2147483647 h 1518"/>
                  <a:gd name="T4" fmla="*/ 2147483647 w 1350"/>
                  <a:gd name="T5" fmla="*/ 2147483647 h 1518"/>
                  <a:gd name="T6" fmla="*/ 2147483647 w 1350"/>
                  <a:gd name="T7" fmla="*/ 2147483647 h 1518"/>
                  <a:gd name="T8" fmla="*/ 2147483647 w 1350"/>
                  <a:gd name="T9" fmla="*/ 2147483647 h 1518"/>
                  <a:gd name="T10" fmla="*/ 2147483647 w 1350"/>
                  <a:gd name="T11" fmla="*/ 2147483647 h 1518"/>
                  <a:gd name="T12" fmla="*/ 2147483647 w 1350"/>
                  <a:gd name="T13" fmla="*/ 2147483647 h 1518"/>
                  <a:gd name="T14" fmla="*/ 2147483647 w 1350"/>
                  <a:gd name="T15" fmla="*/ 2147483647 h 1518"/>
                  <a:gd name="T16" fmla="*/ 2147483647 w 1350"/>
                  <a:gd name="T17" fmla="*/ 2147483647 h 1518"/>
                  <a:gd name="T18" fmla="*/ 2147483647 w 1350"/>
                  <a:gd name="T19" fmla="*/ 2147483647 h 1518"/>
                  <a:gd name="T20" fmla="*/ 2147483647 w 1350"/>
                  <a:gd name="T21" fmla="*/ 2147483647 h 1518"/>
                  <a:gd name="T22" fmla="*/ 2147483647 w 1350"/>
                  <a:gd name="T23" fmla="*/ 2147483647 h 1518"/>
                  <a:gd name="T24" fmla="*/ 2147483647 w 1350"/>
                  <a:gd name="T25" fmla="*/ 2147483647 h 1518"/>
                  <a:gd name="T26" fmla="*/ 2147483647 w 1350"/>
                  <a:gd name="T27" fmla="*/ 2147483647 h 1518"/>
                  <a:gd name="T28" fmla="*/ 2147483647 w 1350"/>
                  <a:gd name="T29" fmla="*/ 2147483647 h 1518"/>
                  <a:gd name="T30" fmla="*/ 2147483647 w 1350"/>
                  <a:gd name="T31" fmla="*/ 2147483647 h 1518"/>
                  <a:gd name="T32" fmla="*/ 2147483647 w 1350"/>
                  <a:gd name="T33" fmla="*/ 2147483647 h 1518"/>
                  <a:gd name="T34" fmla="*/ 2147483647 w 1350"/>
                  <a:gd name="T35" fmla="*/ 2147483647 h 1518"/>
                  <a:gd name="T36" fmla="*/ 2147483647 w 1350"/>
                  <a:gd name="T37" fmla="*/ 2147483647 h 1518"/>
                  <a:gd name="T38" fmla="*/ 2147483647 w 1350"/>
                  <a:gd name="T39" fmla="*/ 2147483647 h 1518"/>
                  <a:gd name="T40" fmla="*/ 2147483647 w 1350"/>
                  <a:gd name="T41" fmla="*/ 2147483647 h 1518"/>
                  <a:gd name="T42" fmla="*/ 2147483647 w 1350"/>
                  <a:gd name="T43" fmla="*/ 2147483647 h 1518"/>
                  <a:gd name="T44" fmla="*/ 2147483647 w 1350"/>
                  <a:gd name="T45" fmla="*/ 2147483647 h 1518"/>
                  <a:gd name="T46" fmla="*/ 2147483647 w 1350"/>
                  <a:gd name="T47" fmla="*/ 2147483647 h 1518"/>
                  <a:gd name="T48" fmla="*/ 2147483647 w 1350"/>
                  <a:gd name="T49" fmla="*/ 2147483647 h 1518"/>
                  <a:gd name="T50" fmla="*/ 2147483647 w 1350"/>
                  <a:gd name="T51" fmla="*/ 2147483647 h 1518"/>
                  <a:gd name="T52" fmla="*/ 2147483647 w 1350"/>
                  <a:gd name="T53" fmla="*/ 2147483647 h 1518"/>
                  <a:gd name="T54" fmla="*/ 2147483647 w 1350"/>
                  <a:gd name="T55" fmla="*/ 2147483647 h 1518"/>
                  <a:gd name="T56" fmla="*/ 2147483647 w 1350"/>
                  <a:gd name="T57" fmla="*/ 2147483647 h 1518"/>
                  <a:gd name="T58" fmla="*/ 2147483647 w 1350"/>
                  <a:gd name="T59" fmla="*/ 2147483647 h 1518"/>
                  <a:gd name="T60" fmla="*/ 2147483647 w 1350"/>
                  <a:gd name="T61" fmla="*/ 2147483647 h 1518"/>
                  <a:gd name="T62" fmla="*/ 2147483647 w 1350"/>
                  <a:gd name="T63" fmla="*/ 2147483647 h 1518"/>
                  <a:gd name="T64" fmla="*/ 2147483647 w 1350"/>
                  <a:gd name="T65" fmla="*/ 2147483647 h 1518"/>
                  <a:gd name="T66" fmla="*/ 2147483647 w 1350"/>
                  <a:gd name="T67" fmla="*/ 2147483647 h 1518"/>
                  <a:gd name="T68" fmla="*/ 2147483647 w 1350"/>
                  <a:gd name="T69" fmla="*/ 2147483647 h 1518"/>
                  <a:gd name="T70" fmla="*/ 2147483647 w 1350"/>
                  <a:gd name="T71" fmla="*/ 2147483647 h 1518"/>
                  <a:gd name="T72" fmla="*/ 2147483647 w 1350"/>
                  <a:gd name="T73" fmla="*/ 2147483647 h 1518"/>
                  <a:gd name="T74" fmla="*/ 2147483647 w 1350"/>
                  <a:gd name="T75" fmla="*/ 2147483647 h 1518"/>
                  <a:gd name="T76" fmla="*/ 2147483647 w 1350"/>
                  <a:gd name="T77" fmla="*/ 2147483647 h 1518"/>
                  <a:gd name="T78" fmla="*/ 2147483647 w 1350"/>
                  <a:gd name="T79" fmla="*/ 2147483647 h 1518"/>
                  <a:gd name="T80" fmla="*/ 2147483647 w 1350"/>
                  <a:gd name="T81" fmla="*/ 2147483647 h 1518"/>
                  <a:gd name="T82" fmla="*/ 2147483647 w 1350"/>
                  <a:gd name="T83" fmla="*/ 2147483647 h 1518"/>
                  <a:gd name="T84" fmla="*/ 2147483647 w 1350"/>
                  <a:gd name="T85" fmla="*/ 2147483647 h 1518"/>
                  <a:gd name="T86" fmla="*/ 2147483647 w 1350"/>
                  <a:gd name="T87" fmla="*/ 2147483647 h 1518"/>
                  <a:gd name="T88" fmla="*/ 2147483647 w 1350"/>
                  <a:gd name="T89" fmla="*/ 2147483647 h 1518"/>
                  <a:gd name="T90" fmla="*/ 2147483647 w 1350"/>
                  <a:gd name="T91" fmla="*/ 2147483647 h 1518"/>
                  <a:gd name="T92" fmla="*/ 2147483647 w 1350"/>
                  <a:gd name="T93" fmla="*/ 2147483647 h 1518"/>
                  <a:gd name="T94" fmla="*/ 2147483647 w 1350"/>
                  <a:gd name="T95" fmla="*/ 2147483647 h 1518"/>
                  <a:gd name="T96" fmla="*/ 2147483647 w 1350"/>
                  <a:gd name="T97" fmla="*/ 2147483647 h 1518"/>
                  <a:gd name="T98" fmla="*/ 2147483647 w 1350"/>
                  <a:gd name="T99" fmla="*/ 2147483647 h 1518"/>
                  <a:gd name="T100" fmla="*/ 2147483647 w 1350"/>
                  <a:gd name="T101" fmla="*/ 2147483647 h 1518"/>
                  <a:gd name="T102" fmla="*/ 2147483647 w 1350"/>
                  <a:gd name="T103" fmla="*/ 2147483647 h 1518"/>
                  <a:gd name="T104" fmla="*/ 2147483647 w 1350"/>
                  <a:gd name="T105" fmla="*/ 2147483647 h 1518"/>
                  <a:gd name="T106" fmla="*/ 2147483647 w 1350"/>
                  <a:gd name="T107" fmla="*/ 2147483647 h 1518"/>
                  <a:gd name="T108" fmla="*/ 2147483647 w 1350"/>
                  <a:gd name="T109" fmla="*/ 2147483647 h 1518"/>
                  <a:gd name="T110" fmla="*/ 2147483647 w 1350"/>
                  <a:gd name="T111" fmla="*/ 2147483647 h 1518"/>
                  <a:gd name="T112" fmla="*/ 2147483647 w 1350"/>
                  <a:gd name="T113" fmla="*/ 2147483647 h 1518"/>
                  <a:gd name="T114" fmla="*/ 2147483647 w 1350"/>
                  <a:gd name="T115" fmla="*/ 2147483647 h 1518"/>
                  <a:gd name="T116" fmla="*/ 2147483647 w 1350"/>
                  <a:gd name="T117" fmla="*/ 2147483647 h 1518"/>
                  <a:gd name="T118" fmla="*/ 2147483647 w 1350"/>
                  <a:gd name="T119" fmla="*/ 2147483647 h 1518"/>
                  <a:gd name="T120" fmla="*/ 2147483647 w 1350"/>
                  <a:gd name="T121" fmla="*/ 2147483647 h 1518"/>
                  <a:gd name="T122" fmla="*/ 2147483647 w 1350"/>
                  <a:gd name="T123" fmla="*/ 2147483647 h 1518"/>
                  <a:gd name="T124" fmla="*/ 2147483647 w 1350"/>
                  <a:gd name="T125" fmla="*/ 2147483647 h 1518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1350"/>
                  <a:gd name="T190" fmla="*/ 0 h 1518"/>
                  <a:gd name="T191" fmla="*/ 1350 w 1350"/>
                  <a:gd name="T192" fmla="*/ 1518 h 1518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1350" h="1518">
                    <a:moveTo>
                      <a:pt x="1242" y="468"/>
                    </a:moveTo>
                    <a:lnTo>
                      <a:pt x="1242" y="438"/>
                    </a:lnTo>
                    <a:lnTo>
                      <a:pt x="1260" y="366"/>
                    </a:lnTo>
                    <a:lnTo>
                      <a:pt x="1278" y="354"/>
                    </a:lnTo>
                    <a:lnTo>
                      <a:pt x="1278" y="342"/>
                    </a:lnTo>
                    <a:lnTo>
                      <a:pt x="1302" y="330"/>
                    </a:lnTo>
                    <a:lnTo>
                      <a:pt x="1308" y="318"/>
                    </a:lnTo>
                    <a:lnTo>
                      <a:pt x="1320" y="312"/>
                    </a:lnTo>
                    <a:lnTo>
                      <a:pt x="1332" y="288"/>
                    </a:lnTo>
                    <a:lnTo>
                      <a:pt x="1344" y="276"/>
                    </a:lnTo>
                    <a:lnTo>
                      <a:pt x="1350" y="264"/>
                    </a:lnTo>
                    <a:lnTo>
                      <a:pt x="1350" y="252"/>
                    </a:lnTo>
                    <a:lnTo>
                      <a:pt x="1344" y="246"/>
                    </a:lnTo>
                    <a:lnTo>
                      <a:pt x="1332" y="240"/>
                    </a:lnTo>
                    <a:lnTo>
                      <a:pt x="1320" y="240"/>
                    </a:lnTo>
                    <a:lnTo>
                      <a:pt x="1314" y="234"/>
                    </a:lnTo>
                    <a:lnTo>
                      <a:pt x="1314" y="222"/>
                    </a:lnTo>
                    <a:lnTo>
                      <a:pt x="1320" y="210"/>
                    </a:lnTo>
                    <a:lnTo>
                      <a:pt x="1326" y="204"/>
                    </a:lnTo>
                    <a:lnTo>
                      <a:pt x="1326" y="198"/>
                    </a:lnTo>
                    <a:lnTo>
                      <a:pt x="1320" y="192"/>
                    </a:lnTo>
                    <a:lnTo>
                      <a:pt x="1308" y="186"/>
                    </a:lnTo>
                    <a:lnTo>
                      <a:pt x="1326" y="168"/>
                    </a:lnTo>
                    <a:lnTo>
                      <a:pt x="1320" y="144"/>
                    </a:lnTo>
                    <a:lnTo>
                      <a:pt x="1302" y="144"/>
                    </a:lnTo>
                    <a:lnTo>
                      <a:pt x="1296" y="120"/>
                    </a:lnTo>
                    <a:lnTo>
                      <a:pt x="1290" y="120"/>
                    </a:lnTo>
                    <a:lnTo>
                      <a:pt x="1284" y="114"/>
                    </a:lnTo>
                    <a:lnTo>
                      <a:pt x="1272" y="108"/>
                    </a:lnTo>
                    <a:lnTo>
                      <a:pt x="1260" y="96"/>
                    </a:lnTo>
                    <a:lnTo>
                      <a:pt x="1254" y="84"/>
                    </a:lnTo>
                    <a:lnTo>
                      <a:pt x="1248" y="66"/>
                    </a:lnTo>
                    <a:lnTo>
                      <a:pt x="1236" y="60"/>
                    </a:lnTo>
                    <a:lnTo>
                      <a:pt x="1230" y="54"/>
                    </a:lnTo>
                    <a:lnTo>
                      <a:pt x="1218" y="66"/>
                    </a:lnTo>
                    <a:lnTo>
                      <a:pt x="1218" y="72"/>
                    </a:lnTo>
                    <a:lnTo>
                      <a:pt x="1206" y="84"/>
                    </a:lnTo>
                    <a:lnTo>
                      <a:pt x="1200" y="84"/>
                    </a:lnTo>
                    <a:lnTo>
                      <a:pt x="1188" y="78"/>
                    </a:lnTo>
                    <a:lnTo>
                      <a:pt x="1188" y="72"/>
                    </a:lnTo>
                    <a:lnTo>
                      <a:pt x="1176" y="66"/>
                    </a:lnTo>
                    <a:lnTo>
                      <a:pt x="1164" y="66"/>
                    </a:lnTo>
                    <a:lnTo>
                      <a:pt x="1158" y="72"/>
                    </a:lnTo>
                    <a:lnTo>
                      <a:pt x="1152" y="84"/>
                    </a:lnTo>
                    <a:lnTo>
                      <a:pt x="1146" y="90"/>
                    </a:lnTo>
                    <a:lnTo>
                      <a:pt x="1098" y="66"/>
                    </a:lnTo>
                    <a:lnTo>
                      <a:pt x="1098" y="42"/>
                    </a:lnTo>
                    <a:lnTo>
                      <a:pt x="1068" y="18"/>
                    </a:lnTo>
                    <a:lnTo>
                      <a:pt x="1062" y="6"/>
                    </a:lnTo>
                    <a:lnTo>
                      <a:pt x="1044" y="24"/>
                    </a:lnTo>
                    <a:lnTo>
                      <a:pt x="1026" y="30"/>
                    </a:lnTo>
                    <a:lnTo>
                      <a:pt x="1002" y="30"/>
                    </a:lnTo>
                    <a:lnTo>
                      <a:pt x="990" y="18"/>
                    </a:lnTo>
                    <a:lnTo>
                      <a:pt x="990" y="12"/>
                    </a:lnTo>
                    <a:lnTo>
                      <a:pt x="954" y="18"/>
                    </a:lnTo>
                    <a:lnTo>
                      <a:pt x="942" y="6"/>
                    </a:lnTo>
                    <a:lnTo>
                      <a:pt x="942" y="0"/>
                    </a:lnTo>
                    <a:lnTo>
                      <a:pt x="936" y="0"/>
                    </a:lnTo>
                    <a:lnTo>
                      <a:pt x="918" y="18"/>
                    </a:lnTo>
                    <a:lnTo>
                      <a:pt x="918" y="30"/>
                    </a:lnTo>
                    <a:lnTo>
                      <a:pt x="906" y="30"/>
                    </a:lnTo>
                    <a:lnTo>
                      <a:pt x="900" y="36"/>
                    </a:lnTo>
                    <a:lnTo>
                      <a:pt x="876" y="36"/>
                    </a:lnTo>
                    <a:lnTo>
                      <a:pt x="864" y="24"/>
                    </a:lnTo>
                    <a:lnTo>
                      <a:pt x="840" y="42"/>
                    </a:lnTo>
                    <a:lnTo>
                      <a:pt x="822" y="42"/>
                    </a:lnTo>
                    <a:lnTo>
                      <a:pt x="810" y="54"/>
                    </a:lnTo>
                    <a:lnTo>
                      <a:pt x="798" y="60"/>
                    </a:lnTo>
                    <a:lnTo>
                      <a:pt x="792" y="66"/>
                    </a:lnTo>
                    <a:lnTo>
                      <a:pt x="786" y="66"/>
                    </a:lnTo>
                    <a:lnTo>
                      <a:pt x="762" y="42"/>
                    </a:lnTo>
                    <a:lnTo>
                      <a:pt x="756" y="54"/>
                    </a:lnTo>
                    <a:lnTo>
                      <a:pt x="738" y="72"/>
                    </a:lnTo>
                    <a:lnTo>
                      <a:pt x="738" y="84"/>
                    </a:lnTo>
                    <a:lnTo>
                      <a:pt x="732" y="90"/>
                    </a:lnTo>
                    <a:lnTo>
                      <a:pt x="726" y="102"/>
                    </a:lnTo>
                    <a:lnTo>
                      <a:pt x="720" y="108"/>
                    </a:lnTo>
                    <a:lnTo>
                      <a:pt x="708" y="102"/>
                    </a:lnTo>
                    <a:lnTo>
                      <a:pt x="702" y="96"/>
                    </a:lnTo>
                    <a:lnTo>
                      <a:pt x="690" y="90"/>
                    </a:lnTo>
                    <a:lnTo>
                      <a:pt x="642" y="90"/>
                    </a:lnTo>
                    <a:lnTo>
                      <a:pt x="630" y="84"/>
                    </a:lnTo>
                    <a:lnTo>
                      <a:pt x="624" y="78"/>
                    </a:lnTo>
                    <a:lnTo>
                      <a:pt x="582" y="78"/>
                    </a:lnTo>
                    <a:lnTo>
                      <a:pt x="582" y="48"/>
                    </a:lnTo>
                    <a:lnTo>
                      <a:pt x="576" y="42"/>
                    </a:lnTo>
                    <a:lnTo>
                      <a:pt x="558" y="42"/>
                    </a:lnTo>
                    <a:lnTo>
                      <a:pt x="558" y="30"/>
                    </a:lnTo>
                    <a:lnTo>
                      <a:pt x="546" y="24"/>
                    </a:lnTo>
                    <a:lnTo>
                      <a:pt x="534" y="24"/>
                    </a:lnTo>
                    <a:lnTo>
                      <a:pt x="516" y="18"/>
                    </a:lnTo>
                    <a:lnTo>
                      <a:pt x="504" y="18"/>
                    </a:lnTo>
                    <a:lnTo>
                      <a:pt x="492" y="24"/>
                    </a:lnTo>
                    <a:lnTo>
                      <a:pt x="486" y="30"/>
                    </a:lnTo>
                    <a:lnTo>
                      <a:pt x="486" y="36"/>
                    </a:lnTo>
                    <a:lnTo>
                      <a:pt x="480" y="48"/>
                    </a:lnTo>
                    <a:lnTo>
                      <a:pt x="480" y="54"/>
                    </a:lnTo>
                    <a:lnTo>
                      <a:pt x="474" y="66"/>
                    </a:lnTo>
                    <a:lnTo>
                      <a:pt x="462" y="78"/>
                    </a:lnTo>
                    <a:lnTo>
                      <a:pt x="456" y="78"/>
                    </a:lnTo>
                    <a:lnTo>
                      <a:pt x="444" y="90"/>
                    </a:lnTo>
                    <a:lnTo>
                      <a:pt x="444" y="102"/>
                    </a:lnTo>
                    <a:lnTo>
                      <a:pt x="450" y="102"/>
                    </a:lnTo>
                    <a:lnTo>
                      <a:pt x="450" y="120"/>
                    </a:lnTo>
                    <a:lnTo>
                      <a:pt x="438" y="138"/>
                    </a:lnTo>
                    <a:lnTo>
                      <a:pt x="450" y="150"/>
                    </a:lnTo>
                    <a:lnTo>
                      <a:pt x="450" y="186"/>
                    </a:lnTo>
                    <a:lnTo>
                      <a:pt x="444" y="198"/>
                    </a:lnTo>
                    <a:lnTo>
                      <a:pt x="438" y="216"/>
                    </a:lnTo>
                    <a:lnTo>
                      <a:pt x="426" y="228"/>
                    </a:lnTo>
                    <a:lnTo>
                      <a:pt x="414" y="252"/>
                    </a:lnTo>
                    <a:lnTo>
                      <a:pt x="408" y="258"/>
                    </a:lnTo>
                    <a:lnTo>
                      <a:pt x="408" y="288"/>
                    </a:lnTo>
                    <a:lnTo>
                      <a:pt x="414" y="300"/>
                    </a:lnTo>
                    <a:lnTo>
                      <a:pt x="414" y="324"/>
                    </a:lnTo>
                    <a:lnTo>
                      <a:pt x="396" y="360"/>
                    </a:lnTo>
                    <a:lnTo>
                      <a:pt x="396" y="372"/>
                    </a:lnTo>
                    <a:lnTo>
                      <a:pt x="402" y="378"/>
                    </a:lnTo>
                    <a:lnTo>
                      <a:pt x="408" y="390"/>
                    </a:lnTo>
                    <a:lnTo>
                      <a:pt x="408" y="414"/>
                    </a:lnTo>
                    <a:lnTo>
                      <a:pt x="402" y="426"/>
                    </a:lnTo>
                    <a:lnTo>
                      <a:pt x="390" y="432"/>
                    </a:lnTo>
                    <a:lnTo>
                      <a:pt x="390" y="486"/>
                    </a:lnTo>
                    <a:lnTo>
                      <a:pt x="384" y="492"/>
                    </a:lnTo>
                    <a:lnTo>
                      <a:pt x="372" y="498"/>
                    </a:lnTo>
                    <a:lnTo>
                      <a:pt x="366" y="510"/>
                    </a:lnTo>
                    <a:lnTo>
                      <a:pt x="318" y="534"/>
                    </a:lnTo>
                    <a:lnTo>
                      <a:pt x="312" y="540"/>
                    </a:lnTo>
                    <a:lnTo>
                      <a:pt x="306" y="552"/>
                    </a:lnTo>
                    <a:lnTo>
                      <a:pt x="306" y="588"/>
                    </a:lnTo>
                    <a:lnTo>
                      <a:pt x="282" y="612"/>
                    </a:lnTo>
                    <a:lnTo>
                      <a:pt x="276" y="612"/>
                    </a:lnTo>
                    <a:lnTo>
                      <a:pt x="282" y="714"/>
                    </a:lnTo>
                    <a:lnTo>
                      <a:pt x="252" y="756"/>
                    </a:lnTo>
                    <a:lnTo>
                      <a:pt x="246" y="762"/>
                    </a:lnTo>
                    <a:lnTo>
                      <a:pt x="228" y="762"/>
                    </a:lnTo>
                    <a:lnTo>
                      <a:pt x="216" y="774"/>
                    </a:lnTo>
                    <a:lnTo>
                      <a:pt x="210" y="786"/>
                    </a:lnTo>
                    <a:lnTo>
                      <a:pt x="192" y="804"/>
                    </a:lnTo>
                    <a:lnTo>
                      <a:pt x="186" y="816"/>
                    </a:lnTo>
                    <a:lnTo>
                      <a:pt x="180" y="822"/>
                    </a:lnTo>
                    <a:lnTo>
                      <a:pt x="168" y="828"/>
                    </a:lnTo>
                    <a:lnTo>
                      <a:pt x="150" y="828"/>
                    </a:lnTo>
                    <a:lnTo>
                      <a:pt x="144" y="822"/>
                    </a:lnTo>
                    <a:lnTo>
                      <a:pt x="150" y="810"/>
                    </a:lnTo>
                    <a:lnTo>
                      <a:pt x="150" y="780"/>
                    </a:lnTo>
                    <a:lnTo>
                      <a:pt x="144" y="780"/>
                    </a:lnTo>
                    <a:lnTo>
                      <a:pt x="126" y="798"/>
                    </a:lnTo>
                    <a:lnTo>
                      <a:pt x="102" y="792"/>
                    </a:lnTo>
                    <a:lnTo>
                      <a:pt x="102" y="810"/>
                    </a:lnTo>
                    <a:lnTo>
                      <a:pt x="96" y="822"/>
                    </a:lnTo>
                    <a:lnTo>
                      <a:pt x="90" y="828"/>
                    </a:lnTo>
                    <a:lnTo>
                      <a:pt x="78" y="828"/>
                    </a:lnTo>
                    <a:lnTo>
                      <a:pt x="72" y="822"/>
                    </a:lnTo>
                    <a:lnTo>
                      <a:pt x="72" y="816"/>
                    </a:lnTo>
                    <a:lnTo>
                      <a:pt x="66" y="810"/>
                    </a:lnTo>
                    <a:lnTo>
                      <a:pt x="66" y="804"/>
                    </a:lnTo>
                    <a:lnTo>
                      <a:pt x="54" y="804"/>
                    </a:lnTo>
                    <a:lnTo>
                      <a:pt x="48" y="816"/>
                    </a:lnTo>
                    <a:lnTo>
                      <a:pt x="12" y="846"/>
                    </a:lnTo>
                    <a:lnTo>
                      <a:pt x="18" y="858"/>
                    </a:lnTo>
                    <a:lnTo>
                      <a:pt x="18" y="864"/>
                    </a:lnTo>
                    <a:lnTo>
                      <a:pt x="24" y="876"/>
                    </a:lnTo>
                    <a:lnTo>
                      <a:pt x="24" y="882"/>
                    </a:lnTo>
                    <a:lnTo>
                      <a:pt x="18" y="888"/>
                    </a:lnTo>
                    <a:lnTo>
                      <a:pt x="6" y="894"/>
                    </a:lnTo>
                    <a:lnTo>
                      <a:pt x="0" y="900"/>
                    </a:lnTo>
                    <a:lnTo>
                      <a:pt x="6" y="906"/>
                    </a:lnTo>
                    <a:lnTo>
                      <a:pt x="6" y="912"/>
                    </a:lnTo>
                    <a:lnTo>
                      <a:pt x="18" y="918"/>
                    </a:lnTo>
                    <a:lnTo>
                      <a:pt x="18" y="924"/>
                    </a:lnTo>
                    <a:lnTo>
                      <a:pt x="54" y="906"/>
                    </a:lnTo>
                    <a:lnTo>
                      <a:pt x="78" y="912"/>
                    </a:lnTo>
                    <a:lnTo>
                      <a:pt x="84" y="906"/>
                    </a:lnTo>
                    <a:lnTo>
                      <a:pt x="96" y="912"/>
                    </a:lnTo>
                    <a:lnTo>
                      <a:pt x="120" y="906"/>
                    </a:lnTo>
                    <a:lnTo>
                      <a:pt x="132" y="912"/>
                    </a:lnTo>
                    <a:lnTo>
                      <a:pt x="162" y="912"/>
                    </a:lnTo>
                    <a:lnTo>
                      <a:pt x="174" y="906"/>
                    </a:lnTo>
                    <a:lnTo>
                      <a:pt x="186" y="906"/>
                    </a:lnTo>
                    <a:lnTo>
                      <a:pt x="198" y="912"/>
                    </a:lnTo>
                    <a:lnTo>
                      <a:pt x="228" y="912"/>
                    </a:lnTo>
                    <a:lnTo>
                      <a:pt x="246" y="906"/>
                    </a:lnTo>
                    <a:lnTo>
                      <a:pt x="270" y="906"/>
                    </a:lnTo>
                    <a:lnTo>
                      <a:pt x="276" y="900"/>
                    </a:lnTo>
                    <a:lnTo>
                      <a:pt x="294" y="900"/>
                    </a:lnTo>
                    <a:lnTo>
                      <a:pt x="300" y="906"/>
                    </a:lnTo>
                    <a:lnTo>
                      <a:pt x="306" y="918"/>
                    </a:lnTo>
                    <a:lnTo>
                      <a:pt x="318" y="930"/>
                    </a:lnTo>
                    <a:lnTo>
                      <a:pt x="318" y="972"/>
                    </a:lnTo>
                    <a:lnTo>
                      <a:pt x="336" y="990"/>
                    </a:lnTo>
                    <a:lnTo>
                      <a:pt x="336" y="1014"/>
                    </a:lnTo>
                    <a:lnTo>
                      <a:pt x="330" y="1020"/>
                    </a:lnTo>
                    <a:lnTo>
                      <a:pt x="330" y="1026"/>
                    </a:lnTo>
                    <a:lnTo>
                      <a:pt x="336" y="1032"/>
                    </a:lnTo>
                    <a:lnTo>
                      <a:pt x="342" y="1032"/>
                    </a:lnTo>
                    <a:lnTo>
                      <a:pt x="354" y="1044"/>
                    </a:lnTo>
                    <a:lnTo>
                      <a:pt x="354" y="1056"/>
                    </a:lnTo>
                    <a:lnTo>
                      <a:pt x="360" y="1062"/>
                    </a:lnTo>
                    <a:lnTo>
                      <a:pt x="372" y="1086"/>
                    </a:lnTo>
                    <a:lnTo>
                      <a:pt x="402" y="1086"/>
                    </a:lnTo>
                    <a:lnTo>
                      <a:pt x="414" y="1092"/>
                    </a:lnTo>
                    <a:lnTo>
                      <a:pt x="420" y="1080"/>
                    </a:lnTo>
                    <a:lnTo>
                      <a:pt x="444" y="1080"/>
                    </a:lnTo>
                    <a:lnTo>
                      <a:pt x="456" y="1074"/>
                    </a:lnTo>
                    <a:lnTo>
                      <a:pt x="462" y="1080"/>
                    </a:lnTo>
                    <a:lnTo>
                      <a:pt x="504" y="1074"/>
                    </a:lnTo>
                    <a:lnTo>
                      <a:pt x="504" y="1056"/>
                    </a:lnTo>
                    <a:lnTo>
                      <a:pt x="510" y="1050"/>
                    </a:lnTo>
                    <a:lnTo>
                      <a:pt x="510" y="1044"/>
                    </a:lnTo>
                    <a:lnTo>
                      <a:pt x="522" y="1044"/>
                    </a:lnTo>
                    <a:lnTo>
                      <a:pt x="522" y="1032"/>
                    </a:lnTo>
                    <a:lnTo>
                      <a:pt x="516" y="1020"/>
                    </a:lnTo>
                    <a:lnTo>
                      <a:pt x="510" y="1014"/>
                    </a:lnTo>
                    <a:lnTo>
                      <a:pt x="510" y="1008"/>
                    </a:lnTo>
                    <a:lnTo>
                      <a:pt x="516" y="1002"/>
                    </a:lnTo>
                    <a:lnTo>
                      <a:pt x="564" y="1002"/>
                    </a:lnTo>
                    <a:lnTo>
                      <a:pt x="564" y="996"/>
                    </a:lnTo>
                    <a:lnTo>
                      <a:pt x="576" y="996"/>
                    </a:lnTo>
                    <a:lnTo>
                      <a:pt x="588" y="1002"/>
                    </a:lnTo>
                    <a:lnTo>
                      <a:pt x="588" y="1026"/>
                    </a:lnTo>
                    <a:lnTo>
                      <a:pt x="678" y="1026"/>
                    </a:lnTo>
                    <a:lnTo>
                      <a:pt x="678" y="1050"/>
                    </a:lnTo>
                    <a:lnTo>
                      <a:pt x="666" y="1068"/>
                    </a:lnTo>
                    <a:lnTo>
                      <a:pt x="672" y="1086"/>
                    </a:lnTo>
                    <a:lnTo>
                      <a:pt x="684" y="1098"/>
                    </a:lnTo>
                    <a:lnTo>
                      <a:pt x="690" y="1110"/>
                    </a:lnTo>
                    <a:lnTo>
                      <a:pt x="690" y="1122"/>
                    </a:lnTo>
                    <a:lnTo>
                      <a:pt x="684" y="1134"/>
                    </a:lnTo>
                    <a:lnTo>
                      <a:pt x="678" y="1140"/>
                    </a:lnTo>
                    <a:lnTo>
                      <a:pt x="684" y="1164"/>
                    </a:lnTo>
                    <a:lnTo>
                      <a:pt x="684" y="1176"/>
                    </a:lnTo>
                    <a:lnTo>
                      <a:pt x="678" y="1182"/>
                    </a:lnTo>
                    <a:lnTo>
                      <a:pt x="678" y="1194"/>
                    </a:lnTo>
                    <a:lnTo>
                      <a:pt x="684" y="1212"/>
                    </a:lnTo>
                    <a:lnTo>
                      <a:pt x="696" y="1230"/>
                    </a:lnTo>
                    <a:lnTo>
                      <a:pt x="708" y="1254"/>
                    </a:lnTo>
                    <a:lnTo>
                      <a:pt x="714" y="1260"/>
                    </a:lnTo>
                    <a:lnTo>
                      <a:pt x="714" y="1278"/>
                    </a:lnTo>
                    <a:lnTo>
                      <a:pt x="708" y="1290"/>
                    </a:lnTo>
                    <a:lnTo>
                      <a:pt x="708" y="1302"/>
                    </a:lnTo>
                    <a:lnTo>
                      <a:pt x="702" y="1308"/>
                    </a:lnTo>
                    <a:lnTo>
                      <a:pt x="702" y="1332"/>
                    </a:lnTo>
                    <a:lnTo>
                      <a:pt x="708" y="1338"/>
                    </a:lnTo>
                    <a:lnTo>
                      <a:pt x="714" y="1338"/>
                    </a:lnTo>
                    <a:lnTo>
                      <a:pt x="720" y="1344"/>
                    </a:lnTo>
                    <a:lnTo>
                      <a:pt x="726" y="1326"/>
                    </a:lnTo>
                    <a:lnTo>
                      <a:pt x="756" y="1332"/>
                    </a:lnTo>
                    <a:lnTo>
                      <a:pt x="780" y="1326"/>
                    </a:lnTo>
                    <a:lnTo>
                      <a:pt x="780" y="1314"/>
                    </a:lnTo>
                    <a:lnTo>
                      <a:pt x="792" y="1314"/>
                    </a:lnTo>
                    <a:lnTo>
                      <a:pt x="804" y="1326"/>
                    </a:lnTo>
                    <a:lnTo>
                      <a:pt x="828" y="1326"/>
                    </a:lnTo>
                    <a:lnTo>
                      <a:pt x="834" y="1308"/>
                    </a:lnTo>
                    <a:lnTo>
                      <a:pt x="840" y="1320"/>
                    </a:lnTo>
                    <a:lnTo>
                      <a:pt x="858" y="1320"/>
                    </a:lnTo>
                    <a:lnTo>
                      <a:pt x="858" y="1350"/>
                    </a:lnTo>
                    <a:lnTo>
                      <a:pt x="864" y="1356"/>
                    </a:lnTo>
                    <a:lnTo>
                      <a:pt x="882" y="1356"/>
                    </a:lnTo>
                    <a:lnTo>
                      <a:pt x="882" y="1350"/>
                    </a:lnTo>
                    <a:lnTo>
                      <a:pt x="876" y="1344"/>
                    </a:lnTo>
                    <a:lnTo>
                      <a:pt x="918" y="1338"/>
                    </a:lnTo>
                    <a:lnTo>
                      <a:pt x="918" y="1356"/>
                    </a:lnTo>
                    <a:lnTo>
                      <a:pt x="924" y="1368"/>
                    </a:lnTo>
                    <a:lnTo>
                      <a:pt x="930" y="1374"/>
                    </a:lnTo>
                    <a:lnTo>
                      <a:pt x="948" y="1386"/>
                    </a:lnTo>
                    <a:lnTo>
                      <a:pt x="984" y="1392"/>
                    </a:lnTo>
                    <a:lnTo>
                      <a:pt x="1014" y="1398"/>
                    </a:lnTo>
                    <a:lnTo>
                      <a:pt x="1032" y="1398"/>
                    </a:lnTo>
                    <a:lnTo>
                      <a:pt x="1032" y="1392"/>
                    </a:lnTo>
                    <a:lnTo>
                      <a:pt x="1038" y="1386"/>
                    </a:lnTo>
                    <a:lnTo>
                      <a:pt x="1038" y="1368"/>
                    </a:lnTo>
                    <a:lnTo>
                      <a:pt x="1044" y="1362"/>
                    </a:lnTo>
                    <a:lnTo>
                      <a:pt x="1050" y="1362"/>
                    </a:lnTo>
                    <a:lnTo>
                      <a:pt x="1062" y="1374"/>
                    </a:lnTo>
                    <a:lnTo>
                      <a:pt x="1062" y="1386"/>
                    </a:lnTo>
                    <a:lnTo>
                      <a:pt x="1068" y="1392"/>
                    </a:lnTo>
                    <a:lnTo>
                      <a:pt x="1080" y="1392"/>
                    </a:lnTo>
                    <a:lnTo>
                      <a:pt x="1080" y="1404"/>
                    </a:lnTo>
                    <a:lnTo>
                      <a:pt x="1074" y="1404"/>
                    </a:lnTo>
                    <a:lnTo>
                      <a:pt x="1074" y="1416"/>
                    </a:lnTo>
                    <a:lnTo>
                      <a:pt x="1104" y="1416"/>
                    </a:lnTo>
                    <a:lnTo>
                      <a:pt x="1110" y="1422"/>
                    </a:lnTo>
                    <a:lnTo>
                      <a:pt x="1110" y="1434"/>
                    </a:lnTo>
                    <a:lnTo>
                      <a:pt x="1122" y="1434"/>
                    </a:lnTo>
                    <a:lnTo>
                      <a:pt x="1128" y="1428"/>
                    </a:lnTo>
                    <a:lnTo>
                      <a:pt x="1134" y="1428"/>
                    </a:lnTo>
                    <a:lnTo>
                      <a:pt x="1140" y="1434"/>
                    </a:lnTo>
                    <a:lnTo>
                      <a:pt x="1146" y="1446"/>
                    </a:lnTo>
                    <a:lnTo>
                      <a:pt x="1146" y="1452"/>
                    </a:lnTo>
                    <a:lnTo>
                      <a:pt x="1152" y="1464"/>
                    </a:lnTo>
                    <a:lnTo>
                      <a:pt x="1164" y="1464"/>
                    </a:lnTo>
                    <a:lnTo>
                      <a:pt x="1176" y="1476"/>
                    </a:lnTo>
                    <a:lnTo>
                      <a:pt x="1176" y="1488"/>
                    </a:lnTo>
                    <a:lnTo>
                      <a:pt x="1182" y="1500"/>
                    </a:lnTo>
                    <a:lnTo>
                      <a:pt x="1182" y="1512"/>
                    </a:lnTo>
                    <a:lnTo>
                      <a:pt x="1200" y="1512"/>
                    </a:lnTo>
                    <a:lnTo>
                      <a:pt x="1218" y="1500"/>
                    </a:lnTo>
                    <a:lnTo>
                      <a:pt x="1224" y="1512"/>
                    </a:lnTo>
                    <a:lnTo>
                      <a:pt x="1224" y="1518"/>
                    </a:lnTo>
                    <a:lnTo>
                      <a:pt x="1230" y="1518"/>
                    </a:lnTo>
                    <a:lnTo>
                      <a:pt x="1236" y="1500"/>
                    </a:lnTo>
                    <a:lnTo>
                      <a:pt x="1242" y="1464"/>
                    </a:lnTo>
                    <a:lnTo>
                      <a:pt x="1242" y="1416"/>
                    </a:lnTo>
                    <a:lnTo>
                      <a:pt x="1218" y="1416"/>
                    </a:lnTo>
                    <a:lnTo>
                      <a:pt x="1218" y="1434"/>
                    </a:lnTo>
                    <a:lnTo>
                      <a:pt x="1212" y="1440"/>
                    </a:lnTo>
                    <a:lnTo>
                      <a:pt x="1206" y="1440"/>
                    </a:lnTo>
                    <a:lnTo>
                      <a:pt x="1194" y="1434"/>
                    </a:lnTo>
                    <a:lnTo>
                      <a:pt x="1164" y="1404"/>
                    </a:lnTo>
                    <a:lnTo>
                      <a:pt x="1158" y="1404"/>
                    </a:lnTo>
                    <a:lnTo>
                      <a:pt x="1158" y="1398"/>
                    </a:lnTo>
                    <a:lnTo>
                      <a:pt x="1152" y="1398"/>
                    </a:lnTo>
                    <a:lnTo>
                      <a:pt x="1140" y="1386"/>
                    </a:lnTo>
                    <a:lnTo>
                      <a:pt x="1140" y="1362"/>
                    </a:lnTo>
                    <a:lnTo>
                      <a:pt x="1146" y="1350"/>
                    </a:lnTo>
                    <a:lnTo>
                      <a:pt x="1152" y="1332"/>
                    </a:lnTo>
                    <a:lnTo>
                      <a:pt x="1158" y="1320"/>
                    </a:lnTo>
                    <a:lnTo>
                      <a:pt x="1170" y="1308"/>
                    </a:lnTo>
                    <a:lnTo>
                      <a:pt x="1170" y="1254"/>
                    </a:lnTo>
                    <a:lnTo>
                      <a:pt x="1164" y="1236"/>
                    </a:lnTo>
                    <a:lnTo>
                      <a:pt x="1164" y="1212"/>
                    </a:lnTo>
                    <a:lnTo>
                      <a:pt x="1158" y="1206"/>
                    </a:lnTo>
                    <a:lnTo>
                      <a:pt x="1158" y="1200"/>
                    </a:lnTo>
                    <a:lnTo>
                      <a:pt x="1152" y="1194"/>
                    </a:lnTo>
                    <a:lnTo>
                      <a:pt x="1152" y="1188"/>
                    </a:lnTo>
                    <a:lnTo>
                      <a:pt x="1140" y="1176"/>
                    </a:lnTo>
                    <a:lnTo>
                      <a:pt x="1146" y="1176"/>
                    </a:lnTo>
                    <a:lnTo>
                      <a:pt x="1152" y="1170"/>
                    </a:lnTo>
                    <a:lnTo>
                      <a:pt x="1164" y="1164"/>
                    </a:lnTo>
                    <a:lnTo>
                      <a:pt x="1182" y="1146"/>
                    </a:lnTo>
                    <a:lnTo>
                      <a:pt x="1182" y="1116"/>
                    </a:lnTo>
                    <a:lnTo>
                      <a:pt x="1194" y="1116"/>
                    </a:lnTo>
                    <a:lnTo>
                      <a:pt x="1212" y="1110"/>
                    </a:lnTo>
                    <a:lnTo>
                      <a:pt x="1230" y="1110"/>
                    </a:lnTo>
                    <a:lnTo>
                      <a:pt x="1242" y="1104"/>
                    </a:lnTo>
                    <a:lnTo>
                      <a:pt x="1260" y="1104"/>
                    </a:lnTo>
                    <a:lnTo>
                      <a:pt x="1284" y="1092"/>
                    </a:lnTo>
                    <a:lnTo>
                      <a:pt x="1290" y="1092"/>
                    </a:lnTo>
                    <a:lnTo>
                      <a:pt x="1290" y="1086"/>
                    </a:lnTo>
                    <a:lnTo>
                      <a:pt x="1284" y="1074"/>
                    </a:lnTo>
                    <a:lnTo>
                      <a:pt x="1272" y="1062"/>
                    </a:lnTo>
                    <a:lnTo>
                      <a:pt x="1272" y="1014"/>
                    </a:lnTo>
                    <a:lnTo>
                      <a:pt x="1248" y="1014"/>
                    </a:lnTo>
                    <a:lnTo>
                      <a:pt x="1248" y="1008"/>
                    </a:lnTo>
                    <a:lnTo>
                      <a:pt x="1242" y="996"/>
                    </a:lnTo>
                    <a:lnTo>
                      <a:pt x="1242" y="978"/>
                    </a:lnTo>
                    <a:lnTo>
                      <a:pt x="1236" y="972"/>
                    </a:lnTo>
                    <a:lnTo>
                      <a:pt x="1224" y="966"/>
                    </a:lnTo>
                    <a:lnTo>
                      <a:pt x="1218" y="960"/>
                    </a:lnTo>
                    <a:lnTo>
                      <a:pt x="1206" y="936"/>
                    </a:lnTo>
                    <a:lnTo>
                      <a:pt x="1206" y="906"/>
                    </a:lnTo>
                    <a:lnTo>
                      <a:pt x="1212" y="900"/>
                    </a:lnTo>
                    <a:lnTo>
                      <a:pt x="1212" y="876"/>
                    </a:lnTo>
                    <a:lnTo>
                      <a:pt x="1200" y="864"/>
                    </a:lnTo>
                    <a:lnTo>
                      <a:pt x="1194" y="852"/>
                    </a:lnTo>
                    <a:lnTo>
                      <a:pt x="1194" y="804"/>
                    </a:lnTo>
                    <a:lnTo>
                      <a:pt x="1200" y="780"/>
                    </a:lnTo>
                    <a:lnTo>
                      <a:pt x="1200" y="750"/>
                    </a:lnTo>
                    <a:lnTo>
                      <a:pt x="1212" y="738"/>
                    </a:lnTo>
                    <a:lnTo>
                      <a:pt x="1218" y="744"/>
                    </a:lnTo>
                    <a:lnTo>
                      <a:pt x="1218" y="732"/>
                    </a:lnTo>
                    <a:lnTo>
                      <a:pt x="1224" y="726"/>
                    </a:lnTo>
                    <a:lnTo>
                      <a:pt x="1224" y="696"/>
                    </a:lnTo>
                    <a:lnTo>
                      <a:pt x="1218" y="690"/>
                    </a:lnTo>
                    <a:lnTo>
                      <a:pt x="1206" y="684"/>
                    </a:lnTo>
                    <a:lnTo>
                      <a:pt x="1200" y="678"/>
                    </a:lnTo>
                    <a:lnTo>
                      <a:pt x="1188" y="648"/>
                    </a:lnTo>
                    <a:lnTo>
                      <a:pt x="1182" y="642"/>
                    </a:lnTo>
                    <a:lnTo>
                      <a:pt x="1176" y="642"/>
                    </a:lnTo>
                    <a:lnTo>
                      <a:pt x="1176" y="636"/>
                    </a:lnTo>
                    <a:lnTo>
                      <a:pt x="1182" y="624"/>
                    </a:lnTo>
                    <a:lnTo>
                      <a:pt x="1194" y="618"/>
                    </a:lnTo>
                    <a:lnTo>
                      <a:pt x="1206" y="606"/>
                    </a:lnTo>
                    <a:lnTo>
                      <a:pt x="1206" y="594"/>
                    </a:lnTo>
                    <a:lnTo>
                      <a:pt x="1200" y="588"/>
                    </a:lnTo>
                    <a:lnTo>
                      <a:pt x="1194" y="576"/>
                    </a:lnTo>
                    <a:lnTo>
                      <a:pt x="1194" y="570"/>
                    </a:lnTo>
                    <a:lnTo>
                      <a:pt x="1200" y="564"/>
                    </a:lnTo>
                    <a:lnTo>
                      <a:pt x="1224" y="552"/>
                    </a:lnTo>
                    <a:lnTo>
                      <a:pt x="1230" y="546"/>
                    </a:lnTo>
                    <a:lnTo>
                      <a:pt x="1236" y="546"/>
                    </a:lnTo>
                    <a:lnTo>
                      <a:pt x="1242" y="46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92" name="Congo (Brazzaville)" descr="© INSCALE GmbH, 05.05.2010&#10;http://www.presentationload.com/"/>
              <p:cNvSpPr>
                <a:spLocks/>
              </p:cNvSpPr>
              <p:nvPr/>
            </p:nvSpPr>
            <p:spPr bwMode="gray">
              <a:xfrm>
                <a:off x="4722988" y="4210711"/>
                <a:ext cx="174058" cy="218013"/>
              </a:xfrm>
              <a:custGeom>
                <a:avLst/>
                <a:gdLst>
                  <a:gd name="T0" fmla="*/ 2147483647 w 534"/>
                  <a:gd name="T1" fmla="*/ 2147483647 h 702"/>
                  <a:gd name="T2" fmla="*/ 2147483647 w 534"/>
                  <a:gd name="T3" fmla="*/ 2147483647 h 702"/>
                  <a:gd name="T4" fmla="*/ 2147483647 w 534"/>
                  <a:gd name="T5" fmla="*/ 2147483647 h 702"/>
                  <a:gd name="T6" fmla="*/ 2147483647 w 534"/>
                  <a:gd name="T7" fmla="*/ 2147483647 h 702"/>
                  <a:gd name="T8" fmla="*/ 2147483647 w 534"/>
                  <a:gd name="T9" fmla="*/ 2147483647 h 702"/>
                  <a:gd name="T10" fmla="*/ 2147483647 w 534"/>
                  <a:gd name="T11" fmla="*/ 2147483647 h 702"/>
                  <a:gd name="T12" fmla="*/ 2147483647 w 534"/>
                  <a:gd name="T13" fmla="*/ 2147483647 h 702"/>
                  <a:gd name="T14" fmla="*/ 2147483647 w 534"/>
                  <a:gd name="T15" fmla="*/ 2147483647 h 702"/>
                  <a:gd name="T16" fmla="*/ 2147483647 w 534"/>
                  <a:gd name="T17" fmla="*/ 2147483647 h 702"/>
                  <a:gd name="T18" fmla="*/ 2147483647 w 534"/>
                  <a:gd name="T19" fmla="*/ 2147483647 h 702"/>
                  <a:gd name="T20" fmla="*/ 2147483647 w 534"/>
                  <a:gd name="T21" fmla="*/ 2147483647 h 702"/>
                  <a:gd name="T22" fmla="*/ 2147483647 w 534"/>
                  <a:gd name="T23" fmla="*/ 2147483647 h 702"/>
                  <a:gd name="T24" fmla="*/ 2147483647 w 534"/>
                  <a:gd name="T25" fmla="*/ 2147483647 h 702"/>
                  <a:gd name="T26" fmla="*/ 2147483647 w 534"/>
                  <a:gd name="T27" fmla="*/ 2147483647 h 702"/>
                  <a:gd name="T28" fmla="*/ 2147483647 w 534"/>
                  <a:gd name="T29" fmla="*/ 2147483647 h 702"/>
                  <a:gd name="T30" fmla="*/ 2147483647 w 534"/>
                  <a:gd name="T31" fmla="*/ 2147483647 h 702"/>
                  <a:gd name="T32" fmla="*/ 2147483647 w 534"/>
                  <a:gd name="T33" fmla="*/ 2147483647 h 702"/>
                  <a:gd name="T34" fmla="*/ 2147483647 w 534"/>
                  <a:gd name="T35" fmla="*/ 2147483647 h 702"/>
                  <a:gd name="T36" fmla="*/ 2147483647 w 534"/>
                  <a:gd name="T37" fmla="*/ 2147483647 h 702"/>
                  <a:gd name="T38" fmla="*/ 2147483647 w 534"/>
                  <a:gd name="T39" fmla="*/ 2147483647 h 702"/>
                  <a:gd name="T40" fmla="*/ 2147483647 w 534"/>
                  <a:gd name="T41" fmla="*/ 2147483647 h 702"/>
                  <a:gd name="T42" fmla="*/ 2147483647 w 534"/>
                  <a:gd name="T43" fmla="*/ 2147483647 h 702"/>
                  <a:gd name="T44" fmla="*/ 2147483647 w 534"/>
                  <a:gd name="T45" fmla="*/ 2147483647 h 702"/>
                  <a:gd name="T46" fmla="*/ 2147483647 w 534"/>
                  <a:gd name="T47" fmla="*/ 2147483647 h 702"/>
                  <a:gd name="T48" fmla="*/ 2147483647 w 534"/>
                  <a:gd name="T49" fmla="*/ 2147483647 h 702"/>
                  <a:gd name="T50" fmla="*/ 0 w 534"/>
                  <a:gd name="T51" fmla="*/ 2147483647 h 702"/>
                  <a:gd name="T52" fmla="*/ 2147483647 w 534"/>
                  <a:gd name="T53" fmla="*/ 2147483647 h 702"/>
                  <a:gd name="T54" fmla="*/ 2147483647 w 534"/>
                  <a:gd name="T55" fmla="*/ 2147483647 h 702"/>
                  <a:gd name="T56" fmla="*/ 2147483647 w 534"/>
                  <a:gd name="T57" fmla="*/ 2147483647 h 702"/>
                  <a:gd name="T58" fmla="*/ 2147483647 w 534"/>
                  <a:gd name="T59" fmla="*/ 2147483647 h 702"/>
                  <a:gd name="T60" fmla="*/ 2147483647 w 534"/>
                  <a:gd name="T61" fmla="*/ 2147483647 h 702"/>
                  <a:gd name="T62" fmla="*/ 2147483647 w 534"/>
                  <a:gd name="T63" fmla="*/ 2147483647 h 702"/>
                  <a:gd name="T64" fmla="*/ 2147483647 w 534"/>
                  <a:gd name="T65" fmla="*/ 2147483647 h 702"/>
                  <a:gd name="T66" fmla="*/ 2147483647 w 534"/>
                  <a:gd name="T67" fmla="*/ 2147483647 h 702"/>
                  <a:gd name="T68" fmla="*/ 2147483647 w 534"/>
                  <a:gd name="T69" fmla="*/ 2147483647 h 702"/>
                  <a:gd name="T70" fmla="*/ 2147483647 w 534"/>
                  <a:gd name="T71" fmla="*/ 2147483647 h 702"/>
                  <a:gd name="T72" fmla="*/ 2147483647 w 534"/>
                  <a:gd name="T73" fmla="*/ 2147483647 h 702"/>
                  <a:gd name="T74" fmla="*/ 2147483647 w 534"/>
                  <a:gd name="T75" fmla="*/ 2147483647 h 702"/>
                  <a:gd name="T76" fmla="*/ 2147483647 w 534"/>
                  <a:gd name="T77" fmla="*/ 2147483647 h 702"/>
                  <a:gd name="T78" fmla="*/ 2147483647 w 534"/>
                  <a:gd name="T79" fmla="*/ 2147483647 h 702"/>
                  <a:gd name="T80" fmla="*/ 2147483647 w 534"/>
                  <a:gd name="T81" fmla="*/ 2147483647 h 702"/>
                  <a:gd name="T82" fmla="*/ 2147483647 w 534"/>
                  <a:gd name="T83" fmla="*/ 2147483647 h 702"/>
                  <a:gd name="T84" fmla="*/ 2147483647 w 534"/>
                  <a:gd name="T85" fmla="*/ 2147483647 h 702"/>
                  <a:gd name="T86" fmla="*/ 2147483647 w 534"/>
                  <a:gd name="T87" fmla="*/ 2147483647 h 702"/>
                  <a:gd name="T88" fmla="*/ 2147483647 w 534"/>
                  <a:gd name="T89" fmla="*/ 2147483647 h 702"/>
                  <a:gd name="T90" fmla="*/ 2147483647 w 534"/>
                  <a:gd name="T91" fmla="*/ 2147483647 h 702"/>
                  <a:gd name="T92" fmla="*/ 2147483647 w 534"/>
                  <a:gd name="T93" fmla="*/ 2147483647 h 702"/>
                  <a:gd name="T94" fmla="*/ 2147483647 w 534"/>
                  <a:gd name="T95" fmla="*/ 2147483647 h 702"/>
                  <a:gd name="T96" fmla="*/ 2147483647 w 534"/>
                  <a:gd name="T97" fmla="*/ 2147483647 h 702"/>
                  <a:gd name="T98" fmla="*/ 2147483647 w 534"/>
                  <a:gd name="T99" fmla="*/ 2147483647 h 702"/>
                  <a:gd name="T100" fmla="*/ 2147483647 w 534"/>
                  <a:gd name="T101" fmla="*/ 2147483647 h 702"/>
                  <a:gd name="T102" fmla="*/ 2147483647 w 534"/>
                  <a:gd name="T103" fmla="*/ 2147483647 h 702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534"/>
                  <a:gd name="T157" fmla="*/ 0 h 702"/>
                  <a:gd name="T158" fmla="*/ 534 w 534"/>
                  <a:gd name="T159" fmla="*/ 702 h 702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534" h="702">
                    <a:moveTo>
                      <a:pt x="366" y="120"/>
                    </a:moveTo>
                    <a:lnTo>
                      <a:pt x="360" y="126"/>
                    </a:lnTo>
                    <a:lnTo>
                      <a:pt x="354" y="168"/>
                    </a:lnTo>
                    <a:lnTo>
                      <a:pt x="330" y="144"/>
                    </a:lnTo>
                    <a:lnTo>
                      <a:pt x="294" y="144"/>
                    </a:lnTo>
                    <a:lnTo>
                      <a:pt x="288" y="138"/>
                    </a:lnTo>
                    <a:lnTo>
                      <a:pt x="276" y="138"/>
                    </a:lnTo>
                    <a:lnTo>
                      <a:pt x="270" y="132"/>
                    </a:lnTo>
                    <a:lnTo>
                      <a:pt x="258" y="126"/>
                    </a:lnTo>
                    <a:lnTo>
                      <a:pt x="210" y="126"/>
                    </a:lnTo>
                    <a:lnTo>
                      <a:pt x="192" y="132"/>
                    </a:lnTo>
                    <a:lnTo>
                      <a:pt x="162" y="132"/>
                    </a:lnTo>
                    <a:lnTo>
                      <a:pt x="144" y="162"/>
                    </a:lnTo>
                    <a:lnTo>
                      <a:pt x="150" y="198"/>
                    </a:lnTo>
                    <a:lnTo>
                      <a:pt x="156" y="204"/>
                    </a:lnTo>
                    <a:lnTo>
                      <a:pt x="180" y="204"/>
                    </a:lnTo>
                    <a:lnTo>
                      <a:pt x="186" y="198"/>
                    </a:lnTo>
                    <a:lnTo>
                      <a:pt x="186" y="180"/>
                    </a:lnTo>
                    <a:lnTo>
                      <a:pt x="204" y="180"/>
                    </a:lnTo>
                    <a:lnTo>
                      <a:pt x="210" y="186"/>
                    </a:lnTo>
                    <a:lnTo>
                      <a:pt x="222" y="186"/>
                    </a:lnTo>
                    <a:lnTo>
                      <a:pt x="222" y="192"/>
                    </a:lnTo>
                    <a:lnTo>
                      <a:pt x="228" y="198"/>
                    </a:lnTo>
                    <a:lnTo>
                      <a:pt x="228" y="216"/>
                    </a:lnTo>
                    <a:lnTo>
                      <a:pt x="240" y="222"/>
                    </a:lnTo>
                    <a:lnTo>
                      <a:pt x="240" y="234"/>
                    </a:lnTo>
                    <a:lnTo>
                      <a:pt x="234" y="240"/>
                    </a:lnTo>
                    <a:lnTo>
                      <a:pt x="228" y="252"/>
                    </a:lnTo>
                    <a:lnTo>
                      <a:pt x="222" y="258"/>
                    </a:lnTo>
                    <a:lnTo>
                      <a:pt x="210" y="258"/>
                    </a:lnTo>
                    <a:lnTo>
                      <a:pt x="198" y="282"/>
                    </a:lnTo>
                    <a:lnTo>
                      <a:pt x="198" y="318"/>
                    </a:lnTo>
                    <a:lnTo>
                      <a:pt x="216" y="324"/>
                    </a:lnTo>
                    <a:lnTo>
                      <a:pt x="222" y="342"/>
                    </a:lnTo>
                    <a:lnTo>
                      <a:pt x="240" y="342"/>
                    </a:lnTo>
                    <a:lnTo>
                      <a:pt x="246" y="348"/>
                    </a:lnTo>
                    <a:lnTo>
                      <a:pt x="246" y="360"/>
                    </a:lnTo>
                    <a:lnTo>
                      <a:pt x="240" y="366"/>
                    </a:lnTo>
                    <a:lnTo>
                      <a:pt x="240" y="414"/>
                    </a:lnTo>
                    <a:lnTo>
                      <a:pt x="234" y="426"/>
                    </a:lnTo>
                    <a:lnTo>
                      <a:pt x="240" y="450"/>
                    </a:lnTo>
                    <a:lnTo>
                      <a:pt x="234" y="456"/>
                    </a:lnTo>
                    <a:lnTo>
                      <a:pt x="222" y="462"/>
                    </a:lnTo>
                    <a:lnTo>
                      <a:pt x="222" y="486"/>
                    </a:lnTo>
                    <a:lnTo>
                      <a:pt x="216" y="498"/>
                    </a:lnTo>
                    <a:lnTo>
                      <a:pt x="210" y="504"/>
                    </a:lnTo>
                    <a:lnTo>
                      <a:pt x="198" y="504"/>
                    </a:lnTo>
                    <a:lnTo>
                      <a:pt x="192" y="498"/>
                    </a:lnTo>
                    <a:lnTo>
                      <a:pt x="192" y="468"/>
                    </a:lnTo>
                    <a:lnTo>
                      <a:pt x="186" y="468"/>
                    </a:lnTo>
                    <a:lnTo>
                      <a:pt x="180" y="474"/>
                    </a:lnTo>
                    <a:lnTo>
                      <a:pt x="174" y="486"/>
                    </a:lnTo>
                    <a:lnTo>
                      <a:pt x="168" y="492"/>
                    </a:lnTo>
                    <a:lnTo>
                      <a:pt x="138" y="492"/>
                    </a:lnTo>
                    <a:lnTo>
                      <a:pt x="120" y="450"/>
                    </a:lnTo>
                    <a:lnTo>
                      <a:pt x="90" y="450"/>
                    </a:lnTo>
                    <a:lnTo>
                      <a:pt x="90" y="456"/>
                    </a:lnTo>
                    <a:lnTo>
                      <a:pt x="108" y="474"/>
                    </a:lnTo>
                    <a:lnTo>
                      <a:pt x="96" y="480"/>
                    </a:lnTo>
                    <a:lnTo>
                      <a:pt x="90" y="492"/>
                    </a:lnTo>
                    <a:lnTo>
                      <a:pt x="84" y="498"/>
                    </a:lnTo>
                    <a:lnTo>
                      <a:pt x="66" y="498"/>
                    </a:lnTo>
                    <a:lnTo>
                      <a:pt x="54" y="492"/>
                    </a:lnTo>
                    <a:lnTo>
                      <a:pt x="42" y="492"/>
                    </a:lnTo>
                    <a:lnTo>
                      <a:pt x="36" y="486"/>
                    </a:lnTo>
                    <a:lnTo>
                      <a:pt x="30" y="486"/>
                    </a:lnTo>
                    <a:lnTo>
                      <a:pt x="30" y="504"/>
                    </a:lnTo>
                    <a:lnTo>
                      <a:pt x="36" y="510"/>
                    </a:lnTo>
                    <a:lnTo>
                      <a:pt x="36" y="522"/>
                    </a:lnTo>
                    <a:lnTo>
                      <a:pt x="24" y="522"/>
                    </a:lnTo>
                    <a:lnTo>
                      <a:pt x="54" y="540"/>
                    </a:lnTo>
                    <a:lnTo>
                      <a:pt x="36" y="552"/>
                    </a:lnTo>
                    <a:lnTo>
                      <a:pt x="54" y="564"/>
                    </a:lnTo>
                    <a:lnTo>
                      <a:pt x="54" y="600"/>
                    </a:lnTo>
                    <a:lnTo>
                      <a:pt x="48" y="606"/>
                    </a:lnTo>
                    <a:lnTo>
                      <a:pt x="30" y="588"/>
                    </a:lnTo>
                    <a:lnTo>
                      <a:pt x="6" y="600"/>
                    </a:lnTo>
                    <a:lnTo>
                      <a:pt x="0" y="618"/>
                    </a:lnTo>
                    <a:lnTo>
                      <a:pt x="54" y="666"/>
                    </a:lnTo>
                    <a:lnTo>
                      <a:pt x="54" y="684"/>
                    </a:lnTo>
                    <a:lnTo>
                      <a:pt x="72" y="702"/>
                    </a:lnTo>
                    <a:lnTo>
                      <a:pt x="72" y="690"/>
                    </a:lnTo>
                    <a:lnTo>
                      <a:pt x="90" y="690"/>
                    </a:lnTo>
                    <a:lnTo>
                      <a:pt x="90" y="672"/>
                    </a:lnTo>
                    <a:lnTo>
                      <a:pt x="102" y="666"/>
                    </a:lnTo>
                    <a:lnTo>
                      <a:pt x="108" y="660"/>
                    </a:lnTo>
                    <a:lnTo>
                      <a:pt x="120" y="654"/>
                    </a:lnTo>
                    <a:lnTo>
                      <a:pt x="126" y="648"/>
                    </a:lnTo>
                    <a:lnTo>
                      <a:pt x="132" y="654"/>
                    </a:lnTo>
                    <a:lnTo>
                      <a:pt x="132" y="660"/>
                    </a:lnTo>
                    <a:lnTo>
                      <a:pt x="138" y="666"/>
                    </a:lnTo>
                    <a:lnTo>
                      <a:pt x="138" y="672"/>
                    </a:lnTo>
                    <a:lnTo>
                      <a:pt x="150" y="672"/>
                    </a:lnTo>
                    <a:lnTo>
                      <a:pt x="150" y="678"/>
                    </a:lnTo>
                    <a:lnTo>
                      <a:pt x="156" y="684"/>
                    </a:lnTo>
                    <a:lnTo>
                      <a:pt x="156" y="690"/>
                    </a:lnTo>
                    <a:lnTo>
                      <a:pt x="162" y="696"/>
                    </a:lnTo>
                    <a:lnTo>
                      <a:pt x="174" y="696"/>
                    </a:lnTo>
                    <a:lnTo>
                      <a:pt x="180" y="690"/>
                    </a:lnTo>
                    <a:lnTo>
                      <a:pt x="186" y="678"/>
                    </a:lnTo>
                    <a:lnTo>
                      <a:pt x="186" y="660"/>
                    </a:lnTo>
                    <a:lnTo>
                      <a:pt x="210" y="666"/>
                    </a:lnTo>
                    <a:lnTo>
                      <a:pt x="228" y="648"/>
                    </a:lnTo>
                    <a:lnTo>
                      <a:pt x="234" y="648"/>
                    </a:lnTo>
                    <a:lnTo>
                      <a:pt x="234" y="678"/>
                    </a:lnTo>
                    <a:lnTo>
                      <a:pt x="228" y="690"/>
                    </a:lnTo>
                    <a:lnTo>
                      <a:pt x="234" y="696"/>
                    </a:lnTo>
                    <a:lnTo>
                      <a:pt x="252" y="696"/>
                    </a:lnTo>
                    <a:lnTo>
                      <a:pt x="264" y="690"/>
                    </a:lnTo>
                    <a:lnTo>
                      <a:pt x="270" y="684"/>
                    </a:lnTo>
                    <a:lnTo>
                      <a:pt x="276" y="672"/>
                    </a:lnTo>
                    <a:lnTo>
                      <a:pt x="294" y="654"/>
                    </a:lnTo>
                    <a:lnTo>
                      <a:pt x="300" y="642"/>
                    </a:lnTo>
                    <a:lnTo>
                      <a:pt x="312" y="630"/>
                    </a:lnTo>
                    <a:lnTo>
                      <a:pt x="330" y="630"/>
                    </a:lnTo>
                    <a:lnTo>
                      <a:pt x="336" y="624"/>
                    </a:lnTo>
                    <a:lnTo>
                      <a:pt x="366" y="582"/>
                    </a:lnTo>
                    <a:lnTo>
                      <a:pt x="360" y="480"/>
                    </a:lnTo>
                    <a:lnTo>
                      <a:pt x="366" y="480"/>
                    </a:lnTo>
                    <a:lnTo>
                      <a:pt x="390" y="456"/>
                    </a:lnTo>
                    <a:lnTo>
                      <a:pt x="390" y="420"/>
                    </a:lnTo>
                    <a:lnTo>
                      <a:pt x="396" y="408"/>
                    </a:lnTo>
                    <a:lnTo>
                      <a:pt x="402" y="402"/>
                    </a:lnTo>
                    <a:lnTo>
                      <a:pt x="450" y="378"/>
                    </a:lnTo>
                    <a:lnTo>
                      <a:pt x="456" y="366"/>
                    </a:lnTo>
                    <a:lnTo>
                      <a:pt x="468" y="360"/>
                    </a:lnTo>
                    <a:lnTo>
                      <a:pt x="474" y="354"/>
                    </a:lnTo>
                    <a:lnTo>
                      <a:pt x="474" y="300"/>
                    </a:lnTo>
                    <a:lnTo>
                      <a:pt x="486" y="294"/>
                    </a:lnTo>
                    <a:lnTo>
                      <a:pt x="492" y="282"/>
                    </a:lnTo>
                    <a:lnTo>
                      <a:pt x="492" y="258"/>
                    </a:lnTo>
                    <a:lnTo>
                      <a:pt x="486" y="246"/>
                    </a:lnTo>
                    <a:lnTo>
                      <a:pt x="480" y="240"/>
                    </a:lnTo>
                    <a:lnTo>
                      <a:pt x="480" y="228"/>
                    </a:lnTo>
                    <a:lnTo>
                      <a:pt x="498" y="192"/>
                    </a:lnTo>
                    <a:lnTo>
                      <a:pt x="498" y="168"/>
                    </a:lnTo>
                    <a:lnTo>
                      <a:pt x="492" y="156"/>
                    </a:lnTo>
                    <a:lnTo>
                      <a:pt x="492" y="126"/>
                    </a:lnTo>
                    <a:lnTo>
                      <a:pt x="498" y="120"/>
                    </a:lnTo>
                    <a:lnTo>
                      <a:pt x="510" y="96"/>
                    </a:lnTo>
                    <a:lnTo>
                      <a:pt x="522" y="84"/>
                    </a:lnTo>
                    <a:lnTo>
                      <a:pt x="528" y="66"/>
                    </a:lnTo>
                    <a:lnTo>
                      <a:pt x="534" y="54"/>
                    </a:lnTo>
                    <a:lnTo>
                      <a:pt x="534" y="18"/>
                    </a:lnTo>
                    <a:lnTo>
                      <a:pt x="522" y="6"/>
                    </a:lnTo>
                    <a:lnTo>
                      <a:pt x="510" y="18"/>
                    </a:lnTo>
                    <a:lnTo>
                      <a:pt x="498" y="18"/>
                    </a:lnTo>
                    <a:lnTo>
                      <a:pt x="462" y="0"/>
                    </a:lnTo>
                    <a:lnTo>
                      <a:pt x="444" y="0"/>
                    </a:lnTo>
                    <a:lnTo>
                      <a:pt x="426" y="18"/>
                    </a:lnTo>
                    <a:lnTo>
                      <a:pt x="396" y="18"/>
                    </a:lnTo>
                    <a:lnTo>
                      <a:pt x="378" y="48"/>
                    </a:lnTo>
                    <a:lnTo>
                      <a:pt x="390" y="60"/>
                    </a:lnTo>
                    <a:lnTo>
                      <a:pt x="390" y="84"/>
                    </a:lnTo>
                    <a:lnTo>
                      <a:pt x="384" y="96"/>
                    </a:lnTo>
                    <a:lnTo>
                      <a:pt x="378" y="102"/>
                    </a:lnTo>
                    <a:lnTo>
                      <a:pt x="372" y="114"/>
                    </a:lnTo>
                    <a:lnTo>
                      <a:pt x="366" y="12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93" name="Central African Republic" descr="© INSCALE GmbH, 05.05.2010&#10;http://www.presentationload.com/"/>
              <p:cNvSpPr>
                <a:spLocks/>
              </p:cNvSpPr>
              <p:nvPr/>
            </p:nvSpPr>
            <p:spPr bwMode="gray">
              <a:xfrm>
                <a:off x="4798499" y="4029442"/>
                <a:ext cx="296923" cy="218013"/>
              </a:xfrm>
              <a:custGeom>
                <a:avLst/>
                <a:gdLst>
                  <a:gd name="T0" fmla="*/ 2147483647 w 912"/>
                  <a:gd name="T1" fmla="*/ 2147483647 h 702"/>
                  <a:gd name="T2" fmla="*/ 2147483647 w 912"/>
                  <a:gd name="T3" fmla="*/ 2147483647 h 702"/>
                  <a:gd name="T4" fmla="*/ 2147483647 w 912"/>
                  <a:gd name="T5" fmla="*/ 2147483647 h 702"/>
                  <a:gd name="T6" fmla="*/ 2147483647 w 912"/>
                  <a:gd name="T7" fmla="*/ 2147483647 h 702"/>
                  <a:gd name="T8" fmla="*/ 2147483647 w 912"/>
                  <a:gd name="T9" fmla="*/ 2147483647 h 702"/>
                  <a:gd name="T10" fmla="*/ 2147483647 w 912"/>
                  <a:gd name="T11" fmla="*/ 2147483647 h 702"/>
                  <a:gd name="T12" fmla="*/ 2147483647 w 912"/>
                  <a:gd name="T13" fmla="*/ 2147483647 h 702"/>
                  <a:gd name="T14" fmla="*/ 2147483647 w 912"/>
                  <a:gd name="T15" fmla="*/ 2147483647 h 702"/>
                  <a:gd name="T16" fmla="*/ 2147483647 w 912"/>
                  <a:gd name="T17" fmla="*/ 2147483647 h 702"/>
                  <a:gd name="T18" fmla="*/ 2147483647 w 912"/>
                  <a:gd name="T19" fmla="*/ 2147483647 h 702"/>
                  <a:gd name="T20" fmla="*/ 2147483647 w 912"/>
                  <a:gd name="T21" fmla="*/ 2147483647 h 702"/>
                  <a:gd name="T22" fmla="*/ 2147483647 w 912"/>
                  <a:gd name="T23" fmla="*/ 2147483647 h 702"/>
                  <a:gd name="T24" fmla="*/ 2147483647 w 912"/>
                  <a:gd name="T25" fmla="*/ 2147483647 h 702"/>
                  <a:gd name="T26" fmla="*/ 2147483647 w 912"/>
                  <a:gd name="T27" fmla="*/ 2147483647 h 702"/>
                  <a:gd name="T28" fmla="*/ 2147483647 w 912"/>
                  <a:gd name="T29" fmla="*/ 2147483647 h 702"/>
                  <a:gd name="T30" fmla="*/ 2147483647 w 912"/>
                  <a:gd name="T31" fmla="*/ 0 h 702"/>
                  <a:gd name="T32" fmla="*/ 2147483647 w 912"/>
                  <a:gd name="T33" fmla="*/ 2147483647 h 702"/>
                  <a:gd name="T34" fmla="*/ 2147483647 w 912"/>
                  <a:gd name="T35" fmla="*/ 2147483647 h 702"/>
                  <a:gd name="T36" fmla="*/ 2147483647 w 912"/>
                  <a:gd name="T37" fmla="*/ 2147483647 h 702"/>
                  <a:gd name="T38" fmla="*/ 2147483647 w 912"/>
                  <a:gd name="T39" fmla="*/ 2147483647 h 702"/>
                  <a:gd name="T40" fmla="*/ 2147483647 w 912"/>
                  <a:gd name="T41" fmla="*/ 2147483647 h 702"/>
                  <a:gd name="T42" fmla="*/ 2147483647 w 912"/>
                  <a:gd name="T43" fmla="*/ 2147483647 h 702"/>
                  <a:gd name="T44" fmla="*/ 2147483647 w 912"/>
                  <a:gd name="T45" fmla="*/ 2147483647 h 702"/>
                  <a:gd name="T46" fmla="*/ 2147483647 w 912"/>
                  <a:gd name="T47" fmla="*/ 2147483647 h 702"/>
                  <a:gd name="T48" fmla="*/ 2147483647 w 912"/>
                  <a:gd name="T49" fmla="*/ 2147483647 h 702"/>
                  <a:gd name="T50" fmla="*/ 2147483647 w 912"/>
                  <a:gd name="T51" fmla="*/ 2147483647 h 702"/>
                  <a:gd name="T52" fmla="*/ 2147483647 w 912"/>
                  <a:gd name="T53" fmla="*/ 2147483647 h 702"/>
                  <a:gd name="T54" fmla="*/ 2147483647 w 912"/>
                  <a:gd name="T55" fmla="*/ 2147483647 h 702"/>
                  <a:gd name="T56" fmla="*/ 2147483647 w 912"/>
                  <a:gd name="T57" fmla="*/ 2147483647 h 702"/>
                  <a:gd name="T58" fmla="*/ 2147483647 w 912"/>
                  <a:gd name="T59" fmla="*/ 2147483647 h 702"/>
                  <a:gd name="T60" fmla="*/ 0 w 912"/>
                  <a:gd name="T61" fmla="*/ 2147483647 h 702"/>
                  <a:gd name="T62" fmla="*/ 2147483647 w 912"/>
                  <a:gd name="T63" fmla="*/ 2147483647 h 702"/>
                  <a:gd name="T64" fmla="*/ 2147483647 w 912"/>
                  <a:gd name="T65" fmla="*/ 2147483647 h 702"/>
                  <a:gd name="T66" fmla="*/ 2147483647 w 912"/>
                  <a:gd name="T67" fmla="*/ 2147483647 h 702"/>
                  <a:gd name="T68" fmla="*/ 2147483647 w 912"/>
                  <a:gd name="T69" fmla="*/ 2147483647 h 702"/>
                  <a:gd name="T70" fmla="*/ 2147483647 w 912"/>
                  <a:gd name="T71" fmla="*/ 2147483647 h 702"/>
                  <a:gd name="T72" fmla="*/ 2147483647 w 912"/>
                  <a:gd name="T73" fmla="*/ 2147483647 h 702"/>
                  <a:gd name="T74" fmla="*/ 2147483647 w 912"/>
                  <a:gd name="T75" fmla="*/ 2147483647 h 702"/>
                  <a:gd name="T76" fmla="*/ 2147483647 w 912"/>
                  <a:gd name="T77" fmla="*/ 2147483647 h 702"/>
                  <a:gd name="T78" fmla="*/ 2147483647 w 912"/>
                  <a:gd name="T79" fmla="*/ 2147483647 h 702"/>
                  <a:gd name="T80" fmla="*/ 2147483647 w 912"/>
                  <a:gd name="T81" fmla="*/ 2147483647 h 702"/>
                  <a:gd name="T82" fmla="*/ 2147483647 w 912"/>
                  <a:gd name="T83" fmla="*/ 2147483647 h 702"/>
                  <a:gd name="T84" fmla="*/ 2147483647 w 912"/>
                  <a:gd name="T85" fmla="*/ 2147483647 h 702"/>
                  <a:gd name="T86" fmla="*/ 2147483647 w 912"/>
                  <a:gd name="T87" fmla="*/ 2147483647 h 702"/>
                  <a:gd name="T88" fmla="*/ 2147483647 w 912"/>
                  <a:gd name="T89" fmla="*/ 2147483647 h 702"/>
                  <a:gd name="T90" fmla="*/ 2147483647 w 912"/>
                  <a:gd name="T91" fmla="*/ 2147483647 h 702"/>
                  <a:gd name="T92" fmla="*/ 2147483647 w 912"/>
                  <a:gd name="T93" fmla="*/ 2147483647 h 702"/>
                  <a:gd name="T94" fmla="*/ 2147483647 w 912"/>
                  <a:gd name="T95" fmla="*/ 2147483647 h 702"/>
                  <a:gd name="T96" fmla="*/ 2147483647 w 912"/>
                  <a:gd name="T97" fmla="*/ 2147483647 h 702"/>
                  <a:gd name="T98" fmla="*/ 2147483647 w 912"/>
                  <a:gd name="T99" fmla="*/ 2147483647 h 702"/>
                  <a:gd name="T100" fmla="*/ 2147483647 w 912"/>
                  <a:gd name="T101" fmla="*/ 2147483647 h 702"/>
                  <a:gd name="T102" fmla="*/ 2147483647 w 912"/>
                  <a:gd name="T103" fmla="*/ 2147483647 h 702"/>
                  <a:gd name="T104" fmla="*/ 2147483647 w 912"/>
                  <a:gd name="T105" fmla="*/ 2147483647 h 702"/>
                  <a:gd name="T106" fmla="*/ 2147483647 w 912"/>
                  <a:gd name="T107" fmla="*/ 2147483647 h 702"/>
                  <a:gd name="T108" fmla="*/ 2147483647 w 912"/>
                  <a:gd name="T109" fmla="*/ 2147483647 h 702"/>
                  <a:gd name="T110" fmla="*/ 2147483647 w 912"/>
                  <a:gd name="T111" fmla="*/ 2147483647 h 702"/>
                  <a:gd name="T112" fmla="*/ 2147483647 w 912"/>
                  <a:gd name="T113" fmla="*/ 2147483647 h 702"/>
                  <a:gd name="T114" fmla="*/ 2147483647 w 912"/>
                  <a:gd name="T115" fmla="*/ 2147483647 h 702"/>
                  <a:gd name="T116" fmla="*/ 2147483647 w 912"/>
                  <a:gd name="T117" fmla="*/ 2147483647 h 702"/>
                  <a:gd name="T118" fmla="*/ 2147483647 w 912"/>
                  <a:gd name="T119" fmla="*/ 2147483647 h 702"/>
                  <a:gd name="T120" fmla="*/ 2147483647 w 912"/>
                  <a:gd name="T121" fmla="*/ 2147483647 h 702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912"/>
                  <a:gd name="T184" fmla="*/ 0 h 702"/>
                  <a:gd name="T185" fmla="*/ 912 w 912"/>
                  <a:gd name="T186" fmla="*/ 702 h 702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912" h="702">
                    <a:moveTo>
                      <a:pt x="906" y="420"/>
                    </a:moveTo>
                    <a:lnTo>
                      <a:pt x="900" y="414"/>
                    </a:lnTo>
                    <a:lnTo>
                      <a:pt x="888" y="408"/>
                    </a:lnTo>
                    <a:lnTo>
                      <a:pt x="882" y="402"/>
                    </a:lnTo>
                    <a:lnTo>
                      <a:pt x="858" y="396"/>
                    </a:lnTo>
                    <a:lnTo>
                      <a:pt x="858" y="378"/>
                    </a:lnTo>
                    <a:lnTo>
                      <a:pt x="846" y="366"/>
                    </a:lnTo>
                    <a:lnTo>
                      <a:pt x="846" y="360"/>
                    </a:lnTo>
                    <a:lnTo>
                      <a:pt x="858" y="360"/>
                    </a:lnTo>
                    <a:lnTo>
                      <a:pt x="858" y="348"/>
                    </a:lnTo>
                    <a:lnTo>
                      <a:pt x="852" y="342"/>
                    </a:lnTo>
                    <a:lnTo>
                      <a:pt x="834" y="342"/>
                    </a:lnTo>
                    <a:lnTo>
                      <a:pt x="834" y="336"/>
                    </a:lnTo>
                    <a:lnTo>
                      <a:pt x="828" y="330"/>
                    </a:lnTo>
                    <a:lnTo>
                      <a:pt x="822" y="318"/>
                    </a:lnTo>
                    <a:lnTo>
                      <a:pt x="810" y="306"/>
                    </a:lnTo>
                    <a:lnTo>
                      <a:pt x="798" y="300"/>
                    </a:lnTo>
                    <a:lnTo>
                      <a:pt x="792" y="300"/>
                    </a:lnTo>
                    <a:lnTo>
                      <a:pt x="780" y="294"/>
                    </a:lnTo>
                    <a:lnTo>
                      <a:pt x="768" y="282"/>
                    </a:lnTo>
                    <a:lnTo>
                      <a:pt x="768" y="276"/>
                    </a:lnTo>
                    <a:lnTo>
                      <a:pt x="774" y="276"/>
                    </a:lnTo>
                    <a:lnTo>
                      <a:pt x="774" y="270"/>
                    </a:lnTo>
                    <a:lnTo>
                      <a:pt x="780" y="270"/>
                    </a:lnTo>
                    <a:lnTo>
                      <a:pt x="780" y="264"/>
                    </a:lnTo>
                    <a:lnTo>
                      <a:pt x="768" y="252"/>
                    </a:lnTo>
                    <a:lnTo>
                      <a:pt x="756" y="246"/>
                    </a:lnTo>
                    <a:lnTo>
                      <a:pt x="750" y="246"/>
                    </a:lnTo>
                    <a:lnTo>
                      <a:pt x="750" y="228"/>
                    </a:lnTo>
                    <a:lnTo>
                      <a:pt x="720" y="228"/>
                    </a:lnTo>
                    <a:lnTo>
                      <a:pt x="696" y="216"/>
                    </a:lnTo>
                    <a:lnTo>
                      <a:pt x="696" y="186"/>
                    </a:lnTo>
                    <a:lnTo>
                      <a:pt x="648" y="180"/>
                    </a:lnTo>
                    <a:lnTo>
                      <a:pt x="654" y="162"/>
                    </a:lnTo>
                    <a:lnTo>
                      <a:pt x="648" y="162"/>
                    </a:lnTo>
                    <a:lnTo>
                      <a:pt x="642" y="156"/>
                    </a:lnTo>
                    <a:lnTo>
                      <a:pt x="642" y="150"/>
                    </a:lnTo>
                    <a:lnTo>
                      <a:pt x="648" y="144"/>
                    </a:lnTo>
                    <a:lnTo>
                      <a:pt x="654" y="132"/>
                    </a:lnTo>
                    <a:lnTo>
                      <a:pt x="660" y="126"/>
                    </a:lnTo>
                    <a:lnTo>
                      <a:pt x="660" y="96"/>
                    </a:lnTo>
                    <a:lnTo>
                      <a:pt x="654" y="84"/>
                    </a:lnTo>
                    <a:lnTo>
                      <a:pt x="648" y="66"/>
                    </a:lnTo>
                    <a:lnTo>
                      <a:pt x="636" y="54"/>
                    </a:lnTo>
                    <a:lnTo>
                      <a:pt x="630" y="42"/>
                    </a:lnTo>
                    <a:lnTo>
                      <a:pt x="600" y="12"/>
                    </a:lnTo>
                    <a:lnTo>
                      <a:pt x="600" y="0"/>
                    </a:lnTo>
                    <a:lnTo>
                      <a:pt x="576" y="0"/>
                    </a:lnTo>
                    <a:lnTo>
                      <a:pt x="522" y="30"/>
                    </a:lnTo>
                    <a:lnTo>
                      <a:pt x="516" y="60"/>
                    </a:lnTo>
                    <a:lnTo>
                      <a:pt x="480" y="84"/>
                    </a:lnTo>
                    <a:lnTo>
                      <a:pt x="480" y="102"/>
                    </a:lnTo>
                    <a:lnTo>
                      <a:pt x="456" y="126"/>
                    </a:lnTo>
                    <a:lnTo>
                      <a:pt x="438" y="138"/>
                    </a:lnTo>
                    <a:lnTo>
                      <a:pt x="390" y="156"/>
                    </a:lnTo>
                    <a:lnTo>
                      <a:pt x="348" y="162"/>
                    </a:lnTo>
                    <a:lnTo>
                      <a:pt x="330" y="162"/>
                    </a:lnTo>
                    <a:lnTo>
                      <a:pt x="312" y="174"/>
                    </a:lnTo>
                    <a:lnTo>
                      <a:pt x="318" y="174"/>
                    </a:lnTo>
                    <a:lnTo>
                      <a:pt x="330" y="186"/>
                    </a:lnTo>
                    <a:lnTo>
                      <a:pt x="330" y="198"/>
                    </a:lnTo>
                    <a:lnTo>
                      <a:pt x="324" y="204"/>
                    </a:lnTo>
                    <a:lnTo>
                      <a:pt x="318" y="216"/>
                    </a:lnTo>
                    <a:lnTo>
                      <a:pt x="312" y="222"/>
                    </a:lnTo>
                    <a:lnTo>
                      <a:pt x="306" y="234"/>
                    </a:lnTo>
                    <a:lnTo>
                      <a:pt x="300" y="240"/>
                    </a:lnTo>
                    <a:lnTo>
                      <a:pt x="210" y="240"/>
                    </a:lnTo>
                    <a:lnTo>
                      <a:pt x="204" y="246"/>
                    </a:lnTo>
                    <a:lnTo>
                      <a:pt x="198" y="258"/>
                    </a:lnTo>
                    <a:lnTo>
                      <a:pt x="186" y="270"/>
                    </a:lnTo>
                    <a:lnTo>
                      <a:pt x="174" y="276"/>
                    </a:lnTo>
                    <a:lnTo>
                      <a:pt x="168" y="276"/>
                    </a:lnTo>
                    <a:lnTo>
                      <a:pt x="162" y="270"/>
                    </a:lnTo>
                    <a:lnTo>
                      <a:pt x="162" y="246"/>
                    </a:lnTo>
                    <a:lnTo>
                      <a:pt x="156" y="252"/>
                    </a:lnTo>
                    <a:lnTo>
                      <a:pt x="144" y="258"/>
                    </a:lnTo>
                    <a:lnTo>
                      <a:pt x="126" y="276"/>
                    </a:lnTo>
                    <a:lnTo>
                      <a:pt x="114" y="282"/>
                    </a:lnTo>
                    <a:lnTo>
                      <a:pt x="96" y="282"/>
                    </a:lnTo>
                    <a:lnTo>
                      <a:pt x="90" y="276"/>
                    </a:lnTo>
                    <a:lnTo>
                      <a:pt x="78" y="276"/>
                    </a:lnTo>
                    <a:lnTo>
                      <a:pt x="66" y="288"/>
                    </a:lnTo>
                    <a:lnTo>
                      <a:pt x="60" y="300"/>
                    </a:lnTo>
                    <a:lnTo>
                      <a:pt x="54" y="306"/>
                    </a:lnTo>
                    <a:lnTo>
                      <a:pt x="54" y="324"/>
                    </a:lnTo>
                    <a:lnTo>
                      <a:pt x="48" y="336"/>
                    </a:lnTo>
                    <a:lnTo>
                      <a:pt x="42" y="336"/>
                    </a:lnTo>
                    <a:lnTo>
                      <a:pt x="36" y="372"/>
                    </a:lnTo>
                    <a:lnTo>
                      <a:pt x="30" y="372"/>
                    </a:lnTo>
                    <a:lnTo>
                      <a:pt x="24" y="378"/>
                    </a:lnTo>
                    <a:lnTo>
                      <a:pt x="12" y="384"/>
                    </a:lnTo>
                    <a:lnTo>
                      <a:pt x="0" y="396"/>
                    </a:lnTo>
                    <a:lnTo>
                      <a:pt x="0" y="402"/>
                    </a:lnTo>
                    <a:lnTo>
                      <a:pt x="12" y="408"/>
                    </a:lnTo>
                    <a:lnTo>
                      <a:pt x="18" y="408"/>
                    </a:lnTo>
                    <a:lnTo>
                      <a:pt x="18" y="444"/>
                    </a:lnTo>
                    <a:lnTo>
                      <a:pt x="6" y="456"/>
                    </a:lnTo>
                    <a:lnTo>
                      <a:pt x="24" y="468"/>
                    </a:lnTo>
                    <a:lnTo>
                      <a:pt x="24" y="516"/>
                    </a:lnTo>
                    <a:lnTo>
                      <a:pt x="30" y="516"/>
                    </a:lnTo>
                    <a:lnTo>
                      <a:pt x="48" y="534"/>
                    </a:lnTo>
                    <a:lnTo>
                      <a:pt x="54" y="534"/>
                    </a:lnTo>
                    <a:lnTo>
                      <a:pt x="54" y="576"/>
                    </a:lnTo>
                    <a:lnTo>
                      <a:pt x="60" y="582"/>
                    </a:lnTo>
                    <a:lnTo>
                      <a:pt x="72" y="606"/>
                    </a:lnTo>
                    <a:lnTo>
                      <a:pt x="84" y="618"/>
                    </a:lnTo>
                    <a:lnTo>
                      <a:pt x="96" y="624"/>
                    </a:lnTo>
                    <a:lnTo>
                      <a:pt x="102" y="636"/>
                    </a:lnTo>
                    <a:lnTo>
                      <a:pt x="114" y="642"/>
                    </a:lnTo>
                    <a:lnTo>
                      <a:pt x="120" y="660"/>
                    </a:lnTo>
                    <a:lnTo>
                      <a:pt x="120" y="690"/>
                    </a:lnTo>
                    <a:lnTo>
                      <a:pt x="132" y="702"/>
                    </a:lnTo>
                    <a:lnTo>
                      <a:pt x="138" y="696"/>
                    </a:lnTo>
                    <a:lnTo>
                      <a:pt x="144" y="684"/>
                    </a:lnTo>
                    <a:lnTo>
                      <a:pt x="150" y="678"/>
                    </a:lnTo>
                    <a:lnTo>
                      <a:pt x="156" y="666"/>
                    </a:lnTo>
                    <a:lnTo>
                      <a:pt x="156" y="642"/>
                    </a:lnTo>
                    <a:lnTo>
                      <a:pt x="144" y="630"/>
                    </a:lnTo>
                    <a:lnTo>
                      <a:pt x="162" y="600"/>
                    </a:lnTo>
                    <a:lnTo>
                      <a:pt x="192" y="600"/>
                    </a:lnTo>
                    <a:lnTo>
                      <a:pt x="210" y="582"/>
                    </a:lnTo>
                    <a:lnTo>
                      <a:pt x="228" y="582"/>
                    </a:lnTo>
                    <a:lnTo>
                      <a:pt x="264" y="600"/>
                    </a:lnTo>
                    <a:lnTo>
                      <a:pt x="276" y="600"/>
                    </a:lnTo>
                    <a:lnTo>
                      <a:pt x="288" y="588"/>
                    </a:lnTo>
                    <a:lnTo>
                      <a:pt x="300" y="570"/>
                    </a:lnTo>
                    <a:lnTo>
                      <a:pt x="300" y="552"/>
                    </a:lnTo>
                    <a:lnTo>
                      <a:pt x="294" y="552"/>
                    </a:lnTo>
                    <a:lnTo>
                      <a:pt x="294" y="540"/>
                    </a:lnTo>
                    <a:lnTo>
                      <a:pt x="306" y="528"/>
                    </a:lnTo>
                    <a:lnTo>
                      <a:pt x="312" y="528"/>
                    </a:lnTo>
                    <a:lnTo>
                      <a:pt x="324" y="516"/>
                    </a:lnTo>
                    <a:lnTo>
                      <a:pt x="330" y="504"/>
                    </a:lnTo>
                    <a:lnTo>
                      <a:pt x="330" y="498"/>
                    </a:lnTo>
                    <a:lnTo>
                      <a:pt x="336" y="486"/>
                    </a:lnTo>
                    <a:lnTo>
                      <a:pt x="336" y="480"/>
                    </a:lnTo>
                    <a:lnTo>
                      <a:pt x="342" y="474"/>
                    </a:lnTo>
                    <a:lnTo>
                      <a:pt x="354" y="468"/>
                    </a:lnTo>
                    <a:lnTo>
                      <a:pt x="366" y="468"/>
                    </a:lnTo>
                    <a:lnTo>
                      <a:pt x="384" y="474"/>
                    </a:lnTo>
                    <a:lnTo>
                      <a:pt x="396" y="474"/>
                    </a:lnTo>
                    <a:lnTo>
                      <a:pt x="408" y="480"/>
                    </a:lnTo>
                    <a:lnTo>
                      <a:pt x="408" y="492"/>
                    </a:lnTo>
                    <a:lnTo>
                      <a:pt x="426" y="492"/>
                    </a:lnTo>
                    <a:lnTo>
                      <a:pt x="432" y="498"/>
                    </a:lnTo>
                    <a:lnTo>
                      <a:pt x="432" y="528"/>
                    </a:lnTo>
                    <a:lnTo>
                      <a:pt x="474" y="528"/>
                    </a:lnTo>
                    <a:lnTo>
                      <a:pt x="480" y="534"/>
                    </a:lnTo>
                    <a:lnTo>
                      <a:pt x="492" y="540"/>
                    </a:lnTo>
                    <a:lnTo>
                      <a:pt x="540" y="540"/>
                    </a:lnTo>
                    <a:lnTo>
                      <a:pt x="552" y="546"/>
                    </a:lnTo>
                    <a:lnTo>
                      <a:pt x="558" y="552"/>
                    </a:lnTo>
                    <a:lnTo>
                      <a:pt x="570" y="558"/>
                    </a:lnTo>
                    <a:lnTo>
                      <a:pt x="576" y="552"/>
                    </a:lnTo>
                    <a:lnTo>
                      <a:pt x="582" y="540"/>
                    </a:lnTo>
                    <a:lnTo>
                      <a:pt x="588" y="534"/>
                    </a:lnTo>
                    <a:lnTo>
                      <a:pt x="588" y="522"/>
                    </a:lnTo>
                    <a:lnTo>
                      <a:pt x="606" y="504"/>
                    </a:lnTo>
                    <a:lnTo>
                      <a:pt x="612" y="492"/>
                    </a:lnTo>
                    <a:lnTo>
                      <a:pt x="636" y="516"/>
                    </a:lnTo>
                    <a:lnTo>
                      <a:pt x="642" y="516"/>
                    </a:lnTo>
                    <a:lnTo>
                      <a:pt x="648" y="510"/>
                    </a:lnTo>
                    <a:lnTo>
                      <a:pt x="660" y="504"/>
                    </a:lnTo>
                    <a:lnTo>
                      <a:pt x="672" y="492"/>
                    </a:lnTo>
                    <a:lnTo>
                      <a:pt x="690" y="492"/>
                    </a:lnTo>
                    <a:lnTo>
                      <a:pt x="714" y="474"/>
                    </a:lnTo>
                    <a:lnTo>
                      <a:pt x="726" y="486"/>
                    </a:lnTo>
                    <a:lnTo>
                      <a:pt x="750" y="486"/>
                    </a:lnTo>
                    <a:lnTo>
                      <a:pt x="756" y="480"/>
                    </a:lnTo>
                    <a:lnTo>
                      <a:pt x="768" y="480"/>
                    </a:lnTo>
                    <a:lnTo>
                      <a:pt x="768" y="468"/>
                    </a:lnTo>
                    <a:lnTo>
                      <a:pt x="786" y="450"/>
                    </a:lnTo>
                    <a:lnTo>
                      <a:pt x="792" y="450"/>
                    </a:lnTo>
                    <a:lnTo>
                      <a:pt x="792" y="456"/>
                    </a:lnTo>
                    <a:lnTo>
                      <a:pt x="804" y="468"/>
                    </a:lnTo>
                    <a:lnTo>
                      <a:pt x="840" y="462"/>
                    </a:lnTo>
                    <a:lnTo>
                      <a:pt x="840" y="468"/>
                    </a:lnTo>
                    <a:lnTo>
                      <a:pt x="852" y="480"/>
                    </a:lnTo>
                    <a:lnTo>
                      <a:pt x="876" y="480"/>
                    </a:lnTo>
                    <a:lnTo>
                      <a:pt x="894" y="474"/>
                    </a:lnTo>
                    <a:lnTo>
                      <a:pt x="912" y="456"/>
                    </a:lnTo>
                    <a:lnTo>
                      <a:pt x="912" y="432"/>
                    </a:lnTo>
                    <a:lnTo>
                      <a:pt x="906" y="42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94" name="Cameroon" descr="© INSCALE GmbH, 05.05.2010&#10;http://www.presentationload.com/"/>
              <p:cNvSpPr>
                <a:spLocks/>
              </p:cNvSpPr>
              <p:nvPr/>
            </p:nvSpPr>
            <p:spPr bwMode="gray">
              <a:xfrm>
                <a:off x="4664115" y="3975551"/>
                <a:ext cx="177898" cy="287825"/>
              </a:xfrm>
              <a:custGeom>
                <a:avLst/>
                <a:gdLst>
                  <a:gd name="T0" fmla="*/ 2147483647 w 546"/>
                  <a:gd name="T1" fmla="*/ 0 h 924"/>
                  <a:gd name="T2" fmla="*/ 2147483647 w 546"/>
                  <a:gd name="T3" fmla="*/ 2147483647 h 924"/>
                  <a:gd name="T4" fmla="*/ 2147483647 w 546"/>
                  <a:gd name="T5" fmla="*/ 2147483647 h 924"/>
                  <a:gd name="T6" fmla="*/ 2147483647 w 546"/>
                  <a:gd name="T7" fmla="*/ 2147483647 h 924"/>
                  <a:gd name="T8" fmla="*/ 2147483647 w 546"/>
                  <a:gd name="T9" fmla="*/ 2147483647 h 924"/>
                  <a:gd name="T10" fmla="*/ 2147483647 w 546"/>
                  <a:gd name="T11" fmla="*/ 2147483647 h 924"/>
                  <a:gd name="T12" fmla="*/ 2147483647 w 546"/>
                  <a:gd name="T13" fmla="*/ 2147483647 h 924"/>
                  <a:gd name="T14" fmla="*/ 2147483647 w 546"/>
                  <a:gd name="T15" fmla="*/ 2147483647 h 924"/>
                  <a:gd name="T16" fmla="*/ 2147483647 w 546"/>
                  <a:gd name="T17" fmla="*/ 2147483647 h 924"/>
                  <a:gd name="T18" fmla="*/ 2147483647 w 546"/>
                  <a:gd name="T19" fmla="*/ 2147483647 h 924"/>
                  <a:gd name="T20" fmla="*/ 2147483647 w 546"/>
                  <a:gd name="T21" fmla="*/ 2147483647 h 924"/>
                  <a:gd name="T22" fmla="*/ 2147483647 w 546"/>
                  <a:gd name="T23" fmla="*/ 2147483647 h 924"/>
                  <a:gd name="T24" fmla="*/ 2147483647 w 546"/>
                  <a:gd name="T25" fmla="*/ 2147483647 h 924"/>
                  <a:gd name="T26" fmla="*/ 2147483647 w 546"/>
                  <a:gd name="T27" fmla="*/ 2147483647 h 924"/>
                  <a:gd name="T28" fmla="*/ 2147483647 w 546"/>
                  <a:gd name="T29" fmla="*/ 2147483647 h 924"/>
                  <a:gd name="T30" fmla="*/ 2147483647 w 546"/>
                  <a:gd name="T31" fmla="*/ 2147483647 h 924"/>
                  <a:gd name="T32" fmla="*/ 2147483647 w 546"/>
                  <a:gd name="T33" fmla="*/ 2147483647 h 924"/>
                  <a:gd name="T34" fmla="*/ 2147483647 w 546"/>
                  <a:gd name="T35" fmla="*/ 2147483647 h 924"/>
                  <a:gd name="T36" fmla="*/ 2147483647 w 546"/>
                  <a:gd name="T37" fmla="*/ 2147483647 h 924"/>
                  <a:gd name="T38" fmla="*/ 2147483647 w 546"/>
                  <a:gd name="T39" fmla="*/ 2147483647 h 924"/>
                  <a:gd name="T40" fmla="*/ 2147483647 w 546"/>
                  <a:gd name="T41" fmla="*/ 2147483647 h 924"/>
                  <a:gd name="T42" fmla="*/ 2147483647 w 546"/>
                  <a:gd name="T43" fmla="*/ 2147483647 h 924"/>
                  <a:gd name="T44" fmla="*/ 2147483647 w 546"/>
                  <a:gd name="T45" fmla="*/ 2147483647 h 924"/>
                  <a:gd name="T46" fmla="*/ 2147483647 w 546"/>
                  <a:gd name="T47" fmla="*/ 2147483647 h 924"/>
                  <a:gd name="T48" fmla="*/ 2147483647 w 546"/>
                  <a:gd name="T49" fmla="*/ 2147483647 h 924"/>
                  <a:gd name="T50" fmla="*/ 2147483647 w 546"/>
                  <a:gd name="T51" fmla="*/ 2147483647 h 924"/>
                  <a:gd name="T52" fmla="*/ 2147483647 w 546"/>
                  <a:gd name="T53" fmla="*/ 2147483647 h 924"/>
                  <a:gd name="T54" fmla="*/ 2147483647 w 546"/>
                  <a:gd name="T55" fmla="*/ 2147483647 h 924"/>
                  <a:gd name="T56" fmla="*/ 2147483647 w 546"/>
                  <a:gd name="T57" fmla="*/ 2147483647 h 924"/>
                  <a:gd name="T58" fmla="*/ 2147483647 w 546"/>
                  <a:gd name="T59" fmla="*/ 2147483647 h 924"/>
                  <a:gd name="T60" fmla="*/ 2147483647 w 546"/>
                  <a:gd name="T61" fmla="*/ 2147483647 h 924"/>
                  <a:gd name="T62" fmla="*/ 2147483647 w 546"/>
                  <a:gd name="T63" fmla="*/ 2147483647 h 924"/>
                  <a:gd name="T64" fmla="*/ 2147483647 w 546"/>
                  <a:gd name="T65" fmla="*/ 2147483647 h 924"/>
                  <a:gd name="T66" fmla="*/ 2147483647 w 546"/>
                  <a:gd name="T67" fmla="*/ 2147483647 h 924"/>
                  <a:gd name="T68" fmla="*/ 2147483647 w 546"/>
                  <a:gd name="T69" fmla="*/ 2147483647 h 924"/>
                  <a:gd name="T70" fmla="*/ 2147483647 w 546"/>
                  <a:gd name="T71" fmla="*/ 2147483647 h 924"/>
                  <a:gd name="T72" fmla="*/ 2147483647 w 546"/>
                  <a:gd name="T73" fmla="*/ 2147483647 h 924"/>
                  <a:gd name="T74" fmla="*/ 2147483647 w 546"/>
                  <a:gd name="T75" fmla="*/ 2147483647 h 924"/>
                  <a:gd name="T76" fmla="*/ 2147483647 w 546"/>
                  <a:gd name="T77" fmla="*/ 2147483647 h 924"/>
                  <a:gd name="T78" fmla="*/ 2147483647 w 546"/>
                  <a:gd name="T79" fmla="*/ 2147483647 h 924"/>
                  <a:gd name="T80" fmla="*/ 2147483647 w 546"/>
                  <a:gd name="T81" fmla="*/ 2147483647 h 924"/>
                  <a:gd name="T82" fmla="*/ 2147483647 w 546"/>
                  <a:gd name="T83" fmla="*/ 2147483647 h 924"/>
                  <a:gd name="T84" fmla="*/ 2147483647 w 546"/>
                  <a:gd name="T85" fmla="*/ 2147483647 h 924"/>
                  <a:gd name="T86" fmla="*/ 2147483647 w 546"/>
                  <a:gd name="T87" fmla="*/ 2147483647 h 924"/>
                  <a:gd name="T88" fmla="*/ 2147483647 w 546"/>
                  <a:gd name="T89" fmla="*/ 2147483647 h 924"/>
                  <a:gd name="T90" fmla="*/ 2147483647 w 546"/>
                  <a:gd name="T91" fmla="*/ 2147483647 h 924"/>
                  <a:gd name="T92" fmla="*/ 2147483647 w 546"/>
                  <a:gd name="T93" fmla="*/ 2147483647 h 924"/>
                  <a:gd name="T94" fmla="*/ 2147483647 w 546"/>
                  <a:gd name="T95" fmla="*/ 2147483647 h 924"/>
                  <a:gd name="T96" fmla="*/ 2147483647 w 546"/>
                  <a:gd name="T97" fmla="*/ 2147483647 h 924"/>
                  <a:gd name="T98" fmla="*/ 2147483647 w 546"/>
                  <a:gd name="T99" fmla="*/ 2147483647 h 924"/>
                  <a:gd name="T100" fmla="*/ 2147483647 w 546"/>
                  <a:gd name="T101" fmla="*/ 2147483647 h 924"/>
                  <a:gd name="T102" fmla="*/ 2147483647 w 546"/>
                  <a:gd name="T103" fmla="*/ 2147483647 h 924"/>
                  <a:gd name="T104" fmla="*/ 2147483647 w 546"/>
                  <a:gd name="T105" fmla="*/ 2147483647 h 924"/>
                  <a:gd name="T106" fmla="*/ 2147483647 w 546"/>
                  <a:gd name="T107" fmla="*/ 2147483647 h 924"/>
                  <a:gd name="T108" fmla="*/ 2147483647 w 546"/>
                  <a:gd name="T109" fmla="*/ 2147483647 h 924"/>
                  <a:gd name="T110" fmla="*/ 2147483647 w 546"/>
                  <a:gd name="T111" fmla="*/ 2147483647 h 924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546"/>
                  <a:gd name="T169" fmla="*/ 0 h 924"/>
                  <a:gd name="T170" fmla="*/ 546 w 546"/>
                  <a:gd name="T171" fmla="*/ 924 h 924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546" h="924">
                    <a:moveTo>
                      <a:pt x="420" y="30"/>
                    </a:moveTo>
                    <a:lnTo>
                      <a:pt x="414" y="18"/>
                    </a:lnTo>
                    <a:lnTo>
                      <a:pt x="414" y="0"/>
                    </a:lnTo>
                    <a:lnTo>
                      <a:pt x="390" y="6"/>
                    </a:lnTo>
                    <a:lnTo>
                      <a:pt x="390" y="54"/>
                    </a:lnTo>
                    <a:lnTo>
                      <a:pt x="396" y="60"/>
                    </a:lnTo>
                    <a:lnTo>
                      <a:pt x="396" y="66"/>
                    </a:lnTo>
                    <a:lnTo>
                      <a:pt x="426" y="66"/>
                    </a:lnTo>
                    <a:lnTo>
                      <a:pt x="426" y="96"/>
                    </a:lnTo>
                    <a:lnTo>
                      <a:pt x="420" y="102"/>
                    </a:lnTo>
                    <a:lnTo>
                      <a:pt x="420" y="108"/>
                    </a:lnTo>
                    <a:lnTo>
                      <a:pt x="426" y="114"/>
                    </a:lnTo>
                    <a:lnTo>
                      <a:pt x="426" y="126"/>
                    </a:lnTo>
                    <a:lnTo>
                      <a:pt x="408" y="144"/>
                    </a:lnTo>
                    <a:lnTo>
                      <a:pt x="396" y="150"/>
                    </a:lnTo>
                    <a:lnTo>
                      <a:pt x="384" y="150"/>
                    </a:lnTo>
                    <a:lnTo>
                      <a:pt x="384" y="156"/>
                    </a:lnTo>
                    <a:lnTo>
                      <a:pt x="378" y="162"/>
                    </a:lnTo>
                    <a:lnTo>
                      <a:pt x="378" y="168"/>
                    </a:lnTo>
                    <a:lnTo>
                      <a:pt x="372" y="174"/>
                    </a:lnTo>
                    <a:lnTo>
                      <a:pt x="372" y="180"/>
                    </a:lnTo>
                    <a:lnTo>
                      <a:pt x="360" y="192"/>
                    </a:lnTo>
                    <a:lnTo>
                      <a:pt x="354" y="204"/>
                    </a:lnTo>
                    <a:lnTo>
                      <a:pt x="348" y="234"/>
                    </a:lnTo>
                    <a:lnTo>
                      <a:pt x="342" y="240"/>
                    </a:lnTo>
                    <a:lnTo>
                      <a:pt x="342" y="270"/>
                    </a:lnTo>
                    <a:lnTo>
                      <a:pt x="336" y="288"/>
                    </a:lnTo>
                    <a:lnTo>
                      <a:pt x="330" y="294"/>
                    </a:lnTo>
                    <a:lnTo>
                      <a:pt x="312" y="294"/>
                    </a:lnTo>
                    <a:lnTo>
                      <a:pt x="312" y="324"/>
                    </a:lnTo>
                    <a:lnTo>
                      <a:pt x="306" y="342"/>
                    </a:lnTo>
                    <a:lnTo>
                      <a:pt x="306" y="354"/>
                    </a:lnTo>
                    <a:lnTo>
                      <a:pt x="300" y="360"/>
                    </a:lnTo>
                    <a:lnTo>
                      <a:pt x="288" y="366"/>
                    </a:lnTo>
                    <a:lnTo>
                      <a:pt x="282" y="372"/>
                    </a:lnTo>
                    <a:lnTo>
                      <a:pt x="270" y="378"/>
                    </a:lnTo>
                    <a:lnTo>
                      <a:pt x="258" y="426"/>
                    </a:lnTo>
                    <a:lnTo>
                      <a:pt x="234" y="456"/>
                    </a:lnTo>
                    <a:lnTo>
                      <a:pt x="234" y="486"/>
                    </a:lnTo>
                    <a:lnTo>
                      <a:pt x="228" y="492"/>
                    </a:lnTo>
                    <a:lnTo>
                      <a:pt x="216" y="498"/>
                    </a:lnTo>
                    <a:lnTo>
                      <a:pt x="210" y="510"/>
                    </a:lnTo>
                    <a:lnTo>
                      <a:pt x="210" y="522"/>
                    </a:lnTo>
                    <a:lnTo>
                      <a:pt x="192" y="540"/>
                    </a:lnTo>
                    <a:lnTo>
                      <a:pt x="186" y="540"/>
                    </a:lnTo>
                    <a:lnTo>
                      <a:pt x="180" y="534"/>
                    </a:lnTo>
                    <a:lnTo>
                      <a:pt x="174" y="522"/>
                    </a:lnTo>
                    <a:lnTo>
                      <a:pt x="174" y="516"/>
                    </a:lnTo>
                    <a:lnTo>
                      <a:pt x="168" y="504"/>
                    </a:lnTo>
                    <a:lnTo>
                      <a:pt x="156" y="492"/>
                    </a:lnTo>
                    <a:lnTo>
                      <a:pt x="150" y="480"/>
                    </a:lnTo>
                    <a:lnTo>
                      <a:pt x="138" y="480"/>
                    </a:lnTo>
                    <a:lnTo>
                      <a:pt x="144" y="486"/>
                    </a:lnTo>
                    <a:lnTo>
                      <a:pt x="144" y="498"/>
                    </a:lnTo>
                    <a:lnTo>
                      <a:pt x="138" y="504"/>
                    </a:lnTo>
                    <a:lnTo>
                      <a:pt x="132" y="504"/>
                    </a:lnTo>
                    <a:lnTo>
                      <a:pt x="120" y="498"/>
                    </a:lnTo>
                    <a:lnTo>
                      <a:pt x="114" y="492"/>
                    </a:lnTo>
                    <a:lnTo>
                      <a:pt x="108" y="492"/>
                    </a:lnTo>
                    <a:lnTo>
                      <a:pt x="102" y="498"/>
                    </a:lnTo>
                    <a:lnTo>
                      <a:pt x="90" y="522"/>
                    </a:lnTo>
                    <a:lnTo>
                      <a:pt x="84" y="528"/>
                    </a:lnTo>
                    <a:lnTo>
                      <a:pt x="84" y="534"/>
                    </a:lnTo>
                    <a:lnTo>
                      <a:pt x="18" y="588"/>
                    </a:lnTo>
                    <a:lnTo>
                      <a:pt x="18" y="642"/>
                    </a:lnTo>
                    <a:lnTo>
                      <a:pt x="12" y="654"/>
                    </a:lnTo>
                    <a:lnTo>
                      <a:pt x="12" y="666"/>
                    </a:lnTo>
                    <a:lnTo>
                      <a:pt x="6" y="672"/>
                    </a:lnTo>
                    <a:lnTo>
                      <a:pt x="6" y="678"/>
                    </a:lnTo>
                    <a:lnTo>
                      <a:pt x="0" y="690"/>
                    </a:lnTo>
                    <a:lnTo>
                      <a:pt x="24" y="684"/>
                    </a:lnTo>
                    <a:lnTo>
                      <a:pt x="24" y="708"/>
                    </a:lnTo>
                    <a:lnTo>
                      <a:pt x="36" y="732"/>
                    </a:lnTo>
                    <a:lnTo>
                      <a:pt x="60" y="744"/>
                    </a:lnTo>
                    <a:lnTo>
                      <a:pt x="66" y="750"/>
                    </a:lnTo>
                    <a:lnTo>
                      <a:pt x="84" y="726"/>
                    </a:lnTo>
                    <a:lnTo>
                      <a:pt x="66" y="756"/>
                    </a:lnTo>
                    <a:lnTo>
                      <a:pt x="84" y="786"/>
                    </a:lnTo>
                    <a:lnTo>
                      <a:pt x="102" y="792"/>
                    </a:lnTo>
                    <a:lnTo>
                      <a:pt x="102" y="840"/>
                    </a:lnTo>
                    <a:lnTo>
                      <a:pt x="90" y="840"/>
                    </a:lnTo>
                    <a:lnTo>
                      <a:pt x="90" y="870"/>
                    </a:lnTo>
                    <a:lnTo>
                      <a:pt x="102" y="882"/>
                    </a:lnTo>
                    <a:lnTo>
                      <a:pt x="198" y="882"/>
                    </a:lnTo>
                    <a:lnTo>
                      <a:pt x="216" y="864"/>
                    </a:lnTo>
                    <a:lnTo>
                      <a:pt x="228" y="882"/>
                    </a:lnTo>
                    <a:lnTo>
                      <a:pt x="258" y="882"/>
                    </a:lnTo>
                    <a:lnTo>
                      <a:pt x="270" y="870"/>
                    </a:lnTo>
                    <a:lnTo>
                      <a:pt x="276" y="870"/>
                    </a:lnTo>
                    <a:lnTo>
                      <a:pt x="288" y="876"/>
                    </a:lnTo>
                    <a:lnTo>
                      <a:pt x="294" y="876"/>
                    </a:lnTo>
                    <a:lnTo>
                      <a:pt x="342" y="870"/>
                    </a:lnTo>
                    <a:lnTo>
                      <a:pt x="342" y="888"/>
                    </a:lnTo>
                    <a:lnTo>
                      <a:pt x="372" y="888"/>
                    </a:lnTo>
                    <a:lnTo>
                      <a:pt x="390" y="882"/>
                    </a:lnTo>
                    <a:lnTo>
                      <a:pt x="438" y="882"/>
                    </a:lnTo>
                    <a:lnTo>
                      <a:pt x="450" y="888"/>
                    </a:lnTo>
                    <a:lnTo>
                      <a:pt x="456" y="894"/>
                    </a:lnTo>
                    <a:lnTo>
                      <a:pt x="468" y="894"/>
                    </a:lnTo>
                    <a:lnTo>
                      <a:pt x="474" y="900"/>
                    </a:lnTo>
                    <a:lnTo>
                      <a:pt x="510" y="900"/>
                    </a:lnTo>
                    <a:lnTo>
                      <a:pt x="534" y="924"/>
                    </a:lnTo>
                    <a:lnTo>
                      <a:pt x="540" y="882"/>
                    </a:lnTo>
                    <a:lnTo>
                      <a:pt x="546" y="876"/>
                    </a:lnTo>
                    <a:lnTo>
                      <a:pt x="534" y="864"/>
                    </a:lnTo>
                    <a:lnTo>
                      <a:pt x="534" y="834"/>
                    </a:lnTo>
                    <a:lnTo>
                      <a:pt x="528" y="816"/>
                    </a:lnTo>
                    <a:lnTo>
                      <a:pt x="516" y="810"/>
                    </a:lnTo>
                    <a:lnTo>
                      <a:pt x="510" y="798"/>
                    </a:lnTo>
                    <a:lnTo>
                      <a:pt x="498" y="792"/>
                    </a:lnTo>
                    <a:lnTo>
                      <a:pt x="486" y="780"/>
                    </a:lnTo>
                    <a:lnTo>
                      <a:pt x="474" y="756"/>
                    </a:lnTo>
                    <a:lnTo>
                      <a:pt x="468" y="750"/>
                    </a:lnTo>
                    <a:lnTo>
                      <a:pt x="468" y="708"/>
                    </a:lnTo>
                    <a:lnTo>
                      <a:pt x="462" y="708"/>
                    </a:lnTo>
                    <a:lnTo>
                      <a:pt x="444" y="690"/>
                    </a:lnTo>
                    <a:lnTo>
                      <a:pt x="438" y="690"/>
                    </a:lnTo>
                    <a:lnTo>
                      <a:pt x="438" y="642"/>
                    </a:lnTo>
                    <a:lnTo>
                      <a:pt x="420" y="630"/>
                    </a:lnTo>
                    <a:lnTo>
                      <a:pt x="432" y="618"/>
                    </a:lnTo>
                    <a:lnTo>
                      <a:pt x="432" y="582"/>
                    </a:lnTo>
                    <a:lnTo>
                      <a:pt x="426" y="582"/>
                    </a:lnTo>
                    <a:lnTo>
                      <a:pt x="414" y="576"/>
                    </a:lnTo>
                    <a:lnTo>
                      <a:pt x="414" y="570"/>
                    </a:lnTo>
                    <a:lnTo>
                      <a:pt x="426" y="558"/>
                    </a:lnTo>
                    <a:lnTo>
                      <a:pt x="438" y="552"/>
                    </a:lnTo>
                    <a:lnTo>
                      <a:pt x="444" y="546"/>
                    </a:lnTo>
                    <a:lnTo>
                      <a:pt x="450" y="546"/>
                    </a:lnTo>
                    <a:lnTo>
                      <a:pt x="456" y="510"/>
                    </a:lnTo>
                    <a:lnTo>
                      <a:pt x="462" y="510"/>
                    </a:lnTo>
                    <a:lnTo>
                      <a:pt x="468" y="498"/>
                    </a:lnTo>
                    <a:lnTo>
                      <a:pt x="468" y="480"/>
                    </a:lnTo>
                    <a:lnTo>
                      <a:pt x="474" y="474"/>
                    </a:lnTo>
                    <a:lnTo>
                      <a:pt x="480" y="462"/>
                    </a:lnTo>
                    <a:lnTo>
                      <a:pt x="492" y="450"/>
                    </a:lnTo>
                    <a:lnTo>
                      <a:pt x="498" y="450"/>
                    </a:lnTo>
                    <a:lnTo>
                      <a:pt x="498" y="438"/>
                    </a:lnTo>
                    <a:lnTo>
                      <a:pt x="492" y="420"/>
                    </a:lnTo>
                    <a:lnTo>
                      <a:pt x="486" y="408"/>
                    </a:lnTo>
                    <a:lnTo>
                      <a:pt x="486" y="390"/>
                    </a:lnTo>
                    <a:lnTo>
                      <a:pt x="474" y="366"/>
                    </a:lnTo>
                    <a:lnTo>
                      <a:pt x="462" y="354"/>
                    </a:lnTo>
                    <a:lnTo>
                      <a:pt x="450" y="348"/>
                    </a:lnTo>
                    <a:lnTo>
                      <a:pt x="432" y="336"/>
                    </a:lnTo>
                    <a:lnTo>
                      <a:pt x="420" y="324"/>
                    </a:lnTo>
                    <a:lnTo>
                      <a:pt x="414" y="312"/>
                    </a:lnTo>
                    <a:lnTo>
                      <a:pt x="402" y="300"/>
                    </a:lnTo>
                    <a:lnTo>
                      <a:pt x="390" y="276"/>
                    </a:lnTo>
                    <a:lnTo>
                      <a:pt x="390" y="264"/>
                    </a:lnTo>
                    <a:lnTo>
                      <a:pt x="396" y="258"/>
                    </a:lnTo>
                    <a:lnTo>
                      <a:pt x="408" y="252"/>
                    </a:lnTo>
                    <a:lnTo>
                      <a:pt x="504" y="252"/>
                    </a:lnTo>
                    <a:lnTo>
                      <a:pt x="486" y="234"/>
                    </a:lnTo>
                    <a:lnTo>
                      <a:pt x="480" y="222"/>
                    </a:lnTo>
                    <a:lnTo>
                      <a:pt x="468" y="216"/>
                    </a:lnTo>
                    <a:lnTo>
                      <a:pt x="462" y="204"/>
                    </a:lnTo>
                    <a:lnTo>
                      <a:pt x="462" y="186"/>
                    </a:lnTo>
                    <a:lnTo>
                      <a:pt x="456" y="168"/>
                    </a:lnTo>
                    <a:lnTo>
                      <a:pt x="456" y="132"/>
                    </a:lnTo>
                    <a:lnTo>
                      <a:pt x="462" y="132"/>
                    </a:lnTo>
                    <a:lnTo>
                      <a:pt x="462" y="96"/>
                    </a:lnTo>
                    <a:lnTo>
                      <a:pt x="456" y="84"/>
                    </a:lnTo>
                    <a:lnTo>
                      <a:pt x="444" y="78"/>
                    </a:lnTo>
                    <a:lnTo>
                      <a:pt x="450" y="42"/>
                    </a:lnTo>
                    <a:lnTo>
                      <a:pt x="444" y="42"/>
                    </a:lnTo>
                    <a:lnTo>
                      <a:pt x="438" y="36"/>
                    </a:lnTo>
                    <a:lnTo>
                      <a:pt x="426" y="36"/>
                    </a:lnTo>
                    <a:lnTo>
                      <a:pt x="420" y="3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162" name="Cambodia" descr="© INSCALE GmbH, 05.05.2010&#10;http://www.presentationload.com/"/>
            <p:cNvSpPr>
              <a:spLocks/>
            </p:cNvSpPr>
            <p:nvPr/>
          </p:nvSpPr>
          <p:spPr bwMode="gray">
            <a:xfrm>
              <a:off x="6815528" y="3940033"/>
              <a:ext cx="124145" cy="104107"/>
            </a:xfrm>
            <a:custGeom>
              <a:avLst/>
              <a:gdLst>
                <a:gd name="T0" fmla="*/ 2147483647 w 378"/>
                <a:gd name="T1" fmla="*/ 2147483647 h 336"/>
                <a:gd name="T2" fmla="*/ 2147483647 w 378"/>
                <a:gd name="T3" fmla="*/ 2147483647 h 336"/>
                <a:gd name="T4" fmla="*/ 2147483647 w 378"/>
                <a:gd name="T5" fmla="*/ 2147483647 h 336"/>
                <a:gd name="T6" fmla="*/ 2147483647 w 378"/>
                <a:gd name="T7" fmla="*/ 2147483647 h 336"/>
                <a:gd name="T8" fmla="*/ 2147483647 w 378"/>
                <a:gd name="T9" fmla="*/ 2147483647 h 336"/>
                <a:gd name="T10" fmla="*/ 2147483647 w 378"/>
                <a:gd name="T11" fmla="*/ 2147483647 h 336"/>
                <a:gd name="T12" fmla="*/ 2147483647 w 378"/>
                <a:gd name="T13" fmla="*/ 2147483647 h 336"/>
                <a:gd name="T14" fmla="*/ 2147483647 w 378"/>
                <a:gd name="T15" fmla="*/ 2147483647 h 336"/>
                <a:gd name="T16" fmla="*/ 2147483647 w 378"/>
                <a:gd name="T17" fmla="*/ 2147483647 h 336"/>
                <a:gd name="T18" fmla="*/ 2147483647 w 378"/>
                <a:gd name="T19" fmla="*/ 2147483647 h 336"/>
                <a:gd name="T20" fmla="*/ 2147483647 w 378"/>
                <a:gd name="T21" fmla="*/ 2147483647 h 336"/>
                <a:gd name="T22" fmla="*/ 2147483647 w 378"/>
                <a:gd name="T23" fmla="*/ 2147483647 h 336"/>
                <a:gd name="T24" fmla="*/ 2147483647 w 378"/>
                <a:gd name="T25" fmla="*/ 2147483647 h 336"/>
                <a:gd name="T26" fmla="*/ 2147483647 w 378"/>
                <a:gd name="T27" fmla="*/ 2147483647 h 336"/>
                <a:gd name="T28" fmla="*/ 0 w 378"/>
                <a:gd name="T29" fmla="*/ 2147483647 h 336"/>
                <a:gd name="T30" fmla="*/ 2147483647 w 378"/>
                <a:gd name="T31" fmla="*/ 2147483647 h 336"/>
                <a:gd name="T32" fmla="*/ 2147483647 w 378"/>
                <a:gd name="T33" fmla="*/ 2147483647 h 336"/>
                <a:gd name="T34" fmla="*/ 2147483647 w 378"/>
                <a:gd name="T35" fmla="*/ 2147483647 h 336"/>
                <a:gd name="T36" fmla="*/ 2147483647 w 378"/>
                <a:gd name="T37" fmla="*/ 2147483647 h 336"/>
                <a:gd name="T38" fmla="*/ 2147483647 w 378"/>
                <a:gd name="T39" fmla="*/ 2147483647 h 336"/>
                <a:gd name="T40" fmla="*/ 2147483647 w 378"/>
                <a:gd name="T41" fmla="*/ 2147483647 h 336"/>
                <a:gd name="T42" fmla="*/ 2147483647 w 378"/>
                <a:gd name="T43" fmla="*/ 2147483647 h 336"/>
                <a:gd name="T44" fmla="*/ 2147483647 w 378"/>
                <a:gd name="T45" fmla="*/ 2147483647 h 336"/>
                <a:gd name="T46" fmla="*/ 2147483647 w 378"/>
                <a:gd name="T47" fmla="*/ 2147483647 h 336"/>
                <a:gd name="T48" fmla="*/ 2147483647 w 378"/>
                <a:gd name="T49" fmla="*/ 2147483647 h 336"/>
                <a:gd name="T50" fmla="*/ 2147483647 w 378"/>
                <a:gd name="T51" fmla="*/ 2147483647 h 336"/>
                <a:gd name="T52" fmla="*/ 2147483647 w 378"/>
                <a:gd name="T53" fmla="*/ 2147483647 h 336"/>
                <a:gd name="T54" fmla="*/ 2147483647 w 378"/>
                <a:gd name="T55" fmla="*/ 2147483647 h 336"/>
                <a:gd name="T56" fmla="*/ 2147483647 w 378"/>
                <a:gd name="T57" fmla="*/ 2147483647 h 336"/>
                <a:gd name="T58" fmla="*/ 2147483647 w 378"/>
                <a:gd name="T59" fmla="*/ 2147483647 h 336"/>
                <a:gd name="T60" fmla="*/ 2147483647 w 378"/>
                <a:gd name="T61" fmla="*/ 2147483647 h 336"/>
                <a:gd name="T62" fmla="*/ 2147483647 w 378"/>
                <a:gd name="T63" fmla="*/ 2147483647 h 336"/>
                <a:gd name="T64" fmla="*/ 2147483647 w 378"/>
                <a:gd name="T65" fmla="*/ 2147483647 h 336"/>
                <a:gd name="T66" fmla="*/ 2147483647 w 378"/>
                <a:gd name="T67" fmla="*/ 2147483647 h 336"/>
                <a:gd name="T68" fmla="*/ 2147483647 w 378"/>
                <a:gd name="T69" fmla="*/ 2147483647 h 336"/>
                <a:gd name="T70" fmla="*/ 2147483647 w 378"/>
                <a:gd name="T71" fmla="*/ 2147483647 h 336"/>
                <a:gd name="T72" fmla="*/ 2147483647 w 378"/>
                <a:gd name="T73" fmla="*/ 2147483647 h 336"/>
                <a:gd name="T74" fmla="*/ 2147483647 w 378"/>
                <a:gd name="T75" fmla="*/ 2147483647 h 336"/>
                <a:gd name="T76" fmla="*/ 2147483647 w 378"/>
                <a:gd name="T77" fmla="*/ 2147483647 h 336"/>
                <a:gd name="T78" fmla="*/ 2147483647 w 378"/>
                <a:gd name="T79" fmla="*/ 2147483647 h 336"/>
                <a:gd name="T80" fmla="*/ 2147483647 w 378"/>
                <a:gd name="T81" fmla="*/ 2147483647 h 336"/>
                <a:gd name="T82" fmla="*/ 2147483647 w 378"/>
                <a:gd name="T83" fmla="*/ 2147483647 h 336"/>
                <a:gd name="T84" fmla="*/ 2147483647 w 378"/>
                <a:gd name="T85" fmla="*/ 2147483647 h 336"/>
                <a:gd name="T86" fmla="*/ 2147483647 w 378"/>
                <a:gd name="T87" fmla="*/ 2147483647 h 336"/>
                <a:gd name="T88" fmla="*/ 2147483647 w 378"/>
                <a:gd name="T89" fmla="*/ 2147483647 h 336"/>
                <a:gd name="T90" fmla="*/ 2147483647 w 378"/>
                <a:gd name="T91" fmla="*/ 2147483647 h 336"/>
                <a:gd name="T92" fmla="*/ 2147483647 w 378"/>
                <a:gd name="T93" fmla="*/ 2147483647 h 336"/>
                <a:gd name="T94" fmla="*/ 2147483647 w 378"/>
                <a:gd name="T95" fmla="*/ 0 h 3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78"/>
                <a:gd name="T145" fmla="*/ 0 h 336"/>
                <a:gd name="T146" fmla="*/ 378 w 378"/>
                <a:gd name="T147" fmla="*/ 336 h 3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78" h="336">
                  <a:moveTo>
                    <a:pt x="324" y="0"/>
                  </a:moveTo>
                  <a:lnTo>
                    <a:pt x="312" y="12"/>
                  </a:lnTo>
                  <a:lnTo>
                    <a:pt x="276" y="0"/>
                  </a:lnTo>
                  <a:lnTo>
                    <a:pt x="264" y="12"/>
                  </a:lnTo>
                  <a:lnTo>
                    <a:pt x="246" y="24"/>
                  </a:lnTo>
                  <a:lnTo>
                    <a:pt x="258" y="36"/>
                  </a:lnTo>
                  <a:lnTo>
                    <a:pt x="258" y="48"/>
                  </a:lnTo>
                  <a:lnTo>
                    <a:pt x="252" y="54"/>
                  </a:lnTo>
                  <a:lnTo>
                    <a:pt x="240" y="54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22" y="36"/>
                  </a:lnTo>
                  <a:lnTo>
                    <a:pt x="216" y="30"/>
                  </a:lnTo>
                  <a:lnTo>
                    <a:pt x="192" y="30"/>
                  </a:lnTo>
                  <a:lnTo>
                    <a:pt x="192" y="18"/>
                  </a:lnTo>
                  <a:lnTo>
                    <a:pt x="186" y="18"/>
                  </a:lnTo>
                  <a:lnTo>
                    <a:pt x="186" y="24"/>
                  </a:lnTo>
                  <a:lnTo>
                    <a:pt x="180" y="18"/>
                  </a:lnTo>
                  <a:lnTo>
                    <a:pt x="168" y="12"/>
                  </a:lnTo>
                  <a:lnTo>
                    <a:pt x="138" y="12"/>
                  </a:lnTo>
                  <a:lnTo>
                    <a:pt x="126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72" y="12"/>
                  </a:lnTo>
                  <a:lnTo>
                    <a:pt x="54" y="18"/>
                  </a:lnTo>
                  <a:lnTo>
                    <a:pt x="42" y="24"/>
                  </a:lnTo>
                  <a:lnTo>
                    <a:pt x="36" y="30"/>
                  </a:lnTo>
                  <a:lnTo>
                    <a:pt x="30" y="42"/>
                  </a:lnTo>
                  <a:lnTo>
                    <a:pt x="30" y="48"/>
                  </a:lnTo>
                  <a:lnTo>
                    <a:pt x="0" y="78"/>
                  </a:lnTo>
                  <a:lnTo>
                    <a:pt x="6" y="114"/>
                  </a:lnTo>
                  <a:lnTo>
                    <a:pt x="18" y="126"/>
                  </a:lnTo>
                  <a:lnTo>
                    <a:pt x="18" y="156"/>
                  </a:lnTo>
                  <a:lnTo>
                    <a:pt x="30" y="168"/>
                  </a:lnTo>
                  <a:lnTo>
                    <a:pt x="30" y="198"/>
                  </a:lnTo>
                  <a:lnTo>
                    <a:pt x="42" y="210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54" y="234"/>
                  </a:lnTo>
                  <a:lnTo>
                    <a:pt x="42" y="246"/>
                  </a:lnTo>
                  <a:lnTo>
                    <a:pt x="54" y="270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82"/>
                  </a:lnTo>
                  <a:lnTo>
                    <a:pt x="90" y="270"/>
                  </a:lnTo>
                  <a:lnTo>
                    <a:pt x="90" y="264"/>
                  </a:lnTo>
                  <a:lnTo>
                    <a:pt x="90" y="288"/>
                  </a:lnTo>
                  <a:lnTo>
                    <a:pt x="96" y="300"/>
                  </a:lnTo>
                  <a:lnTo>
                    <a:pt x="102" y="306"/>
                  </a:lnTo>
                  <a:lnTo>
                    <a:pt x="114" y="306"/>
                  </a:lnTo>
                  <a:lnTo>
                    <a:pt x="120" y="300"/>
                  </a:lnTo>
                  <a:lnTo>
                    <a:pt x="132" y="300"/>
                  </a:lnTo>
                  <a:lnTo>
                    <a:pt x="138" y="306"/>
                  </a:lnTo>
                  <a:lnTo>
                    <a:pt x="138" y="312"/>
                  </a:lnTo>
                  <a:lnTo>
                    <a:pt x="150" y="336"/>
                  </a:lnTo>
                  <a:lnTo>
                    <a:pt x="168" y="336"/>
                  </a:lnTo>
                  <a:lnTo>
                    <a:pt x="180" y="324"/>
                  </a:lnTo>
                  <a:lnTo>
                    <a:pt x="192" y="318"/>
                  </a:lnTo>
                  <a:lnTo>
                    <a:pt x="210" y="318"/>
                  </a:lnTo>
                  <a:lnTo>
                    <a:pt x="222" y="312"/>
                  </a:lnTo>
                  <a:lnTo>
                    <a:pt x="222" y="306"/>
                  </a:lnTo>
                  <a:lnTo>
                    <a:pt x="216" y="300"/>
                  </a:lnTo>
                  <a:lnTo>
                    <a:pt x="210" y="300"/>
                  </a:lnTo>
                  <a:lnTo>
                    <a:pt x="204" y="294"/>
                  </a:lnTo>
                  <a:lnTo>
                    <a:pt x="240" y="294"/>
                  </a:lnTo>
                  <a:lnTo>
                    <a:pt x="240" y="288"/>
                  </a:lnTo>
                  <a:lnTo>
                    <a:pt x="246" y="282"/>
                  </a:lnTo>
                  <a:lnTo>
                    <a:pt x="258" y="282"/>
                  </a:lnTo>
                  <a:lnTo>
                    <a:pt x="270" y="288"/>
                  </a:lnTo>
                  <a:lnTo>
                    <a:pt x="276" y="294"/>
                  </a:lnTo>
                  <a:lnTo>
                    <a:pt x="288" y="300"/>
                  </a:lnTo>
                  <a:lnTo>
                    <a:pt x="294" y="306"/>
                  </a:lnTo>
                  <a:lnTo>
                    <a:pt x="294" y="294"/>
                  </a:lnTo>
                  <a:lnTo>
                    <a:pt x="276" y="276"/>
                  </a:lnTo>
                  <a:lnTo>
                    <a:pt x="264" y="252"/>
                  </a:lnTo>
                  <a:lnTo>
                    <a:pt x="264" y="228"/>
                  </a:lnTo>
                  <a:lnTo>
                    <a:pt x="306" y="228"/>
                  </a:lnTo>
                  <a:lnTo>
                    <a:pt x="306" y="204"/>
                  </a:lnTo>
                  <a:lnTo>
                    <a:pt x="336" y="204"/>
                  </a:lnTo>
                  <a:lnTo>
                    <a:pt x="336" y="186"/>
                  </a:lnTo>
                  <a:lnTo>
                    <a:pt x="342" y="180"/>
                  </a:lnTo>
                  <a:lnTo>
                    <a:pt x="360" y="180"/>
                  </a:lnTo>
                  <a:lnTo>
                    <a:pt x="372" y="186"/>
                  </a:lnTo>
                  <a:lnTo>
                    <a:pt x="372" y="156"/>
                  </a:lnTo>
                  <a:lnTo>
                    <a:pt x="366" y="150"/>
                  </a:lnTo>
                  <a:lnTo>
                    <a:pt x="366" y="120"/>
                  </a:lnTo>
                  <a:lnTo>
                    <a:pt x="360" y="114"/>
                  </a:lnTo>
                  <a:lnTo>
                    <a:pt x="360" y="102"/>
                  </a:lnTo>
                  <a:lnTo>
                    <a:pt x="366" y="102"/>
                  </a:lnTo>
                  <a:lnTo>
                    <a:pt x="378" y="90"/>
                  </a:lnTo>
                  <a:lnTo>
                    <a:pt x="378" y="84"/>
                  </a:lnTo>
                  <a:lnTo>
                    <a:pt x="366" y="60"/>
                  </a:lnTo>
                  <a:lnTo>
                    <a:pt x="354" y="48"/>
                  </a:lnTo>
                  <a:lnTo>
                    <a:pt x="348" y="48"/>
                  </a:lnTo>
                  <a:lnTo>
                    <a:pt x="348" y="6"/>
                  </a:lnTo>
                  <a:lnTo>
                    <a:pt x="324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163" name="Burundi" descr="© INSCALE GmbH, 05.05.2010&#10;http://www.presentationload.com/"/>
            <p:cNvSpPr>
              <a:spLocks/>
            </p:cNvSpPr>
            <p:nvPr/>
          </p:nvSpPr>
          <p:spPr bwMode="gray">
            <a:xfrm>
              <a:off x="5136376" y="4365035"/>
              <a:ext cx="43515" cy="52666"/>
            </a:xfrm>
            <a:custGeom>
              <a:avLst/>
              <a:gdLst>
                <a:gd name="T0" fmla="*/ 2147483647 w 132"/>
                <a:gd name="T1" fmla="*/ 2147483647 h 168"/>
                <a:gd name="T2" fmla="*/ 2147483647 w 132"/>
                <a:gd name="T3" fmla="*/ 2147483647 h 168"/>
                <a:gd name="T4" fmla="*/ 2147483647 w 132"/>
                <a:gd name="T5" fmla="*/ 2147483647 h 168"/>
                <a:gd name="T6" fmla="*/ 2147483647 w 132"/>
                <a:gd name="T7" fmla="*/ 2147483647 h 168"/>
                <a:gd name="T8" fmla="*/ 2147483647 w 132"/>
                <a:gd name="T9" fmla="*/ 2147483647 h 168"/>
                <a:gd name="T10" fmla="*/ 2147483647 w 132"/>
                <a:gd name="T11" fmla="*/ 2147483647 h 168"/>
                <a:gd name="T12" fmla="*/ 2147483647 w 132"/>
                <a:gd name="T13" fmla="*/ 2147483647 h 168"/>
                <a:gd name="T14" fmla="*/ 2147483647 w 132"/>
                <a:gd name="T15" fmla="*/ 2147483647 h 168"/>
                <a:gd name="T16" fmla="*/ 2147483647 w 132"/>
                <a:gd name="T17" fmla="*/ 2147483647 h 168"/>
                <a:gd name="T18" fmla="*/ 2147483647 w 132"/>
                <a:gd name="T19" fmla="*/ 2147483647 h 168"/>
                <a:gd name="T20" fmla="*/ 2147483647 w 132"/>
                <a:gd name="T21" fmla="*/ 2147483647 h 168"/>
                <a:gd name="T22" fmla="*/ 2147483647 w 132"/>
                <a:gd name="T23" fmla="*/ 2147483647 h 168"/>
                <a:gd name="T24" fmla="*/ 2147483647 w 132"/>
                <a:gd name="T25" fmla="*/ 2147483647 h 168"/>
                <a:gd name="T26" fmla="*/ 2147483647 w 132"/>
                <a:gd name="T27" fmla="*/ 2147483647 h 168"/>
                <a:gd name="T28" fmla="*/ 2147483647 w 132"/>
                <a:gd name="T29" fmla="*/ 2147483647 h 168"/>
                <a:gd name="T30" fmla="*/ 2147483647 w 132"/>
                <a:gd name="T31" fmla="*/ 2147483647 h 168"/>
                <a:gd name="T32" fmla="*/ 2147483647 w 132"/>
                <a:gd name="T33" fmla="*/ 2147483647 h 168"/>
                <a:gd name="T34" fmla="*/ 2147483647 w 132"/>
                <a:gd name="T35" fmla="*/ 2147483647 h 168"/>
                <a:gd name="T36" fmla="*/ 2147483647 w 132"/>
                <a:gd name="T37" fmla="*/ 2147483647 h 168"/>
                <a:gd name="T38" fmla="*/ 2147483647 w 132"/>
                <a:gd name="T39" fmla="*/ 2147483647 h 168"/>
                <a:gd name="T40" fmla="*/ 2147483647 w 132"/>
                <a:gd name="T41" fmla="*/ 2147483647 h 168"/>
                <a:gd name="T42" fmla="*/ 2147483647 w 132"/>
                <a:gd name="T43" fmla="*/ 2147483647 h 168"/>
                <a:gd name="T44" fmla="*/ 2147483647 w 132"/>
                <a:gd name="T45" fmla="*/ 2147483647 h 168"/>
                <a:gd name="T46" fmla="*/ 2147483647 w 132"/>
                <a:gd name="T47" fmla="*/ 0 h 168"/>
                <a:gd name="T48" fmla="*/ 2147483647 w 132"/>
                <a:gd name="T49" fmla="*/ 0 h 168"/>
                <a:gd name="T50" fmla="*/ 2147483647 w 132"/>
                <a:gd name="T51" fmla="*/ 0 h 168"/>
                <a:gd name="T52" fmla="*/ 2147483647 w 132"/>
                <a:gd name="T53" fmla="*/ 2147483647 h 168"/>
                <a:gd name="T54" fmla="*/ 2147483647 w 132"/>
                <a:gd name="T55" fmla="*/ 2147483647 h 168"/>
                <a:gd name="T56" fmla="*/ 2147483647 w 132"/>
                <a:gd name="T57" fmla="*/ 2147483647 h 168"/>
                <a:gd name="T58" fmla="*/ 2147483647 w 132"/>
                <a:gd name="T59" fmla="*/ 2147483647 h 168"/>
                <a:gd name="T60" fmla="*/ 2147483647 w 132"/>
                <a:gd name="T61" fmla="*/ 2147483647 h 168"/>
                <a:gd name="T62" fmla="*/ 2147483647 w 132"/>
                <a:gd name="T63" fmla="*/ 2147483647 h 168"/>
                <a:gd name="T64" fmla="*/ 0 w 132"/>
                <a:gd name="T65" fmla="*/ 2147483647 h 168"/>
                <a:gd name="T66" fmla="*/ 2147483647 w 132"/>
                <a:gd name="T67" fmla="*/ 2147483647 h 168"/>
                <a:gd name="T68" fmla="*/ 2147483647 w 132"/>
                <a:gd name="T69" fmla="*/ 2147483647 h 168"/>
                <a:gd name="T70" fmla="*/ 2147483647 w 132"/>
                <a:gd name="T71" fmla="*/ 2147483647 h 168"/>
                <a:gd name="T72" fmla="*/ 2147483647 w 132"/>
                <a:gd name="T73" fmla="*/ 2147483647 h 168"/>
                <a:gd name="T74" fmla="*/ 2147483647 w 132"/>
                <a:gd name="T75" fmla="*/ 2147483647 h 16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32"/>
                <a:gd name="T115" fmla="*/ 0 h 168"/>
                <a:gd name="T116" fmla="*/ 132 w 132"/>
                <a:gd name="T117" fmla="*/ 168 h 16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32" h="168">
                  <a:moveTo>
                    <a:pt x="36" y="72"/>
                  </a:moveTo>
                  <a:lnTo>
                    <a:pt x="36" y="96"/>
                  </a:lnTo>
                  <a:lnTo>
                    <a:pt x="30" y="102"/>
                  </a:lnTo>
                  <a:lnTo>
                    <a:pt x="30" y="138"/>
                  </a:lnTo>
                  <a:lnTo>
                    <a:pt x="36" y="156"/>
                  </a:lnTo>
                  <a:lnTo>
                    <a:pt x="42" y="168"/>
                  </a:lnTo>
                  <a:lnTo>
                    <a:pt x="54" y="168"/>
                  </a:lnTo>
                  <a:lnTo>
                    <a:pt x="60" y="162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0" y="132"/>
                  </a:lnTo>
                  <a:lnTo>
                    <a:pt x="90" y="114"/>
                  </a:lnTo>
                  <a:lnTo>
                    <a:pt x="96" y="102"/>
                  </a:lnTo>
                  <a:lnTo>
                    <a:pt x="114" y="84"/>
                  </a:lnTo>
                  <a:lnTo>
                    <a:pt x="126" y="84"/>
                  </a:lnTo>
                  <a:lnTo>
                    <a:pt x="120" y="72"/>
                  </a:lnTo>
                  <a:lnTo>
                    <a:pt x="132" y="66"/>
                  </a:lnTo>
                  <a:lnTo>
                    <a:pt x="132" y="48"/>
                  </a:lnTo>
                  <a:lnTo>
                    <a:pt x="114" y="48"/>
                  </a:lnTo>
                  <a:lnTo>
                    <a:pt x="108" y="42"/>
                  </a:lnTo>
                  <a:lnTo>
                    <a:pt x="102" y="42"/>
                  </a:lnTo>
                  <a:lnTo>
                    <a:pt x="102" y="24"/>
                  </a:lnTo>
                  <a:lnTo>
                    <a:pt x="108" y="12"/>
                  </a:lnTo>
                  <a:lnTo>
                    <a:pt x="108" y="0"/>
                  </a:lnTo>
                  <a:lnTo>
                    <a:pt x="120" y="0"/>
                  </a:lnTo>
                  <a:lnTo>
                    <a:pt x="66" y="0"/>
                  </a:lnTo>
                  <a:lnTo>
                    <a:pt x="60" y="24"/>
                  </a:lnTo>
                  <a:lnTo>
                    <a:pt x="48" y="30"/>
                  </a:lnTo>
                  <a:lnTo>
                    <a:pt x="42" y="36"/>
                  </a:lnTo>
                  <a:lnTo>
                    <a:pt x="30" y="36"/>
                  </a:lnTo>
                  <a:lnTo>
                    <a:pt x="24" y="30"/>
                  </a:lnTo>
                  <a:lnTo>
                    <a:pt x="18" y="18"/>
                  </a:lnTo>
                  <a:lnTo>
                    <a:pt x="0" y="18"/>
                  </a:lnTo>
                  <a:lnTo>
                    <a:pt x="12" y="48"/>
                  </a:lnTo>
                  <a:lnTo>
                    <a:pt x="18" y="54"/>
                  </a:lnTo>
                  <a:lnTo>
                    <a:pt x="30" y="60"/>
                  </a:lnTo>
                  <a:lnTo>
                    <a:pt x="36" y="66"/>
                  </a:lnTo>
                  <a:lnTo>
                    <a:pt x="36" y="7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164" name="Burkina Faso" descr="© INSCALE GmbH, 05.05.2010&#10;http://www.presentationload.com/"/>
            <p:cNvSpPr>
              <a:spLocks/>
            </p:cNvSpPr>
            <p:nvPr/>
          </p:nvSpPr>
          <p:spPr bwMode="gray">
            <a:xfrm>
              <a:off x="4339036" y="3927785"/>
              <a:ext cx="185577" cy="139626"/>
            </a:xfrm>
            <a:custGeom>
              <a:avLst/>
              <a:gdLst>
                <a:gd name="T0" fmla="*/ 2147483647 w 570"/>
                <a:gd name="T1" fmla="*/ 2147483647 h 450"/>
                <a:gd name="T2" fmla="*/ 2147483647 w 570"/>
                <a:gd name="T3" fmla="*/ 2147483647 h 450"/>
                <a:gd name="T4" fmla="*/ 2147483647 w 570"/>
                <a:gd name="T5" fmla="*/ 2147483647 h 450"/>
                <a:gd name="T6" fmla="*/ 2147483647 w 570"/>
                <a:gd name="T7" fmla="*/ 2147483647 h 450"/>
                <a:gd name="T8" fmla="*/ 2147483647 w 570"/>
                <a:gd name="T9" fmla="*/ 2147483647 h 450"/>
                <a:gd name="T10" fmla="*/ 2147483647 w 570"/>
                <a:gd name="T11" fmla="*/ 2147483647 h 450"/>
                <a:gd name="T12" fmla="*/ 2147483647 w 570"/>
                <a:gd name="T13" fmla="*/ 2147483647 h 450"/>
                <a:gd name="T14" fmla="*/ 2147483647 w 570"/>
                <a:gd name="T15" fmla="*/ 2147483647 h 450"/>
                <a:gd name="T16" fmla="*/ 2147483647 w 570"/>
                <a:gd name="T17" fmla="*/ 2147483647 h 450"/>
                <a:gd name="T18" fmla="*/ 2147483647 w 570"/>
                <a:gd name="T19" fmla="*/ 2147483647 h 450"/>
                <a:gd name="T20" fmla="*/ 2147483647 w 570"/>
                <a:gd name="T21" fmla="*/ 2147483647 h 450"/>
                <a:gd name="T22" fmla="*/ 2147483647 w 570"/>
                <a:gd name="T23" fmla="*/ 2147483647 h 450"/>
                <a:gd name="T24" fmla="*/ 2147483647 w 570"/>
                <a:gd name="T25" fmla="*/ 2147483647 h 450"/>
                <a:gd name="T26" fmla="*/ 2147483647 w 570"/>
                <a:gd name="T27" fmla="*/ 2147483647 h 450"/>
                <a:gd name="T28" fmla="*/ 2147483647 w 570"/>
                <a:gd name="T29" fmla="*/ 2147483647 h 450"/>
                <a:gd name="T30" fmla="*/ 2147483647 w 570"/>
                <a:gd name="T31" fmla="*/ 2147483647 h 450"/>
                <a:gd name="T32" fmla="*/ 2147483647 w 570"/>
                <a:gd name="T33" fmla="*/ 2147483647 h 450"/>
                <a:gd name="T34" fmla="*/ 2147483647 w 570"/>
                <a:gd name="T35" fmla="*/ 2147483647 h 450"/>
                <a:gd name="T36" fmla="*/ 2147483647 w 570"/>
                <a:gd name="T37" fmla="*/ 2147483647 h 450"/>
                <a:gd name="T38" fmla="*/ 2147483647 w 570"/>
                <a:gd name="T39" fmla="*/ 2147483647 h 450"/>
                <a:gd name="T40" fmla="*/ 2147483647 w 570"/>
                <a:gd name="T41" fmla="*/ 2147483647 h 450"/>
                <a:gd name="T42" fmla="*/ 2147483647 w 570"/>
                <a:gd name="T43" fmla="*/ 2147483647 h 450"/>
                <a:gd name="T44" fmla="*/ 2147483647 w 570"/>
                <a:gd name="T45" fmla="*/ 2147483647 h 450"/>
                <a:gd name="T46" fmla="*/ 2147483647 w 570"/>
                <a:gd name="T47" fmla="*/ 2147483647 h 450"/>
                <a:gd name="T48" fmla="*/ 2147483647 w 570"/>
                <a:gd name="T49" fmla="*/ 2147483647 h 450"/>
                <a:gd name="T50" fmla="*/ 2147483647 w 570"/>
                <a:gd name="T51" fmla="*/ 2147483647 h 450"/>
                <a:gd name="T52" fmla="*/ 2147483647 w 570"/>
                <a:gd name="T53" fmla="*/ 2147483647 h 450"/>
                <a:gd name="T54" fmla="*/ 2147483647 w 570"/>
                <a:gd name="T55" fmla="*/ 2147483647 h 450"/>
                <a:gd name="T56" fmla="*/ 2147483647 w 570"/>
                <a:gd name="T57" fmla="*/ 2147483647 h 450"/>
                <a:gd name="T58" fmla="*/ 2147483647 w 570"/>
                <a:gd name="T59" fmla="*/ 2147483647 h 450"/>
                <a:gd name="T60" fmla="*/ 2147483647 w 570"/>
                <a:gd name="T61" fmla="*/ 2147483647 h 450"/>
                <a:gd name="T62" fmla="*/ 2147483647 w 570"/>
                <a:gd name="T63" fmla="*/ 2147483647 h 450"/>
                <a:gd name="T64" fmla="*/ 2147483647 w 570"/>
                <a:gd name="T65" fmla="*/ 2147483647 h 450"/>
                <a:gd name="T66" fmla="*/ 2147483647 w 570"/>
                <a:gd name="T67" fmla="*/ 0 h 450"/>
                <a:gd name="T68" fmla="*/ 2147483647 w 570"/>
                <a:gd name="T69" fmla="*/ 2147483647 h 450"/>
                <a:gd name="T70" fmla="*/ 2147483647 w 570"/>
                <a:gd name="T71" fmla="*/ 2147483647 h 450"/>
                <a:gd name="T72" fmla="*/ 2147483647 w 570"/>
                <a:gd name="T73" fmla="*/ 2147483647 h 450"/>
                <a:gd name="T74" fmla="*/ 2147483647 w 570"/>
                <a:gd name="T75" fmla="*/ 2147483647 h 450"/>
                <a:gd name="T76" fmla="*/ 2147483647 w 570"/>
                <a:gd name="T77" fmla="*/ 2147483647 h 450"/>
                <a:gd name="T78" fmla="*/ 2147483647 w 570"/>
                <a:gd name="T79" fmla="*/ 2147483647 h 450"/>
                <a:gd name="T80" fmla="*/ 2147483647 w 570"/>
                <a:gd name="T81" fmla="*/ 2147483647 h 450"/>
                <a:gd name="T82" fmla="*/ 2147483647 w 570"/>
                <a:gd name="T83" fmla="*/ 2147483647 h 450"/>
                <a:gd name="T84" fmla="*/ 2147483647 w 570"/>
                <a:gd name="T85" fmla="*/ 2147483647 h 450"/>
                <a:gd name="T86" fmla="*/ 2147483647 w 570"/>
                <a:gd name="T87" fmla="*/ 2147483647 h 450"/>
                <a:gd name="T88" fmla="*/ 2147483647 w 570"/>
                <a:gd name="T89" fmla="*/ 2147483647 h 450"/>
                <a:gd name="T90" fmla="*/ 2147483647 w 570"/>
                <a:gd name="T91" fmla="*/ 2147483647 h 450"/>
                <a:gd name="T92" fmla="*/ 2147483647 w 570"/>
                <a:gd name="T93" fmla="*/ 2147483647 h 450"/>
                <a:gd name="T94" fmla="*/ 2147483647 w 570"/>
                <a:gd name="T95" fmla="*/ 2147483647 h 450"/>
                <a:gd name="T96" fmla="*/ 2147483647 w 570"/>
                <a:gd name="T97" fmla="*/ 2147483647 h 450"/>
                <a:gd name="T98" fmla="*/ 2147483647 w 570"/>
                <a:gd name="T99" fmla="*/ 2147483647 h 450"/>
                <a:gd name="T100" fmla="*/ 2147483647 w 570"/>
                <a:gd name="T101" fmla="*/ 2147483647 h 450"/>
                <a:gd name="T102" fmla="*/ 2147483647 w 570"/>
                <a:gd name="T103" fmla="*/ 2147483647 h 45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70"/>
                <a:gd name="T157" fmla="*/ 0 h 450"/>
                <a:gd name="T158" fmla="*/ 570 w 570"/>
                <a:gd name="T159" fmla="*/ 450 h 45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70" h="450">
                  <a:moveTo>
                    <a:pt x="0" y="312"/>
                  </a:moveTo>
                  <a:lnTo>
                    <a:pt x="6" y="366"/>
                  </a:lnTo>
                  <a:lnTo>
                    <a:pt x="6" y="390"/>
                  </a:lnTo>
                  <a:lnTo>
                    <a:pt x="30" y="384"/>
                  </a:lnTo>
                  <a:lnTo>
                    <a:pt x="30" y="390"/>
                  </a:lnTo>
                  <a:lnTo>
                    <a:pt x="36" y="396"/>
                  </a:lnTo>
                  <a:lnTo>
                    <a:pt x="36" y="408"/>
                  </a:lnTo>
                  <a:lnTo>
                    <a:pt x="42" y="420"/>
                  </a:lnTo>
                  <a:lnTo>
                    <a:pt x="54" y="426"/>
                  </a:lnTo>
                  <a:lnTo>
                    <a:pt x="60" y="432"/>
                  </a:lnTo>
                  <a:lnTo>
                    <a:pt x="72" y="432"/>
                  </a:lnTo>
                  <a:lnTo>
                    <a:pt x="78" y="438"/>
                  </a:lnTo>
                  <a:lnTo>
                    <a:pt x="90" y="438"/>
                  </a:lnTo>
                  <a:lnTo>
                    <a:pt x="96" y="432"/>
                  </a:lnTo>
                  <a:lnTo>
                    <a:pt x="96" y="426"/>
                  </a:lnTo>
                  <a:lnTo>
                    <a:pt x="120" y="414"/>
                  </a:lnTo>
                  <a:lnTo>
                    <a:pt x="150" y="414"/>
                  </a:lnTo>
                  <a:lnTo>
                    <a:pt x="168" y="420"/>
                  </a:lnTo>
                  <a:lnTo>
                    <a:pt x="186" y="438"/>
                  </a:lnTo>
                  <a:lnTo>
                    <a:pt x="186" y="450"/>
                  </a:lnTo>
                  <a:lnTo>
                    <a:pt x="204" y="444"/>
                  </a:lnTo>
                  <a:lnTo>
                    <a:pt x="198" y="450"/>
                  </a:lnTo>
                  <a:lnTo>
                    <a:pt x="198" y="396"/>
                  </a:lnTo>
                  <a:lnTo>
                    <a:pt x="192" y="366"/>
                  </a:lnTo>
                  <a:lnTo>
                    <a:pt x="186" y="366"/>
                  </a:lnTo>
                  <a:lnTo>
                    <a:pt x="186" y="348"/>
                  </a:lnTo>
                  <a:lnTo>
                    <a:pt x="192" y="336"/>
                  </a:lnTo>
                  <a:lnTo>
                    <a:pt x="198" y="330"/>
                  </a:lnTo>
                  <a:lnTo>
                    <a:pt x="354" y="330"/>
                  </a:lnTo>
                  <a:lnTo>
                    <a:pt x="378" y="318"/>
                  </a:lnTo>
                  <a:lnTo>
                    <a:pt x="396" y="324"/>
                  </a:lnTo>
                  <a:lnTo>
                    <a:pt x="414" y="324"/>
                  </a:lnTo>
                  <a:lnTo>
                    <a:pt x="438" y="330"/>
                  </a:lnTo>
                  <a:lnTo>
                    <a:pt x="456" y="330"/>
                  </a:lnTo>
                  <a:lnTo>
                    <a:pt x="462" y="318"/>
                  </a:lnTo>
                  <a:lnTo>
                    <a:pt x="474" y="318"/>
                  </a:lnTo>
                  <a:lnTo>
                    <a:pt x="480" y="306"/>
                  </a:lnTo>
                  <a:lnTo>
                    <a:pt x="498" y="288"/>
                  </a:lnTo>
                  <a:lnTo>
                    <a:pt x="528" y="28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40" y="282"/>
                  </a:lnTo>
                  <a:lnTo>
                    <a:pt x="546" y="276"/>
                  </a:lnTo>
                  <a:lnTo>
                    <a:pt x="558" y="276"/>
                  </a:lnTo>
                  <a:lnTo>
                    <a:pt x="564" y="258"/>
                  </a:lnTo>
                  <a:lnTo>
                    <a:pt x="570" y="252"/>
                  </a:lnTo>
                  <a:lnTo>
                    <a:pt x="564" y="252"/>
                  </a:lnTo>
                  <a:lnTo>
                    <a:pt x="540" y="216"/>
                  </a:lnTo>
                  <a:lnTo>
                    <a:pt x="564" y="210"/>
                  </a:lnTo>
                  <a:lnTo>
                    <a:pt x="558" y="198"/>
                  </a:lnTo>
                  <a:lnTo>
                    <a:pt x="546" y="186"/>
                  </a:lnTo>
                  <a:lnTo>
                    <a:pt x="534" y="186"/>
                  </a:lnTo>
                  <a:lnTo>
                    <a:pt x="522" y="198"/>
                  </a:lnTo>
                  <a:lnTo>
                    <a:pt x="504" y="198"/>
                  </a:lnTo>
                  <a:lnTo>
                    <a:pt x="498" y="186"/>
                  </a:lnTo>
                  <a:lnTo>
                    <a:pt x="486" y="180"/>
                  </a:lnTo>
                  <a:lnTo>
                    <a:pt x="462" y="156"/>
                  </a:lnTo>
                  <a:lnTo>
                    <a:pt x="462" y="150"/>
                  </a:lnTo>
                  <a:lnTo>
                    <a:pt x="480" y="132"/>
                  </a:lnTo>
                  <a:lnTo>
                    <a:pt x="468" y="132"/>
                  </a:lnTo>
                  <a:lnTo>
                    <a:pt x="468" y="114"/>
                  </a:lnTo>
                  <a:lnTo>
                    <a:pt x="444" y="114"/>
                  </a:lnTo>
                  <a:lnTo>
                    <a:pt x="432" y="108"/>
                  </a:lnTo>
                  <a:lnTo>
                    <a:pt x="420" y="84"/>
                  </a:lnTo>
                  <a:lnTo>
                    <a:pt x="420" y="60"/>
                  </a:lnTo>
                  <a:lnTo>
                    <a:pt x="414" y="48"/>
                  </a:lnTo>
                  <a:lnTo>
                    <a:pt x="414" y="12"/>
                  </a:lnTo>
                  <a:lnTo>
                    <a:pt x="390" y="0"/>
                  </a:lnTo>
                  <a:lnTo>
                    <a:pt x="342" y="0"/>
                  </a:lnTo>
                  <a:lnTo>
                    <a:pt x="324" y="18"/>
                  </a:lnTo>
                  <a:lnTo>
                    <a:pt x="300" y="18"/>
                  </a:lnTo>
                  <a:lnTo>
                    <a:pt x="282" y="42"/>
                  </a:lnTo>
                  <a:lnTo>
                    <a:pt x="258" y="42"/>
                  </a:lnTo>
                  <a:lnTo>
                    <a:pt x="258" y="60"/>
                  </a:lnTo>
                  <a:lnTo>
                    <a:pt x="252" y="66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28" y="60"/>
                  </a:lnTo>
                  <a:lnTo>
                    <a:pt x="222" y="60"/>
                  </a:lnTo>
                  <a:lnTo>
                    <a:pt x="216" y="66"/>
                  </a:lnTo>
                  <a:lnTo>
                    <a:pt x="210" y="78"/>
                  </a:lnTo>
                  <a:lnTo>
                    <a:pt x="198" y="84"/>
                  </a:lnTo>
                  <a:lnTo>
                    <a:pt x="192" y="96"/>
                  </a:lnTo>
                  <a:lnTo>
                    <a:pt x="186" y="102"/>
                  </a:lnTo>
                  <a:lnTo>
                    <a:pt x="186" y="108"/>
                  </a:lnTo>
                  <a:lnTo>
                    <a:pt x="168" y="108"/>
                  </a:lnTo>
                  <a:lnTo>
                    <a:pt x="168" y="144"/>
                  </a:lnTo>
                  <a:lnTo>
                    <a:pt x="144" y="150"/>
                  </a:lnTo>
                  <a:lnTo>
                    <a:pt x="114" y="12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02" y="186"/>
                  </a:lnTo>
                  <a:lnTo>
                    <a:pt x="84" y="186"/>
                  </a:lnTo>
                  <a:lnTo>
                    <a:pt x="84" y="216"/>
                  </a:lnTo>
                  <a:lnTo>
                    <a:pt x="78" y="222"/>
                  </a:lnTo>
                  <a:lnTo>
                    <a:pt x="72" y="222"/>
                  </a:lnTo>
                  <a:lnTo>
                    <a:pt x="78" y="228"/>
                  </a:lnTo>
                  <a:lnTo>
                    <a:pt x="78" y="240"/>
                  </a:lnTo>
                  <a:lnTo>
                    <a:pt x="42" y="240"/>
                  </a:lnTo>
                  <a:lnTo>
                    <a:pt x="36" y="246"/>
                  </a:lnTo>
                  <a:lnTo>
                    <a:pt x="30" y="246"/>
                  </a:lnTo>
                  <a:lnTo>
                    <a:pt x="12" y="258"/>
                  </a:lnTo>
                  <a:lnTo>
                    <a:pt x="36" y="288"/>
                  </a:lnTo>
                  <a:lnTo>
                    <a:pt x="24" y="312"/>
                  </a:lnTo>
                  <a:lnTo>
                    <a:pt x="0" y="31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165" name="Bulgaria" descr="© INSCALE GmbH, 05.05.2010&#10;http://www.presentationload.com/"/>
            <p:cNvSpPr>
              <a:spLocks/>
            </p:cNvSpPr>
            <p:nvPr/>
          </p:nvSpPr>
          <p:spPr bwMode="gray">
            <a:xfrm>
              <a:off x="4957199" y="3200260"/>
              <a:ext cx="127984" cy="71038"/>
            </a:xfrm>
            <a:custGeom>
              <a:avLst/>
              <a:gdLst>
                <a:gd name="T0" fmla="*/ 2147483647 w 396"/>
                <a:gd name="T1" fmla="*/ 2147483647 h 228"/>
                <a:gd name="T2" fmla="*/ 2147483647 w 396"/>
                <a:gd name="T3" fmla="*/ 2147483647 h 228"/>
                <a:gd name="T4" fmla="*/ 2147483647 w 396"/>
                <a:gd name="T5" fmla="*/ 2147483647 h 228"/>
                <a:gd name="T6" fmla="*/ 2147483647 w 396"/>
                <a:gd name="T7" fmla="*/ 2147483647 h 228"/>
                <a:gd name="T8" fmla="*/ 2147483647 w 396"/>
                <a:gd name="T9" fmla="*/ 2147483647 h 228"/>
                <a:gd name="T10" fmla="*/ 2147483647 w 396"/>
                <a:gd name="T11" fmla="*/ 2147483647 h 228"/>
                <a:gd name="T12" fmla="*/ 2147483647 w 396"/>
                <a:gd name="T13" fmla="*/ 2147483647 h 228"/>
                <a:gd name="T14" fmla="*/ 2147483647 w 396"/>
                <a:gd name="T15" fmla="*/ 0 h 228"/>
                <a:gd name="T16" fmla="*/ 2147483647 w 396"/>
                <a:gd name="T17" fmla="*/ 2147483647 h 228"/>
                <a:gd name="T18" fmla="*/ 2147483647 w 396"/>
                <a:gd name="T19" fmla="*/ 2147483647 h 228"/>
                <a:gd name="T20" fmla="*/ 2147483647 w 396"/>
                <a:gd name="T21" fmla="*/ 2147483647 h 228"/>
                <a:gd name="T22" fmla="*/ 2147483647 w 396"/>
                <a:gd name="T23" fmla="*/ 2147483647 h 228"/>
                <a:gd name="T24" fmla="*/ 2147483647 w 396"/>
                <a:gd name="T25" fmla="*/ 2147483647 h 228"/>
                <a:gd name="T26" fmla="*/ 2147483647 w 396"/>
                <a:gd name="T27" fmla="*/ 2147483647 h 228"/>
                <a:gd name="T28" fmla="*/ 2147483647 w 396"/>
                <a:gd name="T29" fmla="*/ 2147483647 h 228"/>
                <a:gd name="T30" fmla="*/ 2147483647 w 396"/>
                <a:gd name="T31" fmla="*/ 2147483647 h 228"/>
                <a:gd name="T32" fmla="*/ 2147483647 w 396"/>
                <a:gd name="T33" fmla="*/ 2147483647 h 228"/>
                <a:gd name="T34" fmla="*/ 2147483647 w 396"/>
                <a:gd name="T35" fmla="*/ 2147483647 h 228"/>
                <a:gd name="T36" fmla="*/ 2147483647 w 396"/>
                <a:gd name="T37" fmla="*/ 2147483647 h 228"/>
                <a:gd name="T38" fmla="*/ 2147483647 w 396"/>
                <a:gd name="T39" fmla="*/ 2147483647 h 228"/>
                <a:gd name="T40" fmla="*/ 2147483647 w 396"/>
                <a:gd name="T41" fmla="*/ 2147483647 h 228"/>
                <a:gd name="T42" fmla="*/ 2147483647 w 396"/>
                <a:gd name="T43" fmla="*/ 0 h 228"/>
                <a:gd name="T44" fmla="*/ 0 w 396"/>
                <a:gd name="T45" fmla="*/ 2147483647 h 228"/>
                <a:gd name="T46" fmla="*/ 2147483647 w 396"/>
                <a:gd name="T47" fmla="*/ 2147483647 h 228"/>
                <a:gd name="T48" fmla="*/ 2147483647 w 396"/>
                <a:gd name="T49" fmla="*/ 2147483647 h 228"/>
                <a:gd name="T50" fmla="*/ 2147483647 w 396"/>
                <a:gd name="T51" fmla="*/ 2147483647 h 228"/>
                <a:gd name="T52" fmla="*/ 2147483647 w 396"/>
                <a:gd name="T53" fmla="*/ 2147483647 h 228"/>
                <a:gd name="T54" fmla="*/ 2147483647 w 396"/>
                <a:gd name="T55" fmla="*/ 2147483647 h 228"/>
                <a:gd name="T56" fmla="*/ 0 w 396"/>
                <a:gd name="T57" fmla="*/ 2147483647 h 228"/>
                <a:gd name="T58" fmla="*/ 2147483647 w 396"/>
                <a:gd name="T59" fmla="*/ 2147483647 h 228"/>
                <a:gd name="T60" fmla="*/ 2147483647 w 396"/>
                <a:gd name="T61" fmla="*/ 2147483647 h 228"/>
                <a:gd name="T62" fmla="*/ 2147483647 w 396"/>
                <a:gd name="T63" fmla="*/ 2147483647 h 228"/>
                <a:gd name="T64" fmla="*/ 2147483647 w 396"/>
                <a:gd name="T65" fmla="*/ 2147483647 h 228"/>
                <a:gd name="T66" fmla="*/ 2147483647 w 396"/>
                <a:gd name="T67" fmla="*/ 2147483647 h 228"/>
                <a:gd name="T68" fmla="*/ 2147483647 w 396"/>
                <a:gd name="T69" fmla="*/ 2147483647 h 228"/>
                <a:gd name="T70" fmla="*/ 2147483647 w 396"/>
                <a:gd name="T71" fmla="*/ 2147483647 h 228"/>
                <a:gd name="T72" fmla="*/ 2147483647 w 396"/>
                <a:gd name="T73" fmla="*/ 2147483647 h 228"/>
                <a:gd name="T74" fmla="*/ 2147483647 w 396"/>
                <a:gd name="T75" fmla="*/ 2147483647 h 228"/>
                <a:gd name="T76" fmla="*/ 2147483647 w 396"/>
                <a:gd name="T77" fmla="*/ 2147483647 h 228"/>
                <a:gd name="T78" fmla="*/ 2147483647 w 396"/>
                <a:gd name="T79" fmla="*/ 2147483647 h 228"/>
                <a:gd name="T80" fmla="*/ 2147483647 w 396"/>
                <a:gd name="T81" fmla="*/ 2147483647 h 228"/>
                <a:gd name="T82" fmla="*/ 2147483647 w 396"/>
                <a:gd name="T83" fmla="*/ 2147483647 h 228"/>
                <a:gd name="T84" fmla="*/ 2147483647 w 396"/>
                <a:gd name="T85" fmla="*/ 2147483647 h 228"/>
                <a:gd name="T86" fmla="*/ 2147483647 w 396"/>
                <a:gd name="T87" fmla="*/ 2147483647 h 228"/>
                <a:gd name="T88" fmla="*/ 2147483647 w 396"/>
                <a:gd name="T89" fmla="*/ 2147483647 h 228"/>
                <a:gd name="T90" fmla="*/ 2147483647 w 396"/>
                <a:gd name="T91" fmla="*/ 2147483647 h 228"/>
                <a:gd name="T92" fmla="*/ 2147483647 w 396"/>
                <a:gd name="T93" fmla="*/ 2147483647 h 228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396"/>
                <a:gd name="T142" fmla="*/ 0 h 228"/>
                <a:gd name="T143" fmla="*/ 396 w 396"/>
                <a:gd name="T144" fmla="*/ 228 h 228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396" h="228">
                  <a:moveTo>
                    <a:pt x="372" y="168"/>
                  </a:moveTo>
                  <a:lnTo>
                    <a:pt x="336" y="126"/>
                  </a:lnTo>
                  <a:lnTo>
                    <a:pt x="354" y="108"/>
                  </a:lnTo>
                  <a:lnTo>
                    <a:pt x="354" y="78"/>
                  </a:lnTo>
                  <a:lnTo>
                    <a:pt x="360" y="72"/>
                  </a:lnTo>
                  <a:lnTo>
                    <a:pt x="372" y="66"/>
                  </a:lnTo>
                  <a:lnTo>
                    <a:pt x="396" y="66"/>
                  </a:lnTo>
                  <a:lnTo>
                    <a:pt x="396" y="48"/>
                  </a:lnTo>
                  <a:lnTo>
                    <a:pt x="390" y="36"/>
                  </a:lnTo>
                  <a:lnTo>
                    <a:pt x="372" y="36"/>
                  </a:lnTo>
                  <a:lnTo>
                    <a:pt x="348" y="12"/>
                  </a:lnTo>
                  <a:lnTo>
                    <a:pt x="324" y="12"/>
                  </a:lnTo>
                  <a:lnTo>
                    <a:pt x="312" y="6"/>
                  </a:lnTo>
                  <a:lnTo>
                    <a:pt x="300" y="6"/>
                  </a:lnTo>
                  <a:lnTo>
                    <a:pt x="288" y="0"/>
                  </a:lnTo>
                  <a:lnTo>
                    <a:pt x="282" y="0"/>
                  </a:lnTo>
                  <a:lnTo>
                    <a:pt x="282" y="12"/>
                  </a:lnTo>
                  <a:lnTo>
                    <a:pt x="252" y="6"/>
                  </a:lnTo>
                  <a:lnTo>
                    <a:pt x="252" y="12"/>
                  </a:lnTo>
                  <a:lnTo>
                    <a:pt x="246" y="12"/>
                  </a:lnTo>
                  <a:lnTo>
                    <a:pt x="234" y="18"/>
                  </a:lnTo>
                  <a:lnTo>
                    <a:pt x="228" y="18"/>
                  </a:lnTo>
                  <a:lnTo>
                    <a:pt x="222" y="24"/>
                  </a:lnTo>
                  <a:lnTo>
                    <a:pt x="222" y="36"/>
                  </a:lnTo>
                  <a:lnTo>
                    <a:pt x="216" y="42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56" y="30"/>
                  </a:lnTo>
                  <a:lnTo>
                    <a:pt x="138" y="24"/>
                  </a:lnTo>
                  <a:lnTo>
                    <a:pt x="138" y="30"/>
                  </a:lnTo>
                  <a:lnTo>
                    <a:pt x="132" y="36"/>
                  </a:lnTo>
                  <a:lnTo>
                    <a:pt x="108" y="36"/>
                  </a:lnTo>
                  <a:lnTo>
                    <a:pt x="102" y="30"/>
                  </a:lnTo>
                  <a:lnTo>
                    <a:pt x="90" y="30"/>
                  </a:lnTo>
                  <a:lnTo>
                    <a:pt x="66" y="18"/>
                  </a:lnTo>
                  <a:lnTo>
                    <a:pt x="54" y="30"/>
                  </a:lnTo>
                  <a:lnTo>
                    <a:pt x="36" y="30"/>
                  </a:lnTo>
                  <a:lnTo>
                    <a:pt x="30" y="24"/>
                  </a:lnTo>
                  <a:lnTo>
                    <a:pt x="36" y="18"/>
                  </a:lnTo>
                  <a:lnTo>
                    <a:pt x="36" y="12"/>
                  </a:lnTo>
                  <a:lnTo>
                    <a:pt x="42" y="6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12" y="12"/>
                  </a:lnTo>
                  <a:lnTo>
                    <a:pt x="0" y="24"/>
                  </a:lnTo>
                  <a:lnTo>
                    <a:pt x="0" y="42"/>
                  </a:lnTo>
                  <a:lnTo>
                    <a:pt x="18" y="48"/>
                  </a:lnTo>
                  <a:lnTo>
                    <a:pt x="12" y="60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6" y="102"/>
                  </a:lnTo>
                  <a:lnTo>
                    <a:pt x="6" y="108"/>
                  </a:lnTo>
                  <a:lnTo>
                    <a:pt x="12" y="114"/>
                  </a:lnTo>
                  <a:lnTo>
                    <a:pt x="12" y="138"/>
                  </a:lnTo>
                  <a:lnTo>
                    <a:pt x="0" y="138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18" y="168"/>
                  </a:lnTo>
                  <a:lnTo>
                    <a:pt x="36" y="180"/>
                  </a:lnTo>
                  <a:lnTo>
                    <a:pt x="42" y="186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66" y="228"/>
                  </a:lnTo>
                  <a:lnTo>
                    <a:pt x="78" y="222"/>
                  </a:lnTo>
                  <a:lnTo>
                    <a:pt x="84" y="216"/>
                  </a:lnTo>
                  <a:lnTo>
                    <a:pt x="108" y="222"/>
                  </a:lnTo>
                  <a:lnTo>
                    <a:pt x="114" y="204"/>
                  </a:lnTo>
                  <a:lnTo>
                    <a:pt x="144" y="198"/>
                  </a:lnTo>
                  <a:lnTo>
                    <a:pt x="144" y="204"/>
                  </a:lnTo>
                  <a:lnTo>
                    <a:pt x="162" y="22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92" y="228"/>
                  </a:lnTo>
                  <a:lnTo>
                    <a:pt x="204" y="228"/>
                  </a:lnTo>
                  <a:lnTo>
                    <a:pt x="216" y="216"/>
                  </a:lnTo>
                  <a:lnTo>
                    <a:pt x="228" y="228"/>
                  </a:lnTo>
                  <a:lnTo>
                    <a:pt x="246" y="228"/>
                  </a:lnTo>
                  <a:lnTo>
                    <a:pt x="252" y="222"/>
                  </a:lnTo>
                  <a:lnTo>
                    <a:pt x="252" y="204"/>
                  </a:lnTo>
                  <a:lnTo>
                    <a:pt x="246" y="198"/>
                  </a:lnTo>
                  <a:lnTo>
                    <a:pt x="264" y="192"/>
                  </a:lnTo>
                  <a:lnTo>
                    <a:pt x="282" y="168"/>
                  </a:lnTo>
                  <a:lnTo>
                    <a:pt x="312" y="174"/>
                  </a:lnTo>
                  <a:lnTo>
                    <a:pt x="324" y="156"/>
                  </a:lnTo>
                  <a:lnTo>
                    <a:pt x="336" y="174"/>
                  </a:lnTo>
                  <a:lnTo>
                    <a:pt x="348" y="174"/>
                  </a:lnTo>
                  <a:lnTo>
                    <a:pt x="360" y="180"/>
                  </a:lnTo>
                  <a:lnTo>
                    <a:pt x="372" y="180"/>
                  </a:lnTo>
                  <a:lnTo>
                    <a:pt x="372" y="16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166" name="Brazil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2762271" y="4171517"/>
              <a:ext cx="903567" cy="978606"/>
            </a:xfrm>
            <a:custGeom>
              <a:avLst/>
              <a:gdLst>
                <a:gd name="T0" fmla="*/ 2147483647 w 2784"/>
                <a:gd name="T1" fmla="*/ 2147483647 h 3150"/>
                <a:gd name="T2" fmla="*/ 2147483647 w 2784"/>
                <a:gd name="T3" fmla="*/ 2147483647 h 3150"/>
                <a:gd name="T4" fmla="*/ 2147483647 w 2784"/>
                <a:gd name="T5" fmla="*/ 2147483647 h 3150"/>
                <a:gd name="T6" fmla="*/ 2147483647 w 2784"/>
                <a:gd name="T7" fmla="*/ 2147483647 h 3150"/>
                <a:gd name="T8" fmla="*/ 2147483647 w 2784"/>
                <a:gd name="T9" fmla="*/ 2147483647 h 3150"/>
                <a:gd name="T10" fmla="*/ 2147483647 w 2784"/>
                <a:gd name="T11" fmla="*/ 2147483647 h 3150"/>
                <a:gd name="T12" fmla="*/ 2147483647 w 2784"/>
                <a:gd name="T13" fmla="*/ 2147483647 h 3150"/>
                <a:gd name="T14" fmla="*/ 2147483647 w 2784"/>
                <a:gd name="T15" fmla="*/ 2147483647 h 3150"/>
                <a:gd name="T16" fmla="*/ 2147483647 w 2784"/>
                <a:gd name="T17" fmla="*/ 2147483647 h 3150"/>
                <a:gd name="T18" fmla="*/ 2147483647 w 2784"/>
                <a:gd name="T19" fmla="*/ 2147483647 h 3150"/>
                <a:gd name="T20" fmla="*/ 2147483647 w 2784"/>
                <a:gd name="T21" fmla="*/ 2147483647 h 3150"/>
                <a:gd name="T22" fmla="*/ 2147483647 w 2784"/>
                <a:gd name="T23" fmla="*/ 2147483647 h 3150"/>
                <a:gd name="T24" fmla="*/ 2147483647 w 2784"/>
                <a:gd name="T25" fmla="*/ 2147483647 h 3150"/>
                <a:gd name="T26" fmla="*/ 2147483647 w 2784"/>
                <a:gd name="T27" fmla="*/ 2147483647 h 3150"/>
                <a:gd name="T28" fmla="*/ 2147483647 w 2784"/>
                <a:gd name="T29" fmla="*/ 2147483647 h 3150"/>
                <a:gd name="T30" fmla="*/ 2147483647 w 2784"/>
                <a:gd name="T31" fmla="*/ 2147483647 h 3150"/>
                <a:gd name="T32" fmla="*/ 2147483647 w 2784"/>
                <a:gd name="T33" fmla="*/ 2147483647 h 3150"/>
                <a:gd name="T34" fmla="*/ 2147483647 w 2784"/>
                <a:gd name="T35" fmla="*/ 2147483647 h 3150"/>
                <a:gd name="T36" fmla="*/ 2147483647 w 2784"/>
                <a:gd name="T37" fmla="*/ 2147483647 h 3150"/>
                <a:gd name="T38" fmla="*/ 2147483647 w 2784"/>
                <a:gd name="T39" fmla="*/ 2147483647 h 3150"/>
                <a:gd name="T40" fmla="*/ 2147483647 w 2784"/>
                <a:gd name="T41" fmla="*/ 2147483647 h 3150"/>
                <a:gd name="T42" fmla="*/ 2147483647 w 2784"/>
                <a:gd name="T43" fmla="*/ 2147483647 h 3150"/>
                <a:gd name="T44" fmla="*/ 2147483647 w 2784"/>
                <a:gd name="T45" fmla="*/ 2147483647 h 3150"/>
                <a:gd name="T46" fmla="*/ 2147483647 w 2784"/>
                <a:gd name="T47" fmla="*/ 2147483647 h 3150"/>
                <a:gd name="T48" fmla="*/ 2147483647 w 2784"/>
                <a:gd name="T49" fmla="*/ 2147483647 h 3150"/>
                <a:gd name="T50" fmla="*/ 2147483647 w 2784"/>
                <a:gd name="T51" fmla="*/ 2147483647 h 3150"/>
                <a:gd name="T52" fmla="*/ 2147483647 w 2784"/>
                <a:gd name="T53" fmla="*/ 2147483647 h 3150"/>
                <a:gd name="T54" fmla="*/ 2147483647 w 2784"/>
                <a:gd name="T55" fmla="*/ 2147483647 h 3150"/>
                <a:gd name="T56" fmla="*/ 2147483647 w 2784"/>
                <a:gd name="T57" fmla="*/ 2147483647 h 3150"/>
                <a:gd name="T58" fmla="*/ 2147483647 w 2784"/>
                <a:gd name="T59" fmla="*/ 2147483647 h 3150"/>
                <a:gd name="T60" fmla="*/ 2147483647 w 2784"/>
                <a:gd name="T61" fmla="*/ 2147483647 h 3150"/>
                <a:gd name="T62" fmla="*/ 2147483647 w 2784"/>
                <a:gd name="T63" fmla="*/ 2147483647 h 3150"/>
                <a:gd name="T64" fmla="*/ 2147483647 w 2784"/>
                <a:gd name="T65" fmla="*/ 2147483647 h 3150"/>
                <a:gd name="T66" fmla="*/ 2147483647 w 2784"/>
                <a:gd name="T67" fmla="*/ 2147483647 h 3150"/>
                <a:gd name="T68" fmla="*/ 2147483647 w 2784"/>
                <a:gd name="T69" fmla="*/ 2147483647 h 3150"/>
                <a:gd name="T70" fmla="*/ 2147483647 w 2784"/>
                <a:gd name="T71" fmla="*/ 2147483647 h 3150"/>
                <a:gd name="T72" fmla="*/ 2147483647 w 2784"/>
                <a:gd name="T73" fmla="*/ 2147483647 h 3150"/>
                <a:gd name="T74" fmla="*/ 2147483647 w 2784"/>
                <a:gd name="T75" fmla="*/ 2147483647 h 3150"/>
                <a:gd name="T76" fmla="*/ 2147483647 w 2784"/>
                <a:gd name="T77" fmla="*/ 2147483647 h 3150"/>
                <a:gd name="T78" fmla="*/ 2147483647 w 2784"/>
                <a:gd name="T79" fmla="*/ 2147483647 h 3150"/>
                <a:gd name="T80" fmla="*/ 2147483647 w 2784"/>
                <a:gd name="T81" fmla="*/ 2147483647 h 3150"/>
                <a:gd name="T82" fmla="*/ 2147483647 w 2784"/>
                <a:gd name="T83" fmla="*/ 2147483647 h 3150"/>
                <a:gd name="T84" fmla="*/ 2147483647 w 2784"/>
                <a:gd name="T85" fmla="*/ 2147483647 h 3150"/>
                <a:gd name="T86" fmla="*/ 2147483647 w 2784"/>
                <a:gd name="T87" fmla="*/ 2147483647 h 3150"/>
                <a:gd name="T88" fmla="*/ 2147483647 w 2784"/>
                <a:gd name="T89" fmla="*/ 2147483647 h 3150"/>
                <a:gd name="T90" fmla="*/ 2147483647 w 2784"/>
                <a:gd name="T91" fmla="*/ 2147483647 h 3150"/>
                <a:gd name="T92" fmla="*/ 2147483647 w 2784"/>
                <a:gd name="T93" fmla="*/ 2147483647 h 3150"/>
                <a:gd name="T94" fmla="*/ 2147483647 w 2784"/>
                <a:gd name="T95" fmla="*/ 2147483647 h 3150"/>
                <a:gd name="T96" fmla="*/ 2147483647 w 2784"/>
                <a:gd name="T97" fmla="*/ 2147483647 h 3150"/>
                <a:gd name="T98" fmla="*/ 2147483647 w 2784"/>
                <a:gd name="T99" fmla="*/ 2147483647 h 3150"/>
                <a:gd name="T100" fmla="*/ 2147483647 w 2784"/>
                <a:gd name="T101" fmla="*/ 2147483647 h 3150"/>
                <a:gd name="T102" fmla="*/ 2147483647 w 2784"/>
                <a:gd name="T103" fmla="*/ 2147483647 h 3150"/>
                <a:gd name="T104" fmla="*/ 2147483647 w 2784"/>
                <a:gd name="T105" fmla="*/ 2147483647 h 3150"/>
                <a:gd name="T106" fmla="*/ 2147483647 w 2784"/>
                <a:gd name="T107" fmla="*/ 2147483647 h 3150"/>
                <a:gd name="T108" fmla="*/ 2147483647 w 2784"/>
                <a:gd name="T109" fmla="*/ 2147483647 h 3150"/>
                <a:gd name="T110" fmla="*/ 2147483647 w 2784"/>
                <a:gd name="T111" fmla="*/ 2147483647 h 3150"/>
                <a:gd name="T112" fmla="*/ 2147483647 w 2784"/>
                <a:gd name="T113" fmla="*/ 2147483647 h 3150"/>
                <a:gd name="T114" fmla="*/ 2147483647 w 2784"/>
                <a:gd name="T115" fmla="*/ 2147483647 h 3150"/>
                <a:gd name="T116" fmla="*/ 2147483647 w 2784"/>
                <a:gd name="T117" fmla="*/ 2147483647 h 3150"/>
                <a:gd name="T118" fmla="*/ 2147483647 w 2784"/>
                <a:gd name="T119" fmla="*/ 2147483647 h 315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784"/>
                <a:gd name="T181" fmla="*/ 0 h 3150"/>
                <a:gd name="T182" fmla="*/ 2784 w 2784"/>
                <a:gd name="T183" fmla="*/ 3150 h 315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784" h="3150">
                  <a:moveTo>
                    <a:pt x="1716" y="450"/>
                  </a:moveTo>
                  <a:lnTo>
                    <a:pt x="1710" y="450"/>
                  </a:lnTo>
                  <a:lnTo>
                    <a:pt x="1698" y="444"/>
                  </a:lnTo>
                  <a:lnTo>
                    <a:pt x="1680" y="444"/>
                  </a:lnTo>
                  <a:lnTo>
                    <a:pt x="1662" y="438"/>
                  </a:lnTo>
                  <a:lnTo>
                    <a:pt x="1650" y="438"/>
                  </a:lnTo>
                  <a:lnTo>
                    <a:pt x="1644" y="444"/>
                  </a:lnTo>
                  <a:lnTo>
                    <a:pt x="1644" y="450"/>
                  </a:lnTo>
                  <a:lnTo>
                    <a:pt x="1650" y="462"/>
                  </a:lnTo>
                  <a:lnTo>
                    <a:pt x="1650" y="468"/>
                  </a:lnTo>
                  <a:lnTo>
                    <a:pt x="1656" y="480"/>
                  </a:lnTo>
                  <a:lnTo>
                    <a:pt x="1638" y="480"/>
                  </a:lnTo>
                  <a:lnTo>
                    <a:pt x="1638" y="504"/>
                  </a:lnTo>
                  <a:lnTo>
                    <a:pt x="1656" y="516"/>
                  </a:lnTo>
                  <a:lnTo>
                    <a:pt x="1644" y="528"/>
                  </a:lnTo>
                  <a:lnTo>
                    <a:pt x="1644" y="540"/>
                  </a:lnTo>
                  <a:lnTo>
                    <a:pt x="1656" y="564"/>
                  </a:lnTo>
                  <a:lnTo>
                    <a:pt x="1668" y="570"/>
                  </a:lnTo>
                  <a:lnTo>
                    <a:pt x="1674" y="576"/>
                  </a:lnTo>
                  <a:lnTo>
                    <a:pt x="1686" y="576"/>
                  </a:lnTo>
                  <a:lnTo>
                    <a:pt x="1698" y="570"/>
                  </a:lnTo>
                  <a:lnTo>
                    <a:pt x="1710" y="570"/>
                  </a:lnTo>
                  <a:lnTo>
                    <a:pt x="1716" y="564"/>
                  </a:lnTo>
                  <a:lnTo>
                    <a:pt x="1716" y="558"/>
                  </a:lnTo>
                  <a:lnTo>
                    <a:pt x="1728" y="558"/>
                  </a:lnTo>
                  <a:lnTo>
                    <a:pt x="1740" y="552"/>
                  </a:lnTo>
                  <a:lnTo>
                    <a:pt x="1758" y="552"/>
                  </a:lnTo>
                  <a:lnTo>
                    <a:pt x="1770" y="546"/>
                  </a:lnTo>
                  <a:lnTo>
                    <a:pt x="1776" y="534"/>
                  </a:lnTo>
                  <a:lnTo>
                    <a:pt x="1788" y="492"/>
                  </a:lnTo>
                  <a:lnTo>
                    <a:pt x="1794" y="480"/>
                  </a:lnTo>
                  <a:lnTo>
                    <a:pt x="1794" y="474"/>
                  </a:lnTo>
                  <a:lnTo>
                    <a:pt x="1800" y="462"/>
                  </a:lnTo>
                  <a:lnTo>
                    <a:pt x="1800" y="444"/>
                  </a:lnTo>
                  <a:lnTo>
                    <a:pt x="1794" y="438"/>
                  </a:lnTo>
                  <a:lnTo>
                    <a:pt x="1752" y="438"/>
                  </a:lnTo>
                  <a:lnTo>
                    <a:pt x="1740" y="444"/>
                  </a:lnTo>
                  <a:lnTo>
                    <a:pt x="1734" y="444"/>
                  </a:lnTo>
                  <a:lnTo>
                    <a:pt x="1722" y="450"/>
                  </a:lnTo>
                  <a:lnTo>
                    <a:pt x="1716" y="450"/>
                  </a:lnTo>
                  <a:close/>
                  <a:moveTo>
                    <a:pt x="1716" y="438"/>
                  </a:moveTo>
                  <a:lnTo>
                    <a:pt x="1740" y="432"/>
                  </a:lnTo>
                  <a:lnTo>
                    <a:pt x="1722" y="414"/>
                  </a:lnTo>
                  <a:lnTo>
                    <a:pt x="1698" y="438"/>
                  </a:lnTo>
                  <a:lnTo>
                    <a:pt x="1716" y="438"/>
                  </a:lnTo>
                  <a:close/>
                  <a:moveTo>
                    <a:pt x="1686" y="408"/>
                  </a:moveTo>
                  <a:lnTo>
                    <a:pt x="1662" y="408"/>
                  </a:lnTo>
                  <a:lnTo>
                    <a:pt x="1662" y="426"/>
                  </a:lnTo>
                  <a:lnTo>
                    <a:pt x="1698" y="426"/>
                  </a:lnTo>
                  <a:lnTo>
                    <a:pt x="1716" y="402"/>
                  </a:lnTo>
                  <a:lnTo>
                    <a:pt x="1698" y="384"/>
                  </a:lnTo>
                  <a:lnTo>
                    <a:pt x="1686" y="408"/>
                  </a:lnTo>
                  <a:close/>
                  <a:moveTo>
                    <a:pt x="1572" y="492"/>
                  </a:moveTo>
                  <a:lnTo>
                    <a:pt x="1572" y="510"/>
                  </a:lnTo>
                  <a:lnTo>
                    <a:pt x="1554" y="546"/>
                  </a:lnTo>
                  <a:lnTo>
                    <a:pt x="1584" y="528"/>
                  </a:lnTo>
                  <a:lnTo>
                    <a:pt x="1590" y="516"/>
                  </a:lnTo>
                  <a:lnTo>
                    <a:pt x="1596" y="510"/>
                  </a:lnTo>
                  <a:lnTo>
                    <a:pt x="1608" y="486"/>
                  </a:lnTo>
                  <a:lnTo>
                    <a:pt x="1608" y="480"/>
                  </a:lnTo>
                  <a:lnTo>
                    <a:pt x="1602" y="474"/>
                  </a:lnTo>
                  <a:lnTo>
                    <a:pt x="1596" y="474"/>
                  </a:lnTo>
                  <a:lnTo>
                    <a:pt x="1584" y="480"/>
                  </a:lnTo>
                  <a:lnTo>
                    <a:pt x="1572" y="492"/>
                  </a:lnTo>
                  <a:close/>
                  <a:moveTo>
                    <a:pt x="1632" y="426"/>
                  </a:moveTo>
                  <a:lnTo>
                    <a:pt x="1608" y="450"/>
                  </a:lnTo>
                  <a:lnTo>
                    <a:pt x="1626" y="456"/>
                  </a:lnTo>
                  <a:lnTo>
                    <a:pt x="1644" y="432"/>
                  </a:lnTo>
                  <a:lnTo>
                    <a:pt x="1632" y="426"/>
                  </a:lnTo>
                  <a:close/>
                  <a:moveTo>
                    <a:pt x="2778" y="1002"/>
                  </a:moveTo>
                  <a:lnTo>
                    <a:pt x="2778" y="984"/>
                  </a:lnTo>
                  <a:lnTo>
                    <a:pt x="2772" y="972"/>
                  </a:lnTo>
                  <a:lnTo>
                    <a:pt x="2760" y="954"/>
                  </a:lnTo>
                  <a:lnTo>
                    <a:pt x="2754" y="936"/>
                  </a:lnTo>
                  <a:lnTo>
                    <a:pt x="2754" y="870"/>
                  </a:lnTo>
                  <a:lnTo>
                    <a:pt x="2724" y="840"/>
                  </a:lnTo>
                  <a:lnTo>
                    <a:pt x="2694" y="834"/>
                  </a:lnTo>
                  <a:lnTo>
                    <a:pt x="2646" y="840"/>
                  </a:lnTo>
                  <a:lnTo>
                    <a:pt x="2628" y="822"/>
                  </a:lnTo>
                  <a:lnTo>
                    <a:pt x="2610" y="822"/>
                  </a:lnTo>
                  <a:lnTo>
                    <a:pt x="2592" y="798"/>
                  </a:lnTo>
                  <a:lnTo>
                    <a:pt x="2568" y="798"/>
                  </a:lnTo>
                  <a:lnTo>
                    <a:pt x="2538" y="768"/>
                  </a:lnTo>
                  <a:lnTo>
                    <a:pt x="2526" y="750"/>
                  </a:lnTo>
                  <a:lnTo>
                    <a:pt x="2490" y="714"/>
                  </a:lnTo>
                  <a:lnTo>
                    <a:pt x="2418" y="666"/>
                  </a:lnTo>
                  <a:lnTo>
                    <a:pt x="2394" y="660"/>
                  </a:lnTo>
                  <a:lnTo>
                    <a:pt x="2316" y="660"/>
                  </a:lnTo>
                  <a:lnTo>
                    <a:pt x="2316" y="672"/>
                  </a:lnTo>
                  <a:lnTo>
                    <a:pt x="2310" y="672"/>
                  </a:lnTo>
                  <a:lnTo>
                    <a:pt x="2298" y="660"/>
                  </a:lnTo>
                  <a:lnTo>
                    <a:pt x="2286" y="654"/>
                  </a:lnTo>
                  <a:lnTo>
                    <a:pt x="2274" y="654"/>
                  </a:lnTo>
                  <a:lnTo>
                    <a:pt x="2262" y="648"/>
                  </a:lnTo>
                  <a:lnTo>
                    <a:pt x="2232" y="648"/>
                  </a:lnTo>
                  <a:lnTo>
                    <a:pt x="2226" y="642"/>
                  </a:lnTo>
                  <a:lnTo>
                    <a:pt x="2214" y="636"/>
                  </a:lnTo>
                  <a:lnTo>
                    <a:pt x="2196" y="630"/>
                  </a:lnTo>
                  <a:lnTo>
                    <a:pt x="2184" y="624"/>
                  </a:lnTo>
                  <a:lnTo>
                    <a:pt x="2166" y="618"/>
                  </a:lnTo>
                  <a:lnTo>
                    <a:pt x="2154" y="618"/>
                  </a:lnTo>
                  <a:lnTo>
                    <a:pt x="2142" y="624"/>
                  </a:lnTo>
                  <a:lnTo>
                    <a:pt x="2112" y="654"/>
                  </a:lnTo>
                  <a:lnTo>
                    <a:pt x="2106" y="666"/>
                  </a:lnTo>
                  <a:lnTo>
                    <a:pt x="2088" y="642"/>
                  </a:lnTo>
                  <a:lnTo>
                    <a:pt x="2088" y="678"/>
                  </a:lnTo>
                  <a:lnTo>
                    <a:pt x="2058" y="702"/>
                  </a:lnTo>
                  <a:lnTo>
                    <a:pt x="2076" y="636"/>
                  </a:lnTo>
                  <a:lnTo>
                    <a:pt x="2082" y="636"/>
                  </a:lnTo>
                  <a:lnTo>
                    <a:pt x="2094" y="624"/>
                  </a:lnTo>
                  <a:lnTo>
                    <a:pt x="2094" y="606"/>
                  </a:lnTo>
                  <a:lnTo>
                    <a:pt x="2088" y="600"/>
                  </a:lnTo>
                  <a:lnTo>
                    <a:pt x="2082" y="600"/>
                  </a:lnTo>
                  <a:lnTo>
                    <a:pt x="2064" y="618"/>
                  </a:lnTo>
                  <a:lnTo>
                    <a:pt x="2076" y="582"/>
                  </a:lnTo>
                  <a:lnTo>
                    <a:pt x="2070" y="582"/>
                  </a:lnTo>
                  <a:lnTo>
                    <a:pt x="2064" y="576"/>
                  </a:lnTo>
                  <a:lnTo>
                    <a:pt x="2064" y="570"/>
                  </a:lnTo>
                  <a:lnTo>
                    <a:pt x="2040" y="546"/>
                  </a:lnTo>
                  <a:lnTo>
                    <a:pt x="2034" y="546"/>
                  </a:lnTo>
                  <a:lnTo>
                    <a:pt x="2022" y="564"/>
                  </a:lnTo>
                  <a:lnTo>
                    <a:pt x="2016" y="552"/>
                  </a:lnTo>
                  <a:lnTo>
                    <a:pt x="2004" y="546"/>
                  </a:lnTo>
                  <a:lnTo>
                    <a:pt x="1998" y="534"/>
                  </a:lnTo>
                  <a:lnTo>
                    <a:pt x="1986" y="528"/>
                  </a:lnTo>
                  <a:lnTo>
                    <a:pt x="1980" y="522"/>
                  </a:lnTo>
                  <a:lnTo>
                    <a:pt x="1968" y="516"/>
                  </a:lnTo>
                  <a:lnTo>
                    <a:pt x="1944" y="516"/>
                  </a:lnTo>
                  <a:lnTo>
                    <a:pt x="1932" y="510"/>
                  </a:lnTo>
                  <a:lnTo>
                    <a:pt x="1926" y="510"/>
                  </a:lnTo>
                  <a:lnTo>
                    <a:pt x="1914" y="498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884" y="474"/>
                  </a:lnTo>
                  <a:lnTo>
                    <a:pt x="1878" y="486"/>
                  </a:lnTo>
                  <a:lnTo>
                    <a:pt x="1824" y="486"/>
                  </a:lnTo>
                  <a:lnTo>
                    <a:pt x="1812" y="498"/>
                  </a:lnTo>
                  <a:lnTo>
                    <a:pt x="1806" y="510"/>
                  </a:lnTo>
                  <a:lnTo>
                    <a:pt x="1806" y="522"/>
                  </a:lnTo>
                  <a:lnTo>
                    <a:pt x="1800" y="528"/>
                  </a:lnTo>
                  <a:lnTo>
                    <a:pt x="1800" y="534"/>
                  </a:lnTo>
                  <a:lnTo>
                    <a:pt x="1812" y="552"/>
                  </a:lnTo>
                  <a:lnTo>
                    <a:pt x="1776" y="552"/>
                  </a:lnTo>
                  <a:lnTo>
                    <a:pt x="1770" y="564"/>
                  </a:lnTo>
                  <a:lnTo>
                    <a:pt x="1758" y="576"/>
                  </a:lnTo>
                  <a:lnTo>
                    <a:pt x="1752" y="588"/>
                  </a:lnTo>
                  <a:lnTo>
                    <a:pt x="1752" y="594"/>
                  </a:lnTo>
                  <a:lnTo>
                    <a:pt x="1746" y="600"/>
                  </a:lnTo>
                  <a:lnTo>
                    <a:pt x="1746" y="612"/>
                  </a:lnTo>
                  <a:lnTo>
                    <a:pt x="1740" y="624"/>
                  </a:lnTo>
                  <a:lnTo>
                    <a:pt x="1728" y="636"/>
                  </a:lnTo>
                  <a:lnTo>
                    <a:pt x="1722" y="636"/>
                  </a:lnTo>
                  <a:lnTo>
                    <a:pt x="1728" y="630"/>
                  </a:lnTo>
                  <a:lnTo>
                    <a:pt x="1728" y="618"/>
                  </a:lnTo>
                  <a:lnTo>
                    <a:pt x="1734" y="606"/>
                  </a:lnTo>
                  <a:lnTo>
                    <a:pt x="1734" y="600"/>
                  </a:lnTo>
                  <a:lnTo>
                    <a:pt x="1740" y="588"/>
                  </a:lnTo>
                  <a:lnTo>
                    <a:pt x="1740" y="582"/>
                  </a:lnTo>
                  <a:lnTo>
                    <a:pt x="1734" y="576"/>
                  </a:lnTo>
                  <a:lnTo>
                    <a:pt x="1728" y="576"/>
                  </a:lnTo>
                  <a:lnTo>
                    <a:pt x="1722" y="582"/>
                  </a:lnTo>
                  <a:lnTo>
                    <a:pt x="1716" y="582"/>
                  </a:lnTo>
                  <a:lnTo>
                    <a:pt x="1704" y="594"/>
                  </a:lnTo>
                  <a:lnTo>
                    <a:pt x="1692" y="588"/>
                  </a:lnTo>
                  <a:lnTo>
                    <a:pt x="1656" y="588"/>
                  </a:lnTo>
                  <a:lnTo>
                    <a:pt x="1644" y="582"/>
                  </a:lnTo>
                  <a:lnTo>
                    <a:pt x="1632" y="570"/>
                  </a:lnTo>
                  <a:lnTo>
                    <a:pt x="1632" y="522"/>
                  </a:lnTo>
                  <a:lnTo>
                    <a:pt x="1626" y="516"/>
                  </a:lnTo>
                  <a:lnTo>
                    <a:pt x="1626" y="504"/>
                  </a:lnTo>
                  <a:lnTo>
                    <a:pt x="1620" y="504"/>
                  </a:lnTo>
                  <a:lnTo>
                    <a:pt x="1614" y="510"/>
                  </a:lnTo>
                  <a:lnTo>
                    <a:pt x="1602" y="516"/>
                  </a:lnTo>
                  <a:lnTo>
                    <a:pt x="1596" y="522"/>
                  </a:lnTo>
                  <a:lnTo>
                    <a:pt x="1590" y="534"/>
                  </a:lnTo>
                  <a:lnTo>
                    <a:pt x="1584" y="540"/>
                  </a:lnTo>
                  <a:lnTo>
                    <a:pt x="1560" y="552"/>
                  </a:lnTo>
                  <a:lnTo>
                    <a:pt x="1554" y="558"/>
                  </a:lnTo>
                  <a:lnTo>
                    <a:pt x="1512" y="558"/>
                  </a:lnTo>
                  <a:lnTo>
                    <a:pt x="1500" y="552"/>
                  </a:lnTo>
                  <a:lnTo>
                    <a:pt x="1542" y="540"/>
                  </a:lnTo>
                  <a:lnTo>
                    <a:pt x="1548" y="528"/>
                  </a:lnTo>
                  <a:lnTo>
                    <a:pt x="1566" y="510"/>
                  </a:lnTo>
                  <a:lnTo>
                    <a:pt x="1566" y="492"/>
                  </a:lnTo>
                  <a:lnTo>
                    <a:pt x="1572" y="486"/>
                  </a:lnTo>
                  <a:lnTo>
                    <a:pt x="1590" y="450"/>
                  </a:lnTo>
                  <a:lnTo>
                    <a:pt x="1626" y="414"/>
                  </a:lnTo>
                  <a:lnTo>
                    <a:pt x="1638" y="408"/>
                  </a:lnTo>
                  <a:lnTo>
                    <a:pt x="1656" y="390"/>
                  </a:lnTo>
                  <a:lnTo>
                    <a:pt x="1656" y="378"/>
                  </a:lnTo>
                  <a:lnTo>
                    <a:pt x="1662" y="366"/>
                  </a:lnTo>
                  <a:lnTo>
                    <a:pt x="1674" y="354"/>
                  </a:lnTo>
                  <a:lnTo>
                    <a:pt x="1686" y="348"/>
                  </a:lnTo>
                  <a:lnTo>
                    <a:pt x="1692" y="342"/>
                  </a:lnTo>
                  <a:lnTo>
                    <a:pt x="1704" y="336"/>
                  </a:lnTo>
                  <a:lnTo>
                    <a:pt x="1680" y="330"/>
                  </a:lnTo>
                  <a:lnTo>
                    <a:pt x="1698" y="312"/>
                  </a:lnTo>
                  <a:lnTo>
                    <a:pt x="1698" y="294"/>
                  </a:lnTo>
                  <a:lnTo>
                    <a:pt x="1692" y="288"/>
                  </a:lnTo>
                  <a:lnTo>
                    <a:pt x="1680" y="282"/>
                  </a:lnTo>
                  <a:lnTo>
                    <a:pt x="1662" y="282"/>
                  </a:lnTo>
                  <a:lnTo>
                    <a:pt x="1650" y="276"/>
                  </a:lnTo>
                  <a:lnTo>
                    <a:pt x="1644" y="270"/>
                  </a:lnTo>
                  <a:lnTo>
                    <a:pt x="1638" y="252"/>
                  </a:lnTo>
                  <a:lnTo>
                    <a:pt x="1632" y="216"/>
                  </a:lnTo>
                  <a:lnTo>
                    <a:pt x="1626" y="168"/>
                  </a:lnTo>
                  <a:lnTo>
                    <a:pt x="1620" y="138"/>
                  </a:lnTo>
                  <a:lnTo>
                    <a:pt x="1614" y="114"/>
                  </a:lnTo>
                  <a:lnTo>
                    <a:pt x="1608" y="96"/>
                  </a:lnTo>
                  <a:lnTo>
                    <a:pt x="1602" y="84"/>
                  </a:lnTo>
                  <a:lnTo>
                    <a:pt x="1590" y="78"/>
                  </a:lnTo>
                  <a:lnTo>
                    <a:pt x="1584" y="78"/>
                  </a:lnTo>
                  <a:lnTo>
                    <a:pt x="1584" y="90"/>
                  </a:lnTo>
                  <a:lnTo>
                    <a:pt x="1590" y="96"/>
                  </a:lnTo>
                  <a:lnTo>
                    <a:pt x="1590" y="108"/>
                  </a:lnTo>
                  <a:lnTo>
                    <a:pt x="1572" y="108"/>
                  </a:lnTo>
                  <a:lnTo>
                    <a:pt x="1572" y="102"/>
                  </a:lnTo>
                  <a:lnTo>
                    <a:pt x="1566" y="108"/>
                  </a:lnTo>
                  <a:lnTo>
                    <a:pt x="1560" y="120"/>
                  </a:lnTo>
                  <a:lnTo>
                    <a:pt x="1560" y="126"/>
                  </a:lnTo>
                  <a:lnTo>
                    <a:pt x="1554" y="132"/>
                  </a:lnTo>
                  <a:lnTo>
                    <a:pt x="1548" y="144"/>
                  </a:lnTo>
                  <a:lnTo>
                    <a:pt x="1536" y="156"/>
                  </a:lnTo>
                  <a:lnTo>
                    <a:pt x="1518" y="192"/>
                  </a:lnTo>
                  <a:lnTo>
                    <a:pt x="1518" y="210"/>
                  </a:lnTo>
                  <a:lnTo>
                    <a:pt x="1494" y="246"/>
                  </a:lnTo>
                  <a:lnTo>
                    <a:pt x="1488" y="246"/>
                  </a:lnTo>
                  <a:lnTo>
                    <a:pt x="1482" y="252"/>
                  </a:lnTo>
                  <a:lnTo>
                    <a:pt x="1464" y="252"/>
                  </a:lnTo>
                  <a:lnTo>
                    <a:pt x="1452" y="240"/>
                  </a:lnTo>
                  <a:lnTo>
                    <a:pt x="1446" y="246"/>
                  </a:lnTo>
                  <a:lnTo>
                    <a:pt x="1434" y="246"/>
                  </a:lnTo>
                  <a:lnTo>
                    <a:pt x="1428" y="240"/>
                  </a:lnTo>
                  <a:lnTo>
                    <a:pt x="1416" y="240"/>
                  </a:lnTo>
                  <a:lnTo>
                    <a:pt x="1410" y="246"/>
                  </a:lnTo>
                  <a:lnTo>
                    <a:pt x="1410" y="252"/>
                  </a:lnTo>
                  <a:lnTo>
                    <a:pt x="1404" y="258"/>
                  </a:lnTo>
                  <a:lnTo>
                    <a:pt x="1380" y="258"/>
                  </a:lnTo>
                  <a:lnTo>
                    <a:pt x="1368" y="246"/>
                  </a:lnTo>
                  <a:lnTo>
                    <a:pt x="1368" y="240"/>
                  </a:lnTo>
                  <a:lnTo>
                    <a:pt x="1350" y="234"/>
                  </a:lnTo>
                  <a:lnTo>
                    <a:pt x="1344" y="228"/>
                  </a:lnTo>
                  <a:lnTo>
                    <a:pt x="1338" y="216"/>
                  </a:lnTo>
                  <a:lnTo>
                    <a:pt x="1332" y="216"/>
                  </a:lnTo>
                  <a:lnTo>
                    <a:pt x="1320" y="222"/>
                  </a:lnTo>
                  <a:lnTo>
                    <a:pt x="1314" y="228"/>
                  </a:lnTo>
                  <a:lnTo>
                    <a:pt x="1302" y="234"/>
                  </a:lnTo>
                  <a:lnTo>
                    <a:pt x="1278" y="234"/>
                  </a:lnTo>
                  <a:lnTo>
                    <a:pt x="1278" y="222"/>
                  </a:lnTo>
                  <a:lnTo>
                    <a:pt x="1272" y="222"/>
                  </a:lnTo>
                  <a:lnTo>
                    <a:pt x="1260" y="228"/>
                  </a:lnTo>
                  <a:lnTo>
                    <a:pt x="1260" y="252"/>
                  </a:lnTo>
                  <a:lnTo>
                    <a:pt x="1272" y="264"/>
                  </a:lnTo>
                  <a:lnTo>
                    <a:pt x="1272" y="270"/>
                  </a:lnTo>
                  <a:lnTo>
                    <a:pt x="1278" y="276"/>
                  </a:lnTo>
                  <a:lnTo>
                    <a:pt x="1272" y="282"/>
                  </a:lnTo>
                  <a:lnTo>
                    <a:pt x="1254" y="282"/>
                  </a:lnTo>
                  <a:lnTo>
                    <a:pt x="1230" y="270"/>
                  </a:lnTo>
                  <a:lnTo>
                    <a:pt x="1224" y="270"/>
                  </a:lnTo>
                  <a:lnTo>
                    <a:pt x="1212" y="264"/>
                  </a:lnTo>
                  <a:lnTo>
                    <a:pt x="1212" y="270"/>
                  </a:lnTo>
                  <a:lnTo>
                    <a:pt x="1206" y="276"/>
                  </a:lnTo>
                  <a:lnTo>
                    <a:pt x="1200" y="276"/>
                  </a:lnTo>
                  <a:lnTo>
                    <a:pt x="1188" y="264"/>
                  </a:lnTo>
                  <a:lnTo>
                    <a:pt x="1176" y="264"/>
                  </a:lnTo>
                  <a:lnTo>
                    <a:pt x="1158" y="282"/>
                  </a:lnTo>
                  <a:lnTo>
                    <a:pt x="1158" y="288"/>
                  </a:lnTo>
                  <a:lnTo>
                    <a:pt x="1128" y="288"/>
                  </a:lnTo>
                  <a:lnTo>
                    <a:pt x="1122" y="300"/>
                  </a:lnTo>
                  <a:lnTo>
                    <a:pt x="1104" y="300"/>
                  </a:lnTo>
                  <a:lnTo>
                    <a:pt x="1092" y="312"/>
                  </a:lnTo>
                  <a:lnTo>
                    <a:pt x="1092" y="324"/>
                  </a:lnTo>
                  <a:lnTo>
                    <a:pt x="1086" y="330"/>
                  </a:lnTo>
                  <a:lnTo>
                    <a:pt x="1050" y="330"/>
                  </a:lnTo>
                  <a:lnTo>
                    <a:pt x="1044" y="318"/>
                  </a:lnTo>
                  <a:lnTo>
                    <a:pt x="1032" y="318"/>
                  </a:lnTo>
                  <a:lnTo>
                    <a:pt x="1002" y="282"/>
                  </a:lnTo>
                  <a:lnTo>
                    <a:pt x="1002" y="252"/>
                  </a:lnTo>
                  <a:lnTo>
                    <a:pt x="978" y="228"/>
                  </a:lnTo>
                  <a:lnTo>
                    <a:pt x="972" y="216"/>
                  </a:lnTo>
                  <a:lnTo>
                    <a:pt x="972" y="210"/>
                  </a:lnTo>
                  <a:lnTo>
                    <a:pt x="978" y="198"/>
                  </a:lnTo>
                  <a:lnTo>
                    <a:pt x="978" y="192"/>
                  </a:lnTo>
                  <a:lnTo>
                    <a:pt x="984" y="180"/>
                  </a:lnTo>
                  <a:lnTo>
                    <a:pt x="996" y="138"/>
                  </a:lnTo>
                  <a:lnTo>
                    <a:pt x="1008" y="126"/>
                  </a:lnTo>
                  <a:lnTo>
                    <a:pt x="1014" y="114"/>
                  </a:lnTo>
                  <a:lnTo>
                    <a:pt x="1014" y="102"/>
                  </a:lnTo>
                  <a:lnTo>
                    <a:pt x="1008" y="102"/>
                  </a:lnTo>
                  <a:lnTo>
                    <a:pt x="1002" y="96"/>
                  </a:lnTo>
                  <a:lnTo>
                    <a:pt x="1002" y="66"/>
                  </a:lnTo>
                  <a:lnTo>
                    <a:pt x="996" y="66"/>
                  </a:lnTo>
                  <a:lnTo>
                    <a:pt x="984" y="72"/>
                  </a:lnTo>
                  <a:lnTo>
                    <a:pt x="978" y="72"/>
                  </a:lnTo>
                  <a:lnTo>
                    <a:pt x="972" y="66"/>
                  </a:lnTo>
                  <a:lnTo>
                    <a:pt x="972" y="60"/>
                  </a:lnTo>
                  <a:lnTo>
                    <a:pt x="978" y="54"/>
                  </a:lnTo>
                  <a:lnTo>
                    <a:pt x="984" y="42"/>
                  </a:lnTo>
                  <a:lnTo>
                    <a:pt x="984" y="24"/>
                  </a:lnTo>
                  <a:lnTo>
                    <a:pt x="978" y="12"/>
                  </a:lnTo>
                  <a:lnTo>
                    <a:pt x="966" y="0"/>
                  </a:lnTo>
                  <a:lnTo>
                    <a:pt x="960" y="12"/>
                  </a:lnTo>
                  <a:lnTo>
                    <a:pt x="936" y="6"/>
                  </a:lnTo>
                  <a:lnTo>
                    <a:pt x="936" y="42"/>
                  </a:lnTo>
                  <a:lnTo>
                    <a:pt x="930" y="48"/>
                  </a:lnTo>
                  <a:lnTo>
                    <a:pt x="918" y="48"/>
                  </a:lnTo>
                  <a:lnTo>
                    <a:pt x="918" y="60"/>
                  </a:lnTo>
                  <a:lnTo>
                    <a:pt x="894" y="60"/>
                  </a:lnTo>
                  <a:lnTo>
                    <a:pt x="882" y="66"/>
                  </a:lnTo>
                  <a:lnTo>
                    <a:pt x="858" y="90"/>
                  </a:lnTo>
                  <a:lnTo>
                    <a:pt x="846" y="96"/>
                  </a:lnTo>
                  <a:lnTo>
                    <a:pt x="828" y="96"/>
                  </a:lnTo>
                  <a:lnTo>
                    <a:pt x="822" y="90"/>
                  </a:lnTo>
                  <a:lnTo>
                    <a:pt x="804" y="90"/>
                  </a:lnTo>
                  <a:lnTo>
                    <a:pt x="798" y="96"/>
                  </a:lnTo>
                  <a:lnTo>
                    <a:pt x="798" y="108"/>
                  </a:lnTo>
                  <a:lnTo>
                    <a:pt x="792" y="120"/>
                  </a:lnTo>
                  <a:lnTo>
                    <a:pt x="792" y="138"/>
                  </a:lnTo>
                  <a:lnTo>
                    <a:pt x="786" y="144"/>
                  </a:lnTo>
                  <a:lnTo>
                    <a:pt x="774" y="138"/>
                  </a:lnTo>
                  <a:lnTo>
                    <a:pt x="762" y="126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38" y="108"/>
                  </a:lnTo>
                  <a:lnTo>
                    <a:pt x="732" y="114"/>
                  </a:lnTo>
                  <a:lnTo>
                    <a:pt x="720" y="108"/>
                  </a:lnTo>
                  <a:lnTo>
                    <a:pt x="708" y="114"/>
                  </a:lnTo>
                  <a:lnTo>
                    <a:pt x="696" y="114"/>
                  </a:lnTo>
                  <a:lnTo>
                    <a:pt x="696" y="96"/>
                  </a:lnTo>
                  <a:lnTo>
                    <a:pt x="690" y="90"/>
                  </a:lnTo>
                  <a:lnTo>
                    <a:pt x="648" y="90"/>
                  </a:lnTo>
                  <a:lnTo>
                    <a:pt x="648" y="84"/>
                  </a:lnTo>
                  <a:lnTo>
                    <a:pt x="642" y="78"/>
                  </a:lnTo>
                  <a:lnTo>
                    <a:pt x="642" y="108"/>
                  </a:lnTo>
                  <a:lnTo>
                    <a:pt x="660" y="126"/>
                  </a:lnTo>
                  <a:lnTo>
                    <a:pt x="672" y="132"/>
                  </a:lnTo>
                  <a:lnTo>
                    <a:pt x="678" y="138"/>
                  </a:lnTo>
                  <a:lnTo>
                    <a:pt x="678" y="168"/>
                  </a:lnTo>
                  <a:lnTo>
                    <a:pt x="672" y="174"/>
                  </a:lnTo>
                  <a:lnTo>
                    <a:pt x="684" y="186"/>
                  </a:lnTo>
                  <a:lnTo>
                    <a:pt x="690" y="198"/>
                  </a:lnTo>
                  <a:lnTo>
                    <a:pt x="690" y="228"/>
                  </a:lnTo>
                  <a:lnTo>
                    <a:pt x="738" y="234"/>
                  </a:lnTo>
                  <a:lnTo>
                    <a:pt x="744" y="240"/>
                  </a:lnTo>
                  <a:lnTo>
                    <a:pt x="744" y="246"/>
                  </a:lnTo>
                  <a:lnTo>
                    <a:pt x="738" y="258"/>
                  </a:lnTo>
                  <a:lnTo>
                    <a:pt x="732" y="264"/>
                  </a:lnTo>
                  <a:lnTo>
                    <a:pt x="690" y="264"/>
                  </a:lnTo>
                  <a:lnTo>
                    <a:pt x="690" y="294"/>
                  </a:lnTo>
                  <a:lnTo>
                    <a:pt x="684" y="306"/>
                  </a:lnTo>
                  <a:lnTo>
                    <a:pt x="648" y="324"/>
                  </a:lnTo>
                  <a:lnTo>
                    <a:pt x="642" y="330"/>
                  </a:lnTo>
                  <a:lnTo>
                    <a:pt x="624" y="330"/>
                  </a:lnTo>
                  <a:lnTo>
                    <a:pt x="612" y="342"/>
                  </a:lnTo>
                  <a:lnTo>
                    <a:pt x="600" y="366"/>
                  </a:lnTo>
                  <a:lnTo>
                    <a:pt x="588" y="378"/>
                  </a:lnTo>
                  <a:lnTo>
                    <a:pt x="582" y="378"/>
                  </a:lnTo>
                  <a:lnTo>
                    <a:pt x="582" y="354"/>
                  </a:lnTo>
                  <a:lnTo>
                    <a:pt x="576" y="348"/>
                  </a:lnTo>
                  <a:lnTo>
                    <a:pt x="570" y="354"/>
                  </a:lnTo>
                  <a:lnTo>
                    <a:pt x="558" y="360"/>
                  </a:lnTo>
                  <a:lnTo>
                    <a:pt x="552" y="366"/>
                  </a:lnTo>
                  <a:lnTo>
                    <a:pt x="540" y="372"/>
                  </a:lnTo>
                  <a:lnTo>
                    <a:pt x="534" y="372"/>
                  </a:lnTo>
                  <a:lnTo>
                    <a:pt x="522" y="366"/>
                  </a:lnTo>
                  <a:lnTo>
                    <a:pt x="516" y="366"/>
                  </a:lnTo>
                  <a:lnTo>
                    <a:pt x="504" y="354"/>
                  </a:lnTo>
                  <a:lnTo>
                    <a:pt x="504" y="348"/>
                  </a:lnTo>
                  <a:lnTo>
                    <a:pt x="498" y="336"/>
                  </a:lnTo>
                  <a:lnTo>
                    <a:pt x="492" y="330"/>
                  </a:lnTo>
                  <a:lnTo>
                    <a:pt x="468" y="330"/>
                  </a:lnTo>
                  <a:lnTo>
                    <a:pt x="468" y="300"/>
                  </a:lnTo>
                  <a:lnTo>
                    <a:pt x="462" y="288"/>
                  </a:lnTo>
                  <a:lnTo>
                    <a:pt x="462" y="276"/>
                  </a:lnTo>
                  <a:lnTo>
                    <a:pt x="456" y="270"/>
                  </a:lnTo>
                  <a:lnTo>
                    <a:pt x="456" y="258"/>
                  </a:lnTo>
                  <a:lnTo>
                    <a:pt x="450" y="258"/>
                  </a:lnTo>
                  <a:lnTo>
                    <a:pt x="420" y="288"/>
                  </a:lnTo>
                  <a:lnTo>
                    <a:pt x="396" y="264"/>
                  </a:lnTo>
                  <a:lnTo>
                    <a:pt x="390" y="264"/>
                  </a:lnTo>
                  <a:lnTo>
                    <a:pt x="384" y="270"/>
                  </a:lnTo>
                  <a:lnTo>
                    <a:pt x="384" y="288"/>
                  </a:lnTo>
                  <a:lnTo>
                    <a:pt x="318" y="294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82" y="288"/>
                  </a:lnTo>
                  <a:lnTo>
                    <a:pt x="276" y="300"/>
                  </a:lnTo>
                  <a:lnTo>
                    <a:pt x="276" y="312"/>
                  </a:lnTo>
                  <a:lnTo>
                    <a:pt x="282" y="324"/>
                  </a:lnTo>
                  <a:lnTo>
                    <a:pt x="282" y="336"/>
                  </a:lnTo>
                  <a:lnTo>
                    <a:pt x="306" y="348"/>
                  </a:lnTo>
                  <a:lnTo>
                    <a:pt x="318" y="342"/>
                  </a:lnTo>
                  <a:lnTo>
                    <a:pt x="330" y="354"/>
                  </a:lnTo>
                  <a:lnTo>
                    <a:pt x="330" y="360"/>
                  </a:lnTo>
                  <a:lnTo>
                    <a:pt x="336" y="366"/>
                  </a:lnTo>
                  <a:lnTo>
                    <a:pt x="336" y="372"/>
                  </a:lnTo>
                  <a:lnTo>
                    <a:pt x="330" y="378"/>
                  </a:lnTo>
                  <a:lnTo>
                    <a:pt x="300" y="378"/>
                  </a:lnTo>
                  <a:lnTo>
                    <a:pt x="294" y="372"/>
                  </a:lnTo>
                  <a:lnTo>
                    <a:pt x="264" y="378"/>
                  </a:lnTo>
                  <a:lnTo>
                    <a:pt x="258" y="444"/>
                  </a:lnTo>
                  <a:lnTo>
                    <a:pt x="264" y="444"/>
                  </a:lnTo>
                  <a:lnTo>
                    <a:pt x="276" y="456"/>
                  </a:lnTo>
                  <a:lnTo>
                    <a:pt x="288" y="462"/>
                  </a:lnTo>
                  <a:lnTo>
                    <a:pt x="294" y="468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0" y="504"/>
                  </a:lnTo>
                  <a:lnTo>
                    <a:pt x="312" y="516"/>
                  </a:lnTo>
                  <a:lnTo>
                    <a:pt x="318" y="528"/>
                  </a:lnTo>
                  <a:lnTo>
                    <a:pt x="318" y="540"/>
                  </a:lnTo>
                  <a:lnTo>
                    <a:pt x="312" y="552"/>
                  </a:lnTo>
                  <a:lnTo>
                    <a:pt x="300" y="564"/>
                  </a:lnTo>
                  <a:lnTo>
                    <a:pt x="306" y="612"/>
                  </a:lnTo>
                  <a:lnTo>
                    <a:pt x="288" y="660"/>
                  </a:lnTo>
                  <a:lnTo>
                    <a:pt x="282" y="732"/>
                  </a:lnTo>
                  <a:lnTo>
                    <a:pt x="282" y="762"/>
                  </a:lnTo>
                  <a:lnTo>
                    <a:pt x="276" y="774"/>
                  </a:lnTo>
                  <a:lnTo>
                    <a:pt x="270" y="780"/>
                  </a:lnTo>
                  <a:lnTo>
                    <a:pt x="252" y="780"/>
                  </a:lnTo>
                  <a:lnTo>
                    <a:pt x="252" y="774"/>
                  </a:lnTo>
                  <a:lnTo>
                    <a:pt x="240" y="762"/>
                  </a:lnTo>
                  <a:lnTo>
                    <a:pt x="222" y="762"/>
                  </a:lnTo>
                  <a:lnTo>
                    <a:pt x="216" y="768"/>
                  </a:lnTo>
                  <a:lnTo>
                    <a:pt x="210" y="780"/>
                  </a:lnTo>
                  <a:lnTo>
                    <a:pt x="204" y="786"/>
                  </a:lnTo>
                  <a:lnTo>
                    <a:pt x="174" y="780"/>
                  </a:lnTo>
                  <a:lnTo>
                    <a:pt x="168" y="792"/>
                  </a:lnTo>
                  <a:lnTo>
                    <a:pt x="138" y="792"/>
                  </a:lnTo>
                  <a:lnTo>
                    <a:pt x="126" y="798"/>
                  </a:lnTo>
                  <a:lnTo>
                    <a:pt x="120" y="804"/>
                  </a:lnTo>
                  <a:lnTo>
                    <a:pt x="108" y="810"/>
                  </a:lnTo>
                  <a:lnTo>
                    <a:pt x="96" y="822"/>
                  </a:lnTo>
                  <a:lnTo>
                    <a:pt x="96" y="828"/>
                  </a:lnTo>
                  <a:lnTo>
                    <a:pt x="90" y="834"/>
                  </a:lnTo>
                  <a:lnTo>
                    <a:pt x="90" y="840"/>
                  </a:lnTo>
                  <a:lnTo>
                    <a:pt x="66" y="840"/>
                  </a:lnTo>
                  <a:lnTo>
                    <a:pt x="66" y="894"/>
                  </a:lnTo>
                  <a:lnTo>
                    <a:pt x="48" y="912"/>
                  </a:lnTo>
                  <a:lnTo>
                    <a:pt x="48" y="924"/>
                  </a:lnTo>
                  <a:lnTo>
                    <a:pt x="54" y="930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54" y="954"/>
                  </a:lnTo>
                  <a:lnTo>
                    <a:pt x="48" y="948"/>
                  </a:lnTo>
                  <a:lnTo>
                    <a:pt x="18" y="978"/>
                  </a:lnTo>
                  <a:lnTo>
                    <a:pt x="12" y="990"/>
                  </a:lnTo>
                  <a:lnTo>
                    <a:pt x="12" y="1014"/>
                  </a:lnTo>
                  <a:lnTo>
                    <a:pt x="18" y="1020"/>
                  </a:lnTo>
                  <a:lnTo>
                    <a:pt x="6" y="1026"/>
                  </a:lnTo>
                  <a:lnTo>
                    <a:pt x="0" y="1032"/>
                  </a:lnTo>
                  <a:lnTo>
                    <a:pt x="0" y="1044"/>
                  </a:lnTo>
                  <a:lnTo>
                    <a:pt x="6" y="1050"/>
                  </a:lnTo>
                  <a:lnTo>
                    <a:pt x="18" y="1056"/>
                  </a:lnTo>
                  <a:lnTo>
                    <a:pt x="24" y="1080"/>
                  </a:lnTo>
                  <a:lnTo>
                    <a:pt x="24" y="1086"/>
                  </a:lnTo>
                  <a:lnTo>
                    <a:pt x="30" y="1092"/>
                  </a:lnTo>
                  <a:lnTo>
                    <a:pt x="42" y="1116"/>
                  </a:lnTo>
                  <a:lnTo>
                    <a:pt x="54" y="1128"/>
                  </a:lnTo>
                  <a:lnTo>
                    <a:pt x="66" y="1134"/>
                  </a:lnTo>
                  <a:lnTo>
                    <a:pt x="90" y="1158"/>
                  </a:lnTo>
                  <a:lnTo>
                    <a:pt x="84" y="1164"/>
                  </a:lnTo>
                  <a:lnTo>
                    <a:pt x="78" y="1176"/>
                  </a:lnTo>
                  <a:lnTo>
                    <a:pt x="66" y="1182"/>
                  </a:lnTo>
                  <a:lnTo>
                    <a:pt x="60" y="1188"/>
                  </a:lnTo>
                  <a:lnTo>
                    <a:pt x="102" y="1188"/>
                  </a:lnTo>
                  <a:lnTo>
                    <a:pt x="114" y="1194"/>
                  </a:lnTo>
                  <a:lnTo>
                    <a:pt x="120" y="1194"/>
                  </a:lnTo>
                  <a:lnTo>
                    <a:pt x="126" y="1200"/>
                  </a:lnTo>
                  <a:lnTo>
                    <a:pt x="126" y="1212"/>
                  </a:lnTo>
                  <a:lnTo>
                    <a:pt x="132" y="1224"/>
                  </a:lnTo>
                  <a:lnTo>
                    <a:pt x="138" y="1230"/>
                  </a:lnTo>
                  <a:lnTo>
                    <a:pt x="138" y="1236"/>
                  </a:lnTo>
                  <a:lnTo>
                    <a:pt x="198" y="1230"/>
                  </a:lnTo>
                  <a:lnTo>
                    <a:pt x="252" y="1182"/>
                  </a:lnTo>
                  <a:lnTo>
                    <a:pt x="252" y="1194"/>
                  </a:lnTo>
                  <a:lnTo>
                    <a:pt x="258" y="1206"/>
                  </a:lnTo>
                  <a:lnTo>
                    <a:pt x="258" y="1224"/>
                  </a:lnTo>
                  <a:lnTo>
                    <a:pt x="252" y="1230"/>
                  </a:lnTo>
                  <a:lnTo>
                    <a:pt x="252" y="1242"/>
                  </a:lnTo>
                  <a:lnTo>
                    <a:pt x="246" y="1254"/>
                  </a:lnTo>
                  <a:lnTo>
                    <a:pt x="246" y="1266"/>
                  </a:lnTo>
                  <a:lnTo>
                    <a:pt x="252" y="1284"/>
                  </a:lnTo>
                  <a:lnTo>
                    <a:pt x="252" y="1314"/>
                  </a:lnTo>
                  <a:lnTo>
                    <a:pt x="264" y="1308"/>
                  </a:lnTo>
                  <a:lnTo>
                    <a:pt x="264" y="1314"/>
                  </a:lnTo>
                  <a:lnTo>
                    <a:pt x="270" y="1320"/>
                  </a:lnTo>
                  <a:lnTo>
                    <a:pt x="282" y="1320"/>
                  </a:lnTo>
                  <a:lnTo>
                    <a:pt x="282" y="1314"/>
                  </a:lnTo>
                  <a:lnTo>
                    <a:pt x="288" y="1314"/>
                  </a:lnTo>
                  <a:lnTo>
                    <a:pt x="294" y="1308"/>
                  </a:lnTo>
                  <a:lnTo>
                    <a:pt x="324" y="1308"/>
                  </a:lnTo>
                  <a:lnTo>
                    <a:pt x="336" y="1314"/>
                  </a:lnTo>
                  <a:lnTo>
                    <a:pt x="366" y="1314"/>
                  </a:lnTo>
                  <a:lnTo>
                    <a:pt x="372" y="1320"/>
                  </a:lnTo>
                  <a:lnTo>
                    <a:pt x="372" y="1326"/>
                  </a:lnTo>
                  <a:lnTo>
                    <a:pt x="390" y="1326"/>
                  </a:lnTo>
                  <a:lnTo>
                    <a:pt x="414" y="1314"/>
                  </a:lnTo>
                  <a:lnTo>
                    <a:pt x="420" y="1308"/>
                  </a:lnTo>
                  <a:lnTo>
                    <a:pt x="432" y="1290"/>
                  </a:lnTo>
                  <a:lnTo>
                    <a:pt x="468" y="1290"/>
                  </a:lnTo>
                  <a:lnTo>
                    <a:pt x="474" y="1260"/>
                  </a:lnTo>
                  <a:lnTo>
                    <a:pt x="510" y="1260"/>
                  </a:lnTo>
                  <a:lnTo>
                    <a:pt x="510" y="1254"/>
                  </a:lnTo>
                  <a:lnTo>
                    <a:pt x="516" y="1248"/>
                  </a:lnTo>
                  <a:lnTo>
                    <a:pt x="522" y="1236"/>
                  </a:lnTo>
                  <a:lnTo>
                    <a:pt x="528" y="1230"/>
                  </a:lnTo>
                  <a:lnTo>
                    <a:pt x="540" y="1224"/>
                  </a:lnTo>
                  <a:lnTo>
                    <a:pt x="576" y="1224"/>
                  </a:lnTo>
                  <a:lnTo>
                    <a:pt x="588" y="1212"/>
                  </a:lnTo>
                  <a:lnTo>
                    <a:pt x="600" y="1224"/>
                  </a:lnTo>
                  <a:lnTo>
                    <a:pt x="606" y="1224"/>
                  </a:lnTo>
                  <a:lnTo>
                    <a:pt x="606" y="1218"/>
                  </a:lnTo>
                  <a:lnTo>
                    <a:pt x="618" y="1212"/>
                  </a:lnTo>
                  <a:lnTo>
                    <a:pt x="630" y="1212"/>
                  </a:lnTo>
                  <a:lnTo>
                    <a:pt x="630" y="1242"/>
                  </a:lnTo>
                  <a:lnTo>
                    <a:pt x="624" y="1248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90"/>
                  </a:lnTo>
                  <a:lnTo>
                    <a:pt x="624" y="1296"/>
                  </a:lnTo>
                  <a:lnTo>
                    <a:pt x="630" y="1308"/>
                  </a:lnTo>
                  <a:lnTo>
                    <a:pt x="630" y="1326"/>
                  </a:lnTo>
                  <a:lnTo>
                    <a:pt x="624" y="1332"/>
                  </a:lnTo>
                  <a:lnTo>
                    <a:pt x="624" y="1344"/>
                  </a:lnTo>
                  <a:lnTo>
                    <a:pt x="636" y="1356"/>
                  </a:lnTo>
                  <a:lnTo>
                    <a:pt x="648" y="1362"/>
                  </a:lnTo>
                  <a:lnTo>
                    <a:pt x="654" y="1368"/>
                  </a:lnTo>
                  <a:lnTo>
                    <a:pt x="660" y="1398"/>
                  </a:lnTo>
                  <a:lnTo>
                    <a:pt x="684" y="1398"/>
                  </a:lnTo>
                  <a:lnTo>
                    <a:pt x="690" y="1404"/>
                  </a:lnTo>
                  <a:lnTo>
                    <a:pt x="690" y="1410"/>
                  </a:lnTo>
                  <a:lnTo>
                    <a:pt x="696" y="1422"/>
                  </a:lnTo>
                  <a:lnTo>
                    <a:pt x="696" y="1428"/>
                  </a:lnTo>
                  <a:lnTo>
                    <a:pt x="702" y="1434"/>
                  </a:lnTo>
                  <a:lnTo>
                    <a:pt x="714" y="1440"/>
                  </a:lnTo>
                  <a:lnTo>
                    <a:pt x="744" y="1440"/>
                  </a:lnTo>
                  <a:lnTo>
                    <a:pt x="750" y="1434"/>
                  </a:lnTo>
                  <a:lnTo>
                    <a:pt x="756" y="1446"/>
                  </a:lnTo>
                  <a:lnTo>
                    <a:pt x="768" y="1452"/>
                  </a:lnTo>
                  <a:lnTo>
                    <a:pt x="780" y="1452"/>
                  </a:lnTo>
                  <a:lnTo>
                    <a:pt x="786" y="1446"/>
                  </a:lnTo>
                  <a:lnTo>
                    <a:pt x="798" y="1446"/>
                  </a:lnTo>
                  <a:lnTo>
                    <a:pt x="798" y="1452"/>
                  </a:lnTo>
                  <a:lnTo>
                    <a:pt x="804" y="1464"/>
                  </a:lnTo>
                  <a:lnTo>
                    <a:pt x="816" y="1470"/>
                  </a:lnTo>
                  <a:lnTo>
                    <a:pt x="828" y="1482"/>
                  </a:lnTo>
                  <a:lnTo>
                    <a:pt x="840" y="1488"/>
                  </a:lnTo>
                  <a:lnTo>
                    <a:pt x="864" y="1488"/>
                  </a:lnTo>
                  <a:lnTo>
                    <a:pt x="864" y="1494"/>
                  </a:lnTo>
                  <a:lnTo>
                    <a:pt x="876" y="1506"/>
                  </a:lnTo>
                  <a:lnTo>
                    <a:pt x="888" y="1512"/>
                  </a:lnTo>
                  <a:lnTo>
                    <a:pt x="894" y="1518"/>
                  </a:lnTo>
                  <a:lnTo>
                    <a:pt x="954" y="1518"/>
                  </a:lnTo>
                  <a:lnTo>
                    <a:pt x="978" y="1530"/>
                  </a:lnTo>
                  <a:lnTo>
                    <a:pt x="984" y="1542"/>
                  </a:lnTo>
                  <a:lnTo>
                    <a:pt x="990" y="1548"/>
                  </a:lnTo>
                  <a:lnTo>
                    <a:pt x="990" y="1578"/>
                  </a:lnTo>
                  <a:lnTo>
                    <a:pt x="996" y="1590"/>
                  </a:lnTo>
                  <a:lnTo>
                    <a:pt x="1002" y="1596"/>
                  </a:lnTo>
                  <a:lnTo>
                    <a:pt x="1008" y="1608"/>
                  </a:lnTo>
                  <a:lnTo>
                    <a:pt x="1008" y="1638"/>
                  </a:lnTo>
                  <a:lnTo>
                    <a:pt x="990" y="1638"/>
                  </a:lnTo>
                  <a:lnTo>
                    <a:pt x="990" y="1644"/>
                  </a:lnTo>
                  <a:lnTo>
                    <a:pt x="996" y="1650"/>
                  </a:lnTo>
                  <a:lnTo>
                    <a:pt x="1002" y="1662"/>
                  </a:lnTo>
                  <a:lnTo>
                    <a:pt x="1014" y="1668"/>
                  </a:lnTo>
                  <a:lnTo>
                    <a:pt x="1020" y="1674"/>
                  </a:lnTo>
                  <a:lnTo>
                    <a:pt x="1014" y="1686"/>
                  </a:lnTo>
                  <a:lnTo>
                    <a:pt x="1014" y="1728"/>
                  </a:lnTo>
                  <a:lnTo>
                    <a:pt x="1020" y="1734"/>
                  </a:lnTo>
                  <a:lnTo>
                    <a:pt x="1050" y="1740"/>
                  </a:lnTo>
                  <a:lnTo>
                    <a:pt x="1098" y="1746"/>
                  </a:lnTo>
                  <a:lnTo>
                    <a:pt x="1158" y="1746"/>
                  </a:lnTo>
                  <a:lnTo>
                    <a:pt x="1158" y="1752"/>
                  </a:lnTo>
                  <a:lnTo>
                    <a:pt x="1152" y="1758"/>
                  </a:lnTo>
                  <a:lnTo>
                    <a:pt x="1152" y="1770"/>
                  </a:lnTo>
                  <a:lnTo>
                    <a:pt x="1146" y="1788"/>
                  </a:lnTo>
                  <a:lnTo>
                    <a:pt x="1146" y="1800"/>
                  </a:lnTo>
                  <a:lnTo>
                    <a:pt x="1152" y="1812"/>
                  </a:lnTo>
                  <a:lnTo>
                    <a:pt x="1164" y="1818"/>
                  </a:lnTo>
                  <a:lnTo>
                    <a:pt x="1170" y="1824"/>
                  </a:lnTo>
                  <a:lnTo>
                    <a:pt x="1194" y="1836"/>
                  </a:lnTo>
                  <a:lnTo>
                    <a:pt x="1206" y="1848"/>
                  </a:lnTo>
                  <a:lnTo>
                    <a:pt x="1212" y="1860"/>
                  </a:lnTo>
                  <a:lnTo>
                    <a:pt x="1224" y="1896"/>
                  </a:lnTo>
                  <a:lnTo>
                    <a:pt x="1224" y="1908"/>
                  </a:lnTo>
                  <a:lnTo>
                    <a:pt x="1218" y="1920"/>
                  </a:lnTo>
                  <a:lnTo>
                    <a:pt x="1218" y="1944"/>
                  </a:lnTo>
                  <a:lnTo>
                    <a:pt x="1212" y="1950"/>
                  </a:lnTo>
                  <a:lnTo>
                    <a:pt x="1212" y="1956"/>
                  </a:lnTo>
                  <a:lnTo>
                    <a:pt x="1218" y="1968"/>
                  </a:lnTo>
                  <a:lnTo>
                    <a:pt x="1212" y="1980"/>
                  </a:lnTo>
                  <a:lnTo>
                    <a:pt x="1206" y="1986"/>
                  </a:lnTo>
                  <a:lnTo>
                    <a:pt x="1200" y="1998"/>
                  </a:lnTo>
                  <a:lnTo>
                    <a:pt x="1200" y="2022"/>
                  </a:lnTo>
                  <a:lnTo>
                    <a:pt x="1206" y="2028"/>
                  </a:lnTo>
                  <a:lnTo>
                    <a:pt x="1218" y="2034"/>
                  </a:lnTo>
                  <a:lnTo>
                    <a:pt x="1212" y="2040"/>
                  </a:lnTo>
                  <a:lnTo>
                    <a:pt x="1200" y="2046"/>
                  </a:lnTo>
                  <a:lnTo>
                    <a:pt x="1194" y="2052"/>
                  </a:lnTo>
                  <a:lnTo>
                    <a:pt x="1194" y="2064"/>
                  </a:lnTo>
                  <a:lnTo>
                    <a:pt x="1200" y="2070"/>
                  </a:lnTo>
                  <a:lnTo>
                    <a:pt x="1212" y="2076"/>
                  </a:lnTo>
                  <a:lnTo>
                    <a:pt x="1212" y="2112"/>
                  </a:lnTo>
                  <a:lnTo>
                    <a:pt x="1224" y="2112"/>
                  </a:lnTo>
                  <a:lnTo>
                    <a:pt x="1224" y="2130"/>
                  </a:lnTo>
                  <a:lnTo>
                    <a:pt x="1218" y="2142"/>
                  </a:lnTo>
                  <a:lnTo>
                    <a:pt x="1218" y="2184"/>
                  </a:lnTo>
                  <a:lnTo>
                    <a:pt x="1224" y="2196"/>
                  </a:lnTo>
                  <a:lnTo>
                    <a:pt x="1230" y="2202"/>
                  </a:lnTo>
                  <a:lnTo>
                    <a:pt x="1266" y="2214"/>
                  </a:lnTo>
                  <a:lnTo>
                    <a:pt x="1308" y="2220"/>
                  </a:lnTo>
                  <a:lnTo>
                    <a:pt x="1380" y="2220"/>
                  </a:lnTo>
                  <a:lnTo>
                    <a:pt x="1392" y="2226"/>
                  </a:lnTo>
                  <a:lnTo>
                    <a:pt x="1398" y="2232"/>
                  </a:lnTo>
                  <a:lnTo>
                    <a:pt x="1398" y="2256"/>
                  </a:lnTo>
                  <a:lnTo>
                    <a:pt x="1404" y="2274"/>
                  </a:lnTo>
                  <a:lnTo>
                    <a:pt x="1404" y="2298"/>
                  </a:lnTo>
                  <a:lnTo>
                    <a:pt x="1410" y="2316"/>
                  </a:lnTo>
                  <a:lnTo>
                    <a:pt x="1410" y="2334"/>
                  </a:lnTo>
                  <a:lnTo>
                    <a:pt x="1422" y="2358"/>
                  </a:lnTo>
                  <a:lnTo>
                    <a:pt x="1434" y="2364"/>
                  </a:lnTo>
                  <a:lnTo>
                    <a:pt x="1446" y="2364"/>
                  </a:lnTo>
                  <a:lnTo>
                    <a:pt x="1464" y="2346"/>
                  </a:lnTo>
                  <a:lnTo>
                    <a:pt x="1476" y="2346"/>
                  </a:lnTo>
                  <a:lnTo>
                    <a:pt x="1488" y="2352"/>
                  </a:lnTo>
                  <a:lnTo>
                    <a:pt x="1500" y="2364"/>
                  </a:lnTo>
                  <a:lnTo>
                    <a:pt x="1506" y="2376"/>
                  </a:lnTo>
                  <a:lnTo>
                    <a:pt x="1506" y="2394"/>
                  </a:lnTo>
                  <a:lnTo>
                    <a:pt x="1500" y="2412"/>
                  </a:lnTo>
                  <a:lnTo>
                    <a:pt x="1500" y="2442"/>
                  </a:lnTo>
                  <a:lnTo>
                    <a:pt x="1494" y="2448"/>
                  </a:lnTo>
                  <a:lnTo>
                    <a:pt x="1494" y="2454"/>
                  </a:lnTo>
                  <a:lnTo>
                    <a:pt x="1488" y="2466"/>
                  </a:lnTo>
                  <a:lnTo>
                    <a:pt x="1488" y="2478"/>
                  </a:lnTo>
                  <a:lnTo>
                    <a:pt x="1494" y="2496"/>
                  </a:lnTo>
                  <a:lnTo>
                    <a:pt x="1506" y="2490"/>
                  </a:lnTo>
                  <a:lnTo>
                    <a:pt x="1512" y="2484"/>
                  </a:lnTo>
                  <a:lnTo>
                    <a:pt x="1530" y="2484"/>
                  </a:lnTo>
                  <a:lnTo>
                    <a:pt x="1536" y="2490"/>
                  </a:lnTo>
                  <a:lnTo>
                    <a:pt x="1548" y="2514"/>
                  </a:lnTo>
                  <a:lnTo>
                    <a:pt x="1548" y="2526"/>
                  </a:lnTo>
                  <a:lnTo>
                    <a:pt x="1554" y="2526"/>
                  </a:lnTo>
                  <a:lnTo>
                    <a:pt x="1560" y="2532"/>
                  </a:lnTo>
                  <a:lnTo>
                    <a:pt x="1560" y="2562"/>
                  </a:lnTo>
                  <a:lnTo>
                    <a:pt x="1566" y="2580"/>
                  </a:lnTo>
                  <a:lnTo>
                    <a:pt x="1566" y="2616"/>
                  </a:lnTo>
                  <a:lnTo>
                    <a:pt x="1512" y="2634"/>
                  </a:lnTo>
                  <a:lnTo>
                    <a:pt x="1506" y="2640"/>
                  </a:lnTo>
                  <a:lnTo>
                    <a:pt x="1500" y="2652"/>
                  </a:lnTo>
                  <a:lnTo>
                    <a:pt x="1500" y="2670"/>
                  </a:lnTo>
                  <a:lnTo>
                    <a:pt x="1464" y="2670"/>
                  </a:lnTo>
                  <a:lnTo>
                    <a:pt x="1464" y="2688"/>
                  </a:lnTo>
                  <a:lnTo>
                    <a:pt x="1458" y="2694"/>
                  </a:lnTo>
                  <a:lnTo>
                    <a:pt x="1452" y="2718"/>
                  </a:lnTo>
                  <a:lnTo>
                    <a:pt x="1428" y="2724"/>
                  </a:lnTo>
                  <a:lnTo>
                    <a:pt x="1428" y="2736"/>
                  </a:lnTo>
                  <a:lnTo>
                    <a:pt x="1422" y="2748"/>
                  </a:lnTo>
                  <a:lnTo>
                    <a:pt x="1422" y="2760"/>
                  </a:lnTo>
                  <a:lnTo>
                    <a:pt x="1404" y="2778"/>
                  </a:lnTo>
                  <a:lnTo>
                    <a:pt x="1392" y="2778"/>
                  </a:lnTo>
                  <a:lnTo>
                    <a:pt x="1392" y="2802"/>
                  </a:lnTo>
                  <a:lnTo>
                    <a:pt x="1386" y="2808"/>
                  </a:lnTo>
                  <a:lnTo>
                    <a:pt x="1380" y="2820"/>
                  </a:lnTo>
                  <a:lnTo>
                    <a:pt x="1374" y="2826"/>
                  </a:lnTo>
                  <a:lnTo>
                    <a:pt x="1356" y="2826"/>
                  </a:lnTo>
                  <a:lnTo>
                    <a:pt x="1350" y="2832"/>
                  </a:lnTo>
                  <a:lnTo>
                    <a:pt x="1350" y="2844"/>
                  </a:lnTo>
                  <a:lnTo>
                    <a:pt x="1344" y="2856"/>
                  </a:lnTo>
                  <a:lnTo>
                    <a:pt x="1344" y="2868"/>
                  </a:lnTo>
                  <a:lnTo>
                    <a:pt x="1368" y="2868"/>
                  </a:lnTo>
                  <a:lnTo>
                    <a:pt x="1374" y="2862"/>
                  </a:lnTo>
                  <a:lnTo>
                    <a:pt x="1386" y="2856"/>
                  </a:lnTo>
                  <a:lnTo>
                    <a:pt x="1398" y="2856"/>
                  </a:lnTo>
                  <a:lnTo>
                    <a:pt x="1404" y="2862"/>
                  </a:lnTo>
                  <a:lnTo>
                    <a:pt x="1428" y="2874"/>
                  </a:lnTo>
                  <a:lnTo>
                    <a:pt x="1434" y="2886"/>
                  </a:lnTo>
                  <a:lnTo>
                    <a:pt x="1446" y="2892"/>
                  </a:lnTo>
                  <a:lnTo>
                    <a:pt x="1452" y="2898"/>
                  </a:lnTo>
                  <a:lnTo>
                    <a:pt x="1458" y="2910"/>
                  </a:lnTo>
                  <a:lnTo>
                    <a:pt x="1470" y="2922"/>
                  </a:lnTo>
                  <a:lnTo>
                    <a:pt x="1470" y="2934"/>
                  </a:lnTo>
                  <a:lnTo>
                    <a:pt x="1482" y="2934"/>
                  </a:lnTo>
                  <a:lnTo>
                    <a:pt x="1482" y="2928"/>
                  </a:lnTo>
                  <a:lnTo>
                    <a:pt x="1494" y="2916"/>
                  </a:lnTo>
                  <a:lnTo>
                    <a:pt x="1500" y="2916"/>
                  </a:lnTo>
                  <a:lnTo>
                    <a:pt x="1512" y="2922"/>
                  </a:lnTo>
                  <a:lnTo>
                    <a:pt x="1518" y="2934"/>
                  </a:lnTo>
                  <a:lnTo>
                    <a:pt x="1536" y="2952"/>
                  </a:lnTo>
                  <a:lnTo>
                    <a:pt x="1554" y="2952"/>
                  </a:lnTo>
                  <a:lnTo>
                    <a:pt x="1572" y="2970"/>
                  </a:lnTo>
                  <a:lnTo>
                    <a:pt x="1578" y="2970"/>
                  </a:lnTo>
                  <a:lnTo>
                    <a:pt x="1578" y="2982"/>
                  </a:lnTo>
                  <a:lnTo>
                    <a:pt x="1584" y="2988"/>
                  </a:lnTo>
                  <a:lnTo>
                    <a:pt x="1596" y="2994"/>
                  </a:lnTo>
                  <a:lnTo>
                    <a:pt x="1614" y="3000"/>
                  </a:lnTo>
                  <a:lnTo>
                    <a:pt x="1626" y="3000"/>
                  </a:lnTo>
                  <a:lnTo>
                    <a:pt x="1632" y="3012"/>
                  </a:lnTo>
                  <a:lnTo>
                    <a:pt x="1638" y="3018"/>
                  </a:lnTo>
                  <a:lnTo>
                    <a:pt x="1644" y="3030"/>
                  </a:lnTo>
                  <a:lnTo>
                    <a:pt x="1662" y="3048"/>
                  </a:lnTo>
                  <a:lnTo>
                    <a:pt x="1668" y="3048"/>
                  </a:lnTo>
                  <a:lnTo>
                    <a:pt x="1680" y="3054"/>
                  </a:lnTo>
                  <a:lnTo>
                    <a:pt x="1686" y="3054"/>
                  </a:lnTo>
                  <a:lnTo>
                    <a:pt x="1686" y="3066"/>
                  </a:lnTo>
                  <a:lnTo>
                    <a:pt x="1674" y="3090"/>
                  </a:lnTo>
                  <a:lnTo>
                    <a:pt x="1668" y="3096"/>
                  </a:lnTo>
                  <a:lnTo>
                    <a:pt x="1668" y="3120"/>
                  </a:lnTo>
                  <a:lnTo>
                    <a:pt x="1674" y="3120"/>
                  </a:lnTo>
                  <a:lnTo>
                    <a:pt x="1674" y="3150"/>
                  </a:lnTo>
                  <a:lnTo>
                    <a:pt x="1692" y="3150"/>
                  </a:lnTo>
                  <a:lnTo>
                    <a:pt x="1692" y="3144"/>
                  </a:lnTo>
                  <a:lnTo>
                    <a:pt x="1698" y="3132"/>
                  </a:lnTo>
                  <a:lnTo>
                    <a:pt x="1710" y="3126"/>
                  </a:lnTo>
                  <a:lnTo>
                    <a:pt x="1716" y="3114"/>
                  </a:lnTo>
                  <a:lnTo>
                    <a:pt x="1728" y="3102"/>
                  </a:lnTo>
                  <a:lnTo>
                    <a:pt x="1734" y="3090"/>
                  </a:lnTo>
                  <a:lnTo>
                    <a:pt x="1734" y="3060"/>
                  </a:lnTo>
                  <a:lnTo>
                    <a:pt x="1728" y="3054"/>
                  </a:lnTo>
                  <a:lnTo>
                    <a:pt x="1728" y="3048"/>
                  </a:lnTo>
                  <a:lnTo>
                    <a:pt x="1746" y="3018"/>
                  </a:lnTo>
                  <a:lnTo>
                    <a:pt x="1734" y="3012"/>
                  </a:lnTo>
                  <a:lnTo>
                    <a:pt x="1728" y="3000"/>
                  </a:lnTo>
                  <a:lnTo>
                    <a:pt x="1728" y="2988"/>
                  </a:lnTo>
                  <a:lnTo>
                    <a:pt x="1740" y="2976"/>
                  </a:lnTo>
                  <a:lnTo>
                    <a:pt x="1746" y="2976"/>
                  </a:lnTo>
                  <a:lnTo>
                    <a:pt x="1746" y="2952"/>
                  </a:lnTo>
                  <a:lnTo>
                    <a:pt x="1764" y="2952"/>
                  </a:lnTo>
                  <a:lnTo>
                    <a:pt x="1776" y="2940"/>
                  </a:lnTo>
                  <a:lnTo>
                    <a:pt x="1776" y="2904"/>
                  </a:lnTo>
                  <a:lnTo>
                    <a:pt x="1782" y="2898"/>
                  </a:lnTo>
                  <a:lnTo>
                    <a:pt x="1788" y="2886"/>
                  </a:lnTo>
                  <a:lnTo>
                    <a:pt x="1800" y="2874"/>
                  </a:lnTo>
                  <a:lnTo>
                    <a:pt x="1812" y="2868"/>
                  </a:lnTo>
                  <a:lnTo>
                    <a:pt x="1818" y="2862"/>
                  </a:lnTo>
                  <a:lnTo>
                    <a:pt x="1824" y="2862"/>
                  </a:lnTo>
                  <a:lnTo>
                    <a:pt x="1824" y="2898"/>
                  </a:lnTo>
                  <a:lnTo>
                    <a:pt x="1818" y="2904"/>
                  </a:lnTo>
                  <a:lnTo>
                    <a:pt x="1818" y="2910"/>
                  </a:lnTo>
                  <a:lnTo>
                    <a:pt x="1812" y="2916"/>
                  </a:lnTo>
                  <a:lnTo>
                    <a:pt x="1812" y="2934"/>
                  </a:lnTo>
                  <a:lnTo>
                    <a:pt x="1800" y="2940"/>
                  </a:lnTo>
                  <a:lnTo>
                    <a:pt x="1800" y="2952"/>
                  </a:lnTo>
                  <a:lnTo>
                    <a:pt x="1776" y="2982"/>
                  </a:lnTo>
                  <a:lnTo>
                    <a:pt x="1746" y="3006"/>
                  </a:lnTo>
                  <a:lnTo>
                    <a:pt x="1752" y="3012"/>
                  </a:lnTo>
                  <a:lnTo>
                    <a:pt x="1770" y="3012"/>
                  </a:lnTo>
                  <a:lnTo>
                    <a:pt x="1770" y="2994"/>
                  </a:lnTo>
                  <a:lnTo>
                    <a:pt x="1776" y="2988"/>
                  </a:lnTo>
                  <a:lnTo>
                    <a:pt x="1788" y="2988"/>
                  </a:lnTo>
                  <a:lnTo>
                    <a:pt x="1794" y="2982"/>
                  </a:lnTo>
                  <a:lnTo>
                    <a:pt x="1800" y="2982"/>
                  </a:lnTo>
                  <a:lnTo>
                    <a:pt x="1812" y="2964"/>
                  </a:lnTo>
                  <a:lnTo>
                    <a:pt x="1824" y="2940"/>
                  </a:lnTo>
                  <a:lnTo>
                    <a:pt x="1848" y="2880"/>
                  </a:lnTo>
                  <a:lnTo>
                    <a:pt x="1860" y="2832"/>
                  </a:lnTo>
                  <a:lnTo>
                    <a:pt x="1872" y="2808"/>
                  </a:lnTo>
                  <a:lnTo>
                    <a:pt x="1878" y="2790"/>
                  </a:lnTo>
                  <a:lnTo>
                    <a:pt x="1884" y="2778"/>
                  </a:lnTo>
                  <a:lnTo>
                    <a:pt x="1896" y="2772"/>
                  </a:lnTo>
                  <a:lnTo>
                    <a:pt x="1902" y="2760"/>
                  </a:lnTo>
                  <a:lnTo>
                    <a:pt x="1926" y="2736"/>
                  </a:lnTo>
                  <a:lnTo>
                    <a:pt x="1926" y="2724"/>
                  </a:lnTo>
                  <a:lnTo>
                    <a:pt x="1920" y="2718"/>
                  </a:lnTo>
                  <a:lnTo>
                    <a:pt x="1938" y="2706"/>
                  </a:lnTo>
                  <a:lnTo>
                    <a:pt x="1932" y="2670"/>
                  </a:lnTo>
                  <a:lnTo>
                    <a:pt x="1938" y="2646"/>
                  </a:lnTo>
                  <a:lnTo>
                    <a:pt x="1926" y="2640"/>
                  </a:lnTo>
                  <a:lnTo>
                    <a:pt x="1932" y="2634"/>
                  </a:lnTo>
                  <a:lnTo>
                    <a:pt x="1938" y="2622"/>
                  </a:lnTo>
                  <a:lnTo>
                    <a:pt x="1938" y="2610"/>
                  </a:lnTo>
                  <a:lnTo>
                    <a:pt x="1932" y="2604"/>
                  </a:lnTo>
                  <a:lnTo>
                    <a:pt x="1920" y="2598"/>
                  </a:lnTo>
                  <a:lnTo>
                    <a:pt x="1914" y="2592"/>
                  </a:lnTo>
                  <a:lnTo>
                    <a:pt x="1914" y="2556"/>
                  </a:lnTo>
                  <a:lnTo>
                    <a:pt x="1896" y="2544"/>
                  </a:lnTo>
                  <a:lnTo>
                    <a:pt x="1920" y="2544"/>
                  </a:lnTo>
                  <a:lnTo>
                    <a:pt x="1914" y="2520"/>
                  </a:lnTo>
                  <a:lnTo>
                    <a:pt x="1902" y="2508"/>
                  </a:lnTo>
                  <a:lnTo>
                    <a:pt x="1908" y="2508"/>
                  </a:lnTo>
                  <a:lnTo>
                    <a:pt x="1920" y="2502"/>
                  </a:lnTo>
                  <a:lnTo>
                    <a:pt x="1920" y="2490"/>
                  </a:lnTo>
                  <a:lnTo>
                    <a:pt x="1914" y="2490"/>
                  </a:lnTo>
                  <a:lnTo>
                    <a:pt x="1902" y="2484"/>
                  </a:lnTo>
                  <a:lnTo>
                    <a:pt x="1896" y="2478"/>
                  </a:lnTo>
                  <a:lnTo>
                    <a:pt x="1920" y="2460"/>
                  </a:lnTo>
                  <a:lnTo>
                    <a:pt x="1932" y="2472"/>
                  </a:lnTo>
                  <a:lnTo>
                    <a:pt x="1944" y="2478"/>
                  </a:lnTo>
                  <a:lnTo>
                    <a:pt x="1950" y="2478"/>
                  </a:lnTo>
                  <a:lnTo>
                    <a:pt x="1950" y="2448"/>
                  </a:lnTo>
                  <a:lnTo>
                    <a:pt x="1962" y="2424"/>
                  </a:lnTo>
                  <a:lnTo>
                    <a:pt x="1974" y="2418"/>
                  </a:lnTo>
                  <a:lnTo>
                    <a:pt x="1980" y="2418"/>
                  </a:lnTo>
                  <a:lnTo>
                    <a:pt x="2004" y="2406"/>
                  </a:lnTo>
                  <a:lnTo>
                    <a:pt x="2010" y="2394"/>
                  </a:lnTo>
                  <a:lnTo>
                    <a:pt x="2010" y="2382"/>
                  </a:lnTo>
                  <a:lnTo>
                    <a:pt x="2016" y="2376"/>
                  </a:lnTo>
                  <a:lnTo>
                    <a:pt x="2028" y="2376"/>
                  </a:lnTo>
                  <a:lnTo>
                    <a:pt x="2034" y="2370"/>
                  </a:lnTo>
                  <a:lnTo>
                    <a:pt x="2046" y="2370"/>
                  </a:lnTo>
                  <a:lnTo>
                    <a:pt x="2046" y="2358"/>
                  </a:lnTo>
                  <a:lnTo>
                    <a:pt x="2070" y="2358"/>
                  </a:lnTo>
                  <a:lnTo>
                    <a:pt x="2070" y="2340"/>
                  </a:lnTo>
                  <a:lnTo>
                    <a:pt x="2118" y="2340"/>
                  </a:lnTo>
                  <a:lnTo>
                    <a:pt x="2124" y="2358"/>
                  </a:lnTo>
                  <a:lnTo>
                    <a:pt x="2136" y="2352"/>
                  </a:lnTo>
                  <a:lnTo>
                    <a:pt x="2118" y="2334"/>
                  </a:lnTo>
                  <a:lnTo>
                    <a:pt x="2136" y="2316"/>
                  </a:lnTo>
                  <a:lnTo>
                    <a:pt x="2142" y="2316"/>
                  </a:lnTo>
                  <a:lnTo>
                    <a:pt x="2154" y="2310"/>
                  </a:lnTo>
                  <a:lnTo>
                    <a:pt x="2178" y="2310"/>
                  </a:lnTo>
                  <a:lnTo>
                    <a:pt x="2160" y="2292"/>
                  </a:lnTo>
                  <a:lnTo>
                    <a:pt x="2172" y="2286"/>
                  </a:lnTo>
                  <a:lnTo>
                    <a:pt x="2178" y="2280"/>
                  </a:lnTo>
                  <a:lnTo>
                    <a:pt x="2190" y="2280"/>
                  </a:lnTo>
                  <a:lnTo>
                    <a:pt x="2190" y="2304"/>
                  </a:lnTo>
                  <a:lnTo>
                    <a:pt x="2196" y="2304"/>
                  </a:lnTo>
                  <a:lnTo>
                    <a:pt x="2196" y="2298"/>
                  </a:lnTo>
                  <a:lnTo>
                    <a:pt x="2202" y="2286"/>
                  </a:lnTo>
                  <a:lnTo>
                    <a:pt x="2208" y="2280"/>
                  </a:lnTo>
                  <a:lnTo>
                    <a:pt x="2244" y="2286"/>
                  </a:lnTo>
                  <a:lnTo>
                    <a:pt x="2244" y="2280"/>
                  </a:lnTo>
                  <a:lnTo>
                    <a:pt x="2250" y="2274"/>
                  </a:lnTo>
                  <a:lnTo>
                    <a:pt x="2250" y="2268"/>
                  </a:lnTo>
                  <a:lnTo>
                    <a:pt x="2256" y="2262"/>
                  </a:lnTo>
                  <a:lnTo>
                    <a:pt x="2268" y="2256"/>
                  </a:lnTo>
                  <a:lnTo>
                    <a:pt x="2274" y="2256"/>
                  </a:lnTo>
                  <a:lnTo>
                    <a:pt x="2280" y="2262"/>
                  </a:lnTo>
                  <a:lnTo>
                    <a:pt x="2280" y="2286"/>
                  </a:lnTo>
                  <a:lnTo>
                    <a:pt x="2346" y="2280"/>
                  </a:lnTo>
                  <a:lnTo>
                    <a:pt x="2352" y="2262"/>
                  </a:lnTo>
                  <a:lnTo>
                    <a:pt x="2346" y="2250"/>
                  </a:lnTo>
                  <a:lnTo>
                    <a:pt x="2352" y="2244"/>
                  </a:lnTo>
                  <a:lnTo>
                    <a:pt x="2358" y="2232"/>
                  </a:lnTo>
                  <a:lnTo>
                    <a:pt x="2370" y="2220"/>
                  </a:lnTo>
                  <a:lnTo>
                    <a:pt x="2406" y="2202"/>
                  </a:lnTo>
                  <a:lnTo>
                    <a:pt x="2418" y="2202"/>
                  </a:lnTo>
                  <a:lnTo>
                    <a:pt x="2412" y="2190"/>
                  </a:lnTo>
                  <a:lnTo>
                    <a:pt x="2412" y="2112"/>
                  </a:lnTo>
                  <a:lnTo>
                    <a:pt x="2442" y="2082"/>
                  </a:lnTo>
                  <a:lnTo>
                    <a:pt x="2442" y="2058"/>
                  </a:lnTo>
                  <a:lnTo>
                    <a:pt x="2460" y="2052"/>
                  </a:lnTo>
                  <a:lnTo>
                    <a:pt x="2460" y="2022"/>
                  </a:lnTo>
                  <a:lnTo>
                    <a:pt x="2466" y="2022"/>
                  </a:lnTo>
                  <a:lnTo>
                    <a:pt x="2472" y="2016"/>
                  </a:lnTo>
                  <a:lnTo>
                    <a:pt x="2478" y="2016"/>
                  </a:lnTo>
                  <a:lnTo>
                    <a:pt x="2478" y="2010"/>
                  </a:lnTo>
                  <a:lnTo>
                    <a:pt x="2484" y="2004"/>
                  </a:lnTo>
                  <a:lnTo>
                    <a:pt x="2484" y="1956"/>
                  </a:lnTo>
                  <a:lnTo>
                    <a:pt x="2478" y="1944"/>
                  </a:lnTo>
                  <a:lnTo>
                    <a:pt x="2478" y="1926"/>
                  </a:lnTo>
                  <a:lnTo>
                    <a:pt x="2472" y="1908"/>
                  </a:lnTo>
                  <a:lnTo>
                    <a:pt x="2484" y="1884"/>
                  </a:lnTo>
                  <a:lnTo>
                    <a:pt x="2514" y="1854"/>
                  </a:lnTo>
                  <a:lnTo>
                    <a:pt x="2514" y="1848"/>
                  </a:lnTo>
                  <a:lnTo>
                    <a:pt x="2508" y="1836"/>
                  </a:lnTo>
                  <a:lnTo>
                    <a:pt x="2508" y="1830"/>
                  </a:lnTo>
                  <a:lnTo>
                    <a:pt x="2502" y="1818"/>
                  </a:lnTo>
                  <a:lnTo>
                    <a:pt x="2508" y="1764"/>
                  </a:lnTo>
                  <a:lnTo>
                    <a:pt x="2508" y="1758"/>
                  </a:lnTo>
                  <a:lnTo>
                    <a:pt x="2514" y="1752"/>
                  </a:lnTo>
                  <a:lnTo>
                    <a:pt x="2514" y="1722"/>
                  </a:lnTo>
                  <a:lnTo>
                    <a:pt x="2520" y="1710"/>
                  </a:lnTo>
                  <a:lnTo>
                    <a:pt x="2520" y="1680"/>
                  </a:lnTo>
                  <a:lnTo>
                    <a:pt x="2508" y="1644"/>
                  </a:lnTo>
                  <a:lnTo>
                    <a:pt x="2502" y="1608"/>
                  </a:lnTo>
                  <a:lnTo>
                    <a:pt x="2502" y="1596"/>
                  </a:lnTo>
                  <a:lnTo>
                    <a:pt x="2508" y="1560"/>
                  </a:lnTo>
                  <a:lnTo>
                    <a:pt x="2508" y="1548"/>
                  </a:lnTo>
                  <a:lnTo>
                    <a:pt x="2502" y="1536"/>
                  </a:lnTo>
                  <a:lnTo>
                    <a:pt x="2502" y="1500"/>
                  </a:lnTo>
                  <a:lnTo>
                    <a:pt x="2508" y="1488"/>
                  </a:lnTo>
                  <a:lnTo>
                    <a:pt x="2520" y="1476"/>
                  </a:lnTo>
                  <a:lnTo>
                    <a:pt x="2508" y="1458"/>
                  </a:lnTo>
                  <a:lnTo>
                    <a:pt x="2520" y="1446"/>
                  </a:lnTo>
                  <a:lnTo>
                    <a:pt x="2532" y="1446"/>
                  </a:lnTo>
                  <a:lnTo>
                    <a:pt x="2532" y="1452"/>
                  </a:lnTo>
                  <a:lnTo>
                    <a:pt x="2538" y="1464"/>
                  </a:lnTo>
                  <a:lnTo>
                    <a:pt x="2544" y="1470"/>
                  </a:lnTo>
                  <a:lnTo>
                    <a:pt x="2556" y="1464"/>
                  </a:lnTo>
                  <a:lnTo>
                    <a:pt x="2562" y="1452"/>
                  </a:lnTo>
                  <a:lnTo>
                    <a:pt x="2574" y="1446"/>
                  </a:lnTo>
                  <a:lnTo>
                    <a:pt x="2580" y="1434"/>
                  </a:lnTo>
                  <a:lnTo>
                    <a:pt x="2586" y="1428"/>
                  </a:lnTo>
                  <a:lnTo>
                    <a:pt x="2592" y="1416"/>
                  </a:lnTo>
                  <a:lnTo>
                    <a:pt x="2592" y="1404"/>
                  </a:lnTo>
                  <a:lnTo>
                    <a:pt x="2598" y="1386"/>
                  </a:lnTo>
                  <a:lnTo>
                    <a:pt x="2598" y="1374"/>
                  </a:lnTo>
                  <a:lnTo>
                    <a:pt x="2604" y="1356"/>
                  </a:lnTo>
                  <a:lnTo>
                    <a:pt x="2604" y="1344"/>
                  </a:lnTo>
                  <a:lnTo>
                    <a:pt x="2610" y="1338"/>
                  </a:lnTo>
                  <a:lnTo>
                    <a:pt x="2616" y="1338"/>
                  </a:lnTo>
                  <a:lnTo>
                    <a:pt x="2628" y="1326"/>
                  </a:lnTo>
                  <a:lnTo>
                    <a:pt x="2634" y="1314"/>
                  </a:lnTo>
                  <a:lnTo>
                    <a:pt x="2640" y="1308"/>
                  </a:lnTo>
                  <a:lnTo>
                    <a:pt x="2640" y="1296"/>
                  </a:lnTo>
                  <a:lnTo>
                    <a:pt x="2652" y="1290"/>
                  </a:lnTo>
                  <a:lnTo>
                    <a:pt x="2658" y="1284"/>
                  </a:lnTo>
                  <a:lnTo>
                    <a:pt x="2670" y="1284"/>
                  </a:lnTo>
                  <a:lnTo>
                    <a:pt x="2682" y="1272"/>
                  </a:lnTo>
                  <a:lnTo>
                    <a:pt x="2682" y="1254"/>
                  </a:lnTo>
                  <a:lnTo>
                    <a:pt x="2688" y="1254"/>
                  </a:lnTo>
                  <a:lnTo>
                    <a:pt x="2724" y="1218"/>
                  </a:lnTo>
                  <a:lnTo>
                    <a:pt x="2736" y="1188"/>
                  </a:lnTo>
                  <a:lnTo>
                    <a:pt x="2754" y="1158"/>
                  </a:lnTo>
                  <a:lnTo>
                    <a:pt x="2760" y="1134"/>
                  </a:lnTo>
                  <a:lnTo>
                    <a:pt x="2766" y="1122"/>
                  </a:lnTo>
                  <a:lnTo>
                    <a:pt x="2772" y="1116"/>
                  </a:lnTo>
                  <a:lnTo>
                    <a:pt x="2778" y="1104"/>
                  </a:lnTo>
                  <a:lnTo>
                    <a:pt x="2784" y="1098"/>
                  </a:lnTo>
                  <a:lnTo>
                    <a:pt x="2784" y="1080"/>
                  </a:lnTo>
                  <a:lnTo>
                    <a:pt x="2778" y="1068"/>
                  </a:lnTo>
                  <a:lnTo>
                    <a:pt x="2778" y="1002"/>
                  </a:lnTo>
                  <a:close/>
                </a:path>
              </a:pathLst>
            </a:custGeom>
            <a:solidFill>
              <a:srgbClr val="E2583D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167" name="Botswana" descr="© INSCALE GmbH, 05.05.2010&#10;http://www.presentationload.com/"/>
            <p:cNvSpPr>
              <a:spLocks/>
            </p:cNvSpPr>
            <p:nvPr/>
          </p:nvSpPr>
          <p:spPr bwMode="gray">
            <a:xfrm>
              <a:off x="4921363" y="4748394"/>
              <a:ext cx="211174" cy="227811"/>
            </a:xfrm>
            <a:custGeom>
              <a:avLst/>
              <a:gdLst>
                <a:gd name="T0" fmla="*/ 2147483647 w 648"/>
                <a:gd name="T1" fmla="*/ 2147483647 h 732"/>
                <a:gd name="T2" fmla="*/ 2147483647 w 648"/>
                <a:gd name="T3" fmla="*/ 2147483647 h 732"/>
                <a:gd name="T4" fmla="*/ 2147483647 w 648"/>
                <a:gd name="T5" fmla="*/ 2147483647 h 732"/>
                <a:gd name="T6" fmla="*/ 2147483647 w 648"/>
                <a:gd name="T7" fmla="*/ 2147483647 h 732"/>
                <a:gd name="T8" fmla="*/ 2147483647 w 648"/>
                <a:gd name="T9" fmla="*/ 2147483647 h 732"/>
                <a:gd name="T10" fmla="*/ 2147483647 w 648"/>
                <a:gd name="T11" fmla="*/ 2147483647 h 732"/>
                <a:gd name="T12" fmla="*/ 2147483647 w 648"/>
                <a:gd name="T13" fmla="*/ 2147483647 h 732"/>
                <a:gd name="T14" fmla="*/ 2147483647 w 648"/>
                <a:gd name="T15" fmla="*/ 2147483647 h 732"/>
                <a:gd name="T16" fmla="*/ 2147483647 w 648"/>
                <a:gd name="T17" fmla="*/ 2147483647 h 732"/>
                <a:gd name="T18" fmla="*/ 2147483647 w 648"/>
                <a:gd name="T19" fmla="*/ 2147483647 h 732"/>
                <a:gd name="T20" fmla="*/ 2147483647 w 648"/>
                <a:gd name="T21" fmla="*/ 2147483647 h 732"/>
                <a:gd name="T22" fmla="*/ 2147483647 w 648"/>
                <a:gd name="T23" fmla="*/ 2147483647 h 732"/>
                <a:gd name="T24" fmla="*/ 2147483647 w 648"/>
                <a:gd name="T25" fmla="*/ 2147483647 h 732"/>
                <a:gd name="T26" fmla="*/ 2147483647 w 648"/>
                <a:gd name="T27" fmla="*/ 2147483647 h 732"/>
                <a:gd name="T28" fmla="*/ 2147483647 w 648"/>
                <a:gd name="T29" fmla="*/ 2147483647 h 732"/>
                <a:gd name="T30" fmla="*/ 2147483647 w 648"/>
                <a:gd name="T31" fmla="*/ 2147483647 h 732"/>
                <a:gd name="T32" fmla="*/ 2147483647 w 648"/>
                <a:gd name="T33" fmla="*/ 2147483647 h 732"/>
                <a:gd name="T34" fmla="*/ 2147483647 w 648"/>
                <a:gd name="T35" fmla="*/ 2147483647 h 732"/>
                <a:gd name="T36" fmla="*/ 2147483647 w 648"/>
                <a:gd name="T37" fmla="*/ 2147483647 h 732"/>
                <a:gd name="T38" fmla="*/ 2147483647 w 648"/>
                <a:gd name="T39" fmla="*/ 2147483647 h 732"/>
                <a:gd name="T40" fmla="*/ 2147483647 w 648"/>
                <a:gd name="T41" fmla="*/ 2147483647 h 732"/>
                <a:gd name="T42" fmla="*/ 2147483647 w 648"/>
                <a:gd name="T43" fmla="*/ 2147483647 h 732"/>
                <a:gd name="T44" fmla="*/ 2147483647 w 648"/>
                <a:gd name="T45" fmla="*/ 2147483647 h 732"/>
                <a:gd name="T46" fmla="*/ 2147483647 w 648"/>
                <a:gd name="T47" fmla="*/ 2147483647 h 732"/>
                <a:gd name="T48" fmla="*/ 2147483647 w 648"/>
                <a:gd name="T49" fmla="*/ 2147483647 h 732"/>
                <a:gd name="T50" fmla="*/ 2147483647 w 648"/>
                <a:gd name="T51" fmla="*/ 2147483647 h 732"/>
                <a:gd name="T52" fmla="*/ 2147483647 w 648"/>
                <a:gd name="T53" fmla="*/ 2147483647 h 732"/>
                <a:gd name="T54" fmla="*/ 2147483647 w 648"/>
                <a:gd name="T55" fmla="*/ 2147483647 h 732"/>
                <a:gd name="T56" fmla="*/ 2147483647 w 648"/>
                <a:gd name="T57" fmla="*/ 2147483647 h 732"/>
                <a:gd name="T58" fmla="*/ 2147483647 w 648"/>
                <a:gd name="T59" fmla="*/ 2147483647 h 732"/>
                <a:gd name="T60" fmla="*/ 2147483647 w 648"/>
                <a:gd name="T61" fmla="*/ 2147483647 h 732"/>
                <a:gd name="T62" fmla="*/ 2147483647 w 648"/>
                <a:gd name="T63" fmla="*/ 2147483647 h 732"/>
                <a:gd name="T64" fmla="*/ 2147483647 w 648"/>
                <a:gd name="T65" fmla="*/ 2147483647 h 732"/>
                <a:gd name="T66" fmla="*/ 2147483647 w 648"/>
                <a:gd name="T67" fmla="*/ 2147483647 h 732"/>
                <a:gd name="T68" fmla="*/ 2147483647 w 648"/>
                <a:gd name="T69" fmla="*/ 2147483647 h 732"/>
                <a:gd name="T70" fmla="*/ 2147483647 w 648"/>
                <a:gd name="T71" fmla="*/ 2147483647 h 732"/>
                <a:gd name="T72" fmla="*/ 2147483647 w 648"/>
                <a:gd name="T73" fmla="*/ 2147483647 h 732"/>
                <a:gd name="T74" fmla="*/ 2147483647 w 648"/>
                <a:gd name="T75" fmla="*/ 2147483647 h 732"/>
                <a:gd name="T76" fmla="*/ 2147483647 w 648"/>
                <a:gd name="T77" fmla="*/ 2147483647 h 732"/>
                <a:gd name="T78" fmla="*/ 2147483647 w 648"/>
                <a:gd name="T79" fmla="*/ 2147483647 h 732"/>
                <a:gd name="T80" fmla="*/ 2147483647 w 648"/>
                <a:gd name="T81" fmla="*/ 2147483647 h 732"/>
                <a:gd name="T82" fmla="*/ 2147483647 w 648"/>
                <a:gd name="T83" fmla="*/ 2147483647 h 732"/>
                <a:gd name="T84" fmla="*/ 2147483647 w 648"/>
                <a:gd name="T85" fmla="*/ 2147483647 h 732"/>
                <a:gd name="T86" fmla="*/ 2147483647 w 648"/>
                <a:gd name="T87" fmla="*/ 2147483647 h 732"/>
                <a:gd name="T88" fmla="*/ 2147483647 w 648"/>
                <a:gd name="T89" fmla="*/ 2147483647 h 732"/>
                <a:gd name="T90" fmla="*/ 2147483647 w 648"/>
                <a:gd name="T91" fmla="*/ 2147483647 h 732"/>
                <a:gd name="T92" fmla="*/ 2147483647 w 648"/>
                <a:gd name="T93" fmla="*/ 2147483647 h 732"/>
                <a:gd name="T94" fmla="*/ 2147483647 w 648"/>
                <a:gd name="T95" fmla="*/ 0 h 732"/>
                <a:gd name="T96" fmla="*/ 2147483647 w 648"/>
                <a:gd name="T97" fmla="*/ 2147483647 h 732"/>
                <a:gd name="T98" fmla="*/ 2147483647 w 648"/>
                <a:gd name="T99" fmla="*/ 2147483647 h 732"/>
                <a:gd name="T100" fmla="*/ 2147483647 w 648"/>
                <a:gd name="T101" fmla="*/ 2147483647 h 732"/>
                <a:gd name="T102" fmla="*/ 2147483647 w 648"/>
                <a:gd name="T103" fmla="*/ 2147483647 h 732"/>
                <a:gd name="T104" fmla="*/ 2147483647 w 648"/>
                <a:gd name="T105" fmla="*/ 2147483647 h 732"/>
                <a:gd name="T106" fmla="*/ 2147483647 w 648"/>
                <a:gd name="T107" fmla="*/ 2147483647 h 732"/>
                <a:gd name="T108" fmla="*/ 2147483647 w 648"/>
                <a:gd name="T109" fmla="*/ 2147483647 h 732"/>
                <a:gd name="T110" fmla="*/ 2147483647 w 648"/>
                <a:gd name="T111" fmla="*/ 2147483647 h 732"/>
                <a:gd name="T112" fmla="*/ 2147483647 w 648"/>
                <a:gd name="T113" fmla="*/ 2147483647 h 732"/>
                <a:gd name="T114" fmla="*/ 0 w 648"/>
                <a:gd name="T115" fmla="*/ 2147483647 h 732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48"/>
                <a:gd name="T175" fmla="*/ 0 h 732"/>
                <a:gd name="T176" fmla="*/ 648 w 648"/>
                <a:gd name="T177" fmla="*/ 732 h 732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48" h="732">
                  <a:moveTo>
                    <a:pt x="0" y="570"/>
                  </a:moveTo>
                  <a:lnTo>
                    <a:pt x="12" y="576"/>
                  </a:lnTo>
                  <a:lnTo>
                    <a:pt x="18" y="582"/>
                  </a:lnTo>
                  <a:lnTo>
                    <a:pt x="30" y="588"/>
                  </a:lnTo>
                  <a:lnTo>
                    <a:pt x="36" y="594"/>
                  </a:lnTo>
                  <a:lnTo>
                    <a:pt x="42" y="612"/>
                  </a:lnTo>
                  <a:lnTo>
                    <a:pt x="48" y="624"/>
                  </a:lnTo>
                  <a:lnTo>
                    <a:pt x="48" y="642"/>
                  </a:lnTo>
                  <a:lnTo>
                    <a:pt x="54" y="648"/>
                  </a:lnTo>
                  <a:lnTo>
                    <a:pt x="54" y="672"/>
                  </a:lnTo>
                  <a:lnTo>
                    <a:pt x="48" y="684"/>
                  </a:lnTo>
                  <a:lnTo>
                    <a:pt x="48" y="690"/>
                  </a:lnTo>
                  <a:lnTo>
                    <a:pt x="42" y="702"/>
                  </a:lnTo>
                  <a:lnTo>
                    <a:pt x="42" y="732"/>
                  </a:lnTo>
                  <a:lnTo>
                    <a:pt x="120" y="732"/>
                  </a:lnTo>
                  <a:lnTo>
                    <a:pt x="120" y="714"/>
                  </a:lnTo>
                  <a:lnTo>
                    <a:pt x="144" y="714"/>
                  </a:lnTo>
                  <a:lnTo>
                    <a:pt x="144" y="708"/>
                  </a:lnTo>
                  <a:lnTo>
                    <a:pt x="150" y="702"/>
                  </a:lnTo>
                  <a:lnTo>
                    <a:pt x="156" y="690"/>
                  </a:lnTo>
                  <a:lnTo>
                    <a:pt x="162" y="684"/>
                  </a:lnTo>
                  <a:lnTo>
                    <a:pt x="168" y="684"/>
                  </a:lnTo>
                  <a:lnTo>
                    <a:pt x="174" y="678"/>
                  </a:lnTo>
                  <a:lnTo>
                    <a:pt x="186" y="678"/>
                  </a:lnTo>
                  <a:lnTo>
                    <a:pt x="186" y="654"/>
                  </a:lnTo>
                  <a:lnTo>
                    <a:pt x="192" y="642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204" y="612"/>
                  </a:lnTo>
                  <a:lnTo>
                    <a:pt x="216" y="606"/>
                  </a:lnTo>
                  <a:lnTo>
                    <a:pt x="228" y="606"/>
                  </a:lnTo>
                  <a:lnTo>
                    <a:pt x="240" y="612"/>
                  </a:lnTo>
                  <a:lnTo>
                    <a:pt x="246" y="61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300" y="636"/>
                  </a:lnTo>
                  <a:lnTo>
                    <a:pt x="306" y="642"/>
                  </a:lnTo>
                  <a:lnTo>
                    <a:pt x="318" y="648"/>
                  </a:lnTo>
                  <a:lnTo>
                    <a:pt x="324" y="654"/>
                  </a:lnTo>
                  <a:lnTo>
                    <a:pt x="336" y="654"/>
                  </a:lnTo>
                  <a:lnTo>
                    <a:pt x="348" y="648"/>
                  </a:lnTo>
                  <a:lnTo>
                    <a:pt x="354" y="642"/>
                  </a:lnTo>
                  <a:lnTo>
                    <a:pt x="360" y="648"/>
                  </a:lnTo>
                  <a:lnTo>
                    <a:pt x="372" y="648"/>
                  </a:lnTo>
                  <a:lnTo>
                    <a:pt x="384" y="642"/>
                  </a:lnTo>
                  <a:lnTo>
                    <a:pt x="390" y="636"/>
                  </a:lnTo>
                  <a:lnTo>
                    <a:pt x="396" y="624"/>
                  </a:lnTo>
                  <a:lnTo>
                    <a:pt x="402" y="606"/>
                  </a:lnTo>
                  <a:lnTo>
                    <a:pt x="408" y="594"/>
                  </a:lnTo>
                  <a:lnTo>
                    <a:pt x="408" y="582"/>
                  </a:lnTo>
                  <a:lnTo>
                    <a:pt x="426" y="564"/>
                  </a:lnTo>
                  <a:lnTo>
                    <a:pt x="444" y="558"/>
                  </a:lnTo>
                  <a:lnTo>
                    <a:pt x="456" y="552"/>
                  </a:lnTo>
                  <a:lnTo>
                    <a:pt x="462" y="546"/>
                  </a:lnTo>
                  <a:lnTo>
                    <a:pt x="468" y="534"/>
                  </a:lnTo>
                  <a:lnTo>
                    <a:pt x="480" y="528"/>
                  </a:lnTo>
                  <a:lnTo>
                    <a:pt x="480" y="492"/>
                  </a:lnTo>
                  <a:lnTo>
                    <a:pt x="492" y="468"/>
                  </a:lnTo>
                  <a:lnTo>
                    <a:pt x="504" y="462"/>
                  </a:lnTo>
                  <a:lnTo>
                    <a:pt x="510" y="462"/>
                  </a:lnTo>
                  <a:lnTo>
                    <a:pt x="522" y="456"/>
                  </a:lnTo>
                  <a:lnTo>
                    <a:pt x="564" y="414"/>
                  </a:lnTo>
                  <a:lnTo>
                    <a:pt x="576" y="390"/>
                  </a:lnTo>
                  <a:lnTo>
                    <a:pt x="582" y="384"/>
                  </a:lnTo>
                  <a:lnTo>
                    <a:pt x="594" y="384"/>
                  </a:lnTo>
                  <a:lnTo>
                    <a:pt x="606" y="378"/>
                  </a:lnTo>
                  <a:lnTo>
                    <a:pt x="618" y="378"/>
                  </a:lnTo>
                  <a:lnTo>
                    <a:pt x="630" y="354"/>
                  </a:lnTo>
                  <a:lnTo>
                    <a:pt x="648" y="354"/>
                  </a:lnTo>
                  <a:lnTo>
                    <a:pt x="648" y="348"/>
                  </a:lnTo>
                  <a:lnTo>
                    <a:pt x="642" y="336"/>
                  </a:lnTo>
                  <a:lnTo>
                    <a:pt x="624" y="318"/>
                  </a:lnTo>
                  <a:lnTo>
                    <a:pt x="606" y="312"/>
                  </a:lnTo>
                  <a:lnTo>
                    <a:pt x="594" y="312"/>
                  </a:lnTo>
                  <a:lnTo>
                    <a:pt x="576" y="306"/>
                  </a:lnTo>
                  <a:lnTo>
                    <a:pt x="564" y="306"/>
                  </a:lnTo>
                  <a:lnTo>
                    <a:pt x="564" y="276"/>
                  </a:lnTo>
                  <a:lnTo>
                    <a:pt x="546" y="276"/>
                  </a:lnTo>
                  <a:lnTo>
                    <a:pt x="546" y="246"/>
                  </a:lnTo>
                  <a:lnTo>
                    <a:pt x="552" y="240"/>
                  </a:lnTo>
                  <a:lnTo>
                    <a:pt x="546" y="216"/>
                  </a:lnTo>
                  <a:lnTo>
                    <a:pt x="516" y="216"/>
                  </a:lnTo>
                  <a:lnTo>
                    <a:pt x="516" y="186"/>
                  </a:lnTo>
                  <a:lnTo>
                    <a:pt x="510" y="180"/>
                  </a:lnTo>
                  <a:lnTo>
                    <a:pt x="480" y="180"/>
                  </a:lnTo>
                  <a:lnTo>
                    <a:pt x="462" y="162"/>
                  </a:lnTo>
                  <a:lnTo>
                    <a:pt x="450" y="156"/>
                  </a:lnTo>
                  <a:lnTo>
                    <a:pt x="432" y="120"/>
                  </a:lnTo>
                  <a:lnTo>
                    <a:pt x="432" y="96"/>
                  </a:lnTo>
                  <a:lnTo>
                    <a:pt x="426" y="90"/>
                  </a:lnTo>
                  <a:lnTo>
                    <a:pt x="414" y="66"/>
                  </a:lnTo>
                  <a:lnTo>
                    <a:pt x="408" y="60"/>
                  </a:lnTo>
                  <a:lnTo>
                    <a:pt x="396" y="60"/>
                  </a:lnTo>
                  <a:lnTo>
                    <a:pt x="396" y="30"/>
                  </a:lnTo>
                  <a:lnTo>
                    <a:pt x="384" y="18"/>
                  </a:lnTo>
                  <a:lnTo>
                    <a:pt x="378" y="0"/>
                  </a:lnTo>
                  <a:lnTo>
                    <a:pt x="342" y="6"/>
                  </a:lnTo>
                  <a:lnTo>
                    <a:pt x="330" y="18"/>
                  </a:lnTo>
                  <a:lnTo>
                    <a:pt x="306" y="18"/>
                  </a:lnTo>
                  <a:lnTo>
                    <a:pt x="264" y="60"/>
                  </a:lnTo>
                  <a:lnTo>
                    <a:pt x="258" y="60"/>
                  </a:lnTo>
                  <a:lnTo>
                    <a:pt x="258" y="42"/>
                  </a:lnTo>
                  <a:lnTo>
                    <a:pt x="252" y="42"/>
                  </a:lnTo>
                  <a:lnTo>
                    <a:pt x="252" y="24"/>
                  </a:lnTo>
                  <a:lnTo>
                    <a:pt x="246" y="18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168" y="36"/>
                  </a:lnTo>
                  <a:lnTo>
                    <a:pt x="132" y="36"/>
                  </a:lnTo>
                  <a:lnTo>
                    <a:pt x="114" y="42"/>
                  </a:lnTo>
                  <a:lnTo>
                    <a:pt x="78" y="42"/>
                  </a:lnTo>
                  <a:lnTo>
                    <a:pt x="78" y="216"/>
                  </a:lnTo>
                  <a:lnTo>
                    <a:pt x="72" y="222"/>
                  </a:lnTo>
                  <a:lnTo>
                    <a:pt x="78" y="348"/>
                  </a:lnTo>
                  <a:lnTo>
                    <a:pt x="6" y="348"/>
                  </a:lnTo>
                  <a:lnTo>
                    <a:pt x="0" y="57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168" name="Bosnia and Herzegovina" descr="© INSCALE GmbH, 05.05.2010&#10;http://www.presentationload.com/"/>
            <p:cNvSpPr>
              <a:spLocks/>
            </p:cNvSpPr>
            <p:nvPr/>
          </p:nvSpPr>
          <p:spPr bwMode="gray">
            <a:xfrm>
              <a:off x="4812577" y="3172090"/>
              <a:ext cx="87029" cy="73487"/>
            </a:xfrm>
            <a:custGeom>
              <a:avLst/>
              <a:gdLst>
                <a:gd name="T0" fmla="*/ 2147483647 w 264"/>
                <a:gd name="T1" fmla="*/ 2147483647 h 234"/>
                <a:gd name="T2" fmla="*/ 2147483647 w 264"/>
                <a:gd name="T3" fmla="*/ 2147483647 h 234"/>
                <a:gd name="T4" fmla="*/ 2147483647 w 264"/>
                <a:gd name="T5" fmla="*/ 2147483647 h 234"/>
                <a:gd name="T6" fmla="*/ 2147483647 w 264"/>
                <a:gd name="T7" fmla="*/ 2147483647 h 234"/>
                <a:gd name="T8" fmla="*/ 2147483647 w 264"/>
                <a:gd name="T9" fmla="*/ 2147483647 h 234"/>
                <a:gd name="T10" fmla="*/ 2147483647 w 264"/>
                <a:gd name="T11" fmla="*/ 2147483647 h 234"/>
                <a:gd name="T12" fmla="*/ 2147483647 w 264"/>
                <a:gd name="T13" fmla="*/ 2147483647 h 234"/>
                <a:gd name="T14" fmla="*/ 2147483647 w 264"/>
                <a:gd name="T15" fmla="*/ 2147483647 h 234"/>
                <a:gd name="T16" fmla="*/ 2147483647 w 264"/>
                <a:gd name="T17" fmla="*/ 2147483647 h 234"/>
                <a:gd name="T18" fmla="*/ 2147483647 w 264"/>
                <a:gd name="T19" fmla="*/ 2147483647 h 234"/>
                <a:gd name="T20" fmla="*/ 2147483647 w 264"/>
                <a:gd name="T21" fmla="*/ 2147483647 h 234"/>
                <a:gd name="T22" fmla="*/ 2147483647 w 264"/>
                <a:gd name="T23" fmla="*/ 2147483647 h 234"/>
                <a:gd name="T24" fmla="*/ 2147483647 w 264"/>
                <a:gd name="T25" fmla="*/ 2147483647 h 234"/>
                <a:gd name="T26" fmla="*/ 2147483647 w 264"/>
                <a:gd name="T27" fmla="*/ 2147483647 h 234"/>
                <a:gd name="T28" fmla="*/ 2147483647 w 264"/>
                <a:gd name="T29" fmla="*/ 2147483647 h 234"/>
                <a:gd name="T30" fmla="*/ 2147483647 w 264"/>
                <a:gd name="T31" fmla="*/ 2147483647 h 234"/>
                <a:gd name="T32" fmla="*/ 2147483647 w 264"/>
                <a:gd name="T33" fmla="*/ 2147483647 h 234"/>
                <a:gd name="T34" fmla="*/ 2147483647 w 264"/>
                <a:gd name="T35" fmla="*/ 2147483647 h 234"/>
                <a:gd name="T36" fmla="*/ 2147483647 w 264"/>
                <a:gd name="T37" fmla="*/ 2147483647 h 234"/>
                <a:gd name="T38" fmla="*/ 2147483647 w 264"/>
                <a:gd name="T39" fmla="*/ 0 h 234"/>
                <a:gd name="T40" fmla="*/ 2147483647 w 264"/>
                <a:gd name="T41" fmla="*/ 0 h 234"/>
                <a:gd name="T42" fmla="*/ 2147483647 w 264"/>
                <a:gd name="T43" fmla="*/ 2147483647 h 234"/>
                <a:gd name="T44" fmla="*/ 0 w 264"/>
                <a:gd name="T45" fmla="*/ 2147483647 h 234"/>
                <a:gd name="T46" fmla="*/ 2147483647 w 264"/>
                <a:gd name="T47" fmla="*/ 2147483647 h 234"/>
                <a:gd name="T48" fmla="*/ 2147483647 w 264"/>
                <a:gd name="T49" fmla="*/ 2147483647 h 234"/>
                <a:gd name="T50" fmla="*/ 2147483647 w 264"/>
                <a:gd name="T51" fmla="*/ 2147483647 h 234"/>
                <a:gd name="T52" fmla="*/ 2147483647 w 264"/>
                <a:gd name="T53" fmla="*/ 2147483647 h 234"/>
                <a:gd name="T54" fmla="*/ 2147483647 w 264"/>
                <a:gd name="T55" fmla="*/ 2147483647 h 234"/>
                <a:gd name="T56" fmla="*/ 2147483647 w 264"/>
                <a:gd name="T57" fmla="*/ 2147483647 h 234"/>
                <a:gd name="T58" fmla="*/ 2147483647 w 264"/>
                <a:gd name="T59" fmla="*/ 2147483647 h 234"/>
                <a:gd name="T60" fmla="*/ 2147483647 w 264"/>
                <a:gd name="T61" fmla="*/ 2147483647 h 234"/>
                <a:gd name="T62" fmla="*/ 2147483647 w 264"/>
                <a:gd name="T63" fmla="*/ 2147483647 h 234"/>
                <a:gd name="T64" fmla="*/ 2147483647 w 264"/>
                <a:gd name="T65" fmla="*/ 2147483647 h 234"/>
                <a:gd name="T66" fmla="*/ 2147483647 w 264"/>
                <a:gd name="T67" fmla="*/ 2147483647 h 234"/>
                <a:gd name="T68" fmla="*/ 2147483647 w 264"/>
                <a:gd name="T69" fmla="*/ 2147483647 h 234"/>
                <a:gd name="T70" fmla="*/ 2147483647 w 264"/>
                <a:gd name="T71" fmla="*/ 2147483647 h 234"/>
                <a:gd name="T72" fmla="*/ 2147483647 w 264"/>
                <a:gd name="T73" fmla="*/ 2147483647 h 234"/>
                <a:gd name="T74" fmla="*/ 2147483647 w 264"/>
                <a:gd name="T75" fmla="*/ 2147483647 h 234"/>
                <a:gd name="T76" fmla="*/ 2147483647 w 264"/>
                <a:gd name="T77" fmla="*/ 2147483647 h 234"/>
                <a:gd name="T78" fmla="*/ 2147483647 w 264"/>
                <a:gd name="T79" fmla="*/ 2147483647 h 234"/>
                <a:gd name="T80" fmla="*/ 2147483647 w 264"/>
                <a:gd name="T81" fmla="*/ 2147483647 h 234"/>
                <a:gd name="T82" fmla="*/ 2147483647 w 264"/>
                <a:gd name="T83" fmla="*/ 2147483647 h 234"/>
                <a:gd name="T84" fmla="*/ 2147483647 w 264"/>
                <a:gd name="T85" fmla="*/ 2147483647 h 234"/>
                <a:gd name="T86" fmla="*/ 2147483647 w 264"/>
                <a:gd name="T87" fmla="*/ 2147483647 h 234"/>
                <a:gd name="T88" fmla="*/ 2147483647 w 264"/>
                <a:gd name="T89" fmla="*/ 2147483647 h 234"/>
                <a:gd name="T90" fmla="*/ 2147483647 w 264"/>
                <a:gd name="T91" fmla="*/ 2147483647 h 234"/>
                <a:gd name="T92" fmla="*/ 2147483647 w 264"/>
                <a:gd name="T93" fmla="*/ 2147483647 h 234"/>
                <a:gd name="T94" fmla="*/ 2147483647 w 264"/>
                <a:gd name="T95" fmla="*/ 2147483647 h 234"/>
                <a:gd name="T96" fmla="*/ 2147483647 w 264"/>
                <a:gd name="T97" fmla="*/ 2147483647 h 234"/>
                <a:gd name="T98" fmla="*/ 2147483647 w 264"/>
                <a:gd name="T99" fmla="*/ 2147483647 h 234"/>
                <a:gd name="T100" fmla="*/ 2147483647 w 264"/>
                <a:gd name="T101" fmla="*/ 2147483647 h 234"/>
                <a:gd name="T102" fmla="*/ 2147483647 w 264"/>
                <a:gd name="T103" fmla="*/ 2147483647 h 234"/>
                <a:gd name="T104" fmla="*/ 2147483647 w 264"/>
                <a:gd name="T105" fmla="*/ 2147483647 h 234"/>
                <a:gd name="T106" fmla="*/ 2147483647 w 264"/>
                <a:gd name="T107" fmla="*/ 2147483647 h 234"/>
                <a:gd name="T108" fmla="*/ 2147483647 w 264"/>
                <a:gd name="T109" fmla="*/ 2147483647 h 234"/>
                <a:gd name="T110" fmla="*/ 2147483647 w 264"/>
                <a:gd name="T111" fmla="*/ 2147483647 h 234"/>
                <a:gd name="T112" fmla="*/ 2147483647 w 264"/>
                <a:gd name="T113" fmla="*/ 2147483647 h 234"/>
                <a:gd name="T114" fmla="*/ 2147483647 w 264"/>
                <a:gd name="T115" fmla="*/ 2147483647 h 234"/>
                <a:gd name="T116" fmla="*/ 2147483647 w 264"/>
                <a:gd name="T117" fmla="*/ 2147483647 h 234"/>
                <a:gd name="T118" fmla="*/ 2147483647 w 264"/>
                <a:gd name="T119" fmla="*/ 2147483647 h 234"/>
                <a:gd name="T120" fmla="*/ 2147483647 w 264"/>
                <a:gd name="T121" fmla="*/ 2147483647 h 234"/>
                <a:gd name="T122" fmla="*/ 2147483647 w 264"/>
                <a:gd name="T123" fmla="*/ 2147483647 h 234"/>
                <a:gd name="T124" fmla="*/ 2147483647 w 264"/>
                <a:gd name="T125" fmla="*/ 2147483647 h 23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64"/>
                <a:gd name="T190" fmla="*/ 0 h 234"/>
                <a:gd name="T191" fmla="*/ 264 w 264"/>
                <a:gd name="T192" fmla="*/ 234 h 23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64" h="234">
                  <a:moveTo>
                    <a:pt x="246" y="78"/>
                  </a:moveTo>
                  <a:lnTo>
                    <a:pt x="228" y="78"/>
                  </a:lnTo>
                  <a:lnTo>
                    <a:pt x="228" y="60"/>
                  </a:lnTo>
                  <a:lnTo>
                    <a:pt x="246" y="42"/>
                  </a:lnTo>
                  <a:lnTo>
                    <a:pt x="246" y="30"/>
                  </a:lnTo>
                  <a:lnTo>
                    <a:pt x="234" y="30"/>
                  </a:lnTo>
                  <a:lnTo>
                    <a:pt x="222" y="36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204" y="30"/>
                  </a:lnTo>
                  <a:lnTo>
                    <a:pt x="192" y="12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20" y="6"/>
                  </a:lnTo>
                  <a:lnTo>
                    <a:pt x="108" y="12"/>
                  </a:lnTo>
                  <a:lnTo>
                    <a:pt x="90" y="6"/>
                  </a:lnTo>
                  <a:lnTo>
                    <a:pt x="66" y="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8" y="24"/>
                  </a:lnTo>
                  <a:lnTo>
                    <a:pt x="0" y="30"/>
                  </a:lnTo>
                  <a:lnTo>
                    <a:pt x="12" y="42"/>
                  </a:lnTo>
                  <a:lnTo>
                    <a:pt x="30" y="48"/>
                  </a:lnTo>
                  <a:lnTo>
                    <a:pt x="30" y="60"/>
                  </a:lnTo>
                  <a:lnTo>
                    <a:pt x="36" y="60"/>
                  </a:lnTo>
                  <a:lnTo>
                    <a:pt x="42" y="66"/>
                  </a:lnTo>
                  <a:lnTo>
                    <a:pt x="42" y="84"/>
                  </a:lnTo>
                  <a:lnTo>
                    <a:pt x="60" y="90"/>
                  </a:lnTo>
                  <a:lnTo>
                    <a:pt x="72" y="120"/>
                  </a:lnTo>
                  <a:lnTo>
                    <a:pt x="84" y="132"/>
                  </a:lnTo>
                  <a:lnTo>
                    <a:pt x="96" y="138"/>
                  </a:lnTo>
                  <a:lnTo>
                    <a:pt x="114" y="150"/>
                  </a:lnTo>
                  <a:lnTo>
                    <a:pt x="126" y="156"/>
                  </a:lnTo>
                  <a:lnTo>
                    <a:pt x="132" y="168"/>
                  </a:lnTo>
                  <a:lnTo>
                    <a:pt x="132" y="174"/>
                  </a:lnTo>
                  <a:lnTo>
                    <a:pt x="126" y="180"/>
                  </a:lnTo>
                  <a:lnTo>
                    <a:pt x="138" y="180"/>
                  </a:lnTo>
                  <a:lnTo>
                    <a:pt x="156" y="198"/>
                  </a:lnTo>
                  <a:lnTo>
                    <a:pt x="162" y="210"/>
                  </a:lnTo>
                  <a:lnTo>
                    <a:pt x="174" y="216"/>
                  </a:lnTo>
                  <a:lnTo>
                    <a:pt x="192" y="234"/>
                  </a:lnTo>
                  <a:lnTo>
                    <a:pt x="210" y="204"/>
                  </a:lnTo>
                  <a:lnTo>
                    <a:pt x="198" y="198"/>
                  </a:lnTo>
                  <a:lnTo>
                    <a:pt x="192" y="198"/>
                  </a:lnTo>
                  <a:lnTo>
                    <a:pt x="186" y="192"/>
                  </a:lnTo>
                  <a:lnTo>
                    <a:pt x="186" y="186"/>
                  </a:lnTo>
                  <a:lnTo>
                    <a:pt x="192" y="180"/>
                  </a:lnTo>
                  <a:lnTo>
                    <a:pt x="198" y="180"/>
                  </a:lnTo>
                  <a:lnTo>
                    <a:pt x="204" y="168"/>
                  </a:lnTo>
                  <a:lnTo>
                    <a:pt x="204" y="162"/>
                  </a:lnTo>
                  <a:lnTo>
                    <a:pt x="210" y="156"/>
                  </a:lnTo>
                  <a:lnTo>
                    <a:pt x="228" y="156"/>
                  </a:lnTo>
                  <a:lnTo>
                    <a:pt x="228" y="132"/>
                  </a:lnTo>
                  <a:lnTo>
                    <a:pt x="258" y="132"/>
                  </a:lnTo>
                  <a:lnTo>
                    <a:pt x="258" y="126"/>
                  </a:lnTo>
                  <a:lnTo>
                    <a:pt x="252" y="114"/>
                  </a:lnTo>
                  <a:lnTo>
                    <a:pt x="240" y="102"/>
                  </a:lnTo>
                  <a:lnTo>
                    <a:pt x="264" y="96"/>
                  </a:lnTo>
                  <a:lnTo>
                    <a:pt x="258" y="84"/>
                  </a:lnTo>
                  <a:lnTo>
                    <a:pt x="252" y="78"/>
                  </a:lnTo>
                  <a:lnTo>
                    <a:pt x="246" y="7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169" name="Bolivia" descr="© INSCALE GmbH, 05.05.2010&#10;http://www.presentationload.com/"/>
            <p:cNvSpPr>
              <a:spLocks/>
            </p:cNvSpPr>
            <p:nvPr/>
          </p:nvSpPr>
          <p:spPr bwMode="gray">
            <a:xfrm>
              <a:off x="2869779" y="4547528"/>
              <a:ext cx="289244" cy="329468"/>
            </a:xfrm>
            <a:custGeom>
              <a:avLst/>
              <a:gdLst>
                <a:gd name="T0" fmla="*/ 2147483647 w 894"/>
                <a:gd name="T1" fmla="*/ 2147483647 h 1056"/>
                <a:gd name="T2" fmla="*/ 2147483647 w 894"/>
                <a:gd name="T3" fmla="*/ 2147483647 h 1056"/>
                <a:gd name="T4" fmla="*/ 2147483647 w 894"/>
                <a:gd name="T5" fmla="*/ 2147483647 h 1056"/>
                <a:gd name="T6" fmla="*/ 2147483647 w 894"/>
                <a:gd name="T7" fmla="*/ 2147483647 h 1056"/>
                <a:gd name="T8" fmla="*/ 2147483647 w 894"/>
                <a:gd name="T9" fmla="*/ 2147483647 h 1056"/>
                <a:gd name="T10" fmla="*/ 2147483647 w 894"/>
                <a:gd name="T11" fmla="*/ 2147483647 h 1056"/>
                <a:gd name="T12" fmla="*/ 2147483647 w 894"/>
                <a:gd name="T13" fmla="*/ 2147483647 h 1056"/>
                <a:gd name="T14" fmla="*/ 2147483647 w 894"/>
                <a:gd name="T15" fmla="*/ 2147483647 h 1056"/>
                <a:gd name="T16" fmla="*/ 2147483647 w 894"/>
                <a:gd name="T17" fmla="*/ 2147483647 h 1056"/>
                <a:gd name="T18" fmla="*/ 2147483647 w 894"/>
                <a:gd name="T19" fmla="*/ 2147483647 h 1056"/>
                <a:gd name="T20" fmla="*/ 2147483647 w 894"/>
                <a:gd name="T21" fmla="*/ 2147483647 h 1056"/>
                <a:gd name="T22" fmla="*/ 2147483647 w 894"/>
                <a:gd name="T23" fmla="*/ 2147483647 h 1056"/>
                <a:gd name="T24" fmla="*/ 2147483647 w 894"/>
                <a:gd name="T25" fmla="*/ 2147483647 h 1056"/>
                <a:gd name="T26" fmla="*/ 2147483647 w 894"/>
                <a:gd name="T27" fmla="*/ 2147483647 h 1056"/>
                <a:gd name="T28" fmla="*/ 2147483647 w 894"/>
                <a:gd name="T29" fmla="*/ 2147483647 h 1056"/>
                <a:gd name="T30" fmla="*/ 2147483647 w 894"/>
                <a:gd name="T31" fmla="*/ 2147483647 h 1056"/>
                <a:gd name="T32" fmla="*/ 2147483647 w 894"/>
                <a:gd name="T33" fmla="*/ 2147483647 h 1056"/>
                <a:gd name="T34" fmla="*/ 2147483647 w 894"/>
                <a:gd name="T35" fmla="*/ 2147483647 h 1056"/>
                <a:gd name="T36" fmla="*/ 2147483647 w 894"/>
                <a:gd name="T37" fmla="*/ 2147483647 h 1056"/>
                <a:gd name="T38" fmla="*/ 2147483647 w 894"/>
                <a:gd name="T39" fmla="*/ 2147483647 h 1056"/>
                <a:gd name="T40" fmla="*/ 2147483647 w 894"/>
                <a:gd name="T41" fmla="*/ 2147483647 h 1056"/>
                <a:gd name="T42" fmla="*/ 2147483647 w 894"/>
                <a:gd name="T43" fmla="*/ 2147483647 h 1056"/>
                <a:gd name="T44" fmla="*/ 2147483647 w 894"/>
                <a:gd name="T45" fmla="*/ 2147483647 h 1056"/>
                <a:gd name="T46" fmla="*/ 2147483647 w 894"/>
                <a:gd name="T47" fmla="*/ 2147483647 h 1056"/>
                <a:gd name="T48" fmla="*/ 0 w 894"/>
                <a:gd name="T49" fmla="*/ 2147483647 h 1056"/>
                <a:gd name="T50" fmla="*/ 2147483647 w 894"/>
                <a:gd name="T51" fmla="*/ 2147483647 h 1056"/>
                <a:gd name="T52" fmla="*/ 2147483647 w 894"/>
                <a:gd name="T53" fmla="*/ 2147483647 h 1056"/>
                <a:gd name="T54" fmla="*/ 2147483647 w 894"/>
                <a:gd name="T55" fmla="*/ 2147483647 h 1056"/>
                <a:gd name="T56" fmla="*/ 2147483647 w 894"/>
                <a:gd name="T57" fmla="*/ 2147483647 h 1056"/>
                <a:gd name="T58" fmla="*/ 2147483647 w 894"/>
                <a:gd name="T59" fmla="*/ 2147483647 h 1056"/>
                <a:gd name="T60" fmla="*/ 2147483647 w 894"/>
                <a:gd name="T61" fmla="*/ 2147483647 h 1056"/>
                <a:gd name="T62" fmla="*/ 2147483647 w 894"/>
                <a:gd name="T63" fmla="*/ 2147483647 h 1056"/>
                <a:gd name="T64" fmla="*/ 2147483647 w 894"/>
                <a:gd name="T65" fmla="*/ 2147483647 h 1056"/>
                <a:gd name="T66" fmla="*/ 2147483647 w 894"/>
                <a:gd name="T67" fmla="*/ 2147483647 h 1056"/>
                <a:gd name="T68" fmla="*/ 2147483647 w 894"/>
                <a:gd name="T69" fmla="*/ 2147483647 h 1056"/>
                <a:gd name="T70" fmla="*/ 2147483647 w 894"/>
                <a:gd name="T71" fmla="*/ 2147483647 h 1056"/>
                <a:gd name="T72" fmla="*/ 2147483647 w 894"/>
                <a:gd name="T73" fmla="*/ 2147483647 h 1056"/>
                <a:gd name="T74" fmla="*/ 2147483647 w 894"/>
                <a:gd name="T75" fmla="*/ 2147483647 h 1056"/>
                <a:gd name="T76" fmla="*/ 2147483647 w 894"/>
                <a:gd name="T77" fmla="*/ 2147483647 h 1056"/>
                <a:gd name="T78" fmla="*/ 2147483647 w 894"/>
                <a:gd name="T79" fmla="*/ 2147483647 h 1056"/>
                <a:gd name="T80" fmla="*/ 2147483647 w 894"/>
                <a:gd name="T81" fmla="*/ 2147483647 h 1056"/>
                <a:gd name="T82" fmla="*/ 2147483647 w 894"/>
                <a:gd name="T83" fmla="*/ 2147483647 h 1056"/>
                <a:gd name="T84" fmla="*/ 2147483647 w 894"/>
                <a:gd name="T85" fmla="*/ 2147483647 h 1056"/>
                <a:gd name="T86" fmla="*/ 2147483647 w 894"/>
                <a:gd name="T87" fmla="*/ 2147483647 h 1056"/>
                <a:gd name="T88" fmla="*/ 2147483647 w 894"/>
                <a:gd name="T89" fmla="*/ 2147483647 h 1056"/>
                <a:gd name="T90" fmla="*/ 2147483647 w 894"/>
                <a:gd name="T91" fmla="*/ 2147483647 h 1056"/>
                <a:gd name="T92" fmla="*/ 2147483647 w 894"/>
                <a:gd name="T93" fmla="*/ 2147483647 h 1056"/>
                <a:gd name="T94" fmla="*/ 2147483647 w 894"/>
                <a:gd name="T95" fmla="*/ 2147483647 h 1056"/>
                <a:gd name="T96" fmla="*/ 2147483647 w 894"/>
                <a:gd name="T97" fmla="*/ 2147483647 h 1056"/>
                <a:gd name="T98" fmla="*/ 2147483647 w 894"/>
                <a:gd name="T99" fmla="*/ 2147483647 h 1056"/>
                <a:gd name="T100" fmla="*/ 2147483647 w 894"/>
                <a:gd name="T101" fmla="*/ 2147483647 h 105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94"/>
                <a:gd name="T154" fmla="*/ 0 h 1056"/>
                <a:gd name="T155" fmla="*/ 894 w 894"/>
                <a:gd name="T156" fmla="*/ 1056 h 105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94" h="1056">
                  <a:moveTo>
                    <a:pt x="882" y="744"/>
                  </a:moveTo>
                  <a:lnTo>
                    <a:pt x="882" y="738"/>
                  </a:lnTo>
                  <a:lnTo>
                    <a:pt x="888" y="732"/>
                  </a:lnTo>
                  <a:lnTo>
                    <a:pt x="888" y="708"/>
                  </a:lnTo>
                  <a:lnTo>
                    <a:pt x="894" y="696"/>
                  </a:lnTo>
                  <a:lnTo>
                    <a:pt x="894" y="684"/>
                  </a:lnTo>
                  <a:lnTo>
                    <a:pt x="882" y="648"/>
                  </a:lnTo>
                  <a:lnTo>
                    <a:pt x="876" y="636"/>
                  </a:lnTo>
                  <a:lnTo>
                    <a:pt x="864" y="624"/>
                  </a:lnTo>
                  <a:lnTo>
                    <a:pt x="840" y="612"/>
                  </a:lnTo>
                  <a:lnTo>
                    <a:pt x="834" y="606"/>
                  </a:lnTo>
                  <a:lnTo>
                    <a:pt x="822" y="600"/>
                  </a:lnTo>
                  <a:lnTo>
                    <a:pt x="816" y="588"/>
                  </a:lnTo>
                  <a:lnTo>
                    <a:pt x="816" y="576"/>
                  </a:lnTo>
                  <a:lnTo>
                    <a:pt x="822" y="558"/>
                  </a:lnTo>
                  <a:lnTo>
                    <a:pt x="822" y="546"/>
                  </a:lnTo>
                  <a:lnTo>
                    <a:pt x="828" y="540"/>
                  </a:lnTo>
                  <a:lnTo>
                    <a:pt x="828" y="534"/>
                  </a:lnTo>
                  <a:lnTo>
                    <a:pt x="768" y="534"/>
                  </a:lnTo>
                  <a:lnTo>
                    <a:pt x="720" y="528"/>
                  </a:lnTo>
                  <a:lnTo>
                    <a:pt x="690" y="522"/>
                  </a:lnTo>
                  <a:lnTo>
                    <a:pt x="684" y="516"/>
                  </a:lnTo>
                  <a:lnTo>
                    <a:pt x="684" y="474"/>
                  </a:lnTo>
                  <a:lnTo>
                    <a:pt x="690" y="462"/>
                  </a:lnTo>
                  <a:lnTo>
                    <a:pt x="684" y="456"/>
                  </a:lnTo>
                  <a:lnTo>
                    <a:pt x="672" y="450"/>
                  </a:lnTo>
                  <a:lnTo>
                    <a:pt x="666" y="438"/>
                  </a:lnTo>
                  <a:lnTo>
                    <a:pt x="660" y="432"/>
                  </a:lnTo>
                  <a:lnTo>
                    <a:pt x="660" y="426"/>
                  </a:lnTo>
                  <a:lnTo>
                    <a:pt x="678" y="426"/>
                  </a:lnTo>
                  <a:lnTo>
                    <a:pt x="678" y="396"/>
                  </a:lnTo>
                  <a:lnTo>
                    <a:pt x="672" y="384"/>
                  </a:lnTo>
                  <a:lnTo>
                    <a:pt x="666" y="378"/>
                  </a:lnTo>
                  <a:lnTo>
                    <a:pt x="660" y="366"/>
                  </a:lnTo>
                  <a:lnTo>
                    <a:pt x="660" y="336"/>
                  </a:lnTo>
                  <a:lnTo>
                    <a:pt x="654" y="330"/>
                  </a:lnTo>
                  <a:lnTo>
                    <a:pt x="648" y="318"/>
                  </a:lnTo>
                  <a:lnTo>
                    <a:pt x="624" y="306"/>
                  </a:lnTo>
                  <a:lnTo>
                    <a:pt x="564" y="306"/>
                  </a:lnTo>
                  <a:lnTo>
                    <a:pt x="558" y="300"/>
                  </a:lnTo>
                  <a:lnTo>
                    <a:pt x="546" y="294"/>
                  </a:lnTo>
                  <a:lnTo>
                    <a:pt x="534" y="282"/>
                  </a:lnTo>
                  <a:lnTo>
                    <a:pt x="534" y="276"/>
                  </a:lnTo>
                  <a:lnTo>
                    <a:pt x="510" y="276"/>
                  </a:lnTo>
                  <a:lnTo>
                    <a:pt x="498" y="270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8" y="240"/>
                  </a:lnTo>
                  <a:lnTo>
                    <a:pt x="468" y="234"/>
                  </a:lnTo>
                  <a:lnTo>
                    <a:pt x="456" y="234"/>
                  </a:lnTo>
                  <a:lnTo>
                    <a:pt x="450" y="240"/>
                  </a:lnTo>
                  <a:lnTo>
                    <a:pt x="438" y="240"/>
                  </a:lnTo>
                  <a:lnTo>
                    <a:pt x="426" y="234"/>
                  </a:lnTo>
                  <a:lnTo>
                    <a:pt x="420" y="222"/>
                  </a:lnTo>
                  <a:lnTo>
                    <a:pt x="414" y="228"/>
                  </a:lnTo>
                  <a:lnTo>
                    <a:pt x="384" y="228"/>
                  </a:lnTo>
                  <a:lnTo>
                    <a:pt x="372" y="222"/>
                  </a:lnTo>
                  <a:lnTo>
                    <a:pt x="366" y="216"/>
                  </a:lnTo>
                  <a:lnTo>
                    <a:pt x="366" y="210"/>
                  </a:lnTo>
                  <a:lnTo>
                    <a:pt x="360" y="198"/>
                  </a:lnTo>
                  <a:lnTo>
                    <a:pt x="360" y="192"/>
                  </a:lnTo>
                  <a:lnTo>
                    <a:pt x="354" y="186"/>
                  </a:lnTo>
                  <a:lnTo>
                    <a:pt x="330" y="186"/>
                  </a:lnTo>
                  <a:lnTo>
                    <a:pt x="324" y="156"/>
                  </a:lnTo>
                  <a:lnTo>
                    <a:pt x="318" y="150"/>
                  </a:lnTo>
                  <a:lnTo>
                    <a:pt x="306" y="144"/>
                  </a:lnTo>
                  <a:lnTo>
                    <a:pt x="294" y="132"/>
                  </a:lnTo>
                  <a:lnTo>
                    <a:pt x="294" y="120"/>
                  </a:lnTo>
                  <a:lnTo>
                    <a:pt x="300" y="114"/>
                  </a:lnTo>
                  <a:lnTo>
                    <a:pt x="300" y="96"/>
                  </a:lnTo>
                  <a:lnTo>
                    <a:pt x="294" y="84"/>
                  </a:lnTo>
                  <a:lnTo>
                    <a:pt x="288" y="78"/>
                  </a:lnTo>
                  <a:lnTo>
                    <a:pt x="288" y="48"/>
                  </a:lnTo>
                  <a:lnTo>
                    <a:pt x="294" y="42"/>
                  </a:lnTo>
                  <a:lnTo>
                    <a:pt x="294" y="36"/>
                  </a:lnTo>
                  <a:lnTo>
                    <a:pt x="300" y="30"/>
                  </a:lnTo>
                  <a:lnTo>
                    <a:pt x="300" y="0"/>
                  </a:lnTo>
                  <a:lnTo>
                    <a:pt x="288" y="0"/>
                  </a:lnTo>
                  <a:lnTo>
                    <a:pt x="276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58" y="0"/>
                  </a:lnTo>
                  <a:lnTo>
                    <a:pt x="246" y="12"/>
                  </a:lnTo>
                  <a:lnTo>
                    <a:pt x="210" y="12"/>
                  </a:lnTo>
                  <a:lnTo>
                    <a:pt x="198" y="18"/>
                  </a:lnTo>
                  <a:lnTo>
                    <a:pt x="192" y="24"/>
                  </a:lnTo>
                  <a:lnTo>
                    <a:pt x="186" y="36"/>
                  </a:lnTo>
                  <a:lnTo>
                    <a:pt x="180" y="42"/>
                  </a:lnTo>
                  <a:lnTo>
                    <a:pt x="180" y="48"/>
                  </a:lnTo>
                  <a:lnTo>
                    <a:pt x="144" y="48"/>
                  </a:lnTo>
                  <a:lnTo>
                    <a:pt x="138" y="78"/>
                  </a:lnTo>
                  <a:lnTo>
                    <a:pt x="102" y="78"/>
                  </a:lnTo>
                  <a:lnTo>
                    <a:pt x="90" y="96"/>
                  </a:lnTo>
                  <a:lnTo>
                    <a:pt x="84" y="102"/>
                  </a:lnTo>
                  <a:lnTo>
                    <a:pt x="60" y="114"/>
                  </a:lnTo>
                  <a:lnTo>
                    <a:pt x="42" y="114"/>
                  </a:lnTo>
                  <a:lnTo>
                    <a:pt x="42" y="108"/>
                  </a:lnTo>
                  <a:lnTo>
                    <a:pt x="36" y="102"/>
                  </a:lnTo>
                  <a:lnTo>
                    <a:pt x="12" y="102"/>
                  </a:lnTo>
                  <a:lnTo>
                    <a:pt x="0" y="96"/>
                  </a:lnTo>
                  <a:lnTo>
                    <a:pt x="0" y="114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62"/>
                  </a:lnTo>
                  <a:lnTo>
                    <a:pt x="42" y="174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66" y="228"/>
                  </a:lnTo>
                  <a:lnTo>
                    <a:pt x="60" y="234"/>
                  </a:lnTo>
                  <a:lnTo>
                    <a:pt x="54" y="246"/>
                  </a:lnTo>
                  <a:lnTo>
                    <a:pt x="48" y="252"/>
                  </a:lnTo>
                  <a:lnTo>
                    <a:pt x="60" y="300"/>
                  </a:lnTo>
                  <a:lnTo>
                    <a:pt x="42" y="330"/>
                  </a:lnTo>
                  <a:lnTo>
                    <a:pt x="48" y="330"/>
                  </a:lnTo>
                  <a:lnTo>
                    <a:pt x="60" y="342"/>
                  </a:lnTo>
                  <a:lnTo>
                    <a:pt x="66" y="354"/>
                  </a:lnTo>
                  <a:lnTo>
                    <a:pt x="66" y="360"/>
                  </a:lnTo>
                  <a:lnTo>
                    <a:pt x="60" y="372"/>
                  </a:lnTo>
                  <a:lnTo>
                    <a:pt x="48" y="384"/>
                  </a:lnTo>
                  <a:lnTo>
                    <a:pt x="36" y="408"/>
                  </a:lnTo>
                  <a:lnTo>
                    <a:pt x="42" y="426"/>
                  </a:lnTo>
                  <a:lnTo>
                    <a:pt x="48" y="438"/>
                  </a:lnTo>
                  <a:lnTo>
                    <a:pt x="54" y="444"/>
                  </a:lnTo>
                  <a:lnTo>
                    <a:pt x="54" y="450"/>
                  </a:lnTo>
                  <a:lnTo>
                    <a:pt x="42" y="468"/>
                  </a:lnTo>
                  <a:lnTo>
                    <a:pt x="54" y="480"/>
                  </a:lnTo>
                  <a:lnTo>
                    <a:pt x="78" y="498"/>
                  </a:lnTo>
                  <a:lnTo>
                    <a:pt x="78" y="516"/>
                  </a:lnTo>
                  <a:lnTo>
                    <a:pt x="102" y="528"/>
                  </a:lnTo>
                  <a:lnTo>
                    <a:pt x="90" y="558"/>
                  </a:lnTo>
                  <a:lnTo>
                    <a:pt x="78" y="546"/>
                  </a:lnTo>
                  <a:lnTo>
                    <a:pt x="78" y="558"/>
                  </a:lnTo>
                  <a:lnTo>
                    <a:pt x="66" y="582"/>
                  </a:lnTo>
                  <a:lnTo>
                    <a:pt x="54" y="588"/>
                  </a:lnTo>
                  <a:lnTo>
                    <a:pt x="36" y="606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60" y="666"/>
                  </a:lnTo>
                  <a:lnTo>
                    <a:pt x="84" y="666"/>
                  </a:lnTo>
                  <a:lnTo>
                    <a:pt x="96" y="744"/>
                  </a:lnTo>
                  <a:lnTo>
                    <a:pt x="108" y="750"/>
                  </a:lnTo>
                  <a:lnTo>
                    <a:pt x="114" y="750"/>
                  </a:lnTo>
                  <a:lnTo>
                    <a:pt x="138" y="762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44" y="822"/>
                  </a:lnTo>
                  <a:lnTo>
                    <a:pt x="138" y="828"/>
                  </a:lnTo>
                  <a:lnTo>
                    <a:pt x="132" y="840"/>
                  </a:lnTo>
                  <a:lnTo>
                    <a:pt x="126" y="846"/>
                  </a:lnTo>
                  <a:lnTo>
                    <a:pt x="126" y="858"/>
                  </a:lnTo>
                  <a:lnTo>
                    <a:pt x="132" y="870"/>
                  </a:lnTo>
                  <a:lnTo>
                    <a:pt x="138" y="876"/>
                  </a:lnTo>
                  <a:lnTo>
                    <a:pt x="138" y="900"/>
                  </a:lnTo>
                  <a:lnTo>
                    <a:pt x="144" y="900"/>
                  </a:lnTo>
                  <a:lnTo>
                    <a:pt x="150" y="906"/>
                  </a:lnTo>
                  <a:lnTo>
                    <a:pt x="162" y="912"/>
                  </a:lnTo>
                  <a:lnTo>
                    <a:pt x="168" y="918"/>
                  </a:lnTo>
                  <a:lnTo>
                    <a:pt x="180" y="924"/>
                  </a:lnTo>
                  <a:lnTo>
                    <a:pt x="186" y="930"/>
                  </a:lnTo>
                  <a:lnTo>
                    <a:pt x="186" y="996"/>
                  </a:lnTo>
                  <a:lnTo>
                    <a:pt x="210" y="1020"/>
                  </a:lnTo>
                  <a:lnTo>
                    <a:pt x="210" y="1044"/>
                  </a:lnTo>
                  <a:lnTo>
                    <a:pt x="216" y="1056"/>
                  </a:lnTo>
                  <a:lnTo>
                    <a:pt x="270" y="1056"/>
                  </a:lnTo>
                  <a:lnTo>
                    <a:pt x="270" y="1026"/>
                  </a:lnTo>
                  <a:lnTo>
                    <a:pt x="282" y="1026"/>
                  </a:lnTo>
                  <a:lnTo>
                    <a:pt x="282" y="1008"/>
                  </a:lnTo>
                  <a:lnTo>
                    <a:pt x="306" y="1002"/>
                  </a:lnTo>
                  <a:lnTo>
                    <a:pt x="318" y="978"/>
                  </a:lnTo>
                  <a:lnTo>
                    <a:pt x="324" y="984"/>
                  </a:lnTo>
                  <a:lnTo>
                    <a:pt x="348" y="996"/>
                  </a:lnTo>
                  <a:lnTo>
                    <a:pt x="360" y="996"/>
                  </a:lnTo>
                  <a:lnTo>
                    <a:pt x="378" y="1002"/>
                  </a:lnTo>
                  <a:lnTo>
                    <a:pt x="432" y="1002"/>
                  </a:lnTo>
                  <a:lnTo>
                    <a:pt x="462" y="1050"/>
                  </a:lnTo>
                  <a:lnTo>
                    <a:pt x="474" y="996"/>
                  </a:lnTo>
                  <a:lnTo>
                    <a:pt x="546" y="990"/>
                  </a:lnTo>
                  <a:lnTo>
                    <a:pt x="582" y="1014"/>
                  </a:lnTo>
                  <a:lnTo>
                    <a:pt x="582" y="996"/>
                  </a:lnTo>
                  <a:lnTo>
                    <a:pt x="594" y="924"/>
                  </a:lnTo>
                  <a:lnTo>
                    <a:pt x="594" y="900"/>
                  </a:lnTo>
                  <a:lnTo>
                    <a:pt x="588" y="894"/>
                  </a:lnTo>
                  <a:lnTo>
                    <a:pt x="588" y="888"/>
                  </a:lnTo>
                  <a:lnTo>
                    <a:pt x="576" y="864"/>
                  </a:lnTo>
                  <a:lnTo>
                    <a:pt x="576" y="852"/>
                  </a:lnTo>
                  <a:lnTo>
                    <a:pt x="582" y="846"/>
                  </a:lnTo>
                  <a:lnTo>
                    <a:pt x="594" y="840"/>
                  </a:lnTo>
                  <a:lnTo>
                    <a:pt x="606" y="828"/>
                  </a:lnTo>
                  <a:lnTo>
                    <a:pt x="612" y="798"/>
                  </a:lnTo>
                  <a:lnTo>
                    <a:pt x="714" y="780"/>
                  </a:lnTo>
                  <a:lnTo>
                    <a:pt x="792" y="768"/>
                  </a:lnTo>
                  <a:lnTo>
                    <a:pt x="846" y="810"/>
                  </a:lnTo>
                  <a:lnTo>
                    <a:pt x="864" y="846"/>
                  </a:lnTo>
                  <a:lnTo>
                    <a:pt x="864" y="840"/>
                  </a:lnTo>
                  <a:lnTo>
                    <a:pt x="870" y="834"/>
                  </a:lnTo>
                  <a:lnTo>
                    <a:pt x="882" y="828"/>
                  </a:lnTo>
                  <a:lnTo>
                    <a:pt x="888" y="822"/>
                  </a:lnTo>
                  <a:lnTo>
                    <a:pt x="876" y="816"/>
                  </a:lnTo>
                  <a:lnTo>
                    <a:pt x="870" y="810"/>
                  </a:lnTo>
                  <a:lnTo>
                    <a:pt x="870" y="786"/>
                  </a:lnTo>
                  <a:lnTo>
                    <a:pt x="876" y="774"/>
                  </a:lnTo>
                  <a:lnTo>
                    <a:pt x="882" y="768"/>
                  </a:lnTo>
                  <a:lnTo>
                    <a:pt x="888" y="756"/>
                  </a:lnTo>
                  <a:lnTo>
                    <a:pt x="882" y="74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170" name="Bhutan" descr="© INSCALE GmbH, 05.05.2010&#10;http://www.presentationload.com/"/>
            <p:cNvSpPr>
              <a:spLocks/>
            </p:cNvSpPr>
            <p:nvPr/>
          </p:nvSpPr>
          <p:spPr bwMode="gray">
            <a:xfrm>
              <a:off x="6459732" y="3594642"/>
              <a:ext cx="75511" cy="41643"/>
            </a:xfrm>
            <a:custGeom>
              <a:avLst/>
              <a:gdLst>
                <a:gd name="T0" fmla="*/ 2147483647 w 234"/>
                <a:gd name="T1" fmla="*/ 2147483647 h 132"/>
                <a:gd name="T2" fmla="*/ 2147483647 w 234"/>
                <a:gd name="T3" fmla="*/ 2147483647 h 132"/>
                <a:gd name="T4" fmla="*/ 2147483647 w 234"/>
                <a:gd name="T5" fmla="*/ 2147483647 h 132"/>
                <a:gd name="T6" fmla="*/ 2147483647 w 234"/>
                <a:gd name="T7" fmla="*/ 2147483647 h 132"/>
                <a:gd name="T8" fmla="*/ 2147483647 w 234"/>
                <a:gd name="T9" fmla="*/ 2147483647 h 132"/>
                <a:gd name="T10" fmla="*/ 2147483647 w 234"/>
                <a:gd name="T11" fmla="*/ 2147483647 h 132"/>
                <a:gd name="T12" fmla="*/ 2147483647 w 234"/>
                <a:gd name="T13" fmla="*/ 2147483647 h 132"/>
                <a:gd name="T14" fmla="*/ 2147483647 w 234"/>
                <a:gd name="T15" fmla="*/ 2147483647 h 132"/>
                <a:gd name="T16" fmla="*/ 2147483647 w 234"/>
                <a:gd name="T17" fmla="*/ 2147483647 h 132"/>
                <a:gd name="T18" fmla="*/ 2147483647 w 234"/>
                <a:gd name="T19" fmla="*/ 2147483647 h 132"/>
                <a:gd name="T20" fmla="*/ 2147483647 w 234"/>
                <a:gd name="T21" fmla="*/ 2147483647 h 132"/>
                <a:gd name="T22" fmla="*/ 2147483647 w 234"/>
                <a:gd name="T23" fmla="*/ 2147483647 h 132"/>
                <a:gd name="T24" fmla="*/ 2147483647 w 234"/>
                <a:gd name="T25" fmla="*/ 2147483647 h 132"/>
                <a:gd name="T26" fmla="*/ 2147483647 w 234"/>
                <a:gd name="T27" fmla="*/ 2147483647 h 132"/>
                <a:gd name="T28" fmla="*/ 2147483647 w 234"/>
                <a:gd name="T29" fmla="*/ 2147483647 h 132"/>
                <a:gd name="T30" fmla="*/ 2147483647 w 234"/>
                <a:gd name="T31" fmla="*/ 2147483647 h 132"/>
                <a:gd name="T32" fmla="*/ 2147483647 w 234"/>
                <a:gd name="T33" fmla="*/ 2147483647 h 132"/>
                <a:gd name="T34" fmla="*/ 2147483647 w 234"/>
                <a:gd name="T35" fmla="*/ 2147483647 h 132"/>
                <a:gd name="T36" fmla="*/ 2147483647 w 234"/>
                <a:gd name="T37" fmla="*/ 2147483647 h 132"/>
                <a:gd name="T38" fmla="*/ 2147483647 w 234"/>
                <a:gd name="T39" fmla="*/ 2147483647 h 132"/>
                <a:gd name="T40" fmla="*/ 2147483647 w 234"/>
                <a:gd name="T41" fmla="*/ 2147483647 h 132"/>
                <a:gd name="T42" fmla="*/ 2147483647 w 234"/>
                <a:gd name="T43" fmla="*/ 2147483647 h 132"/>
                <a:gd name="T44" fmla="*/ 2147483647 w 234"/>
                <a:gd name="T45" fmla="*/ 2147483647 h 132"/>
                <a:gd name="T46" fmla="*/ 2147483647 w 234"/>
                <a:gd name="T47" fmla="*/ 2147483647 h 132"/>
                <a:gd name="T48" fmla="*/ 2147483647 w 234"/>
                <a:gd name="T49" fmla="*/ 2147483647 h 132"/>
                <a:gd name="T50" fmla="*/ 2147483647 w 234"/>
                <a:gd name="T51" fmla="*/ 2147483647 h 132"/>
                <a:gd name="T52" fmla="*/ 2147483647 w 234"/>
                <a:gd name="T53" fmla="*/ 2147483647 h 132"/>
                <a:gd name="T54" fmla="*/ 2147483647 w 234"/>
                <a:gd name="T55" fmla="*/ 2147483647 h 132"/>
                <a:gd name="T56" fmla="*/ 2147483647 w 234"/>
                <a:gd name="T57" fmla="*/ 2147483647 h 132"/>
                <a:gd name="T58" fmla="*/ 2147483647 w 234"/>
                <a:gd name="T59" fmla="*/ 0 h 132"/>
                <a:gd name="T60" fmla="*/ 2147483647 w 234"/>
                <a:gd name="T61" fmla="*/ 0 h 132"/>
                <a:gd name="T62" fmla="*/ 2147483647 w 234"/>
                <a:gd name="T63" fmla="*/ 2147483647 h 132"/>
                <a:gd name="T64" fmla="*/ 2147483647 w 234"/>
                <a:gd name="T65" fmla="*/ 2147483647 h 132"/>
                <a:gd name="T66" fmla="*/ 2147483647 w 234"/>
                <a:gd name="T67" fmla="*/ 2147483647 h 132"/>
                <a:gd name="T68" fmla="*/ 2147483647 w 234"/>
                <a:gd name="T69" fmla="*/ 2147483647 h 132"/>
                <a:gd name="T70" fmla="*/ 2147483647 w 234"/>
                <a:gd name="T71" fmla="*/ 2147483647 h 132"/>
                <a:gd name="T72" fmla="*/ 2147483647 w 234"/>
                <a:gd name="T73" fmla="*/ 2147483647 h 132"/>
                <a:gd name="T74" fmla="*/ 2147483647 w 234"/>
                <a:gd name="T75" fmla="*/ 2147483647 h 132"/>
                <a:gd name="T76" fmla="*/ 0 w 234"/>
                <a:gd name="T77" fmla="*/ 2147483647 h 132"/>
                <a:gd name="T78" fmla="*/ 0 w 234"/>
                <a:gd name="T79" fmla="*/ 2147483647 h 132"/>
                <a:gd name="T80" fmla="*/ 2147483647 w 234"/>
                <a:gd name="T81" fmla="*/ 2147483647 h 132"/>
                <a:gd name="T82" fmla="*/ 2147483647 w 234"/>
                <a:gd name="T83" fmla="*/ 2147483647 h 132"/>
                <a:gd name="T84" fmla="*/ 2147483647 w 234"/>
                <a:gd name="T85" fmla="*/ 2147483647 h 132"/>
                <a:gd name="T86" fmla="*/ 2147483647 w 234"/>
                <a:gd name="T87" fmla="*/ 2147483647 h 132"/>
                <a:gd name="T88" fmla="*/ 2147483647 w 234"/>
                <a:gd name="T89" fmla="*/ 2147483647 h 132"/>
                <a:gd name="T90" fmla="*/ 2147483647 w 234"/>
                <a:gd name="T91" fmla="*/ 2147483647 h 132"/>
                <a:gd name="T92" fmla="*/ 2147483647 w 234"/>
                <a:gd name="T93" fmla="*/ 2147483647 h 13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34"/>
                <a:gd name="T142" fmla="*/ 0 h 132"/>
                <a:gd name="T143" fmla="*/ 234 w 234"/>
                <a:gd name="T144" fmla="*/ 132 h 13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34" h="132">
                  <a:moveTo>
                    <a:pt x="78" y="132"/>
                  </a:moveTo>
                  <a:lnTo>
                    <a:pt x="90" y="132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26" y="120"/>
                  </a:lnTo>
                  <a:lnTo>
                    <a:pt x="138" y="126"/>
                  </a:lnTo>
                  <a:lnTo>
                    <a:pt x="168" y="126"/>
                  </a:lnTo>
                  <a:lnTo>
                    <a:pt x="180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10" y="126"/>
                  </a:lnTo>
                  <a:lnTo>
                    <a:pt x="234" y="114"/>
                  </a:lnTo>
                  <a:lnTo>
                    <a:pt x="234" y="108"/>
                  </a:lnTo>
                  <a:lnTo>
                    <a:pt x="222" y="96"/>
                  </a:lnTo>
                  <a:lnTo>
                    <a:pt x="222" y="72"/>
                  </a:lnTo>
                  <a:lnTo>
                    <a:pt x="198" y="72"/>
                  </a:lnTo>
                  <a:lnTo>
                    <a:pt x="192" y="66"/>
                  </a:lnTo>
                  <a:lnTo>
                    <a:pt x="192" y="42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62" y="12"/>
                  </a:lnTo>
                  <a:lnTo>
                    <a:pt x="150" y="12"/>
                  </a:lnTo>
                  <a:lnTo>
                    <a:pt x="138" y="18"/>
                  </a:lnTo>
                  <a:lnTo>
                    <a:pt x="126" y="18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30"/>
                  </a:lnTo>
                  <a:lnTo>
                    <a:pt x="102" y="6"/>
                  </a:lnTo>
                  <a:lnTo>
                    <a:pt x="78" y="6"/>
                  </a:lnTo>
                  <a:lnTo>
                    <a:pt x="66" y="0"/>
                  </a:lnTo>
                  <a:lnTo>
                    <a:pt x="54" y="0"/>
                  </a:lnTo>
                  <a:lnTo>
                    <a:pt x="48" y="12"/>
                  </a:lnTo>
                  <a:lnTo>
                    <a:pt x="36" y="24"/>
                  </a:lnTo>
                  <a:lnTo>
                    <a:pt x="30" y="36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0" y="90"/>
                  </a:lnTo>
                  <a:lnTo>
                    <a:pt x="18" y="108"/>
                  </a:lnTo>
                  <a:lnTo>
                    <a:pt x="42" y="120"/>
                  </a:lnTo>
                  <a:lnTo>
                    <a:pt x="54" y="120"/>
                  </a:lnTo>
                  <a:lnTo>
                    <a:pt x="54" y="114"/>
                  </a:lnTo>
                  <a:lnTo>
                    <a:pt x="54" y="120"/>
                  </a:lnTo>
                  <a:lnTo>
                    <a:pt x="66" y="132"/>
                  </a:lnTo>
                  <a:lnTo>
                    <a:pt x="78" y="13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171" name="Benin" descr="© INSCALE GmbH, 05.05.2010&#10;http://www.presentationload.com/"/>
            <p:cNvSpPr>
              <a:spLocks/>
            </p:cNvSpPr>
            <p:nvPr/>
          </p:nvSpPr>
          <p:spPr bwMode="gray">
            <a:xfrm>
              <a:off x="4484938" y="3995148"/>
              <a:ext cx="72951" cy="154324"/>
            </a:xfrm>
            <a:custGeom>
              <a:avLst/>
              <a:gdLst>
                <a:gd name="T0" fmla="*/ 2147483647 w 222"/>
                <a:gd name="T1" fmla="*/ 2147483647 h 498"/>
                <a:gd name="T2" fmla="*/ 2147483647 w 222"/>
                <a:gd name="T3" fmla="*/ 2147483647 h 498"/>
                <a:gd name="T4" fmla="*/ 2147483647 w 222"/>
                <a:gd name="T5" fmla="*/ 2147483647 h 498"/>
                <a:gd name="T6" fmla="*/ 2147483647 w 222"/>
                <a:gd name="T7" fmla="*/ 2147483647 h 498"/>
                <a:gd name="T8" fmla="*/ 2147483647 w 222"/>
                <a:gd name="T9" fmla="*/ 2147483647 h 498"/>
                <a:gd name="T10" fmla="*/ 2147483647 w 222"/>
                <a:gd name="T11" fmla="*/ 2147483647 h 498"/>
                <a:gd name="T12" fmla="*/ 2147483647 w 222"/>
                <a:gd name="T13" fmla="*/ 2147483647 h 498"/>
                <a:gd name="T14" fmla="*/ 2147483647 w 222"/>
                <a:gd name="T15" fmla="*/ 2147483647 h 498"/>
                <a:gd name="T16" fmla="*/ 2147483647 w 222"/>
                <a:gd name="T17" fmla="*/ 2147483647 h 498"/>
                <a:gd name="T18" fmla="*/ 2147483647 w 222"/>
                <a:gd name="T19" fmla="*/ 2147483647 h 498"/>
                <a:gd name="T20" fmla="*/ 2147483647 w 222"/>
                <a:gd name="T21" fmla="*/ 2147483647 h 498"/>
                <a:gd name="T22" fmla="*/ 2147483647 w 222"/>
                <a:gd name="T23" fmla="*/ 2147483647 h 498"/>
                <a:gd name="T24" fmla="*/ 2147483647 w 222"/>
                <a:gd name="T25" fmla="*/ 2147483647 h 498"/>
                <a:gd name="T26" fmla="*/ 2147483647 w 222"/>
                <a:gd name="T27" fmla="*/ 2147483647 h 498"/>
                <a:gd name="T28" fmla="*/ 2147483647 w 222"/>
                <a:gd name="T29" fmla="*/ 2147483647 h 498"/>
                <a:gd name="T30" fmla="*/ 2147483647 w 222"/>
                <a:gd name="T31" fmla="*/ 2147483647 h 498"/>
                <a:gd name="T32" fmla="*/ 2147483647 w 222"/>
                <a:gd name="T33" fmla="*/ 2147483647 h 498"/>
                <a:gd name="T34" fmla="*/ 2147483647 w 222"/>
                <a:gd name="T35" fmla="*/ 2147483647 h 498"/>
                <a:gd name="T36" fmla="*/ 2147483647 w 222"/>
                <a:gd name="T37" fmla="*/ 2147483647 h 498"/>
                <a:gd name="T38" fmla="*/ 2147483647 w 222"/>
                <a:gd name="T39" fmla="*/ 2147483647 h 498"/>
                <a:gd name="T40" fmla="*/ 2147483647 w 222"/>
                <a:gd name="T41" fmla="*/ 2147483647 h 498"/>
                <a:gd name="T42" fmla="*/ 2147483647 w 222"/>
                <a:gd name="T43" fmla="*/ 2147483647 h 498"/>
                <a:gd name="T44" fmla="*/ 2147483647 w 222"/>
                <a:gd name="T45" fmla="*/ 2147483647 h 498"/>
                <a:gd name="T46" fmla="*/ 0 w 222"/>
                <a:gd name="T47" fmla="*/ 2147483647 h 498"/>
                <a:gd name="T48" fmla="*/ 2147483647 w 222"/>
                <a:gd name="T49" fmla="*/ 2147483647 h 498"/>
                <a:gd name="T50" fmla="*/ 2147483647 w 222"/>
                <a:gd name="T51" fmla="*/ 2147483647 h 498"/>
                <a:gd name="T52" fmla="*/ 2147483647 w 222"/>
                <a:gd name="T53" fmla="*/ 2147483647 h 498"/>
                <a:gd name="T54" fmla="*/ 2147483647 w 222"/>
                <a:gd name="T55" fmla="*/ 2147483647 h 498"/>
                <a:gd name="T56" fmla="*/ 2147483647 w 222"/>
                <a:gd name="T57" fmla="*/ 2147483647 h 498"/>
                <a:gd name="T58" fmla="*/ 2147483647 w 222"/>
                <a:gd name="T59" fmla="*/ 2147483647 h 498"/>
                <a:gd name="T60" fmla="*/ 2147483647 w 222"/>
                <a:gd name="T61" fmla="*/ 2147483647 h 498"/>
                <a:gd name="T62" fmla="*/ 2147483647 w 222"/>
                <a:gd name="T63" fmla="*/ 2147483647 h 498"/>
                <a:gd name="T64" fmla="*/ 2147483647 w 222"/>
                <a:gd name="T65" fmla="*/ 2147483647 h 498"/>
                <a:gd name="T66" fmla="*/ 2147483647 w 222"/>
                <a:gd name="T67" fmla="*/ 2147483647 h 498"/>
                <a:gd name="T68" fmla="*/ 2147483647 w 222"/>
                <a:gd name="T69" fmla="*/ 2147483647 h 49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22"/>
                <a:gd name="T106" fmla="*/ 0 h 498"/>
                <a:gd name="T107" fmla="*/ 222 w 222"/>
                <a:gd name="T108" fmla="*/ 498 h 49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22" h="498">
                  <a:moveTo>
                    <a:pt x="138" y="372"/>
                  </a:moveTo>
                  <a:lnTo>
                    <a:pt x="144" y="342"/>
                  </a:lnTo>
                  <a:lnTo>
                    <a:pt x="138" y="306"/>
                  </a:lnTo>
                  <a:lnTo>
                    <a:pt x="144" y="276"/>
                  </a:lnTo>
                  <a:lnTo>
                    <a:pt x="162" y="276"/>
                  </a:lnTo>
                  <a:lnTo>
                    <a:pt x="174" y="25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86" y="204"/>
                  </a:lnTo>
                  <a:lnTo>
                    <a:pt x="198" y="198"/>
                  </a:lnTo>
                  <a:lnTo>
                    <a:pt x="198" y="156"/>
                  </a:lnTo>
                  <a:lnTo>
                    <a:pt x="210" y="150"/>
                  </a:lnTo>
                  <a:lnTo>
                    <a:pt x="216" y="150"/>
                  </a:lnTo>
                  <a:lnTo>
                    <a:pt x="222" y="144"/>
                  </a:lnTo>
                  <a:lnTo>
                    <a:pt x="222" y="132"/>
                  </a:lnTo>
                  <a:lnTo>
                    <a:pt x="216" y="126"/>
                  </a:lnTo>
                  <a:lnTo>
                    <a:pt x="216" y="114"/>
                  </a:lnTo>
                  <a:lnTo>
                    <a:pt x="210" y="102"/>
                  </a:lnTo>
                  <a:lnTo>
                    <a:pt x="204" y="96"/>
                  </a:lnTo>
                  <a:lnTo>
                    <a:pt x="192" y="72"/>
                  </a:lnTo>
                  <a:lnTo>
                    <a:pt x="198" y="66"/>
                  </a:lnTo>
                  <a:lnTo>
                    <a:pt x="198" y="60"/>
                  </a:lnTo>
                  <a:lnTo>
                    <a:pt x="204" y="48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14" y="12"/>
                  </a:lnTo>
                  <a:lnTo>
                    <a:pt x="114" y="36"/>
                  </a:lnTo>
                  <a:lnTo>
                    <a:pt x="120" y="36"/>
                  </a:lnTo>
                  <a:lnTo>
                    <a:pt x="114" y="42"/>
                  </a:lnTo>
                  <a:lnTo>
                    <a:pt x="108" y="60"/>
                  </a:lnTo>
                  <a:lnTo>
                    <a:pt x="96" y="60"/>
                  </a:lnTo>
                  <a:lnTo>
                    <a:pt x="90" y="66"/>
                  </a:lnTo>
                  <a:lnTo>
                    <a:pt x="84" y="66"/>
                  </a:lnTo>
                  <a:lnTo>
                    <a:pt x="84" y="78"/>
                  </a:lnTo>
                  <a:lnTo>
                    <a:pt x="78" y="72"/>
                  </a:lnTo>
                  <a:lnTo>
                    <a:pt x="48" y="72"/>
                  </a:lnTo>
                  <a:lnTo>
                    <a:pt x="30" y="90"/>
                  </a:lnTo>
                  <a:lnTo>
                    <a:pt x="24" y="102"/>
                  </a:lnTo>
                  <a:lnTo>
                    <a:pt x="12" y="102"/>
                  </a:lnTo>
                  <a:lnTo>
                    <a:pt x="6" y="114"/>
                  </a:lnTo>
                  <a:lnTo>
                    <a:pt x="0" y="132"/>
                  </a:lnTo>
                  <a:lnTo>
                    <a:pt x="0" y="162"/>
                  </a:lnTo>
                  <a:lnTo>
                    <a:pt x="12" y="168"/>
                  </a:lnTo>
                  <a:lnTo>
                    <a:pt x="42" y="198"/>
                  </a:lnTo>
                  <a:lnTo>
                    <a:pt x="42" y="240"/>
                  </a:lnTo>
                  <a:lnTo>
                    <a:pt x="54" y="252"/>
                  </a:lnTo>
                  <a:lnTo>
                    <a:pt x="60" y="264"/>
                  </a:lnTo>
                  <a:lnTo>
                    <a:pt x="60" y="294"/>
                  </a:lnTo>
                  <a:lnTo>
                    <a:pt x="66" y="306"/>
                  </a:lnTo>
                  <a:lnTo>
                    <a:pt x="54" y="318"/>
                  </a:lnTo>
                  <a:lnTo>
                    <a:pt x="54" y="378"/>
                  </a:lnTo>
                  <a:lnTo>
                    <a:pt x="66" y="390"/>
                  </a:lnTo>
                  <a:lnTo>
                    <a:pt x="54" y="396"/>
                  </a:lnTo>
                  <a:lnTo>
                    <a:pt x="60" y="462"/>
                  </a:lnTo>
                  <a:lnTo>
                    <a:pt x="60" y="468"/>
                  </a:lnTo>
                  <a:lnTo>
                    <a:pt x="72" y="480"/>
                  </a:lnTo>
                  <a:lnTo>
                    <a:pt x="72" y="492"/>
                  </a:lnTo>
                  <a:lnTo>
                    <a:pt x="84" y="492"/>
                  </a:lnTo>
                  <a:lnTo>
                    <a:pt x="96" y="498"/>
                  </a:lnTo>
                  <a:lnTo>
                    <a:pt x="108" y="498"/>
                  </a:lnTo>
                  <a:lnTo>
                    <a:pt x="120" y="474"/>
                  </a:lnTo>
                  <a:lnTo>
                    <a:pt x="126" y="480"/>
                  </a:lnTo>
                  <a:lnTo>
                    <a:pt x="138" y="486"/>
                  </a:lnTo>
                  <a:lnTo>
                    <a:pt x="138" y="37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172" name="Belize" descr="© INSCALE GmbH, 05.05.2010&#10;http://www.presentationload.com/"/>
            <p:cNvSpPr>
              <a:spLocks/>
            </p:cNvSpPr>
            <p:nvPr/>
          </p:nvSpPr>
          <p:spPr bwMode="gray">
            <a:xfrm>
              <a:off x="2429513" y="3842049"/>
              <a:ext cx="35835" cy="64914"/>
            </a:xfrm>
            <a:custGeom>
              <a:avLst/>
              <a:gdLst>
                <a:gd name="T0" fmla="*/ 2147483647 w 108"/>
                <a:gd name="T1" fmla="*/ 2147483647 h 210"/>
                <a:gd name="T2" fmla="*/ 2147483647 w 108"/>
                <a:gd name="T3" fmla="*/ 2147483647 h 210"/>
                <a:gd name="T4" fmla="*/ 2147483647 w 108"/>
                <a:gd name="T5" fmla="*/ 2147483647 h 210"/>
                <a:gd name="T6" fmla="*/ 2147483647 w 108"/>
                <a:gd name="T7" fmla="*/ 2147483647 h 210"/>
                <a:gd name="T8" fmla="*/ 2147483647 w 108"/>
                <a:gd name="T9" fmla="*/ 2147483647 h 210"/>
                <a:gd name="T10" fmla="*/ 2147483647 w 108"/>
                <a:gd name="T11" fmla="*/ 0 h 210"/>
                <a:gd name="T12" fmla="*/ 2147483647 w 108"/>
                <a:gd name="T13" fmla="*/ 2147483647 h 210"/>
                <a:gd name="T14" fmla="*/ 2147483647 w 108"/>
                <a:gd name="T15" fmla="*/ 2147483647 h 210"/>
                <a:gd name="T16" fmla="*/ 2147483647 w 108"/>
                <a:gd name="T17" fmla="*/ 2147483647 h 210"/>
                <a:gd name="T18" fmla="*/ 2147483647 w 108"/>
                <a:gd name="T19" fmla="*/ 2147483647 h 210"/>
                <a:gd name="T20" fmla="*/ 2147483647 w 108"/>
                <a:gd name="T21" fmla="*/ 2147483647 h 210"/>
                <a:gd name="T22" fmla="*/ 2147483647 w 108"/>
                <a:gd name="T23" fmla="*/ 2147483647 h 210"/>
                <a:gd name="T24" fmla="*/ 2147483647 w 108"/>
                <a:gd name="T25" fmla="*/ 2147483647 h 210"/>
                <a:gd name="T26" fmla="*/ 2147483647 w 108"/>
                <a:gd name="T27" fmla="*/ 2147483647 h 210"/>
                <a:gd name="T28" fmla="*/ 2147483647 w 108"/>
                <a:gd name="T29" fmla="*/ 2147483647 h 210"/>
                <a:gd name="T30" fmla="*/ 2147483647 w 108"/>
                <a:gd name="T31" fmla="*/ 2147483647 h 210"/>
                <a:gd name="T32" fmla="*/ 2147483647 w 108"/>
                <a:gd name="T33" fmla="*/ 2147483647 h 210"/>
                <a:gd name="T34" fmla="*/ 2147483647 w 108"/>
                <a:gd name="T35" fmla="*/ 2147483647 h 210"/>
                <a:gd name="T36" fmla="*/ 0 w 108"/>
                <a:gd name="T37" fmla="*/ 2147483647 h 210"/>
                <a:gd name="T38" fmla="*/ 2147483647 w 108"/>
                <a:gd name="T39" fmla="*/ 2147483647 h 210"/>
                <a:gd name="T40" fmla="*/ 2147483647 w 108"/>
                <a:gd name="T41" fmla="*/ 2147483647 h 210"/>
                <a:gd name="T42" fmla="*/ 2147483647 w 108"/>
                <a:gd name="T43" fmla="*/ 2147483647 h 210"/>
                <a:gd name="T44" fmla="*/ 2147483647 w 108"/>
                <a:gd name="T45" fmla="*/ 2147483647 h 210"/>
                <a:gd name="T46" fmla="*/ 2147483647 w 108"/>
                <a:gd name="T47" fmla="*/ 2147483647 h 210"/>
                <a:gd name="T48" fmla="*/ 2147483647 w 108"/>
                <a:gd name="T49" fmla="*/ 2147483647 h 210"/>
                <a:gd name="T50" fmla="*/ 2147483647 w 108"/>
                <a:gd name="T51" fmla="*/ 2147483647 h 210"/>
                <a:gd name="T52" fmla="*/ 2147483647 w 108"/>
                <a:gd name="T53" fmla="*/ 2147483647 h 210"/>
                <a:gd name="T54" fmla="*/ 2147483647 w 108"/>
                <a:gd name="T55" fmla="*/ 2147483647 h 21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08"/>
                <a:gd name="T85" fmla="*/ 0 h 210"/>
                <a:gd name="T86" fmla="*/ 108 w 108"/>
                <a:gd name="T87" fmla="*/ 210 h 210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08" h="210">
                  <a:moveTo>
                    <a:pt x="108" y="30"/>
                  </a:moveTo>
                  <a:lnTo>
                    <a:pt x="108" y="24"/>
                  </a:lnTo>
                  <a:lnTo>
                    <a:pt x="102" y="24"/>
                  </a:lnTo>
                  <a:lnTo>
                    <a:pt x="90" y="18"/>
                  </a:lnTo>
                  <a:lnTo>
                    <a:pt x="84" y="12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72" y="12"/>
                  </a:lnTo>
                  <a:lnTo>
                    <a:pt x="72" y="24"/>
                  </a:lnTo>
                  <a:lnTo>
                    <a:pt x="66" y="36"/>
                  </a:lnTo>
                  <a:lnTo>
                    <a:pt x="54" y="42"/>
                  </a:lnTo>
                  <a:lnTo>
                    <a:pt x="48" y="48"/>
                  </a:lnTo>
                  <a:lnTo>
                    <a:pt x="42" y="48"/>
                  </a:lnTo>
                  <a:lnTo>
                    <a:pt x="42" y="42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0" y="210"/>
                  </a:lnTo>
                  <a:lnTo>
                    <a:pt x="30" y="210"/>
                  </a:lnTo>
                  <a:lnTo>
                    <a:pt x="42" y="168"/>
                  </a:lnTo>
                  <a:lnTo>
                    <a:pt x="60" y="174"/>
                  </a:lnTo>
                  <a:lnTo>
                    <a:pt x="84" y="150"/>
                  </a:lnTo>
                  <a:lnTo>
                    <a:pt x="84" y="90"/>
                  </a:lnTo>
                  <a:lnTo>
                    <a:pt x="90" y="78"/>
                  </a:lnTo>
                  <a:lnTo>
                    <a:pt x="96" y="60"/>
                  </a:lnTo>
                  <a:lnTo>
                    <a:pt x="108" y="36"/>
                  </a:lnTo>
                  <a:lnTo>
                    <a:pt x="108" y="3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173" name="Belgium" descr="© INSCALE GmbH, 05.05.2010&#10;http://www.presentationload.com/"/>
            <p:cNvSpPr>
              <a:spLocks/>
            </p:cNvSpPr>
            <p:nvPr/>
          </p:nvSpPr>
          <p:spPr bwMode="gray">
            <a:xfrm>
              <a:off x="4554049" y="3022666"/>
              <a:ext cx="71671" cy="47766"/>
            </a:xfrm>
            <a:custGeom>
              <a:avLst/>
              <a:gdLst>
                <a:gd name="T0" fmla="*/ 0 w 222"/>
                <a:gd name="T1" fmla="*/ 2147483647 h 150"/>
                <a:gd name="T2" fmla="*/ 2147483647 w 222"/>
                <a:gd name="T3" fmla="*/ 2147483647 h 150"/>
                <a:gd name="T4" fmla="*/ 2147483647 w 222"/>
                <a:gd name="T5" fmla="*/ 2147483647 h 150"/>
                <a:gd name="T6" fmla="*/ 2147483647 w 222"/>
                <a:gd name="T7" fmla="*/ 2147483647 h 150"/>
                <a:gd name="T8" fmla="*/ 2147483647 w 222"/>
                <a:gd name="T9" fmla="*/ 2147483647 h 150"/>
                <a:gd name="T10" fmla="*/ 2147483647 w 222"/>
                <a:gd name="T11" fmla="*/ 2147483647 h 150"/>
                <a:gd name="T12" fmla="*/ 2147483647 w 222"/>
                <a:gd name="T13" fmla="*/ 2147483647 h 150"/>
                <a:gd name="T14" fmla="*/ 2147483647 w 222"/>
                <a:gd name="T15" fmla="*/ 2147483647 h 150"/>
                <a:gd name="T16" fmla="*/ 2147483647 w 222"/>
                <a:gd name="T17" fmla="*/ 2147483647 h 150"/>
                <a:gd name="T18" fmla="*/ 2147483647 w 222"/>
                <a:gd name="T19" fmla="*/ 2147483647 h 150"/>
                <a:gd name="T20" fmla="*/ 2147483647 w 222"/>
                <a:gd name="T21" fmla="*/ 2147483647 h 150"/>
                <a:gd name="T22" fmla="*/ 2147483647 w 222"/>
                <a:gd name="T23" fmla="*/ 2147483647 h 150"/>
                <a:gd name="T24" fmla="*/ 2147483647 w 222"/>
                <a:gd name="T25" fmla="*/ 2147483647 h 150"/>
                <a:gd name="T26" fmla="*/ 2147483647 w 222"/>
                <a:gd name="T27" fmla="*/ 2147483647 h 150"/>
                <a:gd name="T28" fmla="*/ 2147483647 w 222"/>
                <a:gd name="T29" fmla="*/ 2147483647 h 150"/>
                <a:gd name="T30" fmla="*/ 2147483647 w 222"/>
                <a:gd name="T31" fmla="*/ 2147483647 h 150"/>
                <a:gd name="T32" fmla="*/ 2147483647 w 222"/>
                <a:gd name="T33" fmla="*/ 2147483647 h 150"/>
                <a:gd name="T34" fmla="*/ 2147483647 w 222"/>
                <a:gd name="T35" fmla="*/ 2147483647 h 150"/>
                <a:gd name="T36" fmla="*/ 2147483647 w 222"/>
                <a:gd name="T37" fmla="*/ 2147483647 h 150"/>
                <a:gd name="T38" fmla="*/ 2147483647 w 222"/>
                <a:gd name="T39" fmla="*/ 2147483647 h 150"/>
                <a:gd name="T40" fmla="*/ 2147483647 w 222"/>
                <a:gd name="T41" fmla="*/ 2147483647 h 150"/>
                <a:gd name="T42" fmla="*/ 2147483647 w 222"/>
                <a:gd name="T43" fmla="*/ 2147483647 h 150"/>
                <a:gd name="T44" fmla="*/ 2147483647 w 222"/>
                <a:gd name="T45" fmla="*/ 2147483647 h 150"/>
                <a:gd name="T46" fmla="*/ 2147483647 w 222"/>
                <a:gd name="T47" fmla="*/ 2147483647 h 150"/>
                <a:gd name="T48" fmla="*/ 2147483647 w 222"/>
                <a:gd name="T49" fmla="*/ 2147483647 h 150"/>
                <a:gd name="T50" fmla="*/ 2147483647 w 222"/>
                <a:gd name="T51" fmla="*/ 2147483647 h 150"/>
                <a:gd name="T52" fmla="*/ 2147483647 w 222"/>
                <a:gd name="T53" fmla="*/ 2147483647 h 150"/>
                <a:gd name="T54" fmla="*/ 2147483647 w 222"/>
                <a:gd name="T55" fmla="*/ 2147483647 h 150"/>
                <a:gd name="T56" fmla="*/ 2147483647 w 222"/>
                <a:gd name="T57" fmla="*/ 2147483647 h 150"/>
                <a:gd name="T58" fmla="*/ 2147483647 w 222"/>
                <a:gd name="T59" fmla="*/ 2147483647 h 150"/>
                <a:gd name="T60" fmla="*/ 2147483647 w 222"/>
                <a:gd name="T61" fmla="*/ 2147483647 h 150"/>
                <a:gd name="T62" fmla="*/ 2147483647 w 222"/>
                <a:gd name="T63" fmla="*/ 2147483647 h 150"/>
                <a:gd name="T64" fmla="*/ 2147483647 w 222"/>
                <a:gd name="T65" fmla="*/ 2147483647 h 150"/>
                <a:gd name="T66" fmla="*/ 2147483647 w 222"/>
                <a:gd name="T67" fmla="*/ 2147483647 h 150"/>
                <a:gd name="T68" fmla="*/ 2147483647 w 222"/>
                <a:gd name="T69" fmla="*/ 2147483647 h 150"/>
                <a:gd name="T70" fmla="*/ 2147483647 w 222"/>
                <a:gd name="T71" fmla="*/ 2147483647 h 150"/>
                <a:gd name="T72" fmla="*/ 2147483647 w 222"/>
                <a:gd name="T73" fmla="*/ 2147483647 h 150"/>
                <a:gd name="T74" fmla="*/ 2147483647 w 222"/>
                <a:gd name="T75" fmla="*/ 2147483647 h 150"/>
                <a:gd name="T76" fmla="*/ 2147483647 w 222"/>
                <a:gd name="T77" fmla="*/ 2147483647 h 150"/>
                <a:gd name="T78" fmla="*/ 2147483647 w 222"/>
                <a:gd name="T79" fmla="*/ 2147483647 h 150"/>
                <a:gd name="T80" fmla="*/ 2147483647 w 222"/>
                <a:gd name="T81" fmla="*/ 0 h 150"/>
                <a:gd name="T82" fmla="*/ 2147483647 w 222"/>
                <a:gd name="T83" fmla="*/ 0 h 150"/>
                <a:gd name="T84" fmla="*/ 2147483647 w 222"/>
                <a:gd name="T85" fmla="*/ 2147483647 h 150"/>
                <a:gd name="T86" fmla="*/ 2147483647 w 222"/>
                <a:gd name="T87" fmla="*/ 0 h 150"/>
                <a:gd name="T88" fmla="*/ 2147483647 w 222"/>
                <a:gd name="T89" fmla="*/ 2147483647 h 150"/>
                <a:gd name="T90" fmla="*/ 2147483647 w 222"/>
                <a:gd name="T91" fmla="*/ 2147483647 h 150"/>
                <a:gd name="T92" fmla="*/ 2147483647 w 222"/>
                <a:gd name="T93" fmla="*/ 2147483647 h 150"/>
                <a:gd name="T94" fmla="*/ 2147483647 w 222"/>
                <a:gd name="T95" fmla="*/ 2147483647 h 150"/>
                <a:gd name="T96" fmla="*/ 2147483647 w 222"/>
                <a:gd name="T97" fmla="*/ 2147483647 h 150"/>
                <a:gd name="T98" fmla="*/ 2147483647 w 222"/>
                <a:gd name="T99" fmla="*/ 2147483647 h 150"/>
                <a:gd name="T100" fmla="*/ 2147483647 w 222"/>
                <a:gd name="T101" fmla="*/ 2147483647 h 150"/>
                <a:gd name="T102" fmla="*/ 0 w 222"/>
                <a:gd name="T103" fmla="*/ 2147483647 h 150"/>
                <a:gd name="T104" fmla="*/ 0 w 222"/>
                <a:gd name="T105" fmla="*/ 2147483647 h 15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22"/>
                <a:gd name="T160" fmla="*/ 0 h 150"/>
                <a:gd name="T161" fmla="*/ 222 w 222"/>
                <a:gd name="T162" fmla="*/ 150 h 15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22" h="150">
                  <a:moveTo>
                    <a:pt x="0" y="42"/>
                  </a:moveTo>
                  <a:lnTo>
                    <a:pt x="6" y="60"/>
                  </a:lnTo>
                  <a:lnTo>
                    <a:pt x="30" y="66"/>
                  </a:lnTo>
                  <a:lnTo>
                    <a:pt x="42" y="78"/>
                  </a:lnTo>
                  <a:lnTo>
                    <a:pt x="66" y="78"/>
                  </a:lnTo>
                  <a:lnTo>
                    <a:pt x="78" y="84"/>
                  </a:lnTo>
                  <a:lnTo>
                    <a:pt x="84" y="90"/>
                  </a:lnTo>
                  <a:lnTo>
                    <a:pt x="84" y="114"/>
                  </a:lnTo>
                  <a:lnTo>
                    <a:pt x="108" y="114"/>
                  </a:lnTo>
                  <a:lnTo>
                    <a:pt x="120" y="102"/>
                  </a:lnTo>
                  <a:lnTo>
                    <a:pt x="120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62" y="144"/>
                  </a:lnTo>
                  <a:lnTo>
                    <a:pt x="180" y="144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32"/>
                  </a:lnTo>
                  <a:lnTo>
                    <a:pt x="174" y="120"/>
                  </a:lnTo>
                  <a:lnTo>
                    <a:pt x="174" y="114"/>
                  </a:lnTo>
                  <a:lnTo>
                    <a:pt x="180" y="114"/>
                  </a:lnTo>
                  <a:lnTo>
                    <a:pt x="192" y="108"/>
                  </a:lnTo>
                  <a:lnTo>
                    <a:pt x="198" y="102"/>
                  </a:lnTo>
                  <a:lnTo>
                    <a:pt x="204" y="102"/>
                  </a:lnTo>
                  <a:lnTo>
                    <a:pt x="204" y="96"/>
                  </a:lnTo>
                  <a:lnTo>
                    <a:pt x="210" y="90"/>
                  </a:lnTo>
                  <a:lnTo>
                    <a:pt x="222" y="90"/>
                  </a:lnTo>
                  <a:lnTo>
                    <a:pt x="216" y="84"/>
                  </a:lnTo>
                  <a:lnTo>
                    <a:pt x="216" y="66"/>
                  </a:lnTo>
                  <a:lnTo>
                    <a:pt x="204" y="54"/>
                  </a:lnTo>
                  <a:lnTo>
                    <a:pt x="180" y="54"/>
                  </a:lnTo>
                  <a:lnTo>
                    <a:pt x="180" y="42"/>
                  </a:lnTo>
                  <a:lnTo>
                    <a:pt x="186" y="36"/>
                  </a:lnTo>
                  <a:lnTo>
                    <a:pt x="186" y="18"/>
                  </a:lnTo>
                  <a:lnTo>
                    <a:pt x="180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108" y="0"/>
                  </a:lnTo>
                  <a:lnTo>
                    <a:pt x="108" y="6"/>
                  </a:lnTo>
                  <a:lnTo>
                    <a:pt x="96" y="0"/>
                  </a:lnTo>
                  <a:lnTo>
                    <a:pt x="96" y="12"/>
                  </a:lnTo>
                  <a:lnTo>
                    <a:pt x="78" y="6"/>
                  </a:lnTo>
                  <a:lnTo>
                    <a:pt x="72" y="18"/>
                  </a:lnTo>
                  <a:lnTo>
                    <a:pt x="66" y="12"/>
                  </a:lnTo>
                  <a:lnTo>
                    <a:pt x="42" y="12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0" y="24"/>
                  </a:lnTo>
                  <a:lnTo>
                    <a:pt x="0" y="4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174" name="Bangladesh" descr="© INSCALE GmbH, 05.05.2010&#10;http://www.presentationload.com/"/>
            <p:cNvSpPr>
              <a:spLocks/>
            </p:cNvSpPr>
            <p:nvPr/>
          </p:nvSpPr>
          <p:spPr bwMode="gray">
            <a:xfrm>
              <a:off x="6449494" y="3639959"/>
              <a:ext cx="121585" cy="132277"/>
            </a:xfrm>
            <a:custGeom>
              <a:avLst/>
              <a:gdLst>
                <a:gd name="T0" fmla="*/ 2147483647 w 372"/>
                <a:gd name="T1" fmla="*/ 2147483647 h 426"/>
                <a:gd name="T2" fmla="*/ 2147483647 w 372"/>
                <a:gd name="T3" fmla="*/ 2147483647 h 426"/>
                <a:gd name="T4" fmla="*/ 2147483647 w 372"/>
                <a:gd name="T5" fmla="*/ 2147483647 h 426"/>
                <a:gd name="T6" fmla="*/ 2147483647 w 372"/>
                <a:gd name="T7" fmla="*/ 2147483647 h 426"/>
                <a:gd name="T8" fmla="*/ 2147483647 w 372"/>
                <a:gd name="T9" fmla="*/ 2147483647 h 426"/>
                <a:gd name="T10" fmla="*/ 2147483647 w 372"/>
                <a:gd name="T11" fmla="*/ 2147483647 h 426"/>
                <a:gd name="T12" fmla="*/ 2147483647 w 372"/>
                <a:gd name="T13" fmla="*/ 2147483647 h 426"/>
                <a:gd name="T14" fmla="*/ 2147483647 w 372"/>
                <a:gd name="T15" fmla="*/ 2147483647 h 426"/>
                <a:gd name="T16" fmla="*/ 2147483647 w 372"/>
                <a:gd name="T17" fmla="*/ 2147483647 h 426"/>
                <a:gd name="T18" fmla="*/ 2147483647 w 372"/>
                <a:gd name="T19" fmla="*/ 2147483647 h 426"/>
                <a:gd name="T20" fmla="*/ 2147483647 w 372"/>
                <a:gd name="T21" fmla="*/ 2147483647 h 426"/>
                <a:gd name="T22" fmla="*/ 2147483647 w 372"/>
                <a:gd name="T23" fmla="*/ 2147483647 h 426"/>
                <a:gd name="T24" fmla="*/ 2147483647 w 372"/>
                <a:gd name="T25" fmla="*/ 2147483647 h 426"/>
                <a:gd name="T26" fmla="*/ 2147483647 w 372"/>
                <a:gd name="T27" fmla="*/ 2147483647 h 426"/>
                <a:gd name="T28" fmla="*/ 2147483647 w 372"/>
                <a:gd name="T29" fmla="*/ 2147483647 h 426"/>
                <a:gd name="T30" fmla="*/ 2147483647 w 372"/>
                <a:gd name="T31" fmla="*/ 2147483647 h 426"/>
                <a:gd name="T32" fmla="*/ 2147483647 w 372"/>
                <a:gd name="T33" fmla="*/ 2147483647 h 426"/>
                <a:gd name="T34" fmla="*/ 2147483647 w 372"/>
                <a:gd name="T35" fmla="*/ 2147483647 h 426"/>
                <a:gd name="T36" fmla="*/ 2147483647 w 372"/>
                <a:gd name="T37" fmla="*/ 2147483647 h 426"/>
                <a:gd name="T38" fmla="*/ 2147483647 w 372"/>
                <a:gd name="T39" fmla="*/ 2147483647 h 426"/>
                <a:gd name="T40" fmla="*/ 2147483647 w 372"/>
                <a:gd name="T41" fmla="*/ 2147483647 h 426"/>
                <a:gd name="T42" fmla="*/ 2147483647 w 372"/>
                <a:gd name="T43" fmla="*/ 2147483647 h 426"/>
                <a:gd name="T44" fmla="*/ 2147483647 w 372"/>
                <a:gd name="T45" fmla="*/ 2147483647 h 426"/>
                <a:gd name="T46" fmla="*/ 2147483647 w 372"/>
                <a:gd name="T47" fmla="*/ 2147483647 h 426"/>
                <a:gd name="T48" fmla="*/ 2147483647 w 372"/>
                <a:gd name="T49" fmla="*/ 2147483647 h 426"/>
                <a:gd name="T50" fmla="*/ 2147483647 w 372"/>
                <a:gd name="T51" fmla="*/ 2147483647 h 426"/>
                <a:gd name="T52" fmla="*/ 2147483647 w 372"/>
                <a:gd name="T53" fmla="*/ 2147483647 h 426"/>
                <a:gd name="T54" fmla="*/ 2147483647 w 372"/>
                <a:gd name="T55" fmla="*/ 2147483647 h 426"/>
                <a:gd name="T56" fmla="*/ 2147483647 w 372"/>
                <a:gd name="T57" fmla="*/ 2147483647 h 426"/>
                <a:gd name="T58" fmla="*/ 2147483647 w 372"/>
                <a:gd name="T59" fmla="*/ 2147483647 h 426"/>
                <a:gd name="T60" fmla="*/ 2147483647 w 372"/>
                <a:gd name="T61" fmla="*/ 2147483647 h 426"/>
                <a:gd name="T62" fmla="*/ 2147483647 w 372"/>
                <a:gd name="T63" fmla="*/ 2147483647 h 426"/>
                <a:gd name="T64" fmla="*/ 2147483647 w 372"/>
                <a:gd name="T65" fmla="*/ 2147483647 h 426"/>
                <a:gd name="T66" fmla="*/ 2147483647 w 372"/>
                <a:gd name="T67" fmla="*/ 2147483647 h 426"/>
                <a:gd name="T68" fmla="*/ 2147483647 w 372"/>
                <a:gd name="T69" fmla="*/ 2147483647 h 426"/>
                <a:gd name="T70" fmla="*/ 2147483647 w 372"/>
                <a:gd name="T71" fmla="*/ 2147483647 h 426"/>
                <a:gd name="T72" fmla="*/ 2147483647 w 372"/>
                <a:gd name="T73" fmla="*/ 2147483647 h 426"/>
                <a:gd name="T74" fmla="*/ 2147483647 w 372"/>
                <a:gd name="T75" fmla="*/ 2147483647 h 426"/>
                <a:gd name="T76" fmla="*/ 2147483647 w 372"/>
                <a:gd name="T77" fmla="*/ 2147483647 h 426"/>
                <a:gd name="T78" fmla="*/ 2147483647 w 372"/>
                <a:gd name="T79" fmla="*/ 2147483647 h 426"/>
                <a:gd name="T80" fmla="*/ 2147483647 w 372"/>
                <a:gd name="T81" fmla="*/ 2147483647 h 426"/>
                <a:gd name="T82" fmla="*/ 2147483647 w 372"/>
                <a:gd name="T83" fmla="*/ 2147483647 h 426"/>
                <a:gd name="T84" fmla="*/ 2147483647 w 372"/>
                <a:gd name="T85" fmla="*/ 0 h 426"/>
                <a:gd name="T86" fmla="*/ 2147483647 w 372"/>
                <a:gd name="T87" fmla="*/ 2147483647 h 426"/>
                <a:gd name="T88" fmla="*/ 0 w 372"/>
                <a:gd name="T89" fmla="*/ 2147483647 h 426"/>
                <a:gd name="T90" fmla="*/ 2147483647 w 372"/>
                <a:gd name="T91" fmla="*/ 2147483647 h 426"/>
                <a:gd name="T92" fmla="*/ 2147483647 w 372"/>
                <a:gd name="T93" fmla="*/ 2147483647 h 426"/>
                <a:gd name="T94" fmla="*/ 2147483647 w 372"/>
                <a:gd name="T95" fmla="*/ 2147483647 h 426"/>
                <a:gd name="T96" fmla="*/ 2147483647 w 372"/>
                <a:gd name="T97" fmla="*/ 2147483647 h 426"/>
                <a:gd name="T98" fmla="*/ 2147483647 w 372"/>
                <a:gd name="T99" fmla="*/ 2147483647 h 426"/>
                <a:gd name="T100" fmla="*/ 2147483647 w 372"/>
                <a:gd name="T101" fmla="*/ 2147483647 h 426"/>
                <a:gd name="T102" fmla="*/ 2147483647 w 372"/>
                <a:gd name="T103" fmla="*/ 2147483647 h 426"/>
                <a:gd name="T104" fmla="*/ 2147483647 w 372"/>
                <a:gd name="T105" fmla="*/ 2147483647 h 426"/>
                <a:gd name="T106" fmla="*/ 2147483647 w 372"/>
                <a:gd name="T107" fmla="*/ 2147483647 h 426"/>
                <a:gd name="T108" fmla="*/ 2147483647 w 372"/>
                <a:gd name="T109" fmla="*/ 2147483647 h 426"/>
                <a:gd name="T110" fmla="*/ 2147483647 w 372"/>
                <a:gd name="T111" fmla="*/ 2147483647 h 426"/>
                <a:gd name="T112" fmla="*/ 2147483647 w 372"/>
                <a:gd name="T113" fmla="*/ 2147483647 h 426"/>
                <a:gd name="T114" fmla="*/ 2147483647 w 372"/>
                <a:gd name="T115" fmla="*/ 2147483647 h 4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72"/>
                <a:gd name="T175" fmla="*/ 0 h 426"/>
                <a:gd name="T176" fmla="*/ 372 w 372"/>
                <a:gd name="T177" fmla="*/ 426 h 42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72" h="426">
                  <a:moveTo>
                    <a:pt x="132" y="414"/>
                  </a:moveTo>
                  <a:lnTo>
                    <a:pt x="138" y="354"/>
                  </a:lnTo>
                  <a:lnTo>
                    <a:pt x="144" y="354"/>
                  </a:lnTo>
                  <a:lnTo>
                    <a:pt x="150" y="360"/>
                  </a:lnTo>
                  <a:lnTo>
                    <a:pt x="162" y="360"/>
                  </a:lnTo>
                  <a:lnTo>
                    <a:pt x="174" y="366"/>
                  </a:lnTo>
                  <a:lnTo>
                    <a:pt x="192" y="372"/>
                  </a:lnTo>
                  <a:lnTo>
                    <a:pt x="216" y="372"/>
                  </a:lnTo>
                  <a:lnTo>
                    <a:pt x="210" y="366"/>
                  </a:lnTo>
                  <a:lnTo>
                    <a:pt x="210" y="348"/>
                  </a:lnTo>
                  <a:lnTo>
                    <a:pt x="204" y="342"/>
                  </a:lnTo>
                  <a:lnTo>
                    <a:pt x="222" y="342"/>
                  </a:lnTo>
                  <a:lnTo>
                    <a:pt x="258" y="360"/>
                  </a:lnTo>
                  <a:lnTo>
                    <a:pt x="270" y="360"/>
                  </a:lnTo>
                  <a:lnTo>
                    <a:pt x="282" y="348"/>
                  </a:lnTo>
                  <a:lnTo>
                    <a:pt x="282" y="336"/>
                  </a:lnTo>
                  <a:lnTo>
                    <a:pt x="270" y="300"/>
                  </a:lnTo>
                  <a:lnTo>
                    <a:pt x="318" y="354"/>
                  </a:lnTo>
                  <a:lnTo>
                    <a:pt x="318" y="360"/>
                  </a:lnTo>
                  <a:lnTo>
                    <a:pt x="312" y="366"/>
                  </a:lnTo>
                  <a:lnTo>
                    <a:pt x="312" y="390"/>
                  </a:lnTo>
                  <a:lnTo>
                    <a:pt x="306" y="402"/>
                  </a:lnTo>
                  <a:lnTo>
                    <a:pt x="306" y="414"/>
                  </a:lnTo>
                  <a:lnTo>
                    <a:pt x="312" y="420"/>
                  </a:lnTo>
                  <a:lnTo>
                    <a:pt x="324" y="420"/>
                  </a:lnTo>
                  <a:lnTo>
                    <a:pt x="330" y="426"/>
                  </a:lnTo>
                  <a:lnTo>
                    <a:pt x="336" y="414"/>
                  </a:lnTo>
                  <a:lnTo>
                    <a:pt x="336" y="408"/>
                  </a:lnTo>
                  <a:lnTo>
                    <a:pt x="372" y="414"/>
                  </a:lnTo>
                  <a:lnTo>
                    <a:pt x="360" y="354"/>
                  </a:lnTo>
                  <a:lnTo>
                    <a:pt x="360" y="348"/>
                  </a:lnTo>
                  <a:lnTo>
                    <a:pt x="354" y="342"/>
                  </a:lnTo>
                  <a:lnTo>
                    <a:pt x="348" y="330"/>
                  </a:lnTo>
                  <a:lnTo>
                    <a:pt x="342" y="312"/>
                  </a:lnTo>
                  <a:lnTo>
                    <a:pt x="336" y="300"/>
                  </a:lnTo>
                  <a:lnTo>
                    <a:pt x="336" y="288"/>
                  </a:lnTo>
                  <a:lnTo>
                    <a:pt x="330" y="276"/>
                  </a:lnTo>
                  <a:lnTo>
                    <a:pt x="330" y="270"/>
                  </a:lnTo>
                  <a:lnTo>
                    <a:pt x="324" y="258"/>
                  </a:lnTo>
                  <a:lnTo>
                    <a:pt x="324" y="240"/>
                  </a:lnTo>
                  <a:lnTo>
                    <a:pt x="318" y="234"/>
                  </a:lnTo>
                  <a:lnTo>
                    <a:pt x="306" y="228"/>
                  </a:lnTo>
                  <a:lnTo>
                    <a:pt x="288" y="228"/>
                  </a:lnTo>
                  <a:lnTo>
                    <a:pt x="288" y="252"/>
                  </a:lnTo>
                  <a:lnTo>
                    <a:pt x="282" y="288"/>
                  </a:lnTo>
                  <a:lnTo>
                    <a:pt x="264" y="264"/>
                  </a:lnTo>
                  <a:lnTo>
                    <a:pt x="258" y="264"/>
                  </a:lnTo>
                  <a:lnTo>
                    <a:pt x="240" y="246"/>
                  </a:lnTo>
                  <a:lnTo>
                    <a:pt x="234" y="234"/>
                  </a:lnTo>
                  <a:lnTo>
                    <a:pt x="234" y="216"/>
                  </a:lnTo>
                  <a:lnTo>
                    <a:pt x="240" y="204"/>
                  </a:lnTo>
                  <a:lnTo>
                    <a:pt x="252" y="192"/>
                  </a:lnTo>
                  <a:lnTo>
                    <a:pt x="258" y="192"/>
                  </a:lnTo>
                  <a:lnTo>
                    <a:pt x="270" y="186"/>
                  </a:lnTo>
                  <a:lnTo>
                    <a:pt x="276" y="186"/>
                  </a:lnTo>
                  <a:lnTo>
                    <a:pt x="282" y="180"/>
                  </a:lnTo>
                  <a:lnTo>
                    <a:pt x="288" y="168"/>
                  </a:lnTo>
                  <a:lnTo>
                    <a:pt x="294" y="150"/>
                  </a:lnTo>
                  <a:lnTo>
                    <a:pt x="294" y="138"/>
                  </a:lnTo>
                  <a:lnTo>
                    <a:pt x="300" y="138"/>
                  </a:lnTo>
                  <a:lnTo>
                    <a:pt x="306" y="132"/>
                  </a:lnTo>
                  <a:lnTo>
                    <a:pt x="306" y="126"/>
                  </a:lnTo>
                  <a:lnTo>
                    <a:pt x="282" y="102"/>
                  </a:lnTo>
                  <a:lnTo>
                    <a:pt x="276" y="102"/>
                  </a:lnTo>
                  <a:lnTo>
                    <a:pt x="228" y="114"/>
                  </a:lnTo>
                  <a:lnTo>
                    <a:pt x="210" y="114"/>
                  </a:lnTo>
                  <a:lnTo>
                    <a:pt x="198" y="108"/>
                  </a:lnTo>
                  <a:lnTo>
                    <a:pt x="138" y="108"/>
                  </a:lnTo>
                  <a:lnTo>
                    <a:pt x="132" y="102"/>
                  </a:lnTo>
                  <a:lnTo>
                    <a:pt x="126" y="102"/>
                  </a:lnTo>
                  <a:lnTo>
                    <a:pt x="126" y="66"/>
                  </a:lnTo>
                  <a:lnTo>
                    <a:pt x="120" y="66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8" y="30"/>
                  </a:lnTo>
                  <a:lnTo>
                    <a:pt x="102" y="24"/>
                  </a:lnTo>
                  <a:lnTo>
                    <a:pt x="96" y="42"/>
                  </a:lnTo>
                  <a:lnTo>
                    <a:pt x="90" y="36"/>
                  </a:lnTo>
                  <a:lnTo>
                    <a:pt x="78" y="36"/>
                  </a:lnTo>
                  <a:lnTo>
                    <a:pt x="72" y="30"/>
                  </a:lnTo>
                  <a:lnTo>
                    <a:pt x="66" y="18"/>
                  </a:lnTo>
                  <a:lnTo>
                    <a:pt x="66" y="12"/>
                  </a:lnTo>
                  <a:lnTo>
                    <a:pt x="60" y="0"/>
                  </a:lnTo>
                  <a:lnTo>
                    <a:pt x="42" y="6"/>
                  </a:lnTo>
                  <a:lnTo>
                    <a:pt x="48" y="12"/>
                  </a:lnTo>
                  <a:lnTo>
                    <a:pt x="24" y="0"/>
                  </a:lnTo>
                  <a:lnTo>
                    <a:pt x="6" y="0"/>
                  </a:lnTo>
                  <a:lnTo>
                    <a:pt x="18" y="18"/>
                  </a:lnTo>
                  <a:lnTo>
                    <a:pt x="6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66"/>
                  </a:lnTo>
                  <a:lnTo>
                    <a:pt x="30" y="78"/>
                  </a:lnTo>
                  <a:lnTo>
                    <a:pt x="36" y="78"/>
                  </a:lnTo>
                  <a:lnTo>
                    <a:pt x="66" y="96"/>
                  </a:lnTo>
                  <a:lnTo>
                    <a:pt x="66" y="108"/>
                  </a:lnTo>
                  <a:lnTo>
                    <a:pt x="30" y="108"/>
                  </a:lnTo>
                  <a:lnTo>
                    <a:pt x="30" y="138"/>
                  </a:lnTo>
                  <a:lnTo>
                    <a:pt x="24" y="138"/>
                  </a:lnTo>
                  <a:lnTo>
                    <a:pt x="12" y="150"/>
                  </a:lnTo>
                  <a:lnTo>
                    <a:pt x="24" y="162"/>
                  </a:lnTo>
                  <a:lnTo>
                    <a:pt x="36" y="168"/>
                  </a:lnTo>
                  <a:lnTo>
                    <a:pt x="54" y="168"/>
                  </a:lnTo>
                  <a:lnTo>
                    <a:pt x="66" y="174"/>
                  </a:lnTo>
                  <a:lnTo>
                    <a:pt x="72" y="180"/>
                  </a:lnTo>
                  <a:lnTo>
                    <a:pt x="72" y="186"/>
                  </a:lnTo>
                  <a:lnTo>
                    <a:pt x="66" y="204"/>
                  </a:lnTo>
                  <a:lnTo>
                    <a:pt x="60" y="210"/>
                  </a:lnTo>
                  <a:lnTo>
                    <a:pt x="54" y="222"/>
                  </a:lnTo>
                  <a:lnTo>
                    <a:pt x="66" y="252"/>
                  </a:lnTo>
                  <a:lnTo>
                    <a:pt x="96" y="276"/>
                  </a:lnTo>
                  <a:lnTo>
                    <a:pt x="96" y="306"/>
                  </a:lnTo>
                  <a:lnTo>
                    <a:pt x="114" y="348"/>
                  </a:lnTo>
                  <a:lnTo>
                    <a:pt x="108" y="378"/>
                  </a:lnTo>
                  <a:lnTo>
                    <a:pt x="132" y="41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175" name="Bahrain" descr="© INSCALE GmbH, 05.05.2010&#10;http://www.presentationload.com/"/>
            <p:cNvSpPr>
              <a:spLocks/>
            </p:cNvSpPr>
            <p:nvPr/>
          </p:nvSpPr>
          <p:spPr bwMode="gray">
            <a:xfrm>
              <a:off x="5608638" y="3642409"/>
              <a:ext cx="8959" cy="17147"/>
            </a:xfrm>
            <a:custGeom>
              <a:avLst/>
              <a:gdLst>
                <a:gd name="T0" fmla="*/ 2147483647 w 15"/>
                <a:gd name="T1" fmla="*/ 0 h 28"/>
                <a:gd name="T2" fmla="*/ 2147483647 w 15"/>
                <a:gd name="T3" fmla="*/ 2147483647 h 28"/>
                <a:gd name="T4" fmla="*/ 2147483647 w 15"/>
                <a:gd name="T5" fmla="*/ 2147483647 h 28"/>
                <a:gd name="T6" fmla="*/ 2033064304 w 15"/>
                <a:gd name="T7" fmla="*/ 2147483647 h 28"/>
                <a:gd name="T8" fmla="*/ 813445092 w 15"/>
                <a:gd name="T9" fmla="*/ 2147483647 h 28"/>
                <a:gd name="T10" fmla="*/ 2147483647 w 15"/>
                <a:gd name="T11" fmla="*/ 0 h 2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5"/>
                <a:gd name="T19" fmla="*/ 0 h 28"/>
                <a:gd name="T20" fmla="*/ 15 w 15"/>
                <a:gd name="T21" fmla="*/ 28 h 2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5" h="28">
                  <a:moveTo>
                    <a:pt x="9" y="0"/>
                  </a:moveTo>
                  <a:cubicBezTo>
                    <a:pt x="14" y="0"/>
                    <a:pt x="15" y="10"/>
                    <a:pt x="14" y="14"/>
                  </a:cubicBezTo>
                  <a:cubicBezTo>
                    <a:pt x="13" y="18"/>
                    <a:pt x="15" y="28"/>
                    <a:pt x="9" y="28"/>
                  </a:cubicBezTo>
                  <a:cubicBezTo>
                    <a:pt x="4" y="27"/>
                    <a:pt x="5" y="21"/>
                    <a:pt x="5" y="18"/>
                  </a:cubicBezTo>
                  <a:cubicBezTo>
                    <a:pt x="5" y="14"/>
                    <a:pt x="0" y="14"/>
                    <a:pt x="2" y="8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176" name="Belarus" descr="© INSCALE GmbH, 05.05.2010&#10;http://www.presentationload.com/"/>
            <p:cNvSpPr>
              <a:spLocks/>
            </p:cNvSpPr>
            <p:nvPr/>
          </p:nvSpPr>
          <p:spPr bwMode="gray">
            <a:xfrm>
              <a:off x="4958479" y="2909985"/>
              <a:ext cx="185577" cy="115130"/>
            </a:xfrm>
            <a:custGeom>
              <a:avLst/>
              <a:gdLst>
                <a:gd name="T0" fmla="*/ 2147483647 w 570"/>
                <a:gd name="T1" fmla="*/ 2147483647 h 372"/>
                <a:gd name="T2" fmla="*/ 2147483647 w 570"/>
                <a:gd name="T3" fmla="*/ 2147483647 h 372"/>
                <a:gd name="T4" fmla="*/ 2147483647 w 570"/>
                <a:gd name="T5" fmla="*/ 2147483647 h 372"/>
                <a:gd name="T6" fmla="*/ 2147483647 w 570"/>
                <a:gd name="T7" fmla="*/ 2147483647 h 372"/>
                <a:gd name="T8" fmla="*/ 2147483647 w 570"/>
                <a:gd name="T9" fmla="*/ 2147483647 h 372"/>
                <a:gd name="T10" fmla="*/ 2147483647 w 570"/>
                <a:gd name="T11" fmla="*/ 2147483647 h 372"/>
                <a:gd name="T12" fmla="*/ 2147483647 w 570"/>
                <a:gd name="T13" fmla="*/ 2147483647 h 372"/>
                <a:gd name="T14" fmla="*/ 2147483647 w 570"/>
                <a:gd name="T15" fmla="*/ 2147483647 h 372"/>
                <a:gd name="T16" fmla="*/ 2147483647 w 570"/>
                <a:gd name="T17" fmla="*/ 2147483647 h 372"/>
                <a:gd name="T18" fmla="*/ 2147483647 w 570"/>
                <a:gd name="T19" fmla="*/ 2147483647 h 372"/>
                <a:gd name="T20" fmla="*/ 2147483647 w 570"/>
                <a:gd name="T21" fmla="*/ 2147483647 h 372"/>
                <a:gd name="T22" fmla="*/ 2147483647 w 570"/>
                <a:gd name="T23" fmla="*/ 2147483647 h 372"/>
                <a:gd name="T24" fmla="*/ 2147483647 w 570"/>
                <a:gd name="T25" fmla="*/ 2147483647 h 372"/>
                <a:gd name="T26" fmla="*/ 2147483647 w 570"/>
                <a:gd name="T27" fmla="*/ 2147483647 h 372"/>
                <a:gd name="T28" fmla="*/ 2147483647 w 570"/>
                <a:gd name="T29" fmla="*/ 2147483647 h 372"/>
                <a:gd name="T30" fmla="*/ 2147483647 w 570"/>
                <a:gd name="T31" fmla="*/ 2147483647 h 372"/>
                <a:gd name="T32" fmla="*/ 2147483647 w 570"/>
                <a:gd name="T33" fmla="*/ 2147483647 h 372"/>
                <a:gd name="T34" fmla="*/ 2147483647 w 570"/>
                <a:gd name="T35" fmla="*/ 2147483647 h 372"/>
                <a:gd name="T36" fmla="*/ 2147483647 w 570"/>
                <a:gd name="T37" fmla="*/ 2147483647 h 372"/>
                <a:gd name="T38" fmla="*/ 2147483647 w 570"/>
                <a:gd name="T39" fmla="*/ 2147483647 h 372"/>
                <a:gd name="T40" fmla="*/ 2147483647 w 570"/>
                <a:gd name="T41" fmla="*/ 2147483647 h 372"/>
                <a:gd name="T42" fmla="*/ 2147483647 w 570"/>
                <a:gd name="T43" fmla="*/ 2147483647 h 372"/>
                <a:gd name="T44" fmla="*/ 2147483647 w 570"/>
                <a:gd name="T45" fmla="*/ 2147483647 h 372"/>
                <a:gd name="T46" fmla="*/ 2147483647 w 570"/>
                <a:gd name="T47" fmla="*/ 2147483647 h 372"/>
                <a:gd name="T48" fmla="*/ 2147483647 w 570"/>
                <a:gd name="T49" fmla="*/ 2147483647 h 372"/>
                <a:gd name="T50" fmla="*/ 2147483647 w 570"/>
                <a:gd name="T51" fmla="*/ 2147483647 h 372"/>
                <a:gd name="T52" fmla="*/ 2147483647 w 570"/>
                <a:gd name="T53" fmla="*/ 2147483647 h 372"/>
                <a:gd name="T54" fmla="*/ 2147483647 w 570"/>
                <a:gd name="T55" fmla="*/ 2147483647 h 372"/>
                <a:gd name="T56" fmla="*/ 2147483647 w 570"/>
                <a:gd name="T57" fmla="*/ 0 h 372"/>
                <a:gd name="T58" fmla="*/ 2147483647 w 570"/>
                <a:gd name="T59" fmla="*/ 2147483647 h 372"/>
                <a:gd name="T60" fmla="*/ 2147483647 w 570"/>
                <a:gd name="T61" fmla="*/ 2147483647 h 372"/>
                <a:gd name="T62" fmla="*/ 2147483647 w 570"/>
                <a:gd name="T63" fmla="*/ 2147483647 h 372"/>
                <a:gd name="T64" fmla="*/ 2147483647 w 570"/>
                <a:gd name="T65" fmla="*/ 2147483647 h 372"/>
                <a:gd name="T66" fmla="*/ 2147483647 w 570"/>
                <a:gd name="T67" fmla="*/ 2147483647 h 372"/>
                <a:gd name="T68" fmla="*/ 2147483647 w 570"/>
                <a:gd name="T69" fmla="*/ 2147483647 h 372"/>
                <a:gd name="T70" fmla="*/ 2147483647 w 570"/>
                <a:gd name="T71" fmla="*/ 2147483647 h 372"/>
                <a:gd name="T72" fmla="*/ 2147483647 w 570"/>
                <a:gd name="T73" fmla="*/ 2147483647 h 372"/>
                <a:gd name="T74" fmla="*/ 2147483647 w 570"/>
                <a:gd name="T75" fmla="*/ 2147483647 h 372"/>
                <a:gd name="T76" fmla="*/ 2147483647 w 570"/>
                <a:gd name="T77" fmla="*/ 2147483647 h 372"/>
                <a:gd name="T78" fmla="*/ 2147483647 w 570"/>
                <a:gd name="T79" fmla="*/ 2147483647 h 372"/>
                <a:gd name="T80" fmla="*/ 2147483647 w 570"/>
                <a:gd name="T81" fmla="*/ 2147483647 h 372"/>
                <a:gd name="T82" fmla="*/ 2147483647 w 570"/>
                <a:gd name="T83" fmla="*/ 2147483647 h 372"/>
                <a:gd name="T84" fmla="*/ 2147483647 w 570"/>
                <a:gd name="T85" fmla="*/ 2147483647 h 372"/>
                <a:gd name="T86" fmla="*/ 2147483647 w 570"/>
                <a:gd name="T87" fmla="*/ 2147483647 h 372"/>
                <a:gd name="T88" fmla="*/ 2147483647 w 570"/>
                <a:gd name="T89" fmla="*/ 2147483647 h 372"/>
                <a:gd name="T90" fmla="*/ 2147483647 w 570"/>
                <a:gd name="T91" fmla="*/ 2147483647 h 372"/>
                <a:gd name="T92" fmla="*/ 2147483647 w 570"/>
                <a:gd name="T93" fmla="*/ 2147483647 h 372"/>
                <a:gd name="T94" fmla="*/ 2147483647 w 570"/>
                <a:gd name="T95" fmla="*/ 2147483647 h 372"/>
                <a:gd name="T96" fmla="*/ 2147483647 w 570"/>
                <a:gd name="T97" fmla="*/ 2147483647 h 372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570"/>
                <a:gd name="T148" fmla="*/ 0 h 372"/>
                <a:gd name="T149" fmla="*/ 570 w 570"/>
                <a:gd name="T150" fmla="*/ 372 h 372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570" h="372">
                  <a:moveTo>
                    <a:pt x="24" y="312"/>
                  </a:moveTo>
                  <a:lnTo>
                    <a:pt x="24" y="342"/>
                  </a:lnTo>
                  <a:lnTo>
                    <a:pt x="30" y="354"/>
                  </a:lnTo>
                  <a:lnTo>
                    <a:pt x="36" y="360"/>
                  </a:lnTo>
                  <a:lnTo>
                    <a:pt x="48" y="360"/>
                  </a:lnTo>
                  <a:lnTo>
                    <a:pt x="60" y="354"/>
                  </a:lnTo>
                  <a:lnTo>
                    <a:pt x="72" y="342"/>
                  </a:lnTo>
                  <a:lnTo>
                    <a:pt x="72" y="336"/>
                  </a:lnTo>
                  <a:lnTo>
                    <a:pt x="108" y="336"/>
                  </a:lnTo>
                  <a:lnTo>
                    <a:pt x="120" y="330"/>
                  </a:lnTo>
                  <a:lnTo>
                    <a:pt x="126" y="324"/>
                  </a:lnTo>
                  <a:lnTo>
                    <a:pt x="174" y="324"/>
                  </a:lnTo>
                  <a:lnTo>
                    <a:pt x="174" y="330"/>
                  </a:lnTo>
                  <a:lnTo>
                    <a:pt x="180" y="336"/>
                  </a:lnTo>
                  <a:lnTo>
                    <a:pt x="216" y="336"/>
                  </a:lnTo>
                  <a:lnTo>
                    <a:pt x="240" y="342"/>
                  </a:lnTo>
                  <a:lnTo>
                    <a:pt x="258" y="354"/>
                  </a:lnTo>
                  <a:lnTo>
                    <a:pt x="264" y="348"/>
                  </a:lnTo>
                  <a:lnTo>
                    <a:pt x="282" y="360"/>
                  </a:lnTo>
                  <a:lnTo>
                    <a:pt x="294" y="348"/>
                  </a:lnTo>
                  <a:lnTo>
                    <a:pt x="300" y="360"/>
                  </a:lnTo>
                  <a:lnTo>
                    <a:pt x="318" y="354"/>
                  </a:lnTo>
                  <a:lnTo>
                    <a:pt x="324" y="360"/>
                  </a:lnTo>
                  <a:lnTo>
                    <a:pt x="336" y="354"/>
                  </a:lnTo>
                  <a:lnTo>
                    <a:pt x="348" y="366"/>
                  </a:lnTo>
                  <a:lnTo>
                    <a:pt x="348" y="360"/>
                  </a:lnTo>
                  <a:lnTo>
                    <a:pt x="354" y="354"/>
                  </a:lnTo>
                  <a:lnTo>
                    <a:pt x="372" y="354"/>
                  </a:lnTo>
                  <a:lnTo>
                    <a:pt x="378" y="360"/>
                  </a:lnTo>
                  <a:lnTo>
                    <a:pt x="378" y="372"/>
                  </a:lnTo>
                  <a:lnTo>
                    <a:pt x="384" y="372"/>
                  </a:lnTo>
                  <a:lnTo>
                    <a:pt x="396" y="366"/>
                  </a:lnTo>
                  <a:lnTo>
                    <a:pt x="420" y="366"/>
                  </a:lnTo>
                  <a:lnTo>
                    <a:pt x="426" y="372"/>
                  </a:lnTo>
                  <a:lnTo>
                    <a:pt x="444" y="372"/>
                  </a:lnTo>
                  <a:lnTo>
                    <a:pt x="450" y="366"/>
                  </a:lnTo>
                  <a:lnTo>
                    <a:pt x="450" y="354"/>
                  </a:lnTo>
                  <a:lnTo>
                    <a:pt x="444" y="348"/>
                  </a:lnTo>
                  <a:lnTo>
                    <a:pt x="450" y="336"/>
                  </a:lnTo>
                  <a:lnTo>
                    <a:pt x="456" y="330"/>
                  </a:lnTo>
                  <a:lnTo>
                    <a:pt x="468" y="324"/>
                  </a:lnTo>
                  <a:lnTo>
                    <a:pt x="474" y="312"/>
                  </a:lnTo>
                  <a:lnTo>
                    <a:pt x="498" y="312"/>
                  </a:lnTo>
                  <a:lnTo>
                    <a:pt x="516" y="318"/>
                  </a:lnTo>
                  <a:lnTo>
                    <a:pt x="516" y="300"/>
                  </a:lnTo>
                  <a:lnTo>
                    <a:pt x="510" y="288"/>
                  </a:lnTo>
                  <a:lnTo>
                    <a:pt x="504" y="282"/>
                  </a:lnTo>
                  <a:lnTo>
                    <a:pt x="504" y="264"/>
                  </a:lnTo>
                  <a:lnTo>
                    <a:pt x="480" y="240"/>
                  </a:lnTo>
                  <a:lnTo>
                    <a:pt x="480" y="234"/>
                  </a:lnTo>
                  <a:lnTo>
                    <a:pt x="486" y="228"/>
                  </a:lnTo>
                  <a:lnTo>
                    <a:pt x="510" y="228"/>
                  </a:lnTo>
                  <a:lnTo>
                    <a:pt x="510" y="234"/>
                  </a:lnTo>
                  <a:lnTo>
                    <a:pt x="516" y="234"/>
                  </a:lnTo>
                  <a:lnTo>
                    <a:pt x="522" y="240"/>
                  </a:lnTo>
                  <a:lnTo>
                    <a:pt x="528" y="240"/>
                  </a:lnTo>
                  <a:lnTo>
                    <a:pt x="552" y="228"/>
                  </a:lnTo>
                  <a:lnTo>
                    <a:pt x="558" y="216"/>
                  </a:lnTo>
                  <a:lnTo>
                    <a:pt x="570" y="210"/>
                  </a:lnTo>
                  <a:lnTo>
                    <a:pt x="546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46" y="186"/>
                  </a:lnTo>
                  <a:lnTo>
                    <a:pt x="540" y="180"/>
                  </a:lnTo>
                  <a:lnTo>
                    <a:pt x="504" y="180"/>
                  </a:lnTo>
                  <a:lnTo>
                    <a:pt x="504" y="156"/>
                  </a:lnTo>
                  <a:lnTo>
                    <a:pt x="474" y="144"/>
                  </a:lnTo>
                  <a:lnTo>
                    <a:pt x="474" y="132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44" y="84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8"/>
                  </a:lnTo>
                  <a:lnTo>
                    <a:pt x="432" y="42"/>
                  </a:lnTo>
                  <a:lnTo>
                    <a:pt x="396" y="24"/>
                  </a:lnTo>
                  <a:lnTo>
                    <a:pt x="390" y="18"/>
                  </a:lnTo>
                  <a:lnTo>
                    <a:pt x="384" y="18"/>
                  </a:lnTo>
                  <a:lnTo>
                    <a:pt x="354" y="36"/>
                  </a:lnTo>
                  <a:lnTo>
                    <a:pt x="348" y="18"/>
                  </a:lnTo>
                  <a:lnTo>
                    <a:pt x="312" y="12"/>
                  </a:lnTo>
                  <a:lnTo>
                    <a:pt x="300" y="18"/>
                  </a:lnTo>
                  <a:lnTo>
                    <a:pt x="300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52" y="6"/>
                  </a:lnTo>
                  <a:lnTo>
                    <a:pt x="246" y="18"/>
                  </a:lnTo>
                  <a:lnTo>
                    <a:pt x="240" y="24"/>
                  </a:lnTo>
                  <a:lnTo>
                    <a:pt x="234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30"/>
                  </a:lnTo>
                  <a:lnTo>
                    <a:pt x="180" y="36"/>
                  </a:lnTo>
                  <a:lnTo>
                    <a:pt x="174" y="42"/>
                  </a:lnTo>
                  <a:lnTo>
                    <a:pt x="174" y="54"/>
                  </a:lnTo>
                  <a:lnTo>
                    <a:pt x="192" y="72"/>
                  </a:lnTo>
                  <a:lnTo>
                    <a:pt x="186" y="78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72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44" y="120"/>
                  </a:lnTo>
                  <a:lnTo>
                    <a:pt x="132" y="120"/>
                  </a:lnTo>
                  <a:lnTo>
                    <a:pt x="132" y="126"/>
                  </a:lnTo>
                  <a:lnTo>
                    <a:pt x="138" y="132"/>
                  </a:lnTo>
                  <a:lnTo>
                    <a:pt x="138" y="144"/>
                  </a:lnTo>
                  <a:lnTo>
                    <a:pt x="144" y="15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38" y="150"/>
                  </a:lnTo>
                  <a:lnTo>
                    <a:pt x="138" y="144"/>
                  </a:lnTo>
                  <a:lnTo>
                    <a:pt x="120" y="144"/>
                  </a:lnTo>
                  <a:lnTo>
                    <a:pt x="108" y="150"/>
                  </a:lnTo>
                  <a:lnTo>
                    <a:pt x="102" y="156"/>
                  </a:lnTo>
                  <a:lnTo>
                    <a:pt x="96" y="168"/>
                  </a:lnTo>
                  <a:lnTo>
                    <a:pt x="84" y="156"/>
                  </a:lnTo>
                  <a:lnTo>
                    <a:pt x="84" y="174"/>
                  </a:lnTo>
                  <a:lnTo>
                    <a:pt x="54" y="174"/>
                  </a:lnTo>
                  <a:lnTo>
                    <a:pt x="54" y="168"/>
                  </a:lnTo>
                  <a:lnTo>
                    <a:pt x="48" y="162"/>
                  </a:lnTo>
                  <a:lnTo>
                    <a:pt x="42" y="162"/>
                  </a:lnTo>
                  <a:lnTo>
                    <a:pt x="30" y="168"/>
                  </a:lnTo>
                  <a:lnTo>
                    <a:pt x="18" y="168"/>
                  </a:lnTo>
                  <a:lnTo>
                    <a:pt x="12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18" y="204"/>
                  </a:lnTo>
                  <a:lnTo>
                    <a:pt x="24" y="210"/>
                  </a:lnTo>
                  <a:lnTo>
                    <a:pt x="36" y="234"/>
                  </a:lnTo>
                  <a:lnTo>
                    <a:pt x="42" y="240"/>
                  </a:lnTo>
                  <a:lnTo>
                    <a:pt x="42" y="246"/>
                  </a:lnTo>
                  <a:lnTo>
                    <a:pt x="36" y="252"/>
                  </a:lnTo>
                  <a:lnTo>
                    <a:pt x="36" y="264"/>
                  </a:lnTo>
                  <a:lnTo>
                    <a:pt x="12" y="270"/>
                  </a:lnTo>
                  <a:lnTo>
                    <a:pt x="12" y="288"/>
                  </a:lnTo>
                  <a:lnTo>
                    <a:pt x="0" y="288"/>
                  </a:lnTo>
                  <a:lnTo>
                    <a:pt x="0" y="294"/>
                  </a:lnTo>
                  <a:lnTo>
                    <a:pt x="6" y="300"/>
                  </a:lnTo>
                  <a:lnTo>
                    <a:pt x="12" y="300"/>
                  </a:lnTo>
                  <a:lnTo>
                    <a:pt x="24" y="31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177" name="Azerbaijan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5439699" y="3256600"/>
              <a:ext cx="116465" cy="89410"/>
            </a:xfrm>
            <a:custGeom>
              <a:avLst/>
              <a:gdLst>
                <a:gd name="T0" fmla="*/ 2147483647 w 360"/>
                <a:gd name="T1" fmla="*/ 2147483647 h 288"/>
                <a:gd name="T2" fmla="*/ 2147483647 w 360"/>
                <a:gd name="T3" fmla="*/ 2147483647 h 288"/>
                <a:gd name="T4" fmla="*/ 2147483647 w 360"/>
                <a:gd name="T5" fmla="*/ 2147483647 h 288"/>
                <a:gd name="T6" fmla="*/ 2147483647 w 360"/>
                <a:gd name="T7" fmla="*/ 2147483647 h 288"/>
                <a:gd name="T8" fmla="*/ 2147483647 w 360"/>
                <a:gd name="T9" fmla="*/ 2147483647 h 288"/>
                <a:gd name="T10" fmla="*/ 2147483647 w 360"/>
                <a:gd name="T11" fmla="*/ 2147483647 h 288"/>
                <a:gd name="T12" fmla="*/ 2147483647 w 360"/>
                <a:gd name="T13" fmla="*/ 2147483647 h 288"/>
                <a:gd name="T14" fmla="*/ 2147483647 w 360"/>
                <a:gd name="T15" fmla="*/ 2147483647 h 288"/>
                <a:gd name="T16" fmla="*/ 2147483647 w 360"/>
                <a:gd name="T17" fmla="*/ 2147483647 h 288"/>
                <a:gd name="T18" fmla="*/ 2147483647 w 360"/>
                <a:gd name="T19" fmla="*/ 2147483647 h 288"/>
                <a:gd name="T20" fmla="*/ 2147483647 w 360"/>
                <a:gd name="T21" fmla="*/ 2147483647 h 288"/>
                <a:gd name="T22" fmla="*/ 2147483647 w 360"/>
                <a:gd name="T23" fmla="*/ 2147483647 h 288"/>
                <a:gd name="T24" fmla="*/ 2147483647 w 360"/>
                <a:gd name="T25" fmla="*/ 2147483647 h 288"/>
                <a:gd name="T26" fmla="*/ 2147483647 w 360"/>
                <a:gd name="T27" fmla="*/ 0 h 288"/>
                <a:gd name="T28" fmla="*/ 2147483647 w 360"/>
                <a:gd name="T29" fmla="*/ 2147483647 h 288"/>
                <a:gd name="T30" fmla="*/ 2147483647 w 360"/>
                <a:gd name="T31" fmla="*/ 2147483647 h 288"/>
                <a:gd name="T32" fmla="*/ 2147483647 w 360"/>
                <a:gd name="T33" fmla="*/ 2147483647 h 288"/>
                <a:gd name="T34" fmla="*/ 2147483647 w 360"/>
                <a:gd name="T35" fmla="*/ 2147483647 h 288"/>
                <a:gd name="T36" fmla="*/ 2147483647 w 360"/>
                <a:gd name="T37" fmla="*/ 2147483647 h 288"/>
                <a:gd name="T38" fmla="*/ 2147483647 w 360"/>
                <a:gd name="T39" fmla="*/ 0 h 288"/>
                <a:gd name="T40" fmla="*/ 2147483647 w 360"/>
                <a:gd name="T41" fmla="*/ 2147483647 h 288"/>
                <a:gd name="T42" fmla="*/ 2147483647 w 360"/>
                <a:gd name="T43" fmla="*/ 2147483647 h 288"/>
                <a:gd name="T44" fmla="*/ 2147483647 w 360"/>
                <a:gd name="T45" fmla="*/ 2147483647 h 288"/>
                <a:gd name="T46" fmla="*/ 2147483647 w 360"/>
                <a:gd name="T47" fmla="*/ 2147483647 h 288"/>
                <a:gd name="T48" fmla="*/ 2147483647 w 360"/>
                <a:gd name="T49" fmla="*/ 2147483647 h 288"/>
                <a:gd name="T50" fmla="*/ 2147483647 w 360"/>
                <a:gd name="T51" fmla="*/ 2147483647 h 288"/>
                <a:gd name="T52" fmla="*/ 2147483647 w 360"/>
                <a:gd name="T53" fmla="*/ 2147483647 h 288"/>
                <a:gd name="T54" fmla="*/ 0 w 360"/>
                <a:gd name="T55" fmla="*/ 2147483647 h 288"/>
                <a:gd name="T56" fmla="*/ 2147483647 w 360"/>
                <a:gd name="T57" fmla="*/ 2147483647 h 288"/>
                <a:gd name="T58" fmla="*/ 2147483647 w 360"/>
                <a:gd name="T59" fmla="*/ 2147483647 h 288"/>
                <a:gd name="T60" fmla="*/ 2147483647 w 360"/>
                <a:gd name="T61" fmla="*/ 2147483647 h 288"/>
                <a:gd name="T62" fmla="*/ 2147483647 w 360"/>
                <a:gd name="T63" fmla="*/ 2147483647 h 288"/>
                <a:gd name="T64" fmla="*/ 2147483647 w 360"/>
                <a:gd name="T65" fmla="*/ 2147483647 h 288"/>
                <a:gd name="T66" fmla="*/ 2147483647 w 360"/>
                <a:gd name="T67" fmla="*/ 2147483647 h 288"/>
                <a:gd name="T68" fmla="*/ 2147483647 w 360"/>
                <a:gd name="T69" fmla="*/ 2147483647 h 288"/>
                <a:gd name="T70" fmla="*/ 2147483647 w 360"/>
                <a:gd name="T71" fmla="*/ 2147483647 h 288"/>
                <a:gd name="T72" fmla="*/ 2147483647 w 360"/>
                <a:gd name="T73" fmla="*/ 2147483647 h 288"/>
                <a:gd name="T74" fmla="*/ 2147483647 w 360"/>
                <a:gd name="T75" fmla="*/ 2147483647 h 288"/>
                <a:gd name="T76" fmla="*/ 2147483647 w 360"/>
                <a:gd name="T77" fmla="*/ 2147483647 h 288"/>
                <a:gd name="T78" fmla="*/ 2147483647 w 360"/>
                <a:gd name="T79" fmla="*/ 2147483647 h 288"/>
                <a:gd name="T80" fmla="*/ 2147483647 w 360"/>
                <a:gd name="T81" fmla="*/ 2147483647 h 288"/>
                <a:gd name="T82" fmla="*/ 2147483647 w 360"/>
                <a:gd name="T83" fmla="*/ 2147483647 h 288"/>
                <a:gd name="T84" fmla="*/ 2147483647 w 360"/>
                <a:gd name="T85" fmla="*/ 2147483647 h 288"/>
                <a:gd name="T86" fmla="*/ 2147483647 w 360"/>
                <a:gd name="T87" fmla="*/ 2147483647 h 288"/>
                <a:gd name="T88" fmla="*/ 2147483647 w 360"/>
                <a:gd name="T89" fmla="*/ 2147483647 h 288"/>
                <a:gd name="T90" fmla="*/ 2147483647 w 360"/>
                <a:gd name="T91" fmla="*/ 2147483647 h 288"/>
                <a:gd name="T92" fmla="*/ 2147483647 w 360"/>
                <a:gd name="T93" fmla="*/ 2147483647 h 288"/>
                <a:gd name="T94" fmla="*/ 2147483647 w 360"/>
                <a:gd name="T95" fmla="*/ 2147483647 h 288"/>
                <a:gd name="T96" fmla="*/ 2147483647 w 360"/>
                <a:gd name="T97" fmla="*/ 2147483647 h 288"/>
                <a:gd name="T98" fmla="*/ 2147483647 w 360"/>
                <a:gd name="T99" fmla="*/ 2147483647 h 288"/>
                <a:gd name="T100" fmla="*/ 2147483647 w 360"/>
                <a:gd name="T101" fmla="*/ 2147483647 h 288"/>
                <a:gd name="T102" fmla="*/ 2147483647 w 360"/>
                <a:gd name="T103" fmla="*/ 2147483647 h 288"/>
                <a:gd name="T104" fmla="*/ 2147483647 w 360"/>
                <a:gd name="T105" fmla="*/ 2147483647 h 288"/>
                <a:gd name="T106" fmla="*/ 2147483647 w 360"/>
                <a:gd name="T107" fmla="*/ 2147483647 h 288"/>
                <a:gd name="T108" fmla="*/ 2147483647 w 360"/>
                <a:gd name="T109" fmla="*/ 2147483647 h 288"/>
                <a:gd name="T110" fmla="*/ 2147483647 w 360"/>
                <a:gd name="T111" fmla="*/ 2147483647 h 288"/>
                <a:gd name="T112" fmla="*/ 2147483647 w 360"/>
                <a:gd name="T113" fmla="*/ 2147483647 h 288"/>
                <a:gd name="T114" fmla="*/ 2147483647 w 360"/>
                <a:gd name="T115" fmla="*/ 2147483647 h 288"/>
                <a:gd name="T116" fmla="*/ 2147483647 w 360"/>
                <a:gd name="T117" fmla="*/ 2147483647 h 288"/>
                <a:gd name="T118" fmla="*/ 2147483647 w 360"/>
                <a:gd name="T119" fmla="*/ 2147483647 h 288"/>
                <a:gd name="T120" fmla="*/ 2147483647 w 360"/>
                <a:gd name="T121" fmla="*/ 2147483647 h 2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60"/>
                <a:gd name="T184" fmla="*/ 0 h 288"/>
                <a:gd name="T185" fmla="*/ 360 w 360"/>
                <a:gd name="T186" fmla="*/ 288 h 2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60" h="288">
                  <a:moveTo>
                    <a:pt x="66" y="186"/>
                  </a:moveTo>
                  <a:lnTo>
                    <a:pt x="36" y="186"/>
                  </a:lnTo>
                  <a:lnTo>
                    <a:pt x="24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2" y="192"/>
                  </a:lnTo>
                  <a:lnTo>
                    <a:pt x="18" y="204"/>
                  </a:lnTo>
                  <a:lnTo>
                    <a:pt x="36" y="222"/>
                  </a:lnTo>
                  <a:lnTo>
                    <a:pt x="48" y="228"/>
                  </a:lnTo>
                  <a:lnTo>
                    <a:pt x="84" y="240"/>
                  </a:lnTo>
                  <a:lnTo>
                    <a:pt x="90" y="240"/>
                  </a:lnTo>
                  <a:lnTo>
                    <a:pt x="84" y="234"/>
                  </a:lnTo>
                  <a:lnTo>
                    <a:pt x="84" y="222"/>
                  </a:lnTo>
                  <a:lnTo>
                    <a:pt x="78" y="216"/>
                  </a:lnTo>
                  <a:lnTo>
                    <a:pt x="78" y="204"/>
                  </a:lnTo>
                  <a:lnTo>
                    <a:pt x="72" y="198"/>
                  </a:lnTo>
                  <a:lnTo>
                    <a:pt x="72" y="186"/>
                  </a:lnTo>
                  <a:lnTo>
                    <a:pt x="66" y="186"/>
                  </a:lnTo>
                  <a:close/>
                  <a:moveTo>
                    <a:pt x="354" y="108"/>
                  </a:moveTo>
                  <a:lnTo>
                    <a:pt x="348" y="102"/>
                  </a:lnTo>
                  <a:lnTo>
                    <a:pt x="330" y="102"/>
                  </a:lnTo>
                  <a:lnTo>
                    <a:pt x="318" y="108"/>
                  </a:lnTo>
                  <a:lnTo>
                    <a:pt x="306" y="108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64" y="54"/>
                  </a:lnTo>
                  <a:lnTo>
                    <a:pt x="264" y="42"/>
                  </a:lnTo>
                  <a:lnTo>
                    <a:pt x="216" y="0"/>
                  </a:lnTo>
                  <a:lnTo>
                    <a:pt x="216" y="30"/>
                  </a:lnTo>
                  <a:lnTo>
                    <a:pt x="210" y="36"/>
                  </a:lnTo>
                  <a:lnTo>
                    <a:pt x="192" y="36"/>
                  </a:lnTo>
                  <a:lnTo>
                    <a:pt x="192" y="48"/>
                  </a:lnTo>
                  <a:lnTo>
                    <a:pt x="186" y="54"/>
                  </a:lnTo>
                  <a:lnTo>
                    <a:pt x="162" y="54"/>
                  </a:lnTo>
                  <a:lnTo>
                    <a:pt x="156" y="48"/>
                  </a:lnTo>
                  <a:lnTo>
                    <a:pt x="144" y="42"/>
                  </a:lnTo>
                  <a:lnTo>
                    <a:pt x="138" y="30"/>
                  </a:lnTo>
                  <a:lnTo>
                    <a:pt x="120" y="12"/>
                  </a:lnTo>
                  <a:lnTo>
                    <a:pt x="84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78" y="30"/>
                  </a:lnTo>
                  <a:lnTo>
                    <a:pt x="84" y="30"/>
                  </a:lnTo>
                  <a:lnTo>
                    <a:pt x="90" y="36"/>
                  </a:lnTo>
                  <a:lnTo>
                    <a:pt x="96" y="48"/>
                  </a:lnTo>
                  <a:lnTo>
                    <a:pt x="102" y="54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84" y="54"/>
                  </a:lnTo>
                  <a:lnTo>
                    <a:pt x="72" y="54"/>
                  </a:lnTo>
                  <a:lnTo>
                    <a:pt x="60" y="60"/>
                  </a:lnTo>
                  <a:lnTo>
                    <a:pt x="42" y="42"/>
                  </a:lnTo>
                  <a:lnTo>
                    <a:pt x="42" y="36"/>
                  </a:lnTo>
                  <a:lnTo>
                    <a:pt x="36" y="30"/>
                  </a:lnTo>
                  <a:lnTo>
                    <a:pt x="12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48"/>
                  </a:lnTo>
                  <a:lnTo>
                    <a:pt x="12" y="54"/>
                  </a:lnTo>
                  <a:lnTo>
                    <a:pt x="12" y="66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42" y="108"/>
                  </a:lnTo>
                  <a:lnTo>
                    <a:pt x="66" y="120"/>
                  </a:lnTo>
                  <a:lnTo>
                    <a:pt x="72" y="126"/>
                  </a:lnTo>
                  <a:lnTo>
                    <a:pt x="72" y="132"/>
                  </a:lnTo>
                  <a:lnTo>
                    <a:pt x="54" y="150"/>
                  </a:lnTo>
                  <a:lnTo>
                    <a:pt x="42" y="150"/>
                  </a:lnTo>
                  <a:lnTo>
                    <a:pt x="72" y="162"/>
                  </a:lnTo>
                  <a:lnTo>
                    <a:pt x="84" y="180"/>
                  </a:lnTo>
                  <a:lnTo>
                    <a:pt x="114" y="186"/>
                  </a:lnTo>
                  <a:lnTo>
                    <a:pt x="114" y="198"/>
                  </a:lnTo>
                  <a:lnTo>
                    <a:pt x="120" y="210"/>
                  </a:lnTo>
                  <a:lnTo>
                    <a:pt x="120" y="240"/>
                  </a:lnTo>
                  <a:lnTo>
                    <a:pt x="132" y="240"/>
                  </a:lnTo>
                  <a:lnTo>
                    <a:pt x="138" y="228"/>
                  </a:lnTo>
                  <a:lnTo>
                    <a:pt x="144" y="222"/>
                  </a:lnTo>
                  <a:lnTo>
                    <a:pt x="144" y="216"/>
                  </a:lnTo>
                  <a:lnTo>
                    <a:pt x="156" y="204"/>
                  </a:lnTo>
                  <a:lnTo>
                    <a:pt x="174" y="192"/>
                  </a:lnTo>
                  <a:lnTo>
                    <a:pt x="186" y="186"/>
                  </a:lnTo>
                  <a:lnTo>
                    <a:pt x="198" y="174"/>
                  </a:lnTo>
                  <a:lnTo>
                    <a:pt x="210" y="168"/>
                  </a:lnTo>
                  <a:lnTo>
                    <a:pt x="222" y="168"/>
                  </a:lnTo>
                  <a:lnTo>
                    <a:pt x="228" y="180"/>
                  </a:lnTo>
                  <a:lnTo>
                    <a:pt x="234" y="186"/>
                  </a:lnTo>
                  <a:lnTo>
                    <a:pt x="234" y="204"/>
                  </a:lnTo>
                  <a:lnTo>
                    <a:pt x="228" y="210"/>
                  </a:lnTo>
                  <a:lnTo>
                    <a:pt x="228" y="222"/>
                  </a:lnTo>
                  <a:lnTo>
                    <a:pt x="234" y="222"/>
                  </a:lnTo>
                  <a:lnTo>
                    <a:pt x="240" y="228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2" y="240"/>
                  </a:lnTo>
                  <a:lnTo>
                    <a:pt x="222" y="246"/>
                  </a:lnTo>
                  <a:lnTo>
                    <a:pt x="234" y="258"/>
                  </a:lnTo>
                  <a:lnTo>
                    <a:pt x="246" y="264"/>
                  </a:lnTo>
                  <a:lnTo>
                    <a:pt x="252" y="270"/>
                  </a:lnTo>
                  <a:lnTo>
                    <a:pt x="258" y="270"/>
                  </a:lnTo>
                  <a:lnTo>
                    <a:pt x="264" y="276"/>
                  </a:lnTo>
                  <a:lnTo>
                    <a:pt x="264" y="282"/>
                  </a:lnTo>
                  <a:lnTo>
                    <a:pt x="282" y="282"/>
                  </a:lnTo>
                  <a:lnTo>
                    <a:pt x="282" y="288"/>
                  </a:lnTo>
                  <a:lnTo>
                    <a:pt x="288" y="282"/>
                  </a:lnTo>
                  <a:lnTo>
                    <a:pt x="288" y="258"/>
                  </a:lnTo>
                  <a:lnTo>
                    <a:pt x="282" y="252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88" y="240"/>
                  </a:lnTo>
                  <a:lnTo>
                    <a:pt x="288" y="210"/>
                  </a:lnTo>
                  <a:lnTo>
                    <a:pt x="300" y="222"/>
                  </a:lnTo>
                  <a:lnTo>
                    <a:pt x="306" y="222"/>
                  </a:lnTo>
                  <a:lnTo>
                    <a:pt x="318" y="210"/>
                  </a:lnTo>
                  <a:lnTo>
                    <a:pt x="300" y="192"/>
                  </a:lnTo>
                  <a:lnTo>
                    <a:pt x="300" y="138"/>
                  </a:lnTo>
                  <a:lnTo>
                    <a:pt x="318" y="138"/>
                  </a:lnTo>
                  <a:lnTo>
                    <a:pt x="330" y="126"/>
                  </a:lnTo>
                  <a:lnTo>
                    <a:pt x="360" y="132"/>
                  </a:lnTo>
                  <a:lnTo>
                    <a:pt x="360" y="120"/>
                  </a:lnTo>
                  <a:lnTo>
                    <a:pt x="354" y="10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178" name="Austria" descr="© INSCALE GmbH, 05.05.2010&#10;http://www.presentationload.com/"/>
            <p:cNvSpPr>
              <a:spLocks/>
            </p:cNvSpPr>
            <p:nvPr/>
          </p:nvSpPr>
          <p:spPr bwMode="gray">
            <a:xfrm>
              <a:off x="4689712" y="3081456"/>
              <a:ext cx="148462" cy="63689"/>
            </a:xfrm>
            <a:custGeom>
              <a:avLst/>
              <a:gdLst>
                <a:gd name="T0" fmla="*/ 2147483647 w 456"/>
                <a:gd name="T1" fmla="*/ 2147483647 h 204"/>
                <a:gd name="T2" fmla="*/ 2147483647 w 456"/>
                <a:gd name="T3" fmla="*/ 2147483647 h 204"/>
                <a:gd name="T4" fmla="*/ 2147483647 w 456"/>
                <a:gd name="T5" fmla="*/ 2147483647 h 204"/>
                <a:gd name="T6" fmla="*/ 2147483647 w 456"/>
                <a:gd name="T7" fmla="*/ 2147483647 h 204"/>
                <a:gd name="T8" fmla="*/ 2147483647 w 456"/>
                <a:gd name="T9" fmla="*/ 2147483647 h 204"/>
                <a:gd name="T10" fmla="*/ 2147483647 w 456"/>
                <a:gd name="T11" fmla="*/ 2147483647 h 204"/>
                <a:gd name="T12" fmla="*/ 2147483647 w 456"/>
                <a:gd name="T13" fmla="*/ 2147483647 h 204"/>
                <a:gd name="T14" fmla="*/ 2147483647 w 456"/>
                <a:gd name="T15" fmla="*/ 0 h 204"/>
                <a:gd name="T16" fmla="*/ 2147483647 w 456"/>
                <a:gd name="T17" fmla="*/ 2147483647 h 204"/>
                <a:gd name="T18" fmla="*/ 2147483647 w 456"/>
                <a:gd name="T19" fmla="*/ 2147483647 h 204"/>
                <a:gd name="T20" fmla="*/ 2147483647 w 456"/>
                <a:gd name="T21" fmla="*/ 2147483647 h 204"/>
                <a:gd name="T22" fmla="*/ 2147483647 w 456"/>
                <a:gd name="T23" fmla="*/ 2147483647 h 204"/>
                <a:gd name="T24" fmla="*/ 2147483647 w 456"/>
                <a:gd name="T25" fmla="*/ 2147483647 h 204"/>
                <a:gd name="T26" fmla="*/ 2147483647 w 456"/>
                <a:gd name="T27" fmla="*/ 2147483647 h 204"/>
                <a:gd name="T28" fmla="*/ 2147483647 w 456"/>
                <a:gd name="T29" fmla="*/ 2147483647 h 204"/>
                <a:gd name="T30" fmla="*/ 2147483647 w 456"/>
                <a:gd name="T31" fmla="*/ 2147483647 h 204"/>
                <a:gd name="T32" fmla="*/ 2147483647 w 456"/>
                <a:gd name="T33" fmla="*/ 2147483647 h 204"/>
                <a:gd name="T34" fmla="*/ 2147483647 w 456"/>
                <a:gd name="T35" fmla="*/ 2147483647 h 204"/>
                <a:gd name="T36" fmla="*/ 2147483647 w 456"/>
                <a:gd name="T37" fmla="*/ 2147483647 h 204"/>
                <a:gd name="T38" fmla="*/ 2147483647 w 456"/>
                <a:gd name="T39" fmla="*/ 2147483647 h 204"/>
                <a:gd name="T40" fmla="*/ 2147483647 w 456"/>
                <a:gd name="T41" fmla="*/ 2147483647 h 204"/>
                <a:gd name="T42" fmla="*/ 2147483647 w 456"/>
                <a:gd name="T43" fmla="*/ 2147483647 h 204"/>
                <a:gd name="T44" fmla="*/ 2147483647 w 456"/>
                <a:gd name="T45" fmla="*/ 2147483647 h 204"/>
                <a:gd name="T46" fmla="*/ 2147483647 w 456"/>
                <a:gd name="T47" fmla="*/ 2147483647 h 204"/>
                <a:gd name="T48" fmla="*/ 2147483647 w 456"/>
                <a:gd name="T49" fmla="*/ 2147483647 h 204"/>
                <a:gd name="T50" fmla="*/ 2147483647 w 456"/>
                <a:gd name="T51" fmla="*/ 2147483647 h 204"/>
                <a:gd name="T52" fmla="*/ 2147483647 w 456"/>
                <a:gd name="T53" fmla="*/ 2147483647 h 204"/>
                <a:gd name="T54" fmla="*/ 0 w 456"/>
                <a:gd name="T55" fmla="*/ 2147483647 h 204"/>
                <a:gd name="T56" fmla="*/ 2147483647 w 456"/>
                <a:gd name="T57" fmla="*/ 2147483647 h 204"/>
                <a:gd name="T58" fmla="*/ 2147483647 w 456"/>
                <a:gd name="T59" fmla="*/ 2147483647 h 204"/>
                <a:gd name="T60" fmla="*/ 2147483647 w 456"/>
                <a:gd name="T61" fmla="*/ 2147483647 h 204"/>
                <a:gd name="T62" fmla="*/ 2147483647 w 456"/>
                <a:gd name="T63" fmla="*/ 2147483647 h 204"/>
                <a:gd name="T64" fmla="*/ 2147483647 w 456"/>
                <a:gd name="T65" fmla="*/ 2147483647 h 204"/>
                <a:gd name="T66" fmla="*/ 2147483647 w 456"/>
                <a:gd name="T67" fmla="*/ 2147483647 h 204"/>
                <a:gd name="T68" fmla="*/ 2147483647 w 456"/>
                <a:gd name="T69" fmla="*/ 2147483647 h 204"/>
                <a:gd name="T70" fmla="*/ 2147483647 w 456"/>
                <a:gd name="T71" fmla="*/ 2147483647 h 204"/>
                <a:gd name="T72" fmla="*/ 2147483647 w 456"/>
                <a:gd name="T73" fmla="*/ 2147483647 h 204"/>
                <a:gd name="T74" fmla="*/ 2147483647 w 456"/>
                <a:gd name="T75" fmla="*/ 2147483647 h 204"/>
                <a:gd name="T76" fmla="*/ 2147483647 w 456"/>
                <a:gd name="T77" fmla="*/ 2147483647 h 204"/>
                <a:gd name="T78" fmla="*/ 2147483647 w 456"/>
                <a:gd name="T79" fmla="*/ 2147483647 h 204"/>
                <a:gd name="T80" fmla="*/ 2147483647 w 456"/>
                <a:gd name="T81" fmla="*/ 2147483647 h 204"/>
                <a:gd name="T82" fmla="*/ 2147483647 w 456"/>
                <a:gd name="T83" fmla="*/ 2147483647 h 204"/>
                <a:gd name="T84" fmla="*/ 2147483647 w 456"/>
                <a:gd name="T85" fmla="*/ 2147483647 h 204"/>
                <a:gd name="T86" fmla="*/ 2147483647 w 456"/>
                <a:gd name="T87" fmla="*/ 2147483647 h 204"/>
                <a:gd name="T88" fmla="*/ 2147483647 w 456"/>
                <a:gd name="T89" fmla="*/ 2147483647 h 204"/>
                <a:gd name="T90" fmla="*/ 2147483647 w 456"/>
                <a:gd name="T91" fmla="*/ 2147483647 h 20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56"/>
                <a:gd name="T139" fmla="*/ 0 h 204"/>
                <a:gd name="T140" fmla="*/ 456 w 456"/>
                <a:gd name="T141" fmla="*/ 204 h 204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56" h="204">
                  <a:moveTo>
                    <a:pt x="456" y="102"/>
                  </a:moveTo>
                  <a:lnTo>
                    <a:pt x="456" y="60"/>
                  </a:lnTo>
                  <a:lnTo>
                    <a:pt x="450" y="60"/>
                  </a:lnTo>
                  <a:lnTo>
                    <a:pt x="450" y="48"/>
                  </a:lnTo>
                  <a:lnTo>
                    <a:pt x="456" y="24"/>
                  </a:lnTo>
                  <a:lnTo>
                    <a:pt x="444" y="18"/>
                  </a:lnTo>
                  <a:lnTo>
                    <a:pt x="438" y="18"/>
                  </a:lnTo>
                  <a:lnTo>
                    <a:pt x="432" y="12"/>
                  </a:lnTo>
                  <a:lnTo>
                    <a:pt x="420" y="12"/>
                  </a:lnTo>
                  <a:lnTo>
                    <a:pt x="414" y="18"/>
                  </a:lnTo>
                  <a:lnTo>
                    <a:pt x="402" y="24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66" y="6"/>
                  </a:lnTo>
                  <a:lnTo>
                    <a:pt x="354" y="0"/>
                  </a:lnTo>
                  <a:lnTo>
                    <a:pt x="336" y="0"/>
                  </a:lnTo>
                  <a:lnTo>
                    <a:pt x="330" y="6"/>
                  </a:lnTo>
                  <a:lnTo>
                    <a:pt x="324" y="18"/>
                  </a:lnTo>
                  <a:lnTo>
                    <a:pt x="318" y="18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300" y="30"/>
                  </a:lnTo>
                  <a:lnTo>
                    <a:pt x="288" y="36"/>
                  </a:lnTo>
                  <a:lnTo>
                    <a:pt x="276" y="36"/>
                  </a:lnTo>
                  <a:lnTo>
                    <a:pt x="258" y="18"/>
                  </a:lnTo>
                  <a:lnTo>
                    <a:pt x="252" y="36"/>
                  </a:lnTo>
                  <a:lnTo>
                    <a:pt x="234" y="36"/>
                  </a:lnTo>
                  <a:lnTo>
                    <a:pt x="240" y="48"/>
                  </a:lnTo>
                  <a:lnTo>
                    <a:pt x="240" y="66"/>
                  </a:lnTo>
                  <a:lnTo>
                    <a:pt x="234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66"/>
                  </a:lnTo>
                  <a:lnTo>
                    <a:pt x="204" y="72"/>
                  </a:lnTo>
                  <a:lnTo>
                    <a:pt x="198" y="78"/>
                  </a:lnTo>
                  <a:lnTo>
                    <a:pt x="198" y="84"/>
                  </a:lnTo>
                  <a:lnTo>
                    <a:pt x="210" y="84"/>
                  </a:lnTo>
                  <a:lnTo>
                    <a:pt x="210" y="126"/>
                  </a:lnTo>
                  <a:lnTo>
                    <a:pt x="204" y="126"/>
                  </a:lnTo>
                  <a:lnTo>
                    <a:pt x="192" y="114"/>
                  </a:lnTo>
                  <a:lnTo>
                    <a:pt x="174" y="108"/>
                  </a:lnTo>
                  <a:lnTo>
                    <a:pt x="162" y="102"/>
                  </a:lnTo>
                  <a:lnTo>
                    <a:pt x="144" y="114"/>
                  </a:lnTo>
                  <a:lnTo>
                    <a:pt x="126" y="114"/>
                  </a:lnTo>
                  <a:lnTo>
                    <a:pt x="108" y="126"/>
                  </a:lnTo>
                  <a:lnTo>
                    <a:pt x="102" y="132"/>
                  </a:lnTo>
                  <a:lnTo>
                    <a:pt x="84" y="132"/>
                  </a:lnTo>
                  <a:lnTo>
                    <a:pt x="66" y="114"/>
                  </a:lnTo>
                  <a:lnTo>
                    <a:pt x="48" y="114"/>
                  </a:lnTo>
                  <a:lnTo>
                    <a:pt x="48" y="126"/>
                  </a:lnTo>
                  <a:lnTo>
                    <a:pt x="42" y="132"/>
                  </a:lnTo>
                  <a:lnTo>
                    <a:pt x="30" y="132"/>
                  </a:lnTo>
                  <a:lnTo>
                    <a:pt x="30" y="126"/>
                  </a:lnTo>
                  <a:lnTo>
                    <a:pt x="24" y="120"/>
                  </a:lnTo>
                  <a:lnTo>
                    <a:pt x="0" y="120"/>
                  </a:lnTo>
                  <a:lnTo>
                    <a:pt x="0" y="156"/>
                  </a:lnTo>
                  <a:lnTo>
                    <a:pt x="18" y="156"/>
                  </a:lnTo>
                  <a:lnTo>
                    <a:pt x="18" y="174"/>
                  </a:lnTo>
                  <a:lnTo>
                    <a:pt x="24" y="174"/>
                  </a:lnTo>
                  <a:lnTo>
                    <a:pt x="42" y="156"/>
                  </a:lnTo>
                  <a:lnTo>
                    <a:pt x="48" y="156"/>
                  </a:lnTo>
                  <a:lnTo>
                    <a:pt x="60" y="168"/>
                  </a:lnTo>
                  <a:lnTo>
                    <a:pt x="60" y="174"/>
                  </a:lnTo>
                  <a:lnTo>
                    <a:pt x="72" y="174"/>
                  </a:lnTo>
                  <a:lnTo>
                    <a:pt x="84" y="180"/>
                  </a:lnTo>
                  <a:lnTo>
                    <a:pt x="96" y="162"/>
                  </a:lnTo>
                  <a:lnTo>
                    <a:pt x="138" y="162"/>
                  </a:lnTo>
                  <a:lnTo>
                    <a:pt x="138" y="156"/>
                  </a:lnTo>
                  <a:lnTo>
                    <a:pt x="144" y="150"/>
                  </a:lnTo>
                  <a:lnTo>
                    <a:pt x="162" y="150"/>
                  </a:lnTo>
                  <a:lnTo>
                    <a:pt x="168" y="156"/>
                  </a:lnTo>
                  <a:lnTo>
                    <a:pt x="168" y="174"/>
                  </a:lnTo>
                  <a:lnTo>
                    <a:pt x="180" y="174"/>
                  </a:lnTo>
                  <a:lnTo>
                    <a:pt x="186" y="192"/>
                  </a:lnTo>
                  <a:lnTo>
                    <a:pt x="240" y="192"/>
                  </a:lnTo>
                  <a:lnTo>
                    <a:pt x="240" y="204"/>
                  </a:lnTo>
                  <a:lnTo>
                    <a:pt x="258" y="204"/>
                  </a:lnTo>
                  <a:lnTo>
                    <a:pt x="264" y="198"/>
                  </a:lnTo>
                  <a:lnTo>
                    <a:pt x="282" y="198"/>
                  </a:lnTo>
                  <a:lnTo>
                    <a:pt x="288" y="204"/>
                  </a:lnTo>
                  <a:lnTo>
                    <a:pt x="318" y="204"/>
                  </a:lnTo>
                  <a:lnTo>
                    <a:pt x="318" y="192"/>
                  </a:lnTo>
                  <a:lnTo>
                    <a:pt x="366" y="192"/>
                  </a:lnTo>
                  <a:lnTo>
                    <a:pt x="378" y="186"/>
                  </a:lnTo>
                  <a:lnTo>
                    <a:pt x="402" y="192"/>
                  </a:lnTo>
                  <a:lnTo>
                    <a:pt x="414" y="156"/>
                  </a:lnTo>
                  <a:lnTo>
                    <a:pt x="432" y="156"/>
                  </a:lnTo>
                  <a:lnTo>
                    <a:pt x="432" y="132"/>
                  </a:lnTo>
                  <a:lnTo>
                    <a:pt x="444" y="114"/>
                  </a:lnTo>
                  <a:lnTo>
                    <a:pt x="432" y="114"/>
                  </a:lnTo>
                  <a:lnTo>
                    <a:pt x="438" y="102"/>
                  </a:lnTo>
                  <a:lnTo>
                    <a:pt x="456" y="10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179" name="Australia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6979347" y="4570799"/>
              <a:ext cx="921486" cy="826733"/>
            </a:xfrm>
            <a:custGeom>
              <a:avLst/>
              <a:gdLst>
                <a:gd name="T0" fmla="*/ 2147483647 w 2838"/>
                <a:gd name="T1" fmla="*/ 2147483647 h 2664"/>
                <a:gd name="T2" fmla="*/ 2147483647 w 2838"/>
                <a:gd name="T3" fmla="*/ 2147483647 h 2664"/>
                <a:gd name="T4" fmla="*/ 2147483647 w 2838"/>
                <a:gd name="T5" fmla="*/ 2147483647 h 2664"/>
                <a:gd name="T6" fmla="*/ 2147483647 w 2838"/>
                <a:gd name="T7" fmla="*/ 2147483647 h 2664"/>
                <a:gd name="T8" fmla="*/ 2147483647 w 2838"/>
                <a:gd name="T9" fmla="*/ 2147483647 h 2664"/>
                <a:gd name="T10" fmla="*/ 2147483647 w 2838"/>
                <a:gd name="T11" fmla="*/ 2147483647 h 2664"/>
                <a:gd name="T12" fmla="*/ 2147483647 w 2838"/>
                <a:gd name="T13" fmla="*/ 2147483647 h 2664"/>
                <a:gd name="T14" fmla="*/ 2147483647 w 2838"/>
                <a:gd name="T15" fmla="*/ 2147483647 h 2664"/>
                <a:gd name="T16" fmla="*/ 2147483647 w 2838"/>
                <a:gd name="T17" fmla="*/ 2147483647 h 2664"/>
                <a:gd name="T18" fmla="*/ 2147483647 w 2838"/>
                <a:gd name="T19" fmla="*/ 2147483647 h 2664"/>
                <a:gd name="T20" fmla="*/ 2147483647 w 2838"/>
                <a:gd name="T21" fmla="*/ 2147483647 h 2664"/>
                <a:gd name="T22" fmla="*/ 2147483647 w 2838"/>
                <a:gd name="T23" fmla="*/ 2147483647 h 2664"/>
                <a:gd name="T24" fmla="*/ 2147483647 w 2838"/>
                <a:gd name="T25" fmla="*/ 2147483647 h 2664"/>
                <a:gd name="T26" fmla="*/ 2147483647 w 2838"/>
                <a:gd name="T27" fmla="*/ 2147483647 h 2664"/>
                <a:gd name="T28" fmla="*/ 2147483647 w 2838"/>
                <a:gd name="T29" fmla="*/ 2147483647 h 2664"/>
                <a:gd name="T30" fmla="*/ 2147483647 w 2838"/>
                <a:gd name="T31" fmla="*/ 2147483647 h 2664"/>
                <a:gd name="T32" fmla="*/ 2147483647 w 2838"/>
                <a:gd name="T33" fmla="*/ 2147483647 h 2664"/>
                <a:gd name="T34" fmla="*/ 2147483647 w 2838"/>
                <a:gd name="T35" fmla="*/ 2147483647 h 2664"/>
                <a:gd name="T36" fmla="*/ 2147483647 w 2838"/>
                <a:gd name="T37" fmla="*/ 2147483647 h 2664"/>
                <a:gd name="T38" fmla="*/ 2147483647 w 2838"/>
                <a:gd name="T39" fmla="*/ 2147483647 h 2664"/>
                <a:gd name="T40" fmla="*/ 2147483647 w 2838"/>
                <a:gd name="T41" fmla="*/ 2147483647 h 2664"/>
                <a:gd name="T42" fmla="*/ 2147483647 w 2838"/>
                <a:gd name="T43" fmla="*/ 2147483647 h 2664"/>
                <a:gd name="T44" fmla="*/ 2147483647 w 2838"/>
                <a:gd name="T45" fmla="*/ 2147483647 h 2664"/>
                <a:gd name="T46" fmla="*/ 2147483647 w 2838"/>
                <a:gd name="T47" fmla="*/ 2147483647 h 2664"/>
                <a:gd name="T48" fmla="*/ 2147483647 w 2838"/>
                <a:gd name="T49" fmla="*/ 2147483647 h 2664"/>
                <a:gd name="T50" fmla="*/ 2147483647 w 2838"/>
                <a:gd name="T51" fmla="*/ 2147483647 h 2664"/>
                <a:gd name="T52" fmla="*/ 2147483647 w 2838"/>
                <a:gd name="T53" fmla="*/ 2147483647 h 2664"/>
                <a:gd name="T54" fmla="*/ 2147483647 w 2838"/>
                <a:gd name="T55" fmla="*/ 2147483647 h 2664"/>
                <a:gd name="T56" fmla="*/ 2147483647 w 2838"/>
                <a:gd name="T57" fmla="*/ 2147483647 h 2664"/>
                <a:gd name="T58" fmla="*/ 2147483647 w 2838"/>
                <a:gd name="T59" fmla="*/ 2147483647 h 2664"/>
                <a:gd name="T60" fmla="*/ 2147483647 w 2838"/>
                <a:gd name="T61" fmla="*/ 2147483647 h 2664"/>
                <a:gd name="T62" fmla="*/ 2147483647 w 2838"/>
                <a:gd name="T63" fmla="*/ 2147483647 h 2664"/>
                <a:gd name="T64" fmla="*/ 2147483647 w 2838"/>
                <a:gd name="T65" fmla="*/ 2147483647 h 2664"/>
                <a:gd name="T66" fmla="*/ 2147483647 w 2838"/>
                <a:gd name="T67" fmla="*/ 2147483647 h 2664"/>
                <a:gd name="T68" fmla="*/ 2147483647 w 2838"/>
                <a:gd name="T69" fmla="*/ 2147483647 h 2664"/>
                <a:gd name="T70" fmla="*/ 2147483647 w 2838"/>
                <a:gd name="T71" fmla="*/ 2147483647 h 2664"/>
                <a:gd name="T72" fmla="*/ 2147483647 w 2838"/>
                <a:gd name="T73" fmla="*/ 2147483647 h 2664"/>
                <a:gd name="T74" fmla="*/ 2147483647 w 2838"/>
                <a:gd name="T75" fmla="*/ 2147483647 h 2664"/>
                <a:gd name="T76" fmla="*/ 2147483647 w 2838"/>
                <a:gd name="T77" fmla="*/ 2147483647 h 2664"/>
                <a:gd name="T78" fmla="*/ 2147483647 w 2838"/>
                <a:gd name="T79" fmla="*/ 2147483647 h 2664"/>
                <a:gd name="T80" fmla="*/ 2147483647 w 2838"/>
                <a:gd name="T81" fmla="*/ 2147483647 h 2664"/>
                <a:gd name="T82" fmla="*/ 2147483647 w 2838"/>
                <a:gd name="T83" fmla="*/ 2147483647 h 2664"/>
                <a:gd name="T84" fmla="*/ 2147483647 w 2838"/>
                <a:gd name="T85" fmla="*/ 2147483647 h 2664"/>
                <a:gd name="T86" fmla="*/ 2147483647 w 2838"/>
                <a:gd name="T87" fmla="*/ 2147483647 h 2664"/>
                <a:gd name="T88" fmla="*/ 2147483647 w 2838"/>
                <a:gd name="T89" fmla="*/ 2147483647 h 2664"/>
                <a:gd name="T90" fmla="*/ 2147483647 w 2838"/>
                <a:gd name="T91" fmla="*/ 2147483647 h 2664"/>
                <a:gd name="T92" fmla="*/ 2147483647 w 2838"/>
                <a:gd name="T93" fmla="*/ 2147483647 h 2664"/>
                <a:gd name="T94" fmla="*/ 2147483647 w 2838"/>
                <a:gd name="T95" fmla="*/ 2147483647 h 2664"/>
                <a:gd name="T96" fmla="*/ 2147483647 w 2838"/>
                <a:gd name="T97" fmla="*/ 2147483647 h 2664"/>
                <a:gd name="T98" fmla="*/ 2147483647 w 2838"/>
                <a:gd name="T99" fmla="*/ 2147483647 h 2664"/>
                <a:gd name="T100" fmla="*/ 2147483647 w 2838"/>
                <a:gd name="T101" fmla="*/ 2147483647 h 2664"/>
                <a:gd name="T102" fmla="*/ 2147483647 w 2838"/>
                <a:gd name="T103" fmla="*/ 2147483647 h 2664"/>
                <a:gd name="T104" fmla="*/ 2147483647 w 2838"/>
                <a:gd name="T105" fmla="*/ 2147483647 h 2664"/>
                <a:gd name="T106" fmla="*/ 2147483647 w 2838"/>
                <a:gd name="T107" fmla="*/ 2147483647 h 2664"/>
                <a:gd name="T108" fmla="*/ 2147483647 w 2838"/>
                <a:gd name="T109" fmla="*/ 2147483647 h 2664"/>
                <a:gd name="T110" fmla="*/ 2147483647 w 2838"/>
                <a:gd name="T111" fmla="*/ 2147483647 h 2664"/>
                <a:gd name="T112" fmla="*/ 2147483647 w 2838"/>
                <a:gd name="T113" fmla="*/ 2147483647 h 2664"/>
                <a:gd name="T114" fmla="*/ 2147483647 w 2838"/>
                <a:gd name="T115" fmla="*/ 2147483647 h 2664"/>
                <a:gd name="T116" fmla="*/ 2147483647 w 2838"/>
                <a:gd name="T117" fmla="*/ 2147483647 h 266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838"/>
                <a:gd name="T178" fmla="*/ 0 h 2664"/>
                <a:gd name="T179" fmla="*/ 2838 w 2838"/>
                <a:gd name="T180" fmla="*/ 2664 h 266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838" h="2664">
                  <a:moveTo>
                    <a:pt x="1530" y="66"/>
                  </a:moveTo>
                  <a:lnTo>
                    <a:pt x="1524" y="60"/>
                  </a:lnTo>
                  <a:lnTo>
                    <a:pt x="1518" y="60"/>
                  </a:lnTo>
                  <a:lnTo>
                    <a:pt x="1506" y="66"/>
                  </a:lnTo>
                  <a:lnTo>
                    <a:pt x="1500" y="72"/>
                  </a:lnTo>
                  <a:lnTo>
                    <a:pt x="1494" y="84"/>
                  </a:lnTo>
                  <a:lnTo>
                    <a:pt x="1494" y="102"/>
                  </a:lnTo>
                  <a:lnTo>
                    <a:pt x="1506" y="102"/>
                  </a:lnTo>
                  <a:lnTo>
                    <a:pt x="1512" y="90"/>
                  </a:lnTo>
                  <a:lnTo>
                    <a:pt x="1524" y="78"/>
                  </a:lnTo>
                  <a:lnTo>
                    <a:pt x="1530" y="66"/>
                  </a:lnTo>
                  <a:close/>
                  <a:moveTo>
                    <a:pt x="1476" y="2016"/>
                  </a:moveTo>
                  <a:lnTo>
                    <a:pt x="1464" y="2016"/>
                  </a:lnTo>
                  <a:lnTo>
                    <a:pt x="1440" y="2028"/>
                  </a:lnTo>
                  <a:lnTo>
                    <a:pt x="1440" y="2034"/>
                  </a:lnTo>
                  <a:lnTo>
                    <a:pt x="1452" y="2046"/>
                  </a:lnTo>
                  <a:lnTo>
                    <a:pt x="1452" y="2052"/>
                  </a:lnTo>
                  <a:lnTo>
                    <a:pt x="1470" y="2052"/>
                  </a:lnTo>
                  <a:lnTo>
                    <a:pt x="1482" y="2046"/>
                  </a:lnTo>
                  <a:lnTo>
                    <a:pt x="1488" y="2040"/>
                  </a:lnTo>
                  <a:lnTo>
                    <a:pt x="1506" y="2040"/>
                  </a:lnTo>
                  <a:lnTo>
                    <a:pt x="1512" y="2034"/>
                  </a:lnTo>
                  <a:lnTo>
                    <a:pt x="1530" y="2034"/>
                  </a:lnTo>
                  <a:lnTo>
                    <a:pt x="1536" y="2028"/>
                  </a:lnTo>
                  <a:lnTo>
                    <a:pt x="1512" y="2028"/>
                  </a:lnTo>
                  <a:lnTo>
                    <a:pt x="1500" y="2016"/>
                  </a:lnTo>
                  <a:lnTo>
                    <a:pt x="1476" y="2016"/>
                  </a:lnTo>
                  <a:close/>
                  <a:moveTo>
                    <a:pt x="2802" y="1164"/>
                  </a:moveTo>
                  <a:lnTo>
                    <a:pt x="2802" y="1134"/>
                  </a:lnTo>
                  <a:lnTo>
                    <a:pt x="2796" y="1116"/>
                  </a:lnTo>
                  <a:lnTo>
                    <a:pt x="2796" y="1092"/>
                  </a:lnTo>
                  <a:lnTo>
                    <a:pt x="2790" y="1086"/>
                  </a:lnTo>
                  <a:lnTo>
                    <a:pt x="2778" y="1086"/>
                  </a:lnTo>
                  <a:lnTo>
                    <a:pt x="2772" y="1080"/>
                  </a:lnTo>
                  <a:lnTo>
                    <a:pt x="2760" y="1080"/>
                  </a:lnTo>
                  <a:lnTo>
                    <a:pt x="2760" y="1062"/>
                  </a:lnTo>
                  <a:lnTo>
                    <a:pt x="2742" y="1050"/>
                  </a:lnTo>
                  <a:lnTo>
                    <a:pt x="2742" y="1014"/>
                  </a:lnTo>
                  <a:lnTo>
                    <a:pt x="2736" y="1008"/>
                  </a:lnTo>
                  <a:lnTo>
                    <a:pt x="2724" y="1002"/>
                  </a:lnTo>
                  <a:lnTo>
                    <a:pt x="2718" y="996"/>
                  </a:lnTo>
                  <a:lnTo>
                    <a:pt x="2706" y="996"/>
                  </a:lnTo>
                  <a:lnTo>
                    <a:pt x="2712" y="996"/>
                  </a:lnTo>
                  <a:lnTo>
                    <a:pt x="2718" y="990"/>
                  </a:lnTo>
                  <a:lnTo>
                    <a:pt x="2730" y="990"/>
                  </a:lnTo>
                  <a:lnTo>
                    <a:pt x="2742" y="984"/>
                  </a:lnTo>
                  <a:lnTo>
                    <a:pt x="2760" y="966"/>
                  </a:lnTo>
                  <a:lnTo>
                    <a:pt x="2754" y="954"/>
                  </a:lnTo>
                  <a:lnTo>
                    <a:pt x="2736" y="936"/>
                  </a:lnTo>
                  <a:lnTo>
                    <a:pt x="2730" y="936"/>
                  </a:lnTo>
                  <a:lnTo>
                    <a:pt x="2730" y="930"/>
                  </a:lnTo>
                  <a:lnTo>
                    <a:pt x="2712" y="912"/>
                  </a:lnTo>
                  <a:lnTo>
                    <a:pt x="2700" y="906"/>
                  </a:lnTo>
                  <a:lnTo>
                    <a:pt x="2694" y="912"/>
                  </a:lnTo>
                  <a:lnTo>
                    <a:pt x="2694" y="936"/>
                  </a:lnTo>
                  <a:lnTo>
                    <a:pt x="2670" y="930"/>
                  </a:lnTo>
                  <a:lnTo>
                    <a:pt x="2670" y="924"/>
                  </a:lnTo>
                  <a:lnTo>
                    <a:pt x="2676" y="918"/>
                  </a:lnTo>
                  <a:lnTo>
                    <a:pt x="2676" y="906"/>
                  </a:lnTo>
                  <a:lnTo>
                    <a:pt x="2682" y="894"/>
                  </a:lnTo>
                  <a:lnTo>
                    <a:pt x="2688" y="876"/>
                  </a:lnTo>
                  <a:lnTo>
                    <a:pt x="2688" y="858"/>
                  </a:lnTo>
                  <a:lnTo>
                    <a:pt x="2682" y="852"/>
                  </a:lnTo>
                  <a:lnTo>
                    <a:pt x="2676" y="840"/>
                  </a:lnTo>
                  <a:lnTo>
                    <a:pt x="2670" y="840"/>
                  </a:lnTo>
                  <a:lnTo>
                    <a:pt x="2652" y="822"/>
                  </a:lnTo>
                  <a:lnTo>
                    <a:pt x="2652" y="816"/>
                  </a:lnTo>
                  <a:lnTo>
                    <a:pt x="2658" y="804"/>
                  </a:lnTo>
                  <a:lnTo>
                    <a:pt x="2658" y="792"/>
                  </a:lnTo>
                  <a:lnTo>
                    <a:pt x="2664" y="774"/>
                  </a:lnTo>
                  <a:lnTo>
                    <a:pt x="2664" y="762"/>
                  </a:lnTo>
                  <a:lnTo>
                    <a:pt x="2652" y="750"/>
                  </a:lnTo>
                  <a:lnTo>
                    <a:pt x="2628" y="732"/>
                  </a:lnTo>
                  <a:lnTo>
                    <a:pt x="2598" y="720"/>
                  </a:lnTo>
                  <a:lnTo>
                    <a:pt x="2580" y="708"/>
                  </a:lnTo>
                  <a:lnTo>
                    <a:pt x="2568" y="702"/>
                  </a:lnTo>
                  <a:lnTo>
                    <a:pt x="2556" y="708"/>
                  </a:lnTo>
                  <a:lnTo>
                    <a:pt x="2550" y="696"/>
                  </a:lnTo>
                  <a:lnTo>
                    <a:pt x="2538" y="684"/>
                  </a:lnTo>
                  <a:lnTo>
                    <a:pt x="2532" y="672"/>
                  </a:lnTo>
                  <a:lnTo>
                    <a:pt x="2520" y="660"/>
                  </a:lnTo>
                  <a:lnTo>
                    <a:pt x="2514" y="642"/>
                  </a:lnTo>
                  <a:lnTo>
                    <a:pt x="2514" y="594"/>
                  </a:lnTo>
                  <a:lnTo>
                    <a:pt x="2520" y="576"/>
                  </a:lnTo>
                  <a:lnTo>
                    <a:pt x="2526" y="564"/>
                  </a:lnTo>
                  <a:lnTo>
                    <a:pt x="2526" y="546"/>
                  </a:lnTo>
                  <a:lnTo>
                    <a:pt x="2520" y="504"/>
                  </a:lnTo>
                  <a:lnTo>
                    <a:pt x="2502" y="462"/>
                  </a:lnTo>
                  <a:lnTo>
                    <a:pt x="2490" y="426"/>
                  </a:lnTo>
                  <a:lnTo>
                    <a:pt x="2490" y="402"/>
                  </a:lnTo>
                  <a:lnTo>
                    <a:pt x="2496" y="390"/>
                  </a:lnTo>
                  <a:lnTo>
                    <a:pt x="2502" y="384"/>
                  </a:lnTo>
                  <a:lnTo>
                    <a:pt x="2502" y="324"/>
                  </a:lnTo>
                  <a:lnTo>
                    <a:pt x="2496" y="312"/>
                  </a:lnTo>
                  <a:lnTo>
                    <a:pt x="2496" y="300"/>
                  </a:lnTo>
                  <a:lnTo>
                    <a:pt x="2472" y="294"/>
                  </a:lnTo>
                  <a:lnTo>
                    <a:pt x="2460" y="288"/>
                  </a:lnTo>
                  <a:lnTo>
                    <a:pt x="2454" y="276"/>
                  </a:lnTo>
                  <a:lnTo>
                    <a:pt x="2442" y="270"/>
                  </a:lnTo>
                  <a:lnTo>
                    <a:pt x="2424" y="270"/>
                  </a:lnTo>
                  <a:lnTo>
                    <a:pt x="2418" y="282"/>
                  </a:lnTo>
                  <a:lnTo>
                    <a:pt x="2412" y="288"/>
                  </a:lnTo>
                  <a:lnTo>
                    <a:pt x="2412" y="282"/>
                  </a:lnTo>
                  <a:lnTo>
                    <a:pt x="2406" y="276"/>
                  </a:lnTo>
                  <a:lnTo>
                    <a:pt x="2400" y="264"/>
                  </a:lnTo>
                  <a:lnTo>
                    <a:pt x="2400" y="228"/>
                  </a:lnTo>
                  <a:lnTo>
                    <a:pt x="2406" y="216"/>
                  </a:lnTo>
                  <a:lnTo>
                    <a:pt x="2406" y="204"/>
                  </a:lnTo>
                  <a:lnTo>
                    <a:pt x="2388" y="180"/>
                  </a:lnTo>
                  <a:lnTo>
                    <a:pt x="2394" y="96"/>
                  </a:lnTo>
                  <a:lnTo>
                    <a:pt x="2382" y="90"/>
                  </a:lnTo>
                  <a:lnTo>
                    <a:pt x="2364" y="72"/>
                  </a:lnTo>
                  <a:lnTo>
                    <a:pt x="2364" y="66"/>
                  </a:lnTo>
                  <a:lnTo>
                    <a:pt x="2370" y="48"/>
                  </a:lnTo>
                  <a:lnTo>
                    <a:pt x="2370" y="24"/>
                  </a:lnTo>
                  <a:lnTo>
                    <a:pt x="2364" y="18"/>
                  </a:lnTo>
                  <a:lnTo>
                    <a:pt x="2346" y="18"/>
                  </a:lnTo>
                  <a:lnTo>
                    <a:pt x="2346" y="0"/>
                  </a:lnTo>
                  <a:lnTo>
                    <a:pt x="2316" y="12"/>
                  </a:lnTo>
                  <a:lnTo>
                    <a:pt x="2310" y="30"/>
                  </a:lnTo>
                  <a:lnTo>
                    <a:pt x="2298" y="36"/>
                  </a:lnTo>
                  <a:lnTo>
                    <a:pt x="2292" y="42"/>
                  </a:lnTo>
                  <a:lnTo>
                    <a:pt x="2280" y="48"/>
                  </a:lnTo>
                  <a:lnTo>
                    <a:pt x="2280" y="66"/>
                  </a:lnTo>
                  <a:lnTo>
                    <a:pt x="2286" y="78"/>
                  </a:lnTo>
                  <a:lnTo>
                    <a:pt x="2286" y="90"/>
                  </a:lnTo>
                  <a:lnTo>
                    <a:pt x="2292" y="102"/>
                  </a:lnTo>
                  <a:lnTo>
                    <a:pt x="2292" y="114"/>
                  </a:lnTo>
                  <a:lnTo>
                    <a:pt x="2286" y="126"/>
                  </a:lnTo>
                  <a:lnTo>
                    <a:pt x="2274" y="138"/>
                  </a:lnTo>
                  <a:lnTo>
                    <a:pt x="2268" y="150"/>
                  </a:lnTo>
                  <a:lnTo>
                    <a:pt x="2238" y="180"/>
                  </a:lnTo>
                  <a:lnTo>
                    <a:pt x="2256" y="192"/>
                  </a:lnTo>
                  <a:lnTo>
                    <a:pt x="2256" y="198"/>
                  </a:lnTo>
                  <a:lnTo>
                    <a:pt x="2250" y="204"/>
                  </a:lnTo>
                  <a:lnTo>
                    <a:pt x="2238" y="228"/>
                  </a:lnTo>
                  <a:lnTo>
                    <a:pt x="2232" y="234"/>
                  </a:lnTo>
                  <a:lnTo>
                    <a:pt x="2232" y="264"/>
                  </a:lnTo>
                  <a:lnTo>
                    <a:pt x="2238" y="276"/>
                  </a:lnTo>
                  <a:lnTo>
                    <a:pt x="2238" y="288"/>
                  </a:lnTo>
                  <a:lnTo>
                    <a:pt x="2232" y="300"/>
                  </a:lnTo>
                  <a:lnTo>
                    <a:pt x="2214" y="408"/>
                  </a:lnTo>
                  <a:lnTo>
                    <a:pt x="2208" y="432"/>
                  </a:lnTo>
                  <a:lnTo>
                    <a:pt x="2202" y="438"/>
                  </a:lnTo>
                  <a:lnTo>
                    <a:pt x="2190" y="462"/>
                  </a:lnTo>
                  <a:lnTo>
                    <a:pt x="2178" y="474"/>
                  </a:lnTo>
                  <a:lnTo>
                    <a:pt x="2172" y="486"/>
                  </a:lnTo>
                  <a:lnTo>
                    <a:pt x="2166" y="492"/>
                  </a:lnTo>
                  <a:lnTo>
                    <a:pt x="2166" y="516"/>
                  </a:lnTo>
                  <a:lnTo>
                    <a:pt x="2160" y="534"/>
                  </a:lnTo>
                  <a:lnTo>
                    <a:pt x="2154" y="546"/>
                  </a:lnTo>
                  <a:lnTo>
                    <a:pt x="2142" y="552"/>
                  </a:lnTo>
                  <a:lnTo>
                    <a:pt x="2088" y="570"/>
                  </a:lnTo>
                  <a:lnTo>
                    <a:pt x="2076" y="570"/>
                  </a:lnTo>
                  <a:lnTo>
                    <a:pt x="2064" y="576"/>
                  </a:lnTo>
                  <a:lnTo>
                    <a:pt x="2058" y="576"/>
                  </a:lnTo>
                  <a:lnTo>
                    <a:pt x="2058" y="570"/>
                  </a:lnTo>
                  <a:lnTo>
                    <a:pt x="2052" y="564"/>
                  </a:lnTo>
                  <a:lnTo>
                    <a:pt x="2028" y="516"/>
                  </a:lnTo>
                  <a:lnTo>
                    <a:pt x="2022" y="510"/>
                  </a:lnTo>
                  <a:lnTo>
                    <a:pt x="1998" y="492"/>
                  </a:lnTo>
                  <a:lnTo>
                    <a:pt x="1956" y="474"/>
                  </a:lnTo>
                  <a:lnTo>
                    <a:pt x="1920" y="462"/>
                  </a:lnTo>
                  <a:lnTo>
                    <a:pt x="1908" y="456"/>
                  </a:lnTo>
                  <a:lnTo>
                    <a:pt x="1896" y="438"/>
                  </a:lnTo>
                  <a:lnTo>
                    <a:pt x="1884" y="426"/>
                  </a:lnTo>
                  <a:lnTo>
                    <a:pt x="1872" y="402"/>
                  </a:lnTo>
                  <a:lnTo>
                    <a:pt x="1866" y="396"/>
                  </a:lnTo>
                  <a:lnTo>
                    <a:pt x="1830" y="396"/>
                  </a:lnTo>
                  <a:lnTo>
                    <a:pt x="1806" y="348"/>
                  </a:lnTo>
                  <a:lnTo>
                    <a:pt x="1824" y="330"/>
                  </a:lnTo>
                  <a:lnTo>
                    <a:pt x="1824" y="306"/>
                  </a:lnTo>
                  <a:lnTo>
                    <a:pt x="1830" y="294"/>
                  </a:lnTo>
                  <a:lnTo>
                    <a:pt x="1836" y="288"/>
                  </a:lnTo>
                  <a:lnTo>
                    <a:pt x="1848" y="282"/>
                  </a:lnTo>
                  <a:lnTo>
                    <a:pt x="1854" y="276"/>
                  </a:lnTo>
                  <a:lnTo>
                    <a:pt x="1848" y="228"/>
                  </a:lnTo>
                  <a:lnTo>
                    <a:pt x="1866" y="210"/>
                  </a:lnTo>
                  <a:lnTo>
                    <a:pt x="1872" y="216"/>
                  </a:lnTo>
                  <a:lnTo>
                    <a:pt x="1884" y="216"/>
                  </a:lnTo>
                  <a:lnTo>
                    <a:pt x="1890" y="222"/>
                  </a:lnTo>
                  <a:lnTo>
                    <a:pt x="1896" y="222"/>
                  </a:lnTo>
                  <a:lnTo>
                    <a:pt x="1902" y="216"/>
                  </a:lnTo>
                  <a:lnTo>
                    <a:pt x="1908" y="204"/>
                  </a:lnTo>
                  <a:lnTo>
                    <a:pt x="1908" y="180"/>
                  </a:lnTo>
                  <a:lnTo>
                    <a:pt x="1944" y="144"/>
                  </a:lnTo>
                  <a:lnTo>
                    <a:pt x="1938" y="132"/>
                  </a:lnTo>
                  <a:lnTo>
                    <a:pt x="1914" y="108"/>
                  </a:lnTo>
                  <a:lnTo>
                    <a:pt x="1890" y="108"/>
                  </a:lnTo>
                  <a:lnTo>
                    <a:pt x="1872" y="114"/>
                  </a:lnTo>
                  <a:lnTo>
                    <a:pt x="1848" y="126"/>
                  </a:lnTo>
                  <a:lnTo>
                    <a:pt x="1842" y="138"/>
                  </a:lnTo>
                  <a:lnTo>
                    <a:pt x="1842" y="120"/>
                  </a:lnTo>
                  <a:lnTo>
                    <a:pt x="1812" y="126"/>
                  </a:lnTo>
                  <a:lnTo>
                    <a:pt x="1794" y="138"/>
                  </a:lnTo>
                  <a:lnTo>
                    <a:pt x="1788" y="120"/>
                  </a:lnTo>
                  <a:lnTo>
                    <a:pt x="1752" y="114"/>
                  </a:lnTo>
                  <a:lnTo>
                    <a:pt x="1746" y="108"/>
                  </a:lnTo>
                  <a:lnTo>
                    <a:pt x="1734" y="102"/>
                  </a:lnTo>
                  <a:lnTo>
                    <a:pt x="1728" y="96"/>
                  </a:lnTo>
                  <a:lnTo>
                    <a:pt x="1716" y="90"/>
                  </a:lnTo>
                  <a:lnTo>
                    <a:pt x="1674" y="90"/>
                  </a:lnTo>
                  <a:lnTo>
                    <a:pt x="1662" y="84"/>
                  </a:lnTo>
                  <a:lnTo>
                    <a:pt x="1650" y="84"/>
                  </a:lnTo>
                  <a:lnTo>
                    <a:pt x="1650" y="78"/>
                  </a:lnTo>
                  <a:lnTo>
                    <a:pt x="1644" y="72"/>
                  </a:lnTo>
                  <a:lnTo>
                    <a:pt x="1632" y="48"/>
                  </a:lnTo>
                  <a:lnTo>
                    <a:pt x="1626" y="42"/>
                  </a:lnTo>
                  <a:lnTo>
                    <a:pt x="1620" y="42"/>
                  </a:lnTo>
                  <a:lnTo>
                    <a:pt x="1620" y="54"/>
                  </a:lnTo>
                  <a:lnTo>
                    <a:pt x="1614" y="60"/>
                  </a:lnTo>
                  <a:lnTo>
                    <a:pt x="1602" y="54"/>
                  </a:lnTo>
                  <a:lnTo>
                    <a:pt x="1596" y="54"/>
                  </a:lnTo>
                  <a:lnTo>
                    <a:pt x="1584" y="48"/>
                  </a:lnTo>
                  <a:lnTo>
                    <a:pt x="1566" y="48"/>
                  </a:lnTo>
                  <a:lnTo>
                    <a:pt x="1566" y="60"/>
                  </a:lnTo>
                  <a:lnTo>
                    <a:pt x="1572" y="66"/>
                  </a:lnTo>
                  <a:lnTo>
                    <a:pt x="1554" y="66"/>
                  </a:lnTo>
                  <a:lnTo>
                    <a:pt x="1548" y="72"/>
                  </a:lnTo>
                  <a:lnTo>
                    <a:pt x="1548" y="78"/>
                  </a:lnTo>
                  <a:lnTo>
                    <a:pt x="1554" y="84"/>
                  </a:lnTo>
                  <a:lnTo>
                    <a:pt x="1566" y="84"/>
                  </a:lnTo>
                  <a:lnTo>
                    <a:pt x="1590" y="96"/>
                  </a:lnTo>
                  <a:lnTo>
                    <a:pt x="1596" y="96"/>
                  </a:lnTo>
                  <a:lnTo>
                    <a:pt x="1608" y="90"/>
                  </a:lnTo>
                  <a:lnTo>
                    <a:pt x="1614" y="84"/>
                  </a:lnTo>
                  <a:lnTo>
                    <a:pt x="1644" y="102"/>
                  </a:lnTo>
                  <a:lnTo>
                    <a:pt x="1638" y="102"/>
                  </a:lnTo>
                  <a:lnTo>
                    <a:pt x="1632" y="108"/>
                  </a:lnTo>
                  <a:lnTo>
                    <a:pt x="1596" y="126"/>
                  </a:lnTo>
                  <a:lnTo>
                    <a:pt x="1572" y="126"/>
                  </a:lnTo>
                  <a:lnTo>
                    <a:pt x="1554" y="132"/>
                  </a:lnTo>
                  <a:lnTo>
                    <a:pt x="1512" y="132"/>
                  </a:lnTo>
                  <a:lnTo>
                    <a:pt x="1500" y="138"/>
                  </a:lnTo>
                  <a:lnTo>
                    <a:pt x="1482" y="144"/>
                  </a:lnTo>
                  <a:lnTo>
                    <a:pt x="1470" y="156"/>
                  </a:lnTo>
                  <a:lnTo>
                    <a:pt x="1452" y="162"/>
                  </a:lnTo>
                  <a:lnTo>
                    <a:pt x="1440" y="168"/>
                  </a:lnTo>
                  <a:lnTo>
                    <a:pt x="1434" y="174"/>
                  </a:lnTo>
                  <a:lnTo>
                    <a:pt x="1428" y="174"/>
                  </a:lnTo>
                  <a:lnTo>
                    <a:pt x="1428" y="186"/>
                  </a:lnTo>
                  <a:lnTo>
                    <a:pt x="1422" y="204"/>
                  </a:lnTo>
                  <a:lnTo>
                    <a:pt x="1422" y="228"/>
                  </a:lnTo>
                  <a:lnTo>
                    <a:pt x="1428" y="234"/>
                  </a:lnTo>
                  <a:lnTo>
                    <a:pt x="1440" y="240"/>
                  </a:lnTo>
                  <a:lnTo>
                    <a:pt x="1446" y="246"/>
                  </a:lnTo>
                  <a:lnTo>
                    <a:pt x="1452" y="246"/>
                  </a:lnTo>
                  <a:lnTo>
                    <a:pt x="1398" y="246"/>
                  </a:lnTo>
                  <a:lnTo>
                    <a:pt x="1368" y="282"/>
                  </a:lnTo>
                  <a:lnTo>
                    <a:pt x="1368" y="312"/>
                  </a:lnTo>
                  <a:lnTo>
                    <a:pt x="1362" y="324"/>
                  </a:lnTo>
                  <a:lnTo>
                    <a:pt x="1362" y="330"/>
                  </a:lnTo>
                  <a:lnTo>
                    <a:pt x="1368" y="336"/>
                  </a:lnTo>
                  <a:lnTo>
                    <a:pt x="1380" y="336"/>
                  </a:lnTo>
                  <a:lnTo>
                    <a:pt x="1404" y="348"/>
                  </a:lnTo>
                  <a:lnTo>
                    <a:pt x="1410" y="354"/>
                  </a:lnTo>
                  <a:lnTo>
                    <a:pt x="1410" y="390"/>
                  </a:lnTo>
                  <a:lnTo>
                    <a:pt x="1386" y="366"/>
                  </a:lnTo>
                  <a:lnTo>
                    <a:pt x="1356" y="366"/>
                  </a:lnTo>
                  <a:lnTo>
                    <a:pt x="1344" y="390"/>
                  </a:lnTo>
                  <a:lnTo>
                    <a:pt x="1308" y="354"/>
                  </a:lnTo>
                  <a:lnTo>
                    <a:pt x="1302" y="384"/>
                  </a:lnTo>
                  <a:lnTo>
                    <a:pt x="1278" y="396"/>
                  </a:lnTo>
                  <a:lnTo>
                    <a:pt x="1284" y="420"/>
                  </a:lnTo>
                  <a:lnTo>
                    <a:pt x="1254" y="414"/>
                  </a:lnTo>
                  <a:lnTo>
                    <a:pt x="1284" y="354"/>
                  </a:lnTo>
                  <a:lnTo>
                    <a:pt x="1278" y="348"/>
                  </a:lnTo>
                  <a:lnTo>
                    <a:pt x="1272" y="336"/>
                  </a:lnTo>
                  <a:lnTo>
                    <a:pt x="1272" y="324"/>
                  </a:lnTo>
                  <a:lnTo>
                    <a:pt x="1266" y="318"/>
                  </a:lnTo>
                  <a:lnTo>
                    <a:pt x="1254" y="312"/>
                  </a:lnTo>
                  <a:lnTo>
                    <a:pt x="1236" y="312"/>
                  </a:lnTo>
                  <a:lnTo>
                    <a:pt x="1224" y="282"/>
                  </a:lnTo>
                  <a:lnTo>
                    <a:pt x="1224" y="276"/>
                  </a:lnTo>
                  <a:lnTo>
                    <a:pt x="1230" y="270"/>
                  </a:lnTo>
                  <a:lnTo>
                    <a:pt x="1230" y="258"/>
                  </a:lnTo>
                  <a:lnTo>
                    <a:pt x="1224" y="246"/>
                  </a:lnTo>
                  <a:lnTo>
                    <a:pt x="1218" y="240"/>
                  </a:lnTo>
                  <a:lnTo>
                    <a:pt x="1206" y="234"/>
                  </a:lnTo>
                  <a:lnTo>
                    <a:pt x="1194" y="240"/>
                  </a:lnTo>
                  <a:lnTo>
                    <a:pt x="1188" y="246"/>
                  </a:lnTo>
                  <a:lnTo>
                    <a:pt x="1176" y="252"/>
                  </a:lnTo>
                  <a:lnTo>
                    <a:pt x="1176" y="264"/>
                  </a:lnTo>
                  <a:lnTo>
                    <a:pt x="1182" y="270"/>
                  </a:lnTo>
                  <a:lnTo>
                    <a:pt x="1182" y="282"/>
                  </a:lnTo>
                  <a:lnTo>
                    <a:pt x="1146" y="276"/>
                  </a:lnTo>
                  <a:lnTo>
                    <a:pt x="1152" y="306"/>
                  </a:lnTo>
                  <a:lnTo>
                    <a:pt x="1134" y="300"/>
                  </a:lnTo>
                  <a:lnTo>
                    <a:pt x="1116" y="306"/>
                  </a:lnTo>
                  <a:lnTo>
                    <a:pt x="1122" y="312"/>
                  </a:lnTo>
                  <a:lnTo>
                    <a:pt x="1122" y="330"/>
                  </a:lnTo>
                  <a:lnTo>
                    <a:pt x="1116" y="342"/>
                  </a:lnTo>
                  <a:lnTo>
                    <a:pt x="1110" y="348"/>
                  </a:lnTo>
                  <a:lnTo>
                    <a:pt x="1098" y="354"/>
                  </a:lnTo>
                  <a:lnTo>
                    <a:pt x="1092" y="360"/>
                  </a:lnTo>
                  <a:lnTo>
                    <a:pt x="1104" y="324"/>
                  </a:lnTo>
                  <a:lnTo>
                    <a:pt x="1080" y="348"/>
                  </a:lnTo>
                  <a:lnTo>
                    <a:pt x="1062" y="348"/>
                  </a:lnTo>
                  <a:lnTo>
                    <a:pt x="1056" y="360"/>
                  </a:lnTo>
                  <a:lnTo>
                    <a:pt x="1050" y="366"/>
                  </a:lnTo>
                  <a:lnTo>
                    <a:pt x="1050" y="378"/>
                  </a:lnTo>
                  <a:lnTo>
                    <a:pt x="1056" y="390"/>
                  </a:lnTo>
                  <a:lnTo>
                    <a:pt x="1056" y="396"/>
                  </a:lnTo>
                  <a:lnTo>
                    <a:pt x="1062" y="408"/>
                  </a:lnTo>
                  <a:lnTo>
                    <a:pt x="1014" y="384"/>
                  </a:lnTo>
                  <a:lnTo>
                    <a:pt x="1008" y="420"/>
                  </a:lnTo>
                  <a:lnTo>
                    <a:pt x="996" y="426"/>
                  </a:lnTo>
                  <a:lnTo>
                    <a:pt x="1008" y="450"/>
                  </a:lnTo>
                  <a:lnTo>
                    <a:pt x="1032" y="450"/>
                  </a:lnTo>
                  <a:lnTo>
                    <a:pt x="1026" y="468"/>
                  </a:lnTo>
                  <a:lnTo>
                    <a:pt x="954" y="474"/>
                  </a:lnTo>
                  <a:lnTo>
                    <a:pt x="948" y="468"/>
                  </a:lnTo>
                  <a:lnTo>
                    <a:pt x="936" y="462"/>
                  </a:lnTo>
                  <a:lnTo>
                    <a:pt x="930" y="462"/>
                  </a:lnTo>
                  <a:lnTo>
                    <a:pt x="918" y="468"/>
                  </a:lnTo>
                  <a:lnTo>
                    <a:pt x="912" y="474"/>
                  </a:lnTo>
                  <a:lnTo>
                    <a:pt x="918" y="486"/>
                  </a:lnTo>
                  <a:lnTo>
                    <a:pt x="918" y="492"/>
                  </a:lnTo>
                  <a:lnTo>
                    <a:pt x="924" y="504"/>
                  </a:lnTo>
                  <a:lnTo>
                    <a:pt x="930" y="510"/>
                  </a:lnTo>
                  <a:lnTo>
                    <a:pt x="930" y="540"/>
                  </a:lnTo>
                  <a:lnTo>
                    <a:pt x="924" y="564"/>
                  </a:lnTo>
                  <a:lnTo>
                    <a:pt x="930" y="600"/>
                  </a:lnTo>
                  <a:lnTo>
                    <a:pt x="912" y="600"/>
                  </a:lnTo>
                  <a:lnTo>
                    <a:pt x="906" y="522"/>
                  </a:lnTo>
                  <a:lnTo>
                    <a:pt x="888" y="510"/>
                  </a:lnTo>
                  <a:lnTo>
                    <a:pt x="888" y="480"/>
                  </a:lnTo>
                  <a:lnTo>
                    <a:pt x="870" y="480"/>
                  </a:lnTo>
                  <a:lnTo>
                    <a:pt x="852" y="504"/>
                  </a:lnTo>
                  <a:lnTo>
                    <a:pt x="822" y="534"/>
                  </a:lnTo>
                  <a:lnTo>
                    <a:pt x="804" y="546"/>
                  </a:lnTo>
                  <a:lnTo>
                    <a:pt x="792" y="558"/>
                  </a:lnTo>
                  <a:lnTo>
                    <a:pt x="786" y="570"/>
                  </a:lnTo>
                  <a:lnTo>
                    <a:pt x="786" y="600"/>
                  </a:lnTo>
                  <a:lnTo>
                    <a:pt x="792" y="606"/>
                  </a:lnTo>
                  <a:lnTo>
                    <a:pt x="792" y="618"/>
                  </a:lnTo>
                  <a:lnTo>
                    <a:pt x="798" y="618"/>
                  </a:lnTo>
                  <a:lnTo>
                    <a:pt x="816" y="636"/>
                  </a:lnTo>
                  <a:lnTo>
                    <a:pt x="810" y="648"/>
                  </a:lnTo>
                  <a:lnTo>
                    <a:pt x="792" y="654"/>
                  </a:lnTo>
                  <a:lnTo>
                    <a:pt x="774" y="666"/>
                  </a:lnTo>
                  <a:lnTo>
                    <a:pt x="750" y="678"/>
                  </a:lnTo>
                  <a:lnTo>
                    <a:pt x="750" y="696"/>
                  </a:lnTo>
                  <a:lnTo>
                    <a:pt x="720" y="726"/>
                  </a:lnTo>
                  <a:lnTo>
                    <a:pt x="702" y="732"/>
                  </a:lnTo>
                  <a:lnTo>
                    <a:pt x="690" y="744"/>
                  </a:lnTo>
                  <a:lnTo>
                    <a:pt x="666" y="756"/>
                  </a:lnTo>
                  <a:lnTo>
                    <a:pt x="630" y="762"/>
                  </a:lnTo>
                  <a:lnTo>
                    <a:pt x="600" y="768"/>
                  </a:lnTo>
                  <a:lnTo>
                    <a:pt x="588" y="768"/>
                  </a:lnTo>
                  <a:lnTo>
                    <a:pt x="534" y="762"/>
                  </a:lnTo>
                  <a:lnTo>
                    <a:pt x="492" y="780"/>
                  </a:lnTo>
                  <a:lnTo>
                    <a:pt x="438" y="786"/>
                  </a:lnTo>
                  <a:lnTo>
                    <a:pt x="432" y="798"/>
                  </a:lnTo>
                  <a:lnTo>
                    <a:pt x="414" y="798"/>
                  </a:lnTo>
                  <a:lnTo>
                    <a:pt x="402" y="804"/>
                  </a:lnTo>
                  <a:lnTo>
                    <a:pt x="396" y="810"/>
                  </a:lnTo>
                  <a:lnTo>
                    <a:pt x="384" y="816"/>
                  </a:lnTo>
                  <a:lnTo>
                    <a:pt x="372" y="828"/>
                  </a:lnTo>
                  <a:lnTo>
                    <a:pt x="342" y="828"/>
                  </a:lnTo>
                  <a:lnTo>
                    <a:pt x="324" y="834"/>
                  </a:lnTo>
                  <a:lnTo>
                    <a:pt x="312" y="840"/>
                  </a:lnTo>
                  <a:lnTo>
                    <a:pt x="306" y="852"/>
                  </a:lnTo>
                  <a:lnTo>
                    <a:pt x="294" y="858"/>
                  </a:lnTo>
                  <a:lnTo>
                    <a:pt x="288" y="870"/>
                  </a:lnTo>
                  <a:lnTo>
                    <a:pt x="282" y="876"/>
                  </a:lnTo>
                  <a:lnTo>
                    <a:pt x="282" y="882"/>
                  </a:lnTo>
                  <a:lnTo>
                    <a:pt x="276" y="882"/>
                  </a:lnTo>
                  <a:lnTo>
                    <a:pt x="270" y="888"/>
                  </a:lnTo>
                  <a:lnTo>
                    <a:pt x="252" y="888"/>
                  </a:lnTo>
                  <a:lnTo>
                    <a:pt x="240" y="894"/>
                  </a:lnTo>
                  <a:lnTo>
                    <a:pt x="228" y="894"/>
                  </a:lnTo>
                  <a:lnTo>
                    <a:pt x="216" y="900"/>
                  </a:lnTo>
                  <a:lnTo>
                    <a:pt x="210" y="906"/>
                  </a:lnTo>
                  <a:lnTo>
                    <a:pt x="198" y="912"/>
                  </a:lnTo>
                  <a:lnTo>
                    <a:pt x="192" y="930"/>
                  </a:lnTo>
                  <a:lnTo>
                    <a:pt x="150" y="972"/>
                  </a:lnTo>
                  <a:lnTo>
                    <a:pt x="150" y="978"/>
                  </a:lnTo>
                  <a:lnTo>
                    <a:pt x="162" y="912"/>
                  </a:lnTo>
                  <a:lnTo>
                    <a:pt x="144" y="918"/>
                  </a:lnTo>
                  <a:lnTo>
                    <a:pt x="120" y="978"/>
                  </a:lnTo>
                  <a:lnTo>
                    <a:pt x="90" y="1038"/>
                  </a:lnTo>
                  <a:lnTo>
                    <a:pt x="90" y="1056"/>
                  </a:lnTo>
                  <a:lnTo>
                    <a:pt x="96" y="1062"/>
                  </a:lnTo>
                  <a:lnTo>
                    <a:pt x="108" y="1068"/>
                  </a:lnTo>
                  <a:lnTo>
                    <a:pt x="114" y="1068"/>
                  </a:lnTo>
                  <a:lnTo>
                    <a:pt x="108" y="1080"/>
                  </a:lnTo>
                  <a:lnTo>
                    <a:pt x="96" y="1086"/>
                  </a:lnTo>
                  <a:lnTo>
                    <a:pt x="90" y="1098"/>
                  </a:lnTo>
                  <a:lnTo>
                    <a:pt x="66" y="1122"/>
                  </a:lnTo>
                  <a:lnTo>
                    <a:pt x="66" y="1134"/>
                  </a:lnTo>
                  <a:lnTo>
                    <a:pt x="72" y="1152"/>
                  </a:lnTo>
                  <a:lnTo>
                    <a:pt x="72" y="1164"/>
                  </a:lnTo>
                  <a:lnTo>
                    <a:pt x="84" y="1188"/>
                  </a:lnTo>
                  <a:lnTo>
                    <a:pt x="84" y="1200"/>
                  </a:lnTo>
                  <a:lnTo>
                    <a:pt x="102" y="1236"/>
                  </a:lnTo>
                  <a:lnTo>
                    <a:pt x="108" y="1254"/>
                  </a:lnTo>
                  <a:lnTo>
                    <a:pt x="114" y="1266"/>
                  </a:lnTo>
                  <a:lnTo>
                    <a:pt x="114" y="1278"/>
                  </a:lnTo>
                  <a:lnTo>
                    <a:pt x="108" y="1278"/>
                  </a:lnTo>
                  <a:lnTo>
                    <a:pt x="96" y="1266"/>
                  </a:lnTo>
                  <a:lnTo>
                    <a:pt x="90" y="1254"/>
                  </a:lnTo>
                  <a:lnTo>
                    <a:pt x="72" y="1236"/>
                  </a:lnTo>
                  <a:lnTo>
                    <a:pt x="66" y="1224"/>
                  </a:lnTo>
                  <a:lnTo>
                    <a:pt x="48" y="1218"/>
                  </a:lnTo>
                  <a:lnTo>
                    <a:pt x="66" y="1266"/>
                  </a:lnTo>
                  <a:lnTo>
                    <a:pt x="30" y="1236"/>
                  </a:lnTo>
                  <a:lnTo>
                    <a:pt x="30" y="1290"/>
                  </a:lnTo>
                  <a:lnTo>
                    <a:pt x="60" y="1350"/>
                  </a:lnTo>
                  <a:lnTo>
                    <a:pt x="66" y="1356"/>
                  </a:lnTo>
                  <a:lnTo>
                    <a:pt x="66" y="1368"/>
                  </a:lnTo>
                  <a:lnTo>
                    <a:pt x="60" y="1374"/>
                  </a:lnTo>
                  <a:lnTo>
                    <a:pt x="54" y="1386"/>
                  </a:lnTo>
                  <a:lnTo>
                    <a:pt x="54" y="1398"/>
                  </a:lnTo>
                  <a:lnTo>
                    <a:pt x="48" y="1410"/>
                  </a:lnTo>
                  <a:lnTo>
                    <a:pt x="54" y="1416"/>
                  </a:lnTo>
                  <a:lnTo>
                    <a:pt x="60" y="1428"/>
                  </a:lnTo>
                  <a:lnTo>
                    <a:pt x="78" y="1446"/>
                  </a:lnTo>
                  <a:lnTo>
                    <a:pt x="84" y="1458"/>
                  </a:lnTo>
                  <a:lnTo>
                    <a:pt x="90" y="1464"/>
                  </a:lnTo>
                  <a:lnTo>
                    <a:pt x="96" y="1476"/>
                  </a:lnTo>
                  <a:lnTo>
                    <a:pt x="96" y="1506"/>
                  </a:lnTo>
                  <a:lnTo>
                    <a:pt x="90" y="1518"/>
                  </a:lnTo>
                  <a:lnTo>
                    <a:pt x="84" y="1524"/>
                  </a:lnTo>
                  <a:lnTo>
                    <a:pt x="90" y="1542"/>
                  </a:lnTo>
                  <a:lnTo>
                    <a:pt x="90" y="1554"/>
                  </a:lnTo>
                  <a:lnTo>
                    <a:pt x="96" y="1572"/>
                  </a:lnTo>
                  <a:lnTo>
                    <a:pt x="96" y="1590"/>
                  </a:lnTo>
                  <a:lnTo>
                    <a:pt x="102" y="1596"/>
                  </a:lnTo>
                  <a:lnTo>
                    <a:pt x="102" y="1602"/>
                  </a:lnTo>
                  <a:lnTo>
                    <a:pt x="96" y="1602"/>
                  </a:lnTo>
                  <a:lnTo>
                    <a:pt x="78" y="1620"/>
                  </a:lnTo>
                  <a:lnTo>
                    <a:pt x="84" y="1626"/>
                  </a:lnTo>
                  <a:lnTo>
                    <a:pt x="84" y="1638"/>
                  </a:lnTo>
                  <a:lnTo>
                    <a:pt x="90" y="1650"/>
                  </a:lnTo>
                  <a:lnTo>
                    <a:pt x="90" y="1662"/>
                  </a:lnTo>
                  <a:lnTo>
                    <a:pt x="96" y="1668"/>
                  </a:lnTo>
                  <a:lnTo>
                    <a:pt x="96" y="1674"/>
                  </a:lnTo>
                  <a:lnTo>
                    <a:pt x="102" y="1674"/>
                  </a:lnTo>
                  <a:lnTo>
                    <a:pt x="108" y="1680"/>
                  </a:lnTo>
                  <a:lnTo>
                    <a:pt x="126" y="1716"/>
                  </a:lnTo>
                  <a:lnTo>
                    <a:pt x="126" y="1728"/>
                  </a:lnTo>
                  <a:lnTo>
                    <a:pt x="108" y="1764"/>
                  </a:lnTo>
                  <a:lnTo>
                    <a:pt x="90" y="1782"/>
                  </a:lnTo>
                  <a:lnTo>
                    <a:pt x="90" y="1824"/>
                  </a:lnTo>
                  <a:lnTo>
                    <a:pt x="84" y="1842"/>
                  </a:lnTo>
                  <a:lnTo>
                    <a:pt x="60" y="1866"/>
                  </a:lnTo>
                  <a:lnTo>
                    <a:pt x="42" y="1866"/>
                  </a:lnTo>
                  <a:lnTo>
                    <a:pt x="30" y="1872"/>
                  </a:lnTo>
                  <a:lnTo>
                    <a:pt x="18" y="1866"/>
                  </a:lnTo>
                  <a:lnTo>
                    <a:pt x="6" y="1866"/>
                  </a:lnTo>
                  <a:lnTo>
                    <a:pt x="0" y="1920"/>
                  </a:lnTo>
                  <a:lnTo>
                    <a:pt x="12" y="1920"/>
                  </a:lnTo>
                  <a:lnTo>
                    <a:pt x="24" y="1926"/>
                  </a:lnTo>
                  <a:lnTo>
                    <a:pt x="42" y="1926"/>
                  </a:lnTo>
                  <a:lnTo>
                    <a:pt x="54" y="1932"/>
                  </a:lnTo>
                  <a:lnTo>
                    <a:pt x="72" y="1950"/>
                  </a:lnTo>
                  <a:lnTo>
                    <a:pt x="78" y="1962"/>
                  </a:lnTo>
                  <a:lnTo>
                    <a:pt x="108" y="1956"/>
                  </a:lnTo>
                  <a:lnTo>
                    <a:pt x="114" y="1968"/>
                  </a:lnTo>
                  <a:lnTo>
                    <a:pt x="138" y="1980"/>
                  </a:lnTo>
                  <a:lnTo>
                    <a:pt x="174" y="1980"/>
                  </a:lnTo>
                  <a:lnTo>
                    <a:pt x="210" y="1968"/>
                  </a:lnTo>
                  <a:lnTo>
                    <a:pt x="234" y="1968"/>
                  </a:lnTo>
                  <a:lnTo>
                    <a:pt x="234" y="1950"/>
                  </a:lnTo>
                  <a:lnTo>
                    <a:pt x="228" y="1944"/>
                  </a:lnTo>
                  <a:lnTo>
                    <a:pt x="264" y="1950"/>
                  </a:lnTo>
                  <a:lnTo>
                    <a:pt x="276" y="1932"/>
                  </a:lnTo>
                  <a:lnTo>
                    <a:pt x="318" y="1926"/>
                  </a:lnTo>
                  <a:lnTo>
                    <a:pt x="354" y="1890"/>
                  </a:lnTo>
                  <a:lnTo>
                    <a:pt x="366" y="1884"/>
                  </a:lnTo>
                  <a:lnTo>
                    <a:pt x="372" y="1884"/>
                  </a:lnTo>
                  <a:lnTo>
                    <a:pt x="420" y="1908"/>
                  </a:lnTo>
                  <a:lnTo>
                    <a:pt x="426" y="1902"/>
                  </a:lnTo>
                  <a:lnTo>
                    <a:pt x="474" y="1878"/>
                  </a:lnTo>
                  <a:lnTo>
                    <a:pt x="480" y="1872"/>
                  </a:lnTo>
                  <a:lnTo>
                    <a:pt x="486" y="1872"/>
                  </a:lnTo>
                  <a:lnTo>
                    <a:pt x="498" y="1878"/>
                  </a:lnTo>
                  <a:lnTo>
                    <a:pt x="504" y="1884"/>
                  </a:lnTo>
                  <a:lnTo>
                    <a:pt x="516" y="1884"/>
                  </a:lnTo>
                  <a:lnTo>
                    <a:pt x="528" y="1890"/>
                  </a:lnTo>
                  <a:lnTo>
                    <a:pt x="534" y="1890"/>
                  </a:lnTo>
                  <a:lnTo>
                    <a:pt x="552" y="1884"/>
                  </a:lnTo>
                  <a:lnTo>
                    <a:pt x="576" y="1872"/>
                  </a:lnTo>
                  <a:lnTo>
                    <a:pt x="582" y="187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24" y="1884"/>
                  </a:lnTo>
                  <a:lnTo>
                    <a:pt x="636" y="1884"/>
                  </a:lnTo>
                  <a:lnTo>
                    <a:pt x="648" y="1878"/>
                  </a:lnTo>
                  <a:lnTo>
                    <a:pt x="654" y="1872"/>
                  </a:lnTo>
                  <a:lnTo>
                    <a:pt x="654" y="1848"/>
                  </a:lnTo>
                  <a:lnTo>
                    <a:pt x="666" y="1848"/>
                  </a:lnTo>
                  <a:lnTo>
                    <a:pt x="672" y="1842"/>
                  </a:lnTo>
                  <a:lnTo>
                    <a:pt x="678" y="1842"/>
                  </a:lnTo>
                  <a:lnTo>
                    <a:pt x="684" y="1836"/>
                  </a:lnTo>
                  <a:lnTo>
                    <a:pt x="690" y="1824"/>
                  </a:lnTo>
                  <a:lnTo>
                    <a:pt x="702" y="1788"/>
                  </a:lnTo>
                  <a:lnTo>
                    <a:pt x="714" y="1776"/>
                  </a:lnTo>
                  <a:lnTo>
                    <a:pt x="726" y="1770"/>
                  </a:lnTo>
                  <a:lnTo>
                    <a:pt x="744" y="1764"/>
                  </a:lnTo>
                  <a:lnTo>
                    <a:pt x="756" y="1764"/>
                  </a:lnTo>
                  <a:lnTo>
                    <a:pt x="774" y="1770"/>
                  </a:lnTo>
                  <a:lnTo>
                    <a:pt x="798" y="1770"/>
                  </a:lnTo>
                  <a:lnTo>
                    <a:pt x="822" y="1758"/>
                  </a:lnTo>
                  <a:lnTo>
                    <a:pt x="840" y="1752"/>
                  </a:lnTo>
                  <a:lnTo>
                    <a:pt x="858" y="1740"/>
                  </a:lnTo>
                  <a:lnTo>
                    <a:pt x="876" y="1734"/>
                  </a:lnTo>
                  <a:lnTo>
                    <a:pt x="912" y="1734"/>
                  </a:lnTo>
                  <a:lnTo>
                    <a:pt x="918" y="1740"/>
                  </a:lnTo>
                  <a:lnTo>
                    <a:pt x="930" y="1740"/>
                  </a:lnTo>
                  <a:lnTo>
                    <a:pt x="942" y="1746"/>
                  </a:lnTo>
                  <a:lnTo>
                    <a:pt x="972" y="1740"/>
                  </a:lnTo>
                  <a:lnTo>
                    <a:pt x="1044" y="1704"/>
                  </a:lnTo>
                  <a:lnTo>
                    <a:pt x="1074" y="1692"/>
                  </a:lnTo>
                  <a:lnTo>
                    <a:pt x="1098" y="1686"/>
                  </a:lnTo>
                  <a:lnTo>
                    <a:pt x="1140" y="1680"/>
                  </a:lnTo>
                  <a:lnTo>
                    <a:pt x="1176" y="1674"/>
                  </a:lnTo>
                  <a:lnTo>
                    <a:pt x="1224" y="1674"/>
                  </a:lnTo>
                  <a:lnTo>
                    <a:pt x="1236" y="1662"/>
                  </a:lnTo>
                  <a:lnTo>
                    <a:pt x="1254" y="1680"/>
                  </a:lnTo>
                  <a:lnTo>
                    <a:pt x="1266" y="1686"/>
                  </a:lnTo>
                  <a:lnTo>
                    <a:pt x="1278" y="1698"/>
                  </a:lnTo>
                  <a:lnTo>
                    <a:pt x="1302" y="1710"/>
                  </a:lnTo>
                  <a:lnTo>
                    <a:pt x="1320" y="1716"/>
                  </a:lnTo>
                  <a:lnTo>
                    <a:pt x="1332" y="1716"/>
                  </a:lnTo>
                  <a:lnTo>
                    <a:pt x="1338" y="1710"/>
                  </a:lnTo>
                  <a:lnTo>
                    <a:pt x="1338" y="1716"/>
                  </a:lnTo>
                  <a:lnTo>
                    <a:pt x="1344" y="1722"/>
                  </a:lnTo>
                  <a:lnTo>
                    <a:pt x="1350" y="1734"/>
                  </a:lnTo>
                  <a:lnTo>
                    <a:pt x="1356" y="1740"/>
                  </a:lnTo>
                  <a:lnTo>
                    <a:pt x="1374" y="1740"/>
                  </a:lnTo>
                  <a:lnTo>
                    <a:pt x="1380" y="1734"/>
                  </a:lnTo>
                  <a:lnTo>
                    <a:pt x="1380" y="1752"/>
                  </a:lnTo>
                  <a:lnTo>
                    <a:pt x="1392" y="1752"/>
                  </a:lnTo>
                  <a:lnTo>
                    <a:pt x="1398" y="1758"/>
                  </a:lnTo>
                  <a:lnTo>
                    <a:pt x="1398" y="1770"/>
                  </a:lnTo>
                  <a:lnTo>
                    <a:pt x="1386" y="1794"/>
                  </a:lnTo>
                  <a:lnTo>
                    <a:pt x="1380" y="1800"/>
                  </a:lnTo>
                  <a:lnTo>
                    <a:pt x="1374" y="1812"/>
                  </a:lnTo>
                  <a:lnTo>
                    <a:pt x="1392" y="1842"/>
                  </a:lnTo>
                  <a:lnTo>
                    <a:pt x="1410" y="1830"/>
                  </a:lnTo>
                  <a:lnTo>
                    <a:pt x="1428" y="1866"/>
                  </a:lnTo>
                  <a:lnTo>
                    <a:pt x="1428" y="1872"/>
                  </a:lnTo>
                  <a:lnTo>
                    <a:pt x="1434" y="1878"/>
                  </a:lnTo>
                  <a:lnTo>
                    <a:pt x="1434" y="1902"/>
                  </a:lnTo>
                  <a:lnTo>
                    <a:pt x="1440" y="1914"/>
                  </a:lnTo>
                  <a:lnTo>
                    <a:pt x="1440" y="1926"/>
                  </a:lnTo>
                  <a:lnTo>
                    <a:pt x="1422" y="1926"/>
                  </a:lnTo>
                  <a:lnTo>
                    <a:pt x="1410" y="1920"/>
                  </a:lnTo>
                  <a:lnTo>
                    <a:pt x="1404" y="1920"/>
                  </a:lnTo>
                  <a:lnTo>
                    <a:pt x="1410" y="1956"/>
                  </a:lnTo>
                  <a:lnTo>
                    <a:pt x="1446" y="1956"/>
                  </a:lnTo>
                  <a:lnTo>
                    <a:pt x="1452" y="1962"/>
                  </a:lnTo>
                  <a:lnTo>
                    <a:pt x="1452" y="1968"/>
                  </a:lnTo>
                  <a:lnTo>
                    <a:pt x="1470" y="1968"/>
                  </a:lnTo>
                  <a:lnTo>
                    <a:pt x="1470" y="1956"/>
                  </a:lnTo>
                  <a:lnTo>
                    <a:pt x="1464" y="1938"/>
                  </a:lnTo>
                  <a:lnTo>
                    <a:pt x="1464" y="1926"/>
                  </a:lnTo>
                  <a:lnTo>
                    <a:pt x="1470" y="1914"/>
                  </a:lnTo>
                  <a:lnTo>
                    <a:pt x="1476" y="1908"/>
                  </a:lnTo>
                  <a:lnTo>
                    <a:pt x="1500" y="1896"/>
                  </a:lnTo>
                  <a:lnTo>
                    <a:pt x="1512" y="1896"/>
                  </a:lnTo>
                  <a:lnTo>
                    <a:pt x="1518" y="1890"/>
                  </a:lnTo>
                  <a:lnTo>
                    <a:pt x="1530" y="1884"/>
                  </a:lnTo>
                  <a:lnTo>
                    <a:pt x="1542" y="1872"/>
                  </a:lnTo>
                  <a:lnTo>
                    <a:pt x="1548" y="1860"/>
                  </a:lnTo>
                  <a:lnTo>
                    <a:pt x="1566" y="1842"/>
                  </a:lnTo>
                  <a:lnTo>
                    <a:pt x="1566" y="1836"/>
                  </a:lnTo>
                  <a:lnTo>
                    <a:pt x="1590" y="1842"/>
                  </a:lnTo>
                  <a:lnTo>
                    <a:pt x="1608" y="1788"/>
                  </a:lnTo>
                  <a:lnTo>
                    <a:pt x="1638" y="1788"/>
                  </a:lnTo>
                  <a:lnTo>
                    <a:pt x="1650" y="1782"/>
                  </a:lnTo>
                  <a:lnTo>
                    <a:pt x="1662" y="1770"/>
                  </a:lnTo>
                  <a:lnTo>
                    <a:pt x="1668" y="1752"/>
                  </a:lnTo>
                  <a:lnTo>
                    <a:pt x="1668" y="1740"/>
                  </a:lnTo>
                  <a:lnTo>
                    <a:pt x="1668" y="1746"/>
                  </a:lnTo>
                  <a:lnTo>
                    <a:pt x="1674" y="1752"/>
                  </a:lnTo>
                  <a:lnTo>
                    <a:pt x="1674" y="1764"/>
                  </a:lnTo>
                  <a:lnTo>
                    <a:pt x="1680" y="1776"/>
                  </a:lnTo>
                  <a:lnTo>
                    <a:pt x="1680" y="1782"/>
                  </a:lnTo>
                  <a:lnTo>
                    <a:pt x="1668" y="1794"/>
                  </a:lnTo>
                  <a:lnTo>
                    <a:pt x="1662" y="1806"/>
                  </a:lnTo>
                  <a:lnTo>
                    <a:pt x="1650" y="1812"/>
                  </a:lnTo>
                  <a:lnTo>
                    <a:pt x="1644" y="1818"/>
                  </a:lnTo>
                  <a:lnTo>
                    <a:pt x="1620" y="1818"/>
                  </a:lnTo>
                  <a:lnTo>
                    <a:pt x="1614" y="1830"/>
                  </a:lnTo>
                  <a:lnTo>
                    <a:pt x="1632" y="1866"/>
                  </a:lnTo>
                  <a:lnTo>
                    <a:pt x="1620" y="1866"/>
                  </a:lnTo>
                  <a:lnTo>
                    <a:pt x="1614" y="1872"/>
                  </a:lnTo>
                  <a:lnTo>
                    <a:pt x="1602" y="1878"/>
                  </a:lnTo>
                  <a:lnTo>
                    <a:pt x="1566" y="1914"/>
                  </a:lnTo>
                  <a:lnTo>
                    <a:pt x="1566" y="1926"/>
                  </a:lnTo>
                  <a:lnTo>
                    <a:pt x="1560" y="1932"/>
                  </a:lnTo>
                  <a:lnTo>
                    <a:pt x="1554" y="1944"/>
                  </a:lnTo>
                  <a:lnTo>
                    <a:pt x="1542" y="1956"/>
                  </a:lnTo>
                  <a:lnTo>
                    <a:pt x="1518" y="1968"/>
                  </a:lnTo>
                  <a:lnTo>
                    <a:pt x="1512" y="1974"/>
                  </a:lnTo>
                  <a:lnTo>
                    <a:pt x="1512" y="1980"/>
                  </a:lnTo>
                  <a:lnTo>
                    <a:pt x="1518" y="1986"/>
                  </a:lnTo>
                  <a:lnTo>
                    <a:pt x="1548" y="1986"/>
                  </a:lnTo>
                  <a:lnTo>
                    <a:pt x="1560" y="1980"/>
                  </a:lnTo>
                  <a:lnTo>
                    <a:pt x="1572" y="1980"/>
                  </a:lnTo>
                  <a:lnTo>
                    <a:pt x="1584" y="1968"/>
                  </a:lnTo>
                  <a:lnTo>
                    <a:pt x="1602" y="1932"/>
                  </a:lnTo>
                  <a:lnTo>
                    <a:pt x="1608" y="1926"/>
                  </a:lnTo>
                  <a:lnTo>
                    <a:pt x="1614" y="1914"/>
                  </a:lnTo>
                  <a:lnTo>
                    <a:pt x="1626" y="1908"/>
                  </a:lnTo>
                  <a:lnTo>
                    <a:pt x="1632" y="1902"/>
                  </a:lnTo>
                  <a:lnTo>
                    <a:pt x="1632" y="1920"/>
                  </a:lnTo>
                  <a:lnTo>
                    <a:pt x="1638" y="1932"/>
                  </a:lnTo>
                  <a:lnTo>
                    <a:pt x="1638" y="1956"/>
                  </a:lnTo>
                  <a:lnTo>
                    <a:pt x="1626" y="1968"/>
                  </a:lnTo>
                  <a:lnTo>
                    <a:pt x="1614" y="1974"/>
                  </a:lnTo>
                  <a:lnTo>
                    <a:pt x="1602" y="1986"/>
                  </a:lnTo>
                  <a:lnTo>
                    <a:pt x="1602" y="2004"/>
                  </a:lnTo>
                  <a:lnTo>
                    <a:pt x="1608" y="2010"/>
                  </a:lnTo>
                  <a:lnTo>
                    <a:pt x="1614" y="2010"/>
                  </a:lnTo>
                  <a:lnTo>
                    <a:pt x="1632" y="2016"/>
                  </a:lnTo>
                  <a:lnTo>
                    <a:pt x="1662" y="2016"/>
                  </a:lnTo>
                  <a:lnTo>
                    <a:pt x="1668" y="2028"/>
                  </a:lnTo>
                  <a:lnTo>
                    <a:pt x="1644" y="2052"/>
                  </a:lnTo>
                  <a:lnTo>
                    <a:pt x="1644" y="2058"/>
                  </a:lnTo>
                  <a:lnTo>
                    <a:pt x="1650" y="2064"/>
                  </a:lnTo>
                  <a:lnTo>
                    <a:pt x="1668" y="2100"/>
                  </a:lnTo>
                  <a:lnTo>
                    <a:pt x="1674" y="2106"/>
                  </a:lnTo>
                  <a:lnTo>
                    <a:pt x="1674" y="2118"/>
                  </a:lnTo>
                  <a:lnTo>
                    <a:pt x="1626" y="2166"/>
                  </a:lnTo>
                  <a:lnTo>
                    <a:pt x="1626" y="2178"/>
                  </a:lnTo>
                  <a:lnTo>
                    <a:pt x="1638" y="2190"/>
                  </a:lnTo>
                  <a:lnTo>
                    <a:pt x="1644" y="2202"/>
                  </a:lnTo>
                  <a:lnTo>
                    <a:pt x="1668" y="2214"/>
                  </a:lnTo>
                  <a:lnTo>
                    <a:pt x="1680" y="2226"/>
                  </a:lnTo>
                  <a:lnTo>
                    <a:pt x="1692" y="2232"/>
                  </a:lnTo>
                  <a:lnTo>
                    <a:pt x="1716" y="2256"/>
                  </a:lnTo>
                  <a:lnTo>
                    <a:pt x="1728" y="2262"/>
                  </a:lnTo>
                  <a:lnTo>
                    <a:pt x="1800" y="2262"/>
                  </a:lnTo>
                  <a:lnTo>
                    <a:pt x="1824" y="2286"/>
                  </a:lnTo>
                  <a:lnTo>
                    <a:pt x="1842" y="2292"/>
                  </a:lnTo>
                  <a:lnTo>
                    <a:pt x="1872" y="2286"/>
                  </a:lnTo>
                  <a:lnTo>
                    <a:pt x="1902" y="2274"/>
                  </a:lnTo>
                  <a:lnTo>
                    <a:pt x="1932" y="2256"/>
                  </a:lnTo>
                  <a:lnTo>
                    <a:pt x="1944" y="2250"/>
                  </a:lnTo>
                  <a:lnTo>
                    <a:pt x="1944" y="2226"/>
                  </a:lnTo>
                  <a:lnTo>
                    <a:pt x="1956" y="2214"/>
                  </a:lnTo>
                  <a:lnTo>
                    <a:pt x="1962" y="2214"/>
                  </a:lnTo>
                  <a:lnTo>
                    <a:pt x="1974" y="2226"/>
                  </a:lnTo>
                  <a:lnTo>
                    <a:pt x="1974" y="2256"/>
                  </a:lnTo>
                  <a:lnTo>
                    <a:pt x="1992" y="2256"/>
                  </a:lnTo>
                  <a:lnTo>
                    <a:pt x="1980" y="2280"/>
                  </a:lnTo>
                  <a:lnTo>
                    <a:pt x="1998" y="2280"/>
                  </a:lnTo>
                  <a:lnTo>
                    <a:pt x="1998" y="2292"/>
                  </a:lnTo>
                  <a:lnTo>
                    <a:pt x="2004" y="2298"/>
                  </a:lnTo>
                  <a:lnTo>
                    <a:pt x="2010" y="2310"/>
                  </a:lnTo>
                  <a:lnTo>
                    <a:pt x="2016" y="2316"/>
                  </a:lnTo>
                  <a:lnTo>
                    <a:pt x="2028" y="2316"/>
                  </a:lnTo>
                  <a:lnTo>
                    <a:pt x="2040" y="2304"/>
                  </a:lnTo>
                  <a:lnTo>
                    <a:pt x="2046" y="2304"/>
                  </a:lnTo>
                  <a:lnTo>
                    <a:pt x="2052" y="2298"/>
                  </a:lnTo>
                  <a:lnTo>
                    <a:pt x="2070" y="2292"/>
                  </a:lnTo>
                  <a:lnTo>
                    <a:pt x="2082" y="2286"/>
                  </a:lnTo>
                  <a:lnTo>
                    <a:pt x="2088" y="2280"/>
                  </a:lnTo>
                  <a:lnTo>
                    <a:pt x="2100" y="2274"/>
                  </a:lnTo>
                  <a:lnTo>
                    <a:pt x="2124" y="2250"/>
                  </a:lnTo>
                  <a:lnTo>
                    <a:pt x="2136" y="2244"/>
                  </a:lnTo>
                  <a:lnTo>
                    <a:pt x="2148" y="2232"/>
                  </a:lnTo>
                  <a:lnTo>
                    <a:pt x="2160" y="2226"/>
                  </a:lnTo>
                  <a:lnTo>
                    <a:pt x="2154" y="2214"/>
                  </a:lnTo>
                  <a:lnTo>
                    <a:pt x="2190" y="2202"/>
                  </a:lnTo>
                  <a:lnTo>
                    <a:pt x="2202" y="2214"/>
                  </a:lnTo>
                  <a:lnTo>
                    <a:pt x="2220" y="2214"/>
                  </a:lnTo>
                  <a:lnTo>
                    <a:pt x="2256" y="2208"/>
                  </a:lnTo>
                  <a:lnTo>
                    <a:pt x="2298" y="2196"/>
                  </a:lnTo>
                  <a:lnTo>
                    <a:pt x="2316" y="2178"/>
                  </a:lnTo>
                  <a:lnTo>
                    <a:pt x="2328" y="2148"/>
                  </a:lnTo>
                  <a:lnTo>
                    <a:pt x="2334" y="2118"/>
                  </a:lnTo>
                  <a:lnTo>
                    <a:pt x="2340" y="2100"/>
                  </a:lnTo>
                  <a:lnTo>
                    <a:pt x="2346" y="2088"/>
                  </a:lnTo>
                  <a:lnTo>
                    <a:pt x="2376" y="2058"/>
                  </a:lnTo>
                  <a:lnTo>
                    <a:pt x="2382" y="2058"/>
                  </a:lnTo>
                  <a:lnTo>
                    <a:pt x="2382" y="2034"/>
                  </a:lnTo>
                  <a:lnTo>
                    <a:pt x="2388" y="2034"/>
                  </a:lnTo>
                  <a:lnTo>
                    <a:pt x="2394" y="2028"/>
                  </a:lnTo>
                  <a:lnTo>
                    <a:pt x="2406" y="2022"/>
                  </a:lnTo>
                  <a:lnTo>
                    <a:pt x="2418" y="2010"/>
                  </a:lnTo>
                  <a:lnTo>
                    <a:pt x="2424" y="1998"/>
                  </a:lnTo>
                  <a:lnTo>
                    <a:pt x="2442" y="1980"/>
                  </a:lnTo>
                  <a:lnTo>
                    <a:pt x="2442" y="1956"/>
                  </a:lnTo>
                  <a:lnTo>
                    <a:pt x="2448" y="1944"/>
                  </a:lnTo>
                  <a:lnTo>
                    <a:pt x="2454" y="1926"/>
                  </a:lnTo>
                  <a:lnTo>
                    <a:pt x="2460" y="1914"/>
                  </a:lnTo>
                  <a:lnTo>
                    <a:pt x="2490" y="1884"/>
                  </a:lnTo>
                  <a:lnTo>
                    <a:pt x="2502" y="1866"/>
                  </a:lnTo>
                  <a:lnTo>
                    <a:pt x="2526" y="1842"/>
                  </a:lnTo>
                  <a:lnTo>
                    <a:pt x="2538" y="1836"/>
                  </a:lnTo>
                  <a:lnTo>
                    <a:pt x="2550" y="1824"/>
                  </a:lnTo>
                  <a:lnTo>
                    <a:pt x="2556" y="1812"/>
                  </a:lnTo>
                  <a:lnTo>
                    <a:pt x="2556" y="1800"/>
                  </a:lnTo>
                  <a:lnTo>
                    <a:pt x="2562" y="1788"/>
                  </a:lnTo>
                  <a:lnTo>
                    <a:pt x="2562" y="1782"/>
                  </a:lnTo>
                  <a:lnTo>
                    <a:pt x="2586" y="1782"/>
                  </a:lnTo>
                  <a:lnTo>
                    <a:pt x="2610" y="1770"/>
                  </a:lnTo>
                  <a:lnTo>
                    <a:pt x="2622" y="1752"/>
                  </a:lnTo>
                  <a:lnTo>
                    <a:pt x="2646" y="1728"/>
                  </a:lnTo>
                  <a:lnTo>
                    <a:pt x="2670" y="1698"/>
                  </a:lnTo>
                  <a:lnTo>
                    <a:pt x="2688" y="1674"/>
                  </a:lnTo>
                  <a:lnTo>
                    <a:pt x="2700" y="1662"/>
                  </a:lnTo>
                  <a:lnTo>
                    <a:pt x="2700" y="1656"/>
                  </a:lnTo>
                  <a:lnTo>
                    <a:pt x="2706" y="1638"/>
                  </a:lnTo>
                  <a:lnTo>
                    <a:pt x="2706" y="1614"/>
                  </a:lnTo>
                  <a:lnTo>
                    <a:pt x="2712" y="1596"/>
                  </a:lnTo>
                  <a:lnTo>
                    <a:pt x="2718" y="1590"/>
                  </a:lnTo>
                  <a:lnTo>
                    <a:pt x="2730" y="1572"/>
                  </a:lnTo>
                  <a:lnTo>
                    <a:pt x="2754" y="1542"/>
                  </a:lnTo>
                  <a:lnTo>
                    <a:pt x="2772" y="1494"/>
                  </a:lnTo>
                  <a:lnTo>
                    <a:pt x="2796" y="1458"/>
                  </a:lnTo>
                  <a:lnTo>
                    <a:pt x="2808" y="1428"/>
                  </a:lnTo>
                  <a:lnTo>
                    <a:pt x="2814" y="1416"/>
                  </a:lnTo>
                  <a:lnTo>
                    <a:pt x="2814" y="1386"/>
                  </a:lnTo>
                  <a:lnTo>
                    <a:pt x="2802" y="1362"/>
                  </a:lnTo>
                  <a:lnTo>
                    <a:pt x="2820" y="1308"/>
                  </a:lnTo>
                  <a:lnTo>
                    <a:pt x="2832" y="1290"/>
                  </a:lnTo>
                  <a:lnTo>
                    <a:pt x="2838" y="1266"/>
                  </a:lnTo>
                  <a:lnTo>
                    <a:pt x="2838" y="1224"/>
                  </a:lnTo>
                  <a:lnTo>
                    <a:pt x="2832" y="1194"/>
                  </a:lnTo>
                  <a:lnTo>
                    <a:pt x="2832" y="1176"/>
                  </a:lnTo>
                  <a:lnTo>
                    <a:pt x="2802" y="1164"/>
                  </a:lnTo>
                  <a:close/>
                  <a:moveTo>
                    <a:pt x="2016" y="2436"/>
                  </a:moveTo>
                  <a:lnTo>
                    <a:pt x="2022" y="2442"/>
                  </a:lnTo>
                  <a:lnTo>
                    <a:pt x="2028" y="2442"/>
                  </a:lnTo>
                  <a:lnTo>
                    <a:pt x="2040" y="2436"/>
                  </a:lnTo>
                  <a:lnTo>
                    <a:pt x="2046" y="2430"/>
                  </a:lnTo>
                  <a:lnTo>
                    <a:pt x="2034" y="2418"/>
                  </a:lnTo>
                  <a:lnTo>
                    <a:pt x="2016" y="2436"/>
                  </a:lnTo>
                  <a:close/>
                  <a:moveTo>
                    <a:pt x="1992" y="2454"/>
                  </a:moveTo>
                  <a:lnTo>
                    <a:pt x="1974" y="2454"/>
                  </a:lnTo>
                  <a:lnTo>
                    <a:pt x="1962" y="2466"/>
                  </a:lnTo>
                  <a:lnTo>
                    <a:pt x="1962" y="2472"/>
                  </a:lnTo>
                  <a:lnTo>
                    <a:pt x="1962" y="2460"/>
                  </a:lnTo>
                  <a:lnTo>
                    <a:pt x="1938" y="2460"/>
                  </a:lnTo>
                  <a:lnTo>
                    <a:pt x="1926" y="2466"/>
                  </a:lnTo>
                  <a:lnTo>
                    <a:pt x="1914" y="2466"/>
                  </a:lnTo>
                  <a:lnTo>
                    <a:pt x="1908" y="2478"/>
                  </a:lnTo>
                  <a:lnTo>
                    <a:pt x="1890" y="2460"/>
                  </a:lnTo>
                  <a:lnTo>
                    <a:pt x="1854" y="2460"/>
                  </a:lnTo>
                  <a:lnTo>
                    <a:pt x="1830" y="2430"/>
                  </a:lnTo>
                  <a:lnTo>
                    <a:pt x="1824" y="2436"/>
                  </a:lnTo>
                  <a:lnTo>
                    <a:pt x="1818" y="2436"/>
                  </a:lnTo>
                  <a:lnTo>
                    <a:pt x="1812" y="2442"/>
                  </a:lnTo>
                  <a:lnTo>
                    <a:pt x="1806" y="2442"/>
                  </a:lnTo>
                  <a:lnTo>
                    <a:pt x="1776" y="2412"/>
                  </a:lnTo>
                  <a:lnTo>
                    <a:pt x="1776" y="2424"/>
                  </a:lnTo>
                  <a:lnTo>
                    <a:pt x="1782" y="2448"/>
                  </a:lnTo>
                  <a:lnTo>
                    <a:pt x="1782" y="2472"/>
                  </a:lnTo>
                  <a:lnTo>
                    <a:pt x="1776" y="2478"/>
                  </a:lnTo>
                  <a:lnTo>
                    <a:pt x="1776" y="2484"/>
                  </a:lnTo>
                  <a:lnTo>
                    <a:pt x="1770" y="2490"/>
                  </a:lnTo>
                  <a:lnTo>
                    <a:pt x="1770" y="2502"/>
                  </a:lnTo>
                  <a:lnTo>
                    <a:pt x="1776" y="2514"/>
                  </a:lnTo>
                  <a:lnTo>
                    <a:pt x="1776" y="2532"/>
                  </a:lnTo>
                  <a:lnTo>
                    <a:pt x="1764" y="2538"/>
                  </a:lnTo>
                  <a:lnTo>
                    <a:pt x="1758" y="2544"/>
                  </a:lnTo>
                  <a:lnTo>
                    <a:pt x="1752" y="2544"/>
                  </a:lnTo>
                  <a:lnTo>
                    <a:pt x="1740" y="2532"/>
                  </a:lnTo>
                  <a:lnTo>
                    <a:pt x="1740" y="2538"/>
                  </a:lnTo>
                  <a:lnTo>
                    <a:pt x="1734" y="2544"/>
                  </a:lnTo>
                  <a:lnTo>
                    <a:pt x="1734" y="2556"/>
                  </a:lnTo>
                  <a:lnTo>
                    <a:pt x="1728" y="2574"/>
                  </a:lnTo>
                  <a:lnTo>
                    <a:pt x="1728" y="2586"/>
                  </a:lnTo>
                  <a:lnTo>
                    <a:pt x="1740" y="2610"/>
                  </a:lnTo>
                  <a:lnTo>
                    <a:pt x="1740" y="2616"/>
                  </a:lnTo>
                  <a:lnTo>
                    <a:pt x="1746" y="2628"/>
                  </a:lnTo>
                  <a:lnTo>
                    <a:pt x="1770" y="2628"/>
                  </a:lnTo>
                  <a:lnTo>
                    <a:pt x="1752" y="2640"/>
                  </a:lnTo>
                  <a:lnTo>
                    <a:pt x="1758" y="2664"/>
                  </a:lnTo>
                  <a:lnTo>
                    <a:pt x="1770" y="2658"/>
                  </a:lnTo>
                  <a:lnTo>
                    <a:pt x="1776" y="2658"/>
                  </a:lnTo>
                  <a:lnTo>
                    <a:pt x="1782" y="2652"/>
                  </a:lnTo>
                  <a:lnTo>
                    <a:pt x="1794" y="2652"/>
                  </a:lnTo>
                  <a:lnTo>
                    <a:pt x="1800" y="2658"/>
                  </a:lnTo>
                  <a:lnTo>
                    <a:pt x="1818" y="2658"/>
                  </a:lnTo>
                  <a:lnTo>
                    <a:pt x="1830" y="2652"/>
                  </a:lnTo>
                  <a:lnTo>
                    <a:pt x="1836" y="2646"/>
                  </a:lnTo>
                  <a:lnTo>
                    <a:pt x="1842" y="2634"/>
                  </a:lnTo>
                  <a:lnTo>
                    <a:pt x="1854" y="2634"/>
                  </a:lnTo>
                  <a:lnTo>
                    <a:pt x="1860" y="2640"/>
                  </a:lnTo>
                  <a:lnTo>
                    <a:pt x="1860" y="2646"/>
                  </a:lnTo>
                  <a:lnTo>
                    <a:pt x="1848" y="2658"/>
                  </a:lnTo>
                  <a:lnTo>
                    <a:pt x="1866" y="2664"/>
                  </a:lnTo>
                  <a:lnTo>
                    <a:pt x="1884" y="2646"/>
                  </a:lnTo>
                  <a:lnTo>
                    <a:pt x="1890" y="2634"/>
                  </a:lnTo>
                  <a:lnTo>
                    <a:pt x="1902" y="2628"/>
                  </a:lnTo>
                  <a:lnTo>
                    <a:pt x="1908" y="2616"/>
                  </a:lnTo>
                  <a:lnTo>
                    <a:pt x="1920" y="2604"/>
                  </a:lnTo>
                  <a:lnTo>
                    <a:pt x="1914" y="2604"/>
                  </a:lnTo>
                  <a:lnTo>
                    <a:pt x="1902" y="2592"/>
                  </a:lnTo>
                  <a:lnTo>
                    <a:pt x="1920" y="2562"/>
                  </a:lnTo>
                  <a:lnTo>
                    <a:pt x="1950" y="2562"/>
                  </a:lnTo>
                  <a:lnTo>
                    <a:pt x="1962" y="2538"/>
                  </a:lnTo>
                  <a:lnTo>
                    <a:pt x="1962" y="2514"/>
                  </a:lnTo>
                  <a:lnTo>
                    <a:pt x="1968" y="2502"/>
                  </a:lnTo>
                  <a:lnTo>
                    <a:pt x="1980" y="2496"/>
                  </a:lnTo>
                  <a:lnTo>
                    <a:pt x="1986" y="2484"/>
                  </a:lnTo>
                  <a:lnTo>
                    <a:pt x="1992" y="2478"/>
                  </a:lnTo>
                  <a:lnTo>
                    <a:pt x="1998" y="2466"/>
                  </a:lnTo>
                  <a:lnTo>
                    <a:pt x="1998" y="2460"/>
                  </a:lnTo>
                  <a:lnTo>
                    <a:pt x="1992" y="2454"/>
                  </a:lnTo>
                  <a:close/>
                  <a:moveTo>
                    <a:pt x="1902" y="246"/>
                  </a:moveTo>
                  <a:lnTo>
                    <a:pt x="1890" y="258"/>
                  </a:lnTo>
                  <a:lnTo>
                    <a:pt x="1890" y="270"/>
                  </a:lnTo>
                  <a:lnTo>
                    <a:pt x="1884" y="282"/>
                  </a:lnTo>
                  <a:lnTo>
                    <a:pt x="1884" y="294"/>
                  </a:lnTo>
                  <a:lnTo>
                    <a:pt x="1896" y="300"/>
                  </a:lnTo>
                  <a:lnTo>
                    <a:pt x="1920" y="300"/>
                  </a:lnTo>
                  <a:lnTo>
                    <a:pt x="1926" y="294"/>
                  </a:lnTo>
                  <a:lnTo>
                    <a:pt x="1932" y="294"/>
                  </a:lnTo>
                  <a:lnTo>
                    <a:pt x="1926" y="282"/>
                  </a:lnTo>
                  <a:lnTo>
                    <a:pt x="1932" y="252"/>
                  </a:lnTo>
                  <a:lnTo>
                    <a:pt x="1920" y="252"/>
                  </a:lnTo>
                  <a:lnTo>
                    <a:pt x="1908" y="246"/>
                  </a:lnTo>
                  <a:lnTo>
                    <a:pt x="1902" y="246"/>
                  </a:lnTo>
                  <a:close/>
                  <a:moveTo>
                    <a:pt x="1770" y="2334"/>
                  </a:moveTo>
                  <a:lnTo>
                    <a:pt x="1758" y="2376"/>
                  </a:lnTo>
                  <a:lnTo>
                    <a:pt x="1812" y="2328"/>
                  </a:lnTo>
                  <a:lnTo>
                    <a:pt x="1770" y="2334"/>
                  </a:lnTo>
                  <a:close/>
                  <a:moveTo>
                    <a:pt x="2034" y="2400"/>
                  </a:moveTo>
                  <a:lnTo>
                    <a:pt x="2016" y="2358"/>
                  </a:lnTo>
                  <a:lnTo>
                    <a:pt x="1998" y="2376"/>
                  </a:lnTo>
                  <a:lnTo>
                    <a:pt x="1998" y="2394"/>
                  </a:lnTo>
                  <a:lnTo>
                    <a:pt x="2010" y="2406"/>
                  </a:lnTo>
                  <a:lnTo>
                    <a:pt x="2028" y="2406"/>
                  </a:lnTo>
                  <a:lnTo>
                    <a:pt x="2034" y="240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180" name="Armenia" descr="© INSCALE GmbH, 05.05.2010&#10;http://www.presentationload.com/"/>
            <p:cNvSpPr>
              <a:spLocks/>
            </p:cNvSpPr>
            <p:nvPr/>
          </p:nvSpPr>
          <p:spPr bwMode="gray">
            <a:xfrm>
              <a:off x="5406423" y="3270073"/>
              <a:ext cx="72951" cy="64914"/>
            </a:xfrm>
            <a:custGeom>
              <a:avLst/>
              <a:gdLst>
                <a:gd name="T0" fmla="*/ 2147483647 w 222"/>
                <a:gd name="T1" fmla="*/ 2147483647 h 210"/>
                <a:gd name="T2" fmla="*/ 2147483647 w 222"/>
                <a:gd name="T3" fmla="*/ 2147483647 h 210"/>
                <a:gd name="T4" fmla="*/ 2147483647 w 222"/>
                <a:gd name="T5" fmla="*/ 2147483647 h 210"/>
                <a:gd name="T6" fmla="*/ 2147483647 w 222"/>
                <a:gd name="T7" fmla="*/ 2147483647 h 210"/>
                <a:gd name="T8" fmla="*/ 2147483647 w 222"/>
                <a:gd name="T9" fmla="*/ 2147483647 h 210"/>
                <a:gd name="T10" fmla="*/ 2147483647 w 222"/>
                <a:gd name="T11" fmla="*/ 2147483647 h 210"/>
                <a:gd name="T12" fmla="*/ 2147483647 w 222"/>
                <a:gd name="T13" fmla="*/ 2147483647 h 210"/>
                <a:gd name="T14" fmla="*/ 2147483647 w 222"/>
                <a:gd name="T15" fmla="*/ 2147483647 h 210"/>
                <a:gd name="T16" fmla="*/ 2147483647 w 222"/>
                <a:gd name="T17" fmla="*/ 2147483647 h 210"/>
                <a:gd name="T18" fmla="*/ 2147483647 w 222"/>
                <a:gd name="T19" fmla="*/ 2147483647 h 210"/>
                <a:gd name="T20" fmla="*/ 2147483647 w 222"/>
                <a:gd name="T21" fmla="*/ 2147483647 h 210"/>
                <a:gd name="T22" fmla="*/ 2147483647 w 222"/>
                <a:gd name="T23" fmla="*/ 2147483647 h 210"/>
                <a:gd name="T24" fmla="*/ 2147483647 w 222"/>
                <a:gd name="T25" fmla="*/ 2147483647 h 210"/>
                <a:gd name="T26" fmla="*/ 2147483647 w 222"/>
                <a:gd name="T27" fmla="*/ 2147483647 h 210"/>
                <a:gd name="T28" fmla="*/ 2147483647 w 222"/>
                <a:gd name="T29" fmla="*/ 2147483647 h 210"/>
                <a:gd name="T30" fmla="*/ 2147483647 w 222"/>
                <a:gd name="T31" fmla="*/ 2147483647 h 210"/>
                <a:gd name="T32" fmla="*/ 2147483647 w 222"/>
                <a:gd name="T33" fmla="*/ 2147483647 h 210"/>
                <a:gd name="T34" fmla="*/ 2147483647 w 222"/>
                <a:gd name="T35" fmla="*/ 2147483647 h 210"/>
                <a:gd name="T36" fmla="*/ 2147483647 w 222"/>
                <a:gd name="T37" fmla="*/ 2147483647 h 210"/>
                <a:gd name="T38" fmla="*/ 2147483647 w 222"/>
                <a:gd name="T39" fmla="*/ 0 h 210"/>
                <a:gd name="T40" fmla="*/ 2147483647 w 222"/>
                <a:gd name="T41" fmla="*/ 0 h 210"/>
                <a:gd name="T42" fmla="*/ 2147483647 w 222"/>
                <a:gd name="T43" fmla="*/ 2147483647 h 210"/>
                <a:gd name="T44" fmla="*/ 2147483647 w 222"/>
                <a:gd name="T45" fmla="*/ 2147483647 h 210"/>
                <a:gd name="T46" fmla="*/ 2147483647 w 222"/>
                <a:gd name="T47" fmla="*/ 2147483647 h 210"/>
                <a:gd name="T48" fmla="*/ 0 w 222"/>
                <a:gd name="T49" fmla="*/ 2147483647 h 210"/>
                <a:gd name="T50" fmla="*/ 2147483647 w 222"/>
                <a:gd name="T51" fmla="*/ 2147483647 h 210"/>
                <a:gd name="T52" fmla="*/ 2147483647 w 222"/>
                <a:gd name="T53" fmla="*/ 2147483647 h 210"/>
                <a:gd name="T54" fmla="*/ 2147483647 w 222"/>
                <a:gd name="T55" fmla="*/ 2147483647 h 210"/>
                <a:gd name="T56" fmla="*/ 2147483647 w 222"/>
                <a:gd name="T57" fmla="*/ 2147483647 h 210"/>
                <a:gd name="T58" fmla="*/ 2147483647 w 222"/>
                <a:gd name="T59" fmla="*/ 2147483647 h 210"/>
                <a:gd name="T60" fmla="*/ 2147483647 w 222"/>
                <a:gd name="T61" fmla="*/ 2147483647 h 210"/>
                <a:gd name="T62" fmla="*/ 2147483647 w 222"/>
                <a:gd name="T63" fmla="*/ 2147483647 h 210"/>
                <a:gd name="T64" fmla="*/ 2147483647 w 222"/>
                <a:gd name="T65" fmla="*/ 2147483647 h 210"/>
                <a:gd name="T66" fmla="*/ 2147483647 w 222"/>
                <a:gd name="T67" fmla="*/ 2147483647 h 210"/>
                <a:gd name="T68" fmla="*/ 2147483647 w 222"/>
                <a:gd name="T69" fmla="*/ 2147483647 h 210"/>
                <a:gd name="T70" fmla="*/ 2147483647 w 222"/>
                <a:gd name="T71" fmla="*/ 2147483647 h 210"/>
                <a:gd name="T72" fmla="*/ 2147483647 w 222"/>
                <a:gd name="T73" fmla="*/ 2147483647 h 210"/>
                <a:gd name="T74" fmla="*/ 2147483647 w 222"/>
                <a:gd name="T75" fmla="*/ 2147483647 h 210"/>
                <a:gd name="T76" fmla="*/ 2147483647 w 222"/>
                <a:gd name="T77" fmla="*/ 2147483647 h 210"/>
                <a:gd name="T78" fmla="*/ 2147483647 w 222"/>
                <a:gd name="T79" fmla="*/ 2147483647 h 210"/>
                <a:gd name="T80" fmla="*/ 2147483647 w 222"/>
                <a:gd name="T81" fmla="*/ 2147483647 h 210"/>
                <a:gd name="T82" fmla="*/ 2147483647 w 222"/>
                <a:gd name="T83" fmla="*/ 2147483647 h 210"/>
                <a:gd name="T84" fmla="*/ 2147483647 w 222"/>
                <a:gd name="T85" fmla="*/ 2147483647 h 210"/>
                <a:gd name="T86" fmla="*/ 2147483647 w 222"/>
                <a:gd name="T87" fmla="*/ 2147483647 h 210"/>
                <a:gd name="T88" fmla="*/ 2147483647 w 222"/>
                <a:gd name="T89" fmla="*/ 2147483647 h 210"/>
                <a:gd name="T90" fmla="*/ 2147483647 w 222"/>
                <a:gd name="T91" fmla="*/ 2147483647 h 210"/>
                <a:gd name="T92" fmla="*/ 2147483647 w 222"/>
                <a:gd name="T93" fmla="*/ 2147483647 h 210"/>
                <a:gd name="T94" fmla="*/ 2147483647 w 222"/>
                <a:gd name="T95" fmla="*/ 2147483647 h 210"/>
                <a:gd name="T96" fmla="*/ 2147483647 w 222"/>
                <a:gd name="T97" fmla="*/ 2147483647 h 210"/>
                <a:gd name="T98" fmla="*/ 2147483647 w 222"/>
                <a:gd name="T99" fmla="*/ 2147483647 h 210"/>
                <a:gd name="T100" fmla="*/ 2147483647 w 222"/>
                <a:gd name="T101" fmla="*/ 2147483647 h 210"/>
                <a:gd name="T102" fmla="*/ 2147483647 w 222"/>
                <a:gd name="T103" fmla="*/ 2147483647 h 210"/>
                <a:gd name="T104" fmla="*/ 2147483647 w 222"/>
                <a:gd name="T105" fmla="*/ 2147483647 h 210"/>
                <a:gd name="T106" fmla="*/ 2147483647 w 222"/>
                <a:gd name="T107" fmla="*/ 2147483647 h 21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22"/>
                <a:gd name="T163" fmla="*/ 0 h 210"/>
                <a:gd name="T164" fmla="*/ 222 w 222"/>
                <a:gd name="T165" fmla="*/ 210 h 21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22" h="210">
                  <a:moveTo>
                    <a:pt x="222" y="168"/>
                  </a:moveTo>
                  <a:lnTo>
                    <a:pt x="216" y="156"/>
                  </a:lnTo>
                  <a:lnTo>
                    <a:pt x="216" y="144"/>
                  </a:lnTo>
                  <a:lnTo>
                    <a:pt x="186" y="138"/>
                  </a:lnTo>
                  <a:lnTo>
                    <a:pt x="174" y="120"/>
                  </a:lnTo>
                  <a:lnTo>
                    <a:pt x="144" y="108"/>
                  </a:lnTo>
                  <a:lnTo>
                    <a:pt x="156" y="108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68" y="78"/>
                  </a:lnTo>
                  <a:lnTo>
                    <a:pt x="144" y="66"/>
                  </a:lnTo>
                  <a:lnTo>
                    <a:pt x="138" y="60"/>
                  </a:lnTo>
                  <a:lnTo>
                    <a:pt x="132" y="60"/>
                  </a:lnTo>
                  <a:lnTo>
                    <a:pt x="138" y="54"/>
                  </a:lnTo>
                  <a:lnTo>
                    <a:pt x="138" y="30"/>
                  </a:lnTo>
                  <a:lnTo>
                    <a:pt x="132" y="24"/>
                  </a:lnTo>
                  <a:lnTo>
                    <a:pt x="114" y="24"/>
                  </a:lnTo>
                  <a:lnTo>
                    <a:pt x="114" y="12"/>
                  </a:lnTo>
                  <a:lnTo>
                    <a:pt x="102" y="6"/>
                  </a:lnTo>
                  <a:lnTo>
                    <a:pt x="96" y="0"/>
                  </a:lnTo>
                  <a:lnTo>
                    <a:pt x="84" y="0"/>
                  </a:lnTo>
                  <a:lnTo>
                    <a:pt x="84" y="18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0" y="24"/>
                  </a:lnTo>
                  <a:lnTo>
                    <a:pt x="6" y="30"/>
                  </a:lnTo>
                  <a:lnTo>
                    <a:pt x="6" y="42"/>
                  </a:lnTo>
                  <a:lnTo>
                    <a:pt x="18" y="78"/>
                  </a:lnTo>
                  <a:lnTo>
                    <a:pt x="18" y="90"/>
                  </a:lnTo>
                  <a:lnTo>
                    <a:pt x="24" y="102"/>
                  </a:lnTo>
                  <a:lnTo>
                    <a:pt x="30" y="108"/>
                  </a:lnTo>
                  <a:lnTo>
                    <a:pt x="42" y="114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32"/>
                  </a:lnTo>
                  <a:lnTo>
                    <a:pt x="84" y="144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32"/>
                  </a:lnTo>
                  <a:lnTo>
                    <a:pt x="126" y="132"/>
                  </a:lnTo>
                  <a:lnTo>
                    <a:pt x="138" y="144"/>
                  </a:lnTo>
                  <a:lnTo>
                    <a:pt x="174" y="144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80" y="174"/>
                  </a:lnTo>
                  <a:lnTo>
                    <a:pt x="186" y="186"/>
                  </a:lnTo>
                  <a:lnTo>
                    <a:pt x="186" y="198"/>
                  </a:lnTo>
                  <a:lnTo>
                    <a:pt x="192" y="204"/>
                  </a:lnTo>
                  <a:lnTo>
                    <a:pt x="192" y="210"/>
                  </a:lnTo>
                  <a:lnTo>
                    <a:pt x="222" y="210"/>
                  </a:lnTo>
                  <a:lnTo>
                    <a:pt x="222" y="16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181" name="Argentina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2917132" y="4852500"/>
              <a:ext cx="354515" cy="758145"/>
            </a:xfrm>
            <a:custGeom>
              <a:avLst/>
              <a:gdLst>
                <a:gd name="T0" fmla="*/ 2147483647 w 1092"/>
                <a:gd name="T1" fmla="*/ 2147483647 h 2442"/>
                <a:gd name="T2" fmla="*/ 2147483647 w 1092"/>
                <a:gd name="T3" fmla="*/ 2147483647 h 2442"/>
                <a:gd name="T4" fmla="*/ 2147483647 w 1092"/>
                <a:gd name="T5" fmla="*/ 2147483647 h 2442"/>
                <a:gd name="T6" fmla="*/ 2147483647 w 1092"/>
                <a:gd name="T7" fmla="*/ 2147483647 h 2442"/>
                <a:gd name="T8" fmla="*/ 2147483647 w 1092"/>
                <a:gd name="T9" fmla="*/ 2147483647 h 2442"/>
                <a:gd name="T10" fmla="*/ 2147483647 w 1092"/>
                <a:gd name="T11" fmla="*/ 2147483647 h 2442"/>
                <a:gd name="T12" fmla="*/ 2147483647 w 1092"/>
                <a:gd name="T13" fmla="*/ 2147483647 h 2442"/>
                <a:gd name="T14" fmla="*/ 2147483647 w 1092"/>
                <a:gd name="T15" fmla="*/ 2147483647 h 2442"/>
                <a:gd name="T16" fmla="*/ 2147483647 w 1092"/>
                <a:gd name="T17" fmla="*/ 2147483647 h 2442"/>
                <a:gd name="T18" fmla="*/ 2147483647 w 1092"/>
                <a:gd name="T19" fmla="*/ 2147483647 h 2442"/>
                <a:gd name="T20" fmla="*/ 2147483647 w 1092"/>
                <a:gd name="T21" fmla="*/ 0 h 2442"/>
                <a:gd name="T22" fmla="*/ 2147483647 w 1092"/>
                <a:gd name="T23" fmla="*/ 2147483647 h 2442"/>
                <a:gd name="T24" fmla="*/ 2147483647 w 1092"/>
                <a:gd name="T25" fmla="*/ 2147483647 h 2442"/>
                <a:gd name="T26" fmla="*/ 2147483647 w 1092"/>
                <a:gd name="T27" fmla="*/ 2147483647 h 2442"/>
                <a:gd name="T28" fmla="*/ 2147483647 w 1092"/>
                <a:gd name="T29" fmla="*/ 2147483647 h 2442"/>
                <a:gd name="T30" fmla="*/ 2147483647 w 1092"/>
                <a:gd name="T31" fmla="*/ 2147483647 h 2442"/>
                <a:gd name="T32" fmla="*/ 2147483647 w 1092"/>
                <a:gd name="T33" fmla="*/ 2147483647 h 2442"/>
                <a:gd name="T34" fmla="*/ 2147483647 w 1092"/>
                <a:gd name="T35" fmla="*/ 2147483647 h 2442"/>
                <a:gd name="T36" fmla="*/ 2147483647 w 1092"/>
                <a:gd name="T37" fmla="*/ 2147483647 h 2442"/>
                <a:gd name="T38" fmla="*/ 2147483647 w 1092"/>
                <a:gd name="T39" fmla="*/ 2147483647 h 2442"/>
                <a:gd name="T40" fmla="*/ 2147483647 w 1092"/>
                <a:gd name="T41" fmla="*/ 2147483647 h 2442"/>
                <a:gd name="T42" fmla="*/ 2147483647 w 1092"/>
                <a:gd name="T43" fmla="*/ 2147483647 h 2442"/>
                <a:gd name="T44" fmla="*/ 2147483647 w 1092"/>
                <a:gd name="T45" fmla="*/ 2147483647 h 2442"/>
                <a:gd name="T46" fmla="*/ 2147483647 w 1092"/>
                <a:gd name="T47" fmla="*/ 2147483647 h 2442"/>
                <a:gd name="T48" fmla="*/ 2147483647 w 1092"/>
                <a:gd name="T49" fmla="*/ 2147483647 h 2442"/>
                <a:gd name="T50" fmla="*/ 2147483647 w 1092"/>
                <a:gd name="T51" fmla="*/ 2147483647 h 2442"/>
                <a:gd name="T52" fmla="*/ 2147483647 w 1092"/>
                <a:gd name="T53" fmla="*/ 2147483647 h 2442"/>
                <a:gd name="T54" fmla="*/ 2147483647 w 1092"/>
                <a:gd name="T55" fmla="*/ 2147483647 h 2442"/>
                <a:gd name="T56" fmla="*/ 2147483647 w 1092"/>
                <a:gd name="T57" fmla="*/ 2147483647 h 2442"/>
                <a:gd name="T58" fmla="*/ 2147483647 w 1092"/>
                <a:gd name="T59" fmla="*/ 2147483647 h 2442"/>
                <a:gd name="T60" fmla="*/ 2147483647 w 1092"/>
                <a:gd name="T61" fmla="*/ 2147483647 h 2442"/>
                <a:gd name="T62" fmla="*/ 2147483647 w 1092"/>
                <a:gd name="T63" fmla="*/ 2147483647 h 2442"/>
                <a:gd name="T64" fmla="*/ 2147483647 w 1092"/>
                <a:gd name="T65" fmla="*/ 2147483647 h 2442"/>
                <a:gd name="T66" fmla="*/ 2147483647 w 1092"/>
                <a:gd name="T67" fmla="*/ 2147483647 h 2442"/>
                <a:gd name="T68" fmla="*/ 2147483647 w 1092"/>
                <a:gd name="T69" fmla="*/ 2147483647 h 2442"/>
                <a:gd name="T70" fmla="*/ 2147483647 w 1092"/>
                <a:gd name="T71" fmla="*/ 2147483647 h 2442"/>
                <a:gd name="T72" fmla="*/ 2147483647 w 1092"/>
                <a:gd name="T73" fmla="*/ 2147483647 h 2442"/>
                <a:gd name="T74" fmla="*/ 2147483647 w 1092"/>
                <a:gd name="T75" fmla="*/ 2147483647 h 2442"/>
                <a:gd name="T76" fmla="*/ 2147483647 w 1092"/>
                <a:gd name="T77" fmla="*/ 2147483647 h 2442"/>
                <a:gd name="T78" fmla="*/ 2147483647 w 1092"/>
                <a:gd name="T79" fmla="*/ 2147483647 h 2442"/>
                <a:gd name="T80" fmla="*/ 2147483647 w 1092"/>
                <a:gd name="T81" fmla="*/ 2147483647 h 2442"/>
                <a:gd name="T82" fmla="*/ 2147483647 w 1092"/>
                <a:gd name="T83" fmla="*/ 2147483647 h 2442"/>
                <a:gd name="T84" fmla="*/ 2147483647 w 1092"/>
                <a:gd name="T85" fmla="*/ 2147483647 h 2442"/>
                <a:gd name="T86" fmla="*/ 2147483647 w 1092"/>
                <a:gd name="T87" fmla="*/ 2147483647 h 2442"/>
                <a:gd name="T88" fmla="*/ 2147483647 w 1092"/>
                <a:gd name="T89" fmla="*/ 2147483647 h 2442"/>
                <a:gd name="T90" fmla="*/ 2147483647 w 1092"/>
                <a:gd name="T91" fmla="*/ 2147483647 h 2442"/>
                <a:gd name="T92" fmla="*/ 2147483647 w 1092"/>
                <a:gd name="T93" fmla="*/ 2147483647 h 2442"/>
                <a:gd name="T94" fmla="*/ 2147483647 w 1092"/>
                <a:gd name="T95" fmla="*/ 2147483647 h 2442"/>
                <a:gd name="T96" fmla="*/ 2147483647 w 1092"/>
                <a:gd name="T97" fmla="*/ 2147483647 h 2442"/>
                <a:gd name="T98" fmla="*/ 2147483647 w 1092"/>
                <a:gd name="T99" fmla="*/ 2147483647 h 2442"/>
                <a:gd name="T100" fmla="*/ 2147483647 w 1092"/>
                <a:gd name="T101" fmla="*/ 2147483647 h 2442"/>
                <a:gd name="T102" fmla="*/ 2147483647 w 1092"/>
                <a:gd name="T103" fmla="*/ 2147483647 h 2442"/>
                <a:gd name="T104" fmla="*/ 2147483647 w 1092"/>
                <a:gd name="T105" fmla="*/ 2147483647 h 2442"/>
                <a:gd name="T106" fmla="*/ 2147483647 w 1092"/>
                <a:gd name="T107" fmla="*/ 2147483647 h 2442"/>
                <a:gd name="T108" fmla="*/ 2147483647 w 1092"/>
                <a:gd name="T109" fmla="*/ 2147483647 h 2442"/>
                <a:gd name="T110" fmla="*/ 2147483647 w 1092"/>
                <a:gd name="T111" fmla="*/ 2147483647 h 2442"/>
                <a:gd name="T112" fmla="*/ 2147483647 w 1092"/>
                <a:gd name="T113" fmla="*/ 2147483647 h 244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2"/>
                <a:gd name="T172" fmla="*/ 0 h 2442"/>
                <a:gd name="T173" fmla="*/ 1092 w 1092"/>
                <a:gd name="T174" fmla="*/ 2442 h 2442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2" h="2442">
                  <a:moveTo>
                    <a:pt x="954" y="534"/>
                  </a:moveTo>
                  <a:lnTo>
                    <a:pt x="978" y="528"/>
                  </a:lnTo>
                  <a:lnTo>
                    <a:pt x="984" y="504"/>
                  </a:lnTo>
                  <a:lnTo>
                    <a:pt x="990" y="498"/>
                  </a:lnTo>
                  <a:lnTo>
                    <a:pt x="990" y="480"/>
                  </a:lnTo>
                  <a:lnTo>
                    <a:pt x="1026" y="480"/>
                  </a:lnTo>
                  <a:lnTo>
                    <a:pt x="1026" y="462"/>
                  </a:lnTo>
                  <a:lnTo>
                    <a:pt x="1032" y="450"/>
                  </a:lnTo>
                  <a:lnTo>
                    <a:pt x="1038" y="444"/>
                  </a:lnTo>
                  <a:lnTo>
                    <a:pt x="1092" y="426"/>
                  </a:lnTo>
                  <a:lnTo>
                    <a:pt x="1092" y="390"/>
                  </a:lnTo>
                  <a:lnTo>
                    <a:pt x="1086" y="372"/>
                  </a:lnTo>
                  <a:lnTo>
                    <a:pt x="1086" y="342"/>
                  </a:lnTo>
                  <a:lnTo>
                    <a:pt x="1080" y="336"/>
                  </a:lnTo>
                  <a:lnTo>
                    <a:pt x="1074" y="336"/>
                  </a:lnTo>
                  <a:lnTo>
                    <a:pt x="1074" y="324"/>
                  </a:lnTo>
                  <a:lnTo>
                    <a:pt x="1062" y="300"/>
                  </a:lnTo>
                  <a:lnTo>
                    <a:pt x="1056" y="294"/>
                  </a:lnTo>
                  <a:lnTo>
                    <a:pt x="1038" y="294"/>
                  </a:lnTo>
                  <a:lnTo>
                    <a:pt x="1032" y="300"/>
                  </a:lnTo>
                  <a:lnTo>
                    <a:pt x="1020" y="306"/>
                  </a:lnTo>
                  <a:lnTo>
                    <a:pt x="1020" y="384"/>
                  </a:lnTo>
                  <a:lnTo>
                    <a:pt x="1008" y="390"/>
                  </a:lnTo>
                  <a:lnTo>
                    <a:pt x="1002" y="402"/>
                  </a:lnTo>
                  <a:lnTo>
                    <a:pt x="990" y="408"/>
                  </a:lnTo>
                  <a:lnTo>
                    <a:pt x="984" y="414"/>
                  </a:lnTo>
                  <a:lnTo>
                    <a:pt x="978" y="414"/>
                  </a:lnTo>
                  <a:lnTo>
                    <a:pt x="966" y="426"/>
                  </a:lnTo>
                  <a:lnTo>
                    <a:pt x="954" y="450"/>
                  </a:lnTo>
                  <a:lnTo>
                    <a:pt x="948" y="456"/>
                  </a:lnTo>
                  <a:lnTo>
                    <a:pt x="948" y="450"/>
                  </a:lnTo>
                  <a:lnTo>
                    <a:pt x="942" y="444"/>
                  </a:lnTo>
                  <a:lnTo>
                    <a:pt x="930" y="444"/>
                  </a:lnTo>
                  <a:lnTo>
                    <a:pt x="924" y="450"/>
                  </a:lnTo>
                  <a:lnTo>
                    <a:pt x="924" y="468"/>
                  </a:lnTo>
                  <a:lnTo>
                    <a:pt x="912" y="450"/>
                  </a:lnTo>
                  <a:lnTo>
                    <a:pt x="852" y="450"/>
                  </a:lnTo>
                  <a:lnTo>
                    <a:pt x="834" y="444"/>
                  </a:lnTo>
                  <a:lnTo>
                    <a:pt x="822" y="438"/>
                  </a:lnTo>
                  <a:lnTo>
                    <a:pt x="816" y="432"/>
                  </a:lnTo>
                  <a:lnTo>
                    <a:pt x="804" y="426"/>
                  </a:lnTo>
                  <a:lnTo>
                    <a:pt x="798" y="426"/>
                  </a:lnTo>
                  <a:lnTo>
                    <a:pt x="786" y="432"/>
                  </a:lnTo>
                  <a:lnTo>
                    <a:pt x="762" y="432"/>
                  </a:lnTo>
                  <a:lnTo>
                    <a:pt x="756" y="426"/>
                  </a:lnTo>
                  <a:lnTo>
                    <a:pt x="756" y="414"/>
                  </a:lnTo>
                  <a:lnTo>
                    <a:pt x="762" y="402"/>
                  </a:lnTo>
                  <a:lnTo>
                    <a:pt x="768" y="396"/>
                  </a:lnTo>
                  <a:lnTo>
                    <a:pt x="774" y="384"/>
                  </a:lnTo>
                  <a:lnTo>
                    <a:pt x="780" y="378"/>
                  </a:lnTo>
                  <a:lnTo>
                    <a:pt x="780" y="342"/>
                  </a:lnTo>
                  <a:lnTo>
                    <a:pt x="798" y="342"/>
                  </a:lnTo>
                  <a:lnTo>
                    <a:pt x="804" y="336"/>
                  </a:lnTo>
                  <a:lnTo>
                    <a:pt x="804" y="330"/>
                  </a:lnTo>
                  <a:lnTo>
                    <a:pt x="798" y="318"/>
                  </a:lnTo>
                  <a:lnTo>
                    <a:pt x="792" y="312"/>
                  </a:lnTo>
                  <a:lnTo>
                    <a:pt x="798" y="300"/>
                  </a:lnTo>
                  <a:lnTo>
                    <a:pt x="804" y="294"/>
                  </a:lnTo>
                  <a:lnTo>
                    <a:pt x="804" y="282"/>
                  </a:lnTo>
                  <a:lnTo>
                    <a:pt x="810" y="276"/>
                  </a:lnTo>
                  <a:lnTo>
                    <a:pt x="804" y="270"/>
                  </a:lnTo>
                  <a:lnTo>
                    <a:pt x="792" y="264"/>
                  </a:lnTo>
                  <a:lnTo>
                    <a:pt x="774" y="258"/>
                  </a:lnTo>
                  <a:lnTo>
                    <a:pt x="762" y="252"/>
                  </a:lnTo>
                  <a:lnTo>
                    <a:pt x="750" y="252"/>
                  </a:lnTo>
                  <a:lnTo>
                    <a:pt x="744" y="246"/>
                  </a:lnTo>
                  <a:lnTo>
                    <a:pt x="708" y="228"/>
                  </a:lnTo>
                  <a:lnTo>
                    <a:pt x="690" y="216"/>
                  </a:lnTo>
                  <a:lnTo>
                    <a:pt x="678" y="210"/>
                  </a:lnTo>
                  <a:lnTo>
                    <a:pt x="672" y="204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42" y="186"/>
                  </a:lnTo>
                  <a:lnTo>
                    <a:pt x="630" y="180"/>
                  </a:lnTo>
                  <a:lnTo>
                    <a:pt x="600" y="180"/>
                  </a:lnTo>
                  <a:lnTo>
                    <a:pt x="564" y="162"/>
                  </a:lnTo>
                  <a:lnTo>
                    <a:pt x="558" y="156"/>
                  </a:lnTo>
                  <a:lnTo>
                    <a:pt x="552" y="156"/>
                  </a:lnTo>
                  <a:lnTo>
                    <a:pt x="546" y="138"/>
                  </a:lnTo>
                  <a:lnTo>
                    <a:pt x="534" y="132"/>
                  </a:lnTo>
                  <a:lnTo>
                    <a:pt x="516" y="114"/>
                  </a:lnTo>
                  <a:lnTo>
                    <a:pt x="492" y="102"/>
                  </a:lnTo>
                  <a:lnTo>
                    <a:pt x="486" y="96"/>
                  </a:lnTo>
                  <a:lnTo>
                    <a:pt x="480" y="84"/>
                  </a:lnTo>
                  <a:lnTo>
                    <a:pt x="468" y="78"/>
                  </a:lnTo>
                  <a:lnTo>
                    <a:pt x="462" y="66"/>
                  </a:lnTo>
                  <a:lnTo>
                    <a:pt x="456" y="60"/>
                  </a:lnTo>
                  <a:lnTo>
                    <a:pt x="456" y="54"/>
                  </a:lnTo>
                  <a:lnTo>
                    <a:pt x="438" y="36"/>
                  </a:lnTo>
                  <a:lnTo>
                    <a:pt x="402" y="12"/>
                  </a:lnTo>
                  <a:lnTo>
                    <a:pt x="330" y="18"/>
                  </a:lnTo>
                  <a:lnTo>
                    <a:pt x="318" y="72"/>
                  </a:lnTo>
                  <a:lnTo>
                    <a:pt x="288" y="24"/>
                  </a:lnTo>
                  <a:lnTo>
                    <a:pt x="234" y="24"/>
                  </a:lnTo>
                  <a:lnTo>
                    <a:pt x="216" y="18"/>
                  </a:lnTo>
                  <a:lnTo>
                    <a:pt x="204" y="18"/>
                  </a:lnTo>
                  <a:lnTo>
                    <a:pt x="180" y="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38" y="30"/>
                  </a:lnTo>
                  <a:lnTo>
                    <a:pt x="138" y="48"/>
                  </a:lnTo>
                  <a:lnTo>
                    <a:pt x="126" y="48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26" y="96"/>
                  </a:lnTo>
                  <a:lnTo>
                    <a:pt x="114" y="180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90" y="192"/>
                  </a:lnTo>
                  <a:lnTo>
                    <a:pt x="72" y="198"/>
                  </a:lnTo>
                  <a:lnTo>
                    <a:pt x="60" y="210"/>
                  </a:lnTo>
                  <a:lnTo>
                    <a:pt x="48" y="216"/>
                  </a:lnTo>
                  <a:lnTo>
                    <a:pt x="42" y="228"/>
                  </a:lnTo>
                  <a:lnTo>
                    <a:pt x="36" y="234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54" y="252"/>
                  </a:lnTo>
                  <a:lnTo>
                    <a:pt x="66" y="252"/>
                  </a:lnTo>
                  <a:lnTo>
                    <a:pt x="66" y="258"/>
                  </a:lnTo>
                  <a:lnTo>
                    <a:pt x="42" y="282"/>
                  </a:lnTo>
                  <a:lnTo>
                    <a:pt x="42" y="300"/>
                  </a:lnTo>
                  <a:lnTo>
                    <a:pt x="48" y="306"/>
                  </a:lnTo>
                  <a:lnTo>
                    <a:pt x="60" y="312"/>
                  </a:lnTo>
                  <a:lnTo>
                    <a:pt x="72" y="324"/>
                  </a:lnTo>
                  <a:lnTo>
                    <a:pt x="78" y="336"/>
                  </a:lnTo>
                  <a:lnTo>
                    <a:pt x="72" y="342"/>
                  </a:lnTo>
                  <a:lnTo>
                    <a:pt x="66" y="354"/>
                  </a:lnTo>
                  <a:lnTo>
                    <a:pt x="54" y="366"/>
                  </a:lnTo>
                  <a:lnTo>
                    <a:pt x="48" y="366"/>
                  </a:lnTo>
                  <a:lnTo>
                    <a:pt x="54" y="366"/>
                  </a:lnTo>
                  <a:lnTo>
                    <a:pt x="60" y="372"/>
                  </a:lnTo>
                  <a:lnTo>
                    <a:pt x="84" y="384"/>
                  </a:lnTo>
                  <a:lnTo>
                    <a:pt x="90" y="396"/>
                  </a:lnTo>
                  <a:lnTo>
                    <a:pt x="90" y="408"/>
                  </a:lnTo>
                  <a:lnTo>
                    <a:pt x="78" y="414"/>
                  </a:lnTo>
                  <a:lnTo>
                    <a:pt x="72" y="420"/>
                  </a:lnTo>
                  <a:lnTo>
                    <a:pt x="54" y="420"/>
                  </a:lnTo>
                  <a:lnTo>
                    <a:pt x="54" y="432"/>
                  </a:lnTo>
                  <a:lnTo>
                    <a:pt x="48" y="450"/>
                  </a:lnTo>
                  <a:lnTo>
                    <a:pt x="48" y="462"/>
                  </a:lnTo>
                  <a:lnTo>
                    <a:pt x="42" y="474"/>
                  </a:lnTo>
                  <a:lnTo>
                    <a:pt x="42" y="486"/>
                  </a:lnTo>
                  <a:lnTo>
                    <a:pt x="30" y="498"/>
                  </a:lnTo>
                  <a:lnTo>
                    <a:pt x="24" y="510"/>
                  </a:lnTo>
                  <a:lnTo>
                    <a:pt x="18" y="516"/>
                  </a:lnTo>
                  <a:lnTo>
                    <a:pt x="18" y="582"/>
                  </a:lnTo>
                  <a:lnTo>
                    <a:pt x="6" y="594"/>
                  </a:lnTo>
                  <a:lnTo>
                    <a:pt x="6" y="606"/>
                  </a:lnTo>
                  <a:lnTo>
                    <a:pt x="18" y="630"/>
                  </a:lnTo>
                  <a:lnTo>
                    <a:pt x="30" y="666"/>
                  </a:lnTo>
                  <a:lnTo>
                    <a:pt x="36" y="678"/>
                  </a:lnTo>
                  <a:lnTo>
                    <a:pt x="36" y="684"/>
                  </a:lnTo>
                  <a:lnTo>
                    <a:pt x="12" y="684"/>
                  </a:lnTo>
                  <a:lnTo>
                    <a:pt x="18" y="738"/>
                  </a:lnTo>
                  <a:lnTo>
                    <a:pt x="6" y="744"/>
                  </a:lnTo>
                  <a:lnTo>
                    <a:pt x="0" y="744"/>
                  </a:lnTo>
                  <a:lnTo>
                    <a:pt x="0" y="768"/>
                  </a:lnTo>
                  <a:lnTo>
                    <a:pt x="6" y="774"/>
                  </a:lnTo>
                  <a:lnTo>
                    <a:pt x="6" y="780"/>
                  </a:lnTo>
                  <a:lnTo>
                    <a:pt x="18" y="786"/>
                  </a:lnTo>
                  <a:lnTo>
                    <a:pt x="36" y="804"/>
                  </a:lnTo>
                  <a:lnTo>
                    <a:pt x="36" y="816"/>
                  </a:lnTo>
                  <a:lnTo>
                    <a:pt x="30" y="822"/>
                  </a:lnTo>
                  <a:lnTo>
                    <a:pt x="30" y="828"/>
                  </a:lnTo>
                  <a:lnTo>
                    <a:pt x="48" y="846"/>
                  </a:lnTo>
                  <a:lnTo>
                    <a:pt x="60" y="876"/>
                  </a:lnTo>
                  <a:lnTo>
                    <a:pt x="66" y="888"/>
                  </a:lnTo>
                  <a:lnTo>
                    <a:pt x="60" y="894"/>
                  </a:lnTo>
                  <a:lnTo>
                    <a:pt x="60" y="906"/>
                  </a:lnTo>
                  <a:lnTo>
                    <a:pt x="72" y="918"/>
                  </a:lnTo>
                  <a:lnTo>
                    <a:pt x="96" y="918"/>
                  </a:lnTo>
                  <a:lnTo>
                    <a:pt x="102" y="960"/>
                  </a:lnTo>
                  <a:lnTo>
                    <a:pt x="108" y="972"/>
                  </a:lnTo>
                  <a:lnTo>
                    <a:pt x="114" y="978"/>
                  </a:lnTo>
                  <a:lnTo>
                    <a:pt x="120" y="990"/>
                  </a:lnTo>
                  <a:lnTo>
                    <a:pt x="120" y="996"/>
                  </a:lnTo>
                  <a:lnTo>
                    <a:pt x="102" y="1014"/>
                  </a:lnTo>
                  <a:lnTo>
                    <a:pt x="102" y="1038"/>
                  </a:lnTo>
                  <a:lnTo>
                    <a:pt x="96" y="1056"/>
                  </a:lnTo>
                  <a:lnTo>
                    <a:pt x="96" y="1086"/>
                  </a:lnTo>
                  <a:lnTo>
                    <a:pt x="84" y="1086"/>
                  </a:lnTo>
                  <a:lnTo>
                    <a:pt x="90" y="1092"/>
                  </a:lnTo>
                  <a:lnTo>
                    <a:pt x="96" y="1104"/>
                  </a:lnTo>
                  <a:lnTo>
                    <a:pt x="102" y="1110"/>
                  </a:lnTo>
                  <a:lnTo>
                    <a:pt x="108" y="1122"/>
                  </a:lnTo>
                  <a:lnTo>
                    <a:pt x="114" y="1128"/>
                  </a:lnTo>
                  <a:lnTo>
                    <a:pt x="114" y="1140"/>
                  </a:lnTo>
                  <a:lnTo>
                    <a:pt x="108" y="1152"/>
                  </a:lnTo>
                  <a:lnTo>
                    <a:pt x="108" y="1158"/>
                  </a:lnTo>
                  <a:lnTo>
                    <a:pt x="102" y="1176"/>
                  </a:lnTo>
                  <a:lnTo>
                    <a:pt x="78" y="1182"/>
                  </a:lnTo>
                  <a:lnTo>
                    <a:pt x="78" y="1188"/>
                  </a:lnTo>
                  <a:lnTo>
                    <a:pt x="84" y="1194"/>
                  </a:lnTo>
                  <a:lnTo>
                    <a:pt x="84" y="1206"/>
                  </a:lnTo>
                  <a:lnTo>
                    <a:pt x="90" y="1224"/>
                  </a:lnTo>
                  <a:lnTo>
                    <a:pt x="96" y="1236"/>
                  </a:lnTo>
                  <a:lnTo>
                    <a:pt x="96" y="1284"/>
                  </a:lnTo>
                  <a:lnTo>
                    <a:pt x="126" y="1308"/>
                  </a:lnTo>
                  <a:lnTo>
                    <a:pt x="126" y="1326"/>
                  </a:lnTo>
                  <a:lnTo>
                    <a:pt x="132" y="1326"/>
                  </a:lnTo>
                  <a:lnTo>
                    <a:pt x="150" y="1344"/>
                  </a:lnTo>
                  <a:lnTo>
                    <a:pt x="150" y="1350"/>
                  </a:lnTo>
                  <a:lnTo>
                    <a:pt x="144" y="1362"/>
                  </a:lnTo>
                  <a:lnTo>
                    <a:pt x="132" y="1368"/>
                  </a:lnTo>
                  <a:lnTo>
                    <a:pt x="126" y="1374"/>
                  </a:lnTo>
                  <a:lnTo>
                    <a:pt x="120" y="1374"/>
                  </a:lnTo>
                  <a:lnTo>
                    <a:pt x="132" y="1416"/>
                  </a:lnTo>
                  <a:lnTo>
                    <a:pt x="114" y="1428"/>
                  </a:lnTo>
                  <a:lnTo>
                    <a:pt x="132" y="1446"/>
                  </a:lnTo>
                  <a:lnTo>
                    <a:pt x="132" y="1452"/>
                  </a:lnTo>
                  <a:lnTo>
                    <a:pt x="126" y="1464"/>
                  </a:lnTo>
                  <a:lnTo>
                    <a:pt x="126" y="1470"/>
                  </a:lnTo>
                  <a:lnTo>
                    <a:pt x="144" y="1482"/>
                  </a:lnTo>
                  <a:lnTo>
                    <a:pt x="144" y="1494"/>
                  </a:lnTo>
                  <a:lnTo>
                    <a:pt x="138" y="1500"/>
                  </a:lnTo>
                  <a:lnTo>
                    <a:pt x="138" y="1530"/>
                  </a:lnTo>
                  <a:lnTo>
                    <a:pt x="144" y="1536"/>
                  </a:lnTo>
                  <a:lnTo>
                    <a:pt x="150" y="1548"/>
                  </a:lnTo>
                  <a:lnTo>
                    <a:pt x="150" y="1572"/>
                  </a:lnTo>
                  <a:lnTo>
                    <a:pt x="156" y="1584"/>
                  </a:lnTo>
                  <a:lnTo>
                    <a:pt x="174" y="1602"/>
                  </a:lnTo>
                  <a:lnTo>
                    <a:pt x="186" y="1608"/>
                  </a:lnTo>
                  <a:lnTo>
                    <a:pt x="198" y="1620"/>
                  </a:lnTo>
                  <a:lnTo>
                    <a:pt x="192" y="1620"/>
                  </a:lnTo>
                  <a:lnTo>
                    <a:pt x="180" y="1626"/>
                  </a:lnTo>
                  <a:lnTo>
                    <a:pt x="174" y="1632"/>
                  </a:lnTo>
                  <a:lnTo>
                    <a:pt x="174" y="1644"/>
                  </a:lnTo>
                  <a:lnTo>
                    <a:pt x="180" y="1656"/>
                  </a:lnTo>
                  <a:lnTo>
                    <a:pt x="180" y="1674"/>
                  </a:lnTo>
                  <a:lnTo>
                    <a:pt x="186" y="1686"/>
                  </a:lnTo>
                  <a:lnTo>
                    <a:pt x="186" y="1698"/>
                  </a:lnTo>
                  <a:lnTo>
                    <a:pt x="192" y="1704"/>
                  </a:lnTo>
                  <a:lnTo>
                    <a:pt x="216" y="1716"/>
                  </a:lnTo>
                  <a:lnTo>
                    <a:pt x="210" y="1746"/>
                  </a:lnTo>
                  <a:lnTo>
                    <a:pt x="216" y="1746"/>
                  </a:lnTo>
                  <a:lnTo>
                    <a:pt x="228" y="1752"/>
                  </a:lnTo>
                  <a:lnTo>
                    <a:pt x="234" y="1758"/>
                  </a:lnTo>
                  <a:lnTo>
                    <a:pt x="234" y="1764"/>
                  </a:lnTo>
                  <a:lnTo>
                    <a:pt x="240" y="1776"/>
                  </a:lnTo>
                  <a:lnTo>
                    <a:pt x="240" y="1806"/>
                  </a:lnTo>
                  <a:lnTo>
                    <a:pt x="252" y="1818"/>
                  </a:lnTo>
                  <a:lnTo>
                    <a:pt x="282" y="1818"/>
                  </a:lnTo>
                  <a:lnTo>
                    <a:pt x="294" y="1824"/>
                  </a:lnTo>
                  <a:lnTo>
                    <a:pt x="294" y="1830"/>
                  </a:lnTo>
                  <a:lnTo>
                    <a:pt x="288" y="1836"/>
                  </a:lnTo>
                  <a:lnTo>
                    <a:pt x="276" y="1836"/>
                  </a:lnTo>
                  <a:lnTo>
                    <a:pt x="264" y="1842"/>
                  </a:lnTo>
                  <a:lnTo>
                    <a:pt x="246" y="1842"/>
                  </a:lnTo>
                  <a:lnTo>
                    <a:pt x="252" y="1848"/>
                  </a:lnTo>
                  <a:lnTo>
                    <a:pt x="258" y="1848"/>
                  </a:lnTo>
                  <a:lnTo>
                    <a:pt x="270" y="1854"/>
                  </a:lnTo>
                  <a:lnTo>
                    <a:pt x="276" y="1860"/>
                  </a:lnTo>
                  <a:lnTo>
                    <a:pt x="288" y="1860"/>
                  </a:lnTo>
                  <a:lnTo>
                    <a:pt x="312" y="1884"/>
                  </a:lnTo>
                  <a:lnTo>
                    <a:pt x="306" y="1890"/>
                  </a:lnTo>
                  <a:lnTo>
                    <a:pt x="300" y="1902"/>
                  </a:lnTo>
                  <a:lnTo>
                    <a:pt x="288" y="1914"/>
                  </a:lnTo>
                  <a:lnTo>
                    <a:pt x="312" y="1932"/>
                  </a:lnTo>
                  <a:lnTo>
                    <a:pt x="306" y="1956"/>
                  </a:lnTo>
                  <a:lnTo>
                    <a:pt x="330" y="1980"/>
                  </a:lnTo>
                  <a:lnTo>
                    <a:pt x="324" y="2016"/>
                  </a:lnTo>
                  <a:lnTo>
                    <a:pt x="336" y="2040"/>
                  </a:lnTo>
                  <a:lnTo>
                    <a:pt x="324" y="2046"/>
                  </a:lnTo>
                  <a:lnTo>
                    <a:pt x="318" y="2088"/>
                  </a:lnTo>
                  <a:lnTo>
                    <a:pt x="324" y="2088"/>
                  </a:lnTo>
                  <a:lnTo>
                    <a:pt x="348" y="2112"/>
                  </a:lnTo>
                  <a:lnTo>
                    <a:pt x="348" y="2118"/>
                  </a:lnTo>
                  <a:lnTo>
                    <a:pt x="342" y="2118"/>
                  </a:lnTo>
                  <a:lnTo>
                    <a:pt x="330" y="2124"/>
                  </a:lnTo>
                  <a:lnTo>
                    <a:pt x="324" y="2130"/>
                  </a:lnTo>
                  <a:lnTo>
                    <a:pt x="348" y="2154"/>
                  </a:lnTo>
                  <a:lnTo>
                    <a:pt x="348" y="2160"/>
                  </a:lnTo>
                  <a:lnTo>
                    <a:pt x="342" y="2166"/>
                  </a:lnTo>
                  <a:lnTo>
                    <a:pt x="336" y="2166"/>
                  </a:lnTo>
                  <a:lnTo>
                    <a:pt x="330" y="2172"/>
                  </a:lnTo>
                  <a:lnTo>
                    <a:pt x="324" y="2172"/>
                  </a:lnTo>
                  <a:lnTo>
                    <a:pt x="324" y="2196"/>
                  </a:lnTo>
                  <a:lnTo>
                    <a:pt x="312" y="2202"/>
                  </a:lnTo>
                  <a:lnTo>
                    <a:pt x="312" y="2214"/>
                  </a:lnTo>
                  <a:lnTo>
                    <a:pt x="318" y="2226"/>
                  </a:lnTo>
                  <a:lnTo>
                    <a:pt x="324" y="2232"/>
                  </a:lnTo>
                  <a:lnTo>
                    <a:pt x="324" y="2268"/>
                  </a:lnTo>
                  <a:lnTo>
                    <a:pt x="354" y="2274"/>
                  </a:lnTo>
                  <a:lnTo>
                    <a:pt x="354" y="2280"/>
                  </a:lnTo>
                  <a:lnTo>
                    <a:pt x="360" y="2286"/>
                  </a:lnTo>
                  <a:lnTo>
                    <a:pt x="360" y="2298"/>
                  </a:lnTo>
                  <a:lnTo>
                    <a:pt x="366" y="2304"/>
                  </a:lnTo>
                  <a:lnTo>
                    <a:pt x="378" y="2310"/>
                  </a:lnTo>
                  <a:lnTo>
                    <a:pt x="384" y="2310"/>
                  </a:lnTo>
                  <a:lnTo>
                    <a:pt x="396" y="2298"/>
                  </a:lnTo>
                  <a:lnTo>
                    <a:pt x="414" y="2298"/>
                  </a:lnTo>
                  <a:lnTo>
                    <a:pt x="426" y="2304"/>
                  </a:lnTo>
                  <a:lnTo>
                    <a:pt x="438" y="2316"/>
                  </a:lnTo>
                  <a:lnTo>
                    <a:pt x="438" y="2340"/>
                  </a:lnTo>
                  <a:lnTo>
                    <a:pt x="456" y="2364"/>
                  </a:lnTo>
                  <a:lnTo>
                    <a:pt x="468" y="2382"/>
                  </a:lnTo>
                  <a:lnTo>
                    <a:pt x="504" y="2400"/>
                  </a:lnTo>
                  <a:lnTo>
                    <a:pt x="522" y="2418"/>
                  </a:lnTo>
                  <a:lnTo>
                    <a:pt x="534" y="2418"/>
                  </a:lnTo>
                  <a:lnTo>
                    <a:pt x="546" y="2412"/>
                  </a:lnTo>
                  <a:lnTo>
                    <a:pt x="642" y="2412"/>
                  </a:lnTo>
                  <a:lnTo>
                    <a:pt x="666" y="2430"/>
                  </a:lnTo>
                  <a:lnTo>
                    <a:pt x="660" y="2442"/>
                  </a:lnTo>
                  <a:lnTo>
                    <a:pt x="666" y="2424"/>
                  </a:lnTo>
                  <a:lnTo>
                    <a:pt x="672" y="2418"/>
                  </a:lnTo>
                  <a:lnTo>
                    <a:pt x="684" y="2418"/>
                  </a:lnTo>
                  <a:lnTo>
                    <a:pt x="690" y="2424"/>
                  </a:lnTo>
                  <a:lnTo>
                    <a:pt x="702" y="2424"/>
                  </a:lnTo>
                  <a:lnTo>
                    <a:pt x="714" y="2430"/>
                  </a:lnTo>
                  <a:lnTo>
                    <a:pt x="720" y="2436"/>
                  </a:lnTo>
                  <a:lnTo>
                    <a:pt x="678" y="2382"/>
                  </a:lnTo>
                  <a:lnTo>
                    <a:pt x="660" y="2382"/>
                  </a:lnTo>
                  <a:lnTo>
                    <a:pt x="666" y="2370"/>
                  </a:lnTo>
                  <a:lnTo>
                    <a:pt x="630" y="2340"/>
                  </a:lnTo>
                  <a:lnTo>
                    <a:pt x="630" y="2310"/>
                  </a:lnTo>
                  <a:lnTo>
                    <a:pt x="618" y="2298"/>
                  </a:lnTo>
                  <a:lnTo>
                    <a:pt x="624" y="2286"/>
                  </a:lnTo>
                  <a:lnTo>
                    <a:pt x="630" y="2286"/>
                  </a:lnTo>
                  <a:lnTo>
                    <a:pt x="642" y="2274"/>
                  </a:lnTo>
                  <a:lnTo>
                    <a:pt x="642" y="2268"/>
                  </a:lnTo>
                  <a:lnTo>
                    <a:pt x="636" y="2268"/>
                  </a:lnTo>
                  <a:lnTo>
                    <a:pt x="624" y="2262"/>
                  </a:lnTo>
                  <a:lnTo>
                    <a:pt x="606" y="2262"/>
                  </a:lnTo>
                  <a:lnTo>
                    <a:pt x="618" y="2250"/>
                  </a:lnTo>
                  <a:lnTo>
                    <a:pt x="618" y="2232"/>
                  </a:lnTo>
                  <a:lnTo>
                    <a:pt x="636" y="2256"/>
                  </a:lnTo>
                  <a:lnTo>
                    <a:pt x="648" y="2262"/>
                  </a:lnTo>
                  <a:lnTo>
                    <a:pt x="666" y="2262"/>
                  </a:lnTo>
                  <a:lnTo>
                    <a:pt x="672" y="2256"/>
                  </a:lnTo>
                  <a:lnTo>
                    <a:pt x="678" y="2244"/>
                  </a:lnTo>
                  <a:lnTo>
                    <a:pt x="678" y="2226"/>
                  </a:lnTo>
                  <a:lnTo>
                    <a:pt x="672" y="2208"/>
                  </a:lnTo>
                  <a:lnTo>
                    <a:pt x="666" y="2196"/>
                  </a:lnTo>
                  <a:lnTo>
                    <a:pt x="666" y="2178"/>
                  </a:lnTo>
                  <a:lnTo>
                    <a:pt x="678" y="2154"/>
                  </a:lnTo>
                  <a:lnTo>
                    <a:pt x="690" y="2142"/>
                  </a:lnTo>
                  <a:lnTo>
                    <a:pt x="708" y="2130"/>
                  </a:lnTo>
                  <a:lnTo>
                    <a:pt x="738" y="2100"/>
                  </a:lnTo>
                  <a:lnTo>
                    <a:pt x="726" y="2088"/>
                  </a:lnTo>
                  <a:lnTo>
                    <a:pt x="702" y="2088"/>
                  </a:lnTo>
                  <a:lnTo>
                    <a:pt x="726" y="2082"/>
                  </a:lnTo>
                  <a:lnTo>
                    <a:pt x="726" y="2064"/>
                  </a:lnTo>
                  <a:lnTo>
                    <a:pt x="714" y="2040"/>
                  </a:lnTo>
                  <a:lnTo>
                    <a:pt x="708" y="2034"/>
                  </a:lnTo>
                  <a:lnTo>
                    <a:pt x="696" y="2028"/>
                  </a:lnTo>
                  <a:lnTo>
                    <a:pt x="690" y="2028"/>
                  </a:lnTo>
                  <a:lnTo>
                    <a:pt x="684" y="2034"/>
                  </a:lnTo>
                  <a:lnTo>
                    <a:pt x="672" y="2016"/>
                  </a:lnTo>
                  <a:lnTo>
                    <a:pt x="642" y="2016"/>
                  </a:lnTo>
                  <a:lnTo>
                    <a:pt x="636" y="2010"/>
                  </a:lnTo>
                  <a:lnTo>
                    <a:pt x="624" y="2004"/>
                  </a:lnTo>
                  <a:lnTo>
                    <a:pt x="606" y="1992"/>
                  </a:lnTo>
                  <a:lnTo>
                    <a:pt x="582" y="1968"/>
                  </a:lnTo>
                  <a:lnTo>
                    <a:pt x="570" y="1950"/>
                  </a:lnTo>
                  <a:lnTo>
                    <a:pt x="564" y="1938"/>
                  </a:lnTo>
                  <a:lnTo>
                    <a:pt x="564" y="1926"/>
                  </a:lnTo>
                  <a:lnTo>
                    <a:pt x="570" y="1914"/>
                  </a:lnTo>
                  <a:lnTo>
                    <a:pt x="570" y="1908"/>
                  </a:lnTo>
                  <a:lnTo>
                    <a:pt x="576" y="1908"/>
                  </a:lnTo>
                  <a:lnTo>
                    <a:pt x="582" y="190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12" y="1860"/>
                  </a:lnTo>
                  <a:lnTo>
                    <a:pt x="666" y="1860"/>
                  </a:lnTo>
                  <a:lnTo>
                    <a:pt x="654" y="1848"/>
                  </a:lnTo>
                  <a:lnTo>
                    <a:pt x="654" y="1824"/>
                  </a:lnTo>
                  <a:lnTo>
                    <a:pt x="666" y="1824"/>
                  </a:lnTo>
                  <a:lnTo>
                    <a:pt x="666" y="1794"/>
                  </a:lnTo>
                  <a:lnTo>
                    <a:pt x="660" y="1788"/>
                  </a:lnTo>
                  <a:lnTo>
                    <a:pt x="654" y="1776"/>
                  </a:lnTo>
                  <a:lnTo>
                    <a:pt x="642" y="1764"/>
                  </a:lnTo>
                  <a:lnTo>
                    <a:pt x="642" y="1746"/>
                  </a:lnTo>
                  <a:lnTo>
                    <a:pt x="648" y="1728"/>
                  </a:lnTo>
                  <a:lnTo>
                    <a:pt x="654" y="1716"/>
                  </a:lnTo>
                  <a:lnTo>
                    <a:pt x="666" y="1710"/>
                  </a:lnTo>
                  <a:lnTo>
                    <a:pt x="672" y="1704"/>
                  </a:lnTo>
                  <a:lnTo>
                    <a:pt x="684" y="1704"/>
                  </a:lnTo>
                  <a:lnTo>
                    <a:pt x="684" y="1692"/>
                  </a:lnTo>
                  <a:lnTo>
                    <a:pt x="660" y="1692"/>
                  </a:lnTo>
                  <a:lnTo>
                    <a:pt x="648" y="1686"/>
                  </a:lnTo>
                  <a:lnTo>
                    <a:pt x="642" y="1680"/>
                  </a:lnTo>
                  <a:lnTo>
                    <a:pt x="642" y="1674"/>
                  </a:lnTo>
                  <a:lnTo>
                    <a:pt x="654" y="1668"/>
                  </a:lnTo>
                  <a:lnTo>
                    <a:pt x="666" y="1668"/>
                  </a:lnTo>
                  <a:lnTo>
                    <a:pt x="702" y="1686"/>
                  </a:lnTo>
                  <a:lnTo>
                    <a:pt x="708" y="1692"/>
                  </a:lnTo>
                  <a:lnTo>
                    <a:pt x="714" y="1692"/>
                  </a:lnTo>
                  <a:lnTo>
                    <a:pt x="720" y="1686"/>
                  </a:lnTo>
                  <a:lnTo>
                    <a:pt x="732" y="1680"/>
                  </a:lnTo>
                  <a:lnTo>
                    <a:pt x="732" y="1656"/>
                  </a:lnTo>
                  <a:lnTo>
                    <a:pt x="726" y="1644"/>
                  </a:lnTo>
                  <a:lnTo>
                    <a:pt x="708" y="1626"/>
                  </a:lnTo>
                  <a:lnTo>
                    <a:pt x="696" y="1626"/>
                  </a:lnTo>
                  <a:lnTo>
                    <a:pt x="690" y="1632"/>
                  </a:lnTo>
                  <a:lnTo>
                    <a:pt x="690" y="1650"/>
                  </a:lnTo>
                  <a:lnTo>
                    <a:pt x="684" y="1656"/>
                  </a:lnTo>
                  <a:lnTo>
                    <a:pt x="666" y="1656"/>
                  </a:lnTo>
                  <a:lnTo>
                    <a:pt x="654" y="1650"/>
                  </a:lnTo>
                  <a:lnTo>
                    <a:pt x="648" y="1644"/>
                  </a:lnTo>
                  <a:lnTo>
                    <a:pt x="648" y="1638"/>
                  </a:lnTo>
                  <a:lnTo>
                    <a:pt x="612" y="1638"/>
                  </a:lnTo>
                  <a:lnTo>
                    <a:pt x="606" y="1632"/>
                  </a:lnTo>
                  <a:lnTo>
                    <a:pt x="606" y="1572"/>
                  </a:lnTo>
                  <a:lnTo>
                    <a:pt x="600" y="1566"/>
                  </a:lnTo>
                  <a:lnTo>
                    <a:pt x="594" y="1554"/>
                  </a:lnTo>
                  <a:lnTo>
                    <a:pt x="588" y="1536"/>
                  </a:lnTo>
                  <a:lnTo>
                    <a:pt x="588" y="1524"/>
                  </a:lnTo>
                  <a:lnTo>
                    <a:pt x="594" y="1518"/>
                  </a:lnTo>
                  <a:lnTo>
                    <a:pt x="600" y="1518"/>
                  </a:lnTo>
                  <a:lnTo>
                    <a:pt x="606" y="1524"/>
                  </a:lnTo>
                  <a:lnTo>
                    <a:pt x="618" y="1524"/>
                  </a:lnTo>
                  <a:lnTo>
                    <a:pt x="624" y="1530"/>
                  </a:lnTo>
                  <a:lnTo>
                    <a:pt x="636" y="1536"/>
                  </a:lnTo>
                  <a:lnTo>
                    <a:pt x="672" y="1548"/>
                  </a:lnTo>
                  <a:lnTo>
                    <a:pt x="690" y="1560"/>
                  </a:lnTo>
                  <a:lnTo>
                    <a:pt x="708" y="1560"/>
                  </a:lnTo>
                  <a:lnTo>
                    <a:pt x="726" y="1554"/>
                  </a:lnTo>
                  <a:lnTo>
                    <a:pt x="738" y="1542"/>
                  </a:lnTo>
                  <a:lnTo>
                    <a:pt x="750" y="1536"/>
                  </a:lnTo>
                  <a:lnTo>
                    <a:pt x="768" y="1530"/>
                  </a:lnTo>
                  <a:lnTo>
                    <a:pt x="774" y="1524"/>
                  </a:lnTo>
                  <a:lnTo>
                    <a:pt x="774" y="1512"/>
                  </a:lnTo>
                  <a:lnTo>
                    <a:pt x="762" y="1506"/>
                  </a:lnTo>
                  <a:lnTo>
                    <a:pt x="750" y="1494"/>
                  </a:lnTo>
                  <a:lnTo>
                    <a:pt x="738" y="1488"/>
                  </a:lnTo>
                  <a:lnTo>
                    <a:pt x="738" y="1464"/>
                  </a:lnTo>
                  <a:lnTo>
                    <a:pt x="744" y="1452"/>
                  </a:lnTo>
                  <a:lnTo>
                    <a:pt x="750" y="1446"/>
                  </a:lnTo>
                  <a:lnTo>
                    <a:pt x="750" y="1434"/>
                  </a:lnTo>
                  <a:lnTo>
                    <a:pt x="756" y="1422"/>
                  </a:lnTo>
                  <a:lnTo>
                    <a:pt x="744" y="1410"/>
                  </a:lnTo>
                  <a:lnTo>
                    <a:pt x="726" y="1410"/>
                  </a:lnTo>
                  <a:lnTo>
                    <a:pt x="720" y="1386"/>
                  </a:lnTo>
                  <a:lnTo>
                    <a:pt x="714" y="1380"/>
                  </a:lnTo>
                  <a:lnTo>
                    <a:pt x="714" y="1368"/>
                  </a:lnTo>
                  <a:lnTo>
                    <a:pt x="720" y="1362"/>
                  </a:lnTo>
                  <a:lnTo>
                    <a:pt x="726" y="1362"/>
                  </a:lnTo>
                  <a:lnTo>
                    <a:pt x="732" y="1374"/>
                  </a:lnTo>
                  <a:lnTo>
                    <a:pt x="738" y="1380"/>
                  </a:lnTo>
                  <a:lnTo>
                    <a:pt x="738" y="1386"/>
                  </a:lnTo>
                  <a:lnTo>
                    <a:pt x="744" y="1398"/>
                  </a:lnTo>
                  <a:lnTo>
                    <a:pt x="756" y="1398"/>
                  </a:lnTo>
                  <a:lnTo>
                    <a:pt x="750" y="1380"/>
                  </a:lnTo>
                  <a:lnTo>
                    <a:pt x="828" y="1386"/>
                  </a:lnTo>
                  <a:lnTo>
                    <a:pt x="834" y="1380"/>
                  </a:lnTo>
                  <a:lnTo>
                    <a:pt x="840" y="1380"/>
                  </a:lnTo>
                  <a:lnTo>
                    <a:pt x="846" y="1374"/>
                  </a:lnTo>
                  <a:lnTo>
                    <a:pt x="864" y="1368"/>
                  </a:lnTo>
                  <a:lnTo>
                    <a:pt x="894" y="1362"/>
                  </a:lnTo>
                  <a:lnTo>
                    <a:pt x="930" y="1350"/>
                  </a:lnTo>
                  <a:lnTo>
                    <a:pt x="972" y="1338"/>
                  </a:lnTo>
                  <a:lnTo>
                    <a:pt x="1002" y="1326"/>
                  </a:lnTo>
                  <a:lnTo>
                    <a:pt x="1014" y="1320"/>
                  </a:lnTo>
                  <a:lnTo>
                    <a:pt x="1014" y="1284"/>
                  </a:lnTo>
                  <a:lnTo>
                    <a:pt x="1032" y="1272"/>
                  </a:lnTo>
                  <a:lnTo>
                    <a:pt x="1044" y="1218"/>
                  </a:lnTo>
                  <a:lnTo>
                    <a:pt x="1038" y="1194"/>
                  </a:lnTo>
                  <a:lnTo>
                    <a:pt x="1038" y="1170"/>
                  </a:lnTo>
                  <a:lnTo>
                    <a:pt x="1032" y="1170"/>
                  </a:lnTo>
                  <a:lnTo>
                    <a:pt x="1026" y="1164"/>
                  </a:lnTo>
                  <a:lnTo>
                    <a:pt x="1002" y="1152"/>
                  </a:lnTo>
                  <a:lnTo>
                    <a:pt x="990" y="1152"/>
                  </a:lnTo>
                  <a:lnTo>
                    <a:pt x="984" y="1146"/>
                  </a:lnTo>
                  <a:lnTo>
                    <a:pt x="978" y="1146"/>
                  </a:lnTo>
                  <a:lnTo>
                    <a:pt x="972" y="1140"/>
                  </a:lnTo>
                  <a:lnTo>
                    <a:pt x="990" y="1122"/>
                  </a:lnTo>
                  <a:lnTo>
                    <a:pt x="990" y="1092"/>
                  </a:lnTo>
                  <a:lnTo>
                    <a:pt x="984" y="1080"/>
                  </a:lnTo>
                  <a:lnTo>
                    <a:pt x="978" y="1074"/>
                  </a:lnTo>
                  <a:lnTo>
                    <a:pt x="954" y="1062"/>
                  </a:lnTo>
                  <a:lnTo>
                    <a:pt x="918" y="1050"/>
                  </a:lnTo>
                  <a:lnTo>
                    <a:pt x="906" y="1044"/>
                  </a:lnTo>
                  <a:lnTo>
                    <a:pt x="888" y="1032"/>
                  </a:lnTo>
                  <a:lnTo>
                    <a:pt x="876" y="1020"/>
                  </a:lnTo>
                  <a:lnTo>
                    <a:pt x="876" y="1002"/>
                  </a:lnTo>
                  <a:lnTo>
                    <a:pt x="882" y="990"/>
                  </a:lnTo>
                  <a:lnTo>
                    <a:pt x="888" y="990"/>
                  </a:lnTo>
                  <a:lnTo>
                    <a:pt x="888" y="984"/>
                  </a:lnTo>
                  <a:lnTo>
                    <a:pt x="858" y="948"/>
                  </a:lnTo>
                  <a:lnTo>
                    <a:pt x="858" y="900"/>
                  </a:lnTo>
                  <a:lnTo>
                    <a:pt x="882" y="900"/>
                  </a:lnTo>
                  <a:lnTo>
                    <a:pt x="888" y="894"/>
                  </a:lnTo>
                  <a:lnTo>
                    <a:pt x="894" y="894"/>
                  </a:lnTo>
                  <a:lnTo>
                    <a:pt x="894" y="888"/>
                  </a:lnTo>
                  <a:lnTo>
                    <a:pt x="888" y="876"/>
                  </a:lnTo>
                  <a:lnTo>
                    <a:pt x="876" y="870"/>
                  </a:lnTo>
                  <a:lnTo>
                    <a:pt x="870" y="858"/>
                  </a:lnTo>
                  <a:lnTo>
                    <a:pt x="864" y="852"/>
                  </a:lnTo>
                  <a:lnTo>
                    <a:pt x="876" y="834"/>
                  </a:lnTo>
                  <a:lnTo>
                    <a:pt x="864" y="822"/>
                  </a:lnTo>
                  <a:lnTo>
                    <a:pt x="858" y="810"/>
                  </a:lnTo>
                  <a:lnTo>
                    <a:pt x="852" y="804"/>
                  </a:lnTo>
                  <a:lnTo>
                    <a:pt x="864" y="792"/>
                  </a:lnTo>
                  <a:lnTo>
                    <a:pt x="882" y="792"/>
                  </a:lnTo>
                  <a:lnTo>
                    <a:pt x="858" y="774"/>
                  </a:lnTo>
                  <a:lnTo>
                    <a:pt x="858" y="738"/>
                  </a:lnTo>
                  <a:lnTo>
                    <a:pt x="882" y="726"/>
                  </a:lnTo>
                  <a:lnTo>
                    <a:pt x="876" y="726"/>
                  </a:lnTo>
                  <a:lnTo>
                    <a:pt x="852" y="702"/>
                  </a:lnTo>
                  <a:lnTo>
                    <a:pt x="852" y="696"/>
                  </a:lnTo>
                  <a:lnTo>
                    <a:pt x="870" y="678"/>
                  </a:lnTo>
                  <a:lnTo>
                    <a:pt x="870" y="666"/>
                  </a:lnTo>
                  <a:lnTo>
                    <a:pt x="876" y="654"/>
                  </a:lnTo>
                  <a:lnTo>
                    <a:pt x="876" y="642"/>
                  </a:lnTo>
                  <a:lnTo>
                    <a:pt x="882" y="636"/>
                  </a:lnTo>
                  <a:lnTo>
                    <a:pt x="900" y="636"/>
                  </a:lnTo>
                  <a:lnTo>
                    <a:pt x="906" y="630"/>
                  </a:lnTo>
                  <a:lnTo>
                    <a:pt x="912" y="618"/>
                  </a:lnTo>
                  <a:lnTo>
                    <a:pt x="918" y="612"/>
                  </a:lnTo>
                  <a:lnTo>
                    <a:pt x="918" y="588"/>
                  </a:lnTo>
                  <a:lnTo>
                    <a:pt x="930" y="588"/>
                  </a:lnTo>
                  <a:lnTo>
                    <a:pt x="948" y="570"/>
                  </a:lnTo>
                  <a:lnTo>
                    <a:pt x="948" y="558"/>
                  </a:lnTo>
                  <a:lnTo>
                    <a:pt x="954" y="546"/>
                  </a:lnTo>
                  <a:lnTo>
                    <a:pt x="954" y="534"/>
                  </a:lnTo>
                  <a:close/>
                  <a:moveTo>
                    <a:pt x="930" y="1020"/>
                  </a:moveTo>
                  <a:lnTo>
                    <a:pt x="942" y="1020"/>
                  </a:lnTo>
                  <a:lnTo>
                    <a:pt x="930" y="1014"/>
                  </a:lnTo>
                  <a:lnTo>
                    <a:pt x="930" y="102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182" name="Angola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4735786" y="4411577"/>
              <a:ext cx="287965" cy="342941"/>
            </a:xfrm>
            <a:custGeom>
              <a:avLst/>
              <a:gdLst>
                <a:gd name="T0" fmla="*/ 2147483647 w 888"/>
                <a:gd name="T1" fmla="*/ 2147483647 h 1104"/>
                <a:gd name="T2" fmla="*/ 2147483647 w 888"/>
                <a:gd name="T3" fmla="*/ 2147483647 h 1104"/>
                <a:gd name="T4" fmla="*/ 2147483647 w 888"/>
                <a:gd name="T5" fmla="*/ 2147483647 h 1104"/>
                <a:gd name="T6" fmla="*/ 2147483647 w 888"/>
                <a:gd name="T7" fmla="*/ 0 h 1104"/>
                <a:gd name="T8" fmla="*/ 2147483647 w 888"/>
                <a:gd name="T9" fmla="*/ 2147483647 h 1104"/>
                <a:gd name="T10" fmla="*/ 2147483647 w 888"/>
                <a:gd name="T11" fmla="*/ 2147483647 h 1104"/>
                <a:gd name="T12" fmla="*/ 2147483647 w 888"/>
                <a:gd name="T13" fmla="*/ 2147483647 h 1104"/>
                <a:gd name="T14" fmla="*/ 2147483647 w 888"/>
                <a:gd name="T15" fmla="*/ 2147483647 h 1104"/>
                <a:gd name="T16" fmla="*/ 2147483647 w 888"/>
                <a:gd name="T17" fmla="*/ 2147483647 h 1104"/>
                <a:gd name="T18" fmla="*/ 2147483647 w 888"/>
                <a:gd name="T19" fmla="*/ 2147483647 h 1104"/>
                <a:gd name="T20" fmla="*/ 2147483647 w 888"/>
                <a:gd name="T21" fmla="*/ 2147483647 h 1104"/>
                <a:gd name="T22" fmla="*/ 2147483647 w 888"/>
                <a:gd name="T23" fmla="*/ 2147483647 h 1104"/>
                <a:gd name="T24" fmla="*/ 2147483647 w 888"/>
                <a:gd name="T25" fmla="*/ 2147483647 h 1104"/>
                <a:gd name="T26" fmla="*/ 2147483647 w 888"/>
                <a:gd name="T27" fmla="*/ 2147483647 h 1104"/>
                <a:gd name="T28" fmla="*/ 2147483647 w 888"/>
                <a:gd name="T29" fmla="*/ 2147483647 h 1104"/>
                <a:gd name="T30" fmla="*/ 2147483647 w 888"/>
                <a:gd name="T31" fmla="*/ 2147483647 h 1104"/>
                <a:gd name="T32" fmla="*/ 2147483647 w 888"/>
                <a:gd name="T33" fmla="*/ 2147483647 h 1104"/>
                <a:gd name="T34" fmla="*/ 2147483647 w 888"/>
                <a:gd name="T35" fmla="*/ 2147483647 h 1104"/>
                <a:gd name="T36" fmla="*/ 2147483647 w 888"/>
                <a:gd name="T37" fmla="*/ 2147483647 h 1104"/>
                <a:gd name="T38" fmla="*/ 2147483647 w 888"/>
                <a:gd name="T39" fmla="*/ 2147483647 h 1104"/>
                <a:gd name="T40" fmla="*/ 2147483647 w 888"/>
                <a:gd name="T41" fmla="*/ 2147483647 h 1104"/>
                <a:gd name="T42" fmla="*/ 2147483647 w 888"/>
                <a:gd name="T43" fmla="*/ 2147483647 h 1104"/>
                <a:gd name="T44" fmla="*/ 2147483647 w 888"/>
                <a:gd name="T45" fmla="*/ 2147483647 h 1104"/>
                <a:gd name="T46" fmla="*/ 2147483647 w 888"/>
                <a:gd name="T47" fmla="*/ 2147483647 h 1104"/>
                <a:gd name="T48" fmla="*/ 2147483647 w 888"/>
                <a:gd name="T49" fmla="*/ 2147483647 h 1104"/>
                <a:gd name="T50" fmla="*/ 2147483647 w 888"/>
                <a:gd name="T51" fmla="*/ 2147483647 h 1104"/>
                <a:gd name="T52" fmla="*/ 2147483647 w 888"/>
                <a:gd name="T53" fmla="*/ 2147483647 h 1104"/>
                <a:gd name="T54" fmla="*/ 2147483647 w 888"/>
                <a:gd name="T55" fmla="*/ 2147483647 h 1104"/>
                <a:gd name="T56" fmla="*/ 2147483647 w 888"/>
                <a:gd name="T57" fmla="*/ 2147483647 h 1104"/>
                <a:gd name="T58" fmla="*/ 2147483647 w 888"/>
                <a:gd name="T59" fmla="*/ 2147483647 h 1104"/>
                <a:gd name="T60" fmla="*/ 2147483647 w 888"/>
                <a:gd name="T61" fmla="*/ 2147483647 h 1104"/>
                <a:gd name="T62" fmla="*/ 2147483647 w 888"/>
                <a:gd name="T63" fmla="*/ 2147483647 h 1104"/>
                <a:gd name="T64" fmla="*/ 2147483647 w 888"/>
                <a:gd name="T65" fmla="*/ 2147483647 h 1104"/>
                <a:gd name="T66" fmla="*/ 2147483647 w 888"/>
                <a:gd name="T67" fmla="*/ 2147483647 h 1104"/>
                <a:gd name="T68" fmla="*/ 2147483647 w 888"/>
                <a:gd name="T69" fmla="*/ 2147483647 h 1104"/>
                <a:gd name="T70" fmla="*/ 2147483647 w 888"/>
                <a:gd name="T71" fmla="*/ 2147483647 h 1104"/>
                <a:gd name="T72" fmla="*/ 2147483647 w 888"/>
                <a:gd name="T73" fmla="*/ 2147483647 h 1104"/>
                <a:gd name="T74" fmla="*/ 0 w 888"/>
                <a:gd name="T75" fmla="*/ 2147483647 h 1104"/>
                <a:gd name="T76" fmla="*/ 2147483647 w 888"/>
                <a:gd name="T77" fmla="*/ 2147483647 h 1104"/>
                <a:gd name="T78" fmla="*/ 2147483647 w 888"/>
                <a:gd name="T79" fmla="*/ 2147483647 h 1104"/>
                <a:gd name="T80" fmla="*/ 2147483647 w 888"/>
                <a:gd name="T81" fmla="*/ 2147483647 h 1104"/>
                <a:gd name="T82" fmla="*/ 2147483647 w 888"/>
                <a:gd name="T83" fmla="*/ 2147483647 h 1104"/>
                <a:gd name="T84" fmla="*/ 2147483647 w 888"/>
                <a:gd name="T85" fmla="*/ 2147483647 h 1104"/>
                <a:gd name="T86" fmla="*/ 2147483647 w 888"/>
                <a:gd name="T87" fmla="*/ 2147483647 h 1104"/>
                <a:gd name="T88" fmla="*/ 2147483647 w 888"/>
                <a:gd name="T89" fmla="*/ 2147483647 h 1104"/>
                <a:gd name="T90" fmla="*/ 2147483647 w 888"/>
                <a:gd name="T91" fmla="*/ 2147483647 h 1104"/>
                <a:gd name="T92" fmla="*/ 2147483647 w 888"/>
                <a:gd name="T93" fmla="*/ 2147483647 h 1104"/>
                <a:gd name="T94" fmla="*/ 2147483647 w 888"/>
                <a:gd name="T95" fmla="*/ 2147483647 h 11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888"/>
                <a:gd name="T145" fmla="*/ 0 h 1104"/>
                <a:gd name="T146" fmla="*/ 888 w 888"/>
                <a:gd name="T147" fmla="*/ 1104 h 11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888" h="1104">
                  <a:moveTo>
                    <a:pt x="42" y="114"/>
                  </a:moveTo>
                  <a:lnTo>
                    <a:pt x="42" y="120"/>
                  </a:lnTo>
                  <a:lnTo>
                    <a:pt x="48" y="120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2"/>
                  </a:lnTo>
                  <a:lnTo>
                    <a:pt x="72" y="96"/>
                  </a:lnTo>
                  <a:lnTo>
                    <a:pt x="66" y="84"/>
                  </a:lnTo>
                  <a:lnTo>
                    <a:pt x="66" y="78"/>
                  </a:lnTo>
                  <a:lnTo>
                    <a:pt x="60" y="66"/>
                  </a:lnTo>
                  <a:lnTo>
                    <a:pt x="96" y="36"/>
                  </a:lnTo>
                  <a:lnTo>
                    <a:pt x="102" y="24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84" y="6"/>
                  </a:lnTo>
                  <a:lnTo>
                    <a:pt x="72" y="12"/>
                  </a:lnTo>
                  <a:lnTo>
                    <a:pt x="66" y="18"/>
                  </a:lnTo>
                  <a:lnTo>
                    <a:pt x="54" y="24"/>
                  </a:lnTo>
                  <a:lnTo>
                    <a:pt x="54" y="42"/>
                  </a:lnTo>
                  <a:lnTo>
                    <a:pt x="36" y="42"/>
                  </a:lnTo>
                  <a:lnTo>
                    <a:pt x="36" y="60"/>
                  </a:lnTo>
                  <a:lnTo>
                    <a:pt x="42" y="114"/>
                  </a:lnTo>
                  <a:close/>
                  <a:moveTo>
                    <a:pt x="876" y="546"/>
                  </a:moveTo>
                  <a:lnTo>
                    <a:pt x="852" y="546"/>
                  </a:lnTo>
                  <a:lnTo>
                    <a:pt x="840" y="534"/>
                  </a:lnTo>
                  <a:lnTo>
                    <a:pt x="828" y="534"/>
                  </a:lnTo>
                  <a:lnTo>
                    <a:pt x="828" y="546"/>
                  </a:lnTo>
                  <a:lnTo>
                    <a:pt x="804" y="552"/>
                  </a:lnTo>
                  <a:lnTo>
                    <a:pt x="774" y="546"/>
                  </a:lnTo>
                  <a:lnTo>
                    <a:pt x="768" y="564"/>
                  </a:lnTo>
                  <a:lnTo>
                    <a:pt x="762" y="558"/>
                  </a:lnTo>
                  <a:lnTo>
                    <a:pt x="756" y="558"/>
                  </a:lnTo>
                  <a:lnTo>
                    <a:pt x="750" y="552"/>
                  </a:lnTo>
                  <a:lnTo>
                    <a:pt x="750" y="528"/>
                  </a:lnTo>
                  <a:lnTo>
                    <a:pt x="756" y="522"/>
                  </a:lnTo>
                  <a:lnTo>
                    <a:pt x="756" y="510"/>
                  </a:lnTo>
                  <a:lnTo>
                    <a:pt x="762" y="498"/>
                  </a:lnTo>
                  <a:lnTo>
                    <a:pt x="762" y="480"/>
                  </a:lnTo>
                  <a:lnTo>
                    <a:pt x="756" y="474"/>
                  </a:lnTo>
                  <a:lnTo>
                    <a:pt x="744" y="450"/>
                  </a:lnTo>
                  <a:lnTo>
                    <a:pt x="732" y="432"/>
                  </a:lnTo>
                  <a:lnTo>
                    <a:pt x="726" y="414"/>
                  </a:lnTo>
                  <a:lnTo>
                    <a:pt x="726" y="402"/>
                  </a:lnTo>
                  <a:lnTo>
                    <a:pt x="732" y="396"/>
                  </a:lnTo>
                  <a:lnTo>
                    <a:pt x="732" y="384"/>
                  </a:lnTo>
                  <a:lnTo>
                    <a:pt x="726" y="360"/>
                  </a:lnTo>
                  <a:lnTo>
                    <a:pt x="732" y="354"/>
                  </a:lnTo>
                  <a:lnTo>
                    <a:pt x="738" y="342"/>
                  </a:lnTo>
                  <a:lnTo>
                    <a:pt x="738" y="330"/>
                  </a:lnTo>
                  <a:lnTo>
                    <a:pt x="732" y="318"/>
                  </a:lnTo>
                  <a:lnTo>
                    <a:pt x="720" y="306"/>
                  </a:lnTo>
                  <a:lnTo>
                    <a:pt x="714" y="288"/>
                  </a:lnTo>
                  <a:lnTo>
                    <a:pt x="726" y="270"/>
                  </a:lnTo>
                  <a:lnTo>
                    <a:pt x="726" y="246"/>
                  </a:lnTo>
                  <a:lnTo>
                    <a:pt x="636" y="246"/>
                  </a:lnTo>
                  <a:lnTo>
                    <a:pt x="636" y="222"/>
                  </a:lnTo>
                  <a:lnTo>
                    <a:pt x="624" y="216"/>
                  </a:lnTo>
                  <a:lnTo>
                    <a:pt x="612" y="216"/>
                  </a:lnTo>
                  <a:lnTo>
                    <a:pt x="612" y="222"/>
                  </a:lnTo>
                  <a:lnTo>
                    <a:pt x="564" y="222"/>
                  </a:lnTo>
                  <a:lnTo>
                    <a:pt x="558" y="228"/>
                  </a:lnTo>
                  <a:lnTo>
                    <a:pt x="558" y="234"/>
                  </a:lnTo>
                  <a:lnTo>
                    <a:pt x="564" y="240"/>
                  </a:lnTo>
                  <a:lnTo>
                    <a:pt x="570" y="252"/>
                  </a:lnTo>
                  <a:lnTo>
                    <a:pt x="570" y="264"/>
                  </a:lnTo>
                  <a:lnTo>
                    <a:pt x="558" y="264"/>
                  </a:lnTo>
                  <a:lnTo>
                    <a:pt x="558" y="270"/>
                  </a:lnTo>
                  <a:lnTo>
                    <a:pt x="552" y="276"/>
                  </a:lnTo>
                  <a:lnTo>
                    <a:pt x="552" y="294"/>
                  </a:lnTo>
                  <a:lnTo>
                    <a:pt x="510" y="300"/>
                  </a:lnTo>
                  <a:lnTo>
                    <a:pt x="504" y="294"/>
                  </a:lnTo>
                  <a:lnTo>
                    <a:pt x="492" y="300"/>
                  </a:lnTo>
                  <a:lnTo>
                    <a:pt x="468" y="300"/>
                  </a:lnTo>
                  <a:lnTo>
                    <a:pt x="462" y="312"/>
                  </a:lnTo>
                  <a:lnTo>
                    <a:pt x="450" y="306"/>
                  </a:lnTo>
                  <a:lnTo>
                    <a:pt x="420" y="306"/>
                  </a:lnTo>
                  <a:lnTo>
                    <a:pt x="408" y="282"/>
                  </a:lnTo>
                  <a:lnTo>
                    <a:pt x="402" y="276"/>
                  </a:lnTo>
                  <a:lnTo>
                    <a:pt x="402" y="264"/>
                  </a:lnTo>
                  <a:lnTo>
                    <a:pt x="390" y="252"/>
                  </a:lnTo>
                  <a:lnTo>
                    <a:pt x="384" y="252"/>
                  </a:lnTo>
                  <a:lnTo>
                    <a:pt x="378" y="246"/>
                  </a:lnTo>
                  <a:lnTo>
                    <a:pt x="378" y="240"/>
                  </a:lnTo>
                  <a:lnTo>
                    <a:pt x="384" y="234"/>
                  </a:lnTo>
                  <a:lnTo>
                    <a:pt x="384" y="210"/>
                  </a:lnTo>
                  <a:lnTo>
                    <a:pt x="366" y="192"/>
                  </a:lnTo>
                  <a:lnTo>
                    <a:pt x="366" y="150"/>
                  </a:lnTo>
                  <a:lnTo>
                    <a:pt x="354" y="138"/>
                  </a:lnTo>
                  <a:lnTo>
                    <a:pt x="348" y="126"/>
                  </a:lnTo>
                  <a:lnTo>
                    <a:pt x="342" y="120"/>
                  </a:lnTo>
                  <a:lnTo>
                    <a:pt x="324" y="120"/>
                  </a:lnTo>
                  <a:lnTo>
                    <a:pt x="318" y="126"/>
                  </a:lnTo>
                  <a:lnTo>
                    <a:pt x="294" y="126"/>
                  </a:lnTo>
                  <a:lnTo>
                    <a:pt x="276" y="132"/>
                  </a:lnTo>
                  <a:lnTo>
                    <a:pt x="246" y="132"/>
                  </a:lnTo>
                  <a:lnTo>
                    <a:pt x="234" y="126"/>
                  </a:lnTo>
                  <a:lnTo>
                    <a:pt x="222" y="126"/>
                  </a:lnTo>
                  <a:lnTo>
                    <a:pt x="210" y="132"/>
                  </a:lnTo>
                  <a:lnTo>
                    <a:pt x="180" y="132"/>
                  </a:lnTo>
                  <a:lnTo>
                    <a:pt x="168" y="126"/>
                  </a:lnTo>
                  <a:lnTo>
                    <a:pt x="144" y="132"/>
                  </a:lnTo>
                  <a:lnTo>
                    <a:pt x="132" y="126"/>
                  </a:lnTo>
                  <a:lnTo>
                    <a:pt x="126" y="132"/>
                  </a:lnTo>
                  <a:lnTo>
                    <a:pt x="102" y="126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86"/>
                  </a:lnTo>
                  <a:lnTo>
                    <a:pt x="90" y="210"/>
                  </a:lnTo>
                  <a:lnTo>
                    <a:pt x="84" y="234"/>
                  </a:lnTo>
                  <a:lnTo>
                    <a:pt x="90" y="246"/>
                  </a:lnTo>
                  <a:lnTo>
                    <a:pt x="108" y="270"/>
                  </a:lnTo>
                  <a:lnTo>
                    <a:pt x="120" y="300"/>
                  </a:lnTo>
                  <a:lnTo>
                    <a:pt x="126" y="330"/>
                  </a:lnTo>
                  <a:lnTo>
                    <a:pt x="120" y="354"/>
                  </a:lnTo>
                  <a:lnTo>
                    <a:pt x="108" y="378"/>
                  </a:lnTo>
                  <a:lnTo>
                    <a:pt x="102" y="384"/>
                  </a:lnTo>
                  <a:lnTo>
                    <a:pt x="102" y="408"/>
                  </a:lnTo>
                  <a:lnTo>
                    <a:pt x="114" y="408"/>
                  </a:lnTo>
                  <a:lnTo>
                    <a:pt x="114" y="438"/>
                  </a:lnTo>
                  <a:lnTo>
                    <a:pt x="126" y="474"/>
                  </a:lnTo>
                  <a:lnTo>
                    <a:pt x="150" y="510"/>
                  </a:lnTo>
                  <a:lnTo>
                    <a:pt x="162" y="552"/>
                  </a:lnTo>
                  <a:lnTo>
                    <a:pt x="162" y="582"/>
                  </a:lnTo>
                  <a:lnTo>
                    <a:pt x="156" y="594"/>
                  </a:lnTo>
                  <a:lnTo>
                    <a:pt x="150" y="612"/>
                  </a:lnTo>
                  <a:lnTo>
                    <a:pt x="144" y="618"/>
                  </a:lnTo>
                  <a:lnTo>
                    <a:pt x="138" y="630"/>
                  </a:lnTo>
                  <a:lnTo>
                    <a:pt x="144" y="642"/>
                  </a:lnTo>
                  <a:lnTo>
                    <a:pt x="144" y="660"/>
                  </a:lnTo>
                  <a:lnTo>
                    <a:pt x="138" y="666"/>
                  </a:lnTo>
                  <a:lnTo>
                    <a:pt x="126" y="672"/>
                  </a:lnTo>
                  <a:lnTo>
                    <a:pt x="108" y="672"/>
                  </a:lnTo>
                  <a:lnTo>
                    <a:pt x="96" y="690"/>
                  </a:lnTo>
                  <a:lnTo>
                    <a:pt x="102" y="714"/>
                  </a:lnTo>
                  <a:lnTo>
                    <a:pt x="78" y="714"/>
                  </a:lnTo>
                  <a:lnTo>
                    <a:pt x="66" y="720"/>
                  </a:lnTo>
                  <a:lnTo>
                    <a:pt x="66" y="750"/>
                  </a:lnTo>
                  <a:lnTo>
                    <a:pt x="60" y="762"/>
                  </a:lnTo>
                  <a:lnTo>
                    <a:pt x="60" y="774"/>
                  </a:lnTo>
                  <a:lnTo>
                    <a:pt x="48" y="786"/>
                  </a:lnTo>
                  <a:lnTo>
                    <a:pt x="48" y="858"/>
                  </a:lnTo>
                  <a:lnTo>
                    <a:pt x="36" y="864"/>
                  </a:lnTo>
                  <a:lnTo>
                    <a:pt x="30" y="870"/>
                  </a:lnTo>
                  <a:lnTo>
                    <a:pt x="30" y="912"/>
                  </a:lnTo>
                  <a:lnTo>
                    <a:pt x="6" y="930"/>
                  </a:lnTo>
                  <a:lnTo>
                    <a:pt x="6" y="966"/>
                  </a:lnTo>
                  <a:lnTo>
                    <a:pt x="18" y="984"/>
                  </a:lnTo>
                  <a:lnTo>
                    <a:pt x="0" y="1002"/>
                  </a:lnTo>
                  <a:lnTo>
                    <a:pt x="0" y="1044"/>
                  </a:lnTo>
                  <a:lnTo>
                    <a:pt x="18" y="1044"/>
                  </a:lnTo>
                  <a:lnTo>
                    <a:pt x="36" y="1038"/>
                  </a:lnTo>
                  <a:lnTo>
                    <a:pt x="42" y="1044"/>
                  </a:lnTo>
                  <a:lnTo>
                    <a:pt x="72" y="1044"/>
                  </a:lnTo>
                  <a:lnTo>
                    <a:pt x="90" y="1026"/>
                  </a:lnTo>
                  <a:lnTo>
                    <a:pt x="90" y="1020"/>
                  </a:lnTo>
                  <a:lnTo>
                    <a:pt x="120" y="1020"/>
                  </a:lnTo>
                  <a:lnTo>
                    <a:pt x="126" y="1026"/>
                  </a:lnTo>
                  <a:lnTo>
                    <a:pt x="132" y="1038"/>
                  </a:lnTo>
                  <a:lnTo>
                    <a:pt x="156" y="1050"/>
                  </a:lnTo>
                  <a:lnTo>
                    <a:pt x="168" y="1050"/>
                  </a:lnTo>
                  <a:lnTo>
                    <a:pt x="174" y="1056"/>
                  </a:lnTo>
                  <a:lnTo>
                    <a:pt x="480" y="1056"/>
                  </a:lnTo>
                  <a:lnTo>
                    <a:pt x="480" y="1062"/>
                  </a:lnTo>
                  <a:lnTo>
                    <a:pt x="504" y="1086"/>
                  </a:lnTo>
                  <a:lnTo>
                    <a:pt x="540" y="1086"/>
                  </a:lnTo>
                  <a:lnTo>
                    <a:pt x="546" y="1098"/>
                  </a:lnTo>
                  <a:lnTo>
                    <a:pt x="618" y="1092"/>
                  </a:lnTo>
                  <a:lnTo>
                    <a:pt x="624" y="1104"/>
                  </a:lnTo>
                  <a:lnTo>
                    <a:pt x="696" y="1104"/>
                  </a:lnTo>
                  <a:lnTo>
                    <a:pt x="732" y="1098"/>
                  </a:lnTo>
                  <a:lnTo>
                    <a:pt x="780" y="1092"/>
                  </a:lnTo>
                  <a:lnTo>
                    <a:pt x="816" y="1080"/>
                  </a:lnTo>
                  <a:lnTo>
                    <a:pt x="828" y="1074"/>
                  </a:lnTo>
                  <a:lnTo>
                    <a:pt x="738" y="984"/>
                  </a:lnTo>
                  <a:lnTo>
                    <a:pt x="738" y="966"/>
                  </a:lnTo>
                  <a:lnTo>
                    <a:pt x="732" y="954"/>
                  </a:lnTo>
                  <a:lnTo>
                    <a:pt x="732" y="702"/>
                  </a:lnTo>
                  <a:lnTo>
                    <a:pt x="858" y="708"/>
                  </a:lnTo>
                  <a:lnTo>
                    <a:pt x="864" y="708"/>
                  </a:lnTo>
                  <a:lnTo>
                    <a:pt x="876" y="696"/>
                  </a:lnTo>
                  <a:lnTo>
                    <a:pt x="876" y="672"/>
                  </a:lnTo>
                  <a:lnTo>
                    <a:pt x="870" y="666"/>
                  </a:lnTo>
                  <a:lnTo>
                    <a:pt x="870" y="660"/>
                  </a:lnTo>
                  <a:lnTo>
                    <a:pt x="888" y="654"/>
                  </a:lnTo>
                  <a:lnTo>
                    <a:pt x="876" y="642"/>
                  </a:lnTo>
                  <a:lnTo>
                    <a:pt x="876" y="588"/>
                  </a:lnTo>
                  <a:lnTo>
                    <a:pt x="882" y="588"/>
                  </a:lnTo>
                  <a:lnTo>
                    <a:pt x="888" y="582"/>
                  </a:lnTo>
                  <a:lnTo>
                    <a:pt x="888" y="564"/>
                  </a:lnTo>
                  <a:lnTo>
                    <a:pt x="876" y="552"/>
                  </a:lnTo>
                  <a:lnTo>
                    <a:pt x="876" y="54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183" name="Andorra" descr="© INSCALE GmbH, 05.05.2010&#10;http://www.presentationload.com/"/>
            <p:cNvSpPr>
              <a:spLocks/>
            </p:cNvSpPr>
            <p:nvPr/>
          </p:nvSpPr>
          <p:spPr bwMode="gray">
            <a:xfrm>
              <a:off x="4516933" y="3238228"/>
              <a:ext cx="10239" cy="4899"/>
            </a:xfrm>
            <a:custGeom>
              <a:avLst/>
              <a:gdLst>
                <a:gd name="T0" fmla="*/ 2147483647 w 30"/>
                <a:gd name="T1" fmla="*/ 2147483647 h 18"/>
                <a:gd name="T2" fmla="*/ 2147483647 w 30"/>
                <a:gd name="T3" fmla="*/ 2147483647 h 18"/>
                <a:gd name="T4" fmla="*/ 2147483647 w 30"/>
                <a:gd name="T5" fmla="*/ 2147483647 h 18"/>
                <a:gd name="T6" fmla="*/ 2147483647 w 30"/>
                <a:gd name="T7" fmla="*/ 0 h 18"/>
                <a:gd name="T8" fmla="*/ 0 w 30"/>
                <a:gd name="T9" fmla="*/ 0 h 18"/>
                <a:gd name="T10" fmla="*/ 2147483647 w 30"/>
                <a:gd name="T11" fmla="*/ 2147483647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0"/>
                <a:gd name="T19" fmla="*/ 0 h 18"/>
                <a:gd name="T20" fmla="*/ 30 w 30"/>
                <a:gd name="T21" fmla="*/ 18 h 1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0" h="18">
                  <a:moveTo>
                    <a:pt x="6" y="18"/>
                  </a:moveTo>
                  <a:lnTo>
                    <a:pt x="18" y="12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0" y="0"/>
                  </a:lnTo>
                  <a:lnTo>
                    <a:pt x="6" y="1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184" name="Algeria" descr="© INSCALE GmbH, 05.05.2010&#10;http://www.presentationload.com/"/>
            <p:cNvSpPr>
              <a:spLocks/>
            </p:cNvSpPr>
            <p:nvPr/>
          </p:nvSpPr>
          <p:spPr bwMode="gray">
            <a:xfrm>
              <a:off x="4263525" y="3374180"/>
              <a:ext cx="479940" cy="454396"/>
            </a:xfrm>
            <a:custGeom>
              <a:avLst/>
              <a:gdLst>
                <a:gd name="T0" fmla="*/ 2147483647 w 1476"/>
                <a:gd name="T1" fmla="*/ 2147483647 h 1464"/>
                <a:gd name="T2" fmla="*/ 2147483647 w 1476"/>
                <a:gd name="T3" fmla="*/ 2147483647 h 1464"/>
                <a:gd name="T4" fmla="*/ 2147483647 w 1476"/>
                <a:gd name="T5" fmla="*/ 2147483647 h 1464"/>
                <a:gd name="T6" fmla="*/ 2147483647 w 1476"/>
                <a:gd name="T7" fmla="*/ 2147483647 h 1464"/>
                <a:gd name="T8" fmla="*/ 2147483647 w 1476"/>
                <a:gd name="T9" fmla="*/ 2147483647 h 1464"/>
                <a:gd name="T10" fmla="*/ 2147483647 w 1476"/>
                <a:gd name="T11" fmla="*/ 2147483647 h 1464"/>
                <a:gd name="T12" fmla="*/ 2147483647 w 1476"/>
                <a:gd name="T13" fmla="*/ 2147483647 h 1464"/>
                <a:gd name="T14" fmla="*/ 2147483647 w 1476"/>
                <a:gd name="T15" fmla="*/ 2147483647 h 1464"/>
                <a:gd name="T16" fmla="*/ 2147483647 w 1476"/>
                <a:gd name="T17" fmla="*/ 2147483647 h 1464"/>
                <a:gd name="T18" fmla="*/ 2147483647 w 1476"/>
                <a:gd name="T19" fmla="*/ 2147483647 h 1464"/>
                <a:gd name="T20" fmla="*/ 2147483647 w 1476"/>
                <a:gd name="T21" fmla="*/ 2147483647 h 1464"/>
                <a:gd name="T22" fmla="*/ 2147483647 w 1476"/>
                <a:gd name="T23" fmla="*/ 2147483647 h 1464"/>
                <a:gd name="T24" fmla="*/ 2147483647 w 1476"/>
                <a:gd name="T25" fmla="*/ 2147483647 h 1464"/>
                <a:gd name="T26" fmla="*/ 2147483647 w 1476"/>
                <a:gd name="T27" fmla="*/ 2147483647 h 1464"/>
                <a:gd name="T28" fmla="*/ 2147483647 w 1476"/>
                <a:gd name="T29" fmla="*/ 2147483647 h 1464"/>
                <a:gd name="T30" fmla="*/ 2147483647 w 1476"/>
                <a:gd name="T31" fmla="*/ 2147483647 h 1464"/>
                <a:gd name="T32" fmla="*/ 2147483647 w 1476"/>
                <a:gd name="T33" fmla="*/ 2147483647 h 1464"/>
                <a:gd name="T34" fmla="*/ 2147483647 w 1476"/>
                <a:gd name="T35" fmla="*/ 2147483647 h 1464"/>
                <a:gd name="T36" fmla="*/ 2147483647 w 1476"/>
                <a:gd name="T37" fmla="*/ 2147483647 h 1464"/>
                <a:gd name="T38" fmla="*/ 2147483647 w 1476"/>
                <a:gd name="T39" fmla="*/ 2147483647 h 1464"/>
                <a:gd name="T40" fmla="*/ 2147483647 w 1476"/>
                <a:gd name="T41" fmla="*/ 2147483647 h 1464"/>
                <a:gd name="T42" fmla="*/ 2147483647 w 1476"/>
                <a:gd name="T43" fmla="*/ 2147483647 h 1464"/>
                <a:gd name="T44" fmla="*/ 2147483647 w 1476"/>
                <a:gd name="T45" fmla="*/ 2147483647 h 1464"/>
                <a:gd name="T46" fmla="*/ 2147483647 w 1476"/>
                <a:gd name="T47" fmla="*/ 2147483647 h 1464"/>
                <a:gd name="T48" fmla="*/ 2147483647 w 1476"/>
                <a:gd name="T49" fmla="*/ 2147483647 h 1464"/>
                <a:gd name="T50" fmla="*/ 2147483647 w 1476"/>
                <a:gd name="T51" fmla="*/ 2147483647 h 1464"/>
                <a:gd name="T52" fmla="*/ 2147483647 w 1476"/>
                <a:gd name="T53" fmla="*/ 2147483647 h 1464"/>
                <a:gd name="T54" fmla="*/ 2147483647 w 1476"/>
                <a:gd name="T55" fmla="*/ 2147483647 h 1464"/>
                <a:gd name="T56" fmla="*/ 2147483647 w 1476"/>
                <a:gd name="T57" fmla="*/ 2147483647 h 1464"/>
                <a:gd name="T58" fmla="*/ 2147483647 w 1476"/>
                <a:gd name="T59" fmla="*/ 2147483647 h 1464"/>
                <a:gd name="T60" fmla="*/ 2147483647 w 1476"/>
                <a:gd name="T61" fmla="*/ 2147483647 h 1464"/>
                <a:gd name="T62" fmla="*/ 2147483647 w 1476"/>
                <a:gd name="T63" fmla="*/ 2147483647 h 1464"/>
                <a:gd name="T64" fmla="*/ 2147483647 w 1476"/>
                <a:gd name="T65" fmla="*/ 2147483647 h 1464"/>
                <a:gd name="T66" fmla="*/ 2147483647 w 1476"/>
                <a:gd name="T67" fmla="*/ 2147483647 h 1464"/>
                <a:gd name="T68" fmla="*/ 2147483647 w 1476"/>
                <a:gd name="T69" fmla="*/ 2147483647 h 1464"/>
                <a:gd name="T70" fmla="*/ 2147483647 w 1476"/>
                <a:gd name="T71" fmla="*/ 2147483647 h 1464"/>
                <a:gd name="T72" fmla="*/ 2147483647 w 1476"/>
                <a:gd name="T73" fmla="*/ 2147483647 h 1464"/>
                <a:gd name="T74" fmla="*/ 2147483647 w 1476"/>
                <a:gd name="T75" fmla="*/ 2147483647 h 1464"/>
                <a:gd name="T76" fmla="*/ 2147483647 w 1476"/>
                <a:gd name="T77" fmla="*/ 2147483647 h 1464"/>
                <a:gd name="T78" fmla="*/ 2147483647 w 1476"/>
                <a:gd name="T79" fmla="*/ 2147483647 h 1464"/>
                <a:gd name="T80" fmla="*/ 2147483647 w 1476"/>
                <a:gd name="T81" fmla="*/ 2147483647 h 1464"/>
                <a:gd name="T82" fmla="*/ 2147483647 w 1476"/>
                <a:gd name="T83" fmla="*/ 2147483647 h 1464"/>
                <a:gd name="T84" fmla="*/ 2147483647 w 1476"/>
                <a:gd name="T85" fmla="*/ 2147483647 h 1464"/>
                <a:gd name="T86" fmla="*/ 2147483647 w 1476"/>
                <a:gd name="T87" fmla="*/ 2147483647 h 1464"/>
                <a:gd name="T88" fmla="*/ 2147483647 w 1476"/>
                <a:gd name="T89" fmla="*/ 2147483647 h 1464"/>
                <a:gd name="T90" fmla="*/ 2147483647 w 1476"/>
                <a:gd name="T91" fmla="*/ 2147483647 h 1464"/>
                <a:gd name="T92" fmla="*/ 2147483647 w 1476"/>
                <a:gd name="T93" fmla="*/ 2147483647 h 1464"/>
                <a:gd name="T94" fmla="*/ 2147483647 w 1476"/>
                <a:gd name="T95" fmla="*/ 2147483647 h 1464"/>
                <a:gd name="T96" fmla="*/ 2147483647 w 1476"/>
                <a:gd name="T97" fmla="*/ 2147483647 h 1464"/>
                <a:gd name="T98" fmla="*/ 2147483647 w 1476"/>
                <a:gd name="T99" fmla="*/ 2147483647 h 1464"/>
                <a:gd name="T100" fmla="*/ 2147483647 w 1476"/>
                <a:gd name="T101" fmla="*/ 2147483647 h 1464"/>
                <a:gd name="T102" fmla="*/ 2147483647 w 1476"/>
                <a:gd name="T103" fmla="*/ 2147483647 h 1464"/>
                <a:gd name="T104" fmla="*/ 2147483647 w 1476"/>
                <a:gd name="T105" fmla="*/ 2147483647 h 146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476"/>
                <a:gd name="T160" fmla="*/ 0 h 1464"/>
                <a:gd name="T161" fmla="*/ 1476 w 1476"/>
                <a:gd name="T162" fmla="*/ 1464 h 146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476" h="1464">
                  <a:moveTo>
                    <a:pt x="360" y="534"/>
                  </a:moveTo>
                  <a:lnTo>
                    <a:pt x="318" y="534"/>
                  </a:lnTo>
                  <a:lnTo>
                    <a:pt x="312" y="546"/>
                  </a:lnTo>
                  <a:lnTo>
                    <a:pt x="306" y="552"/>
                  </a:lnTo>
                  <a:lnTo>
                    <a:pt x="294" y="576"/>
                  </a:lnTo>
                  <a:lnTo>
                    <a:pt x="282" y="588"/>
                  </a:lnTo>
                  <a:lnTo>
                    <a:pt x="258" y="588"/>
                  </a:lnTo>
                  <a:lnTo>
                    <a:pt x="246" y="582"/>
                  </a:lnTo>
                  <a:lnTo>
                    <a:pt x="234" y="582"/>
                  </a:lnTo>
                  <a:lnTo>
                    <a:pt x="228" y="594"/>
                  </a:lnTo>
                  <a:lnTo>
                    <a:pt x="204" y="600"/>
                  </a:lnTo>
                  <a:lnTo>
                    <a:pt x="204" y="606"/>
                  </a:lnTo>
                  <a:lnTo>
                    <a:pt x="198" y="618"/>
                  </a:lnTo>
                  <a:lnTo>
                    <a:pt x="186" y="618"/>
                  </a:lnTo>
                  <a:lnTo>
                    <a:pt x="180" y="612"/>
                  </a:lnTo>
                  <a:lnTo>
                    <a:pt x="168" y="606"/>
                  </a:lnTo>
                  <a:lnTo>
                    <a:pt x="138" y="624"/>
                  </a:lnTo>
                  <a:lnTo>
                    <a:pt x="120" y="624"/>
                  </a:lnTo>
                  <a:lnTo>
                    <a:pt x="120" y="630"/>
                  </a:lnTo>
                  <a:lnTo>
                    <a:pt x="90" y="660"/>
                  </a:lnTo>
                  <a:lnTo>
                    <a:pt x="78" y="666"/>
                  </a:lnTo>
                  <a:lnTo>
                    <a:pt x="72" y="672"/>
                  </a:lnTo>
                  <a:lnTo>
                    <a:pt x="60" y="678"/>
                  </a:lnTo>
                  <a:lnTo>
                    <a:pt x="54" y="708"/>
                  </a:lnTo>
                  <a:lnTo>
                    <a:pt x="54" y="768"/>
                  </a:lnTo>
                  <a:lnTo>
                    <a:pt x="0" y="768"/>
                  </a:lnTo>
                  <a:lnTo>
                    <a:pt x="54" y="768"/>
                  </a:lnTo>
                  <a:lnTo>
                    <a:pt x="54" y="804"/>
                  </a:lnTo>
                  <a:lnTo>
                    <a:pt x="312" y="984"/>
                  </a:lnTo>
                  <a:lnTo>
                    <a:pt x="720" y="1296"/>
                  </a:lnTo>
                  <a:lnTo>
                    <a:pt x="720" y="1320"/>
                  </a:lnTo>
                  <a:lnTo>
                    <a:pt x="744" y="1320"/>
                  </a:lnTo>
                  <a:lnTo>
                    <a:pt x="750" y="1326"/>
                  </a:lnTo>
                  <a:lnTo>
                    <a:pt x="750" y="1344"/>
                  </a:lnTo>
                  <a:lnTo>
                    <a:pt x="762" y="1356"/>
                  </a:lnTo>
                  <a:lnTo>
                    <a:pt x="798" y="1356"/>
                  </a:lnTo>
                  <a:lnTo>
                    <a:pt x="804" y="1386"/>
                  </a:lnTo>
                  <a:lnTo>
                    <a:pt x="810" y="1386"/>
                  </a:lnTo>
                  <a:lnTo>
                    <a:pt x="816" y="1380"/>
                  </a:lnTo>
                  <a:lnTo>
                    <a:pt x="846" y="1380"/>
                  </a:lnTo>
                  <a:lnTo>
                    <a:pt x="858" y="1386"/>
                  </a:lnTo>
                  <a:lnTo>
                    <a:pt x="870" y="1410"/>
                  </a:lnTo>
                  <a:lnTo>
                    <a:pt x="870" y="1428"/>
                  </a:lnTo>
                  <a:lnTo>
                    <a:pt x="852" y="1446"/>
                  </a:lnTo>
                  <a:lnTo>
                    <a:pt x="852" y="1452"/>
                  </a:lnTo>
                  <a:lnTo>
                    <a:pt x="858" y="1458"/>
                  </a:lnTo>
                  <a:lnTo>
                    <a:pt x="870" y="1464"/>
                  </a:lnTo>
                  <a:lnTo>
                    <a:pt x="900" y="1464"/>
                  </a:lnTo>
                  <a:lnTo>
                    <a:pt x="906" y="1458"/>
                  </a:lnTo>
                  <a:lnTo>
                    <a:pt x="924" y="1458"/>
                  </a:lnTo>
                  <a:lnTo>
                    <a:pt x="954" y="1452"/>
                  </a:lnTo>
                  <a:lnTo>
                    <a:pt x="984" y="1440"/>
                  </a:lnTo>
                  <a:lnTo>
                    <a:pt x="1020" y="1434"/>
                  </a:lnTo>
                  <a:lnTo>
                    <a:pt x="1038" y="1434"/>
                  </a:lnTo>
                  <a:lnTo>
                    <a:pt x="1062" y="1416"/>
                  </a:lnTo>
                  <a:lnTo>
                    <a:pt x="1098" y="1386"/>
                  </a:lnTo>
                  <a:lnTo>
                    <a:pt x="1128" y="1350"/>
                  </a:lnTo>
                  <a:lnTo>
                    <a:pt x="1158" y="1326"/>
                  </a:lnTo>
                  <a:lnTo>
                    <a:pt x="1182" y="1314"/>
                  </a:lnTo>
                  <a:lnTo>
                    <a:pt x="1224" y="1284"/>
                  </a:lnTo>
                  <a:lnTo>
                    <a:pt x="1272" y="1248"/>
                  </a:lnTo>
                  <a:lnTo>
                    <a:pt x="1332" y="1206"/>
                  </a:lnTo>
                  <a:lnTo>
                    <a:pt x="1386" y="1170"/>
                  </a:lnTo>
                  <a:lnTo>
                    <a:pt x="1434" y="1134"/>
                  </a:lnTo>
                  <a:lnTo>
                    <a:pt x="1464" y="1110"/>
                  </a:lnTo>
                  <a:lnTo>
                    <a:pt x="1476" y="1104"/>
                  </a:lnTo>
                  <a:lnTo>
                    <a:pt x="1476" y="1098"/>
                  </a:lnTo>
                  <a:lnTo>
                    <a:pt x="1470" y="1092"/>
                  </a:lnTo>
                  <a:lnTo>
                    <a:pt x="1464" y="1080"/>
                  </a:lnTo>
                  <a:lnTo>
                    <a:pt x="1458" y="1062"/>
                  </a:lnTo>
                  <a:lnTo>
                    <a:pt x="1452" y="1050"/>
                  </a:lnTo>
                  <a:lnTo>
                    <a:pt x="1452" y="1044"/>
                  </a:lnTo>
                  <a:lnTo>
                    <a:pt x="1440" y="1032"/>
                  </a:lnTo>
                  <a:lnTo>
                    <a:pt x="1428" y="1032"/>
                  </a:lnTo>
                  <a:lnTo>
                    <a:pt x="1392" y="1014"/>
                  </a:lnTo>
                  <a:lnTo>
                    <a:pt x="1386" y="1014"/>
                  </a:lnTo>
                  <a:lnTo>
                    <a:pt x="1362" y="1026"/>
                  </a:lnTo>
                  <a:lnTo>
                    <a:pt x="1338" y="1002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26" y="942"/>
                  </a:lnTo>
                  <a:lnTo>
                    <a:pt x="1314" y="930"/>
                  </a:lnTo>
                  <a:lnTo>
                    <a:pt x="1308" y="912"/>
                  </a:lnTo>
                  <a:lnTo>
                    <a:pt x="1296" y="900"/>
                  </a:lnTo>
                  <a:lnTo>
                    <a:pt x="1290" y="888"/>
                  </a:lnTo>
                  <a:lnTo>
                    <a:pt x="1290" y="882"/>
                  </a:lnTo>
                  <a:lnTo>
                    <a:pt x="1296" y="876"/>
                  </a:lnTo>
                  <a:lnTo>
                    <a:pt x="1308" y="876"/>
                  </a:lnTo>
                  <a:lnTo>
                    <a:pt x="1320" y="870"/>
                  </a:lnTo>
                  <a:lnTo>
                    <a:pt x="1326" y="864"/>
                  </a:lnTo>
                  <a:lnTo>
                    <a:pt x="1332" y="852"/>
                  </a:lnTo>
                  <a:lnTo>
                    <a:pt x="1332" y="840"/>
                  </a:lnTo>
                  <a:lnTo>
                    <a:pt x="1326" y="834"/>
                  </a:lnTo>
                  <a:lnTo>
                    <a:pt x="1326" y="828"/>
                  </a:lnTo>
                  <a:lnTo>
                    <a:pt x="1320" y="774"/>
                  </a:lnTo>
                  <a:lnTo>
                    <a:pt x="1332" y="750"/>
                  </a:lnTo>
                  <a:lnTo>
                    <a:pt x="1326" y="732"/>
                  </a:lnTo>
                  <a:lnTo>
                    <a:pt x="1326" y="726"/>
                  </a:lnTo>
                  <a:lnTo>
                    <a:pt x="1332" y="720"/>
                  </a:lnTo>
                  <a:lnTo>
                    <a:pt x="1332" y="690"/>
                  </a:lnTo>
                  <a:lnTo>
                    <a:pt x="1338" y="678"/>
                  </a:lnTo>
                  <a:lnTo>
                    <a:pt x="1338" y="672"/>
                  </a:lnTo>
                  <a:lnTo>
                    <a:pt x="1326" y="648"/>
                  </a:lnTo>
                  <a:lnTo>
                    <a:pt x="1302" y="588"/>
                  </a:lnTo>
                  <a:lnTo>
                    <a:pt x="1290" y="570"/>
                  </a:lnTo>
                  <a:lnTo>
                    <a:pt x="1296" y="564"/>
                  </a:lnTo>
                  <a:lnTo>
                    <a:pt x="1308" y="558"/>
                  </a:lnTo>
                  <a:lnTo>
                    <a:pt x="1296" y="528"/>
                  </a:lnTo>
                  <a:lnTo>
                    <a:pt x="1284" y="480"/>
                  </a:lnTo>
                  <a:lnTo>
                    <a:pt x="1278" y="438"/>
                  </a:lnTo>
                  <a:lnTo>
                    <a:pt x="1272" y="414"/>
                  </a:lnTo>
                  <a:lnTo>
                    <a:pt x="1266" y="408"/>
                  </a:lnTo>
                  <a:lnTo>
                    <a:pt x="1260" y="396"/>
                  </a:lnTo>
                  <a:lnTo>
                    <a:pt x="1236" y="384"/>
                  </a:lnTo>
                  <a:lnTo>
                    <a:pt x="1230" y="378"/>
                  </a:lnTo>
                  <a:lnTo>
                    <a:pt x="1224" y="378"/>
                  </a:lnTo>
                  <a:lnTo>
                    <a:pt x="1224" y="336"/>
                  </a:lnTo>
                  <a:lnTo>
                    <a:pt x="1212" y="324"/>
                  </a:lnTo>
                  <a:lnTo>
                    <a:pt x="1194" y="318"/>
                  </a:lnTo>
                  <a:lnTo>
                    <a:pt x="1182" y="318"/>
                  </a:lnTo>
                  <a:lnTo>
                    <a:pt x="1182" y="288"/>
                  </a:lnTo>
                  <a:lnTo>
                    <a:pt x="1170" y="288"/>
                  </a:lnTo>
                  <a:lnTo>
                    <a:pt x="1170" y="246"/>
                  </a:lnTo>
                  <a:lnTo>
                    <a:pt x="1194" y="222"/>
                  </a:lnTo>
                  <a:lnTo>
                    <a:pt x="1218" y="204"/>
                  </a:lnTo>
                  <a:lnTo>
                    <a:pt x="1218" y="198"/>
                  </a:lnTo>
                  <a:lnTo>
                    <a:pt x="1224" y="192"/>
                  </a:lnTo>
                  <a:lnTo>
                    <a:pt x="1224" y="180"/>
                  </a:lnTo>
                  <a:lnTo>
                    <a:pt x="1230" y="168"/>
                  </a:lnTo>
                  <a:lnTo>
                    <a:pt x="1230" y="126"/>
                  </a:lnTo>
                  <a:lnTo>
                    <a:pt x="1224" y="114"/>
                  </a:lnTo>
                  <a:lnTo>
                    <a:pt x="1224" y="78"/>
                  </a:lnTo>
                  <a:lnTo>
                    <a:pt x="1230" y="66"/>
                  </a:lnTo>
                  <a:lnTo>
                    <a:pt x="1230" y="54"/>
                  </a:lnTo>
                  <a:lnTo>
                    <a:pt x="1212" y="48"/>
                  </a:lnTo>
                  <a:lnTo>
                    <a:pt x="1254" y="30"/>
                  </a:lnTo>
                  <a:lnTo>
                    <a:pt x="1254" y="18"/>
                  </a:lnTo>
                  <a:lnTo>
                    <a:pt x="1242" y="18"/>
                  </a:lnTo>
                  <a:lnTo>
                    <a:pt x="1236" y="12"/>
                  </a:lnTo>
                  <a:lnTo>
                    <a:pt x="1224" y="12"/>
                  </a:lnTo>
                  <a:lnTo>
                    <a:pt x="1206" y="24"/>
                  </a:lnTo>
                  <a:lnTo>
                    <a:pt x="1170" y="6"/>
                  </a:lnTo>
                  <a:lnTo>
                    <a:pt x="1152" y="6"/>
                  </a:lnTo>
                  <a:lnTo>
                    <a:pt x="1152" y="18"/>
                  </a:lnTo>
                  <a:lnTo>
                    <a:pt x="1116" y="18"/>
                  </a:lnTo>
                  <a:lnTo>
                    <a:pt x="1092" y="0"/>
                  </a:lnTo>
                  <a:lnTo>
                    <a:pt x="1086" y="30"/>
                  </a:lnTo>
                  <a:lnTo>
                    <a:pt x="1056" y="18"/>
                  </a:lnTo>
                  <a:lnTo>
                    <a:pt x="1026" y="42"/>
                  </a:lnTo>
                  <a:lnTo>
                    <a:pt x="1002" y="30"/>
                  </a:lnTo>
                  <a:lnTo>
                    <a:pt x="984" y="30"/>
                  </a:lnTo>
                  <a:lnTo>
                    <a:pt x="966" y="24"/>
                  </a:lnTo>
                  <a:lnTo>
                    <a:pt x="948" y="24"/>
                  </a:lnTo>
                  <a:lnTo>
                    <a:pt x="924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88" y="36"/>
                  </a:lnTo>
                  <a:lnTo>
                    <a:pt x="876" y="42"/>
                  </a:lnTo>
                  <a:lnTo>
                    <a:pt x="816" y="42"/>
                  </a:lnTo>
                  <a:lnTo>
                    <a:pt x="810" y="48"/>
                  </a:lnTo>
                  <a:lnTo>
                    <a:pt x="750" y="48"/>
                  </a:lnTo>
                  <a:lnTo>
                    <a:pt x="744" y="54"/>
                  </a:lnTo>
                  <a:lnTo>
                    <a:pt x="726" y="54"/>
                  </a:lnTo>
                  <a:lnTo>
                    <a:pt x="714" y="60"/>
                  </a:lnTo>
                  <a:lnTo>
                    <a:pt x="696" y="66"/>
                  </a:lnTo>
                  <a:lnTo>
                    <a:pt x="684" y="78"/>
                  </a:lnTo>
                  <a:lnTo>
                    <a:pt x="678" y="90"/>
                  </a:lnTo>
                  <a:lnTo>
                    <a:pt x="666" y="102"/>
                  </a:lnTo>
                  <a:lnTo>
                    <a:pt x="666" y="108"/>
                  </a:lnTo>
                  <a:lnTo>
                    <a:pt x="636" y="108"/>
                  </a:lnTo>
                  <a:lnTo>
                    <a:pt x="624" y="114"/>
                  </a:lnTo>
                  <a:lnTo>
                    <a:pt x="606" y="114"/>
                  </a:lnTo>
                  <a:lnTo>
                    <a:pt x="594" y="120"/>
                  </a:lnTo>
                  <a:lnTo>
                    <a:pt x="588" y="126"/>
                  </a:lnTo>
                  <a:lnTo>
                    <a:pt x="588" y="132"/>
                  </a:lnTo>
                  <a:lnTo>
                    <a:pt x="558" y="162"/>
                  </a:lnTo>
                  <a:lnTo>
                    <a:pt x="546" y="168"/>
                  </a:lnTo>
                  <a:lnTo>
                    <a:pt x="522" y="168"/>
                  </a:lnTo>
                  <a:lnTo>
                    <a:pt x="528" y="174"/>
                  </a:lnTo>
                  <a:lnTo>
                    <a:pt x="534" y="186"/>
                  </a:lnTo>
                  <a:lnTo>
                    <a:pt x="546" y="192"/>
                  </a:lnTo>
                  <a:lnTo>
                    <a:pt x="540" y="198"/>
                  </a:lnTo>
                  <a:lnTo>
                    <a:pt x="540" y="210"/>
                  </a:lnTo>
                  <a:lnTo>
                    <a:pt x="552" y="210"/>
                  </a:lnTo>
                  <a:lnTo>
                    <a:pt x="546" y="276"/>
                  </a:lnTo>
                  <a:lnTo>
                    <a:pt x="558" y="294"/>
                  </a:lnTo>
                  <a:lnTo>
                    <a:pt x="546" y="324"/>
                  </a:lnTo>
                  <a:lnTo>
                    <a:pt x="564" y="324"/>
                  </a:lnTo>
                  <a:lnTo>
                    <a:pt x="564" y="354"/>
                  </a:lnTo>
                  <a:lnTo>
                    <a:pt x="588" y="372"/>
                  </a:lnTo>
                  <a:lnTo>
                    <a:pt x="570" y="390"/>
                  </a:lnTo>
                  <a:lnTo>
                    <a:pt x="570" y="402"/>
                  </a:lnTo>
                  <a:lnTo>
                    <a:pt x="516" y="408"/>
                  </a:lnTo>
                  <a:lnTo>
                    <a:pt x="504" y="402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80" y="414"/>
                  </a:lnTo>
                  <a:lnTo>
                    <a:pt x="474" y="408"/>
                  </a:lnTo>
                  <a:lnTo>
                    <a:pt x="462" y="408"/>
                  </a:lnTo>
                  <a:lnTo>
                    <a:pt x="462" y="414"/>
                  </a:lnTo>
                  <a:lnTo>
                    <a:pt x="456" y="420"/>
                  </a:lnTo>
                  <a:lnTo>
                    <a:pt x="456" y="432"/>
                  </a:lnTo>
                  <a:lnTo>
                    <a:pt x="432" y="432"/>
                  </a:lnTo>
                  <a:lnTo>
                    <a:pt x="420" y="438"/>
                  </a:lnTo>
                  <a:lnTo>
                    <a:pt x="396" y="438"/>
                  </a:lnTo>
                  <a:lnTo>
                    <a:pt x="390" y="444"/>
                  </a:lnTo>
                  <a:lnTo>
                    <a:pt x="390" y="456"/>
                  </a:lnTo>
                  <a:lnTo>
                    <a:pt x="396" y="462"/>
                  </a:lnTo>
                  <a:lnTo>
                    <a:pt x="402" y="474"/>
                  </a:lnTo>
                  <a:lnTo>
                    <a:pt x="414" y="492"/>
                  </a:lnTo>
                  <a:lnTo>
                    <a:pt x="390" y="504"/>
                  </a:lnTo>
                  <a:lnTo>
                    <a:pt x="390" y="510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close/>
                </a:path>
              </a:pathLst>
            </a:custGeom>
            <a:solidFill>
              <a:srgbClr val="E2583D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185" name="Albania" descr="© INSCALE GmbH, 05.05.2010&#10;http://www.presentationload.com/"/>
            <p:cNvSpPr>
              <a:spLocks/>
            </p:cNvSpPr>
            <p:nvPr/>
          </p:nvSpPr>
          <p:spPr bwMode="gray">
            <a:xfrm>
              <a:off x="4886808" y="3238228"/>
              <a:ext cx="46075" cy="75937"/>
            </a:xfrm>
            <a:custGeom>
              <a:avLst/>
              <a:gdLst>
                <a:gd name="T0" fmla="*/ 2147483647 w 144"/>
                <a:gd name="T1" fmla="*/ 2147483647 h 246"/>
                <a:gd name="T2" fmla="*/ 2147483647 w 144"/>
                <a:gd name="T3" fmla="*/ 2147483647 h 246"/>
                <a:gd name="T4" fmla="*/ 2147483647 w 144"/>
                <a:gd name="T5" fmla="*/ 2147483647 h 246"/>
                <a:gd name="T6" fmla="*/ 2147483647 w 144"/>
                <a:gd name="T7" fmla="*/ 2147483647 h 246"/>
                <a:gd name="T8" fmla="*/ 2147483647 w 144"/>
                <a:gd name="T9" fmla="*/ 2147483647 h 246"/>
                <a:gd name="T10" fmla="*/ 2147483647 w 144"/>
                <a:gd name="T11" fmla="*/ 2147483647 h 246"/>
                <a:gd name="T12" fmla="*/ 2147483647 w 144"/>
                <a:gd name="T13" fmla="*/ 2147483647 h 246"/>
                <a:gd name="T14" fmla="*/ 2147483647 w 144"/>
                <a:gd name="T15" fmla="*/ 2147483647 h 246"/>
                <a:gd name="T16" fmla="*/ 2147483647 w 144"/>
                <a:gd name="T17" fmla="*/ 2147483647 h 246"/>
                <a:gd name="T18" fmla="*/ 2147483647 w 144"/>
                <a:gd name="T19" fmla="*/ 2147483647 h 246"/>
                <a:gd name="T20" fmla="*/ 2147483647 w 144"/>
                <a:gd name="T21" fmla="*/ 2147483647 h 246"/>
                <a:gd name="T22" fmla="*/ 2147483647 w 144"/>
                <a:gd name="T23" fmla="*/ 2147483647 h 246"/>
                <a:gd name="T24" fmla="*/ 2147483647 w 144"/>
                <a:gd name="T25" fmla="*/ 2147483647 h 246"/>
                <a:gd name="T26" fmla="*/ 2147483647 w 144"/>
                <a:gd name="T27" fmla="*/ 2147483647 h 246"/>
                <a:gd name="T28" fmla="*/ 2147483647 w 144"/>
                <a:gd name="T29" fmla="*/ 2147483647 h 246"/>
                <a:gd name="T30" fmla="*/ 2147483647 w 144"/>
                <a:gd name="T31" fmla="*/ 2147483647 h 246"/>
                <a:gd name="T32" fmla="*/ 2147483647 w 144"/>
                <a:gd name="T33" fmla="*/ 2147483647 h 246"/>
                <a:gd name="T34" fmla="*/ 2147483647 w 144"/>
                <a:gd name="T35" fmla="*/ 2147483647 h 246"/>
                <a:gd name="T36" fmla="*/ 2147483647 w 144"/>
                <a:gd name="T37" fmla="*/ 2147483647 h 246"/>
                <a:gd name="T38" fmla="*/ 2147483647 w 144"/>
                <a:gd name="T39" fmla="*/ 0 h 246"/>
                <a:gd name="T40" fmla="*/ 2147483647 w 144"/>
                <a:gd name="T41" fmla="*/ 2147483647 h 246"/>
                <a:gd name="T42" fmla="*/ 2147483647 w 144"/>
                <a:gd name="T43" fmla="*/ 2147483647 h 246"/>
                <a:gd name="T44" fmla="*/ 0 w 144"/>
                <a:gd name="T45" fmla="*/ 2147483647 h 246"/>
                <a:gd name="T46" fmla="*/ 2147483647 w 144"/>
                <a:gd name="T47" fmla="*/ 2147483647 h 246"/>
                <a:gd name="T48" fmla="*/ 2147483647 w 144"/>
                <a:gd name="T49" fmla="*/ 2147483647 h 246"/>
                <a:gd name="T50" fmla="*/ 2147483647 w 144"/>
                <a:gd name="T51" fmla="*/ 2147483647 h 246"/>
                <a:gd name="T52" fmla="*/ 2147483647 w 144"/>
                <a:gd name="T53" fmla="*/ 2147483647 h 246"/>
                <a:gd name="T54" fmla="*/ 2147483647 w 144"/>
                <a:gd name="T55" fmla="*/ 2147483647 h 246"/>
                <a:gd name="T56" fmla="*/ 2147483647 w 144"/>
                <a:gd name="T57" fmla="*/ 2147483647 h 246"/>
                <a:gd name="T58" fmla="*/ 2147483647 w 144"/>
                <a:gd name="T59" fmla="*/ 2147483647 h 246"/>
                <a:gd name="T60" fmla="*/ 2147483647 w 144"/>
                <a:gd name="T61" fmla="*/ 2147483647 h 246"/>
                <a:gd name="T62" fmla="*/ 2147483647 w 144"/>
                <a:gd name="T63" fmla="*/ 2147483647 h 246"/>
                <a:gd name="T64" fmla="*/ 2147483647 w 144"/>
                <a:gd name="T65" fmla="*/ 2147483647 h 246"/>
                <a:gd name="T66" fmla="*/ 2147483647 w 144"/>
                <a:gd name="T67" fmla="*/ 2147483647 h 246"/>
                <a:gd name="T68" fmla="*/ 2147483647 w 144"/>
                <a:gd name="T69" fmla="*/ 2147483647 h 246"/>
                <a:gd name="T70" fmla="*/ 2147483647 w 144"/>
                <a:gd name="T71" fmla="*/ 2147483647 h 246"/>
                <a:gd name="T72" fmla="*/ 2147483647 w 144"/>
                <a:gd name="T73" fmla="*/ 2147483647 h 246"/>
                <a:gd name="T74" fmla="*/ 2147483647 w 144"/>
                <a:gd name="T75" fmla="*/ 2147483647 h 246"/>
                <a:gd name="T76" fmla="*/ 2147483647 w 144"/>
                <a:gd name="T77" fmla="*/ 2147483647 h 246"/>
                <a:gd name="T78" fmla="*/ 2147483647 w 144"/>
                <a:gd name="T79" fmla="*/ 2147483647 h 246"/>
                <a:gd name="T80" fmla="*/ 2147483647 w 144"/>
                <a:gd name="T81" fmla="*/ 2147483647 h 246"/>
                <a:gd name="T82" fmla="*/ 2147483647 w 144"/>
                <a:gd name="T83" fmla="*/ 2147483647 h 246"/>
                <a:gd name="T84" fmla="*/ 2147483647 w 144"/>
                <a:gd name="T85" fmla="*/ 2147483647 h 246"/>
                <a:gd name="T86" fmla="*/ 2147483647 w 144"/>
                <a:gd name="T87" fmla="*/ 2147483647 h 246"/>
                <a:gd name="T88" fmla="*/ 2147483647 w 144"/>
                <a:gd name="T89" fmla="*/ 2147483647 h 24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44"/>
                <a:gd name="T136" fmla="*/ 0 h 246"/>
                <a:gd name="T137" fmla="*/ 144 w 144"/>
                <a:gd name="T138" fmla="*/ 246 h 24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44" h="246">
                  <a:moveTo>
                    <a:pt x="96" y="210"/>
                  </a:moveTo>
                  <a:lnTo>
                    <a:pt x="96" y="204"/>
                  </a:lnTo>
                  <a:lnTo>
                    <a:pt x="108" y="204"/>
                  </a:lnTo>
                  <a:lnTo>
                    <a:pt x="120" y="198"/>
                  </a:lnTo>
                  <a:lnTo>
                    <a:pt x="120" y="174"/>
                  </a:lnTo>
                  <a:lnTo>
                    <a:pt x="138" y="174"/>
                  </a:lnTo>
                  <a:lnTo>
                    <a:pt x="144" y="168"/>
                  </a:lnTo>
                  <a:lnTo>
                    <a:pt x="144" y="138"/>
                  </a:lnTo>
                  <a:lnTo>
                    <a:pt x="120" y="144"/>
                  </a:lnTo>
                  <a:lnTo>
                    <a:pt x="120" y="126"/>
                  </a:lnTo>
                  <a:lnTo>
                    <a:pt x="114" y="126"/>
                  </a:lnTo>
                  <a:lnTo>
                    <a:pt x="108" y="120"/>
                  </a:lnTo>
                  <a:lnTo>
                    <a:pt x="108" y="96"/>
                  </a:lnTo>
                  <a:lnTo>
                    <a:pt x="102" y="84"/>
                  </a:lnTo>
                  <a:lnTo>
                    <a:pt x="102" y="42"/>
                  </a:lnTo>
                  <a:lnTo>
                    <a:pt x="96" y="24"/>
                  </a:lnTo>
                  <a:lnTo>
                    <a:pt x="84" y="24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36" y="0"/>
                  </a:lnTo>
                  <a:lnTo>
                    <a:pt x="36" y="18"/>
                  </a:lnTo>
                  <a:lnTo>
                    <a:pt x="24" y="24"/>
                  </a:lnTo>
                  <a:lnTo>
                    <a:pt x="0" y="24"/>
                  </a:lnTo>
                  <a:lnTo>
                    <a:pt x="18" y="36"/>
                  </a:lnTo>
                  <a:lnTo>
                    <a:pt x="24" y="30"/>
                  </a:lnTo>
                  <a:lnTo>
                    <a:pt x="30" y="48"/>
                  </a:lnTo>
                  <a:lnTo>
                    <a:pt x="18" y="60"/>
                  </a:lnTo>
                  <a:lnTo>
                    <a:pt x="24" y="66"/>
                  </a:lnTo>
                  <a:lnTo>
                    <a:pt x="48" y="66"/>
                  </a:lnTo>
                  <a:lnTo>
                    <a:pt x="48" y="84"/>
                  </a:lnTo>
                  <a:lnTo>
                    <a:pt x="42" y="96"/>
                  </a:lnTo>
                  <a:lnTo>
                    <a:pt x="42" y="114"/>
                  </a:lnTo>
                  <a:lnTo>
                    <a:pt x="36" y="132"/>
                  </a:lnTo>
                  <a:lnTo>
                    <a:pt x="36" y="156"/>
                  </a:lnTo>
                  <a:lnTo>
                    <a:pt x="24" y="180"/>
                  </a:lnTo>
                  <a:lnTo>
                    <a:pt x="24" y="186"/>
                  </a:lnTo>
                  <a:lnTo>
                    <a:pt x="42" y="204"/>
                  </a:lnTo>
                  <a:lnTo>
                    <a:pt x="54" y="210"/>
                  </a:lnTo>
                  <a:lnTo>
                    <a:pt x="60" y="216"/>
                  </a:lnTo>
                  <a:lnTo>
                    <a:pt x="60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90" y="246"/>
                  </a:lnTo>
                  <a:lnTo>
                    <a:pt x="96" y="246"/>
                  </a:lnTo>
                  <a:lnTo>
                    <a:pt x="96" y="21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186" name="South Africa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4842013" y="4859849"/>
              <a:ext cx="367315" cy="317220"/>
            </a:xfrm>
            <a:custGeom>
              <a:avLst/>
              <a:gdLst>
                <a:gd name="T0" fmla="*/ 2147483647 w 1134"/>
                <a:gd name="T1" fmla="*/ 2147483647 h 1020"/>
                <a:gd name="T2" fmla="*/ 2147483647 w 1134"/>
                <a:gd name="T3" fmla="*/ 2147483647 h 1020"/>
                <a:gd name="T4" fmla="*/ 2147483647 w 1134"/>
                <a:gd name="T5" fmla="*/ 2147483647 h 1020"/>
                <a:gd name="T6" fmla="*/ 2147483647 w 1134"/>
                <a:gd name="T7" fmla="*/ 2147483647 h 1020"/>
                <a:gd name="T8" fmla="*/ 2147483647 w 1134"/>
                <a:gd name="T9" fmla="*/ 2147483647 h 1020"/>
                <a:gd name="T10" fmla="*/ 2147483647 w 1134"/>
                <a:gd name="T11" fmla="*/ 2147483647 h 1020"/>
                <a:gd name="T12" fmla="*/ 2147483647 w 1134"/>
                <a:gd name="T13" fmla="*/ 2147483647 h 1020"/>
                <a:gd name="T14" fmla="*/ 2147483647 w 1134"/>
                <a:gd name="T15" fmla="*/ 2147483647 h 1020"/>
                <a:gd name="T16" fmla="*/ 2147483647 w 1134"/>
                <a:gd name="T17" fmla="*/ 2147483647 h 1020"/>
                <a:gd name="T18" fmla="*/ 2147483647 w 1134"/>
                <a:gd name="T19" fmla="*/ 2147483647 h 1020"/>
                <a:gd name="T20" fmla="*/ 2147483647 w 1134"/>
                <a:gd name="T21" fmla="*/ 2147483647 h 1020"/>
                <a:gd name="T22" fmla="*/ 2147483647 w 1134"/>
                <a:gd name="T23" fmla="*/ 2147483647 h 1020"/>
                <a:gd name="T24" fmla="*/ 2147483647 w 1134"/>
                <a:gd name="T25" fmla="*/ 2147483647 h 1020"/>
                <a:gd name="T26" fmla="*/ 2147483647 w 1134"/>
                <a:gd name="T27" fmla="*/ 2147483647 h 1020"/>
                <a:gd name="T28" fmla="*/ 2147483647 w 1134"/>
                <a:gd name="T29" fmla="*/ 2147483647 h 1020"/>
                <a:gd name="T30" fmla="*/ 2147483647 w 1134"/>
                <a:gd name="T31" fmla="*/ 2147483647 h 1020"/>
                <a:gd name="T32" fmla="*/ 2147483647 w 1134"/>
                <a:gd name="T33" fmla="*/ 2147483647 h 1020"/>
                <a:gd name="T34" fmla="*/ 2147483647 w 1134"/>
                <a:gd name="T35" fmla="*/ 2147483647 h 1020"/>
                <a:gd name="T36" fmla="*/ 2147483647 w 1134"/>
                <a:gd name="T37" fmla="*/ 2147483647 h 1020"/>
                <a:gd name="T38" fmla="*/ 2147483647 w 1134"/>
                <a:gd name="T39" fmla="*/ 2147483647 h 1020"/>
                <a:gd name="T40" fmla="*/ 2147483647 w 1134"/>
                <a:gd name="T41" fmla="*/ 2147483647 h 1020"/>
                <a:gd name="T42" fmla="*/ 2147483647 w 1134"/>
                <a:gd name="T43" fmla="*/ 2147483647 h 1020"/>
                <a:gd name="T44" fmla="*/ 2147483647 w 1134"/>
                <a:gd name="T45" fmla="*/ 2147483647 h 1020"/>
                <a:gd name="T46" fmla="*/ 2147483647 w 1134"/>
                <a:gd name="T47" fmla="*/ 2147483647 h 1020"/>
                <a:gd name="T48" fmla="*/ 2147483647 w 1134"/>
                <a:gd name="T49" fmla="*/ 2147483647 h 1020"/>
                <a:gd name="T50" fmla="*/ 2147483647 w 1134"/>
                <a:gd name="T51" fmla="*/ 2147483647 h 1020"/>
                <a:gd name="T52" fmla="*/ 2147483647 w 1134"/>
                <a:gd name="T53" fmla="*/ 2147483647 h 1020"/>
                <a:gd name="T54" fmla="*/ 2147483647 w 1134"/>
                <a:gd name="T55" fmla="*/ 2147483647 h 1020"/>
                <a:gd name="T56" fmla="*/ 2147483647 w 1134"/>
                <a:gd name="T57" fmla="*/ 2147483647 h 1020"/>
                <a:gd name="T58" fmla="*/ 2147483647 w 1134"/>
                <a:gd name="T59" fmla="*/ 2147483647 h 1020"/>
                <a:gd name="T60" fmla="*/ 2147483647 w 1134"/>
                <a:gd name="T61" fmla="*/ 2147483647 h 1020"/>
                <a:gd name="T62" fmla="*/ 0 w 1134"/>
                <a:gd name="T63" fmla="*/ 2147483647 h 1020"/>
                <a:gd name="T64" fmla="*/ 2147483647 w 1134"/>
                <a:gd name="T65" fmla="*/ 2147483647 h 1020"/>
                <a:gd name="T66" fmla="*/ 2147483647 w 1134"/>
                <a:gd name="T67" fmla="*/ 2147483647 h 1020"/>
                <a:gd name="T68" fmla="*/ 2147483647 w 1134"/>
                <a:gd name="T69" fmla="*/ 2147483647 h 1020"/>
                <a:gd name="T70" fmla="*/ 2147483647 w 1134"/>
                <a:gd name="T71" fmla="*/ 2147483647 h 1020"/>
                <a:gd name="T72" fmla="*/ 2147483647 w 1134"/>
                <a:gd name="T73" fmla="*/ 2147483647 h 1020"/>
                <a:gd name="T74" fmla="*/ 2147483647 w 1134"/>
                <a:gd name="T75" fmla="*/ 2147483647 h 1020"/>
                <a:gd name="T76" fmla="*/ 2147483647 w 1134"/>
                <a:gd name="T77" fmla="*/ 2147483647 h 1020"/>
                <a:gd name="T78" fmla="*/ 2147483647 w 1134"/>
                <a:gd name="T79" fmla="*/ 2147483647 h 1020"/>
                <a:gd name="T80" fmla="*/ 2147483647 w 1134"/>
                <a:gd name="T81" fmla="*/ 2147483647 h 1020"/>
                <a:gd name="T82" fmla="*/ 2147483647 w 1134"/>
                <a:gd name="T83" fmla="*/ 2147483647 h 1020"/>
                <a:gd name="T84" fmla="*/ 2147483647 w 1134"/>
                <a:gd name="T85" fmla="*/ 2147483647 h 1020"/>
                <a:gd name="T86" fmla="*/ 2147483647 w 1134"/>
                <a:gd name="T87" fmla="*/ 2147483647 h 1020"/>
                <a:gd name="T88" fmla="*/ 2147483647 w 1134"/>
                <a:gd name="T89" fmla="*/ 2147483647 h 1020"/>
                <a:gd name="T90" fmla="*/ 2147483647 w 1134"/>
                <a:gd name="T91" fmla="*/ 2147483647 h 1020"/>
                <a:gd name="T92" fmla="*/ 2147483647 w 1134"/>
                <a:gd name="T93" fmla="*/ 2147483647 h 1020"/>
                <a:gd name="T94" fmla="*/ 2147483647 w 1134"/>
                <a:gd name="T95" fmla="*/ 2147483647 h 1020"/>
                <a:gd name="T96" fmla="*/ 2147483647 w 1134"/>
                <a:gd name="T97" fmla="*/ 2147483647 h 1020"/>
                <a:gd name="T98" fmla="*/ 2147483647 w 1134"/>
                <a:gd name="T99" fmla="*/ 2147483647 h 1020"/>
                <a:gd name="T100" fmla="*/ 2147483647 w 1134"/>
                <a:gd name="T101" fmla="*/ 2147483647 h 1020"/>
                <a:gd name="T102" fmla="*/ 2147483647 w 1134"/>
                <a:gd name="T103" fmla="*/ 2147483647 h 1020"/>
                <a:gd name="T104" fmla="*/ 2147483647 w 1134"/>
                <a:gd name="T105" fmla="*/ 2147483647 h 1020"/>
                <a:gd name="T106" fmla="*/ 2147483647 w 1134"/>
                <a:gd name="T107" fmla="*/ 2147483647 h 1020"/>
                <a:gd name="T108" fmla="*/ 2147483647 w 1134"/>
                <a:gd name="T109" fmla="*/ 2147483647 h 1020"/>
                <a:gd name="T110" fmla="*/ 2147483647 w 1134"/>
                <a:gd name="T111" fmla="*/ 2147483647 h 1020"/>
                <a:gd name="T112" fmla="*/ 2147483647 w 1134"/>
                <a:gd name="T113" fmla="*/ 2147483647 h 1020"/>
                <a:gd name="T114" fmla="*/ 2147483647 w 1134"/>
                <a:gd name="T115" fmla="*/ 2147483647 h 1020"/>
                <a:gd name="T116" fmla="*/ 2147483647 w 1134"/>
                <a:gd name="T117" fmla="*/ 2147483647 h 1020"/>
                <a:gd name="T118" fmla="*/ 2147483647 w 1134"/>
                <a:gd name="T119" fmla="*/ 2147483647 h 1020"/>
                <a:gd name="T120" fmla="*/ 2147483647 w 1134"/>
                <a:gd name="T121" fmla="*/ 2147483647 h 1020"/>
                <a:gd name="T122" fmla="*/ 2147483647 w 1134"/>
                <a:gd name="T123" fmla="*/ 2147483647 h 1020"/>
                <a:gd name="T124" fmla="*/ 2147483647 w 1134"/>
                <a:gd name="T125" fmla="*/ 2147483647 h 102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134"/>
                <a:gd name="T190" fmla="*/ 0 h 1020"/>
                <a:gd name="T191" fmla="*/ 1134 w 1134"/>
                <a:gd name="T192" fmla="*/ 1020 h 102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134" h="1020">
                  <a:moveTo>
                    <a:pt x="1116" y="372"/>
                  </a:moveTo>
                  <a:lnTo>
                    <a:pt x="1098" y="372"/>
                  </a:lnTo>
                  <a:lnTo>
                    <a:pt x="1092" y="378"/>
                  </a:lnTo>
                  <a:lnTo>
                    <a:pt x="1086" y="378"/>
                  </a:lnTo>
                  <a:lnTo>
                    <a:pt x="1074" y="420"/>
                  </a:lnTo>
                  <a:lnTo>
                    <a:pt x="1062" y="420"/>
                  </a:lnTo>
                  <a:lnTo>
                    <a:pt x="1050" y="414"/>
                  </a:lnTo>
                  <a:lnTo>
                    <a:pt x="1032" y="414"/>
                  </a:lnTo>
                  <a:lnTo>
                    <a:pt x="1020" y="402"/>
                  </a:lnTo>
                  <a:lnTo>
                    <a:pt x="1008" y="396"/>
                  </a:lnTo>
                  <a:lnTo>
                    <a:pt x="996" y="372"/>
                  </a:lnTo>
                  <a:lnTo>
                    <a:pt x="996" y="348"/>
                  </a:lnTo>
                  <a:lnTo>
                    <a:pt x="1002" y="336"/>
                  </a:lnTo>
                  <a:lnTo>
                    <a:pt x="1014" y="324"/>
                  </a:lnTo>
                  <a:lnTo>
                    <a:pt x="1014" y="312"/>
                  </a:lnTo>
                  <a:lnTo>
                    <a:pt x="1020" y="300"/>
                  </a:lnTo>
                  <a:lnTo>
                    <a:pt x="1032" y="288"/>
                  </a:lnTo>
                  <a:lnTo>
                    <a:pt x="1038" y="288"/>
                  </a:lnTo>
                  <a:lnTo>
                    <a:pt x="1050" y="294"/>
                  </a:lnTo>
                  <a:lnTo>
                    <a:pt x="1062" y="306"/>
                  </a:lnTo>
                  <a:lnTo>
                    <a:pt x="1086" y="270"/>
                  </a:lnTo>
                  <a:lnTo>
                    <a:pt x="1086" y="180"/>
                  </a:lnTo>
                  <a:lnTo>
                    <a:pt x="1056" y="120"/>
                  </a:lnTo>
                  <a:lnTo>
                    <a:pt x="1056" y="102"/>
                  </a:lnTo>
                  <a:lnTo>
                    <a:pt x="1050" y="90"/>
                  </a:lnTo>
                  <a:lnTo>
                    <a:pt x="1050" y="72"/>
                  </a:lnTo>
                  <a:lnTo>
                    <a:pt x="1044" y="54"/>
                  </a:lnTo>
                  <a:lnTo>
                    <a:pt x="1044" y="24"/>
                  </a:lnTo>
                  <a:lnTo>
                    <a:pt x="1026" y="12"/>
                  </a:lnTo>
                  <a:lnTo>
                    <a:pt x="966" y="12"/>
                  </a:lnTo>
                  <a:lnTo>
                    <a:pt x="954" y="6"/>
                  </a:lnTo>
                  <a:lnTo>
                    <a:pt x="948" y="6"/>
                  </a:lnTo>
                  <a:lnTo>
                    <a:pt x="936" y="0"/>
                  </a:lnTo>
                  <a:lnTo>
                    <a:pt x="876" y="0"/>
                  </a:lnTo>
                  <a:lnTo>
                    <a:pt x="864" y="24"/>
                  </a:lnTo>
                  <a:lnTo>
                    <a:pt x="852" y="24"/>
                  </a:lnTo>
                  <a:lnTo>
                    <a:pt x="840" y="30"/>
                  </a:lnTo>
                  <a:lnTo>
                    <a:pt x="828" y="30"/>
                  </a:lnTo>
                  <a:lnTo>
                    <a:pt x="822" y="36"/>
                  </a:lnTo>
                  <a:lnTo>
                    <a:pt x="810" y="60"/>
                  </a:lnTo>
                  <a:lnTo>
                    <a:pt x="768" y="102"/>
                  </a:lnTo>
                  <a:lnTo>
                    <a:pt x="756" y="108"/>
                  </a:lnTo>
                  <a:lnTo>
                    <a:pt x="750" y="108"/>
                  </a:lnTo>
                  <a:lnTo>
                    <a:pt x="738" y="114"/>
                  </a:lnTo>
                  <a:lnTo>
                    <a:pt x="726" y="138"/>
                  </a:lnTo>
                  <a:lnTo>
                    <a:pt x="726" y="174"/>
                  </a:lnTo>
                  <a:lnTo>
                    <a:pt x="714" y="180"/>
                  </a:lnTo>
                  <a:lnTo>
                    <a:pt x="708" y="192"/>
                  </a:lnTo>
                  <a:lnTo>
                    <a:pt x="702" y="198"/>
                  </a:lnTo>
                  <a:lnTo>
                    <a:pt x="690" y="204"/>
                  </a:lnTo>
                  <a:lnTo>
                    <a:pt x="672" y="210"/>
                  </a:lnTo>
                  <a:lnTo>
                    <a:pt x="654" y="228"/>
                  </a:lnTo>
                  <a:lnTo>
                    <a:pt x="654" y="240"/>
                  </a:lnTo>
                  <a:lnTo>
                    <a:pt x="648" y="252"/>
                  </a:lnTo>
                  <a:lnTo>
                    <a:pt x="642" y="270"/>
                  </a:lnTo>
                  <a:lnTo>
                    <a:pt x="636" y="282"/>
                  </a:lnTo>
                  <a:lnTo>
                    <a:pt x="630" y="288"/>
                  </a:lnTo>
                  <a:lnTo>
                    <a:pt x="618" y="294"/>
                  </a:lnTo>
                  <a:lnTo>
                    <a:pt x="606" y="294"/>
                  </a:lnTo>
                  <a:lnTo>
                    <a:pt x="600" y="288"/>
                  </a:lnTo>
                  <a:lnTo>
                    <a:pt x="594" y="294"/>
                  </a:lnTo>
                  <a:lnTo>
                    <a:pt x="582" y="300"/>
                  </a:lnTo>
                  <a:lnTo>
                    <a:pt x="570" y="300"/>
                  </a:lnTo>
                  <a:lnTo>
                    <a:pt x="564" y="294"/>
                  </a:lnTo>
                  <a:lnTo>
                    <a:pt x="552" y="288"/>
                  </a:lnTo>
                  <a:lnTo>
                    <a:pt x="546" y="282"/>
                  </a:lnTo>
                  <a:lnTo>
                    <a:pt x="516" y="282"/>
                  </a:lnTo>
                  <a:lnTo>
                    <a:pt x="504" y="270"/>
                  </a:lnTo>
                  <a:lnTo>
                    <a:pt x="492" y="264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2" y="252"/>
                  </a:lnTo>
                  <a:lnTo>
                    <a:pt x="450" y="258"/>
                  </a:lnTo>
                  <a:lnTo>
                    <a:pt x="444" y="264"/>
                  </a:lnTo>
                  <a:lnTo>
                    <a:pt x="438" y="276"/>
                  </a:lnTo>
                  <a:lnTo>
                    <a:pt x="438" y="288"/>
                  </a:lnTo>
                  <a:lnTo>
                    <a:pt x="432" y="300"/>
                  </a:lnTo>
                  <a:lnTo>
                    <a:pt x="432" y="324"/>
                  </a:lnTo>
                  <a:lnTo>
                    <a:pt x="420" y="324"/>
                  </a:lnTo>
                  <a:lnTo>
                    <a:pt x="414" y="330"/>
                  </a:lnTo>
                  <a:lnTo>
                    <a:pt x="408" y="330"/>
                  </a:lnTo>
                  <a:lnTo>
                    <a:pt x="402" y="336"/>
                  </a:lnTo>
                  <a:lnTo>
                    <a:pt x="396" y="348"/>
                  </a:lnTo>
                  <a:lnTo>
                    <a:pt x="390" y="354"/>
                  </a:lnTo>
                  <a:lnTo>
                    <a:pt x="390" y="360"/>
                  </a:lnTo>
                  <a:lnTo>
                    <a:pt x="366" y="360"/>
                  </a:lnTo>
                  <a:lnTo>
                    <a:pt x="366" y="378"/>
                  </a:lnTo>
                  <a:lnTo>
                    <a:pt x="288" y="378"/>
                  </a:lnTo>
                  <a:lnTo>
                    <a:pt x="288" y="348"/>
                  </a:lnTo>
                  <a:lnTo>
                    <a:pt x="294" y="336"/>
                  </a:lnTo>
                  <a:lnTo>
                    <a:pt x="294" y="330"/>
                  </a:lnTo>
                  <a:lnTo>
                    <a:pt x="300" y="318"/>
                  </a:lnTo>
                  <a:lnTo>
                    <a:pt x="300" y="294"/>
                  </a:lnTo>
                  <a:lnTo>
                    <a:pt x="294" y="288"/>
                  </a:lnTo>
                  <a:lnTo>
                    <a:pt x="294" y="270"/>
                  </a:lnTo>
                  <a:lnTo>
                    <a:pt x="288" y="258"/>
                  </a:lnTo>
                  <a:lnTo>
                    <a:pt x="282" y="240"/>
                  </a:lnTo>
                  <a:lnTo>
                    <a:pt x="276" y="234"/>
                  </a:lnTo>
                  <a:lnTo>
                    <a:pt x="264" y="228"/>
                  </a:lnTo>
                  <a:lnTo>
                    <a:pt x="258" y="222"/>
                  </a:lnTo>
                  <a:lnTo>
                    <a:pt x="246" y="216"/>
                  </a:lnTo>
                  <a:lnTo>
                    <a:pt x="240" y="510"/>
                  </a:lnTo>
                  <a:lnTo>
                    <a:pt x="222" y="510"/>
                  </a:lnTo>
                  <a:lnTo>
                    <a:pt x="210" y="516"/>
                  </a:lnTo>
                  <a:lnTo>
                    <a:pt x="204" y="522"/>
                  </a:lnTo>
                  <a:lnTo>
                    <a:pt x="204" y="528"/>
                  </a:lnTo>
                  <a:lnTo>
                    <a:pt x="192" y="528"/>
                  </a:lnTo>
                  <a:lnTo>
                    <a:pt x="192" y="552"/>
                  </a:lnTo>
                  <a:lnTo>
                    <a:pt x="168" y="552"/>
                  </a:lnTo>
                  <a:lnTo>
                    <a:pt x="156" y="540"/>
                  </a:lnTo>
                  <a:lnTo>
                    <a:pt x="144" y="540"/>
                  </a:lnTo>
                  <a:lnTo>
                    <a:pt x="132" y="552"/>
                  </a:lnTo>
                  <a:lnTo>
                    <a:pt x="108" y="552"/>
                  </a:lnTo>
                  <a:lnTo>
                    <a:pt x="102" y="546"/>
                  </a:lnTo>
                  <a:lnTo>
                    <a:pt x="102" y="540"/>
                  </a:lnTo>
                  <a:lnTo>
                    <a:pt x="96" y="534"/>
                  </a:lnTo>
                  <a:lnTo>
                    <a:pt x="72" y="534"/>
                  </a:lnTo>
                  <a:lnTo>
                    <a:pt x="66" y="528"/>
                  </a:lnTo>
                  <a:lnTo>
                    <a:pt x="60" y="516"/>
                  </a:lnTo>
                  <a:lnTo>
                    <a:pt x="60" y="492"/>
                  </a:lnTo>
                  <a:lnTo>
                    <a:pt x="42" y="474"/>
                  </a:lnTo>
                  <a:lnTo>
                    <a:pt x="36" y="474"/>
                  </a:lnTo>
                  <a:lnTo>
                    <a:pt x="30" y="480"/>
                  </a:lnTo>
                  <a:lnTo>
                    <a:pt x="30" y="486"/>
                  </a:lnTo>
                  <a:lnTo>
                    <a:pt x="24" y="498"/>
                  </a:lnTo>
                  <a:lnTo>
                    <a:pt x="18" y="504"/>
                  </a:lnTo>
                  <a:lnTo>
                    <a:pt x="18" y="510"/>
                  </a:lnTo>
                  <a:lnTo>
                    <a:pt x="0" y="522"/>
                  </a:lnTo>
                  <a:lnTo>
                    <a:pt x="0" y="516"/>
                  </a:lnTo>
                  <a:lnTo>
                    <a:pt x="0" y="528"/>
                  </a:lnTo>
                  <a:lnTo>
                    <a:pt x="6" y="540"/>
                  </a:lnTo>
                  <a:lnTo>
                    <a:pt x="6" y="552"/>
                  </a:lnTo>
                  <a:lnTo>
                    <a:pt x="36" y="582"/>
                  </a:lnTo>
                  <a:lnTo>
                    <a:pt x="42" y="600"/>
                  </a:lnTo>
                  <a:lnTo>
                    <a:pt x="42" y="648"/>
                  </a:lnTo>
                  <a:lnTo>
                    <a:pt x="48" y="672"/>
                  </a:lnTo>
                  <a:lnTo>
                    <a:pt x="54" y="690"/>
                  </a:lnTo>
                  <a:lnTo>
                    <a:pt x="72" y="714"/>
                  </a:lnTo>
                  <a:lnTo>
                    <a:pt x="96" y="738"/>
                  </a:lnTo>
                  <a:lnTo>
                    <a:pt x="114" y="762"/>
                  </a:lnTo>
                  <a:lnTo>
                    <a:pt x="120" y="786"/>
                  </a:lnTo>
                  <a:lnTo>
                    <a:pt x="120" y="834"/>
                  </a:lnTo>
                  <a:lnTo>
                    <a:pt x="114" y="846"/>
                  </a:lnTo>
                  <a:lnTo>
                    <a:pt x="114" y="852"/>
                  </a:lnTo>
                  <a:lnTo>
                    <a:pt x="90" y="852"/>
                  </a:lnTo>
                  <a:lnTo>
                    <a:pt x="90" y="876"/>
                  </a:lnTo>
                  <a:lnTo>
                    <a:pt x="96" y="888"/>
                  </a:lnTo>
                  <a:lnTo>
                    <a:pt x="108" y="906"/>
                  </a:lnTo>
                  <a:lnTo>
                    <a:pt x="114" y="918"/>
                  </a:lnTo>
                  <a:lnTo>
                    <a:pt x="114" y="960"/>
                  </a:lnTo>
                  <a:lnTo>
                    <a:pt x="120" y="972"/>
                  </a:lnTo>
                  <a:lnTo>
                    <a:pt x="120" y="978"/>
                  </a:lnTo>
                  <a:lnTo>
                    <a:pt x="126" y="978"/>
                  </a:lnTo>
                  <a:lnTo>
                    <a:pt x="126" y="972"/>
                  </a:lnTo>
                  <a:lnTo>
                    <a:pt x="132" y="966"/>
                  </a:lnTo>
                  <a:lnTo>
                    <a:pt x="144" y="966"/>
                  </a:lnTo>
                  <a:lnTo>
                    <a:pt x="150" y="972"/>
                  </a:lnTo>
                  <a:lnTo>
                    <a:pt x="180" y="984"/>
                  </a:lnTo>
                  <a:lnTo>
                    <a:pt x="180" y="996"/>
                  </a:lnTo>
                  <a:lnTo>
                    <a:pt x="204" y="1020"/>
                  </a:lnTo>
                  <a:lnTo>
                    <a:pt x="216" y="1020"/>
                  </a:lnTo>
                  <a:lnTo>
                    <a:pt x="240" y="1008"/>
                  </a:lnTo>
                  <a:lnTo>
                    <a:pt x="246" y="996"/>
                  </a:lnTo>
                  <a:lnTo>
                    <a:pt x="252" y="990"/>
                  </a:lnTo>
                  <a:lnTo>
                    <a:pt x="264" y="984"/>
                  </a:lnTo>
                  <a:lnTo>
                    <a:pt x="294" y="984"/>
                  </a:lnTo>
                  <a:lnTo>
                    <a:pt x="306" y="990"/>
                  </a:lnTo>
                  <a:lnTo>
                    <a:pt x="354" y="990"/>
                  </a:lnTo>
                  <a:lnTo>
                    <a:pt x="354" y="984"/>
                  </a:lnTo>
                  <a:lnTo>
                    <a:pt x="360" y="978"/>
                  </a:lnTo>
                  <a:lnTo>
                    <a:pt x="360" y="966"/>
                  </a:lnTo>
                  <a:lnTo>
                    <a:pt x="366" y="960"/>
                  </a:lnTo>
                  <a:lnTo>
                    <a:pt x="378" y="954"/>
                  </a:lnTo>
                  <a:lnTo>
                    <a:pt x="408" y="954"/>
                  </a:lnTo>
                  <a:lnTo>
                    <a:pt x="420" y="960"/>
                  </a:lnTo>
                  <a:lnTo>
                    <a:pt x="432" y="960"/>
                  </a:lnTo>
                  <a:lnTo>
                    <a:pt x="438" y="966"/>
                  </a:lnTo>
                  <a:lnTo>
                    <a:pt x="444" y="960"/>
                  </a:lnTo>
                  <a:lnTo>
                    <a:pt x="456" y="960"/>
                  </a:lnTo>
                  <a:lnTo>
                    <a:pt x="468" y="954"/>
                  </a:lnTo>
                  <a:lnTo>
                    <a:pt x="504" y="954"/>
                  </a:lnTo>
                  <a:lnTo>
                    <a:pt x="522" y="960"/>
                  </a:lnTo>
                  <a:lnTo>
                    <a:pt x="534" y="966"/>
                  </a:lnTo>
                  <a:lnTo>
                    <a:pt x="552" y="966"/>
                  </a:lnTo>
                  <a:lnTo>
                    <a:pt x="558" y="960"/>
                  </a:lnTo>
                  <a:lnTo>
                    <a:pt x="570" y="954"/>
                  </a:lnTo>
                  <a:lnTo>
                    <a:pt x="606" y="954"/>
                  </a:lnTo>
                  <a:lnTo>
                    <a:pt x="618" y="948"/>
                  </a:lnTo>
                  <a:lnTo>
                    <a:pt x="624" y="942"/>
                  </a:lnTo>
                  <a:lnTo>
                    <a:pt x="636" y="936"/>
                  </a:lnTo>
                  <a:lnTo>
                    <a:pt x="684" y="936"/>
                  </a:lnTo>
                  <a:lnTo>
                    <a:pt x="708" y="924"/>
                  </a:lnTo>
                  <a:lnTo>
                    <a:pt x="720" y="912"/>
                  </a:lnTo>
                  <a:lnTo>
                    <a:pt x="738" y="900"/>
                  </a:lnTo>
                  <a:lnTo>
                    <a:pt x="774" y="864"/>
                  </a:lnTo>
                  <a:lnTo>
                    <a:pt x="786" y="858"/>
                  </a:lnTo>
                  <a:lnTo>
                    <a:pt x="804" y="846"/>
                  </a:lnTo>
                  <a:lnTo>
                    <a:pt x="900" y="750"/>
                  </a:lnTo>
                  <a:lnTo>
                    <a:pt x="918" y="750"/>
                  </a:lnTo>
                  <a:lnTo>
                    <a:pt x="924" y="744"/>
                  </a:lnTo>
                  <a:lnTo>
                    <a:pt x="960" y="696"/>
                  </a:lnTo>
                  <a:lnTo>
                    <a:pt x="972" y="672"/>
                  </a:lnTo>
                  <a:lnTo>
                    <a:pt x="984" y="654"/>
                  </a:lnTo>
                  <a:lnTo>
                    <a:pt x="990" y="642"/>
                  </a:lnTo>
                  <a:lnTo>
                    <a:pt x="1002" y="606"/>
                  </a:lnTo>
                  <a:lnTo>
                    <a:pt x="1014" y="588"/>
                  </a:lnTo>
                  <a:lnTo>
                    <a:pt x="1020" y="576"/>
                  </a:lnTo>
                  <a:lnTo>
                    <a:pt x="1026" y="570"/>
                  </a:lnTo>
                  <a:lnTo>
                    <a:pt x="1038" y="564"/>
                  </a:lnTo>
                  <a:lnTo>
                    <a:pt x="1050" y="552"/>
                  </a:lnTo>
                  <a:lnTo>
                    <a:pt x="1068" y="546"/>
                  </a:lnTo>
                  <a:lnTo>
                    <a:pt x="1086" y="534"/>
                  </a:lnTo>
                  <a:lnTo>
                    <a:pt x="1098" y="510"/>
                  </a:lnTo>
                  <a:lnTo>
                    <a:pt x="1098" y="498"/>
                  </a:lnTo>
                  <a:lnTo>
                    <a:pt x="1104" y="486"/>
                  </a:lnTo>
                  <a:lnTo>
                    <a:pt x="1110" y="468"/>
                  </a:lnTo>
                  <a:lnTo>
                    <a:pt x="1116" y="456"/>
                  </a:lnTo>
                  <a:lnTo>
                    <a:pt x="1122" y="450"/>
                  </a:lnTo>
                  <a:lnTo>
                    <a:pt x="1122" y="438"/>
                  </a:lnTo>
                  <a:lnTo>
                    <a:pt x="1128" y="432"/>
                  </a:lnTo>
                  <a:lnTo>
                    <a:pt x="1128" y="414"/>
                  </a:lnTo>
                  <a:lnTo>
                    <a:pt x="1134" y="396"/>
                  </a:lnTo>
                  <a:lnTo>
                    <a:pt x="1128" y="384"/>
                  </a:lnTo>
                  <a:lnTo>
                    <a:pt x="1116" y="372"/>
                  </a:lnTo>
                  <a:close/>
                  <a:moveTo>
                    <a:pt x="870" y="624"/>
                  </a:moveTo>
                  <a:lnTo>
                    <a:pt x="858" y="630"/>
                  </a:lnTo>
                  <a:lnTo>
                    <a:pt x="852" y="636"/>
                  </a:lnTo>
                  <a:lnTo>
                    <a:pt x="840" y="642"/>
                  </a:lnTo>
                  <a:lnTo>
                    <a:pt x="822" y="642"/>
                  </a:lnTo>
                  <a:lnTo>
                    <a:pt x="810" y="648"/>
                  </a:lnTo>
                  <a:lnTo>
                    <a:pt x="804" y="654"/>
                  </a:lnTo>
                  <a:lnTo>
                    <a:pt x="798" y="666"/>
                  </a:lnTo>
                  <a:lnTo>
                    <a:pt x="792" y="672"/>
                  </a:lnTo>
                  <a:lnTo>
                    <a:pt x="792" y="684"/>
                  </a:lnTo>
                  <a:lnTo>
                    <a:pt x="774" y="684"/>
                  </a:lnTo>
                  <a:lnTo>
                    <a:pt x="744" y="654"/>
                  </a:lnTo>
                  <a:lnTo>
                    <a:pt x="744" y="636"/>
                  </a:lnTo>
                  <a:lnTo>
                    <a:pt x="720" y="600"/>
                  </a:lnTo>
                  <a:lnTo>
                    <a:pt x="744" y="600"/>
                  </a:lnTo>
                  <a:lnTo>
                    <a:pt x="750" y="582"/>
                  </a:lnTo>
                  <a:lnTo>
                    <a:pt x="768" y="564"/>
                  </a:lnTo>
                  <a:lnTo>
                    <a:pt x="768" y="546"/>
                  </a:lnTo>
                  <a:lnTo>
                    <a:pt x="774" y="540"/>
                  </a:lnTo>
                  <a:lnTo>
                    <a:pt x="798" y="540"/>
                  </a:lnTo>
                  <a:lnTo>
                    <a:pt x="798" y="528"/>
                  </a:lnTo>
                  <a:lnTo>
                    <a:pt x="810" y="522"/>
                  </a:lnTo>
                  <a:lnTo>
                    <a:pt x="846" y="522"/>
                  </a:lnTo>
                  <a:lnTo>
                    <a:pt x="852" y="528"/>
                  </a:lnTo>
                  <a:lnTo>
                    <a:pt x="858" y="540"/>
                  </a:lnTo>
                  <a:lnTo>
                    <a:pt x="864" y="546"/>
                  </a:lnTo>
                  <a:lnTo>
                    <a:pt x="870" y="558"/>
                  </a:lnTo>
                  <a:lnTo>
                    <a:pt x="882" y="564"/>
                  </a:lnTo>
                  <a:lnTo>
                    <a:pt x="888" y="588"/>
                  </a:lnTo>
                  <a:lnTo>
                    <a:pt x="864" y="606"/>
                  </a:lnTo>
                  <a:lnTo>
                    <a:pt x="870" y="62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187" name="Afghanistan" descr="© INSCALE GmbH, 05.05.2010&#10;http://www.presentationload.com/"/>
            <p:cNvSpPr>
              <a:spLocks/>
            </p:cNvSpPr>
            <p:nvPr/>
          </p:nvSpPr>
          <p:spPr bwMode="gray">
            <a:xfrm>
              <a:off x="5799334" y="3339886"/>
              <a:ext cx="294364" cy="230260"/>
            </a:xfrm>
            <a:custGeom>
              <a:avLst/>
              <a:gdLst>
                <a:gd name="T0" fmla="*/ 2147483647 w 906"/>
                <a:gd name="T1" fmla="*/ 2147483647 h 738"/>
                <a:gd name="T2" fmla="*/ 2147483647 w 906"/>
                <a:gd name="T3" fmla="*/ 2147483647 h 738"/>
                <a:gd name="T4" fmla="*/ 2147483647 w 906"/>
                <a:gd name="T5" fmla="*/ 2147483647 h 738"/>
                <a:gd name="T6" fmla="*/ 2147483647 w 906"/>
                <a:gd name="T7" fmla="*/ 2147483647 h 738"/>
                <a:gd name="T8" fmla="*/ 2147483647 w 906"/>
                <a:gd name="T9" fmla="*/ 2147483647 h 738"/>
                <a:gd name="T10" fmla="*/ 2147483647 w 906"/>
                <a:gd name="T11" fmla="*/ 0 h 738"/>
                <a:gd name="T12" fmla="*/ 2147483647 w 906"/>
                <a:gd name="T13" fmla="*/ 2147483647 h 738"/>
                <a:gd name="T14" fmla="*/ 2147483647 w 906"/>
                <a:gd name="T15" fmla="*/ 2147483647 h 738"/>
                <a:gd name="T16" fmla="*/ 2147483647 w 906"/>
                <a:gd name="T17" fmla="*/ 2147483647 h 738"/>
                <a:gd name="T18" fmla="*/ 2147483647 w 906"/>
                <a:gd name="T19" fmla="*/ 2147483647 h 738"/>
                <a:gd name="T20" fmla="*/ 2147483647 w 906"/>
                <a:gd name="T21" fmla="*/ 2147483647 h 738"/>
                <a:gd name="T22" fmla="*/ 2147483647 w 906"/>
                <a:gd name="T23" fmla="*/ 2147483647 h 738"/>
                <a:gd name="T24" fmla="*/ 2147483647 w 906"/>
                <a:gd name="T25" fmla="*/ 2147483647 h 738"/>
                <a:gd name="T26" fmla="*/ 2147483647 w 906"/>
                <a:gd name="T27" fmla="*/ 2147483647 h 738"/>
                <a:gd name="T28" fmla="*/ 2147483647 w 906"/>
                <a:gd name="T29" fmla="*/ 2147483647 h 738"/>
                <a:gd name="T30" fmla="*/ 2147483647 w 906"/>
                <a:gd name="T31" fmla="*/ 2147483647 h 738"/>
                <a:gd name="T32" fmla="*/ 2147483647 w 906"/>
                <a:gd name="T33" fmla="*/ 2147483647 h 738"/>
                <a:gd name="T34" fmla="*/ 2147483647 w 906"/>
                <a:gd name="T35" fmla="*/ 2147483647 h 738"/>
                <a:gd name="T36" fmla="*/ 2147483647 w 906"/>
                <a:gd name="T37" fmla="*/ 2147483647 h 738"/>
                <a:gd name="T38" fmla="*/ 2147483647 w 906"/>
                <a:gd name="T39" fmla="*/ 2147483647 h 738"/>
                <a:gd name="T40" fmla="*/ 2147483647 w 906"/>
                <a:gd name="T41" fmla="*/ 2147483647 h 738"/>
                <a:gd name="T42" fmla="*/ 2147483647 w 906"/>
                <a:gd name="T43" fmla="*/ 2147483647 h 738"/>
                <a:gd name="T44" fmla="*/ 2147483647 w 906"/>
                <a:gd name="T45" fmla="*/ 2147483647 h 738"/>
                <a:gd name="T46" fmla="*/ 0 w 906"/>
                <a:gd name="T47" fmla="*/ 2147483647 h 738"/>
                <a:gd name="T48" fmla="*/ 2147483647 w 906"/>
                <a:gd name="T49" fmla="*/ 2147483647 h 738"/>
                <a:gd name="T50" fmla="*/ 2147483647 w 906"/>
                <a:gd name="T51" fmla="*/ 2147483647 h 738"/>
                <a:gd name="T52" fmla="*/ 2147483647 w 906"/>
                <a:gd name="T53" fmla="*/ 2147483647 h 738"/>
                <a:gd name="T54" fmla="*/ 2147483647 w 906"/>
                <a:gd name="T55" fmla="*/ 2147483647 h 738"/>
                <a:gd name="T56" fmla="*/ 2147483647 w 906"/>
                <a:gd name="T57" fmla="*/ 2147483647 h 738"/>
                <a:gd name="T58" fmla="*/ 2147483647 w 906"/>
                <a:gd name="T59" fmla="*/ 2147483647 h 738"/>
                <a:gd name="T60" fmla="*/ 2147483647 w 906"/>
                <a:gd name="T61" fmla="*/ 2147483647 h 738"/>
                <a:gd name="T62" fmla="*/ 2147483647 w 906"/>
                <a:gd name="T63" fmla="*/ 2147483647 h 738"/>
                <a:gd name="T64" fmla="*/ 2147483647 w 906"/>
                <a:gd name="T65" fmla="*/ 2147483647 h 738"/>
                <a:gd name="T66" fmla="*/ 2147483647 w 906"/>
                <a:gd name="T67" fmla="*/ 2147483647 h 738"/>
                <a:gd name="T68" fmla="*/ 2147483647 w 906"/>
                <a:gd name="T69" fmla="*/ 2147483647 h 738"/>
                <a:gd name="T70" fmla="*/ 2147483647 w 906"/>
                <a:gd name="T71" fmla="*/ 2147483647 h 738"/>
                <a:gd name="T72" fmla="*/ 2147483647 w 906"/>
                <a:gd name="T73" fmla="*/ 2147483647 h 738"/>
                <a:gd name="T74" fmla="*/ 2147483647 w 906"/>
                <a:gd name="T75" fmla="*/ 2147483647 h 738"/>
                <a:gd name="T76" fmla="*/ 2147483647 w 906"/>
                <a:gd name="T77" fmla="*/ 2147483647 h 738"/>
                <a:gd name="T78" fmla="*/ 2147483647 w 906"/>
                <a:gd name="T79" fmla="*/ 2147483647 h 738"/>
                <a:gd name="T80" fmla="*/ 2147483647 w 906"/>
                <a:gd name="T81" fmla="*/ 2147483647 h 738"/>
                <a:gd name="T82" fmla="*/ 2147483647 w 906"/>
                <a:gd name="T83" fmla="*/ 2147483647 h 738"/>
                <a:gd name="T84" fmla="*/ 2147483647 w 906"/>
                <a:gd name="T85" fmla="*/ 2147483647 h 738"/>
                <a:gd name="T86" fmla="*/ 2147483647 w 906"/>
                <a:gd name="T87" fmla="*/ 2147483647 h 738"/>
                <a:gd name="T88" fmla="*/ 2147483647 w 906"/>
                <a:gd name="T89" fmla="*/ 2147483647 h 738"/>
                <a:gd name="T90" fmla="*/ 2147483647 w 906"/>
                <a:gd name="T91" fmla="*/ 2147483647 h 738"/>
                <a:gd name="T92" fmla="*/ 2147483647 w 906"/>
                <a:gd name="T93" fmla="*/ 2147483647 h 738"/>
                <a:gd name="T94" fmla="*/ 2147483647 w 906"/>
                <a:gd name="T95" fmla="*/ 2147483647 h 738"/>
                <a:gd name="T96" fmla="*/ 2147483647 w 906"/>
                <a:gd name="T97" fmla="*/ 2147483647 h 738"/>
                <a:gd name="T98" fmla="*/ 2147483647 w 906"/>
                <a:gd name="T99" fmla="*/ 2147483647 h 738"/>
                <a:gd name="T100" fmla="*/ 2147483647 w 906"/>
                <a:gd name="T101" fmla="*/ 2147483647 h 738"/>
                <a:gd name="T102" fmla="*/ 2147483647 w 906"/>
                <a:gd name="T103" fmla="*/ 2147483647 h 738"/>
                <a:gd name="T104" fmla="*/ 2147483647 w 906"/>
                <a:gd name="T105" fmla="*/ 2147483647 h 738"/>
                <a:gd name="T106" fmla="*/ 2147483647 w 906"/>
                <a:gd name="T107" fmla="*/ 2147483647 h 738"/>
                <a:gd name="T108" fmla="*/ 2147483647 w 906"/>
                <a:gd name="T109" fmla="*/ 2147483647 h 73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906"/>
                <a:gd name="T166" fmla="*/ 0 h 738"/>
                <a:gd name="T167" fmla="*/ 906 w 906"/>
                <a:gd name="T168" fmla="*/ 738 h 73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906" h="738">
                  <a:moveTo>
                    <a:pt x="894" y="108"/>
                  </a:moveTo>
                  <a:lnTo>
                    <a:pt x="894" y="96"/>
                  </a:lnTo>
                  <a:lnTo>
                    <a:pt x="906" y="96"/>
                  </a:lnTo>
                  <a:lnTo>
                    <a:pt x="900" y="90"/>
                  </a:lnTo>
                  <a:lnTo>
                    <a:pt x="876" y="90"/>
                  </a:lnTo>
                  <a:lnTo>
                    <a:pt x="840" y="102"/>
                  </a:lnTo>
                  <a:lnTo>
                    <a:pt x="840" y="84"/>
                  </a:lnTo>
                  <a:lnTo>
                    <a:pt x="816" y="84"/>
                  </a:lnTo>
                  <a:lnTo>
                    <a:pt x="792" y="96"/>
                  </a:lnTo>
                  <a:lnTo>
                    <a:pt x="786" y="102"/>
                  </a:lnTo>
                  <a:lnTo>
                    <a:pt x="780" y="114"/>
                  </a:lnTo>
                  <a:lnTo>
                    <a:pt x="774" y="120"/>
                  </a:lnTo>
                  <a:lnTo>
                    <a:pt x="756" y="120"/>
                  </a:lnTo>
                  <a:lnTo>
                    <a:pt x="750" y="126"/>
                  </a:lnTo>
                  <a:lnTo>
                    <a:pt x="744" y="138"/>
                  </a:lnTo>
                  <a:lnTo>
                    <a:pt x="732" y="144"/>
                  </a:lnTo>
                  <a:lnTo>
                    <a:pt x="726" y="150"/>
                  </a:lnTo>
                  <a:lnTo>
                    <a:pt x="720" y="150"/>
                  </a:lnTo>
                  <a:lnTo>
                    <a:pt x="690" y="120"/>
                  </a:lnTo>
                  <a:lnTo>
                    <a:pt x="690" y="114"/>
                  </a:lnTo>
                  <a:lnTo>
                    <a:pt x="678" y="48"/>
                  </a:lnTo>
                  <a:lnTo>
                    <a:pt x="660" y="48"/>
                  </a:lnTo>
                  <a:lnTo>
                    <a:pt x="660" y="18"/>
                  </a:lnTo>
                  <a:lnTo>
                    <a:pt x="642" y="0"/>
                  </a:lnTo>
                  <a:lnTo>
                    <a:pt x="624" y="0"/>
                  </a:lnTo>
                  <a:lnTo>
                    <a:pt x="618" y="6"/>
                  </a:lnTo>
                  <a:lnTo>
                    <a:pt x="618" y="30"/>
                  </a:lnTo>
                  <a:lnTo>
                    <a:pt x="612" y="36"/>
                  </a:lnTo>
                  <a:lnTo>
                    <a:pt x="606" y="36"/>
                  </a:lnTo>
                  <a:lnTo>
                    <a:pt x="594" y="48"/>
                  </a:lnTo>
                  <a:lnTo>
                    <a:pt x="594" y="54"/>
                  </a:lnTo>
                  <a:lnTo>
                    <a:pt x="600" y="60"/>
                  </a:lnTo>
                  <a:lnTo>
                    <a:pt x="606" y="60"/>
                  </a:lnTo>
                  <a:lnTo>
                    <a:pt x="600" y="84"/>
                  </a:lnTo>
                  <a:lnTo>
                    <a:pt x="588" y="72"/>
                  </a:lnTo>
                  <a:lnTo>
                    <a:pt x="570" y="72"/>
                  </a:lnTo>
                  <a:lnTo>
                    <a:pt x="558" y="78"/>
                  </a:lnTo>
                  <a:lnTo>
                    <a:pt x="546" y="90"/>
                  </a:lnTo>
                  <a:lnTo>
                    <a:pt x="546" y="120"/>
                  </a:lnTo>
                  <a:lnTo>
                    <a:pt x="540" y="120"/>
                  </a:lnTo>
                  <a:lnTo>
                    <a:pt x="534" y="114"/>
                  </a:lnTo>
                  <a:lnTo>
                    <a:pt x="528" y="102"/>
                  </a:lnTo>
                  <a:lnTo>
                    <a:pt x="522" y="96"/>
                  </a:lnTo>
                  <a:lnTo>
                    <a:pt x="510" y="96"/>
                  </a:lnTo>
                  <a:lnTo>
                    <a:pt x="504" y="102"/>
                  </a:lnTo>
                  <a:lnTo>
                    <a:pt x="492" y="108"/>
                  </a:lnTo>
                  <a:lnTo>
                    <a:pt x="474" y="126"/>
                  </a:lnTo>
                  <a:lnTo>
                    <a:pt x="468" y="126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26" y="102"/>
                  </a:lnTo>
                  <a:lnTo>
                    <a:pt x="414" y="108"/>
                  </a:lnTo>
                  <a:lnTo>
                    <a:pt x="396" y="84"/>
                  </a:lnTo>
                  <a:lnTo>
                    <a:pt x="384" y="96"/>
                  </a:lnTo>
                  <a:lnTo>
                    <a:pt x="342" y="96"/>
                  </a:lnTo>
                  <a:lnTo>
                    <a:pt x="330" y="90"/>
                  </a:lnTo>
                  <a:lnTo>
                    <a:pt x="324" y="84"/>
                  </a:lnTo>
                  <a:lnTo>
                    <a:pt x="312" y="78"/>
                  </a:lnTo>
                  <a:lnTo>
                    <a:pt x="300" y="78"/>
                  </a:lnTo>
                  <a:lnTo>
                    <a:pt x="300" y="102"/>
                  </a:lnTo>
                  <a:lnTo>
                    <a:pt x="264" y="102"/>
                  </a:lnTo>
                  <a:lnTo>
                    <a:pt x="252" y="108"/>
                  </a:lnTo>
                  <a:lnTo>
                    <a:pt x="246" y="120"/>
                  </a:lnTo>
                  <a:lnTo>
                    <a:pt x="246" y="180"/>
                  </a:lnTo>
                  <a:lnTo>
                    <a:pt x="234" y="180"/>
                  </a:lnTo>
                  <a:lnTo>
                    <a:pt x="222" y="186"/>
                  </a:lnTo>
                  <a:lnTo>
                    <a:pt x="216" y="198"/>
                  </a:lnTo>
                  <a:lnTo>
                    <a:pt x="180" y="216"/>
                  </a:lnTo>
                  <a:lnTo>
                    <a:pt x="168" y="216"/>
                  </a:lnTo>
                  <a:lnTo>
                    <a:pt x="168" y="228"/>
                  </a:lnTo>
                  <a:lnTo>
                    <a:pt x="156" y="252"/>
                  </a:lnTo>
                  <a:lnTo>
                    <a:pt x="150" y="258"/>
                  </a:lnTo>
                  <a:lnTo>
                    <a:pt x="138" y="264"/>
                  </a:lnTo>
                  <a:lnTo>
                    <a:pt x="114" y="264"/>
                  </a:lnTo>
                  <a:lnTo>
                    <a:pt x="90" y="240"/>
                  </a:lnTo>
                  <a:lnTo>
                    <a:pt x="84" y="240"/>
                  </a:lnTo>
                  <a:lnTo>
                    <a:pt x="78" y="246"/>
                  </a:lnTo>
                  <a:lnTo>
                    <a:pt x="66" y="246"/>
                  </a:lnTo>
                  <a:lnTo>
                    <a:pt x="60" y="240"/>
                  </a:lnTo>
                  <a:lnTo>
                    <a:pt x="48" y="240"/>
                  </a:lnTo>
                  <a:lnTo>
                    <a:pt x="42" y="234"/>
                  </a:lnTo>
                  <a:lnTo>
                    <a:pt x="36" y="240"/>
                  </a:lnTo>
                  <a:lnTo>
                    <a:pt x="30" y="252"/>
                  </a:lnTo>
                  <a:lnTo>
                    <a:pt x="30" y="258"/>
                  </a:lnTo>
                  <a:lnTo>
                    <a:pt x="36" y="270"/>
                  </a:lnTo>
                  <a:lnTo>
                    <a:pt x="36" y="294"/>
                  </a:lnTo>
                  <a:lnTo>
                    <a:pt x="42" y="300"/>
                  </a:lnTo>
                  <a:lnTo>
                    <a:pt x="42" y="306"/>
                  </a:lnTo>
                  <a:lnTo>
                    <a:pt x="18" y="312"/>
                  </a:lnTo>
                  <a:lnTo>
                    <a:pt x="30" y="330"/>
                  </a:lnTo>
                  <a:lnTo>
                    <a:pt x="24" y="330"/>
                  </a:lnTo>
                  <a:lnTo>
                    <a:pt x="18" y="336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54"/>
                  </a:lnTo>
                  <a:lnTo>
                    <a:pt x="12" y="366"/>
                  </a:lnTo>
                  <a:lnTo>
                    <a:pt x="12" y="396"/>
                  </a:lnTo>
                  <a:lnTo>
                    <a:pt x="36" y="396"/>
                  </a:lnTo>
                  <a:lnTo>
                    <a:pt x="42" y="402"/>
                  </a:lnTo>
                  <a:lnTo>
                    <a:pt x="42" y="408"/>
                  </a:lnTo>
                  <a:lnTo>
                    <a:pt x="24" y="426"/>
                  </a:lnTo>
                  <a:lnTo>
                    <a:pt x="18" y="438"/>
                  </a:lnTo>
                  <a:lnTo>
                    <a:pt x="30" y="462"/>
                  </a:lnTo>
                  <a:lnTo>
                    <a:pt x="42" y="480"/>
                  </a:lnTo>
                  <a:lnTo>
                    <a:pt x="54" y="504"/>
                  </a:lnTo>
                  <a:lnTo>
                    <a:pt x="60" y="510"/>
                  </a:lnTo>
                  <a:lnTo>
                    <a:pt x="60" y="564"/>
                  </a:lnTo>
                  <a:lnTo>
                    <a:pt x="66" y="570"/>
                  </a:lnTo>
                  <a:lnTo>
                    <a:pt x="72" y="570"/>
                  </a:lnTo>
                  <a:lnTo>
                    <a:pt x="84" y="576"/>
                  </a:lnTo>
                  <a:lnTo>
                    <a:pt x="120" y="576"/>
                  </a:lnTo>
                  <a:lnTo>
                    <a:pt x="126" y="582"/>
                  </a:lnTo>
                  <a:lnTo>
                    <a:pt x="138" y="606"/>
                  </a:lnTo>
                  <a:lnTo>
                    <a:pt x="114" y="654"/>
                  </a:lnTo>
                  <a:lnTo>
                    <a:pt x="108" y="660"/>
                  </a:lnTo>
                  <a:lnTo>
                    <a:pt x="102" y="672"/>
                  </a:lnTo>
                  <a:lnTo>
                    <a:pt x="84" y="690"/>
                  </a:lnTo>
                  <a:lnTo>
                    <a:pt x="84" y="702"/>
                  </a:lnTo>
                  <a:lnTo>
                    <a:pt x="120" y="702"/>
                  </a:lnTo>
                  <a:lnTo>
                    <a:pt x="132" y="708"/>
                  </a:lnTo>
                  <a:lnTo>
                    <a:pt x="150" y="720"/>
                  </a:lnTo>
                  <a:lnTo>
                    <a:pt x="168" y="726"/>
                  </a:lnTo>
                  <a:lnTo>
                    <a:pt x="192" y="738"/>
                  </a:lnTo>
                  <a:lnTo>
                    <a:pt x="210" y="738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26"/>
                  </a:lnTo>
                  <a:lnTo>
                    <a:pt x="294" y="726"/>
                  </a:lnTo>
                  <a:lnTo>
                    <a:pt x="294" y="732"/>
                  </a:lnTo>
                  <a:lnTo>
                    <a:pt x="318" y="732"/>
                  </a:lnTo>
                  <a:lnTo>
                    <a:pt x="324" y="726"/>
                  </a:lnTo>
                  <a:lnTo>
                    <a:pt x="348" y="726"/>
                  </a:lnTo>
                  <a:lnTo>
                    <a:pt x="366" y="720"/>
                  </a:lnTo>
                  <a:lnTo>
                    <a:pt x="396" y="720"/>
                  </a:lnTo>
                  <a:lnTo>
                    <a:pt x="444" y="696"/>
                  </a:lnTo>
                  <a:lnTo>
                    <a:pt x="450" y="696"/>
                  </a:lnTo>
                  <a:lnTo>
                    <a:pt x="456" y="690"/>
                  </a:lnTo>
                  <a:lnTo>
                    <a:pt x="456" y="660"/>
                  </a:lnTo>
                  <a:lnTo>
                    <a:pt x="450" y="654"/>
                  </a:lnTo>
                  <a:lnTo>
                    <a:pt x="450" y="636"/>
                  </a:lnTo>
                  <a:lnTo>
                    <a:pt x="444" y="624"/>
                  </a:lnTo>
                  <a:lnTo>
                    <a:pt x="444" y="606"/>
                  </a:lnTo>
                  <a:lnTo>
                    <a:pt x="450" y="594"/>
                  </a:lnTo>
                  <a:lnTo>
                    <a:pt x="462" y="588"/>
                  </a:lnTo>
                  <a:lnTo>
                    <a:pt x="468" y="576"/>
                  </a:lnTo>
                  <a:lnTo>
                    <a:pt x="486" y="576"/>
                  </a:lnTo>
                  <a:lnTo>
                    <a:pt x="486" y="588"/>
                  </a:lnTo>
                  <a:lnTo>
                    <a:pt x="528" y="588"/>
                  </a:lnTo>
                  <a:lnTo>
                    <a:pt x="534" y="582"/>
                  </a:lnTo>
                  <a:lnTo>
                    <a:pt x="534" y="576"/>
                  </a:lnTo>
                  <a:lnTo>
                    <a:pt x="528" y="570"/>
                  </a:lnTo>
                  <a:lnTo>
                    <a:pt x="522" y="570"/>
                  </a:lnTo>
                  <a:lnTo>
                    <a:pt x="522" y="564"/>
                  </a:lnTo>
                  <a:lnTo>
                    <a:pt x="528" y="558"/>
                  </a:lnTo>
                  <a:lnTo>
                    <a:pt x="534" y="558"/>
                  </a:lnTo>
                  <a:lnTo>
                    <a:pt x="546" y="552"/>
                  </a:lnTo>
                  <a:lnTo>
                    <a:pt x="552" y="546"/>
                  </a:lnTo>
                  <a:lnTo>
                    <a:pt x="564" y="540"/>
                  </a:lnTo>
                  <a:lnTo>
                    <a:pt x="594" y="540"/>
                  </a:lnTo>
                  <a:lnTo>
                    <a:pt x="594" y="552"/>
                  </a:lnTo>
                  <a:lnTo>
                    <a:pt x="600" y="558"/>
                  </a:lnTo>
                  <a:lnTo>
                    <a:pt x="612" y="558"/>
                  </a:lnTo>
                  <a:lnTo>
                    <a:pt x="624" y="552"/>
                  </a:lnTo>
                  <a:lnTo>
                    <a:pt x="630" y="540"/>
                  </a:lnTo>
                  <a:lnTo>
                    <a:pt x="636" y="534"/>
                  </a:lnTo>
                  <a:lnTo>
                    <a:pt x="636" y="528"/>
                  </a:lnTo>
                  <a:lnTo>
                    <a:pt x="630" y="522"/>
                  </a:lnTo>
                  <a:lnTo>
                    <a:pt x="630" y="510"/>
                  </a:lnTo>
                  <a:lnTo>
                    <a:pt x="624" y="498"/>
                  </a:lnTo>
                  <a:lnTo>
                    <a:pt x="624" y="480"/>
                  </a:lnTo>
                  <a:lnTo>
                    <a:pt x="630" y="474"/>
                  </a:lnTo>
                  <a:lnTo>
                    <a:pt x="636" y="474"/>
                  </a:lnTo>
                  <a:lnTo>
                    <a:pt x="636" y="438"/>
                  </a:lnTo>
                  <a:lnTo>
                    <a:pt x="642" y="432"/>
                  </a:lnTo>
                  <a:lnTo>
                    <a:pt x="660" y="432"/>
                  </a:lnTo>
                  <a:lnTo>
                    <a:pt x="690" y="414"/>
                  </a:lnTo>
                  <a:lnTo>
                    <a:pt x="684" y="414"/>
                  </a:lnTo>
                  <a:lnTo>
                    <a:pt x="672" y="408"/>
                  </a:lnTo>
                  <a:lnTo>
                    <a:pt x="672" y="402"/>
                  </a:lnTo>
                  <a:lnTo>
                    <a:pt x="666" y="396"/>
                  </a:lnTo>
                  <a:lnTo>
                    <a:pt x="666" y="390"/>
                  </a:lnTo>
                  <a:lnTo>
                    <a:pt x="654" y="384"/>
                  </a:lnTo>
                  <a:lnTo>
                    <a:pt x="642" y="372"/>
                  </a:lnTo>
                  <a:lnTo>
                    <a:pt x="642" y="360"/>
                  </a:lnTo>
                  <a:lnTo>
                    <a:pt x="660" y="360"/>
                  </a:lnTo>
                  <a:lnTo>
                    <a:pt x="666" y="366"/>
                  </a:lnTo>
                  <a:lnTo>
                    <a:pt x="684" y="372"/>
                  </a:lnTo>
                  <a:lnTo>
                    <a:pt x="690" y="372"/>
                  </a:lnTo>
                  <a:lnTo>
                    <a:pt x="696" y="366"/>
                  </a:lnTo>
                  <a:lnTo>
                    <a:pt x="714" y="366"/>
                  </a:lnTo>
                  <a:lnTo>
                    <a:pt x="714" y="336"/>
                  </a:lnTo>
                  <a:lnTo>
                    <a:pt x="708" y="330"/>
                  </a:lnTo>
                  <a:lnTo>
                    <a:pt x="708" y="318"/>
                  </a:lnTo>
                  <a:lnTo>
                    <a:pt x="714" y="306"/>
                  </a:lnTo>
                  <a:lnTo>
                    <a:pt x="738" y="282"/>
                  </a:lnTo>
                  <a:lnTo>
                    <a:pt x="738" y="276"/>
                  </a:lnTo>
                  <a:lnTo>
                    <a:pt x="732" y="264"/>
                  </a:lnTo>
                  <a:lnTo>
                    <a:pt x="726" y="258"/>
                  </a:lnTo>
                  <a:lnTo>
                    <a:pt x="726" y="228"/>
                  </a:lnTo>
                  <a:lnTo>
                    <a:pt x="696" y="198"/>
                  </a:lnTo>
                  <a:lnTo>
                    <a:pt x="696" y="192"/>
                  </a:lnTo>
                  <a:lnTo>
                    <a:pt x="702" y="186"/>
                  </a:lnTo>
                  <a:lnTo>
                    <a:pt x="708" y="174"/>
                  </a:lnTo>
                  <a:lnTo>
                    <a:pt x="714" y="168"/>
                  </a:lnTo>
                  <a:lnTo>
                    <a:pt x="738" y="156"/>
                  </a:lnTo>
                  <a:lnTo>
                    <a:pt x="744" y="150"/>
                  </a:lnTo>
                  <a:lnTo>
                    <a:pt x="768" y="138"/>
                  </a:lnTo>
                  <a:lnTo>
                    <a:pt x="774" y="138"/>
                  </a:lnTo>
                  <a:lnTo>
                    <a:pt x="780" y="132"/>
                  </a:lnTo>
                  <a:lnTo>
                    <a:pt x="822" y="132"/>
                  </a:lnTo>
                  <a:lnTo>
                    <a:pt x="828" y="126"/>
                  </a:lnTo>
                  <a:lnTo>
                    <a:pt x="852" y="126"/>
                  </a:lnTo>
                  <a:lnTo>
                    <a:pt x="864" y="132"/>
                  </a:lnTo>
                  <a:lnTo>
                    <a:pt x="876" y="132"/>
                  </a:lnTo>
                  <a:lnTo>
                    <a:pt x="882" y="126"/>
                  </a:lnTo>
                  <a:lnTo>
                    <a:pt x="894" y="126"/>
                  </a:lnTo>
                  <a:lnTo>
                    <a:pt x="900" y="120"/>
                  </a:lnTo>
                  <a:lnTo>
                    <a:pt x="894" y="114"/>
                  </a:lnTo>
                  <a:lnTo>
                    <a:pt x="894" y="10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grpSp>
          <p:nvGrpSpPr>
            <p:cNvPr id="188" name="Group 198"/>
            <p:cNvGrpSpPr>
              <a:grpSpLocks/>
            </p:cNvGrpSpPr>
            <p:nvPr/>
          </p:nvGrpSpPr>
          <p:grpSpPr bwMode="auto">
            <a:xfrm>
              <a:off x="4880408" y="3150044"/>
              <a:ext cx="89589" cy="105332"/>
              <a:chOff x="2184" y="1242"/>
              <a:chExt cx="257" cy="316"/>
            </a:xfrm>
            <a:grpFill/>
          </p:grpSpPr>
          <p:sp>
            <p:nvSpPr>
              <p:cNvPr id="189" name="Freeform 199" descr="© INSCALE GmbH, 05.05.2010&#10;http://www.presentationload.com/"/>
              <p:cNvSpPr>
                <a:spLocks/>
              </p:cNvSpPr>
              <p:nvPr/>
            </p:nvSpPr>
            <p:spPr bwMode="gray">
              <a:xfrm>
                <a:off x="2184" y="1242"/>
                <a:ext cx="257" cy="282"/>
              </a:xfrm>
              <a:custGeom>
                <a:avLst/>
                <a:gdLst/>
                <a:ahLst/>
                <a:cxnLst>
                  <a:cxn ang="0">
                    <a:pos x="464" y="374"/>
                  </a:cxn>
                  <a:cxn ang="0">
                    <a:pos x="453" y="310"/>
                  </a:cxn>
                  <a:cxn ang="0">
                    <a:pos x="453" y="235"/>
                  </a:cxn>
                  <a:cxn ang="0">
                    <a:pos x="378" y="224"/>
                  </a:cxn>
                  <a:cxn ang="0">
                    <a:pos x="302" y="171"/>
                  </a:cxn>
                  <a:cxn ang="0">
                    <a:pos x="291" y="118"/>
                  </a:cxn>
                  <a:cxn ang="0">
                    <a:pos x="259" y="128"/>
                  </a:cxn>
                  <a:cxn ang="0">
                    <a:pos x="216" y="53"/>
                  </a:cxn>
                  <a:cxn ang="0">
                    <a:pos x="87" y="0"/>
                  </a:cxn>
                  <a:cxn ang="0">
                    <a:pos x="0" y="43"/>
                  </a:cxn>
                  <a:cxn ang="0">
                    <a:pos x="32" y="96"/>
                  </a:cxn>
                  <a:cxn ang="0">
                    <a:pos x="65" y="139"/>
                  </a:cxn>
                  <a:cxn ang="0">
                    <a:pos x="54" y="150"/>
                  </a:cxn>
                  <a:cxn ang="0">
                    <a:pos x="32" y="181"/>
                  </a:cxn>
                  <a:cxn ang="0">
                    <a:pos x="32" y="192"/>
                  </a:cxn>
                  <a:cxn ang="0">
                    <a:pos x="76" y="203"/>
                  </a:cxn>
                  <a:cxn ang="0">
                    <a:pos x="87" y="267"/>
                  </a:cxn>
                  <a:cxn ang="0">
                    <a:pos x="65" y="310"/>
                  </a:cxn>
                  <a:cxn ang="0">
                    <a:pos x="98" y="363"/>
                  </a:cxn>
                  <a:cxn ang="0">
                    <a:pos x="119" y="395"/>
                  </a:cxn>
                  <a:cxn ang="0">
                    <a:pos x="157" y="442"/>
                  </a:cxn>
                  <a:cxn ang="0">
                    <a:pos x="173" y="438"/>
                  </a:cxn>
                  <a:cxn ang="0">
                    <a:pos x="180" y="444"/>
                  </a:cxn>
                  <a:cxn ang="0">
                    <a:pos x="230" y="446"/>
                  </a:cxn>
                  <a:cxn ang="0">
                    <a:pos x="237" y="431"/>
                  </a:cxn>
                  <a:cxn ang="0">
                    <a:pos x="258" y="416"/>
                  </a:cxn>
                  <a:cxn ang="0">
                    <a:pos x="266" y="418"/>
                  </a:cxn>
                  <a:cxn ang="0">
                    <a:pos x="268" y="407"/>
                  </a:cxn>
                  <a:cxn ang="0">
                    <a:pos x="267" y="399"/>
                  </a:cxn>
                  <a:cxn ang="0">
                    <a:pos x="254" y="388"/>
                  </a:cxn>
                  <a:cxn ang="0">
                    <a:pos x="262" y="387"/>
                  </a:cxn>
                  <a:cxn ang="0">
                    <a:pos x="279" y="380"/>
                  </a:cxn>
                  <a:cxn ang="0">
                    <a:pos x="288" y="372"/>
                  </a:cxn>
                  <a:cxn ang="0">
                    <a:pos x="298" y="389"/>
                  </a:cxn>
                  <a:cxn ang="0">
                    <a:pos x="292" y="399"/>
                  </a:cxn>
                  <a:cxn ang="0">
                    <a:pos x="309" y="402"/>
                  </a:cxn>
                  <a:cxn ang="0">
                    <a:pos x="321" y="404"/>
                  </a:cxn>
                  <a:cxn ang="0">
                    <a:pos x="326" y="408"/>
                  </a:cxn>
                  <a:cxn ang="0">
                    <a:pos x="328" y="433"/>
                  </a:cxn>
                  <a:cxn ang="0">
                    <a:pos x="334" y="429"/>
                  </a:cxn>
                  <a:cxn ang="0">
                    <a:pos x="335" y="448"/>
                  </a:cxn>
                  <a:cxn ang="0">
                    <a:pos x="348" y="452"/>
                  </a:cxn>
                  <a:cxn ang="0">
                    <a:pos x="356" y="467"/>
                  </a:cxn>
                  <a:cxn ang="0">
                    <a:pos x="354" y="478"/>
                  </a:cxn>
                  <a:cxn ang="0">
                    <a:pos x="356" y="482"/>
                  </a:cxn>
                  <a:cxn ang="0">
                    <a:pos x="369" y="485"/>
                  </a:cxn>
                  <a:cxn ang="0">
                    <a:pos x="381" y="492"/>
                  </a:cxn>
                  <a:cxn ang="0">
                    <a:pos x="390" y="496"/>
                  </a:cxn>
                  <a:cxn ang="0">
                    <a:pos x="399" y="501"/>
                  </a:cxn>
                  <a:cxn ang="0">
                    <a:pos x="392" y="513"/>
                  </a:cxn>
                  <a:cxn ang="0">
                    <a:pos x="384" y="528"/>
                  </a:cxn>
                  <a:cxn ang="0">
                    <a:pos x="376" y="542"/>
                  </a:cxn>
                  <a:cxn ang="0">
                    <a:pos x="453" y="492"/>
                  </a:cxn>
                  <a:cxn ang="0">
                    <a:pos x="486" y="470"/>
                  </a:cxn>
                  <a:cxn ang="0">
                    <a:pos x="486" y="406"/>
                  </a:cxn>
                </a:cxnLst>
                <a:rect l="0" t="0" r="r" b="b"/>
                <a:pathLst>
                  <a:path w="496" h="542">
                    <a:moveTo>
                      <a:pt x="486" y="406"/>
                    </a:moveTo>
                    <a:cubicBezTo>
                      <a:pt x="453" y="395"/>
                      <a:pt x="453" y="395"/>
                      <a:pt x="453" y="395"/>
                    </a:cubicBezTo>
                    <a:cubicBezTo>
                      <a:pt x="464" y="374"/>
                      <a:pt x="464" y="374"/>
                      <a:pt x="464" y="374"/>
                    </a:cubicBezTo>
                    <a:cubicBezTo>
                      <a:pt x="432" y="363"/>
                      <a:pt x="432" y="363"/>
                      <a:pt x="432" y="363"/>
                    </a:cubicBezTo>
                    <a:cubicBezTo>
                      <a:pt x="432" y="331"/>
                      <a:pt x="432" y="331"/>
                      <a:pt x="432" y="331"/>
                    </a:cubicBezTo>
                    <a:cubicBezTo>
                      <a:pt x="453" y="310"/>
                      <a:pt x="453" y="310"/>
                      <a:pt x="453" y="310"/>
                    </a:cubicBezTo>
                    <a:cubicBezTo>
                      <a:pt x="453" y="267"/>
                      <a:pt x="453" y="267"/>
                      <a:pt x="453" y="267"/>
                    </a:cubicBezTo>
                    <a:cubicBezTo>
                      <a:pt x="442" y="256"/>
                      <a:pt x="442" y="256"/>
                      <a:pt x="442" y="256"/>
                    </a:cubicBezTo>
                    <a:cubicBezTo>
                      <a:pt x="453" y="235"/>
                      <a:pt x="453" y="235"/>
                      <a:pt x="453" y="235"/>
                    </a:cubicBezTo>
                    <a:cubicBezTo>
                      <a:pt x="464" y="224"/>
                      <a:pt x="464" y="224"/>
                      <a:pt x="464" y="224"/>
                    </a:cubicBezTo>
                    <a:cubicBezTo>
                      <a:pt x="421" y="213"/>
                      <a:pt x="421" y="213"/>
                      <a:pt x="421" y="213"/>
                    </a:cubicBezTo>
                    <a:cubicBezTo>
                      <a:pt x="378" y="224"/>
                      <a:pt x="378" y="224"/>
                      <a:pt x="378" y="224"/>
                    </a:cubicBezTo>
                    <a:cubicBezTo>
                      <a:pt x="367" y="213"/>
                      <a:pt x="367" y="213"/>
                      <a:pt x="367" y="213"/>
                    </a:cubicBezTo>
                    <a:cubicBezTo>
                      <a:pt x="324" y="203"/>
                      <a:pt x="324" y="203"/>
                      <a:pt x="324" y="203"/>
                    </a:cubicBezTo>
                    <a:cubicBezTo>
                      <a:pt x="302" y="171"/>
                      <a:pt x="302" y="171"/>
                      <a:pt x="302" y="171"/>
                    </a:cubicBezTo>
                    <a:cubicBezTo>
                      <a:pt x="313" y="160"/>
                      <a:pt x="313" y="160"/>
                      <a:pt x="313" y="160"/>
                    </a:cubicBezTo>
                    <a:cubicBezTo>
                      <a:pt x="313" y="128"/>
                      <a:pt x="313" y="128"/>
                      <a:pt x="313" y="128"/>
                    </a:cubicBezTo>
                    <a:cubicBezTo>
                      <a:pt x="291" y="118"/>
                      <a:pt x="291" y="118"/>
                      <a:pt x="291" y="118"/>
                    </a:cubicBezTo>
                    <a:cubicBezTo>
                      <a:pt x="280" y="118"/>
                      <a:pt x="280" y="118"/>
                      <a:pt x="280" y="118"/>
                    </a:cubicBezTo>
                    <a:cubicBezTo>
                      <a:pt x="270" y="128"/>
                      <a:pt x="270" y="128"/>
                      <a:pt x="270" y="128"/>
                    </a:cubicBezTo>
                    <a:cubicBezTo>
                      <a:pt x="259" y="128"/>
                      <a:pt x="259" y="128"/>
                      <a:pt x="259" y="128"/>
                    </a:cubicBezTo>
                    <a:cubicBezTo>
                      <a:pt x="249" y="118"/>
                      <a:pt x="249" y="118"/>
                      <a:pt x="249" y="118"/>
                    </a:cubicBezTo>
                    <a:cubicBezTo>
                      <a:pt x="227" y="53"/>
                      <a:pt x="227" y="53"/>
                      <a:pt x="227" y="53"/>
                    </a:cubicBezTo>
                    <a:cubicBezTo>
                      <a:pt x="216" y="53"/>
                      <a:pt x="216" y="53"/>
                      <a:pt x="216" y="53"/>
                    </a:cubicBezTo>
                    <a:cubicBezTo>
                      <a:pt x="173" y="21"/>
                      <a:pt x="173" y="21"/>
                      <a:pt x="173" y="21"/>
                    </a:cubicBezTo>
                    <a:cubicBezTo>
                      <a:pt x="129" y="0"/>
                      <a:pt x="129" y="0"/>
                      <a:pt x="129" y="0"/>
                    </a:cubicBezTo>
                    <a:cubicBezTo>
                      <a:pt x="87" y="0"/>
                      <a:pt x="87" y="0"/>
                      <a:pt x="87" y="0"/>
                    </a:cubicBezTo>
                    <a:cubicBezTo>
                      <a:pt x="54" y="32"/>
                      <a:pt x="54" y="32"/>
                      <a:pt x="54" y="32"/>
                    </a:cubicBezTo>
                    <a:cubicBezTo>
                      <a:pt x="11" y="32"/>
                      <a:pt x="11" y="32"/>
                      <a:pt x="11" y="3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22" y="96"/>
                      <a:pt x="22" y="96"/>
                      <a:pt x="22" y="96"/>
                    </a:cubicBezTo>
                    <a:cubicBezTo>
                      <a:pt x="32" y="96"/>
                      <a:pt x="32" y="96"/>
                      <a:pt x="32" y="96"/>
                    </a:cubicBezTo>
                    <a:cubicBezTo>
                      <a:pt x="22" y="128"/>
                      <a:pt x="22" y="128"/>
                      <a:pt x="22" y="128"/>
                    </a:cubicBezTo>
                    <a:cubicBezTo>
                      <a:pt x="43" y="128"/>
                      <a:pt x="43" y="128"/>
                      <a:pt x="43" y="128"/>
                    </a:cubicBezTo>
                    <a:cubicBezTo>
                      <a:pt x="65" y="139"/>
                      <a:pt x="65" y="139"/>
                      <a:pt x="65" y="139"/>
                    </a:cubicBezTo>
                    <a:cubicBezTo>
                      <a:pt x="76" y="139"/>
                      <a:pt x="76" y="139"/>
                      <a:pt x="76" y="139"/>
                    </a:cubicBezTo>
                    <a:cubicBezTo>
                      <a:pt x="65" y="150"/>
                      <a:pt x="65" y="150"/>
                      <a:pt x="65" y="150"/>
                    </a:cubicBezTo>
                    <a:cubicBezTo>
                      <a:pt x="54" y="150"/>
                      <a:pt x="54" y="150"/>
                      <a:pt x="54" y="150"/>
                    </a:cubicBezTo>
                    <a:cubicBezTo>
                      <a:pt x="43" y="160"/>
                      <a:pt x="43" y="160"/>
                      <a:pt x="43" y="160"/>
                    </a:cubicBezTo>
                    <a:cubicBezTo>
                      <a:pt x="32" y="160"/>
                      <a:pt x="32" y="160"/>
                      <a:pt x="32" y="160"/>
                    </a:cubicBezTo>
                    <a:cubicBezTo>
                      <a:pt x="32" y="181"/>
                      <a:pt x="32" y="181"/>
                      <a:pt x="32" y="181"/>
                    </a:cubicBezTo>
                    <a:cubicBezTo>
                      <a:pt x="22" y="181"/>
                      <a:pt x="22" y="181"/>
                      <a:pt x="22" y="181"/>
                    </a:cubicBezTo>
                    <a:cubicBezTo>
                      <a:pt x="22" y="192"/>
                      <a:pt x="22" y="192"/>
                      <a:pt x="22" y="192"/>
                    </a:cubicBezTo>
                    <a:cubicBezTo>
                      <a:pt x="32" y="192"/>
                      <a:pt x="32" y="192"/>
                      <a:pt x="32" y="192"/>
                    </a:cubicBezTo>
                    <a:cubicBezTo>
                      <a:pt x="54" y="181"/>
                      <a:pt x="54" y="181"/>
                      <a:pt x="54" y="181"/>
                    </a:cubicBezTo>
                    <a:cubicBezTo>
                      <a:pt x="76" y="181"/>
                      <a:pt x="76" y="181"/>
                      <a:pt x="76" y="181"/>
                    </a:cubicBezTo>
                    <a:cubicBezTo>
                      <a:pt x="76" y="203"/>
                      <a:pt x="76" y="203"/>
                      <a:pt x="76" y="203"/>
                    </a:cubicBezTo>
                    <a:cubicBezTo>
                      <a:pt x="43" y="235"/>
                      <a:pt x="43" y="235"/>
                      <a:pt x="43" y="235"/>
                    </a:cubicBezTo>
                    <a:cubicBezTo>
                      <a:pt x="43" y="267"/>
                      <a:pt x="43" y="267"/>
                      <a:pt x="43" y="267"/>
                    </a:cubicBezTo>
                    <a:cubicBezTo>
                      <a:pt x="87" y="267"/>
                      <a:pt x="87" y="267"/>
                      <a:pt x="87" y="267"/>
                    </a:cubicBezTo>
                    <a:cubicBezTo>
                      <a:pt x="98" y="278"/>
                      <a:pt x="98" y="278"/>
                      <a:pt x="98" y="278"/>
                    </a:cubicBezTo>
                    <a:cubicBezTo>
                      <a:pt x="108" y="299"/>
                      <a:pt x="108" y="299"/>
                      <a:pt x="108" y="299"/>
                    </a:cubicBezTo>
                    <a:cubicBezTo>
                      <a:pt x="65" y="310"/>
                      <a:pt x="65" y="310"/>
                      <a:pt x="65" y="310"/>
                    </a:cubicBezTo>
                    <a:cubicBezTo>
                      <a:pt x="87" y="331"/>
                      <a:pt x="87" y="331"/>
                      <a:pt x="87" y="331"/>
                    </a:cubicBezTo>
                    <a:cubicBezTo>
                      <a:pt x="98" y="353"/>
                      <a:pt x="98" y="353"/>
                      <a:pt x="98" y="353"/>
                    </a:cubicBezTo>
                    <a:cubicBezTo>
                      <a:pt x="98" y="363"/>
                      <a:pt x="98" y="363"/>
                      <a:pt x="98" y="363"/>
                    </a:cubicBezTo>
                    <a:cubicBezTo>
                      <a:pt x="87" y="363"/>
                      <a:pt x="87" y="363"/>
                      <a:pt x="87" y="363"/>
                    </a:cubicBezTo>
                    <a:cubicBezTo>
                      <a:pt x="87" y="374"/>
                      <a:pt x="87" y="374"/>
                      <a:pt x="87" y="374"/>
                    </a:cubicBezTo>
                    <a:cubicBezTo>
                      <a:pt x="119" y="395"/>
                      <a:pt x="119" y="395"/>
                      <a:pt x="119" y="395"/>
                    </a:cubicBezTo>
                    <a:cubicBezTo>
                      <a:pt x="140" y="417"/>
                      <a:pt x="140" y="417"/>
                      <a:pt x="140" y="417"/>
                    </a:cubicBezTo>
                    <a:cubicBezTo>
                      <a:pt x="157" y="442"/>
                      <a:pt x="157" y="442"/>
                      <a:pt x="157" y="442"/>
                    </a:cubicBezTo>
                    <a:cubicBezTo>
                      <a:pt x="157" y="442"/>
                      <a:pt x="157" y="442"/>
                      <a:pt x="157" y="442"/>
                    </a:cubicBezTo>
                    <a:cubicBezTo>
                      <a:pt x="159" y="442"/>
                      <a:pt x="161" y="443"/>
                      <a:pt x="166" y="444"/>
                    </a:cubicBezTo>
                    <a:cubicBezTo>
                      <a:pt x="166" y="444"/>
                      <a:pt x="166" y="444"/>
                      <a:pt x="167" y="444"/>
                    </a:cubicBezTo>
                    <a:cubicBezTo>
                      <a:pt x="173" y="438"/>
                      <a:pt x="173" y="438"/>
                      <a:pt x="173" y="438"/>
                    </a:cubicBezTo>
                    <a:cubicBezTo>
                      <a:pt x="173" y="447"/>
                      <a:pt x="173" y="447"/>
                      <a:pt x="173" y="447"/>
                    </a:cubicBezTo>
                    <a:cubicBezTo>
                      <a:pt x="174" y="448"/>
                      <a:pt x="175" y="448"/>
                      <a:pt x="176" y="449"/>
                    </a:cubicBezTo>
                    <a:cubicBezTo>
                      <a:pt x="176" y="449"/>
                      <a:pt x="176" y="449"/>
                      <a:pt x="180" y="444"/>
                    </a:cubicBezTo>
                    <a:cubicBezTo>
                      <a:pt x="180" y="444"/>
                      <a:pt x="180" y="444"/>
                      <a:pt x="199" y="447"/>
                    </a:cubicBezTo>
                    <a:cubicBezTo>
                      <a:pt x="199" y="447"/>
                      <a:pt x="199" y="447"/>
                      <a:pt x="212" y="446"/>
                    </a:cubicBezTo>
                    <a:cubicBezTo>
                      <a:pt x="212" y="446"/>
                      <a:pt x="212" y="446"/>
                      <a:pt x="230" y="446"/>
                    </a:cubicBezTo>
                    <a:cubicBezTo>
                      <a:pt x="230" y="446"/>
                      <a:pt x="230" y="446"/>
                      <a:pt x="240" y="443"/>
                    </a:cubicBezTo>
                    <a:cubicBezTo>
                      <a:pt x="240" y="443"/>
                      <a:pt x="240" y="443"/>
                      <a:pt x="239" y="437"/>
                    </a:cubicBezTo>
                    <a:cubicBezTo>
                      <a:pt x="239" y="437"/>
                      <a:pt x="239" y="437"/>
                      <a:pt x="237" y="431"/>
                    </a:cubicBezTo>
                    <a:cubicBezTo>
                      <a:pt x="237" y="431"/>
                      <a:pt x="237" y="431"/>
                      <a:pt x="245" y="425"/>
                    </a:cubicBezTo>
                    <a:cubicBezTo>
                      <a:pt x="245" y="425"/>
                      <a:pt x="245" y="425"/>
                      <a:pt x="255" y="417"/>
                    </a:cubicBezTo>
                    <a:cubicBezTo>
                      <a:pt x="255" y="417"/>
                      <a:pt x="255" y="417"/>
                      <a:pt x="258" y="416"/>
                    </a:cubicBezTo>
                    <a:cubicBezTo>
                      <a:pt x="258" y="416"/>
                      <a:pt x="258" y="416"/>
                      <a:pt x="258" y="421"/>
                    </a:cubicBezTo>
                    <a:cubicBezTo>
                      <a:pt x="258" y="421"/>
                      <a:pt x="258" y="421"/>
                      <a:pt x="262" y="419"/>
                    </a:cubicBezTo>
                    <a:cubicBezTo>
                      <a:pt x="262" y="419"/>
                      <a:pt x="262" y="419"/>
                      <a:pt x="266" y="418"/>
                    </a:cubicBezTo>
                    <a:cubicBezTo>
                      <a:pt x="266" y="418"/>
                      <a:pt x="266" y="418"/>
                      <a:pt x="263" y="414"/>
                    </a:cubicBezTo>
                    <a:cubicBezTo>
                      <a:pt x="263" y="414"/>
                      <a:pt x="263" y="414"/>
                      <a:pt x="267" y="412"/>
                    </a:cubicBezTo>
                    <a:cubicBezTo>
                      <a:pt x="267" y="412"/>
                      <a:pt x="267" y="412"/>
                      <a:pt x="268" y="407"/>
                    </a:cubicBezTo>
                    <a:cubicBezTo>
                      <a:pt x="268" y="407"/>
                      <a:pt x="268" y="407"/>
                      <a:pt x="264" y="405"/>
                    </a:cubicBezTo>
                    <a:cubicBezTo>
                      <a:pt x="264" y="405"/>
                      <a:pt x="264" y="405"/>
                      <a:pt x="264" y="402"/>
                    </a:cubicBezTo>
                    <a:cubicBezTo>
                      <a:pt x="264" y="402"/>
                      <a:pt x="264" y="402"/>
                      <a:pt x="267" y="399"/>
                    </a:cubicBezTo>
                    <a:cubicBezTo>
                      <a:pt x="267" y="399"/>
                      <a:pt x="267" y="399"/>
                      <a:pt x="266" y="396"/>
                    </a:cubicBezTo>
                    <a:cubicBezTo>
                      <a:pt x="266" y="396"/>
                      <a:pt x="266" y="396"/>
                      <a:pt x="258" y="394"/>
                    </a:cubicBezTo>
                    <a:cubicBezTo>
                      <a:pt x="258" y="394"/>
                      <a:pt x="258" y="394"/>
                      <a:pt x="254" y="388"/>
                    </a:cubicBezTo>
                    <a:cubicBezTo>
                      <a:pt x="254" y="388"/>
                      <a:pt x="254" y="388"/>
                      <a:pt x="256" y="385"/>
                    </a:cubicBezTo>
                    <a:cubicBezTo>
                      <a:pt x="256" y="385"/>
                      <a:pt x="256" y="385"/>
                      <a:pt x="259" y="389"/>
                    </a:cubicBezTo>
                    <a:cubicBezTo>
                      <a:pt x="259" y="389"/>
                      <a:pt x="259" y="389"/>
                      <a:pt x="262" y="387"/>
                    </a:cubicBezTo>
                    <a:cubicBezTo>
                      <a:pt x="262" y="387"/>
                      <a:pt x="262" y="387"/>
                      <a:pt x="267" y="388"/>
                    </a:cubicBezTo>
                    <a:cubicBezTo>
                      <a:pt x="267" y="388"/>
                      <a:pt x="267" y="388"/>
                      <a:pt x="271" y="385"/>
                    </a:cubicBezTo>
                    <a:cubicBezTo>
                      <a:pt x="271" y="385"/>
                      <a:pt x="271" y="385"/>
                      <a:pt x="279" y="380"/>
                    </a:cubicBezTo>
                    <a:cubicBezTo>
                      <a:pt x="279" y="380"/>
                      <a:pt x="279" y="380"/>
                      <a:pt x="282" y="378"/>
                    </a:cubicBezTo>
                    <a:cubicBezTo>
                      <a:pt x="282" y="378"/>
                      <a:pt x="282" y="378"/>
                      <a:pt x="283" y="374"/>
                    </a:cubicBezTo>
                    <a:cubicBezTo>
                      <a:pt x="283" y="374"/>
                      <a:pt x="283" y="374"/>
                      <a:pt x="288" y="372"/>
                    </a:cubicBezTo>
                    <a:cubicBezTo>
                      <a:pt x="288" y="372"/>
                      <a:pt x="288" y="372"/>
                      <a:pt x="293" y="377"/>
                    </a:cubicBezTo>
                    <a:cubicBezTo>
                      <a:pt x="293" y="377"/>
                      <a:pt x="293" y="377"/>
                      <a:pt x="297" y="384"/>
                    </a:cubicBezTo>
                    <a:cubicBezTo>
                      <a:pt x="297" y="384"/>
                      <a:pt x="297" y="384"/>
                      <a:pt x="298" y="389"/>
                    </a:cubicBezTo>
                    <a:cubicBezTo>
                      <a:pt x="298" y="389"/>
                      <a:pt x="298" y="389"/>
                      <a:pt x="298" y="392"/>
                    </a:cubicBezTo>
                    <a:cubicBezTo>
                      <a:pt x="298" y="392"/>
                      <a:pt x="298" y="392"/>
                      <a:pt x="291" y="396"/>
                    </a:cubicBezTo>
                    <a:cubicBezTo>
                      <a:pt x="291" y="396"/>
                      <a:pt x="291" y="396"/>
                      <a:pt x="292" y="399"/>
                    </a:cubicBezTo>
                    <a:cubicBezTo>
                      <a:pt x="292" y="399"/>
                      <a:pt x="292" y="399"/>
                      <a:pt x="299" y="400"/>
                    </a:cubicBezTo>
                    <a:cubicBezTo>
                      <a:pt x="299" y="400"/>
                      <a:pt x="299" y="400"/>
                      <a:pt x="303" y="404"/>
                    </a:cubicBezTo>
                    <a:cubicBezTo>
                      <a:pt x="303" y="404"/>
                      <a:pt x="303" y="404"/>
                      <a:pt x="309" y="402"/>
                    </a:cubicBezTo>
                    <a:cubicBezTo>
                      <a:pt x="309" y="402"/>
                      <a:pt x="309" y="402"/>
                      <a:pt x="314" y="404"/>
                    </a:cubicBezTo>
                    <a:cubicBezTo>
                      <a:pt x="314" y="404"/>
                      <a:pt x="314" y="404"/>
                      <a:pt x="319" y="401"/>
                    </a:cubicBezTo>
                    <a:cubicBezTo>
                      <a:pt x="319" y="401"/>
                      <a:pt x="319" y="401"/>
                      <a:pt x="321" y="404"/>
                    </a:cubicBezTo>
                    <a:cubicBezTo>
                      <a:pt x="321" y="404"/>
                      <a:pt x="321" y="404"/>
                      <a:pt x="318" y="408"/>
                    </a:cubicBezTo>
                    <a:cubicBezTo>
                      <a:pt x="318" y="408"/>
                      <a:pt x="318" y="408"/>
                      <a:pt x="324" y="407"/>
                    </a:cubicBezTo>
                    <a:cubicBezTo>
                      <a:pt x="324" y="407"/>
                      <a:pt x="324" y="407"/>
                      <a:pt x="326" y="408"/>
                    </a:cubicBezTo>
                    <a:cubicBezTo>
                      <a:pt x="326" y="408"/>
                      <a:pt x="326" y="408"/>
                      <a:pt x="324" y="425"/>
                    </a:cubicBezTo>
                    <a:cubicBezTo>
                      <a:pt x="324" y="425"/>
                      <a:pt x="324" y="425"/>
                      <a:pt x="324" y="432"/>
                    </a:cubicBezTo>
                    <a:cubicBezTo>
                      <a:pt x="324" y="432"/>
                      <a:pt x="324" y="432"/>
                      <a:pt x="328" y="433"/>
                    </a:cubicBezTo>
                    <a:cubicBezTo>
                      <a:pt x="328" y="433"/>
                      <a:pt x="328" y="433"/>
                      <a:pt x="330" y="431"/>
                    </a:cubicBezTo>
                    <a:cubicBezTo>
                      <a:pt x="330" y="431"/>
                      <a:pt x="330" y="431"/>
                      <a:pt x="331" y="428"/>
                    </a:cubicBezTo>
                    <a:cubicBezTo>
                      <a:pt x="331" y="428"/>
                      <a:pt x="331" y="428"/>
                      <a:pt x="334" y="429"/>
                    </a:cubicBezTo>
                    <a:cubicBezTo>
                      <a:pt x="334" y="429"/>
                      <a:pt x="334" y="429"/>
                      <a:pt x="336" y="433"/>
                    </a:cubicBezTo>
                    <a:cubicBezTo>
                      <a:pt x="336" y="433"/>
                      <a:pt x="336" y="433"/>
                      <a:pt x="336" y="443"/>
                    </a:cubicBezTo>
                    <a:cubicBezTo>
                      <a:pt x="336" y="443"/>
                      <a:pt x="336" y="443"/>
                      <a:pt x="335" y="448"/>
                    </a:cubicBezTo>
                    <a:cubicBezTo>
                      <a:pt x="335" y="448"/>
                      <a:pt x="335" y="448"/>
                      <a:pt x="339" y="450"/>
                    </a:cubicBezTo>
                    <a:cubicBezTo>
                      <a:pt x="339" y="450"/>
                      <a:pt x="339" y="450"/>
                      <a:pt x="344" y="450"/>
                    </a:cubicBezTo>
                    <a:cubicBezTo>
                      <a:pt x="344" y="450"/>
                      <a:pt x="344" y="450"/>
                      <a:pt x="348" y="452"/>
                    </a:cubicBezTo>
                    <a:cubicBezTo>
                      <a:pt x="348" y="452"/>
                      <a:pt x="348" y="452"/>
                      <a:pt x="353" y="456"/>
                    </a:cubicBezTo>
                    <a:cubicBezTo>
                      <a:pt x="353" y="456"/>
                      <a:pt x="353" y="456"/>
                      <a:pt x="357" y="457"/>
                    </a:cubicBezTo>
                    <a:cubicBezTo>
                      <a:pt x="357" y="457"/>
                      <a:pt x="357" y="457"/>
                      <a:pt x="356" y="467"/>
                    </a:cubicBezTo>
                    <a:cubicBezTo>
                      <a:pt x="356" y="467"/>
                      <a:pt x="356" y="467"/>
                      <a:pt x="356" y="472"/>
                    </a:cubicBezTo>
                    <a:cubicBezTo>
                      <a:pt x="356" y="472"/>
                      <a:pt x="356" y="472"/>
                      <a:pt x="352" y="473"/>
                    </a:cubicBezTo>
                    <a:cubicBezTo>
                      <a:pt x="352" y="473"/>
                      <a:pt x="352" y="473"/>
                      <a:pt x="354" y="478"/>
                    </a:cubicBezTo>
                    <a:cubicBezTo>
                      <a:pt x="354" y="478"/>
                      <a:pt x="354" y="478"/>
                      <a:pt x="351" y="482"/>
                    </a:cubicBezTo>
                    <a:cubicBezTo>
                      <a:pt x="351" y="482"/>
                      <a:pt x="351" y="482"/>
                      <a:pt x="353" y="483"/>
                    </a:cubicBezTo>
                    <a:cubicBezTo>
                      <a:pt x="353" y="483"/>
                      <a:pt x="353" y="483"/>
                      <a:pt x="356" y="482"/>
                    </a:cubicBezTo>
                    <a:cubicBezTo>
                      <a:pt x="356" y="482"/>
                      <a:pt x="356" y="482"/>
                      <a:pt x="361" y="485"/>
                    </a:cubicBezTo>
                    <a:cubicBezTo>
                      <a:pt x="361" y="485"/>
                      <a:pt x="361" y="485"/>
                      <a:pt x="364" y="483"/>
                    </a:cubicBezTo>
                    <a:cubicBezTo>
                      <a:pt x="364" y="483"/>
                      <a:pt x="364" y="483"/>
                      <a:pt x="369" y="485"/>
                    </a:cubicBezTo>
                    <a:cubicBezTo>
                      <a:pt x="369" y="485"/>
                      <a:pt x="369" y="485"/>
                      <a:pt x="372" y="485"/>
                    </a:cubicBezTo>
                    <a:cubicBezTo>
                      <a:pt x="372" y="485"/>
                      <a:pt x="372" y="485"/>
                      <a:pt x="377" y="489"/>
                    </a:cubicBezTo>
                    <a:cubicBezTo>
                      <a:pt x="377" y="489"/>
                      <a:pt x="377" y="489"/>
                      <a:pt x="381" y="492"/>
                    </a:cubicBezTo>
                    <a:cubicBezTo>
                      <a:pt x="381" y="492"/>
                      <a:pt x="381" y="492"/>
                      <a:pt x="383" y="496"/>
                    </a:cubicBezTo>
                    <a:cubicBezTo>
                      <a:pt x="383" y="496"/>
                      <a:pt x="383" y="496"/>
                      <a:pt x="385" y="499"/>
                    </a:cubicBezTo>
                    <a:cubicBezTo>
                      <a:pt x="385" y="499"/>
                      <a:pt x="385" y="499"/>
                      <a:pt x="390" y="496"/>
                    </a:cubicBezTo>
                    <a:cubicBezTo>
                      <a:pt x="390" y="496"/>
                      <a:pt x="390" y="496"/>
                      <a:pt x="394" y="494"/>
                    </a:cubicBezTo>
                    <a:cubicBezTo>
                      <a:pt x="394" y="494"/>
                      <a:pt x="394" y="494"/>
                      <a:pt x="398" y="496"/>
                    </a:cubicBezTo>
                    <a:cubicBezTo>
                      <a:pt x="398" y="496"/>
                      <a:pt x="398" y="496"/>
                      <a:pt x="399" y="501"/>
                    </a:cubicBezTo>
                    <a:cubicBezTo>
                      <a:pt x="399" y="501"/>
                      <a:pt x="399" y="501"/>
                      <a:pt x="395" y="505"/>
                    </a:cubicBezTo>
                    <a:cubicBezTo>
                      <a:pt x="395" y="505"/>
                      <a:pt x="395" y="505"/>
                      <a:pt x="395" y="509"/>
                    </a:cubicBezTo>
                    <a:cubicBezTo>
                      <a:pt x="395" y="509"/>
                      <a:pt x="395" y="509"/>
                      <a:pt x="392" y="513"/>
                    </a:cubicBezTo>
                    <a:cubicBezTo>
                      <a:pt x="392" y="513"/>
                      <a:pt x="392" y="513"/>
                      <a:pt x="392" y="516"/>
                    </a:cubicBezTo>
                    <a:cubicBezTo>
                      <a:pt x="392" y="516"/>
                      <a:pt x="392" y="516"/>
                      <a:pt x="386" y="519"/>
                    </a:cubicBezTo>
                    <a:cubicBezTo>
                      <a:pt x="386" y="519"/>
                      <a:pt x="386" y="519"/>
                      <a:pt x="384" y="528"/>
                    </a:cubicBezTo>
                    <a:cubicBezTo>
                      <a:pt x="384" y="528"/>
                      <a:pt x="384" y="528"/>
                      <a:pt x="379" y="531"/>
                    </a:cubicBezTo>
                    <a:cubicBezTo>
                      <a:pt x="379" y="531"/>
                      <a:pt x="379" y="531"/>
                      <a:pt x="376" y="535"/>
                    </a:cubicBezTo>
                    <a:cubicBezTo>
                      <a:pt x="376" y="535"/>
                      <a:pt x="376" y="535"/>
                      <a:pt x="376" y="542"/>
                    </a:cubicBezTo>
                    <a:cubicBezTo>
                      <a:pt x="432" y="535"/>
                      <a:pt x="432" y="535"/>
                      <a:pt x="432" y="535"/>
                    </a:cubicBezTo>
                    <a:cubicBezTo>
                      <a:pt x="453" y="535"/>
                      <a:pt x="453" y="535"/>
                      <a:pt x="453" y="535"/>
                    </a:cubicBezTo>
                    <a:cubicBezTo>
                      <a:pt x="453" y="492"/>
                      <a:pt x="453" y="492"/>
                      <a:pt x="453" y="492"/>
                    </a:cubicBezTo>
                    <a:cubicBezTo>
                      <a:pt x="442" y="481"/>
                      <a:pt x="442" y="481"/>
                      <a:pt x="442" y="481"/>
                    </a:cubicBezTo>
                    <a:cubicBezTo>
                      <a:pt x="442" y="470"/>
                      <a:pt x="442" y="470"/>
                      <a:pt x="442" y="470"/>
                    </a:cubicBezTo>
                    <a:cubicBezTo>
                      <a:pt x="486" y="470"/>
                      <a:pt x="486" y="470"/>
                      <a:pt x="486" y="470"/>
                    </a:cubicBezTo>
                    <a:cubicBezTo>
                      <a:pt x="496" y="460"/>
                      <a:pt x="496" y="460"/>
                      <a:pt x="496" y="460"/>
                    </a:cubicBezTo>
                    <a:cubicBezTo>
                      <a:pt x="496" y="417"/>
                      <a:pt x="496" y="417"/>
                      <a:pt x="496" y="417"/>
                    </a:cubicBezTo>
                    <a:lnTo>
                      <a:pt x="486" y="40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90" name="Freeform 200" descr="© INSCALE GmbH, 05.05.2010&#10;http://www.presentationload.com/"/>
              <p:cNvSpPr>
                <a:spLocks noEditPoints="1"/>
              </p:cNvSpPr>
              <p:nvPr/>
            </p:nvSpPr>
            <p:spPr bwMode="gray">
              <a:xfrm>
                <a:off x="2268" y="1436"/>
                <a:ext cx="121" cy="122"/>
              </a:xfrm>
              <a:custGeom>
                <a:avLst/>
                <a:gdLst/>
                <a:ahLst/>
                <a:cxnLst>
                  <a:cxn ang="0">
                    <a:pos x="6" y="75"/>
                  </a:cxn>
                  <a:cxn ang="0">
                    <a:pos x="0" y="72"/>
                  </a:cxn>
                  <a:cxn ang="0">
                    <a:pos x="227" y="122"/>
                  </a:cxn>
                  <a:cxn ang="0">
                    <a:pos x="218" y="127"/>
                  </a:cxn>
                  <a:cxn ang="0">
                    <a:pos x="214" y="120"/>
                  </a:cxn>
                  <a:cxn ang="0">
                    <a:pos x="206" y="113"/>
                  </a:cxn>
                  <a:cxn ang="0">
                    <a:pos x="197" y="111"/>
                  </a:cxn>
                  <a:cxn ang="0">
                    <a:pos x="190" y="110"/>
                  </a:cxn>
                  <a:cxn ang="0">
                    <a:pos x="185" y="110"/>
                  </a:cxn>
                  <a:cxn ang="0">
                    <a:pos x="185" y="101"/>
                  </a:cxn>
                  <a:cxn ang="0">
                    <a:pos x="189" y="95"/>
                  </a:cxn>
                  <a:cxn ang="0">
                    <a:pos x="187" y="84"/>
                  </a:cxn>
                  <a:cxn ang="0">
                    <a:pos x="177" y="78"/>
                  </a:cxn>
                  <a:cxn ang="0">
                    <a:pos x="169" y="76"/>
                  </a:cxn>
                  <a:cxn ang="0">
                    <a:pos x="170" y="61"/>
                  </a:cxn>
                  <a:cxn ang="0">
                    <a:pos x="165" y="56"/>
                  </a:cxn>
                  <a:cxn ang="0">
                    <a:pos x="161" y="61"/>
                  </a:cxn>
                  <a:cxn ang="0">
                    <a:pos x="157" y="53"/>
                  </a:cxn>
                  <a:cxn ang="0">
                    <a:pos x="158" y="35"/>
                  </a:cxn>
                  <a:cxn ang="0">
                    <a:pos x="154" y="32"/>
                  </a:cxn>
                  <a:cxn ang="0">
                    <a:pos x="147" y="32"/>
                  </a:cxn>
                  <a:cxn ang="0">
                    <a:pos x="137" y="32"/>
                  </a:cxn>
                  <a:cxn ang="0">
                    <a:pos x="126" y="27"/>
                  </a:cxn>
                  <a:cxn ang="0">
                    <a:pos x="131" y="20"/>
                  </a:cxn>
                  <a:cxn ang="0">
                    <a:pos x="130" y="12"/>
                  </a:cxn>
                  <a:cxn ang="0">
                    <a:pos x="122" y="0"/>
                  </a:cxn>
                  <a:cxn ang="0">
                    <a:pos x="115" y="6"/>
                  </a:cxn>
                  <a:cxn ang="0">
                    <a:pos x="104" y="13"/>
                  </a:cxn>
                  <a:cxn ang="0">
                    <a:pos x="96" y="15"/>
                  </a:cxn>
                  <a:cxn ang="0">
                    <a:pos x="89" y="13"/>
                  </a:cxn>
                  <a:cxn ang="0">
                    <a:pos x="91" y="22"/>
                  </a:cxn>
                  <a:cxn ang="0">
                    <a:pos x="101" y="27"/>
                  </a:cxn>
                  <a:cxn ang="0">
                    <a:pos x="97" y="33"/>
                  </a:cxn>
                  <a:cxn ang="0">
                    <a:pos x="100" y="40"/>
                  </a:cxn>
                  <a:cxn ang="0">
                    <a:pos x="99" y="46"/>
                  </a:cxn>
                  <a:cxn ang="0">
                    <a:pos x="92" y="49"/>
                  </a:cxn>
                  <a:cxn ang="0">
                    <a:pos x="88" y="45"/>
                  </a:cxn>
                  <a:cxn ang="0">
                    <a:pos x="70" y="59"/>
                  </a:cxn>
                  <a:cxn ang="0">
                    <a:pos x="73" y="71"/>
                  </a:cxn>
                  <a:cxn ang="0">
                    <a:pos x="45" y="74"/>
                  </a:cxn>
                  <a:cxn ang="0">
                    <a:pos x="14" y="72"/>
                  </a:cxn>
                  <a:cxn ang="0">
                    <a:pos x="6" y="75"/>
                  </a:cxn>
                  <a:cxn ang="0">
                    <a:pos x="6" y="141"/>
                  </a:cxn>
                  <a:cxn ang="0">
                    <a:pos x="14" y="155"/>
                  </a:cxn>
                  <a:cxn ang="0">
                    <a:pos x="27" y="173"/>
                  </a:cxn>
                  <a:cxn ang="0">
                    <a:pos x="50" y="175"/>
                  </a:cxn>
                  <a:cxn ang="0">
                    <a:pos x="60" y="211"/>
                  </a:cxn>
                  <a:cxn ang="0">
                    <a:pos x="60" y="237"/>
                  </a:cxn>
                  <a:cxn ang="0">
                    <a:pos x="92" y="226"/>
                  </a:cxn>
                  <a:cxn ang="0">
                    <a:pos x="138" y="205"/>
                  </a:cxn>
                  <a:cxn ang="0">
                    <a:pos x="146" y="184"/>
                  </a:cxn>
                  <a:cxn ang="0">
                    <a:pos x="189" y="173"/>
                  </a:cxn>
                  <a:cxn ang="0">
                    <a:pos x="209" y="163"/>
                  </a:cxn>
                  <a:cxn ang="0">
                    <a:pos x="217" y="156"/>
                  </a:cxn>
                  <a:cxn ang="0">
                    <a:pos x="225" y="144"/>
                  </a:cxn>
                  <a:cxn ang="0">
                    <a:pos x="228" y="137"/>
                  </a:cxn>
                  <a:cxn ang="0">
                    <a:pos x="232" y="129"/>
                  </a:cxn>
                </a:cxnLst>
                <a:rect l="0" t="0" r="r" b="b"/>
                <a:pathLst>
                  <a:path w="232" h="237">
                    <a:moveTo>
                      <a:pt x="0" y="72"/>
                    </a:moveTo>
                    <a:cubicBezTo>
                      <a:pt x="1" y="72"/>
                      <a:pt x="2" y="73"/>
                      <a:pt x="6" y="75"/>
                    </a:cubicBezTo>
                    <a:cubicBezTo>
                      <a:pt x="6" y="66"/>
                      <a:pt x="6" y="66"/>
                      <a:pt x="6" y="66"/>
                    </a:cubicBezTo>
                    <a:lnTo>
                      <a:pt x="0" y="72"/>
                    </a:lnTo>
                    <a:close/>
                    <a:moveTo>
                      <a:pt x="231" y="124"/>
                    </a:moveTo>
                    <a:cubicBezTo>
                      <a:pt x="227" y="122"/>
                      <a:pt x="227" y="122"/>
                      <a:pt x="227" y="122"/>
                    </a:cubicBezTo>
                    <a:cubicBezTo>
                      <a:pt x="223" y="124"/>
                      <a:pt x="223" y="124"/>
                      <a:pt x="223" y="124"/>
                    </a:cubicBezTo>
                    <a:cubicBezTo>
                      <a:pt x="218" y="127"/>
                      <a:pt x="218" y="127"/>
                      <a:pt x="218" y="127"/>
                    </a:cubicBezTo>
                    <a:cubicBezTo>
                      <a:pt x="216" y="124"/>
                      <a:pt x="216" y="124"/>
                      <a:pt x="216" y="124"/>
                    </a:cubicBezTo>
                    <a:cubicBezTo>
                      <a:pt x="214" y="120"/>
                      <a:pt x="214" y="120"/>
                      <a:pt x="214" y="120"/>
                    </a:cubicBezTo>
                    <a:cubicBezTo>
                      <a:pt x="210" y="117"/>
                      <a:pt x="210" y="117"/>
                      <a:pt x="210" y="117"/>
                    </a:cubicBezTo>
                    <a:cubicBezTo>
                      <a:pt x="206" y="113"/>
                      <a:pt x="206" y="113"/>
                      <a:pt x="206" y="113"/>
                    </a:cubicBezTo>
                    <a:cubicBezTo>
                      <a:pt x="202" y="113"/>
                      <a:pt x="202" y="113"/>
                      <a:pt x="202" y="113"/>
                    </a:cubicBezTo>
                    <a:cubicBezTo>
                      <a:pt x="197" y="111"/>
                      <a:pt x="197" y="111"/>
                      <a:pt x="197" y="111"/>
                    </a:cubicBezTo>
                    <a:cubicBezTo>
                      <a:pt x="195" y="113"/>
                      <a:pt x="195" y="113"/>
                      <a:pt x="195" y="113"/>
                    </a:cubicBezTo>
                    <a:cubicBezTo>
                      <a:pt x="190" y="110"/>
                      <a:pt x="190" y="110"/>
                      <a:pt x="190" y="110"/>
                    </a:cubicBezTo>
                    <a:cubicBezTo>
                      <a:pt x="186" y="111"/>
                      <a:pt x="186" y="111"/>
                      <a:pt x="186" y="111"/>
                    </a:cubicBezTo>
                    <a:cubicBezTo>
                      <a:pt x="185" y="110"/>
                      <a:pt x="185" y="110"/>
                      <a:pt x="185" y="110"/>
                    </a:cubicBezTo>
                    <a:cubicBezTo>
                      <a:pt x="187" y="106"/>
                      <a:pt x="187" y="106"/>
                      <a:pt x="187" y="106"/>
                    </a:cubicBezTo>
                    <a:cubicBezTo>
                      <a:pt x="185" y="101"/>
                      <a:pt x="185" y="101"/>
                      <a:pt x="185" y="101"/>
                    </a:cubicBezTo>
                    <a:cubicBezTo>
                      <a:pt x="189" y="100"/>
                      <a:pt x="189" y="100"/>
                      <a:pt x="189" y="100"/>
                    </a:cubicBezTo>
                    <a:cubicBezTo>
                      <a:pt x="189" y="95"/>
                      <a:pt x="189" y="95"/>
                      <a:pt x="189" y="95"/>
                    </a:cubicBezTo>
                    <a:cubicBezTo>
                      <a:pt x="191" y="85"/>
                      <a:pt x="191" y="85"/>
                      <a:pt x="191" y="85"/>
                    </a:cubicBezTo>
                    <a:cubicBezTo>
                      <a:pt x="187" y="84"/>
                      <a:pt x="187" y="84"/>
                      <a:pt x="187" y="84"/>
                    </a:cubicBezTo>
                    <a:cubicBezTo>
                      <a:pt x="182" y="80"/>
                      <a:pt x="182" y="80"/>
                      <a:pt x="182" y="80"/>
                    </a:cubicBezTo>
                    <a:cubicBezTo>
                      <a:pt x="177" y="78"/>
                      <a:pt x="177" y="78"/>
                      <a:pt x="177" y="78"/>
                    </a:cubicBezTo>
                    <a:cubicBezTo>
                      <a:pt x="172" y="78"/>
                      <a:pt x="172" y="78"/>
                      <a:pt x="172" y="78"/>
                    </a:cubicBezTo>
                    <a:cubicBezTo>
                      <a:pt x="169" y="76"/>
                      <a:pt x="169" y="76"/>
                      <a:pt x="169" y="76"/>
                    </a:cubicBezTo>
                    <a:cubicBezTo>
                      <a:pt x="169" y="71"/>
                      <a:pt x="169" y="71"/>
                      <a:pt x="169" y="71"/>
                    </a:cubicBezTo>
                    <a:cubicBezTo>
                      <a:pt x="170" y="61"/>
                      <a:pt x="170" y="61"/>
                      <a:pt x="170" y="61"/>
                    </a:cubicBezTo>
                    <a:cubicBezTo>
                      <a:pt x="167" y="57"/>
                      <a:pt x="167" y="57"/>
                      <a:pt x="167" y="57"/>
                    </a:cubicBezTo>
                    <a:cubicBezTo>
                      <a:pt x="165" y="56"/>
                      <a:pt x="165" y="56"/>
                      <a:pt x="165" y="56"/>
                    </a:cubicBezTo>
                    <a:cubicBezTo>
                      <a:pt x="163" y="59"/>
                      <a:pt x="163" y="59"/>
                      <a:pt x="163" y="59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0"/>
                      <a:pt x="158" y="60"/>
                      <a:pt x="158" y="60"/>
                    </a:cubicBezTo>
                    <a:cubicBezTo>
                      <a:pt x="157" y="53"/>
                      <a:pt x="157" y="53"/>
                      <a:pt x="157" y="53"/>
                    </a:cubicBezTo>
                    <a:cubicBezTo>
                      <a:pt x="159" y="36"/>
                      <a:pt x="159" y="36"/>
                      <a:pt x="159" y="36"/>
                    </a:cubicBezTo>
                    <a:cubicBezTo>
                      <a:pt x="158" y="35"/>
                      <a:pt x="158" y="35"/>
                      <a:pt x="158" y="35"/>
                    </a:cubicBezTo>
                    <a:cubicBezTo>
                      <a:pt x="151" y="36"/>
                      <a:pt x="151" y="36"/>
                      <a:pt x="151" y="36"/>
                    </a:cubicBezTo>
                    <a:cubicBezTo>
                      <a:pt x="154" y="32"/>
                      <a:pt x="154" y="32"/>
                      <a:pt x="154" y="32"/>
                    </a:cubicBezTo>
                    <a:cubicBezTo>
                      <a:pt x="152" y="29"/>
                      <a:pt x="152" y="29"/>
                      <a:pt x="152" y="29"/>
                    </a:cubicBezTo>
                    <a:cubicBezTo>
                      <a:pt x="147" y="32"/>
                      <a:pt x="147" y="32"/>
                      <a:pt x="147" y="32"/>
                    </a:cubicBezTo>
                    <a:cubicBezTo>
                      <a:pt x="142" y="30"/>
                      <a:pt x="142" y="30"/>
                      <a:pt x="142" y="30"/>
                    </a:cubicBezTo>
                    <a:cubicBezTo>
                      <a:pt x="137" y="32"/>
                      <a:pt x="137" y="32"/>
                      <a:pt x="137" y="32"/>
                    </a:cubicBezTo>
                    <a:cubicBezTo>
                      <a:pt x="132" y="28"/>
                      <a:pt x="132" y="28"/>
                      <a:pt x="132" y="28"/>
                    </a:cubicBezTo>
                    <a:cubicBezTo>
                      <a:pt x="126" y="27"/>
                      <a:pt x="126" y="27"/>
                      <a:pt x="126" y="27"/>
                    </a:cubicBezTo>
                    <a:cubicBezTo>
                      <a:pt x="125" y="24"/>
                      <a:pt x="125" y="24"/>
                      <a:pt x="125" y="24"/>
                    </a:cubicBezTo>
                    <a:cubicBezTo>
                      <a:pt x="131" y="20"/>
                      <a:pt x="131" y="20"/>
                      <a:pt x="131" y="20"/>
                    </a:cubicBezTo>
                    <a:cubicBezTo>
                      <a:pt x="131" y="17"/>
                      <a:pt x="131" y="17"/>
                      <a:pt x="131" y="17"/>
                    </a:cubicBezTo>
                    <a:cubicBezTo>
                      <a:pt x="130" y="12"/>
                      <a:pt x="130" y="12"/>
                      <a:pt x="130" y="12"/>
                    </a:cubicBezTo>
                    <a:cubicBezTo>
                      <a:pt x="126" y="5"/>
                      <a:pt x="126" y="5"/>
                      <a:pt x="126" y="5"/>
                    </a:cubicBezTo>
                    <a:cubicBezTo>
                      <a:pt x="122" y="0"/>
                      <a:pt x="122" y="0"/>
                      <a:pt x="122" y="0"/>
                    </a:cubicBezTo>
                    <a:cubicBezTo>
                      <a:pt x="116" y="2"/>
                      <a:pt x="116" y="2"/>
                      <a:pt x="116" y="2"/>
                    </a:cubicBezTo>
                    <a:cubicBezTo>
                      <a:pt x="115" y="6"/>
                      <a:pt x="115" y="6"/>
                      <a:pt x="115" y="6"/>
                    </a:cubicBezTo>
                    <a:cubicBezTo>
                      <a:pt x="112" y="8"/>
                      <a:pt x="112" y="8"/>
                      <a:pt x="112" y="8"/>
                    </a:cubicBezTo>
                    <a:cubicBezTo>
                      <a:pt x="104" y="13"/>
                      <a:pt x="104" y="13"/>
                      <a:pt x="104" y="13"/>
                    </a:cubicBezTo>
                    <a:cubicBezTo>
                      <a:pt x="100" y="16"/>
                      <a:pt x="100" y="16"/>
                      <a:pt x="100" y="16"/>
                    </a:cubicBezTo>
                    <a:cubicBezTo>
                      <a:pt x="96" y="15"/>
                      <a:pt x="96" y="15"/>
                      <a:pt x="96" y="15"/>
                    </a:cubicBezTo>
                    <a:cubicBezTo>
                      <a:pt x="92" y="17"/>
                      <a:pt x="92" y="17"/>
                      <a:pt x="92" y="17"/>
                    </a:cubicBezTo>
                    <a:cubicBezTo>
                      <a:pt x="89" y="13"/>
                      <a:pt x="89" y="13"/>
                      <a:pt x="89" y="13"/>
                    </a:cubicBezTo>
                    <a:cubicBezTo>
                      <a:pt x="88" y="16"/>
                      <a:pt x="88" y="16"/>
                      <a:pt x="88" y="16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9" y="24"/>
                      <a:pt x="99" y="24"/>
                      <a:pt x="99" y="24"/>
                    </a:cubicBezTo>
                    <a:cubicBezTo>
                      <a:pt x="101" y="27"/>
                      <a:pt x="101" y="27"/>
                      <a:pt x="101" y="27"/>
                    </a:cubicBezTo>
                    <a:cubicBezTo>
                      <a:pt x="97" y="30"/>
                      <a:pt x="97" y="30"/>
                      <a:pt x="97" y="30"/>
                    </a:cubicBezTo>
                    <a:cubicBezTo>
                      <a:pt x="97" y="33"/>
                      <a:pt x="97" y="33"/>
                      <a:pt x="97" y="33"/>
                    </a:cubicBezTo>
                    <a:cubicBezTo>
                      <a:pt x="101" y="35"/>
                      <a:pt x="101" y="35"/>
                      <a:pt x="101" y="35"/>
                    </a:cubicBezTo>
                    <a:cubicBezTo>
                      <a:pt x="100" y="40"/>
                      <a:pt x="100" y="40"/>
                      <a:pt x="100" y="40"/>
                    </a:cubicBezTo>
                    <a:cubicBezTo>
                      <a:pt x="97" y="42"/>
                      <a:pt x="97" y="42"/>
                      <a:pt x="97" y="42"/>
                    </a:cubicBezTo>
                    <a:cubicBezTo>
                      <a:pt x="99" y="46"/>
                      <a:pt x="99" y="46"/>
                      <a:pt x="99" y="46"/>
                    </a:cubicBezTo>
                    <a:cubicBezTo>
                      <a:pt x="96" y="47"/>
                      <a:pt x="96" y="47"/>
                      <a:pt x="96" y="47"/>
                    </a:cubicBezTo>
                    <a:cubicBezTo>
                      <a:pt x="92" y="49"/>
                      <a:pt x="92" y="49"/>
                      <a:pt x="92" y="49"/>
                    </a:cubicBezTo>
                    <a:cubicBezTo>
                      <a:pt x="91" y="44"/>
                      <a:pt x="91" y="44"/>
                      <a:pt x="91" y="44"/>
                    </a:cubicBezTo>
                    <a:cubicBezTo>
                      <a:pt x="88" y="45"/>
                      <a:pt x="88" y="45"/>
                      <a:pt x="88" y="45"/>
                    </a:cubicBezTo>
                    <a:cubicBezTo>
                      <a:pt x="78" y="53"/>
                      <a:pt x="78" y="53"/>
                      <a:pt x="78" y="53"/>
                    </a:cubicBezTo>
                    <a:cubicBezTo>
                      <a:pt x="70" y="59"/>
                      <a:pt x="70" y="59"/>
                      <a:pt x="70" y="59"/>
                    </a:cubicBezTo>
                    <a:cubicBezTo>
                      <a:pt x="72" y="65"/>
                      <a:pt x="72" y="65"/>
                      <a:pt x="72" y="65"/>
                    </a:cubicBezTo>
                    <a:cubicBezTo>
                      <a:pt x="73" y="71"/>
                      <a:pt x="73" y="71"/>
                      <a:pt x="73" y="71"/>
                    </a:cubicBezTo>
                    <a:cubicBezTo>
                      <a:pt x="63" y="74"/>
                      <a:pt x="63" y="74"/>
                      <a:pt x="63" y="74"/>
                    </a:cubicBezTo>
                    <a:cubicBezTo>
                      <a:pt x="45" y="74"/>
                      <a:pt x="45" y="74"/>
                      <a:pt x="45" y="74"/>
                    </a:cubicBezTo>
                    <a:cubicBezTo>
                      <a:pt x="32" y="75"/>
                      <a:pt x="32" y="75"/>
                      <a:pt x="32" y="75"/>
                    </a:cubicBezTo>
                    <a:cubicBezTo>
                      <a:pt x="14" y="72"/>
                      <a:pt x="14" y="72"/>
                      <a:pt x="14" y="72"/>
                    </a:cubicBezTo>
                    <a:cubicBezTo>
                      <a:pt x="9" y="77"/>
                      <a:pt x="9" y="77"/>
                      <a:pt x="9" y="77"/>
                    </a:cubicBezTo>
                    <a:cubicBezTo>
                      <a:pt x="8" y="76"/>
                      <a:pt x="7" y="76"/>
                      <a:pt x="6" y="75"/>
                    </a:cubicBezTo>
                    <a:cubicBezTo>
                      <a:pt x="6" y="116"/>
                      <a:pt x="6" y="116"/>
                      <a:pt x="6" y="116"/>
                    </a:cubicBezTo>
                    <a:cubicBezTo>
                      <a:pt x="6" y="141"/>
                      <a:pt x="6" y="141"/>
                      <a:pt x="6" y="141"/>
                    </a:cubicBezTo>
                    <a:cubicBezTo>
                      <a:pt x="14" y="153"/>
                      <a:pt x="14" y="153"/>
                      <a:pt x="14" y="153"/>
                    </a:cubicBezTo>
                    <a:cubicBezTo>
                      <a:pt x="14" y="154"/>
                      <a:pt x="14" y="155"/>
                      <a:pt x="14" y="155"/>
                    </a:cubicBezTo>
                    <a:cubicBezTo>
                      <a:pt x="14" y="155"/>
                      <a:pt x="15" y="155"/>
                      <a:pt x="16" y="156"/>
                    </a:cubicBezTo>
                    <a:cubicBezTo>
                      <a:pt x="27" y="173"/>
                      <a:pt x="27" y="173"/>
                      <a:pt x="27" y="173"/>
                    </a:cubicBezTo>
                    <a:cubicBezTo>
                      <a:pt x="48" y="173"/>
                      <a:pt x="48" y="173"/>
                      <a:pt x="48" y="173"/>
                    </a:cubicBezTo>
                    <a:cubicBezTo>
                      <a:pt x="48" y="173"/>
                      <a:pt x="49" y="174"/>
                      <a:pt x="50" y="175"/>
                    </a:cubicBezTo>
                    <a:cubicBezTo>
                      <a:pt x="59" y="201"/>
                      <a:pt x="59" y="201"/>
                      <a:pt x="59" y="201"/>
                    </a:cubicBezTo>
                    <a:cubicBezTo>
                      <a:pt x="59" y="205"/>
                      <a:pt x="60" y="208"/>
                      <a:pt x="60" y="211"/>
                    </a:cubicBezTo>
                    <a:cubicBezTo>
                      <a:pt x="60" y="229"/>
                      <a:pt x="60" y="229"/>
                      <a:pt x="60" y="229"/>
                    </a:cubicBezTo>
                    <a:cubicBezTo>
                      <a:pt x="60" y="237"/>
                      <a:pt x="60" y="237"/>
                      <a:pt x="60" y="237"/>
                    </a:cubicBezTo>
                    <a:cubicBezTo>
                      <a:pt x="76" y="232"/>
                      <a:pt x="76" y="232"/>
                      <a:pt x="76" y="232"/>
                    </a:cubicBezTo>
                    <a:cubicBezTo>
                      <a:pt x="92" y="226"/>
                      <a:pt x="92" y="226"/>
                      <a:pt x="92" y="226"/>
                    </a:cubicBezTo>
                    <a:cubicBezTo>
                      <a:pt x="103" y="205"/>
                      <a:pt x="103" y="205"/>
                      <a:pt x="103" y="205"/>
                    </a:cubicBezTo>
                    <a:cubicBezTo>
                      <a:pt x="138" y="205"/>
                      <a:pt x="138" y="205"/>
                      <a:pt x="138" y="205"/>
                    </a:cubicBezTo>
                    <a:cubicBezTo>
                      <a:pt x="146" y="205"/>
                      <a:pt x="146" y="205"/>
                      <a:pt x="146" y="205"/>
                    </a:cubicBezTo>
                    <a:cubicBezTo>
                      <a:pt x="146" y="184"/>
                      <a:pt x="146" y="184"/>
                      <a:pt x="146" y="184"/>
                    </a:cubicBezTo>
                    <a:cubicBezTo>
                      <a:pt x="178" y="184"/>
                      <a:pt x="178" y="184"/>
                      <a:pt x="178" y="184"/>
                    </a:cubicBezTo>
                    <a:cubicBezTo>
                      <a:pt x="189" y="173"/>
                      <a:pt x="189" y="173"/>
                      <a:pt x="189" y="173"/>
                    </a:cubicBezTo>
                    <a:cubicBezTo>
                      <a:pt x="210" y="170"/>
                      <a:pt x="210" y="170"/>
                      <a:pt x="210" y="170"/>
                    </a:cubicBezTo>
                    <a:cubicBezTo>
                      <a:pt x="209" y="163"/>
                      <a:pt x="209" y="163"/>
                      <a:pt x="209" y="163"/>
                    </a:cubicBezTo>
                    <a:cubicBezTo>
                      <a:pt x="213" y="159"/>
                      <a:pt x="213" y="159"/>
                      <a:pt x="213" y="159"/>
                    </a:cubicBezTo>
                    <a:cubicBezTo>
                      <a:pt x="217" y="156"/>
                      <a:pt x="217" y="156"/>
                      <a:pt x="217" y="156"/>
                    </a:cubicBezTo>
                    <a:cubicBezTo>
                      <a:pt x="219" y="147"/>
                      <a:pt x="219" y="147"/>
                      <a:pt x="219" y="147"/>
                    </a:cubicBezTo>
                    <a:cubicBezTo>
                      <a:pt x="225" y="144"/>
                      <a:pt x="225" y="144"/>
                      <a:pt x="225" y="144"/>
                    </a:cubicBezTo>
                    <a:cubicBezTo>
                      <a:pt x="225" y="141"/>
                      <a:pt x="225" y="141"/>
                      <a:pt x="225" y="141"/>
                    </a:cubicBezTo>
                    <a:cubicBezTo>
                      <a:pt x="228" y="137"/>
                      <a:pt x="228" y="137"/>
                      <a:pt x="228" y="137"/>
                    </a:cubicBezTo>
                    <a:cubicBezTo>
                      <a:pt x="229" y="133"/>
                      <a:pt x="229" y="133"/>
                      <a:pt x="229" y="133"/>
                    </a:cubicBezTo>
                    <a:cubicBezTo>
                      <a:pt x="232" y="129"/>
                      <a:pt x="232" y="129"/>
                      <a:pt x="232" y="129"/>
                    </a:cubicBezTo>
                    <a:cubicBezTo>
                      <a:pt x="231" y="124"/>
                      <a:pt x="231" y="124"/>
                      <a:pt x="231" y="124"/>
                    </a:cubicBez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7" name="Group 6"/>
          <p:cNvGrpSpPr/>
          <p:nvPr/>
        </p:nvGrpSpPr>
        <p:grpSpPr>
          <a:xfrm>
            <a:off x="2303427" y="3740816"/>
            <a:ext cx="4190090" cy="2206895"/>
            <a:chOff x="4476319" y="1314512"/>
            <a:chExt cx="4190090" cy="2206895"/>
          </a:xfrm>
        </p:grpSpPr>
        <p:grpSp>
          <p:nvGrpSpPr>
            <p:cNvPr id="8" name="Group 7"/>
            <p:cNvGrpSpPr/>
            <p:nvPr/>
          </p:nvGrpSpPr>
          <p:grpSpPr>
            <a:xfrm>
              <a:off x="4476319" y="1314512"/>
              <a:ext cx="4190090" cy="615553"/>
              <a:chOff x="4476319" y="1314512"/>
              <a:chExt cx="4190090" cy="615553"/>
            </a:xfrm>
          </p:grpSpPr>
          <p:sp>
            <p:nvSpPr>
              <p:cNvPr id="21" name="TextBox 20"/>
              <p:cNvSpPr txBox="1"/>
              <p:nvPr/>
            </p:nvSpPr>
            <p:spPr>
              <a:xfrm>
                <a:off x="5540776" y="1391456"/>
                <a:ext cx="3125633" cy="461665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ea typeface="+mn-ea"/>
                    <a:cs typeface="+mn-cs"/>
                  </a:rPr>
                  <a:t>LOREM IPSUM 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 err="1">
                    <a:ln>
                      <a:noFill/>
                    </a:ln>
                    <a:effectLst/>
                    <a:uLnTx/>
                    <a:uFillTx/>
                    <a:ea typeface="+mn-ea"/>
                    <a:cs typeface="+mn-cs"/>
                  </a:rPr>
                  <a:t>Lorem</a:t>
                </a: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ea typeface="+mn-ea"/>
                    <a:cs typeface="+mn-cs"/>
                  </a:rPr>
                  <a:t> </a:t>
                </a:r>
                <a:r>
                  <a:rPr kumimoji="0" lang="en-US" sz="1000" b="0" i="0" u="none" strike="noStrike" kern="1200" cap="none" spc="0" normalizeH="0" baseline="0" noProof="0" dirty="0" err="1">
                    <a:ln>
                      <a:noFill/>
                    </a:ln>
                    <a:effectLst/>
                    <a:uLnTx/>
                    <a:uFillTx/>
                    <a:ea typeface="+mn-ea"/>
                    <a:cs typeface="+mn-cs"/>
                  </a:rPr>
                  <a:t>Ipsum</a:t>
                </a: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ea typeface="+mn-ea"/>
                    <a:cs typeface="+mn-cs"/>
                  </a:rPr>
                  <a:t> is simply dummy text of the printing and typesetting industry. </a:t>
                </a:r>
                <a:r>
                  <a:rPr kumimoji="0" lang="en-US" sz="1000" b="0" i="0" u="none" strike="noStrike" kern="1200" cap="none" spc="0" normalizeH="0" baseline="0" noProof="0" dirty="0" err="1">
                    <a:ln>
                      <a:noFill/>
                    </a:ln>
                    <a:effectLst/>
                    <a:uLnTx/>
                    <a:uFillTx/>
                    <a:ea typeface="+mn-ea"/>
                    <a:cs typeface="+mn-cs"/>
                  </a:rPr>
                  <a:t>Lorem</a:t>
                </a: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ea typeface="+mn-ea"/>
                    <a:cs typeface="+mn-cs"/>
                  </a:rPr>
                  <a:t> </a:t>
                </a:r>
                <a:r>
                  <a:rPr kumimoji="0" lang="en-US" sz="1000" b="0" i="0" u="none" strike="noStrike" kern="1200" cap="none" spc="0" normalizeH="0" baseline="0" noProof="0" dirty="0" err="1">
                    <a:ln>
                      <a:noFill/>
                    </a:ln>
                    <a:effectLst/>
                    <a:uLnTx/>
                    <a:uFillTx/>
                    <a:ea typeface="+mn-ea"/>
                    <a:cs typeface="+mn-cs"/>
                  </a:rPr>
                  <a:t>Ipsum</a:t>
                </a: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ea typeface="+mn-ea"/>
                    <a:cs typeface="+mn-cs"/>
                  </a:rPr>
                  <a:t> has been the industry's.</a:t>
                </a:r>
              </a:p>
            </p:txBody>
          </p:sp>
          <p:sp>
            <p:nvSpPr>
              <p:cNvPr id="22" name="TextBox 21"/>
              <p:cNvSpPr txBox="1"/>
              <p:nvPr/>
            </p:nvSpPr>
            <p:spPr>
              <a:xfrm>
                <a:off x="4476319" y="1314512"/>
                <a:ext cx="925545" cy="615553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E2583D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97%</a:t>
                </a:r>
              </a:p>
            </p:txBody>
          </p:sp>
        </p:grpSp>
        <p:cxnSp>
          <p:nvCxnSpPr>
            <p:cNvPr id="9" name="Straight Connector 8"/>
            <p:cNvCxnSpPr/>
            <p:nvPr/>
          </p:nvCxnSpPr>
          <p:spPr>
            <a:xfrm>
              <a:off x="4476319" y="1997646"/>
              <a:ext cx="4124654" cy="0"/>
            </a:xfrm>
            <a:prstGeom prst="line">
              <a:avLst/>
            </a:prstGeom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0" name="Group 9"/>
            <p:cNvGrpSpPr/>
            <p:nvPr/>
          </p:nvGrpSpPr>
          <p:grpSpPr>
            <a:xfrm>
              <a:off x="4476319" y="2065228"/>
              <a:ext cx="4170205" cy="660508"/>
              <a:chOff x="4496204" y="2062321"/>
              <a:chExt cx="4170205" cy="660508"/>
            </a:xfrm>
          </p:grpSpPr>
          <p:sp>
            <p:nvSpPr>
              <p:cNvPr id="17" name="TextBox 16"/>
              <p:cNvSpPr txBox="1"/>
              <p:nvPr/>
            </p:nvSpPr>
            <p:spPr>
              <a:xfrm>
                <a:off x="5540776" y="2161743"/>
                <a:ext cx="3125633" cy="461665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ea typeface="+mn-ea"/>
                    <a:cs typeface="+mn-cs"/>
                  </a:rPr>
                  <a:t>LOREM IPSUM 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 err="1">
                    <a:ln>
                      <a:noFill/>
                    </a:ln>
                    <a:effectLst/>
                    <a:uLnTx/>
                    <a:uFillTx/>
                    <a:ea typeface="+mn-ea"/>
                    <a:cs typeface="+mn-cs"/>
                  </a:rPr>
                  <a:t>Lorem</a:t>
                </a: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ea typeface="+mn-ea"/>
                    <a:cs typeface="+mn-cs"/>
                  </a:rPr>
                  <a:t> </a:t>
                </a:r>
                <a:r>
                  <a:rPr kumimoji="0" lang="en-US" sz="1000" b="0" i="0" u="none" strike="noStrike" kern="1200" cap="none" spc="0" normalizeH="0" baseline="0" noProof="0" dirty="0" err="1">
                    <a:ln>
                      <a:noFill/>
                    </a:ln>
                    <a:effectLst/>
                    <a:uLnTx/>
                    <a:uFillTx/>
                    <a:ea typeface="+mn-ea"/>
                    <a:cs typeface="+mn-cs"/>
                  </a:rPr>
                  <a:t>Ipsum</a:t>
                </a: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ea typeface="+mn-ea"/>
                    <a:cs typeface="+mn-cs"/>
                  </a:rPr>
                  <a:t> is simply dummy text of the printing and typesetting industry. </a:t>
                </a:r>
                <a:r>
                  <a:rPr kumimoji="0" lang="en-US" sz="1000" b="0" i="0" u="none" strike="noStrike" kern="1200" cap="none" spc="0" normalizeH="0" baseline="0" noProof="0" dirty="0" err="1">
                    <a:ln>
                      <a:noFill/>
                    </a:ln>
                    <a:effectLst/>
                    <a:uLnTx/>
                    <a:uFillTx/>
                    <a:ea typeface="+mn-ea"/>
                    <a:cs typeface="+mn-cs"/>
                  </a:rPr>
                  <a:t>Lorem</a:t>
                </a: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ea typeface="+mn-ea"/>
                    <a:cs typeface="+mn-cs"/>
                  </a:rPr>
                  <a:t> </a:t>
                </a:r>
                <a:r>
                  <a:rPr kumimoji="0" lang="en-US" sz="1000" b="0" i="0" u="none" strike="noStrike" kern="1200" cap="none" spc="0" normalizeH="0" baseline="0" noProof="0" dirty="0" err="1">
                    <a:ln>
                      <a:noFill/>
                    </a:ln>
                    <a:effectLst/>
                    <a:uLnTx/>
                    <a:uFillTx/>
                    <a:ea typeface="+mn-ea"/>
                    <a:cs typeface="+mn-cs"/>
                  </a:rPr>
                  <a:t>Ipsum</a:t>
                </a: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ea typeface="+mn-ea"/>
                    <a:cs typeface="+mn-cs"/>
                  </a:rPr>
                  <a:t> has been the industry's.</a:t>
                </a:r>
              </a:p>
            </p:txBody>
          </p:sp>
          <p:grpSp>
            <p:nvGrpSpPr>
              <p:cNvPr id="18" name="Group 17"/>
              <p:cNvGrpSpPr/>
              <p:nvPr/>
            </p:nvGrpSpPr>
            <p:grpSpPr>
              <a:xfrm>
                <a:off x="4496204" y="2062321"/>
                <a:ext cx="885775" cy="660508"/>
                <a:chOff x="4505304" y="2062321"/>
                <a:chExt cx="885775" cy="660508"/>
              </a:xfrm>
            </p:grpSpPr>
            <p:sp>
              <p:nvSpPr>
                <p:cNvPr id="19" name="TextBox 18"/>
                <p:cNvSpPr txBox="1"/>
                <p:nvPr/>
              </p:nvSpPr>
              <p:spPr>
                <a:xfrm>
                  <a:off x="4522818" y="2062321"/>
                  <a:ext cx="850746" cy="615553"/>
                </a:xfrm>
                <a:prstGeom prst="rect">
                  <a:avLst/>
                </a:prstGeom>
                <a:noFill/>
                <a:ln w="6350">
                  <a:noFill/>
                  <a:prstDash val="dash"/>
                </a:ln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40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78D2D2"/>
                      </a:solidFill>
                      <a:effectLst/>
                      <a:uLnTx/>
                      <a:uFillTx/>
                      <a:ea typeface="+mn-ea"/>
                      <a:cs typeface="+mn-cs"/>
                    </a:rPr>
                    <a:t>780</a:t>
                  </a:r>
                </a:p>
              </p:txBody>
            </p:sp>
            <p:sp>
              <p:nvSpPr>
                <p:cNvPr id="20" name="TextBox 19"/>
                <p:cNvSpPr txBox="1"/>
                <p:nvPr/>
              </p:nvSpPr>
              <p:spPr>
                <a:xfrm>
                  <a:off x="4505304" y="2568941"/>
                  <a:ext cx="885775" cy="153888"/>
                </a:xfrm>
                <a:prstGeom prst="rect">
                  <a:avLst/>
                </a:prstGeom>
                <a:noFill/>
                <a:ln w="6350">
                  <a:noFill/>
                  <a:prstDash val="dash"/>
                </a:ln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78D2D2"/>
                      </a:solidFill>
                      <a:effectLst/>
                      <a:uLnTx/>
                      <a:uFillTx/>
                      <a:ea typeface="+mn-ea"/>
                      <a:cs typeface="+mn-cs"/>
                    </a:rPr>
                    <a:t>MILLION PEOPLE</a:t>
                  </a:r>
                  <a:r>
                    <a:rPr kumimoji="0" lang="en-US" sz="1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78D2D2"/>
                      </a:solidFill>
                      <a:effectLst/>
                      <a:uLnTx/>
                      <a:uFillTx/>
                      <a:ea typeface="+mn-ea"/>
                      <a:cs typeface="+mn-cs"/>
                    </a:rPr>
                    <a:t> </a:t>
                  </a:r>
                </a:p>
              </p:txBody>
            </p:sp>
          </p:grpSp>
        </p:grpSp>
        <p:grpSp>
          <p:nvGrpSpPr>
            <p:cNvPr id="11" name="Group 10"/>
            <p:cNvGrpSpPr/>
            <p:nvPr/>
          </p:nvGrpSpPr>
          <p:grpSpPr>
            <a:xfrm>
              <a:off x="4476319" y="2860899"/>
              <a:ext cx="4170205" cy="660508"/>
              <a:chOff x="4496204" y="2062321"/>
              <a:chExt cx="4170205" cy="660508"/>
            </a:xfrm>
          </p:grpSpPr>
          <p:sp>
            <p:nvSpPr>
              <p:cNvPr id="13" name="TextBox 12"/>
              <p:cNvSpPr txBox="1"/>
              <p:nvPr/>
            </p:nvSpPr>
            <p:spPr>
              <a:xfrm>
                <a:off x="5540776" y="2161743"/>
                <a:ext cx="3125633" cy="461665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ea typeface="+mn-ea"/>
                    <a:cs typeface="+mn-cs"/>
                  </a:rPr>
                  <a:t>LOREM IPSUM 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 err="1">
                    <a:ln>
                      <a:noFill/>
                    </a:ln>
                    <a:effectLst/>
                    <a:uLnTx/>
                    <a:uFillTx/>
                    <a:ea typeface="+mn-ea"/>
                    <a:cs typeface="+mn-cs"/>
                  </a:rPr>
                  <a:t>Lorem</a:t>
                </a: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ea typeface="+mn-ea"/>
                    <a:cs typeface="+mn-cs"/>
                  </a:rPr>
                  <a:t> </a:t>
                </a:r>
                <a:r>
                  <a:rPr kumimoji="0" lang="en-US" sz="1000" b="0" i="0" u="none" strike="noStrike" kern="1200" cap="none" spc="0" normalizeH="0" baseline="0" noProof="0" dirty="0" err="1">
                    <a:ln>
                      <a:noFill/>
                    </a:ln>
                    <a:effectLst/>
                    <a:uLnTx/>
                    <a:uFillTx/>
                    <a:ea typeface="+mn-ea"/>
                    <a:cs typeface="+mn-cs"/>
                  </a:rPr>
                  <a:t>Ipsum</a:t>
                </a: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ea typeface="+mn-ea"/>
                    <a:cs typeface="+mn-cs"/>
                  </a:rPr>
                  <a:t> is simply dummy text of the printing and typesetting industry. </a:t>
                </a:r>
                <a:r>
                  <a:rPr kumimoji="0" lang="en-US" sz="1000" b="0" i="0" u="none" strike="noStrike" kern="1200" cap="none" spc="0" normalizeH="0" baseline="0" noProof="0" dirty="0" err="1">
                    <a:ln>
                      <a:noFill/>
                    </a:ln>
                    <a:effectLst/>
                    <a:uLnTx/>
                    <a:uFillTx/>
                    <a:ea typeface="+mn-ea"/>
                    <a:cs typeface="+mn-cs"/>
                  </a:rPr>
                  <a:t>Lorem</a:t>
                </a: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ea typeface="+mn-ea"/>
                    <a:cs typeface="+mn-cs"/>
                  </a:rPr>
                  <a:t> </a:t>
                </a:r>
                <a:r>
                  <a:rPr kumimoji="0" lang="en-US" sz="1000" b="0" i="0" u="none" strike="noStrike" kern="1200" cap="none" spc="0" normalizeH="0" baseline="0" noProof="0" dirty="0" err="1">
                    <a:ln>
                      <a:noFill/>
                    </a:ln>
                    <a:effectLst/>
                    <a:uLnTx/>
                    <a:uFillTx/>
                    <a:ea typeface="+mn-ea"/>
                    <a:cs typeface="+mn-cs"/>
                  </a:rPr>
                  <a:t>Ipsum</a:t>
                </a: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ea typeface="+mn-ea"/>
                    <a:cs typeface="+mn-cs"/>
                  </a:rPr>
                  <a:t> has been the industry's.</a:t>
                </a:r>
              </a:p>
            </p:txBody>
          </p:sp>
          <p:grpSp>
            <p:nvGrpSpPr>
              <p:cNvPr id="14" name="Group 13"/>
              <p:cNvGrpSpPr/>
              <p:nvPr/>
            </p:nvGrpSpPr>
            <p:grpSpPr>
              <a:xfrm>
                <a:off x="4496204" y="2062321"/>
                <a:ext cx="885775" cy="660508"/>
                <a:chOff x="4505304" y="2062321"/>
                <a:chExt cx="885775" cy="660508"/>
              </a:xfrm>
            </p:grpSpPr>
            <p:sp>
              <p:nvSpPr>
                <p:cNvPr id="15" name="TextBox 14"/>
                <p:cNvSpPr txBox="1"/>
                <p:nvPr/>
              </p:nvSpPr>
              <p:spPr>
                <a:xfrm>
                  <a:off x="4522818" y="2062321"/>
                  <a:ext cx="850746" cy="615553"/>
                </a:xfrm>
                <a:prstGeom prst="rect">
                  <a:avLst/>
                </a:prstGeom>
                <a:noFill/>
                <a:ln w="6350">
                  <a:noFill/>
                  <a:prstDash val="dash"/>
                </a:ln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40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B3939"/>
                      </a:solidFill>
                      <a:effectLst/>
                      <a:uLnTx/>
                      <a:uFillTx/>
                      <a:ea typeface="+mn-ea"/>
                      <a:cs typeface="+mn-cs"/>
                    </a:rPr>
                    <a:t>2.5</a:t>
                  </a:r>
                </a:p>
              </p:txBody>
            </p:sp>
            <p:sp>
              <p:nvSpPr>
                <p:cNvPr id="16" name="TextBox 15"/>
                <p:cNvSpPr txBox="1"/>
                <p:nvPr/>
              </p:nvSpPr>
              <p:spPr>
                <a:xfrm>
                  <a:off x="4505304" y="2568941"/>
                  <a:ext cx="885775" cy="153888"/>
                </a:xfrm>
                <a:prstGeom prst="rect">
                  <a:avLst/>
                </a:prstGeom>
                <a:noFill/>
                <a:ln w="6350">
                  <a:noFill/>
                  <a:prstDash val="dash"/>
                </a:ln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B3939"/>
                      </a:solidFill>
                      <a:effectLst/>
                      <a:uLnTx/>
                      <a:uFillTx/>
                      <a:ea typeface="+mn-ea"/>
                      <a:cs typeface="+mn-cs"/>
                    </a:rPr>
                    <a:t>BILLION PEOPLE</a:t>
                  </a:r>
                  <a:r>
                    <a:rPr kumimoji="0" lang="en-US" sz="1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B3939"/>
                      </a:solidFill>
                      <a:effectLst/>
                      <a:uLnTx/>
                      <a:uFillTx/>
                      <a:ea typeface="+mn-ea"/>
                      <a:cs typeface="+mn-cs"/>
                    </a:rPr>
                    <a:t> </a:t>
                  </a:r>
                </a:p>
              </p:txBody>
            </p:sp>
          </p:grpSp>
        </p:grpSp>
        <p:cxnSp>
          <p:nvCxnSpPr>
            <p:cNvPr id="12" name="Straight Connector 11"/>
            <p:cNvCxnSpPr/>
            <p:nvPr/>
          </p:nvCxnSpPr>
          <p:spPr>
            <a:xfrm>
              <a:off x="4476319" y="2793317"/>
              <a:ext cx="4124654" cy="0"/>
            </a:xfrm>
            <a:prstGeom prst="line">
              <a:avLst/>
            </a:prstGeom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3" name="Group 202"/>
          <p:cNvGrpSpPr/>
          <p:nvPr/>
        </p:nvGrpSpPr>
        <p:grpSpPr>
          <a:xfrm>
            <a:off x="6810034" y="4637056"/>
            <a:ext cx="3539336" cy="1129952"/>
            <a:chOff x="5058564" y="3757281"/>
            <a:chExt cx="3539336" cy="1129952"/>
          </a:xfrm>
        </p:grpSpPr>
        <p:sp>
          <p:nvSpPr>
            <p:cNvPr id="238" name="TextBox 237"/>
            <p:cNvSpPr txBox="1"/>
            <p:nvPr/>
          </p:nvSpPr>
          <p:spPr>
            <a:xfrm>
              <a:off x="5058564" y="3757281"/>
              <a:ext cx="3125633" cy="153888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TOP DEVICE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39" name="TextBox 238"/>
            <p:cNvSpPr txBox="1"/>
            <p:nvPr/>
          </p:nvSpPr>
          <p:spPr>
            <a:xfrm>
              <a:off x="5058564" y="3912607"/>
              <a:ext cx="3539336" cy="974626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172800" marR="0" lvl="0" indent="-1728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Lorem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Ipsum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 is simply dummy text of the printing</a:t>
              </a:r>
            </a:p>
            <a:p>
              <a:pPr marL="172800" marR="0" lvl="0" indent="-1728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Lorem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Ipsum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 is simply dummy text of the printing</a:t>
              </a:r>
            </a:p>
            <a:p>
              <a:pPr marL="172800" marR="0" lvl="0" indent="-1728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Lorem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Ipsum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 is simply dummy text of the printing</a:t>
              </a:r>
            </a:p>
            <a:p>
              <a:pPr marL="172800" marR="0" lvl="0" indent="-1728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Lorem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Ipsum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 is simply dummy text of the printing</a:t>
              </a:r>
            </a:p>
            <a:p>
              <a:pPr marL="172800" marR="0" lvl="0" indent="-1728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Lorem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Ipsum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 is simply dummy text of the printing</a:t>
              </a:r>
            </a:p>
          </p:txBody>
        </p:sp>
      </p:grpSp>
      <p:grpSp>
        <p:nvGrpSpPr>
          <p:cNvPr id="241" name="Group 240"/>
          <p:cNvGrpSpPr/>
          <p:nvPr/>
        </p:nvGrpSpPr>
        <p:grpSpPr>
          <a:xfrm>
            <a:off x="6738166" y="4049296"/>
            <a:ext cx="360000" cy="360000"/>
            <a:chOff x="6738166" y="4049296"/>
            <a:chExt cx="360000" cy="360000"/>
          </a:xfrm>
        </p:grpSpPr>
        <p:sp>
          <p:nvSpPr>
            <p:cNvPr id="235" name="Oval 234"/>
            <p:cNvSpPr>
              <a:spLocks noChangeAspect="1"/>
            </p:cNvSpPr>
            <p:nvPr/>
          </p:nvSpPr>
          <p:spPr>
            <a:xfrm>
              <a:off x="6738166" y="4049296"/>
              <a:ext cx="360000" cy="360000"/>
            </a:xfrm>
            <a:prstGeom prst="ellipse">
              <a:avLst/>
            </a:prstGeom>
            <a:noFill/>
            <a:ln w="19050">
              <a:solidFill>
                <a:srgbClr val="AFABA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6" name="Arc 235"/>
            <p:cNvSpPr>
              <a:spLocks noChangeAspect="1"/>
            </p:cNvSpPr>
            <p:nvPr/>
          </p:nvSpPr>
          <p:spPr>
            <a:xfrm>
              <a:off x="6738166" y="4049296"/>
              <a:ext cx="360000" cy="360000"/>
            </a:xfrm>
            <a:prstGeom prst="arc">
              <a:avLst>
                <a:gd name="adj1" fmla="val 16200000"/>
                <a:gd name="adj2" fmla="val 7056389"/>
              </a:avLst>
            </a:prstGeom>
            <a:noFill/>
            <a:ln w="19050">
              <a:solidFill>
                <a:srgbClr val="E2583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37" name="TextBox 236"/>
          <p:cNvSpPr txBox="1"/>
          <p:nvPr/>
        </p:nvSpPr>
        <p:spPr>
          <a:xfrm>
            <a:off x="6783156" y="4162052"/>
            <a:ext cx="293445" cy="153888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E2583D"/>
                </a:solidFill>
                <a:effectLst/>
                <a:uLnTx/>
                <a:uFillTx/>
                <a:ea typeface="+mn-ea"/>
                <a:cs typeface="+mn-cs"/>
              </a:rPr>
              <a:t>65%</a:t>
            </a:r>
          </a:p>
        </p:txBody>
      </p:sp>
      <p:grpSp>
        <p:nvGrpSpPr>
          <p:cNvPr id="230" name="Group 229"/>
          <p:cNvGrpSpPr/>
          <p:nvPr/>
        </p:nvGrpSpPr>
        <p:grpSpPr>
          <a:xfrm>
            <a:off x="7184661" y="4048412"/>
            <a:ext cx="598620" cy="361768"/>
            <a:chOff x="5638712" y="3032968"/>
            <a:chExt cx="598620" cy="361768"/>
          </a:xfrm>
        </p:grpSpPr>
        <p:grpSp>
          <p:nvGrpSpPr>
            <p:cNvPr id="231" name="Group 230"/>
            <p:cNvGrpSpPr/>
            <p:nvPr/>
          </p:nvGrpSpPr>
          <p:grpSpPr>
            <a:xfrm>
              <a:off x="5638712" y="3032968"/>
              <a:ext cx="598620" cy="215444"/>
              <a:chOff x="5638712" y="3032968"/>
              <a:chExt cx="598620" cy="215444"/>
            </a:xfrm>
          </p:grpSpPr>
          <p:sp>
            <p:nvSpPr>
              <p:cNvPr id="233" name="Freeform 8"/>
              <p:cNvSpPr>
                <a:spLocks noChangeAspect="1"/>
              </p:cNvSpPr>
              <p:nvPr/>
            </p:nvSpPr>
            <p:spPr bwMode="auto">
              <a:xfrm flipV="1">
                <a:off x="6095514" y="3091599"/>
                <a:ext cx="141818" cy="98182"/>
              </a:xfrm>
              <a:custGeom>
                <a:avLst/>
                <a:gdLst>
                  <a:gd name="T0" fmla="*/ 95 w 96"/>
                  <a:gd name="T1" fmla="*/ 9 h 66"/>
                  <a:gd name="T2" fmla="*/ 85 w 96"/>
                  <a:gd name="T3" fmla="*/ 0 h 66"/>
                  <a:gd name="T4" fmla="*/ 84 w 96"/>
                  <a:gd name="T5" fmla="*/ 0 h 66"/>
                  <a:gd name="T6" fmla="*/ 82 w 96"/>
                  <a:gd name="T7" fmla="*/ 1 h 66"/>
                  <a:gd name="T8" fmla="*/ 48 w 96"/>
                  <a:gd name="T9" fmla="*/ 41 h 66"/>
                  <a:gd name="T10" fmla="*/ 14 w 96"/>
                  <a:gd name="T11" fmla="*/ 1 h 66"/>
                  <a:gd name="T12" fmla="*/ 13 w 96"/>
                  <a:gd name="T13" fmla="*/ 0 h 66"/>
                  <a:gd name="T14" fmla="*/ 11 w 96"/>
                  <a:gd name="T15" fmla="*/ 0 h 66"/>
                  <a:gd name="T16" fmla="*/ 1 w 96"/>
                  <a:gd name="T17" fmla="*/ 9 h 66"/>
                  <a:gd name="T18" fmla="*/ 0 w 96"/>
                  <a:gd name="T19" fmla="*/ 11 h 66"/>
                  <a:gd name="T20" fmla="*/ 1 w 96"/>
                  <a:gd name="T21" fmla="*/ 12 h 66"/>
                  <a:gd name="T22" fmla="*/ 47 w 96"/>
                  <a:gd name="T23" fmla="*/ 65 h 66"/>
                  <a:gd name="T24" fmla="*/ 48 w 96"/>
                  <a:gd name="T25" fmla="*/ 66 h 66"/>
                  <a:gd name="T26" fmla="*/ 50 w 96"/>
                  <a:gd name="T27" fmla="*/ 65 h 66"/>
                  <a:gd name="T28" fmla="*/ 96 w 96"/>
                  <a:gd name="T29" fmla="*/ 12 h 66"/>
                  <a:gd name="T30" fmla="*/ 96 w 96"/>
                  <a:gd name="T31" fmla="*/ 11 h 66"/>
                  <a:gd name="T32" fmla="*/ 95 w 96"/>
                  <a:gd name="T33" fmla="*/ 9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6" h="66">
                    <a:moveTo>
                      <a:pt x="95" y="9"/>
                    </a:moveTo>
                    <a:cubicBezTo>
                      <a:pt x="85" y="0"/>
                      <a:pt x="85" y="0"/>
                      <a:pt x="85" y="0"/>
                    </a:cubicBezTo>
                    <a:cubicBezTo>
                      <a:pt x="85" y="0"/>
                      <a:pt x="84" y="0"/>
                      <a:pt x="84" y="0"/>
                    </a:cubicBezTo>
                    <a:cubicBezTo>
                      <a:pt x="83" y="0"/>
                      <a:pt x="83" y="0"/>
                      <a:pt x="82" y="1"/>
                    </a:cubicBezTo>
                    <a:cubicBezTo>
                      <a:pt x="48" y="41"/>
                      <a:pt x="48" y="41"/>
                      <a:pt x="48" y="41"/>
                    </a:cubicBezTo>
                    <a:cubicBezTo>
                      <a:pt x="14" y="1"/>
                      <a:pt x="14" y="1"/>
                      <a:pt x="14" y="1"/>
                    </a:cubicBezTo>
                    <a:cubicBezTo>
                      <a:pt x="14" y="0"/>
                      <a:pt x="13" y="0"/>
                      <a:pt x="13" y="0"/>
                    </a:cubicBezTo>
                    <a:cubicBezTo>
                      <a:pt x="12" y="0"/>
                      <a:pt x="11" y="0"/>
                      <a:pt x="11" y="0"/>
                    </a:cubicBezTo>
                    <a:cubicBezTo>
                      <a:pt x="1" y="9"/>
                      <a:pt x="1" y="9"/>
                      <a:pt x="1" y="9"/>
                    </a:cubicBezTo>
                    <a:cubicBezTo>
                      <a:pt x="0" y="10"/>
                      <a:pt x="0" y="10"/>
                      <a:pt x="0" y="11"/>
                    </a:cubicBezTo>
                    <a:cubicBezTo>
                      <a:pt x="0" y="11"/>
                      <a:pt x="0" y="12"/>
                      <a:pt x="1" y="12"/>
                    </a:cubicBezTo>
                    <a:cubicBezTo>
                      <a:pt x="47" y="65"/>
                      <a:pt x="47" y="65"/>
                      <a:pt x="47" y="65"/>
                    </a:cubicBezTo>
                    <a:cubicBezTo>
                      <a:pt x="47" y="66"/>
                      <a:pt x="47" y="66"/>
                      <a:pt x="48" y="66"/>
                    </a:cubicBezTo>
                    <a:cubicBezTo>
                      <a:pt x="49" y="66"/>
                      <a:pt x="49" y="66"/>
                      <a:pt x="50" y="65"/>
                    </a:cubicBezTo>
                    <a:cubicBezTo>
                      <a:pt x="96" y="12"/>
                      <a:pt x="96" y="12"/>
                      <a:pt x="96" y="12"/>
                    </a:cubicBezTo>
                    <a:cubicBezTo>
                      <a:pt x="96" y="12"/>
                      <a:pt x="96" y="11"/>
                      <a:pt x="96" y="11"/>
                    </a:cubicBezTo>
                    <a:cubicBezTo>
                      <a:pt x="96" y="10"/>
                      <a:pt x="96" y="10"/>
                      <a:pt x="95" y="9"/>
                    </a:cubicBezTo>
                    <a:close/>
                  </a:path>
                </a:pathLst>
              </a:custGeom>
              <a:solidFill>
                <a:srgbClr val="E2583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34" name="TextBox 233"/>
              <p:cNvSpPr txBox="1"/>
              <p:nvPr/>
            </p:nvSpPr>
            <p:spPr>
              <a:xfrm>
                <a:off x="5638712" y="3032968"/>
                <a:ext cx="455807" cy="215444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ea typeface="+mn-ea"/>
                    <a:cs typeface="+mn-cs"/>
                  </a:rPr>
                  <a:t>6,327</a:t>
                </a: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</p:grpSp>
        <p:sp>
          <p:nvSpPr>
            <p:cNvPr id="232" name="TextBox 231"/>
            <p:cNvSpPr txBox="1"/>
            <p:nvPr/>
          </p:nvSpPr>
          <p:spPr>
            <a:xfrm>
              <a:off x="5670496" y="3240848"/>
              <a:ext cx="535053" cy="153888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download</a:t>
              </a:r>
            </a:p>
          </p:txBody>
        </p:sp>
      </p:grpSp>
      <p:grpSp>
        <p:nvGrpSpPr>
          <p:cNvPr id="242" name="Group 241"/>
          <p:cNvGrpSpPr/>
          <p:nvPr/>
        </p:nvGrpSpPr>
        <p:grpSpPr>
          <a:xfrm>
            <a:off x="8027898" y="4049296"/>
            <a:ext cx="360000" cy="360000"/>
            <a:chOff x="8027898" y="4049296"/>
            <a:chExt cx="360000" cy="360000"/>
          </a:xfrm>
        </p:grpSpPr>
        <p:sp>
          <p:nvSpPr>
            <p:cNvPr id="226" name="Oval 225"/>
            <p:cNvSpPr>
              <a:spLocks noChangeAspect="1"/>
            </p:cNvSpPr>
            <p:nvPr/>
          </p:nvSpPr>
          <p:spPr>
            <a:xfrm>
              <a:off x="8027898" y="4049296"/>
              <a:ext cx="360000" cy="360000"/>
            </a:xfrm>
            <a:prstGeom prst="ellipse">
              <a:avLst/>
            </a:prstGeom>
            <a:noFill/>
            <a:ln w="19050">
              <a:solidFill>
                <a:srgbClr val="AFABA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7" name="Arc 226"/>
            <p:cNvSpPr>
              <a:spLocks noChangeAspect="1"/>
            </p:cNvSpPr>
            <p:nvPr/>
          </p:nvSpPr>
          <p:spPr>
            <a:xfrm>
              <a:off x="8027898" y="4049296"/>
              <a:ext cx="360000" cy="360000"/>
            </a:xfrm>
            <a:prstGeom prst="arc">
              <a:avLst>
                <a:gd name="adj1" fmla="val 16200000"/>
                <a:gd name="adj2" fmla="val 3719116"/>
              </a:avLst>
            </a:prstGeom>
            <a:noFill/>
            <a:ln w="19050">
              <a:solidFill>
                <a:srgbClr val="78D2D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28" name="TextBox 227"/>
          <p:cNvSpPr txBox="1"/>
          <p:nvPr/>
        </p:nvSpPr>
        <p:spPr>
          <a:xfrm>
            <a:off x="8072888" y="4162052"/>
            <a:ext cx="293445" cy="153888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78D2D2"/>
                </a:solidFill>
                <a:effectLst/>
                <a:uLnTx/>
                <a:uFillTx/>
                <a:ea typeface="+mn-ea"/>
                <a:cs typeface="+mn-cs"/>
              </a:rPr>
              <a:t>45%</a:t>
            </a:r>
          </a:p>
        </p:txBody>
      </p:sp>
      <p:grpSp>
        <p:nvGrpSpPr>
          <p:cNvPr id="221" name="Group 220"/>
          <p:cNvGrpSpPr/>
          <p:nvPr/>
        </p:nvGrpSpPr>
        <p:grpSpPr>
          <a:xfrm>
            <a:off x="8474393" y="4048412"/>
            <a:ext cx="598620" cy="361768"/>
            <a:chOff x="5638712" y="3032968"/>
            <a:chExt cx="598620" cy="361768"/>
          </a:xfrm>
        </p:grpSpPr>
        <p:grpSp>
          <p:nvGrpSpPr>
            <p:cNvPr id="222" name="Group 221"/>
            <p:cNvGrpSpPr/>
            <p:nvPr/>
          </p:nvGrpSpPr>
          <p:grpSpPr>
            <a:xfrm>
              <a:off x="5638712" y="3032968"/>
              <a:ext cx="598620" cy="215444"/>
              <a:chOff x="5638712" y="3032968"/>
              <a:chExt cx="598620" cy="215444"/>
            </a:xfrm>
          </p:grpSpPr>
          <p:sp>
            <p:nvSpPr>
              <p:cNvPr id="224" name="Freeform 8"/>
              <p:cNvSpPr>
                <a:spLocks noChangeAspect="1"/>
              </p:cNvSpPr>
              <p:nvPr/>
            </p:nvSpPr>
            <p:spPr bwMode="auto">
              <a:xfrm flipV="1">
                <a:off x="6095514" y="3091599"/>
                <a:ext cx="141818" cy="98182"/>
              </a:xfrm>
              <a:custGeom>
                <a:avLst/>
                <a:gdLst>
                  <a:gd name="T0" fmla="*/ 95 w 96"/>
                  <a:gd name="T1" fmla="*/ 9 h 66"/>
                  <a:gd name="T2" fmla="*/ 85 w 96"/>
                  <a:gd name="T3" fmla="*/ 0 h 66"/>
                  <a:gd name="T4" fmla="*/ 84 w 96"/>
                  <a:gd name="T5" fmla="*/ 0 h 66"/>
                  <a:gd name="T6" fmla="*/ 82 w 96"/>
                  <a:gd name="T7" fmla="*/ 1 h 66"/>
                  <a:gd name="T8" fmla="*/ 48 w 96"/>
                  <a:gd name="T9" fmla="*/ 41 h 66"/>
                  <a:gd name="T10" fmla="*/ 14 w 96"/>
                  <a:gd name="T11" fmla="*/ 1 h 66"/>
                  <a:gd name="T12" fmla="*/ 13 w 96"/>
                  <a:gd name="T13" fmla="*/ 0 h 66"/>
                  <a:gd name="T14" fmla="*/ 11 w 96"/>
                  <a:gd name="T15" fmla="*/ 0 h 66"/>
                  <a:gd name="T16" fmla="*/ 1 w 96"/>
                  <a:gd name="T17" fmla="*/ 9 h 66"/>
                  <a:gd name="T18" fmla="*/ 0 w 96"/>
                  <a:gd name="T19" fmla="*/ 11 h 66"/>
                  <a:gd name="T20" fmla="*/ 1 w 96"/>
                  <a:gd name="T21" fmla="*/ 12 h 66"/>
                  <a:gd name="T22" fmla="*/ 47 w 96"/>
                  <a:gd name="T23" fmla="*/ 65 h 66"/>
                  <a:gd name="T24" fmla="*/ 48 w 96"/>
                  <a:gd name="T25" fmla="*/ 66 h 66"/>
                  <a:gd name="T26" fmla="*/ 50 w 96"/>
                  <a:gd name="T27" fmla="*/ 65 h 66"/>
                  <a:gd name="T28" fmla="*/ 96 w 96"/>
                  <a:gd name="T29" fmla="*/ 12 h 66"/>
                  <a:gd name="T30" fmla="*/ 96 w 96"/>
                  <a:gd name="T31" fmla="*/ 11 h 66"/>
                  <a:gd name="T32" fmla="*/ 95 w 96"/>
                  <a:gd name="T33" fmla="*/ 9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6" h="66">
                    <a:moveTo>
                      <a:pt x="95" y="9"/>
                    </a:moveTo>
                    <a:cubicBezTo>
                      <a:pt x="85" y="0"/>
                      <a:pt x="85" y="0"/>
                      <a:pt x="85" y="0"/>
                    </a:cubicBezTo>
                    <a:cubicBezTo>
                      <a:pt x="85" y="0"/>
                      <a:pt x="84" y="0"/>
                      <a:pt x="84" y="0"/>
                    </a:cubicBezTo>
                    <a:cubicBezTo>
                      <a:pt x="83" y="0"/>
                      <a:pt x="83" y="0"/>
                      <a:pt x="82" y="1"/>
                    </a:cubicBezTo>
                    <a:cubicBezTo>
                      <a:pt x="48" y="41"/>
                      <a:pt x="48" y="41"/>
                      <a:pt x="48" y="41"/>
                    </a:cubicBezTo>
                    <a:cubicBezTo>
                      <a:pt x="14" y="1"/>
                      <a:pt x="14" y="1"/>
                      <a:pt x="14" y="1"/>
                    </a:cubicBezTo>
                    <a:cubicBezTo>
                      <a:pt x="14" y="0"/>
                      <a:pt x="13" y="0"/>
                      <a:pt x="13" y="0"/>
                    </a:cubicBezTo>
                    <a:cubicBezTo>
                      <a:pt x="12" y="0"/>
                      <a:pt x="11" y="0"/>
                      <a:pt x="11" y="0"/>
                    </a:cubicBezTo>
                    <a:cubicBezTo>
                      <a:pt x="1" y="9"/>
                      <a:pt x="1" y="9"/>
                      <a:pt x="1" y="9"/>
                    </a:cubicBezTo>
                    <a:cubicBezTo>
                      <a:pt x="0" y="10"/>
                      <a:pt x="0" y="10"/>
                      <a:pt x="0" y="11"/>
                    </a:cubicBezTo>
                    <a:cubicBezTo>
                      <a:pt x="0" y="11"/>
                      <a:pt x="0" y="12"/>
                      <a:pt x="1" y="12"/>
                    </a:cubicBezTo>
                    <a:cubicBezTo>
                      <a:pt x="47" y="65"/>
                      <a:pt x="47" y="65"/>
                      <a:pt x="47" y="65"/>
                    </a:cubicBezTo>
                    <a:cubicBezTo>
                      <a:pt x="47" y="66"/>
                      <a:pt x="47" y="66"/>
                      <a:pt x="48" y="66"/>
                    </a:cubicBezTo>
                    <a:cubicBezTo>
                      <a:pt x="49" y="66"/>
                      <a:pt x="49" y="66"/>
                      <a:pt x="50" y="65"/>
                    </a:cubicBezTo>
                    <a:cubicBezTo>
                      <a:pt x="96" y="12"/>
                      <a:pt x="96" y="12"/>
                      <a:pt x="96" y="12"/>
                    </a:cubicBezTo>
                    <a:cubicBezTo>
                      <a:pt x="96" y="12"/>
                      <a:pt x="96" y="11"/>
                      <a:pt x="96" y="11"/>
                    </a:cubicBezTo>
                    <a:cubicBezTo>
                      <a:pt x="96" y="10"/>
                      <a:pt x="96" y="10"/>
                      <a:pt x="95" y="9"/>
                    </a:cubicBezTo>
                    <a:close/>
                  </a:path>
                </a:pathLst>
              </a:custGeom>
              <a:solidFill>
                <a:srgbClr val="78D2D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25" name="TextBox 224"/>
              <p:cNvSpPr txBox="1"/>
              <p:nvPr/>
            </p:nvSpPr>
            <p:spPr>
              <a:xfrm>
                <a:off x="5638712" y="3032968"/>
                <a:ext cx="455807" cy="215444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ea typeface="+mn-ea"/>
                    <a:cs typeface="+mn-cs"/>
                  </a:rPr>
                  <a:t>2,576</a:t>
                </a: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</p:grpSp>
        <p:sp>
          <p:nvSpPr>
            <p:cNvPr id="223" name="TextBox 222"/>
            <p:cNvSpPr txBox="1"/>
            <p:nvPr/>
          </p:nvSpPr>
          <p:spPr>
            <a:xfrm>
              <a:off x="5670496" y="3240848"/>
              <a:ext cx="535053" cy="153888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download</a:t>
              </a:r>
            </a:p>
          </p:txBody>
        </p:sp>
      </p:grpSp>
      <p:grpSp>
        <p:nvGrpSpPr>
          <p:cNvPr id="243" name="Group 242"/>
          <p:cNvGrpSpPr/>
          <p:nvPr/>
        </p:nvGrpSpPr>
        <p:grpSpPr>
          <a:xfrm>
            <a:off x="9317631" y="4049296"/>
            <a:ext cx="360000" cy="360000"/>
            <a:chOff x="9317631" y="4049296"/>
            <a:chExt cx="360000" cy="360000"/>
          </a:xfrm>
        </p:grpSpPr>
        <p:sp>
          <p:nvSpPr>
            <p:cNvPr id="217" name="Oval 216"/>
            <p:cNvSpPr>
              <a:spLocks noChangeAspect="1"/>
            </p:cNvSpPr>
            <p:nvPr/>
          </p:nvSpPr>
          <p:spPr>
            <a:xfrm>
              <a:off x="9317631" y="4049296"/>
              <a:ext cx="360000" cy="360000"/>
            </a:xfrm>
            <a:prstGeom prst="ellipse">
              <a:avLst/>
            </a:prstGeom>
            <a:noFill/>
            <a:ln w="19050">
              <a:solidFill>
                <a:srgbClr val="AFABA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8" name="Arc 217"/>
            <p:cNvSpPr>
              <a:spLocks noChangeAspect="1"/>
            </p:cNvSpPr>
            <p:nvPr/>
          </p:nvSpPr>
          <p:spPr>
            <a:xfrm>
              <a:off x="9317631" y="4049296"/>
              <a:ext cx="360000" cy="360000"/>
            </a:xfrm>
            <a:prstGeom prst="arc">
              <a:avLst>
                <a:gd name="adj1" fmla="val 16200000"/>
                <a:gd name="adj2" fmla="val 371458"/>
              </a:avLst>
            </a:prstGeom>
            <a:noFill/>
            <a:ln w="19050">
              <a:solidFill>
                <a:srgbClr val="3B39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19" name="TextBox 218"/>
          <p:cNvSpPr txBox="1"/>
          <p:nvPr/>
        </p:nvSpPr>
        <p:spPr>
          <a:xfrm>
            <a:off x="9362621" y="4162052"/>
            <a:ext cx="293445" cy="153888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B3939"/>
                </a:solidFill>
                <a:effectLst/>
                <a:uLnTx/>
                <a:uFillTx/>
                <a:ea typeface="+mn-ea"/>
                <a:cs typeface="+mn-cs"/>
              </a:rPr>
              <a:t>25%</a:t>
            </a:r>
          </a:p>
        </p:txBody>
      </p:sp>
      <p:grpSp>
        <p:nvGrpSpPr>
          <p:cNvPr id="212" name="Group 211"/>
          <p:cNvGrpSpPr/>
          <p:nvPr/>
        </p:nvGrpSpPr>
        <p:grpSpPr>
          <a:xfrm>
            <a:off x="9764126" y="4048412"/>
            <a:ext cx="598620" cy="361768"/>
            <a:chOff x="5638712" y="3032968"/>
            <a:chExt cx="598620" cy="361768"/>
          </a:xfrm>
        </p:grpSpPr>
        <p:grpSp>
          <p:nvGrpSpPr>
            <p:cNvPr id="213" name="Group 212"/>
            <p:cNvGrpSpPr/>
            <p:nvPr/>
          </p:nvGrpSpPr>
          <p:grpSpPr>
            <a:xfrm>
              <a:off x="5638712" y="3032968"/>
              <a:ext cx="598620" cy="215444"/>
              <a:chOff x="5638712" y="3032968"/>
              <a:chExt cx="598620" cy="215444"/>
            </a:xfrm>
          </p:grpSpPr>
          <p:sp>
            <p:nvSpPr>
              <p:cNvPr id="215" name="Freeform 8"/>
              <p:cNvSpPr>
                <a:spLocks noChangeAspect="1"/>
              </p:cNvSpPr>
              <p:nvPr/>
            </p:nvSpPr>
            <p:spPr bwMode="auto">
              <a:xfrm>
                <a:off x="6095514" y="3091599"/>
                <a:ext cx="141818" cy="98182"/>
              </a:xfrm>
              <a:custGeom>
                <a:avLst/>
                <a:gdLst>
                  <a:gd name="T0" fmla="*/ 95 w 96"/>
                  <a:gd name="T1" fmla="*/ 9 h 66"/>
                  <a:gd name="T2" fmla="*/ 85 w 96"/>
                  <a:gd name="T3" fmla="*/ 0 h 66"/>
                  <a:gd name="T4" fmla="*/ 84 w 96"/>
                  <a:gd name="T5" fmla="*/ 0 h 66"/>
                  <a:gd name="T6" fmla="*/ 82 w 96"/>
                  <a:gd name="T7" fmla="*/ 1 h 66"/>
                  <a:gd name="T8" fmla="*/ 48 w 96"/>
                  <a:gd name="T9" fmla="*/ 41 h 66"/>
                  <a:gd name="T10" fmla="*/ 14 w 96"/>
                  <a:gd name="T11" fmla="*/ 1 h 66"/>
                  <a:gd name="T12" fmla="*/ 13 w 96"/>
                  <a:gd name="T13" fmla="*/ 0 h 66"/>
                  <a:gd name="T14" fmla="*/ 11 w 96"/>
                  <a:gd name="T15" fmla="*/ 0 h 66"/>
                  <a:gd name="T16" fmla="*/ 1 w 96"/>
                  <a:gd name="T17" fmla="*/ 9 h 66"/>
                  <a:gd name="T18" fmla="*/ 0 w 96"/>
                  <a:gd name="T19" fmla="*/ 11 h 66"/>
                  <a:gd name="T20" fmla="*/ 1 w 96"/>
                  <a:gd name="T21" fmla="*/ 12 h 66"/>
                  <a:gd name="T22" fmla="*/ 47 w 96"/>
                  <a:gd name="T23" fmla="*/ 65 h 66"/>
                  <a:gd name="T24" fmla="*/ 48 w 96"/>
                  <a:gd name="T25" fmla="*/ 66 h 66"/>
                  <a:gd name="T26" fmla="*/ 50 w 96"/>
                  <a:gd name="T27" fmla="*/ 65 h 66"/>
                  <a:gd name="T28" fmla="*/ 96 w 96"/>
                  <a:gd name="T29" fmla="*/ 12 h 66"/>
                  <a:gd name="T30" fmla="*/ 96 w 96"/>
                  <a:gd name="T31" fmla="*/ 11 h 66"/>
                  <a:gd name="T32" fmla="*/ 95 w 96"/>
                  <a:gd name="T33" fmla="*/ 9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6" h="66">
                    <a:moveTo>
                      <a:pt x="95" y="9"/>
                    </a:moveTo>
                    <a:cubicBezTo>
                      <a:pt x="85" y="0"/>
                      <a:pt x="85" y="0"/>
                      <a:pt x="85" y="0"/>
                    </a:cubicBezTo>
                    <a:cubicBezTo>
                      <a:pt x="85" y="0"/>
                      <a:pt x="84" y="0"/>
                      <a:pt x="84" y="0"/>
                    </a:cubicBezTo>
                    <a:cubicBezTo>
                      <a:pt x="83" y="0"/>
                      <a:pt x="83" y="0"/>
                      <a:pt x="82" y="1"/>
                    </a:cubicBezTo>
                    <a:cubicBezTo>
                      <a:pt x="48" y="41"/>
                      <a:pt x="48" y="41"/>
                      <a:pt x="48" y="41"/>
                    </a:cubicBezTo>
                    <a:cubicBezTo>
                      <a:pt x="14" y="1"/>
                      <a:pt x="14" y="1"/>
                      <a:pt x="14" y="1"/>
                    </a:cubicBezTo>
                    <a:cubicBezTo>
                      <a:pt x="14" y="0"/>
                      <a:pt x="13" y="0"/>
                      <a:pt x="13" y="0"/>
                    </a:cubicBezTo>
                    <a:cubicBezTo>
                      <a:pt x="12" y="0"/>
                      <a:pt x="11" y="0"/>
                      <a:pt x="11" y="0"/>
                    </a:cubicBezTo>
                    <a:cubicBezTo>
                      <a:pt x="1" y="9"/>
                      <a:pt x="1" y="9"/>
                      <a:pt x="1" y="9"/>
                    </a:cubicBezTo>
                    <a:cubicBezTo>
                      <a:pt x="0" y="10"/>
                      <a:pt x="0" y="10"/>
                      <a:pt x="0" y="11"/>
                    </a:cubicBezTo>
                    <a:cubicBezTo>
                      <a:pt x="0" y="11"/>
                      <a:pt x="0" y="12"/>
                      <a:pt x="1" y="12"/>
                    </a:cubicBezTo>
                    <a:cubicBezTo>
                      <a:pt x="47" y="65"/>
                      <a:pt x="47" y="65"/>
                      <a:pt x="47" y="65"/>
                    </a:cubicBezTo>
                    <a:cubicBezTo>
                      <a:pt x="47" y="66"/>
                      <a:pt x="47" y="66"/>
                      <a:pt x="48" y="66"/>
                    </a:cubicBezTo>
                    <a:cubicBezTo>
                      <a:pt x="49" y="66"/>
                      <a:pt x="49" y="66"/>
                      <a:pt x="50" y="65"/>
                    </a:cubicBezTo>
                    <a:cubicBezTo>
                      <a:pt x="96" y="12"/>
                      <a:pt x="96" y="12"/>
                      <a:pt x="96" y="12"/>
                    </a:cubicBezTo>
                    <a:cubicBezTo>
                      <a:pt x="96" y="12"/>
                      <a:pt x="96" y="11"/>
                      <a:pt x="96" y="11"/>
                    </a:cubicBezTo>
                    <a:cubicBezTo>
                      <a:pt x="96" y="10"/>
                      <a:pt x="96" y="10"/>
                      <a:pt x="95" y="9"/>
                    </a:cubicBezTo>
                    <a:close/>
                  </a:path>
                </a:pathLst>
              </a:custGeom>
              <a:solidFill>
                <a:srgbClr val="3B3939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16" name="TextBox 215"/>
              <p:cNvSpPr txBox="1"/>
              <p:nvPr/>
            </p:nvSpPr>
            <p:spPr>
              <a:xfrm>
                <a:off x="5638712" y="3032968"/>
                <a:ext cx="455807" cy="215444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ea typeface="+mn-ea"/>
                    <a:cs typeface="+mn-cs"/>
                  </a:rPr>
                  <a:t>339</a:t>
                </a: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</p:grpSp>
        <p:sp>
          <p:nvSpPr>
            <p:cNvPr id="214" name="TextBox 213"/>
            <p:cNvSpPr txBox="1"/>
            <p:nvPr/>
          </p:nvSpPr>
          <p:spPr>
            <a:xfrm>
              <a:off x="5670496" y="3240848"/>
              <a:ext cx="535053" cy="153888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download</a:t>
              </a:r>
            </a:p>
          </p:txBody>
        </p:sp>
      </p:grpSp>
      <p:grpSp>
        <p:nvGrpSpPr>
          <p:cNvPr id="205" name="Group 204"/>
          <p:cNvGrpSpPr/>
          <p:nvPr/>
        </p:nvGrpSpPr>
        <p:grpSpPr>
          <a:xfrm>
            <a:off x="6738166" y="1485843"/>
            <a:ext cx="3624580" cy="2335694"/>
            <a:chOff x="4986696" y="606068"/>
            <a:chExt cx="3624580" cy="2335694"/>
          </a:xfrm>
        </p:grpSpPr>
        <p:graphicFrame>
          <p:nvGraphicFramePr>
            <p:cNvPr id="206" name="Chart 205"/>
            <p:cNvGraphicFramePr/>
            <p:nvPr>
              <p:extLst>
                <p:ext uri="{D42A27DB-BD31-4B8C-83A1-F6EECF244321}">
                  <p14:modId xmlns:p14="http://schemas.microsoft.com/office/powerpoint/2010/main" val="702502959"/>
                </p:ext>
              </p:extLst>
            </p:nvPr>
          </p:nvGraphicFramePr>
          <p:xfrm>
            <a:off x="4986696" y="800223"/>
            <a:ext cx="3624580" cy="214153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207" name="TextBox 206"/>
            <p:cNvSpPr txBox="1"/>
            <p:nvPr/>
          </p:nvSpPr>
          <p:spPr>
            <a:xfrm>
              <a:off x="4986696" y="606068"/>
              <a:ext cx="3125633" cy="153888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TATISTICS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8891943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PowerPoint Presentation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852138-FCC6-44DD-9FFC-1C789392E7AA}" type="datetime1">
              <a:rPr lang="en-US" smtClean="0"/>
              <a:t>11/15/2018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06E70-9524-410D-AE9B-78D656EAA14D}" type="slidenum">
              <a:rPr lang="en-US" smtClean="0"/>
              <a:pPr/>
              <a:t>13</a:t>
            </a:fld>
            <a:endParaRPr lang="en-US"/>
          </a:p>
        </p:txBody>
      </p:sp>
      <p:cxnSp>
        <p:nvCxnSpPr>
          <p:cNvPr id="6" name="Straight Connector 5"/>
          <p:cNvCxnSpPr/>
          <p:nvPr/>
        </p:nvCxnSpPr>
        <p:spPr>
          <a:xfrm>
            <a:off x="4430539" y="1853370"/>
            <a:ext cx="902378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Group 6"/>
          <p:cNvGrpSpPr/>
          <p:nvPr/>
        </p:nvGrpSpPr>
        <p:grpSpPr>
          <a:xfrm>
            <a:off x="5476234" y="1699997"/>
            <a:ext cx="2608885" cy="648645"/>
            <a:chOff x="3922909" y="1906532"/>
            <a:chExt cx="2608885" cy="648645"/>
          </a:xfrm>
        </p:grpSpPr>
        <p:sp>
          <p:nvSpPr>
            <p:cNvPr id="78" name="TextBox 77"/>
            <p:cNvSpPr txBox="1"/>
            <p:nvPr/>
          </p:nvSpPr>
          <p:spPr>
            <a:xfrm>
              <a:off x="3922909" y="2093512"/>
              <a:ext cx="2608885" cy="461665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Lorem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Ipsum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 is simply dummy text of the printing and typesetting industry. Lorem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Ipsum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 has been the industry's standard dummy text.</a:t>
              </a:r>
            </a:p>
          </p:txBody>
        </p:sp>
        <p:sp>
          <p:nvSpPr>
            <p:cNvPr id="79" name="TextBox 78"/>
            <p:cNvSpPr txBox="1"/>
            <p:nvPr/>
          </p:nvSpPr>
          <p:spPr>
            <a:xfrm>
              <a:off x="3922909" y="1906532"/>
              <a:ext cx="1099884" cy="184666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E2583D"/>
                  </a:solidFill>
                  <a:effectLst/>
                  <a:uLnTx/>
                  <a:uFillTx/>
                  <a:ea typeface="+mn-ea"/>
                  <a:cs typeface="+mn-cs"/>
                </a:rPr>
                <a:t>LOREM IPSUM</a:t>
              </a:r>
            </a:p>
          </p:txBody>
        </p:sp>
      </p:grpSp>
      <p:cxnSp>
        <p:nvCxnSpPr>
          <p:cNvPr id="8" name="Straight Connector 7"/>
          <p:cNvCxnSpPr/>
          <p:nvPr/>
        </p:nvCxnSpPr>
        <p:spPr>
          <a:xfrm>
            <a:off x="4997630" y="2813734"/>
            <a:ext cx="902378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oup 8"/>
          <p:cNvGrpSpPr/>
          <p:nvPr/>
        </p:nvGrpSpPr>
        <p:grpSpPr>
          <a:xfrm>
            <a:off x="6043325" y="2660361"/>
            <a:ext cx="2608885" cy="648645"/>
            <a:chOff x="4490000" y="2866896"/>
            <a:chExt cx="2608885" cy="648645"/>
          </a:xfrm>
        </p:grpSpPr>
        <p:sp>
          <p:nvSpPr>
            <p:cNvPr id="76" name="TextBox 75"/>
            <p:cNvSpPr txBox="1"/>
            <p:nvPr/>
          </p:nvSpPr>
          <p:spPr>
            <a:xfrm>
              <a:off x="4490000" y="3053876"/>
              <a:ext cx="2608885" cy="461665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Lorem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Ipsum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 is simply dummy text of the printing and typesetting industry. Lorem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Ipsum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 has been the industry's standard dummy text.</a:t>
              </a:r>
            </a:p>
          </p:txBody>
        </p:sp>
        <p:sp>
          <p:nvSpPr>
            <p:cNvPr id="77" name="TextBox 76"/>
            <p:cNvSpPr txBox="1"/>
            <p:nvPr/>
          </p:nvSpPr>
          <p:spPr>
            <a:xfrm>
              <a:off x="4490000" y="2866896"/>
              <a:ext cx="1099884" cy="184666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AFABAB"/>
                  </a:solidFill>
                  <a:effectLst/>
                  <a:uLnTx/>
                  <a:uFillTx/>
                  <a:ea typeface="+mn-ea"/>
                  <a:cs typeface="+mn-cs"/>
                </a:rPr>
                <a:t>LOREM IPSUM</a:t>
              </a:r>
            </a:p>
          </p:txBody>
        </p:sp>
      </p:grpSp>
      <p:cxnSp>
        <p:nvCxnSpPr>
          <p:cNvPr id="10" name="Straight Connector 9"/>
          <p:cNvCxnSpPr/>
          <p:nvPr/>
        </p:nvCxnSpPr>
        <p:spPr>
          <a:xfrm>
            <a:off x="5474211" y="3681052"/>
            <a:ext cx="902378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Group 10"/>
          <p:cNvGrpSpPr/>
          <p:nvPr/>
        </p:nvGrpSpPr>
        <p:grpSpPr>
          <a:xfrm>
            <a:off x="6519906" y="3527679"/>
            <a:ext cx="2608885" cy="648645"/>
            <a:chOff x="4966581" y="3734214"/>
            <a:chExt cx="2608885" cy="648645"/>
          </a:xfrm>
        </p:grpSpPr>
        <p:sp>
          <p:nvSpPr>
            <p:cNvPr id="74" name="TextBox 73"/>
            <p:cNvSpPr txBox="1"/>
            <p:nvPr/>
          </p:nvSpPr>
          <p:spPr>
            <a:xfrm>
              <a:off x="4966581" y="3921194"/>
              <a:ext cx="2608885" cy="461665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Lorem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Ipsum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 is simply dummy text of the printing and typesetting industry. Lorem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Ipsum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 has been the industry's standard dummy text.</a:t>
              </a:r>
            </a:p>
          </p:txBody>
        </p:sp>
        <p:sp>
          <p:nvSpPr>
            <p:cNvPr id="75" name="TextBox 74"/>
            <p:cNvSpPr txBox="1"/>
            <p:nvPr/>
          </p:nvSpPr>
          <p:spPr>
            <a:xfrm>
              <a:off x="4966581" y="3734214"/>
              <a:ext cx="1099884" cy="184666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78D2D2"/>
                  </a:solidFill>
                  <a:effectLst/>
                  <a:uLnTx/>
                  <a:uFillTx/>
                  <a:ea typeface="+mn-ea"/>
                  <a:cs typeface="+mn-cs"/>
                </a:rPr>
                <a:t>LOREM IPSUM</a:t>
              </a:r>
            </a:p>
          </p:txBody>
        </p:sp>
      </p:grpSp>
      <p:cxnSp>
        <p:nvCxnSpPr>
          <p:cNvPr id="12" name="Straight Connector 11"/>
          <p:cNvCxnSpPr/>
          <p:nvPr/>
        </p:nvCxnSpPr>
        <p:spPr>
          <a:xfrm>
            <a:off x="5997058" y="4642225"/>
            <a:ext cx="902378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 12"/>
          <p:cNvGrpSpPr/>
          <p:nvPr/>
        </p:nvGrpSpPr>
        <p:grpSpPr>
          <a:xfrm>
            <a:off x="7042753" y="4488852"/>
            <a:ext cx="2608885" cy="648645"/>
            <a:chOff x="5489428" y="4695387"/>
            <a:chExt cx="2608885" cy="648645"/>
          </a:xfrm>
        </p:grpSpPr>
        <p:sp>
          <p:nvSpPr>
            <p:cNvPr id="72" name="TextBox 71"/>
            <p:cNvSpPr txBox="1"/>
            <p:nvPr/>
          </p:nvSpPr>
          <p:spPr>
            <a:xfrm>
              <a:off x="5489428" y="4882367"/>
              <a:ext cx="2608885" cy="461665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Lorem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Ipsum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 is simply dummy text of the printing and typesetting industry. Lorem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Ipsum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 has been the industry's standard dummy text.</a:t>
              </a: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5489428" y="4695387"/>
              <a:ext cx="1099884" cy="184666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3B3939"/>
                  </a:solidFill>
                  <a:effectLst/>
                  <a:uLnTx/>
                  <a:uFillTx/>
                  <a:ea typeface="+mn-ea"/>
                  <a:cs typeface="+mn-cs"/>
                </a:rPr>
                <a:t>LOREM IPSUM</a:t>
              </a:r>
            </a:p>
          </p:txBody>
        </p:sp>
      </p:grpSp>
      <p:cxnSp>
        <p:nvCxnSpPr>
          <p:cNvPr id="14" name="Straight Connector 13"/>
          <p:cNvCxnSpPr/>
          <p:nvPr/>
        </p:nvCxnSpPr>
        <p:spPr>
          <a:xfrm>
            <a:off x="6555931" y="5605725"/>
            <a:ext cx="902378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Group 14"/>
          <p:cNvGrpSpPr/>
          <p:nvPr/>
        </p:nvGrpSpPr>
        <p:grpSpPr>
          <a:xfrm>
            <a:off x="7601626" y="5452352"/>
            <a:ext cx="2608885" cy="648645"/>
            <a:chOff x="6048301" y="5658887"/>
            <a:chExt cx="2608885" cy="648645"/>
          </a:xfrm>
        </p:grpSpPr>
        <p:sp>
          <p:nvSpPr>
            <p:cNvPr id="70" name="TextBox 69"/>
            <p:cNvSpPr txBox="1"/>
            <p:nvPr/>
          </p:nvSpPr>
          <p:spPr>
            <a:xfrm>
              <a:off x="6048301" y="5845867"/>
              <a:ext cx="2608885" cy="461665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Lorem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Ipsum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 is simply dummy text of the printing and typesetting industry. Lorem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Ipsum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 has been the industry's standard dummy text.</a:t>
              </a:r>
            </a:p>
          </p:txBody>
        </p:sp>
        <p:sp>
          <p:nvSpPr>
            <p:cNvPr id="71" name="TextBox 70"/>
            <p:cNvSpPr txBox="1"/>
            <p:nvPr/>
          </p:nvSpPr>
          <p:spPr>
            <a:xfrm>
              <a:off x="6048301" y="5658887"/>
              <a:ext cx="1099884" cy="184666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E2583D"/>
                  </a:solidFill>
                  <a:effectLst/>
                  <a:uLnTx/>
                  <a:uFillTx/>
                  <a:ea typeface="+mn-ea"/>
                  <a:cs typeface="+mn-cs"/>
                </a:rPr>
                <a:t>LOREM IPSUM</a:t>
              </a: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3873303" y="1482564"/>
            <a:ext cx="920138" cy="1098905"/>
            <a:chOff x="2303504" y="1689099"/>
            <a:chExt cx="920138" cy="1098905"/>
          </a:xfrm>
        </p:grpSpPr>
        <p:sp>
          <p:nvSpPr>
            <p:cNvPr id="67" name="Freeform 5"/>
            <p:cNvSpPr>
              <a:spLocks/>
            </p:cNvSpPr>
            <p:nvPr/>
          </p:nvSpPr>
          <p:spPr bwMode="auto">
            <a:xfrm>
              <a:off x="2303504" y="2308609"/>
              <a:ext cx="920138" cy="479395"/>
            </a:xfrm>
            <a:custGeom>
              <a:avLst/>
              <a:gdLst>
                <a:gd name="T0" fmla="*/ 0 w 725"/>
                <a:gd name="T1" fmla="*/ 123 h 378"/>
                <a:gd name="T2" fmla="*/ 725 w 725"/>
                <a:gd name="T3" fmla="*/ 214 h 378"/>
                <a:gd name="T4" fmla="*/ 177 w 725"/>
                <a:gd name="T5" fmla="*/ 0 h 378"/>
                <a:gd name="T6" fmla="*/ 0 w 725"/>
                <a:gd name="T7" fmla="*/ 123 h 378"/>
                <a:gd name="T8" fmla="*/ 0 w 725"/>
                <a:gd name="T9" fmla="*/ 123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5" h="378">
                  <a:moveTo>
                    <a:pt x="0" y="123"/>
                  </a:moveTo>
                  <a:cubicBezTo>
                    <a:pt x="0" y="123"/>
                    <a:pt x="301" y="378"/>
                    <a:pt x="725" y="214"/>
                  </a:cubicBezTo>
                  <a:cubicBezTo>
                    <a:pt x="177" y="0"/>
                    <a:pt x="177" y="0"/>
                    <a:pt x="177" y="0"/>
                  </a:cubicBezTo>
                  <a:cubicBezTo>
                    <a:pt x="0" y="123"/>
                    <a:pt x="0" y="123"/>
                    <a:pt x="0" y="123"/>
                  </a:cubicBezTo>
                  <a:cubicBezTo>
                    <a:pt x="0" y="123"/>
                    <a:pt x="0" y="123"/>
                    <a:pt x="0" y="123"/>
                  </a:cubicBezTo>
                  <a:close/>
                </a:path>
              </a:pathLst>
            </a:custGeom>
            <a:solidFill>
              <a:srgbClr val="D63E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6"/>
            <p:cNvSpPr>
              <a:spLocks/>
            </p:cNvSpPr>
            <p:nvPr/>
          </p:nvSpPr>
          <p:spPr bwMode="auto">
            <a:xfrm>
              <a:off x="2303504" y="1689099"/>
              <a:ext cx="420343" cy="775729"/>
            </a:xfrm>
            <a:custGeom>
              <a:avLst/>
              <a:gdLst>
                <a:gd name="T0" fmla="*/ 0 w 331"/>
                <a:gd name="T1" fmla="*/ 611 h 611"/>
                <a:gd name="T2" fmla="*/ 153 w 331"/>
                <a:gd name="T3" fmla="*/ 578 h 611"/>
                <a:gd name="T4" fmla="*/ 330 w 331"/>
                <a:gd name="T5" fmla="*/ 0 h 611"/>
                <a:gd name="T6" fmla="*/ 0 w 331"/>
                <a:gd name="T7" fmla="*/ 611 h 611"/>
                <a:gd name="T8" fmla="*/ 0 w 331"/>
                <a:gd name="T9" fmla="*/ 611 h 6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1" h="611">
                  <a:moveTo>
                    <a:pt x="0" y="611"/>
                  </a:moveTo>
                  <a:cubicBezTo>
                    <a:pt x="0" y="611"/>
                    <a:pt x="112" y="611"/>
                    <a:pt x="153" y="578"/>
                  </a:cubicBezTo>
                  <a:cubicBezTo>
                    <a:pt x="331" y="1"/>
                    <a:pt x="330" y="0"/>
                    <a:pt x="330" y="0"/>
                  </a:cubicBezTo>
                  <a:cubicBezTo>
                    <a:pt x="0" y="611"/>
                    <a:pt x="0" y="611"/>
                    <a:pt x="0" y="611"/>
                  </a:cubicBezTo>
                  <a:cubicBezTo>
                    <a:pt x="0" y="611"/>
                    <a:pt x="0" y="611"/>
                    <a:pt x="0" y="611"/>
                  </a:cubicBezTo>
                  <a:close/>
                </a:path>
              </a:pathLst>
            </a:custGeom>
            <a:solidFill>
              <a:srgbClr val="E258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7"/>
            <p:cNvSpPr>
              <a:spLocks/>
            </p:cNvSpPr>
            <p:nvPr/>
          </p:nvSpPr>
          <p:spPr bwMode="auto">
            <a:xfrm>
              <a:off x="2497839" y="1689099"/>
              <a:ext cx="725803" cy="1001201"/>
            </a:xfrm>
            <a:custGeom>
              <a:avLst/>
              <a:gdLst>
                <a:gd name="T0" fmla="*/ 572 w 572"/>
                <a:gd name="T1" fmla="*/ 702 h 789"/>
                <a:gd name="T2" fmla="*/ 177 w 572"/>
                <a:gd name="T3" fmla="*/ 0 h 789"/>
                <a:gd name="T4" fmla="*/ 0 w 572"/>
                <a:gd name="T5" fmla="*/ 578 h 789"/>
                <a:gd name="T6" fmla="*/ 572 w 572"/>
                <a:gd name="T7" fmla="*/ 702 h 7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72" h="789">
                  <a:moveTo>
                    <a:pt x="572" y="702"/>
                  </a:moveTo>
                  <a:cubicBezTo>
                    <a:pt x="177" y="0"/>
                    <a:pt x="177" y="0"/>
                    <a:pt x="177" y="0"/>
                  </a:cubicBezTo>
                  <a:cubicBezTo>
                    <a:pt x="0" y="578"/>
                    <a:pt x="0" y="578"/>
                    <a:pt x="0" y="578"/>
                  </a:cubicBezTo>
                  <a:cubicBezTo>
                    <a:pt x="0" y="578"/>
                    <a:pt x="317" y="789"/>
                    <a:pt x="572" y="702"/>
                  </a:cubicBezTo>
                  <a:close/>
                </a:path>
              </a:pathLst>
            </a:custGeom>
            <a:solidFill>
              <a:srgbClr val="E878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3401423" y="2296409"/>
            <a:ext cx="1906308" cy="1485964"/>
            <a:chOff x="1831624" y="2502944"/>
            <a:chExt cx="1906308" cy="1485964"/>
          </a:xfrm>
        </p:grpSpPr>
        <p:sp>
          <p:nvSpPr>
            <p:cNvPr id="64" name="Freeform 8"/>
            <p:cNvSpPr>
              <a:spLocks/>
            </p:cNvSpPr>
            <p:nvPr/>
          </p:nvSpPr>
          <p:spPr bwMode="auto">
            <a:xfrm>
              <a:off x="1831624" y="3059643"/>
              <a:ext cx="1906308" cy="929265"/>
            </a:xfrm>
            <a:custGeom>
              <a:avLst/>
              <a:gdLst>
                <a:gd name="T0" fmla="*/ 10 w 1502"/>
                <a:gd name="T1" fmla="*/ 207 h 732"/>
                <a:gd name="T2" fmla="*/ 1502 w 1502"/>
                <a:gd name="T3" fmla="*/ 348 h 732"/>
                <a:gd name="T4" fmla="*/ 751 w 1502"/>
                <a:gd name="T5" fmla="*/ 58 h 732"/>
                <a:gd name="T6" fmla="*/ 219 w 1502"/>
                <a:gd name="T7" fmla="*/ 0 h 732"/>
                <a:gd name="T8" fmla="*/ 10 w 1502"/>
                <a:gd name="T9" fmla="*/ 207 h 732"/>
                <a:gd name="T10" fmla="*/ 0 w 1502"/>
                <a:gd name="T11" fmla="*/ 207 h 732"/>
                <a:gd name="T12" fmla="*/ 10 w 1502"/>
                <a:gd name="T13" fmla="*/ 207 h 7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02" h="732">
                  <a:moveTo>
                    <a:pt x="10" y="207"/>
                  </a:moveTo>
                  <a:cubicBezTo>
                    <a:pt x="10" y="207"/>
                    <a:pt x="796" y="732"/>
                    <a:pt x="1502" y="348"/>
                  </a:cubicBezTo>
                  <a:cubicBezTo>
                    <a:pt x="751" y="58"/>
                    <a:pt x="751" y="58"/>
                    <a:pt x="751" y="58"/>
                  </a:cubicBezTo>
                  <a:cubicBezTo>
                    <a:pt x="219" y="0"/>
                    <a:pt x="219" y="0"/>
                    <a:pt x="219" y="0"/>
                  </a:cubicBezTo>
                  <a:cubicBezTo>
                    <a:pt x="10" y="207"/>
                    <a:pt x="10" y="207"/>
                    <a:pt x="10" y="207"/>
                  </a:cubicBezTo>
                  <a:cubicBezTo>
                    <a:pt x="0" y="207"/>
                    <a:pt x="0" y="207"/>
                    <a:pt x="0" y="207"/>
                  </a:cubicBezTo>
                  <a:lnTo>
                    <a:pt x="10" y="207"/>
                  </a:lnTo>
                  <a:close/>
                </a:path>
              </a:pathLst>
            </a:custGeom>
            <a:solidFill>
              <a:srgbClr val="7671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Freeform 9"/>
            <p:cNvSpPr>
              <a:spLocks/>
            </p:cNvSpPr>
            <p:nvPr/>
          </p:nvSpPr>
          <p:spPr bwMode="auto">
            <a:xfrm>
              <a:off x="1844508" y="2502944"/>
              <a:ext cx="638299" cy="819750"/>
            </a:xfrm>
            <a:custGeom>
              <a:avLst/>
              <a:gdLst>
                <a:gd name="T0" fmla="*/ 330 w 503"/>
                <a:gd name="T1" fmla="*/ 45 h 646"/>
                <a:gd name="T2" fmla="*/ 503 w 503"/>
                <a:gd name="T3" fmla="*/ 0 h 646"/>
                <a:gd name="T4" fmla="*/ 330 w 503"/>
                <a:gd name="T5" fmla="*/ 568 h 646"/>
                <a:gd name="T6" fmla="*/ 0 w 503"/>
                <a:gd name="T7" fmla="*/ 646 h 646"/>
                <a:gd name="T8" fmla="*/ 330 w 503"/>
                <a:gd name="T9" fmla="*/ 45 h 646"/>
                <a:gd name="T10" fmla="*/ 330 w 503"/>
                <a:gd name="T11" fmla="*/ 45 h 6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03" h="646">
                  <a:moveTo>
                    <a:pt x="330" y="45"/>
                  </a:moveTo>
                  <a:cubicBezTo>
                    <a:pt x="503" y="0"/>
                    <a:pt x="503" y="0"/>
                    <a:pt x="503" y="0"/>
                  </a:cubicBezTo>
                  <a:cubicBezTo>
                    <a:pt x="330" y="568"/>
                    <a:pt x="330" y="568"/>
                    <a:pt x="330" y="568"/>
                  </a:cubicBezTo>
                  <a:cubicBezTo>
                    <a:pt x="330" y="568"/>
                    <a:pt x="41" y="646"/>
                    <a:pt x="0" y="646"/>
                  </a:cubicBezTo>
                  <a:cubicBezTo>
                    <a:pt x="330" y="45"/>
                    <a:pt x="330" y="45"/>
                    <a:pt x="330" y="45"/>
                  </a:cubicBezTo>
                  <a:cubicBezTo>
                    <a:pt x="330" y="45"/>
                    <a:pt x="330" y="45"/>
                    <a:pt x="330" y="45"/>
                  </a:cubicBezTo>
                  <a:close/>
                </a:path>
              </a:pathLst>
            </a:custGeom>
            <a:solidFill>
              <a:srgbClr val="AFAB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" name="Freeform 10"/>
            <p:cNvSpPr>
              <a:spLocks/>
            </p:cNvSpPr>
            <p:nvPr/>
          </p:nvSpPr>
          <p:spPr bwMode="auto">
            <a:xfrm>
              <a:off x="2261631" y="2502944"/>
              <a:ext cx="1476301" cy="1233114"/>
            </a:xfrm>
            <a:custGeom>
              <a:avLst/>
              <a:gdLst>
                <a:gd name="T0" fmla="*/ 787 w 1163"/>
                <a:gd name="T1" fmla="*/ 128 h 972"/>
                <a:gd name="T2" fmla="*/ 1163 w 1163"/>
                <a:gd name="T3" fmla="*/ 787 h 972"/>
                <a:gd name="T4" fmla="*/ 0 w 1163"/>
                <a:gd name="T5" fmla="*/ 569 h 972"/>
                <a:gd name="T6" fmla="*/ 173 w 1163"/>
                <a:gd name="T7" fmla="*/ 0 h 972"/>
                <a:gd name="T8" fmla="*/ 787 w 1163"/>
                <a:gd name="T9" fmla="*/ 128 h 9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63" h="972">
                  <a:moveTo>
                    <a:pt x="787" y="128"/>
                  </a:moveTo>
                  <a:cubicBezTo>
                    <a:pt x="1163" y="787"/>
                    <a:pt x="1163" y="787"/>
                    <a:pt x="1163" y="787"/>
                  </a:cubicBezTo>
                  <a:cubicBezTo>
                    <a:pt x="1163" y="787"/>
                    <a:pt x="528" y="972"/>
                    <a:pt x="0" y="569"/>
                  </a:cubicBezTo>
                  <a:cubicBezTo>
                    <a:pt x="173" y="0"/>
                    <a:pt x="173" y="0"/>
                    <a:pt x="173" y="0"/>
                  </a:cubicBezTo>
                  <a:cubicBezTo>
                    <a:pt x="173" y="0"/>
                    <a:pt x="511" y="218"/>
                    <a:pt x="787" y="128"/>
                  </a:cubicBezTo>
                  <a:close/>
                </a:path>
              </a:pathLst>
            </a:custGeom>
            <a:solidFill>
              <a:srgbClr val="E7E6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8" name="Group 17"/>
          <p:cNvGrpSpPr/>
          <p:nvPr/>
        </p:nvGrpSpPr>
        <p:grpSpPr>
          <a:xfrm>
            <a:off x="2935449" y="3074285"/>
            <a:ext cx="2889793" cy="1785519"/>
            <a:chOff x="1365650" y="3280820"/>
            <a:chExt cx="2889793" cy="1785519"/>
          </a:xfrm>
        </p:grpSpPr>
        <p:sp>
          <p:nvSpPr>
            <p:cNvPr id="61" name="Freeform 11"/>
            <p:cNvSpPr>
              <a:spLocks/>
            </p:cNvSpPr>
            <p:nvPr/>
          </p:nvSpPr>
          <p:spPr bwMode="auto">
            <a:xfrm>
              <a:off x="1365650" y="3908919"/>
              <a:ext cx="2889793" cy="1157420"/>
            </a:xfrm>
            <a:custGeom>
              <a:avLst/>
              <a:gdLst>
                <a:gd name="T0" fmla="*/ 0 w 2277"/>
                <a:gd name="T1" fmla="*/ 239 h 912"/>
                <a:gd name="T2" fmla="*/ 2277 w 2277"/>
                <a:gd name="T3" fmla="*/ 367 h 912"/>
                <a:gd name="T4" fmla="*/ 549 w 2277"/>
                <a:gd name="T5" fmla="*/ 0 h 912"/>
                <a:gd name="T6" fmla="*/ 0 w 2277"/>
                <a:gd name="T7" fmla="*/ 239 h 912"/>
                <a:gd name="T8" fmla="*/ 0 w 2277"/>
                <a:gd name="T9" fmla="*/ 239 h 9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77" h="912">
                  <a:moveTo>
                    <a:pt x="0" y="239"/>
                  </a:moveTo>
                  <a:cubicBezTo>
                    <a:pt x="0" y="239"/>
                    <a:pt x="1345" y="912"/>
                    <a:pt x="2277" y="367"/>
                  </a:cubicBezTo>
                  <a:cubicBezTo>
                    <a:pt x="549" y="0"/>
                    <a:pt x="549" y="0"/>
                    <a:pt x="549" y="0"/>
                  </a:cubicBezTo>
                  <a:cubicBezTo>
                    <a:pt x="0" y="239"/>
                    <a:pt x="0" y="239"/>
                    <a:pt x="0" y="239"/>
                  </a:cubicBezTo>
                  <a:cubicBezTo>
                    <a:pt x="0" y="239"/>
                    <a:pt x="0" y="239"/>
                    <a:pt x="0" y="239"/>
                  </a:cubicBezTo>
                  <a:close/>
                </a:path>
              </a:pathLst>
            </a:custGeom>
            <a:solidFill>
              <a:srgbClr val="4CC7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2"/>
            <p:cNvSpPr>
              <a:spLocks/>
            </p:cNvSpPr>
            <p:nvPr/>
          </p:nvSpPr>
          <p:spPr bwMode="auto">
            <a:xfrm>
              <a:off x="1365650" y="3280820"/>
              <a:ext cx="880949" cy="932486"/>
            </a:xfrm>
            <a:custGeom>
              <a:avLst/>
              <a:gdLst>
                <a:gd name="T0" fmla="*/ 330 w 694"/>
                <a:gd name="T1" fmla="*/ 120 h 735"/>
                <a:gd name="T2" fmla="*/ 0 w 694"/>
                <a:gd name="T3" fmla="*/ 735 h 735"/>
                <a:gd name="T4" fmla="*/ 525 w 694"/>
                <a:gd name="T5" fmla="*/ 594 h 735"/>
                <a:gd name="T6" fmla="*/ 694 w 694"/>
                <a:gd name="T7" fmla="*/ 0 h 735"/>
                <a:gd name="T8" fmla="*/ 330 w 694"/>
                <a:gd name="T9" fmla="*/ 120 h 7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94" h="735">
                  <a:moveTo>
                    <a:pt x="330" y="120"/>
                  </a:moveTo>
                  <a:cubicBezTo>
                    <a:pt x="0" y="735"/>
                    <a:pt x="0" y="735"/>
                    <a:pt x="0" y="735"/>
                  </a:cubicBezTo>
                  <a:cubicBezTo>
                    <a:pt x="0" y="735"/>
                    <a:pt x="484" y="606"/>
                    <a:pt x="525" y="594"/>
                  </a:cubicBezTo>
                  <a:cubicBezTo>
                    <a:pt x="694" y="0"/>
                    <a:pt x="694" y="0"/>
                    <a:pt x="694" y="0"/>
                  </a:cubicBezTo>
                  <a:cubicBezTo>
                    <a:pt x="694" y="0"/>
                    <a:pt x="372" y="112"/>
                    <a:pt x="330" y="120"/>
                  </a:cubicBezTo>
                  <a:close/>
                </a:path>
              </a:pathLst>
            </a:custGeom>
            <a:solidFill>
              <a:srgbClr val="78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3" name="Freeform 13"/>
            <p:cNvSpPr>
              <a:spLocks/>
            </p:cNvSpPr>
            <p:nvPr/>
          </p:nvSpPr>
          <p:spPr bwMode="auto">
            <a:xfrm>
              <a:off x="2032401" y="3280820"/>
              <a:ext cx="2223042" cy="1517638"/>
            </a:xfrm>
            <a:custGeom>
              <a:avLst/>
              <a:gdLst>
                <a:gd name="T0" fmla="*/ 1381 w 1752"/>
                <a:gd name="T1" fmla="*/ 235 h 1196"/>
                <a:gd name="T2" fmla="*/ 1752 w 1752"/>
                <a:gd name="T3" fmla="*/ 862 h 1196"/>
                <a:gd name="T4" fmla="*/ 0 w 1752"/>
                <a:gd name="T5" fmla="*/ 594 h 1196"/>
                <a:gd name="T6" fmla="*/ 169 w 1752"/>
                <a:gd name="T7" fmla="*/ 0 h 1196"/>
                <a:gd name="T8" fmla="*/ 1381 w 1752"/>
                <a:gd name="T9" fmla="*/ 235 h 1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52" h="1196">
                  <a:moveTo>
                    <a:pt x="1381" y="235"/>
                  </a:moveTo>
                  <a:cubicBezTo>
                    <a:pt x="1752" y="862"/>
                    <a:pt x="1752" y="862"/>
                    <a:pt x="1752" y="862"/>
                  </a:cubicBezTo>
                  <a:cubicBezTo>
                    <a:pt x="1752" y="862"/>
                    <a:pt x="990" y="1196"/>
                    <a:pt x="0" y="594"/>
                  </a:cubicBezTo>
                  <a:cubicBezTo>
                    <a:pt x="169" y="0"/>
                    <a:pt x="169" y="0"/>
                    <a:pt x="169" y="0"/>
                  </a:cubicBezTo>
                  <a:cubicBezTo>
                    <a:pt x="169" y="0"/>
                    <a:pt x="730" y="446"/>
                    <a:pt x="1381" y="235"/>
                  </a:cubicBezTo>
                  <a:close/>
                </a:path>
              </a:pathLst>
            </a:custGeom>
            <a:solidFill>
              <a:srgbClr val="8EDC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9" name="Group 18"/>
          <p:cNvGrpSpPr/>
          <p:nvPr/>
        </p:nvGrpSpPr>
        <p:grpSpPr>
          <a:xfrm>
            <a:off x="2476454" y="3901551"/>
            <a:ext cx="3808321" cy="2268135"/>
            <a:chOff x="906655" y="4108086"/>
            <a:chExt cx="3808321" cy="2268135"/>
          </a:xfrm>
        </p:grpSpPr>
        <p:sp>
          <p:nvSpPr>
            <p:cNvPr id="58" name="Freeform 14"/>
            <p:cNvSpPr>
              <a:spLocks/>
            </p:cNvSpPr>
            <p:nvPr/>
          </p:nvSpPr>
          <p:spPr bwMode="auto">
            <a:xfrm>
              <a:off x="906655" y="4737795"/>
              <a:ext cx="3808321" cy="1638426"/>
            </a:xfrm>
            <a:custGeom>
              <a:avLst/>
              <a:gdLst>
                <a:gd name="T0" fmla="*/ 0 w 3001"/>
                <a:gd name="T1" fmla="*/ 272 h 1291"/>
                <a:gd name="T2" fmla="*/ 3001 w 3001"/>
                <a:gd name="T3" fmla="*/ 400 h 1291"/>
                <a:gd name="T4" fmla="*/ 709 w 3001"/>
                <a:gd name="T5" fmla="*/ 0 h 1291"/>
                <a:gd name="T6" fmla="*/ 0 w 3001"/>
                <a:gd name="T7" fmla="*/ 272 h 1291"/>
                <a:gd name="T8" fmla="*/ 0 w 3001"/>
                <a:gd name="T9" fmla="*/ 272 h 1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01" h="1291">
                  <a:moveTo>
                    <a:pt x="0" y="272"/>
                  </a:moveTo>
                  <a:cubicBezTo>
                    <a:pt x="0" y="272"/>
                    <a:pt x="1575" y="1291"/>
                    <a:pt x="3001" y="400"/>
                  </a:cubicBezTo>
                  <a:cubicBezTo>
                    <a:pt x="709" y="0"/>
                    <a:pt x="709" y="0"/>
                    <a:pt x="709" y="0"/>
                  </a:cubicBezTo>
                  <a:cubicBezTo>
                    <a:pt x="0" y="272"/>
                    <a:pt x="0" y="272"/>
                    <a:pt x="0" y="272"/>
                  </a:cubicBezTo>
                  <a:cubicBezTo>
                    <a:pt x="0" y="272"/>
                    <a:pt x="0" y="272"/>
                    <a:pt x="0" y="272"/>
                  </a:cubicBezTo>
                  <a:close/>
                </a:path>
              </a:pathLst>
            </a:custGeom>
            <a:solidFill>
              <a:srgbClr val="2523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5"/>
            <p:cNvSpPr>
              <a:spLocks/>
            </p:cNvSpPr>
            <p:nvPr/>
          </p:nvSpPr>
          <p:spPr bwMode="auto">
            <a:xfrm>
              <a:off x="1774720" y="4108086"/>
              <a:ext cx="2940256" cy="1723246"/>
            </a:xfrm>
            <a:custGeom>
              <a:avLst/>
              <a:gdLst>
                <a:gd name="T0" fmla="*/ 1987 w 2317"/>
                <a:gd name="T1" fmla="*/ 293 h 1358"/>
                <a:gd name="T2" fmla="*/ 185 w 2317"/>
                <a:gd name="T3" fmla="*/ 0 h 1358"/>
                <a:gd name="T4" fmla="*/ 0 w 2317"/>
                <a:gd name="T5" fmla="*/ 289 h 1358"/>
                <a:gd name="T6" fmla="*/ 0 w 2317"/>
                <a:gd name="T7" fmla="*/ 578 h 1358"/>
                <a:gd name="T8" fmla="*/ 2317 w 2317"/>
                <a:gd name="T9" fmla="*/ 895 h 1358"/>
                <a:gd name="T10" fmla="*/ 1987 w 2317"/>
                <a:gd name="T11" fmla="*/ 293 h 1358"/>
                <a:gd name="T12" fmla="*/ 1987 w 2317"/>
                <a:gd name="T13" fmla="*/ 293 h 1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17" h="1358">
                  <a:moveTo>
                    <a:pt x="1987" y="293"/>
                  </a:moveTo>
                  <a:cubicBezTo>
                    <a:pt x="1987" y="293"/>
                    <a:pt x="1142" y="611"/>
                    <a:pt x="185" y="0"/>
                  </a:cubicBezTo>
                  <a:cubicBezTo>
                    <a:pt x="0" y="289"/>
                    <a:pt x="0" y="289"/>
                    <a:pt x="0" y="289"/>
                  </a:cubicBezTo>
                  <a:cubicBezTo>
                    <a:pt x="0" y="578"/>
                    <a:pt x="0" y="578"/>
                    <a:pt x="0" y="578"/>
                  </a:cubicBezTo>
                  <a:cubicBezTo>
                    <a:pt x="0" y="578"/>
                    <a:pt x="1286" y="1358"/>
                    <a:pt x="2317" y="895"/>
                  </a:cubicBezTo>
                  <a:cubicBezTo>
                    <a:pt x="1987" y="293"/>
                    <a:pt x="1987" y="293"/>
                    <a:pt x="1987" y="293"/>
                  </a:cubicBezTo>
                  <a:cubicBezTo>
                    <a:pt x="1987" y="293"/>
                    <a:pt x="1987" y="293"/>
                    <a:pt x="1987" y="293"/>
                  </a:cubicBezTo>
                  <a:close/>
                </a:path>
              </a:pathLst>
            </a:custGeom>
            <a:solidFill>
              <a:srgbClr val="5553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6"/>
            <p:cNvSpPr>
              <a:spLocks/>
            </p:cNvSpPr>
            <p:nvPr/>
          </p:nvSpPr>
          <p:spPr bwMode="auto">
            <a:xfrm>
              <a:off x="906655" y="4108086"/>
              <a:ext cx="1103737" cy="974896"/>
            </a:xfrm>
            <a:custGeom>
              <a:avLst/>
              <a:gdLst>
                <a:gd name="T0" fmla="*/ 314 w 870"/>
                <a:gd name="T1" fmla="*/ 169 h 768"/>
                <a:gd name="T2" fmla="*/ 870 w 870"/>
                <a:gd name="T3" fmla="*/ 0 h 768"/>
                <a:gd name="T4" fmla="*/ 685 w 870"/>
                <a:gd name="T5" fmla="*/ 578 h 768"/>
                <a:gd name="T6" fmla="*/ 0 w 870"/>
                <a:gd name="T7" fmla="*/ 768 h 768"/>
                <a:gd name="T8" fmla="*/ 314 w 870"/>
                <a:gd name="T9" fmla="*/ 169 h 768"/>
                <a:gd name="T10" fmla="*/ 314 w 870"/>
                <a:gd name="T11" fmla="*/ 169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0" h="768">
                  <a:moveTo>
                    <a:pt x="314" y="169"/>
                  </a:moveTo>
                  <a:cubicBezTo>
                    <a:pt x="870" y="0"/>
                    <a:pt x="870" y="0"/>
                    <a:pt x="870" y="0"/>
                  </a:cubicBezTo>
                  <a:cubicBezTo>
                    <a:pt x="685" y="578"/>
                    <a:pt x="685" y="578"/>
                    <a:pt x="685" y="578"/>
                  </a:cubicBezTo>
                  <a:cubicBezTo>
                    <a:pt x="685" y="578"/>
                    <a:pt x="66" y="768"/>
                    <a:pt x="0" y="768"/>
                  </a:cubicBezTo>
                  <a:cubicBezTo>
                    <a:pt x="314" y="169"/>
                    <a:pt x="314" y="169"/>
                    <a:pt x="314" y="169"/>
                  </a:cubicBezTo>
                  <a:cubicBezTo>
                    <a:pt x="314" y="169"/>
                    <a:pt x="314" y="169"/>
                    <a:pt x="314" y="169"/>
                  </a:cubicBezTo>
                  <a:close/>
                </a:path>
              </a:pathLst>
            </a:custGeom>
            <a:solidFill>
              <a:srgbClr val="3B39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0" name="Group 19"/>
          <p:cNvGrpSpPr>
            <a:grpSpLocks noChangeAspect="1"/>
          </p:cNvGrpSpPr>
          <p:nvPr/>
        </p:nvGrpSpPr>
        <p:grpSpPr>
          <a:xfrm>
            <a:off x="4201579" y="1864128"/>
            <a:ext cx="302079" cy="288000"/>
            <a:chOff x="6472238" y="-822326"/>
            <a:chExt cx="374650" cy="357188"/>
          </a:xfrm>
          <a:solidFill>
            <a:schemeClr val="bg1"/>
          </a:solidFill>
        </p:grpSpPr>
        <p:sp>
          <p:nvSpPr>
            <p:cNvPr id="52" name="Freeform 26"/>
            <p:cNvSpPr>
              <a:spLocks noEditPoints="1"/>
            </p:cNvSpPr>
            <p:nvPr/>
          </p:nvSpPr>
          <p:spPr bwMode="auto">
            <a:xfrm>
              <a:off x="6507163" y="-774701"/>
              <a:ext cx="309562" cy="309563"/>
            </a:xfrm>
            <a:custGeom>
              <a:avLst/>
              <a:gdLst>
                <a:gd name="T0" fmla="*/ 40 w 80"/>
                <a:gd name="T1" fmla="*/ 80 h 80"/>
                <a:gd name="T2" fmla="*/ 0 w 80"/>
                <a:gd name="T3" fmla="*/ 40 h 80"/>
                <a:gd name="T4" fmla="*/ 40 w 80"/>
                <a:gd name="T5" fmla="*/ 0 h 80"/>
                <a:gd name="T6" fmla="*/ 80 w 80"/>
                <a:gd name="T7" fmla="*/ 40 h 80"/>
                <a:gd name="T8" fmla="*/ 40 w 80"/>
                <a:gd name="T9" fmla="*/ 80 h 80"/>
                <a:gd name="T10" fmla="*/ 40 w 80"/>
                <a:gd name="T11" fmla="*/ 4 h 80"/>
                <a:gd name="T12" fmla="*/ 4 w 80"/>
                <a:gd name="T13" fmla="*/ 40 h 80"/>
                <a:gd name="T14" fmla="*/ 40 w 80"/>
                <a:gd name="T15" fmla="*/ 76 h 80"/>
                <a:gd name="T16" fmla="*/ 76 w 80"/>
                <a:gd name="T17" fmla="*/ 40 h 80"/>
                <a:gd name="T18" fmla="*/ 40 w 80"/>
                <a:gd name="T19" fmla="*/ 4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0" h="80">
                  <a:moveTo>
                    <a:pt x="40" y="80"/>
                  </a:moveTo>
                  <a:cubicBezTo>
                    <a:pt x="18" y="80"/>
                    <a:pt x="0" y="62"/>
                    <a:pt x="0" y="40"/>
                  </a:cubicBezTo>
                  <a:cubicBezTo>
                    <a:pt x="0" y="18"/>
                    <a:pt x="18" y="0"/>
                    <a:pt x="40" y="0"/>
                  </a:cubicBezTo>
                  <a:cubicBezTo>
                    <a:pt x="62" y="0"/>
                    <a:pt x="80" y="18"/>
                    <a:pt x="80" y="40"/>
                  </a:cubicBezTo>
                  <a:cubicBezTo>
                    <a:pt x="80" y="62"/>
                    <a:pt x="62" y="80"/>
                    <a:pt x="40" y="80"/>
                  </a:cubicBezTo>
                  <a:close/>
                  <a:moveTo>
                    <a:pt x="40" y="4"/>
                  </a:moveTo>
                  <a:cubicBezTo>
                    <a:pt x="20" y="4"/>
                    <a:pt x="4" y="20"/>
                    <a:pt x="4" y="40"/>
                  </a:cubicBezTo>
                  <a:cubicBezTo>
                    <a:pt x="4" y="60"/>
                    <a:pt x="20" y="76"/>
                    <a:pt x="40" y="76"/>
                  </a:cubicBezTo>
                  <a:cubicBezTo>
                    <a:pt x="60" y="76"/>
                    <a:pt x="76" y="60"/>
                    <a:pt x="76" y="40"/>
                  </a:cubicBezTo>
                  <a:cubicBezTo>
                    <a:pt x="76" y="20"/>
                    <a:pt x="60" y="4"/>
                    <a:pt x="4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27"/>
            <p:cNvSpPr>
              <a:spLocks/>
            </p:cNvSpPr>
            <p:nvPr/>
          </p:nvSpPr>
          <p:spPr bwMode="auto">
            <a:xfrm>
              <a:off x="6545263" y="-508001"/>
              <a:ext cx="42862" cy="42863"/>
            </a:xfrm>
            <a:custGeom>
              <a:avLst/>
              <a:gdLst>
                <a:gd name="T0" fmla="*/ 2 w 11"/>
                <a:gd name="T1" fmla="*/ 11 h 11"/>
                <a:gd name="T2" fmla="*/ 0 w 11"/>
                <a:gd name="T3" fmla="*/ 10 h 11"/>
                <a:gd name="T4" fmla="*/ 0 w 11"/>
                <a:gd name="T5" fmla="*/ 8 h 11"/>
                <a:gd name="T6" fmla="*/ 7 w 11"/>
                <a:gd name="T7" fmla="*/ 1 h 11"/>
                <a:gd name="T8" fmla="*/ 10 w 11"/>
                <a:gd name="T9" fmla="*/ 1 h 11"/>
                <a:gd name="T10" fmla="*/ 10 w 11"/>
                <a:gd name="T11" fmla="*/ 4 h 11"/>
                <a:gd name="T12" fmla="*/ 3 w 11"/>
                <a:gd name="T13" fmla="*/ 10 h 11"/>
                <a:gd name="T14" fmla="*/ 2 w 11"/>
                <a:gd name="T1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11">
                  <a:moveTo>
                    <a:pt x="2" y="11"/>
                  </a:moveTo>
                  <a:cubicBezTo>
                    <a:pt x="1" y="11"/>
                    <a:pt x="1" y="11"/>
                    <a:pt x="0" y="10"/>
                  </a:cubicBezTo>
                  <a:cubicBezTo>
                    <a:pt x="0" y="10"/>
                    <a:pt x="0" y="8"/>
                    <a:pt x="0" y="8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8" y="0"/>
                    <a:pt x="9" y="0"/>
                    <a:pt x="10" y="1"/>
                  </a:cubicBezTo>
                  <a:cubicBezTo>
                    <a:pt x="11" y="2"/>
                    <a:pt x="11" y="3"/>
                    <a:pt x="10" y="4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1"/>
                    <a:pt x="2" y="11"/>
                    <a:pt x="2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28"/>
            <p:cNvSpPr>
              <a:spLocks/>
            </p:cNvSpPr>
            <p:nvPr/>
          </p:nvSpPr>
          <p:spPr bwMode="auto">
            <a:xfrm>
              <a:off x="6735763" y="-508001"/>
              <a:ext cx="41275" cy="42863"/>
            </a:xfrm>
            <a:custGeom>
              <a:avLst/>
              <a:gdLst>
                <a:gd name="T0" fmla="*/ 9 w 11"/>
                <a:gd name="T1" fmla="*/ 11 h 11"/>
                <a:gd name="T2" fmla="*/ 7 w 11"/>
                <a:gd name="T3" fmla="*/ 10 h 11"/>
                <a:gd name="T4" fmla="*/ 1 w 11"/>
                <a:gd name="T5" fmla="*/ 4 h 11"/>
                <a:gd name="T6" fmla="*/ 1 w 11"/>
                <a:gd name="T7" fmla="*/ 1 h 11"/>
                <a:gd name="T8" fmla="*/ 4 w 11"/>
                <a:gd name="T9" fmla="*/ 1 h 11"/>
                <a:gd name="T10" fmla="*/ 10 w 11"/>
                <a:gd name="T11" fmla="*/ 8 h 11"/>
                <a:gd name="T12" fmla="*/ 10 w 11"/>
                <a:gd name="T13" fmla="*/ 10 h 11"/>
                <a:gd name="T14" fmla="*/ 9 w 11"/>
                <a:gd name="T1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11">
                  <a:moveTo>
                    <a:pt x="9" y="11"/>
                  </a:moveTo>
                  <a:cubicBezTo>
                    <a:pt x="8" y="11"/>
                    <a:pt x="8" y="11"/>
                    <a:pt x="7" y="10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1" y="0"/>
                    <a:pt x="3" y="0"/>
                    <a:pt x="4" y="1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8"/>
                    <a:pt x="11" y="10"/>
                    <a:pt x="10" y="10"/>
                  </a:cubicBezTo>
                  <a:cubicBezTo>
                    <a:pt x="10" y="11"/>
                    <a:pt x="9" y="11"/>
                    <a:pt x="9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29"/>
            <p:cNvSpPr>
              <a:spLocks/>
            </p:cNvSpPr>
            <p:nvPr/>
          </p:nvSpPr>
          <p:spPr bwMode="auto">
            <a:xfrm>
              <a:off x="6599238" y="-712788"/>
              <a:ext cx="77787" cy="107950"/>
            </a:xfrm>
            <a:custGeom>
              <a:avLst/>
              <a:gdLst>
                <a:gd name="T0" fmla="*/ 18 w 20"/>
                <a:gd name="T1" fmla="*/ 28 h 28"/>
                <a:gd name="T2" fmla="*/ 2 w 20"/>
                <a:gd name="T3" fmla="*/ 28 h 28"/>
                <a:gd name="T4" fmla="*/ 0 w 20"/>
                <a:gd name="T5" fmla="*/ 26 h 28"/>
                <a:gd name="T6" fmla="*/ 2 w 20"/>
                <a:gd name="T7" fmla="*/ 24 h 28"/>
                <a:gd name="T8" fmla="*/ 16 w 20"/>
                <a:gd name="T9" fmla="*/ 24 h 28"/>
                <a:gd name="T10" fmla="*/ 16 w 20"/>
                <a:gd name="T11" fmla="*/ 2 h 28"/>
                <a:gd name="T12" fmla="*/ 18 w 20"/>
                <a:gd name="T13" fmla="*/ 0 h 28"/>
                <a:gd name="T14" fmla="*/ 20 w 20"/>
                <a:gd name="T15" fmla="*/ 2 h 28"/>
                <a:gd name="T16" fmla="*/ 20 w 20"/>
                <a:gd name="T17" fmla="*/ 26 h 28"/>
                <a:gd name="T18" fmla="*/ 18 w 20"/>
                <a:gd name="T19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28">
                  <a:moveTo>
                    <a:pt x="18" y="28"/>
                  </a:moveTo>
                  <a:cubicBezTo>
                    <a:pt x="2" y="28"/>
                    <a:pt x="2" y="28"/>
                    <a:pt x="2" y="28"/>
                  </a:cubicBezTo>
                  <a:cubicBezTo>
                    <a:pt x="1" y="28"/>
                    <a:pt x="0" y="27"/>
                    <a:pt x="0" y="26"/>
                  </a:cubicBezTo>
                  <a:cubicBezTo>
                    <a:pt x="0" y="25"/>
                    <a:pt x="1" y="24"/>
                    <a:pt x="2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1"/>
                    <a:pt x="17" y="0"/>
                    <a:pt x="18" y="0"/>
                  </a:cubicBezTo>
                  <a:cubicBezTo>
                    <a:pt x="19" y="0"/>
                    <a:pt x="20" y="1"/>
                    <a:pt x="20" y="2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0" y="27"/>
                    <a:pt x="19" y="28"/>
                    <a:pt x="1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30"/>
            <p:cNvSpPr>
              <a:spLocks/>
            </p:cNvSpPr>
            <p:nvPr/>
          </p:nvSpPr>
          <p:spPr bwMode="auto">
            <a:xfrm>
              <a:off x="6472238" y="-822326"/>
              <a:ext cx="127000" cy="123825"/>
            </a:xfrm>
            <a:custGeom>
              <a:avLst/>
              <a:gdLst>
                <a:gd name="T0" fmla="*/ 9 w 33"/>
                <a:gd name="T1" fmla="*/ 32 h 32"/>
                <a:gd name="T2" fmla="*/ 7 w 33"/>
                <a:gd name="T3" fmla="*/ 31 h 32"/>
                <a:gd name="T4" fmla="*/ 7 w 33"/>
                <a:gd name="T5" fmla="*/ 7 h 32"/>
                <a:gd name="T6" fmla="*/ 32 w 33"/>
                <a:gd name="T7" fmla="*/ 7 h 32"/>
                <a:gd name="T8" fmla="*/ 32 w 33"/>
                <a:gd name="T9" fmla="*/ 9 h 32"/>
                <a:gd name="T10" fmla="*/ 29 w 33"/>
                <a:gd name="T11" fmla="*/ 9 h 32"/>
                <a:gd name="T12" fmla="*/ 10 w 33"/>
                <a:gd name="T13" fmla="*/ 9 h 32"/>
                <a:gd name="T14" fmla="*/ 10 w 33"/>
                <a:gd name="T15" fmla="*/ 29 h 32"/>
                <a:gd name="T16" fmla="*/ 10 w 33"/>
                <a:gd name="T17" fmla="*/ 31 h 32"/>
                <a:gd name="T18" fmla="*/ 9 w 33"/>
                <a:gd name="T19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32">
                  <a:moveTo>
                    <a:pt x="9" y="32"/>
                  </a:moveTo>
                  <a:cubicBezTo>
                    <a:pt x="8" y="32"/>
                    <a:pt x="8" y="32"/>
                    <a:pt x="7" y="31"/>
                  </a:cubicBezTo>
                  <a:cubicBezTo>
                    <a:pt x="0" y="24"/>
                    <a:pt x="0" y="14"/>
                    <a:pt x="7" y="7"/>
                  </a:cubicBezTo>
                  <a:cubicBezTo>
                    <a:pt x="14" y="0"/>
                    <a:pt x="25" y="0"/>
                    <a:pt x="32" y="7"/>
                  </a:cubicBezTo>
                  <a:cubicBezTo>
                    <a:pt x="33" y="7"/>
                    <a:pt x="33" y="9"/>
                    <a:pt x="32" y="9"/>
                  </a:cubicBezTo>
                  <a:cubicBezTo>
                    <a:pt x="31" y="10"/>
                    <a:pt x="30" y="10"/>
                    <a:pt x="29" y="9"/>
                  </a:cubicBezTo>
                  <a:cubicBezTo>
                    <a:pt x="24" y="4"/>
                    <a:pt x="15" y="4"/>
                    <a:pt x="10" y="9"/>
                  </a:cubicBezTo>
                  <a:cubicBezTo>
                    <a:pt x="5" y="15"/>
                    <a:pt x="5" y="23"/>
                    <a:pt x="10" y="29"/>
                  </a:cubicBezTo>
                  <a:cubicBezTo>
                    <a:pt x="11" y="29"/>
                    <a:pt x="11" y="31"/>
                    <a:pt x="10" y="31"/>
                  </a:cubicBezTo>
                  <a:cubicBezTo>
                    <a:pt x="10" y="32"/>
                    <a:pt x="9" y="32"/>
                    <a:pt x="9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31"/>
            <p:cNvSpPr>
              <a:spLocks/>
            </p:cNvSpPr>
            <p:nvPr/>
          </p:nvSpPr>
          <p:spPr bwMode="auto">
            <a:xfrm>
              <a:off x="6723063" y="-822326"/>
              <a:ext cx="123825" cy="123825"/>
            </a:xfrm>
            <a:custGeom>
              <a:avLst/>
              <a:gdLst>
                <a:gd name="T0" fmla="*/ 24 w 32"/>
                <a:gd name="T1" fmla="*/ 32 h 32"/>
                <a:gd name="T2" fmla="*/ 22 w 32"/>
                <a:gd name="T3" fmla="*/ 31 h 32"/>
                <a:gd name="T4" fmla="*/ 22 w 32"/>
                <a:gd name="T5" fmla="*/ 29 h 32"/>
                <a:gd name="T6" fmla="*/ 22 w 32"/>
                <a:gd name="T7" fmla="*/ 9 h 32"/>
                <a:gd name="T8" fmla="*/ 3 w 32"/>
                <a:gd name="T9" fmla="*/ 9 h 32"/>
                <a:gd name="T10" fmla="*/ 0 w 32"/>
                <a:gd name="T11" fmla="*/ 9 h 32"/>
                <a:gd name="T12" fmla="*/ 0 w 32"/>
                <a:gd name="T13" fmla="*/ 7 h 32"/>
                <a:gd name="T14" fmla="*/ 25 w 32"/>
                <a:gd name="T15" fmla="*/ 7 h 32"/>
                <a:gd name="T16" fmla="*/ 25 w 32"/>
                <a:gd name="T17" fmla="*/ 31 h 32"/>
                <a:gd name="T18" fmla="*/ 24 w 32"/>
                <a:gd name="T19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32">
                  <a:moveTo>
                    <a:pt x="24" y="32"/>
                  </a:moveTo>
                  <a:cubicBezTo>
                    <a:pt x="23" y="32"/>
                    <a:pt x="23" y="32"/>
                    <a:pt x="22" y="31"/>
                  </a:cubicBezTo>
                  <a:cubicBezTo>
                    <a:pt x="22" y="31"/>
                    <a:pt x="22" y="29"/>
                    <a:pt x="22" y="29"/>
                  </a:cubicBezTo>
                  <a:cubicBezTo>
                    <a:pt x="28" y="23"/>
                    <a:pt x="28" y="15"/>
                    <a:pt x="22" y="9"/>
                  </a:cubicBezTo>
                  <a:cubicBezTo>
                    <a:pt x="17" y="4"/>
                    <a:pt x="8" y="4"/>
                    <a:pt x="3" y="9"/>
                  </a:cubicBezTo>
                  <a:cubicBezTo>
                    <a:pt x="2" y="10"/>
                    <a:pt x="1" y="10"/>
                    <a:pt x="0" y="9"/>
                  </a:cubicBezTo>
                  <a:cubicBezTo>
                    <a:pt x="0" y="9"/>
                    <a:pt x="0" y="7"/>
                    <a:pt x="0" y="7"/>
                  </a:cubicBezTo>
                  <a:cubicBezTo>
                    <a:pt x="7" y="0"/>
                    <a:pt x="18" y="0"/>
                    <a:pt x="25" y="7"/>
                  </a:cubicBezTo>
                  <a:cubicBezTo>
                    <a:pt x="32" y="14"/>
                    <a:pt x="32" y="24"/>
                    <a:pt x="25" y="31"/>
                  </a:cubicBezTo>
                  <a:cubicBezTo>
                    <a:pt x="25" y="32"/>
                    <a:pt x="24" y="32"/>
                    <a:pt x="24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1" name="Group 20"/>
          <p:cNvGrpSpPr>
            <a:grpSpLocks noChangeAspect="1"/>
          </p:cNvGrpSpPr>
          <p:nvPr/>
        </p:nvGrpSpPr>
        <p:grpSpPr>
          <a:xfrm>
            <a:off x="4271073" y="2701075"/>
            <a:ext cx="342366" cy="288000"/>
            <a:chOff x="9577388" y="1355725"/>
            <a:chExt cx="369887" cy="311151"/>
          </a:xfrm>
          <a:solidFill>
            <a:srgbClr val="3B3939"/>
          </a:solidFill>
        </p:grpSpPr>
        <p:sp>
          <p:nvSpPr>
            <p:cNvPr id="49" name="Freeform 35"/>
            <p:cNvSpPr>
              <a:spLocks/>
            </p:cNvSpPr>
            <p:nvPr/>
          </p:nvSpPr>
          <p:spPr bwMode="auto">
            <a:xfrm>
              <a:off x="9685338" y="1417638"/>
              <a:ext cx="77787" cy="249238"/>
            </a:xfrm>
            <a:custGeom>
              <a:avLst/>
              <a:gdLst>
                <a:gd name="T0" fmla="*/ 18 w 20"/>
                <a:gd name="T1" fmla="*/ 64 h 64"/>
                <a:gd name="T2" fmla="*/ 17 w 20"/>
                <a:gd name="T3" fmla="*/ 64 h 64"/>
                <a:gd name="T4" fmla="*/ 0 w 20"/>
                <a:gd name="T5" fmla="*/ 36 h 64"/>
                <a:gd name="T6" fmla="*/ 0 w 20"/>
                <a:gd name="T7" fmla="*/ 2 h 64"/>
                <a:gd name="T8" fmla="*/ 2 w 20"/>
                <a:gd name="T9" fmla="*/ 0 h 64"/>
                <a:gd name="T10" fmla="*/ 4 w 20"/>
                <a:gd name="T11" fmla="*/ 2 h 64"/>
                <a:gd name="T12" fmla="*/ 4 w 20"/>
                <a:gd name="T13" fmla="*/ 36 h 64"/>
                <a:gd name="T14" fmla="*/ 19 w 20"/>
                <a:gd name="T15" fmla="*/ 60 h 64"/>
                <a:gd name="T16" fmla="*/ 20 w 20"/>
                <a:gd name="T17" fmla="*/ 63 h 64"/>
                <a:gd name="T18" fmla="*/ 18 w 20"/>
                <a:gd name="T19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64">
                  <a:moveTo>
                    <a:pt x="18" y="64"/>
                  </a:moveTo>
                  <a:cubicBezTo>
                    <a:pt x="18" y="64"/>
                    <a:pt x="17" y="64"/>
                    <a:pt x="17" y="64"/>
                  </a:cubicBezTo>
                  <a:cubicBezTo>
                    <a:pt x="7" y="59"/>
                    <a:pt x="0" y="48"/>
                    <a:pt x="0" y="3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36"/>
                    <a:pt x="4" y="36"/>
                    <a:pt x="4" y="36"/>
                  </a:cubicBezTo>
                  <a:cubicBezTo>
                    <a:pt x="4" y="46"/>
                    <a:pt x="10" y="56"/>
                    <a:pt x="19" y="60"/>
                  </a:cubicBezTo>
                  <a:cubicBezTo>
                    <a:pt x="20" y="61"/>
                    <a:pt x="20" y="62"/>
                    <a:pt x="20" y="63"/>
                  </a:cubicBezTo>
                  <a:cubicBezTo>
                    <a:pt x="19" y="64"/>
                    <a:pt x="19" y="64"/>
                    <a:pt x="18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36"/>
            <p:cNvSpPr>
              <a:spLocks noEditPoints="1"/>
            </p:cNvSpPr>
            <p:nvPr/>
          </p:nvSpPr>
          <p:spPr bwMode="auto">
            <a:xfrm>
              <a:off x="9901238" y="1447800"/>
              <a:ext cx="46037" cy="77788"/>
            </a:xfrm>
            <a:custGeom>
              <a:avLst/>
              <a:gdLst>
                <a:gd name="T0" fmla="*/ 4 w 12"/>
                <a:gd name="T1" fmla="*/ 20 h 20"/>
                <a:gd name="T2" fmla="*/ 2 w 12"/>
                <a:gd name="T3" fmla="*/ 20 h 20"/>
                <a:gd name="T4" fmla="*/ 0 w 12"/>
                <a:gd name="T5" fmla="*/ 18 h 20"/>
                <a:gd name="T6" fmla="*/ 0 w 12"/>
                <a:gd name="T7" fmla="*/ 2 h 20"/>
                <a:gd name="T8" fmla="*/ 2 w 12"/>
                <a:gd name="T9" fmla="*/ 0 h 20"/>
                <a:gd name="T10" fmla="*/ 4 w 12"/>
                <a:gd name="T11" fmla="*/ 0 h 20"/>
                <a:gd name="T12" fmla="*/ 12 w 12"/>
                <a:gd name="T13" fmla="*/ 8 h 20"/>
                <a:gd name="T14" fmla="*/ 12 w 12"/>
                <a:gd name="T15" fmla="*/ 12 h 20"/>
                <a:gd name="T16" fmla="*/ 4 w 12"/>
                <a:gd name="T17" fmla="*/ 20 h 20"/>
                <a:gd name="T18" fmla="*/ 4 w 12"/>
                <a:gd name="T19" fmla="*/ 4 h 20"/>
                <a:gd name="T20" fmla="*/ 4 w 12"/>
                <a:gd name="T21" fmla="*/ 16 h 20"/>
                <a:gd name="T22" fmla="*/ 8 w 12"/>
                <a:gd name="T23" fmla="*/ 12 h 20"/>
                <a:gd name="T24" fmla="*/ 8 w 12"/>
                <a:gd name="T25" fmla="*/ 8 h 20"/>
                <a:gd name="T26" fmla="*/ 4 w 12"/>
                <a:gd name="T27" fmla="*/ 4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20">
                  <a:moveTo>
                    <a:pt x="4" y="20"/>
                  </a:move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8" y="0"/>
                    <a:pt x="12" y="4"/>
                    <a:pt x="12" y="8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6"/>
                    <a:pt x="8" y="20"/>
                    <a:pt x="4" y="20"/>
                  </a:cubicBezTo>
                  <a:close/>
                  <a:moveTo>
                    <a:pt x="4" y="4"/>
                  </a:moveTo>
                  <a:cubicBezTo>
                    <a:pt x="4" y="16"/>
                    <a:pt x="4" y="16"/>
                    <a:pt x="4" y="16"/>
                  </a:cubicBezTo>
                  <a:cubicBezTo>
                    <a:pt x="6" y="16"/>
                    <a:pt x="8" y="14"/>
                    <a:pt x="8" y="12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6"/>
                    <a:pt x="6" y="4"/>
                    <a:pt x="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1" name="Freeform 37"/>
            <p:cNvSpPr>
              <a:spLocks noEditPoints="1"/>
            </p:cNvSpPr>
            <p:nvPr/>
          </p:nvSpPr>
          <p:spPr bwMode="auto">
            <a:xfrm>
              <a:off x="9577388" y="1355725"/>
              <a:ext cx="339725" cy="263525"/>
            </a:xfrm>
            <a:custGeom>
              <a:avLst/>
              <a:gdLst>
                <a:gd name="T0" fmla="*/ 86 w 88"/>
                <a:gd name="T1" fmla="*/ 68 h 68"/>
                <a:gd name="T2" fmla="*/ 85 w 88"/>
                <a:gd name="T3" fmla="*/ 68 h 68"/>
                <a:gd name="T4" fmla="*/ 81 w 88"/>
                <a:gd name="T5" fmla="*/ 66 h 68"/>
                <a:gd name="T6" fmla="*/ 18 w 88"/>
                <a:gd name="T7" fmla="*/ 52 h 68"/>
                <a:gd name="T8" fmla="*/ 14 w 88"/>
                <a:gd name="T9" fmla="*/ 52 h 68"/>
                <a:gd name="T10" fmla="*/ 0 w 88"/>
                <a:gd name="T11" fmla="*/ 38 h 68"/>
                <a:gd name="T12" fmla="*/ 0 w 88"/>
                <a:gd name="T13" fmla="*/ 30 h 68"/>
                <a:gd name="T14" fmla="*/ 14 w 88"/>
                <a:gd name="T15" fmla="*/ 16 h 68"/>
                <a:gd name="T16" fmla="*/ 18 w 88"/>
                <a:gd name="T17" fmla="*/ 16 h 68"/>
                <a:gd name="T18" fmla="*/ 81 w 88"/>
                <a:gd name="T19" fmla="*/ 2 h 68"/>
                <a:gd name="T20" fmla="*/ 85 w 88"/>
                <a:gd name="T21" fmla="*/ 0 h 68"/>
                <a:gd name="T22" fmla="*/ 87 w 88"/>
                <a:gd name="T23" fmla="*/ 0 h 68"/>
                <a:gd name="T24" fmla="*/ 88 w 88"/>
                <a:gd name="T25" fmla="*/ 2 h 68"/>
                <a:gd name="T26" fmla="*/ 88 w 88"/>
                <a:gd name="T27" fmla="*/ 66 h 68"/>
                <a:gd name="T28" fmla="*/ 87 w 88"/>
                <a:gd name="T29" fmla="*/ 68 h 68"/>
                <a:gd name="T30" fmla="*/ 86 w 88"/>
                <a:gd name="T31" fmla="*/ 68 h 68"/>
                <a:gd name="T32" fmla="*/ 14 w 88"/>
                <a:gd name="T33" fmla="*/ 20 h 68"/>
                <a:gd name="T34" fmla="*/ 4 w 88"/>
                <a:gd name="T35" fmla="*/ 30 h 68"/>
                <a:gd name="T36" fmla="*/ 4 w 88"/>
                <a:gd name="T37" fmla="*/ 38 h 68"/>
                <a:gd name="T38" fmla="*/ 14 w 88"/>
                <a:gd name="T39" fmla="*/ 48 h 68"/>
                <a:gd name="T40" fmla="*/ 18 w 88"/>
                <a:gd name="T41" fmla="*/ 48 h 68"/>
                <a:gd name="T42" fmla="*/ 83 w 88"/>
                <a:gd name="T43" fmla="*/ 62 h 68"/>
                <a:gd name="T44" fmla="*/ 84 w 88"/>
                <a:gd name="T45" fmla="*/ 63 h 68"/>
                <a:gd name="T46" fmla="*/ 84 w 88"/>
                <a:gd name="T47" fmla="*/ 5 h 68"/>
                <a:gd name="T48" fmla="*/ 83 w 88"/>
                <a:gd name="T49" fmla="*/ 6 h 68"/>
                <a:gd name="T50" fmla="*/ 18 w 88"/>
                <a:gd name="T51" fmla="*/ 20 h 68"/>
                <a:gd name="T52" fmla="*/ 14 w 88"/>
                <a:gd name="T53" fmla="*/ 2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88" h="68">
                  <a:moveTo>
                    <a:pt x="86" y="68"/>
                  </a:moveTo>
                  <a:cubicBezTo>
                    <a:pt x="86" y="68"/>
                    <a:pt x="85" y="68"/>
                    <a:pt x="85" y="68"/>
                  </a:cubicBezTo>
                  <a:cubicBezTo>
                    <a:pt x="81" y="66"/>
                    <a:pt x="81" y="66"/>
                    <a:pt x="81" y="66"/>
                  </a:cubicBezTo>
                  <a:cubicBezTo>
                    <a:pt x="66" y="59"/>
                    <a:pt x="51" y="52"/>
                    <a:pt x="18" y="52"/>
                  </a:cubicBezTo>
                  <a:cubicBezTo>
                    <a:pt x="14" y="52"/>
                    <a:pt x="14" y="52"/>
                    <a:pt x="14" y="52"/>
                  </a:cubicBezTo>
                  <a:cubicBezTo>
                    <a:pt x="6" y="52"/>
                    <a:pt x="0" y="46"/>
                    <a:pt x="0" y="38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22"/>
                    <a:pt x="6" y="16"/>
                    <a:pt x="14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51" y="16"/>
                    <a:pt x="66" y="9"/>
                    <a:pt x="81" y="2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86" y="0"/>
                    <a:pt x="87" y="0"/>
                    <a:pt x="87" y="0"/>
                  </a:cubicBezTo>
                  <a:cubicBezTo>
                    <a:pt x="88" y="1"/>
                    <a:pt x="88" y="1"/>
                    <a:pt x="88" y="2"/>
                  </a:cubicBezTo>
                  <a:cubicBezTo>
                    <a:pt x="88" y="66"/>
                    <a:pt x="88" y="66"/>
                    <a:pt x="88" y="66"/>
                  </a:cubicBezTo>
                  <a:cubicBezTo>
                    <a:pt x="88" y="67"/>
                    <a:pt x="88" y="67"/>
                    <a:pt x="87" y="68"/>
                  </a:cubicBezTo>
                  <a:cubicBezTo>
                    <a:pt x="87" y="68"/>
                    <a:pt x="86" y="68"/>
                    <a:pt x="86" y="68"/>
                  </a:cubicBezTo>
                  <a:close/>
                  <a:moveTo>
                    <a:pt x="14" y="20"/>
                  </a:moveTo>
                  <a:cubicBezTo>
                    <a:pt x="8" y="20"/>
                    <a:pt x="4" y="24"/>
                    <a:pt x="4" y="30"/>
                  </a:cubicBezTo>
                  <a:cubicBezTo>
                    <a:pt x="4" y="38"/>
                    <a:pt x="4" y="38"/>
                    <a:pt x="4" y="38"/>
                  </a:cubicBezTo>
                  <a:cubicBezTo>
                    <a:pt x="4" y="44"/>
                    <a:pt x="8" y="48"/>
                    <a:pt x="14" y="48"/>
                  </a:cubicBezTo>
                  <a:cubicBezTo>
                    <a:pt x="18" y="48"/>
                    <a:pt x="18" y="48"/>
                    <a:pt x="18" y="48"/>
                  </a:cubicBezTo>
                  <a:cubicBezTo>
                    <a:pt x="52" y="48"/>
                    <a:pt x="67" y="55"/>
                    <a:pt x="83" y="62"/>
                  </a:cubicBezTo>
                  <a:cubicBezTo>
                    <a:pt x="84" y="63"/>
                    <a:pt x="84" y="63"/>
                    <a:pt x="84" y="63"/>
                  </a:cubicBezTo>
                  <a:cubicBezTo>
                    <a:pt x="84" y="5"/>
                    <a:pt x="84" y="5"/>
                    <a:pt x="84" y="5"/>
                  </a:cubicBezTo>
                  <a:cubicBezTo>
                    <a:pt x="83" y="6"/>
                    <a:pt x="83" y="6"/>
                    <a:pt x="83" y="6"/>
                  </a:cubicBezTo>
                  <a:cubicBezTo>
                    <a:pt x="67" y="13"/>
                    <a:pt x="52" y="20"/>
                    <a:pt x="18" y="20"/>
                  </a:cubicBezTo>
                  <a:lnTo>
                    <a:pt x="14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2" name="Group 21"/>
          <p:cNvGrpSpPr>
            <a:grpSpLocks noChangeAspect="1"/>
          </p:cNvGrpSpPr>
          <p:nvPr/>
        </p:nvGrpSpPr>
        <p:grpSpPr>
          <a:xfrm>
            <a:off x="4425721" y="3664345"/>
            <a:ext cx="288000" cy="288000"/>
            <a:chOff x="9459913" y="2638425"/>
            <a:chExt cx="371475" cy="371475"/>
          </a:xfrm>
          <a:solidFill>
            <a:schemeClr val="bg1"/>
          </a:solidFill>
        </p:grpSpPr>
        <p:sp>
          <p:nvSpPr>
            <p:cNvPr id="47" name="Freeform 41"/>
            <p:cNvSpPr>
              <a:spLocks noEditPoints="1"/>
            </p:cNvSpPr>
            <p:nvPr/>
          </p:nvSpPr>
          <p:spPr bwMode="auto">
            <a:xfrm>
              <a:off x="9459913" y="2638425"/>
              <a:ext cx="371475" cy="371475"/>
            </a:xfrm>
            <a:custGeom>
              <a:avLst/>
              <a:gdLst>
                <a:gd name="T0" fmla="*/ 48 w 96"/>
                <a:gd name="T1" fmla="*/ 96 h 96"/>
                <a:gd name="T2" fmla="*/ 0 w 96"/>
                <a:gd name="T3" fmla="*/ 48 h 96"/>
                <a:gd name="T4" fmla="*/ 48 w 96"/>
                <a:gd name="T5" fmla="*/ 0 h 96"/>
                <a:gd name="T6" fmla="*/ 96 w 96"/>
                <a:gd name="T7" fmla="*/ 48 h 96"/>
                <a:gd name="T8" fmla="*/ 48 w 96"/>
                <a:gd name="T9" fmla="*/ 96 h 96"/>
                <a:gd name="T10" fmla="*/ 48 w 96"/>
                <a:gd name="T11" fmla="*/ 4 h 96"/>
                <a:gd name="T12" fmla="*/ 4 w 96"/>
                <a:gd name="T13" fmla="*/ 48 h 96"/>
                <a:gd name="T14" fmla="*/ 48 w 96"/>
                <a:gd name="T15" fmla="*/ 92 h 96"/>
                <a:gd name="T16" fmla="*/ 92 w 96"/>
                <a:gd name="T17" fmla="*/ 48 h 96"/>
                <a:gd name="T18" fmla="*/ 48 w 96"/>
                <a:gd name="T19" fmla="*/ 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6">
                  <a:moveTo>
                    <a:pt x="48" y="96"/>
                  </a:moveTo>
                  <a:cubicBezTo>
                    <a:pt x="22" y="96"/>
                    <a:pt x="0" y="74"/>
                    <a:pt x="0" y="48"/>
                  </a:cubicBezTo>
                  <a:cubicBezTo>
                    <a:pt x="0" y="22"/>
                    <a:pt x="22" y="0"/>
                    <a:pt x="48" y="0"/>
                  </a:cubicBezTo>
                  <a:cubicBezTo>
                    <a:pt x="74" y="0"/>
                    <a:pt x="96" y="22"/>
                    <a:pt x="96" y="48"/>
                  </a:cubicBezTo>
                  <a:cubicBezTo>
                    <a:pt x="96" y="74"/>
                    <a:pt x="74" y="96"/>
                    <a:pt x="48" y="96"/>
                  </a:cubicBezTo>
                  <a:close/>
                  <a:moveTo>
                    <a:pt x="48" y="4"/>
                  </a:moveTo>
                  <a:cubicBezTo>
                    <a:pt x="24" y="4"/>
                    <a:pt x="4" y="24"/>
                    <a:pt x="4" y="48"/>
                  </a:cubicBezTo>
                  <a:cubicBezTo>
                    <a:pt x="4" y="72"/>
                    <a:pt x="24" y="92"/>
                    <a:pt x="48" y="92"/>
                  </a:cubicBezTo>
                  <a:cubicBezTo>
                    <a:pt x="72" y="92"/>
                    <a:pt x="92" y="72"/>
                    <a:pt x="92" y="48"/>
                  </a:cubicBezTo>
                  <a:cubicBezTo>
                    <a:pt x="92" y="24"/>
                    <a:pt x="72" y="4"/>
                    <a:pt x="4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8" name="Freeform 42"/>
            <p:cNvSpPr>
              <a:spLocks/>
            </p:cNvSpPr>
            <p:nvPr/>
          </p:nvSpPr>
          <p:spPr bwMode="auto">
            <a:xfrm>
              <a:off x="9521826" y="2646363"/>
              <a:ext cx="263525" cy="309563"/>
            </a:xfrm>
            <a:custGeom>
              <a:avLst/>
              <a:gdLst>
                <a:gd name="T0" fmla="*/ 20 w 68"/>
                <a:gd name="T1" fmla="*/ 68 h 80"/>
                <a:gd name="T2" fmla="*/ 22 w 68"/>
                <a:gd name="T3" fmla="*/ 62 h 80"/>
                <a:gd name="T4" fmla="*/ 18 w 68"/>
                <a:gd name="T5" fmla="*/ 56 h 80"/>
                <a:gd name="T6" fmla="*/ 11 w 68"/>
                <a:gd name="T7" fmla="*/ 52 h 80"/>
                <a:gd name="T8" fmla="*/ 0 w 68"/>
                <a:gd name="T9" fmla="*/ 42 h 80"/>
                <a:gd name="T10" fmla="*/ 22 w 68"/>
                <a:gd name="T11" fmla="*/ 25 h 80"/>
                <a:gd name="T12" fmla="*/ 33 w 68"/>
                <a:gd name="T13" fmla="*/ 27 h 80"/>
                <a:gd name="T14" fmla="*/ 36 w 68"/>
                <a:gd name="T15" fmla="*/ 18 h 80"/>
                <a:gd name="T16" fmla="*/ 26 w 68"/>
                <a:gd name="T17" fmla="*/ 12 h 80"/>
                <a:gd name="T18" fmla="*/ 47 w 68"/>
                <a:gd name="T19" fmla="*/ 2 h 80"/>
                <a:gd name="T20" fmla="*/ 30 w 68"/>
                <a:gd name="T21" fmla="*/ 12 h 80"/>
                <a:gd name="T22" fmla="*/ 35 w 68"/>
                <a:gd name="T23" fmla="*/ 14 h 80"/>
                <a:gd name="T24" fmla="*/ 40 w 68"/>
                <a:gd name="T25" fmla="*/ 28 h 80"/>
                <a:gd name="T26" fmla="*/ 34 w 68"/>
                <a:gd name="T27" fmla="*/ 31 h 80"/>
                <a:gd name="T28" fmla="*/ 20 w 68"/>
                <a:gd name="T29" fmla="*/ 28 h 80"/>
                <a:gd name="T30" fmla="*/ 4 w 68"/>
                <a:gd name="T31" fmla="*/ 42 h 80"/>
                <a:gd name="T32" fmla="*/ 11 w 68"/>
                <a:gd name="T33" fmla="*/ 48 h 80"/>
                <a:gd name="T34" fmla="*/ 22 w 68"/>
                <a:gd name="T35" fmla="*/ 55 h 80"/>
                <a:gd name="T36" fmla="*/ 25 w 68"/>
                <a:gd name="T37" fmla="*/ 66 h 80"/>
                <a:gd name="T38" fmla="*/ 28 w 68"/>
                <a:gd name="T39" fmla="*/ 76 h 80"/>
                <a:gd name="T40" fmla="*/ 39 w 68"/>
                <a:gd name="T41" fmla="*/ 66 h 80"/>
                <a:gd name="T42" fmla="*/ 45 w 68"/>
                <a:gd name="T43" fmla="*/ 62 h 80"/>
                <a:gd name="T44" fmla="*/ 42 w 68"/>
                <a:gd name="T45" fmla="*/ 58 h 80"/>
                <a:gd name="T46" fmla="*/ 51 w 68"/>
                <a:gd name="T47" fmla="*/ 44 h 80"/>
                <a:gd name="T48" fmla="*/ 44 w 68"/>
                <a:gd name="T49" fmla="*/ 42 h 80"/>
                <a:gd name="T50" fmla="*/ 40 w 68"/>
                <a:gd name="T51" fmla="*/ 35 h 80"/>
                <a:gd name="T52" fmla="*/ 56 w 68"/>
                <a:gd name="T53" fmla="*/ 28 h 80"/>
                <a:gd name="T54" fmla="*/ 66 w 68"/>
                <a:gd name="T55" fmla="*/ 13 h 80"/>
                <a:gd name="T56" fmla="*/ 57 w 68"/>
                <a:gd name="T57" fmla="*/ 32 h 80"/>
                <a:gd name="T58" fmla="*/ 45 w 68"/>
                <a:gd name="T59" fmla="*/ 34 h 80"/>
                <a:gd name="T60" fmla="*/ 51 w 68"/>
                <a:gd name="T61" fmla="*/ 40 h 80"/>
                <a:gd name="T62" fmla="*/ 48 w 68"/>
                <a:gd name="T63" fmla="*/ 56 h 80"/>
                <a:gd name="T64" fmla="*/ 47 w 68"/>
                <a:gd name="T65" fmla="*/ 58 h 80"/>
                <a:gd name="T66" fmla="*/ 47 w 68"/>
                <a:gd name="T67" fmla="*/ 65 h 80"/>
                <a:gd name="T68" fmla="*/ 28 w 68"/>
                <a:gd name="T69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8" h="80">
                  <a:moveTo>
                    <a:pt x="28" y="80"/>
                  </a:moveTo>
                  <a:cubicBezTo>
                    <a:pt x="24" y="80"/>
                    <a:pt x="20" y="70"/>
                    <a:pt x="20" y="68"/>
                  </a:cubicBezTo>
                  <a:cubicBezTo>
                    <a:pt x="20" y="67"/>
                    <a:pt x="21" y="65"/>
                    <a:pt x="21" y="64"/>
                  </a:cubicBezTo>
                  <a:cubicBezTo>
                    <a:pt x="22" y="63"/>
                    <a:pt x="22" y="63"/>
                    <a:pt x="22" y="62"/>
                  </a:cubicBezTo>
                  <a:cubicBezTo>
                    <a:pt x="22" y="61"/>
                    <a:pt x="20" y="59"/>
                    <a:pt x="19" y="57"/>
                  </a:cubicBezTo>
                  <a:cubicBezTo>
                    <a:pt x="18" y="57"/>
                    <a:pt x="18" y="57"/>
                    <a:pt x="18" y="56"/>
                  </a:cubicBezTo>
                  <a:cubicBezTo>
                    <a:pt x="18" y="54"/>
                    <a:pt x="18" y="53"/>
                    <a:pt x="17" y="53"/>
                  </a:cubicBezTo>
                  <a:cubicBezTo>
                    <a:pt x="16" y="52"/>
                    <a:pt x="14" y="52"/>
                    <a:pt x="11" y="52"/>
                  </a:cubicBezTo>
                  <a:cubicBezTo>
                    <a:pt x="10" y="52"/>
                    <a:pt x="9" y="52"/>
                    <a:pt x="8" y="52"/>
                  </a:cubicBezTo>
                  <a:cubicBezTo>
                    <a:pt x="2" y="52"/>
                    <a:pt x="0" y="45"/>
                    <a:pt x="0" y="42"/>
                  </a:cubicBezTo>
                  <a:cubicBezTo>
                    <a:pt x="0" y="41"/>
                    <a:pt x="0" y="26"/>
                    <a:pt x="12" y="24"/>
                  </a:cubicBezTo>
                  <a:cubicBezTo>
                    <a:pt x="17" y="23"/>
                    <a:pt x="20" y="23"/>
                    <a:pt x="22" y="25"/>
                  </a:cubicBezTo>
                  <a:cubicBezTo>
                    <a:pt x="23" y="26"/>
                    <a:pt x="24" y="26"/>
                    <a:pt x="24" y="27"/>
                  </a:cubicBezTo>
                  <a:cubicBezTo>
                    <a:pt x="26" y="28"/>
                    <a:pt x="30" y="28"/>
                    <a:pt x="33" y="27"/>
                  </a:cubicBezTo>
                  <a:cubicBezTo>
                    <a:pt x="34" y="27"/>
                    <a:pt x="35" y="26"/>
                    <a:pt x="36" y="26"/>
                  </a:cubicBezTo>
                  <a:cubicBezTo>
                    <a:pt x="37" y="23"/>
                    <a:pt x="37" y="20"/>
                    <a:pt x="36" y="18"/>
                  </a:cubicBezTo>
                  <a:cubicBezTo>
                    <a:pt x="34" y="19"/>
                    <a:pt x="31" y="19"/>
                    <a:pt x="29" y="18"/>
                  </a:cubicBezTo>
                  <a:cubicBezTo>
                    <a:pt x="27" y="17"/>
                    <a:pt x="26" y="15"/>
                    <a:pt x="26" y="12"/>
                  </a:cubicBezTo>
                  <a:cubicBezTo>
                    <a:pt x="25" y="5"/>
                    <a:pt x="42" y="1"/>
                    <a:pt x="45" y="0"/>
                  </a:cubicBezTo>
                  <a:cubicBezTo>
                    <a:pt x="46" y="0"/>
                    <a:pt x="47" y="1"/>
                    <a:pt x="47" y="2"/>
                  </a:cubicBezTo>
                  <a:cubicBezTo>
                    <a:pt x="48" y="3"/>
                    <a:pt x="47" y="4"/>
                    <a:pt x="46" y="4"/>
                  </a:cubicBezTo>
                  <a:cubicBezTo>
                    <a:pt x="38" y="6"/>
                    <a:pt x="30" y="9"/>
                    <a:pt x="30" y="12"/>
                  </a:cubicBezTo>
                  <a:cubicBezTo>
                    <a:pt x="30" y="13"/>
                    <a:pt x="30" y="14"/>
                    <a:pt x="31" y="15"/>
                  </a:cubicBezTo>
                  <a:cubicBezTo>
                    <a:pt x="32" y="15"/>
                    <a:pt x="34" y="15"/>
                    <a:pt x="35" y="14"/>
                  </a:cubicBezTo>
                  <a:cubicBezTo>
                    <a:pt x="36" y="14"/>
                    <a:pt x="38" y="14"/>
                    <a:pt x="38" y="14"/>
                  </a:cubicBezTo>
                  <a:cubicBezTo>
                    <a:pt x="41" y="16"/>
                    <a:pt x="41" y="23"/>
                    <a:pt x="40" y="28"/>
                  </a:cubicBezTo>
                  <a:cubicBezTo>
                    <a:pt x="40" y="29"/>
                    <a:pt x="39" y="30"/>
                    <a:pt x="38" y="30"/>
                  </a:cubicBezTo>
                  <a:cubicBezTo>
                    <a:pt x="37" y="30"/>
                    <a:pt x="36" y="30"/>
                    <a:pt x="34" y="31"/>
                  </a:cubicBezTo>
                  <a:cubicBezTo>
                    <a:pt x="30" y="32"/>
                    <a:pt x="24" y="33"/>
                    <a:pt x="21" y="29"/>
                  </a:cubicBezTo>
                  <a:cubicBezTo>
                    <a:pt x="20" y="29"/>
                    <a:pt x="20" y="29"/>
                    <a:pt x="20" y="28"/>
                  </a:cubicBezTo>
                  <a:cubicBezTo>
                    <a:pt x="20" y="28"/>
                    <a:pt x="18" y="27"/>
                    <a:pt x="12" y="28"/>
                  </a:cubicBezTo>
                  <a:cubicBezTo>
                    <a:pt x="4" y="30"/>
                    <a:pt x="4" y="42"/>
                    <a:pt x="4" y="42"/>
                  </a:cubicBezTo>
                  <a:cubicBezTo>
                    <a:pt x="4" y="42"/>
                    <a:pt x="4" y="48"/>
                    <a:pt x="8" y="48"/>
                  </a:cubicBezTo>
                  <a:cubicBezTo>
                    <a:pt x="9" y="48"/>
                    <a:pt x="10" y="48"/>
                    <a:pt x="11" y="48"/>
                  </a:cubicBezTo>
                  <a:cubicBezTo>
                    <a:pt x="14" y="48"/>
                    <a:pt x="18" y="48"/>
                    <a:pt x="20" y="50"/>
                  </a:cubicBezTo>
                  <a:cubicBezTo>
                    <a:pt x="21" y="51"/>
                    <a:pt x="22" y="53"/>
                    <a:pt x="22" y="55"/>
                  </a:cubicBezTo>
                  <a:cubicBezTo>
                    <a:pt x="24" y="57"/>
                    <a:pt x="26" y="60"/>
                    <a:pt x="26" y="62"/>
                  </a:cubicBezTo>
                  <a:cubicBezTo>
                    <a:pt x="26" y="63"/>
                    <a:pt x="25" y="65"/>
                    <a:pt x="25" y="66"/>
                  </a:cubicBezTo>
                  <a:cubicBezTo>
                    <a:pt x="24" y="67"/>
                    <a:pt x="24" y="67"/>
                    <a:pt x="24" y="68"/>
                  </a:cubicBezTo>
                  <a:cubicBezTo>
                    <a:pt x="24" y="69"/>
                    <a:pt x="27" y="75"/>
                    <a:pt x="28" y="76"/>
                  </a:cubicBezTo>
                  <a:cubicBezTo>
                    <a:pt x="35" y="76"/>
                    <a:pt x="38" y="73"/>
                    <a:pt x="38" y="68"/>
                  </a:cubicBezTo>
                  <a:cubicBezTo>
                    <a:pt x="38" y="67"/>
                    <a:pt x="39" y="66"/>
                    <a:pt x="39" y="66"/>
                  </a:cubicBezTo>
                  <a:cubicBezTo>
                    <a:pt x="39" y="66"/>
                    <a:pt x="42" y="65"/>
                    <a:pt x="45" y="63"/>
                  </a:cubicBezTo>
                  <a:cubicBezTo>
                    <a:pt x="45" y="62"/>
                    <a:pt x="45" y="62"/>
                    <a:pt x="45" y="62"/>
                  </a:cubicBezTo>
                  <a:cubicBezTo>
                    <a:pt x="45" y="62"/>
                    <a:pt x="44" y="62"/>
                    <a:pt x="44" y="61"/>
                  </a:cubicBezTo>
                  <a:cubicBezTo>
                    <a:pt x="43" y="61"/>
                    <a:pt x="42" y="60"/>
                    <a:pt x="42" y="58"/>
                  </a:cubicBezTo>
                  <a:cubicBezTo>
                    <a:pt x="42" y="57"/>
                    <a:pt x="43" y="55"/>
                    <a:pt x="45" y="53"/>
                  </a:cubicBezTo>
                  <a:cubicBezTo>
                    <a:pt x="48" y="50"/>
                    <a:pt x="51" y="47"/>
                    <a:pt x="51" y="44"/>
                  </a:cubicBezTo>
                  <a:cubicBezTo>
                    <a:pt x="49" y="45"/>
                    <a:pt x="47" y="45"/>
                    <a:pt x="45" y="43"/>
                  </a:cubicBezTo>
                  <a:cubicBezTo>
                    <a:pt x="44" y="43"/>
                    <a:pt x="44" y="43"/>
                    <a:pt x="44" y="42"/>
                  </a:cubicBezTo>
                  <a:cubicBezTo>
                    <a:pt x="43" y="40"/>
                    <a:pt x="42" y="37"/>
                    <a:pt x="42" y="36"/>
                  </a:cubicBezTo>
                  <a:cubicBezTo>
                    <a:pt x="41" y="36"/>
                    <a:pt x="40" y="35"/>
                    <a:pt x="40" y="35"/>
                  </a:cubicBezTo>
                  <a:cubicBezTo>
                    <a:pt x="40" y="34"/>
                    <a:pt x="39" y="33"/>
                    <a:pt x="40" y="32"/>
                  </a:cubicBezTo>
                  <a:cubicBezTo>
                    <a:pt x="42" y="30"/>
                    <a:pt x="49" y="27"/>
                    <a:pt x="56" y="28"/>
                  </a:cubicBezTo>
                  <a:cubicBezTo>
                    <a:pt x="62" y="24"/>
                    <a:pt x="64" y="15"/>
                    <a:pt x="64" y="15"/>
                  </a:cubicBezTo>
                  <a:cubicBezTo>
                    <a:pt x="64" y="14"/>
                    <a:pt x="65" y="13"/>
                    <a:pt x="66" y="13"/>
                  </a:cubicBezTo>
                  <a:cubicBezTo>
                    <a:pt x="67" y="13"/>
                    <a:pt x="68" y="14"/>
                    <a:pt x="68" y="15"/>
                  </a:cubicBezTo>
                  <a:cubicBezTo>
                    <a:pt x="68" y="16"/>
                    <a:pt x="66" y="27"/>
                    <a:pt x="57" y="32"/>
                  </a:cubicBezTo>
                  <a:cubicBezTo>
                    <a:pt x="56" y="32"/>
                    <a:pt x="56" y="32"/>
                    <a:pt x="56" y="32"/>
                  </a:cubicBezTo>
                  <a:cubicBezTo>
                    <a:pt x="51" y="31"/>
                    <a:pt x="47" y="32"/>
                    <a:pt x="45" y="34"/>
                  </a:cubicBezTo>
                  <a:cubicBezTo>
                    <a:pt x="46" y="35"/>
                    <a:pt x="47" y="37"/>
                    <a:pt x="48" y="41"/>
                  </a:cubicBezTo>
                  <a:cubicBezTo>
                    <a:pt x="49" y="41"/>
                    <a:pt x="50" y="41"/>
                    <a:pt x="51" y="40"/>
                  </a:cubicBezTo>
                  <a:cubicBezTo>
                    <a:pt x="52" y="40"/>
                    <a:pt x="53" y="40"/>
                    <a:pt x="53" y="41"/>
                  </a:cubicBezTo>
                  <a:cubicBezTo>
                    <a:pt x="58" y="45"/>
                    <a:pt x="52" y="52"/>
                    <a:pt x="48" y="56"/>
                  </a:cubicBezTo>
                  <a:cubicBezTo>
                    <a:pt x="48" y="57"/>
                    <a:pt x="47" y="57"/>
                    <a:pt x="46" y="58"/>
                  </a:cubicBezTo>
                  <a:cubicBezTo>
                    <a:pt x="46" y="58"/>
                    <a:pt x="47" y="58"/>
                    <a:pt x="47" y="58"/>
                  </a:cubicBezTo>
                  <a:cubicBezTo>
                    <a:pt x="48" y="59"/>
                    <a:pt x="49" y="60"/>
                    <a:pt x="49" y="62"/>
                  </a:cubicBezTo>
                  <a:cubicBezTo>
                    <a:pt x="49" y="63"/>
                    <a:pt x="48" y="64"/>
                    <a:pt x="47" y="65"/>
                  </a:cubicBezTo>
                  <a:cubicBezTo>
                    <a:pt x="45" y="67"/>
                    <a:pt x="43" y="69"/>
                    <a:pt x="42" y="69"/>
                  </a:cubicBezTo>
                  <a:cubicBezTo>
                    <a:pt x="41" y="76"/>
                    <a:pt x="36" y="80"/>
                    <a:pt x="28" y="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3" name="Group 22"/>
          <p:cNvGrpSpPr>
            <a:grpSpLocks noChangeAspect="1"/>
          </p:cNvGrpSpPr>
          <p:nvPr/>
        </p:nvGrpSpPr>
        <p:grpSpPr>
          <a:xfrm>
            <a:off x="4559254" y="4559325"/>
            <a:ext cx="287999" cy="288000"/>
            <a:chOff x="9682163" y="2754313"/>
            <a:chExt cx="371475" cy="371476"/>
          </a:xfrm>
          <a:solidFill>
            <a:schemeClr val="bg1"/>
          </a:solidFill>
        </p:grpSpPr>
        <p:sp>
          <p:nvSpPr>
            <p:cNvPr id="35" name="Freeform 46"/>
            <p:cNvSpPr>
              <a:spLocks/>
            </p:cNvSpPr>
            <p:nvPr/>
          </p:nvSpPr>
          <p:spPr bwMode="auto">
            <a:xfrm>
              <a:off x="9682163" y="3109913"/>
              <a:ext cx="371475" cy="15875"/>
            </a:xfrm>
            <a:custGeom>
              <a:avLst/>
              <a:gdLst>
                <a:gd name="T0" fmla="*/ 94 w 96"/>
                <a:gd name="T1" fmla="*/ 4 h 4"/>
                <a:gd name="T2" fmla="*/ 2 w 96"/>
                <a:gd name="T3" fmla="*/ 4 h 4"/>
                <a:gd name="T4" fmla="*/ 0 w 96"/>
                <a:gd name="T5" fmla="*/ 2 h 4"/>
                <a:gd name="T6" fmla="*/ 2 w 96"/>
                <a:gd name="T7" fmla="*/ 0 h 4"/>
                <a:gd name="T8" fmla="*/ 94 w 96"/>
                <a:gd name="T9" fmla="*/ 0 h 4"/>
                <a:gd name="T10" fmla="*/ 96 w 96"/>
                <a:gd name="T11" fmla="*/ 2 h 4"/>
                <a:gd name="T12" fmla="*/ 94 w 96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6" h="4">
                  <a:moveTo>
                    <a:pt x="94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5" y="0"/>
                    <a:pt x="96" y="1"/>
                    <a:pt x="96" y="2"/>
                  </a:cubicBezTo>
                  <a:cubicBezTo>
                    <a:pt x="96" y="3"/>
                    <a:pt x="95" y="4"/>
                    <a:pt x="9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Freeform 47"/>
            <p:cNvSpPr>
              <a:spLocks noEditPoints="1"/>
            </p:cNvSpPr>
            <p:nvPr/>
          </p:nvSpPr>
          <p:spPr bwMode="auto">
            <a:xfrm>
              <a:off x="9698038" y="3033713"/>
              <a:ext cx="61913" cy="92075"/>
            </a:xfrm>
            <a:custGeom>
              <a:avLst/>
              <a:gdLst>
                <a:gd name="T0" fmla="*/ 14 w 16"/>
                <a:gd name="T1" fmla="*/ 24 h 24"/>
                <a:gd name="T2" fmla="*/ 2 w 16"/>
                <a:gd name="T3" fmla="*/ 24 h 24"/>
                <a:gd name="T4" fmla="*/ 0 w 16"/>
                <a:gd name="T5" fmla="*/ 22 h 24"/>
                <a:gd name="T6" fmla="*/ 0 w 16"/>
                <a:gd name="T7" fmla="*/ 2 h 24"/>
                <a:gd name="T8" fmla="*/ 2 w 16"/>
                <a:gd name="T9" fmla="*/ 0 h 24"/>
                <a:gd name="T10" fmla="*/ 14 w 16"/>
                <a:gd name="T11" fmla="*/ 0 h 24"/>
                <a:gd name="T12" fmla="*/ 16 w 16"/>
                <a:gd name="T13" fmla="*/ 2 h 24"/>
                <a:gd name="T14" fmla="*/ 16 w 16"/>
                <a:gd name="T15" fmla="*/ 22 h 24"/>
                <a:gd name="T16" fmla="*/ 14 w 16"/>
                <a:gd name="T17" fmla="*/ 24 h 24"/>
                <a:gd name="T18" fmla="*/ 4 w 16"/>
                <a:gd name="T19" fmla="*/ 20 h 24"/>
                <a:gd name="T20" fmla="*/ 12 w 16"/>
                <a:gd name="T21" fmla="*/ 20 h 24"/>
                <a:gd name="T22" fmla="*/ 12 w 16"/>
                <a:gd name="T23" fmla="*/ 4 h 24"/>
                <a:gd name="T24" fmla="*/ 4 w 16"/>
                <a:gd name="T25" fmla="*/ 4 h 24"/>
                <a:gd name="T26" fmla="*/ 4 w 16"/>
                <a:gd name="T27" fmla="*/ 2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24">
                  <a:moveTo>
                    <a:pt x="14" y="24"/>
                  </a:moveTo>
                  <a:cubicBezTo>
                    <a:pt x="2" y="24"/>
                    <a:pt x="2" y="24"/>
                    <a:pt x="2" y="24"/>
                  </a:cubicBezTo>
                  <a:cubicBezTo>
                    <a:pt x="1" y="24"/>
                    <a:pt x="0" y="23"/>
                    <a:pt x="0" y="2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6" y="1"/>
                    <a:pt x="16" y="2"/>
                  </a:cubicBezTo>
                  <a:cubicBezTo>
                    <a:pt x="16" y="22"/>
                    <a:pt x="16" y="22"/>
                    <a:pt x="16" y="22"/>
                  </a:cubicBezTo>
                  <a:cubicBezTo>
                    <a:pt x="16" y="23"/>
                    <a:pt x="15" y="24"/>
                    <a:pt x="14" y="24"/>
                  </a:cubicBezTo>
                  <a:close/>
                  <a:moveTo>
                    <a:pt x="4" y="20"/>
                  </a:moveTo>
                  <a:cubicBezTo>
                    <a:pt x="12" y="20"/>
                    <a:pt x="12" y="20"/>
                    <a:pt x="12" y="20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4" y="4"/>
                    <a:pt x="4" y="4"/>
                    <a:pt x="4" y="4"/>
                  </a:cubicBezTo>
                  <a:lnTo>
                    <a:pt x="4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Freeform 48"/>
            <p:cNvSpPr>
              <a:spLocks noEditPoints="1"/>
            </p:cNvSpPr>
            <p:nvPr/>
          </p:nvSpPr>
          <p:spPr bwMode="auto">
            <a:xfrm>
              <a:off x="9790113" y="2955926"/>
              <a:ext cx="61913" cy="169863"/>
            </a:xfrm>
            <a:custGeom>
              <a:avLst/>
              <a:gdLst>
                <a:gd name="T0" fmla="*/ 14 w 16"/>
                <a:gd name="T1" fmla="*/ 44 h 44"/>
                <a:gd name="T2" fmla="*/ 2 w 16"/>
                <a:gd name="T3" fmla="*/ 44 h 44"/>
                <a:gd name="T4" fmla="*/ 0 w 16"/>
                <a:gd name="T5" fmla="*/ 42 h 44"/>
                <a:gd name="T6" fmla="*/ 0 w 16"/>
                <a:gd name="T7" fmla="*/ 2 h 44"/>
                <a:gd name="T8" fmla="*/ 2 w 16"/>
                <a:gd name="T9" fmla="*/ 0 h 44"/>
                <a:gd name="T10" fmla="*/ 14 w 16"/>
                <a:gd name="T11" fmla="*/ 0 h 44"/>
                <a:gd name="T12" fmla="*/ 16 w 16"/>
                <a:gd name="T13" fmla="*/ 2 h 44"/>
                <a:gd name="T14" fmla="*/ 16 w 16"/>
                <a:gd name="T15" fmla="*/ 42 h 44"/>
                <a:gd name="T16" fmla="*/ 14 w 16"/>
                <a:gd name="T17" fmla="*/ 44 h 44"/>
                <a:gd name="T18" fmla="*/ 4 w 16"/>
                <a:gd name="T19" fmla="*/ 40 h 44"/>
                <a:gd name="T20" fmla="*/ 12 w 16"/>
                <a:gd name="T21" fmla="*/ 40 h 44"/>
                <a:gd name="T22" fmla="*/ 12 w 16"/>
                <a:gd name="T23" fmla="*/ 4 h 44"/>
                <a:gd name="T24" fmla="*/ 4 w 16"/>
                <a:gd name="T25" fmla="*/ 4 h 44"/>
                <a:gd name="T26" fmla="*/ 4 w 16"/>
                <a:gd name="T27" fmla="*/ 4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44">
                  <a:moveTo>
                    <a:pt x="14" y="44"/>
                  </a:moveTo>
                  <a:cubicBezTo>
                    <a:pt x="2" y="44"/>
                    <a:pt x="2" y="44"/>
                    <a:pt x="2" y="44"/>
                  </a:cubicBezTo>
                  <a:cubicBezTo>
                    <a:pt x="1" y="44"/>
                    <a:pt x="0" y="43"/>
                    <a:pt x="0" y="4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6" y="1"/>
                    <a:pt x="16" y="2"/>
                  </a:cubicBezTo>
                  <a:cubicBezTo>
                    <a:pt x="16" y="42"/>
                    <a:pt x="16" y="42"/>
                    <a:pt x="16" y="42"/>
                  </a:cubicBezTo>
                  <a:cubicBezTo>
                    <a:pt x="16" y="43"/>
                    <a:pt x="15" y="44"/>
                    <a:pt x="14" y="44"/>
                  </a:cubicBezTo>
                  <a:close/>
                  <a:moveTo>
                    <a:pt x="4" y="40"/>
                  </a:moveTo>
                  <a:cubicBezTo>
                    <a:pt x="12" y="40"/>
                    <a:pt x="12" y="40"/>
                    <a:pt x="12" y="40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4" y="4"/>
                    <a:pt x="4" y="4"/>
                    <a:pt x="4" y="4"/>
                  </a:cubicBezTo>
                  <a:lnTo>
                    <a:pt x="4" y="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Freeform 49"/>
            <p:cNvSpPr>
              <a:spLocks noEditPoints="1"/>
            </p:cNvSpPr>
            <p:nvPr/>
          </p:nvSpPr>
          <p:spPr bwMode="auto">
            <a:xfrm>
              <a:off x="9883776" y="2986088"/>
              <a:ext cx="61913" cy="139700"/>
            </a:xfrm>
            <a:custGeom>
              <a:avLst/>
              <a:gdLst>
                <a:gd name="T0" fmla="*/ 14 w 16"/>
                <a:gd name="T1" fmla="*/ 36 h 36"/>
                <a:gd name="T2" fmla="*/ 2 w 16"/>
                <a:gd name="T3" fmla="*/ 36 h 36"/>
                <a:gd name="T4" fmla="*/ 0 w 16"/>
                <a:gd name="T5" fmla="*/ 34 h 36"/>
                <a:gd name="T6" fmla="*/ 0 w 16"/>
                <a:gd name="T7" fmla="*/ 2 h 36"/>
                <a:gd name="T8" fmla="*/ 2 w 16"/>
                <a:gd name="T9" fmla="*/ 0 h 36"/>
                <a:gd name="T10" fmla="*/ 14 w 16"/>
                <a:gd name="T11" fmla="*/ 0 h 36"/>
                <a:gd name="T12" fmla="*/ 16 w 16"/>
                <a:gd name="T13" fmla="*/ 2 h 36"/>
                <a:gd name="T14" fmla="*/ 16 w 16"/>
                <a:gd name="T15" fmla="*/ 34 h 36"/>
                <a:gd name="T16" fmla="*/ 14 w 16"/>
                <a:gd name="T17" fmla="*/ 36 h 36"/>
                <a:gd name="T18" fmla="*/ 4 w 16"/>
                <a:gd name="T19" fmla="*/ 32 h 36"/>
                <a:gd name="T20" fmla="*/ 12 w 16"/>
                <a:gd name="T21" fmla="*/ 32 h 36"/>
                <a:gd name="T22" fmla="*/ 12 w 16"/>
                <a:gd name="T23" fmla="*/ 4 h 36"/>
                <a:gd name="T24" fmla="*/ 4 w 16"/>
                <a:gd name="T25" fmla="*/ 4 h 36"/>
                <a:gd name="T26" fmla="*/ 4 w 16"/>
                <a:gd name="T27" fmla="*/ 3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36">
                  <a:moveTo>
                    <a:pt x="14" y="36"/>
                  </a:moveTo>
                  <a:cubicBezTo>
                    <a:pt x="2" y="36"/>
                    <a:pt x="2" y="36"/>
                    <a:pt x="2" y="36"/>
                  </a:cubicBezTo>
                  <a:cubicBezTo>
                    <a:pt x="1" y="36"/>
                    <a:pt x="0" y="35"/>
                    <a:pt x="0" y="3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6" y="1"/>
                    <a:pt x="16" y="2"/>
                  </a:cubicBezTo>
                  <a:cubicBezTo>
                    <a:pt x="16" y="34"/>
                    <a:pt x="16" y="34"/>
                    <a:pt x="16" y="34"/>
                  </a:cubicBezTo>
                  <a:cubicBezTo>
                    <a:pt x="16" y="35"/>
                    <a:pt x="15" y="36"/>
                    <a:pt x="14" y="36"/>
                  </a:cubicBezTo>
                  <a:close/>
                  <a:moveTo>
                    <a:pt x="4" y="32"/>
                  </a:moveTo>
                  <a:cubicBezTo>
                    <a:pt x="12" y="32"/>
                    <a:pt x="12" y="32"/>
                    <a:pt x="12" y="32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4" y="4"/>
                    <a:pt x="4" y="4"/>
                    <a:pt x="4" y="4"/>
                  </a:cubicBezTo>
                  <a:lnTo>
                    <a:pt x="4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Freeform 50"/>
            <p:cNvSpPr>
              <a:spLocks noEditPoints="1"/>
            </p:cNvSpPr>
            <p:nvPr/>
          </p:nvSpPr>
          <p:spPr bwMode="auto">
            <a:xfrm>
              <a:off x="9975851" y="2878138"/>
              <a:ext cx="61913" cy="247650"/>
            </a:xfrm>
            <a:custGeom>
              <a:avLst/>
              <a:gdLst>
                <a:gd name="T0" fmla="*/ 14 w 16"/>
                <a:gd name="T1" fmla="*/ 64 h 64"/>
                <a:gd name="T2" fmla="*/ 2 w 16"/>
                <a:gd name="T3" fmla="*/ 64 h 64"/>
                <a:gd name="T4" fmla="*/ 0 w 16"/>
                <a:gd name="T5" fmla="*/ 62 h 64"/>
                <a:gd name="T6" fmla="*/ 0 w 16"/>
                <a:gd name="T7" fmla="*/ 2 h 64"/>
                <a:gd name="T8" fmla="*/ 2 w 16"/>
                <a:gd name="T9" fmla="*/ 0 h 64"/>
                <a:gd name="T10" fmla="*/ 14 w 16"/>
                <a:gd name="T11" fmla="*/ 0 h 64"/>
                <a:gd name="T12" fmla="*/ 16 w 16"/>
                <a:gd name="T13" fmla="*/ 2 h 64"/>
                <a:gd name="T14" fmla="*/ 16 w 16"/>
                <a:gd name="T15" fmla="*/ 62 h 64"/>
                <a:gd name="T16" fmla="*/ 14 w 16"/>
                <a:gd name="T17" fmla="*/ 64 h 64"/>
                <a:gd name="T18" fmla="*/ 4 w 16"/>
                <a:gd name="T19" fmla="*/ 60 h 64"/>
                <a:gd name="T20" fmla="*/ 12 w 16"/>
                <a:gd name="T21" fmla="*/ 60 h 64"/>
                <a:gd name="T22" fmla="*/ 12 w 16"/>
                <a:gd name="T23" fmla="*/ 4 h 64"/>
                <a:gd name="T24" fmla="*/ 4 w 16"/>
                <a:gd name="T25" fmla="*/ 4 h 64"/>
                <a:gd name="T26" fmla="*/ 4 w 16"/>
                <a:gd name="T27" fmla="*/ 6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64">
                  <a:moveTo>
                    <a:pt x="14" y="64"/>
                  </a:moveTo>
                  <a:cubicBezTo>
                    <a:pt x="2" y="64"/>
                    <a:pt x="2" y="64"/>
                    <a:pt x="2" y="64"/>
                  </a:cubicBezTo>
                  <a:cubicBezTo>
                    <a:pt x="1" y="64"/>
                    <a:pt x="0" y="63"/>
                    <a:pt x="0" y="6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6" y="1"/>
                    <a:pt x="16" y="2"/>
                  </a:cubicBezTo>
                  <a:cubicBezTo>
                    <a:pt x="16" y="62"/>
                    <a:pt x="16" y="62"/>
                    <a:pt x="16" y="62"/>
                  </a:cubicBezTo>
                  <a:cubicBezTo>
                    <a:pt x="16" y="63"/>
                    <a:pt x="15" y="64"/>
                    <a:pt x="14" y="64"/>
                  </a:cubicBezTo>
                  <a:close/>
                  <a:moveTo>
                    <a:pt x="4" y="60"/>
                  </a:moveTo>
                  <a:cubicBezTo>
                    <a:pt x="12" y="60"/>
                    <a:pt x="12" y="60"/>
                    <a:pt x="12" y="60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4" y="4"/>
                    <a:pt x="4" y="4"/>
                    <a:pt x="4" y="4"/>
                  </a:cubicBezTo>
                  <a:lnTo>
                    <a:pt x="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eform 51"/>
            <p:cNvSpPr>
              <a:spLocks noEditPoints="1"/>
            </p:cNvSpPr>
            <p:nvPr/>
          </p:nvSpPr>
          <p:spPr bwMode="auto">
            <a:xfrm>
              <a:off x="9705976" y="2909888"/>
              <a:ext cx="46038" cy="46038"/>
            </a:xfrm>
            <a:custGeom>
              <a:avLst/>
              <a:gdLst>
                <a:gd name="T0" fmla="*/ 6 w 12"/>
                <a:gd name="T1" fmla="*/ 12 h 12"/>
                <a:gd name="T2" fmla="*/ 0 w 12"/>
                <a:gd name="T3" fmla="*/ 6 h 12"/>
                <a:gd name="T4" fmla="*/ 6 w 12"/>
                <a:gd name="T5" fmla="*/ 0 h 12"/>
                <a:gd name="T6" fmla="*/ 12 w 12"/>
                <a:gd name="T7" fmla="*/ 6 h 12"/>
                <a:gd name="T8" fmla="*/ 6 w 12"/>
                <a:gd name="T9" fmla="*/ 12 h 12"/>
                <a:gd name="T10" fmla="*/ 6 w 12"/>
                <a:gd name="T11" fmla="*/ 4 h 12"/>
                <a:gd name="T12" fmla="*/ 4 w 12"/>
                <a:gd name="T13" fmla="*/ 6 h 12"/>
                <a:gd name="T14" fmla="*/ 6 w 12"/>
                <a:gd name="T15" fmla="*/ 8 h 12"/>
                <a:gd name="T16" fmla="*/ 8 w 12"/>
                <a:gd name="T17" fmla="*/ 6 h 12"/>
                <a:gd name="T18" fmla="*/ 6 w 12"/>
                <a:gd name="T19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12"/>
                  </a:move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9"/>
                    <a:pt x="9" y="12"/>
                    <a:pt x="6" y="12"/>
                  </a:cubicBezTo>
                  <a:close/>
                  <a:moveTo>
                    <a:pt x="6" y="4"/>
                  </a:moveTo>
                  <a:cubicBezTo>
                    <a:pt x="5" y="4"/>
                    <a:pt x="4" y="5"/>
                    <a:pt x="4" y="6"/>
                  </a:cubicBezTo>
                  <a:cubicBezTo>
                    <a:pt x="4" y="7"/>
                    <a:pt x="5" y="8"/>
                    <a:pt x="6" y="8"/>
                  </a:cubicBezTo>
                  <a:cubicBezTo>
                    <a:pt x="7" y="8"/>
                    <a:pt x="8" y="7"/>
                    <a:pt x="8" y="6"/>
                  </a:cubicBezTo>
                  <a:cubicBezTo>
                    <a:pt x="8" y="5"/>
                    <a:pt x="7" y="4"/>
                    <a:pt x="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eform 52"/>
            <p:cNvSpPr>
              <a:spLocks noEditPoints="1"/>
            </p:cNvSpPr>
            <p:nvPr/>
          </p:nvSpPr>
          <p:spPr bwMode="auto">
            <a:xfrm>
              <a:off x="9798051" y="2832101"/>
              <a:ext cx="46038" cy="46038"/>
            </a:xfrm>
            <a:custGeom>
              <a:avLst/>
              <a:gdLst>
                <a:gd name="T0" fmla="*/ 6 w 12"/>
                <a:gd name="T1" fmla="*/ 12 h 12"/>
                <a:gd name="T2" fmla="*/ 0 w 12"/>
                <a:gd name="T3" fmla="*/ 6 h 12"/>
                <a:gd name="T4" fmla="*/ 6 w 12"/>
                <a:gd name="T5" fmla="*/ 0 h 12"/>
                <a:gd name="T6" fmla="*/ 12 w 12"/>
                <a:gd name="T7" fmla="*/ 6 h 12"/>
                <a:gd name="T8" fmla="*/ 6 w 12"/>
                <a:gd name="T9" fmla="*/ 12 h 12"/>
                <a:gd name="T10" fmla="*/ 6 w 12"/>
                <a:gd name="T11" fmla="*/ 4 h 12"/>
                <a:gd name="T12" fmla="*/ 4 w 12"/>
                <a:gd name="T13" fmla="*/ 6 h 12"/>
                <a:gd name="T14" fmla="*/ 6 w 12"/>
                <a:gd name="T15" fmla="*/ 8 h 12"/>
                <a:gd name="T16" fmla="*/ 8 w 12"/>
                <a:gd name="T17" fmla="*/ 6 h 12"/>
                <a:gd name="T18" fmla="*/ 6 w 12"/>
                <a:gd name="T19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12"/>
                  </a:move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9"/>
                    <a:pt x="9" y="12"/>
                    <a:pt x="6" y="12"/>
                  </a:cubicBezTo>
                  <a:close/>
                  <a:moveTo>
                    <a:pt x="6" y="4"/>
                  </a:moveTo>
                  <a:cubicBezTo>
                    <a:pt x="5" y="4"/>
                    <a:pt x="4" y="5"/>
                    <a:pt x="4" y="6"/>
                  </a:cubicBezTo>
                  <a:cubicBezTo>
                    <a:pt x="4" y="7"/>
                    <a:pt x="5" y="8"/>
                    <a:pt x="6" y="8"/>
                  </a:cubicBezTo>
                  <a:cubicBezTo>
                    <a:pt x="7" y="8"/>
                    <a:pt x="8" y="7"/>
                    <a:pt x="8" y="6"/>
                  </a:cubicBezTo>
                  <a:cubicBezTo>
                    <a:pt x="8" y="5"/>
                    <a:pt x="7" y="4"/>
                    <a:pt x="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Freeform 53"/>
            <p:cNvSpPr>
              <a:spLocks noEditPoints="1"/>
            </p:cNvSpPr>
            <p:nvPr/>
          </p:nvSpPr>
          <p:spPr bwMode="auto">
            <a:xfrm>
              <a:off x="9891713" y="2862263"/>
              <a:ext cx="46038" cy="47625"/>
            </a:xfrm>
            <a:custGeom>
              <a:avLst/>
              <a:gdLst>
                <a:gd name="T0" fmla="*/ 6 w 12"/>
                <a:gd name="T1" fmla="*/ 12 h 12"/>
                <a:gd name="T2" fmla="*/ 0 w 12"/>
                <a:gd name="T3" fmla="*/ 6 h 12"/>
                <a:gd name="T4" fmla="*/ 6 w 12"/>
                <a:gd name="T5" fmla="*/ 0 h 12"/>
                <a:gd name="T6" fmla="*/ 12 w 12"/>
                <a:gd name="T7" fmla="*/ 6 h 12"/>
                <a:gd name="T8" fmla="*/ 6 w 12"/>
                <a:gd name="T9" fmla="*/ 12 h 12"/>
                <a:gd name="T10" fmla="*/ 6 w 12"/>
                <a:gd name="T11" fmla="*/ 4 h 12"/>
                <a:gd name="T12" fmla="*/ 4 w 12"/>
                <a:gd name="T13" fmla="*/ 6 h 12"/>
                <a:gd name="T14" fmla="*/ 6 w 12"/>
                <a:gd name="T15" fmla="*/ 8 h 12"/>
                <a:gd name="T16" fmla="*/ 8 w 12"/>
                <a:gd name="T17" fmla="*/ 6 h 12"/>
                <a:gd name="T18" fmla="*/ 6 w 12"/>
                <a:gd name="T19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12"/>
                  </a:move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9"/>
                    <a:pt x="9" y="12"/>
                    <a:pt x="6" y="12"/>
                  </a:cubicBezTo>
                  <a:close/>
                  <a:moveTo>
                    <a:pt x="6" y="4"/>
                  </a:moveTo>
                  <a:cubicBezTo>
                    <a:pt x="5" y="4"/>
                    <a:pt x="4" y="5"/>
                    <a:pt x="4" y="6"/>
                  </a:cubicBezTo>
                  <a:cubicBezTo>
                    <a:pt x="4" y="7"/>
                    <a:pt x="5" y="8"/>
                    <a:pt x="6" y="8"/>
                  </a:cubicBezTo>
                  <a:cubicBezTo>
                    <a:pt x="7" y="8"/>
                    <a:pt x="8" y="7"/>
                    <a:pt x="8" y="6"/>
                  </a:cubicBezTo>
                  <a:cubicBezTo>
                    <a:pt x="8" y="5"/>
                    <a:pt x="7" y="4"/>
                    <a:pt x="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" name="Freeform 54"/>
            <p:cNvSpPr>
              <a:spLocks noEditPoints="1"/>
            </p:cNvSpPr>
            <p:nvPr/>
          </p:nvSpPr>
          <p:spPr bwMode="auto">
            <a:xfrm>
              <a:off x="9983788" y="2754313"/>
              <a:ext cx="46038" cy="46038"/>
            </a:xfrm>
            <a:custGeom>
              <a:avLst/>
              <a:gdLst>
                <a:gd name="T0" fmla="*/ 6 w 12"/>
                <a:gd name="T1" fmla="*/ 12 h 12"/>
                <a:gd name="T2" fmla="*/ 0 w 12"/>
                <a:gd name="T3" fmla="*/ 6 h 12"/>
                <a:gd name="T4" fmla="*/ 6 w 12"/>
                <a:gd name="T5" fmla="*/ 0 h 12"/>
                <a:gd name="T6" fmla="*/ 12 w 12"/>
                <a:gd name="T7" fmla="*/ 6 h 12"/>
                <a:gd name="T8" fmla="*/ 6 w 12"/>
                <a:gd name="T9" fmla="*/ 12 h 12"/>
                <a:gd name="T10" fmla="*/ 6 w 12"/>
                <a:gd name="T11" fmla="*/ 4 h 12"/>
                <a:gd name="T12" fmla="*/ 4 w 12"/>
                <a:gd name="T13" fmla="*/ 6 h 12"/>
                <a:gd name="T14" fmla="*/ 6 w 12"/>
                <a:gd name="T15" fmla="*/ 8 h 12"/>
                <a:gd name="T16" fmla="*/ 8 w 12"/>
                <a:gd name="T17" fmla="*/ 6 h 12"/>
                <a:gd name="T18" fmla="*/ 6 w 12"/>
                <a:gd name="T19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12"/>
                  </a:move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9"/>
                    <a:pt x="9" y="12"/>
                    <a:pt x="6" y="12"/>
                  </a:cubicBezTo>
                  <a:close/>
                  <a:moveTo>
                    <a:pt x="6" y="4"/>
                  </a:moveTo>
                  <a:cubicBezTo>
                    <a:pt x="5" y="4"/>
                    <a:pt x="4" y="5"/>
                    <a:pt x="4" y="6"/>
                  </a:cubicBezTo>
                  <a:cubicBezTo>
                    <a:pt x="4" y="7"/>
                    <a:pt x="5" y="8"/>
                    <a:pt x="6" y="8"/>
                  </a:cubicBezTo>
                  <a:cubicBezTo>
                    <a:pt x="7" y="8"/>
                    <a:pt x="8" y="7"/>
                    <a:pt x="8" y="6"/>
                  </a:cubicBezTo>
                  <a:cubicBezTo>
                    <a:pt x="8" y="5"/>
                    <a:pt x="7" y="4"/>
                    <a:pt x="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4" name="Freeform 55"/>
            <p:cNvSpPr>
              <a:spLocks/>
            </p:cNvSpPr>
            <p:nvPr/>
          </p:nvSpPr>
          <p:spPr bwMode="auto">
            <a:xfrm>
              <a:off x="9732963" y="2854326"/>
              <a:ext cx="84138" cy="74613"/>
            </a:xfrm>
            <a:custGeom>
              <a:avLst/>
              <a:gdLst>
                <a:gd name="T0" fmla="*/ 2 w 22"/>
                <a:gd name="T1" fmla="*/ 19 h 19"/>
                <a:gd name="T2" fmla="*/ 1 w 22"/>
                <a:gd name="T3" fmla="*/ 19 h 19"/>
                <a:gd name="T4" fmla="*/ 1 w 22"/>
                <a:gd name="T5" fmla="*/ 16 h 19"/>
                <a:gd name="T6" fmla="*/ 19 w 22"/>
                <a:gd name="T7" fmla="*/ 1 h 19"/>
                <a:gd name="T8" fmla="*/ 21 w 22"/>
                <a:gd name="T9" fmla="*/ 1 h 19"/>
                <a:gd name="T10" fmla="*/ 21 w 22"/>
                <a:gd name="T11" fmla="*/ 4 h 19"/>
                <a:gd name="T12" fmla="*/ 3 w 22"/>
                <a:gd name="T13" fmla="*/ 19 h 19"/>
                <a:gd name="T14" fmla="*/ 2 w 22"/>
                <a:gd name="T1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19">
                  <a:moveTo>
                    <a:pt x="2" y="19"/>
                  </a:moveTo>
                  <a:cubicBezTo>
                    <a:pt x="2" y="19"/>
                    <a:pt x="1" y="19"/>
                    <a:pt x="1" y="19"/>
                  </a:cubicBezTo>
                  <a:cubicBezTo>
                    <a:pt x="0" y="18"/>
                    <a:pt x="0" y="17"/>
                    <a:pt x="1" y="16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9" y="0"/>
                    <a:pt x="21" y="0"/>
                    <a:pt x="21" y="1"/>
                  </a:cubicBezTo>
                  <a:cubicBezTo>
                    <a:pt x="22" y="2"/>
                    <a:pt x="22" y="3"/>
                    <a:pt x="21" y="4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19"/>
                    <a:pt x="3" y="19"/>
                    <a:pt x="2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5" name="Freeform 56"/>
            <p:cNvSpPr>
              <a:spLocks/>
            </p:cNvSpPr>
            <p:nvPr/>
          </p:nvSpPr>
          <p:spPr bwMode="auto">
            <a:xfrm>
              <a:off x="9832976" y="2851151"/>
              <a:ext cx="69850" cy="38100"/>
            </a:xfrm>
            <a:custGeom>
              <a:avLst/>
              <a:gdLst>
                <a:gd name="T0" fmla="*/ 42 w 44"/>
                <a:gd name="T1" fmla="*/ 24 h 24"/>
                <a:gd name="T2" fmla="*/ 0 w 44"/>
                <a:gd name="T3" fmla="*/ 10 h 24"/>
                <a:gd name="T4" fmla="*/ 3 w 44"/>
                <a:gd name="T5" fmla="*/ 0 h 24"/>
                <a:gd name="T6" fmla="*/ 44 w 44"/>
                <a:gd name="T7" fmla="*/ 15 h 24"/>
                <a:gd name="T8" fmla="*/ 42 w 44"/>
                <a:gd name="T9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24">
                  <a:moveTo>
                    <a:pt x="42" y="24"/>
                  </a:moveTo>
                  <a:lnTo>
                    <a:pt x="0" y="10"/>
                  </a:lnTo>
                  <a:lnTo>
                    <a:pt x="3" y="0"/>
                  </a:lnTo>
                  <a:lnTo>
                    <a:pt x="44" y="15"/>
                  </a:lnTo>
                  <a:lnTo>
                    <a:pt x="42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6" name="Freeform 57"/>
            <p:cNvSpPr>
              <a:spLocks/>
            </p:cNvSpPr>
            <p:nvPr/>
          </p:nvSpPr>
          <p:spPr bwMode="auto">
            <a:xfrm>
              <a:off x="9913938" y="2781301"/>
              <a:ext cx="93663" cy="100013"/>
            </a:xfrm>
            <a:custGeom>
              <a:avLst/>
              <a:gdLst>
                <a:gd name="T0" fmla="*/ 3 w 24"/>
                <a:gd name="T1" fmla="*/ 26 h 26"/>
                <a:gd name="T2" fmla="*/ 1 w 24"/>
                <a:gd name="T3" fmla="*/ 25 h 26"/>
                <a:gd name="T4" fmla="*/ 1 w 24"/>
                <a:gd name="T5" fmla="*/ 23 h 26"/>
                <a:gd name="T6" fmla="*/ 20 w 24"/>
                <a:gd name="T7" fmla="*/ 1 h 26"/>
                <a:gd name="T8" fmla="*/ 23 w 24"/>
                <a:gd name="T9" fmla="*/ 1 h 26"/>
                <a:gd name="T10" fmla="*/ 23 w 24"/>
                <a:gd name="T11" fmla="*/ 3 h 26"/>
                <a:gd name="T12" fmla="*/ 4 w 24"/>
                <a:gd name="T13" fmla="*/ 25 h 26"/>
                <a:gd name="T14" fmla="*/ 3 w 24"/>
                <a:gd name="T1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26">
                  <a:moveTo>
                    <a:pt x="3" y="26"/>
                  </a:moveTo>
                  <a:cubicBezTo>
                    <a:pt x="2" y="26"/>
                    <a:pt x="2" y="26"/>
                    <a:pt x="1" y="25"/>
                  </a:cubicBezTo>
                  <a:cubicBezTo>
                    <a:pt x="0" y="25"/>
                    <a:pt x="0" y="23"/>
                    <a:pt x="1" y="23"/>
                  </a:cubicBezTo>
                  <a:cubicBezTo>
                    <a:pt x="20" y="1"/>
                    <a:pt x="20" y="1"/>
                    <a:pt x="20" y="1"/>
                  </a:cubicBezTo>
                  <a:cubicBezTo>
                    <a:pt x="21" y="0"/>
                    <a:pt x="22" y="0"/>
                    <a:pt x="23" y="1"/>
                  </a:cubicBezTo>
                  <a:cubicBezTo>
                    <a:pt x="24" y="1"/>
                    <a:pt x="24" y="2"/>
                    <a:pt x="23" y="3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6"/>
                    <a:pt x="3" y="26"/>
                    <a:pt x="3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1981490" y="4719153"/>
            <a:ext cx="4791806" cy="2303030"/>
            <a:chOff x="411691" y="4925688"/>
            <a:chExt cx="4791806" cy="2303030"/>
          </a:xfrm>
        </p:grpSpPr>
        <p:sp>
          <p:nvSpPr>
            <p:cNvPr id="32" name="Freeform 17"/>
            <p:cNvSpPr>
              <a:spLocks/>
            </p:cNvSpPr>
            <p:nvPr/>
          </p:nvSpPr>
          <p:spPr bwMode="auto">
            <a:xfrm>
              <a:off x="411691" y="5700880"/>
              <a:ext cx="4791806" cy="1527838"/>
            </a:xfrm>
            <a:custGeom>
              <a:avLst/>
              <a:gdLst>
                <a:gd name="T0" fmla="*/ 3776 w 3776"/>
                <a:gd name="T1" fmla="*/ 310 h 1204"/>
                <a:gd name="T2" fmla="*/ 0 w 3776"/>
                <a:gd name="T3" fmla="*/ 235 h 1204"/>
                <a:gd name="T4" fmla="*/ 886 w 3776"/>
                <a:gd name="T5" fmla="*/ 0 h 1204"/>
                <a:gd name="T6" fmla="*/ 3776 w 3776"/>
                <a:gd name="T7" fmla="*/ 310 h 1204"/>
                <a:gd name="T8" fmla="*/ 3776 w 3776"/>
                <a:gd name="T9" fmla="*/ 310 h 1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76" h="1204">
                  <a:moveTo>
                    <a:pt x="3776" y="310"/>
                  </a:moveTo>
                  <a:cubicBezTo>
                    <a:pt x="3776" y="310"/>
                    <a:pt x="1859" y="1204"/>
                    <a:pt x="0" y="235"/>
                  </a:cubicBezTo>
                  <a:cubicBezTo>
                    <a:pt x="886" y="0"/>
                    <a:pt x="886" y="0"/>
                    <a:pt x="886" y="0"/>
                  </a:cubicBezTo>
                  <a:cubicBezTo>
                    <a:pt x="3776" y="310"/>
                    <a:pt x="3776" y="310"/>
                    <a:pt x="3776" y="310"/>
                  </a:cubicBezTo>
                  <a:cubicBezTo>
                    <a:pt x="3776" y="310"/>
                    <a:pt x="3776" y="310"/>
                    <a:pt x="3776" y="310"/>
                  </a:cubicBezTo>
                  <a:close/>
                </a:path>
              </a:pathLst>
            </a:custGeom>
            <a:solidFill>
              <a:srgbClr val="D63E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Freeform 18"/>
            <p:cNvSpPr>
              <a:spLocks/>
            </p:cNvSpPr>
            <p:nvPr/>
          </p:nvSpPr>
          <p:spPr bwMode="auto">
            <a:xfrm>
              <a:off x="411691" y="4925688"/>
              <a:ext cx="1363029" cy="1073137"/>
            </a:xfrm>
            <a:custGeom>
              <a:avLst/>
              <a:gdLst>
                <a:gd name="T0" fmla="*/ 0 w 1074"/>
                <a:gd name="T1" fmla="*/ 846 h 846"/>
                <a:gd name="T2" fmla="*/ 885 w 1074"/>
                <a:gd name="T3" fmla="*/ 611 h 846"/>
                <a:gd name="T4" fmla="*/ 1012 w 1074"/>
                <a:gd name="T5" fmla="*/ 437 h 846"/>
                <a:gd name="T6" fmla="*/ 1074 w 1074"/>
                <a:gd name="T7" fmla="*/ 0 h 846"/>
                <a:gd name="T8" fmla="*/ 333 w 1074"/>
                <a:gd name="T9" fmla="*/ 227 h 846"/>
                <a:gd name="T10" fmla="*/ 0 w 1074"/>
                <a:gd name="T11" fmla="*/ 846 h 846"/>
                <a:gd name="T12" fmla="*/ 0 w 1074"/>
                <a:gd name="T13" fmla="*/ 846 h 8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4" h="846">
                  <a:moveTo>
                    <a:pt x="0" y="846"/>
                  </a:moveTo>
                  <a:cubicBezTo>
                    <a:pt x="885" y="611"/>
                    <a:pt x="885" y="611"/>
                    <a:pt x="885" y="611"/>
                  </a:cubicBezTo>
                  <a:cubicBezTo>
                    <a:pt x="1012" y="437"/>
                    <a:pt x="1012" y="437"/>
                    <a:pt x="1012" y="437"/>
                  </a:cubicBezTo>
                  <a:cubicBezTo>
                    <a:pt x="1074" y="0"/>
                    <a:pt x="1074" y="0"/>
                    <a:pt x="1074" y="0"/>
                  </a:cubicBezTo>
                  <a:cubicBezTo>
                    <a:pt x="1074" y="0"/>
                    <a:pt x="568" y="156"/>
                    <a:pt x="333" y="227"/>
                  </a:cubicBezTo>
                  <a:cubicBezTo>
                    <a:pt x="0" y="846"/>
                    <a:pt x="0" y="846"/>
                    <a:pt x="0" y="846"/>
                  </a:cubicBezTo>
                  <a:cubicBezTo>
                    <a:pt x="0" y="846"/>
                    <a:pt x="0" y="846"/>
                    <a:pt x="0" y="846"/>
                  </a:cubicBezTo>
                  <a:close/>
                </a:path>
              </a:pathLst>
            </a:custGeom>
            <a:solidFill>
              <a:srgbClr val="E258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Freeform 19"/>
            <p:cNvSpPr>
              <a:spLocks/>
            </p:cNvSpPr>
            <p:nvPr/>
          </p:nvSpPr>
          <p:spPr bwMode="auto">
            <a:xfrm>
              <a:off x="1534754" y="4925688"/>
              <a:ext cx="3668743" cy="1895571"/>
            </a:xfrm>
            <a:custGeom>
              <a:avLst/>
              <a:gdLst>
                <a:gd name="T0" fmla="*/ 189 w 2891"/>
                <a:gd name="T1" fmla="*/ 0 h 1494"/>
                <a:gd name="T2" fmla="*/ 0 w 2891"/>
                <a:gd name="T3" fmla="*/ 610 h 1494"/>
                <a:gd name="T4" fmla="*/ 2891 w 2891"/>
                <a:gd name="T5" fmla="*/ 920 h 1494"/>
                <a:gd name="T6" fmla="*/ 2553 w 2891"/>
                <a:gd name="T7" fmla="*/ 338 h 1494"/>
                <a:gd name="T8" fmla="*/ 189 w 2891"/>
                <a:gd name="T9" fmla="*/ 0 h 14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91" h="1494">
                  <a:moveTo>
                    <a:pt x="189" y="0"/>
                  </a:moveTo>
                  <a:cubicBezTo>
                    <a:pt x="0" y="610"/>
                    <a:pt x="0" y="610"/>
                    <a:pt x="0" y="610"/>
                  </a:cubicBezTo>
                  <a:cubicBezTo>
                    <a:pt x="0" y="610"/>
                    <a:pt x="1567" y="1494"/>
                    <a:pt x="2891" y="920"/>
                  </a:cubicBezTo>
                  <a:cubicBezTo>
                    <a:pt x="2553" y="338"/>
                    <a:pt x="2553" y="338"/>
                    <a:pt x="2553" y="338"/>
                  </a:cubicBezTo>
                  <a:cubicBezTo>
                    <a:pt x="2553" y="338"/>
                    <a:pt x="1452" y="776"/>
                    <a:pt x="189" y="0"/>
                  </a:cubicBezTo>
                  <a:close/>
                </a:path>
              </a:pathLst>
            </a:custGeom>
            <a:solidFill>
              <a:srgbClr val="E878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5" name="Group 24"/>
          <p:cNvGrpSpPr>
            <a:grpSpLocks noChangeAspect="1"/>
          </p:cNvGrpSpPr>
          <p:nvPr/>
        </p:nvGrpSpPr>
        <p:grpSpPr>
          <a:xfrm>
            <a:off x="4659760" y="5520010"/>
            <a:ext cx="195296" cy="288000"/>
            <a:chOff x="9321800" y="3751263"/>
            <a:chExt cx="250825" cy="369887"/>
          </a:xfrm>
          <a:solidFill>
            <a:schemeClr val="bg1"/>
          </a:solidFill>
        </p:grpSpPr>
        <p:sp>
          <p:nvSpPr>
            <p:cNvPr id="26" name="Freeform 61"/>
            <p:cNvSpPr>
              <a:spLocks/>
            </p:cNvSpPr>
            <p:nvPr/>
          </p:nvSpPr>
          <p:spPr bwMode="auto">
            <a:xfrm>
              <a:off x="9423400" y="3959225"/>
              <a:ext cx="61912" cy="107950"/>
            </a:xfrm>
            <a:custGeom>
              <a:avLst/>
              <a:gdLst>
                <a:gd name="T0" fmla="*/ 8 w 16"/>
                <a:gd name="T1" fmla="*/ 28 h 28"/>
                <a:gd name="T2" fmla="*/ 0 w 16"/>
                <a:gd name="T3" fmla="*/ 20 h 28"/>
                <a:gd name="T4" fmla="*/ 2 w 16"/>
                <a:gd name="T5" fmla="*/ 18 h 28"/>
                <a:gd name="T6" fmla="*/ 4 w 16"/>
                <a:gd name="T7" fmla="*/ 20 h 28"/>
                <a:gd name="T8" fmla="*/ 8 w 16"/>
                <a:gd name="T9" fmla="*/ 24 h 28"/>
                <a:gd name="T10" fmla="*/ 12 w 16"/>
                <a:gd name="T11" fmla="*/ 20 h 28"/>
                <a:gd name="T12" fmla="*/ 8 w 16"/>
                <a:gd name="T13" fmla="*/ 16 h 28"/>
                <a:gd name="T14" fmla="*/ 0 w 16"/>
                <a:gd name="T15" fmla="*/ 8 h 28"/>
                <a:gd name="T16" fmla="*/ 8 w 16"/>
                <a:gd name="T17" fmla="*/ 0 h 28"/>
                <a:gd name="T18" fmla="*/ 16 w 16"/>
                <a:gd name="T19" fmla="*/ 8 h 28"/>
                <a:gd name="T20" fmla="*/ 14 w 16"/>
                <a:gd name="T21" fmla="*/ 10 h 28"/>
                <a:gd name="T22" fmla="*/ 12 w 16"/>
                <a:gd name="T23" fmla="*/ 8 h 28"/>
                <a:gd name="T24" fmla="*/ 8 w 16"/>
                <a:gd name="T25" fmla="*/ 4 h 28"/>
                <a:gd name="T26" fmla="*/ 4 w 16"/>
                <a:gd name="T27" fmla="*/ 8 h 28"/>
                <a:gd name="T28" fmla="*/ 8 w 16"/>
                <a:gd name="T29" fmla="*/ 12 h 28"/>
                <a:gd name="T30" fmla="*/ 16 w 16"/>
                <a:gd name="T31" fmla="*/ 20 h 28"/>
                <a:gd name="T32" fmla="*/ 8 w 16"/>
                <a:gd name="T33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" h="28">
                  <a:moveTo>
                    <a:pt x="8" y="28"/>
                  </a:moveTo>
                  <a:cubicBezTo>
                    <a:pt x="4" y="28"/>
                    <a:pt x="0" y="24"/>
                    <a:pt x="0" y="20"/>
                  </a:cubicBezTo>
                  <a:cubicBezTo>
                    <a:pt x="0" y="19"/>
                    <a:pt x="1" y="18"/>
                    <a:pt x="2" y="18"/>
                  </a:cubicBezTo>
                  <a:cubicBezTo>
                    <a:pt x="3" y="18"/>
                    <a:pt x="4" y="19"/>
                    <a:pt x="4" y="20"/>
                  </a:cubicBezTo>
                  <a:cubicBezTo>
                    <a:pt x="4" y="22"/>
                    <a:pt x="6" y="24"/>
                    <a:pt x="8" y="24"/>
                  </a:cubicBezTo>
                  <a:cubicBezTo>
                    <a:pt x="10" y="24"/>
                    <a:pt x="12" y="22"/>
                    <a:pt x="12" y="20"/>
                  </a:cubicBezTo>
                  <a:cubicBezTo>
                    <a:pt x="12" y="18"/>
                    <a:pt x="10" y="16"/>
                    <a:pt x="8" y="16"/>
                  </a:cubicBezTo>
                  <a:cubicBezTo>
                    <a:pt x="4" y="16"/>
                    <a:pt x="0" y="12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12" y="0"/>
                    <a:pt x="16" y="4"/>
                    <a:pt x="16" y="8"/>
                  </a:cubicBezTo>
                  <a:cubicBezTo>
                    <a:pt x="16" y="9"/>
                    <a:pt x="15" y="10"/>
                    <a:pt x="14" y="10"/>
                  </a:cubicBezTo>
                  <a:cubicBezTo>
                    <a:pt x="13" y="10"/>
                    <a:pt x="12" y="9"/>
                    <a:pt x="12" y="8"/>
                  </a:cubicBezTo>
                  <a:cubicBezTo>
                    <a:pt x="12" y="6"/>
                    <a:pt x="10" y="4"/>
                    <a:pt x="8" y="4"/>
                  </a:cubicBezTo>
                  <a:cubicBezTo>
                    <a:pt x="6" y="4"/>
                    <a:pt x="4" y="6"/>
                    <a:pt x="4" y="8"/>
                  </a:cubicBezTo>
                  <a:cubicBezTo>
                    <a:pt x="4" y="10"/>
                    <a:pt x="6" y="12"/>
                    <a:pt x="8" y="12"/>
                  </a:cubicBezTo>
                  <a:cubicBezTo>
                    <a:pt x="12" y="12"/>
                    <a:pt x="16" y="16"/>
                    <a:pt x="16" y="20"/>
                  </a:cubicBezTo>
                  <a:cubicBezTo>
                    <a:pt x="16" y="24"/>
                    <a:pt x="12" y="28"/>
                    <a:pt x="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Freeform 62"/>
            <p:cNvSpPr>
              <a:spLocks/>
            </p:cNvSpPr>
            <p:nvPr/>
          </p:nvSpPr>
          <p:spPr bwMode="auto">
            <a:xfrm>
              <a:off x="9447213" y="4051300"/>
              <a:ext cx="14287" cy="31750"/>
            </a:xfrm>
            <a:custGeom>
              <a:avLst/>
              <a:gdLst>
                <a:gd name="T0" fmla="*/ 2 w 4"/>
                <a:gd name="T1" fmla="*/ 8 h 8"/>
                <a:gd name="T2" fmla="*/ 0 w 4"/>
                <a:gd name="T3" fmla="*/ 6 h 8"/>
                <a:gd name="T4" fmla="*/ 0 w 4"/>
                <a:gd name="T5" fmla="*/ 2 h 8"/>
                <a:gd name="T6" fmla="*/ 2 w 4"/>
                <a:gd name="T7" fmla="*/ 0 h 8"/>
                <a:gd name="T8" fmla="*/ 4 w 4"/>
                <a:gd name="T9" fmla="*/ 2 h 8"/>
                <a:gd name="T10" fmla="*/ 4 w 4"/>
                <a:gd name="T11" fmla="*/ 6 h 8"/>
                <a:gd name="T12" fmla="*/ 2 w 4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8">
                  <a:moveTo>
                    <a:pt x="2" y="8"/>
                  </a:moveTo>
                  <a:cubicBezTo>
                    <a:pt x="1" y="8"/>
                    <a:pt x="0" y="7"/>
                    <a:pt x="0" y="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7"/>
                    <a:pt x="3" y="8"/>
                    <a:pt x="2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Freeform 63"/>
            <p:cNvSpPr>
              <a:spLocks/>
            </p:cNvSpPr>
            <p:nvPr/>
          </p:nvSpPr>
          <p:spPr bwMode="auto">
            <a:xfrm>
              <a:off x="9447213" y="3943350"/>
              <a:ext cx="14287" cy="31750"/>
            </a:xfrm>
            <a:custGeom>
              <a:avLst/>
              <a:gdLst>
                <a:gd name="T0" fmla="*/ 2 w 4"/>
                <a:gd name="T1" fmla="*/ 8 h 8"/>
                <a:gd name="T2" fmla="*/ 0 w 4"/>
                <a:gd name="T3" fmla="*/ 6 h 8"/>
                <a:gd name="T4" fmla="*/ 0 w 4"/>
                <a:gd name="T5" fmla="*/ 2 h 8"/>
                <a:gd name="T6" fmla="*/ 2 w 4"/>
                <a:gd name="T7" fmla="*/ 0 h 8"/>
                <a:gd name="T8" fmla="*/ 4 w 4"/>
                <a:gd name="T9" fmla="*/ 2 h 8"/>
                <a:gd name="T10" fmla="*/ 4 w 4"/>
                <a:gd name="T11" fmla="*/ 6 h 8"/>
                <a:gd name="T12" fmla="*/ 2 w 4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8">
                  <a:moveTo>
                    <a:pt x="2" y="8"/>
                  </a:moveTo>
                  <a:cubicBezTo>
                    <a:pt x="1" y="8"/>
                    <a:pt x="0" y="7"/>
                    <a:pt x="0" y="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7"/>
                    <a:pt x="3" y="8"/>
                    <a:pt x="2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Freeform 64"/>
            <p:cNvSpPr>
              <a:spLocks noEditPoints="1"/>
            </p:cNvSpPr>
            <p:nvPr/>
          </p:nvSpPr>
          <p:spPr bwMode="auto">
            <a:xfrm>
              <a:off x="9321800" y="3905250"/>
              <a:ext cx="250825" cy="215900"/>
            </a:xfrm>
            <a:custGeom>
              <a:avLst/>
              <a:gdLst>
                <a:gd name="T0" fmla="*/ 32 w 64"/>
                <a:gd name="T1" fmla="*/ 56 h 56"/>
                <a:gd name="T2" fmla="*/ 0 w 64"/>
                <a:gd name="T3" fmla="*/ 32 h 56"/>
                <a:gd name="T4" fmla="*/ 20 w 64"/>
                <a:gd name="T5" fmla="*/ 0 h 56"/>
                <a:gd name="T6" fmla="*/ 21 w 64"/>
                <a:gd name="T7" fmla="*/ 0 h 56"/>
                <a:gd name="T8" fmla="*/ 43 w 64"/>
                <a:gd name="T9" fmla="*/ 0 h 56"/>
                <a:gd name="T10" fmla="*/ 44 w 64"/>
                <a:gd name="T11" fmla="*/ 0 h 56"/>
                <a:gd name="T12" fmla="*/ 64 w 64"/>
                <a:gd name="T13" fmla="*/ 32 h 56"/>
                <a:gd name="T14" fmla="*/ 32 w 64"/>
                <a:gd name="T15" fmla="*/ 56 h 56"/>
                <a:gd name="T16" fmla="*/ 22 w 64"/>
                <a:gd name="T17" fmla="*/ 4 h 56"/>
                <a:gd name="T18" fmla="*/ 4 w 64"/>
                <a:gd name="T19" fmla="*/ 32 h 56"/>
                <a:gd name="T20" fmla="*/ 32 w 64"/>
                <a:gd name="T21" fmla="*/ 52 h 56"/>
                <a:gd name="T22" fmla="*/ 60 w 64"/>
                <a:gd name="T23" fmla="*/ 32 h 56"/>
                <a:gd name="T24" fmla="*/ 42 w 64"/>
                <a:gd name="T25" fmla="*/ 4 h 56"/>
                <a:gd name="T26" fmla="*/ 22 w 64"/>
                <a:gd name="T27" fmla="*/ 4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" h="56">
                  <a:moveTo>
                    <a:pt x="32" y="56"/>
                  </a:moveTo>
                  <a:cubicBezTo>
                    <a:pt x="10" y="56"/>
                    <a:pt x="0" y="48"/>
                    <a:pt x="0" y="32"/>
                  </a:cubicBezTo>
                  <a:cubicBezTo>
                    <a:pt x="0" y="21"/>
                    <a:pt x="10" y="8"/>
                    <a:pt x="20" y="0"/>
                  </a:cubicBezTo>
                  <a:cubicBezTo>
                    <a:pt x="20" y="0"/>
                    <a:pt x="20" y="0"/>
                    <a:pt x="21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54" y="8"/>
                    <a:pt x="64" y="21"/>
                    <a:pt x="64" y="32"/>
                  </a:cubicBezTo>
                  <a:cubicBezTo>
                    <a:pt x="64" y="48"/>
                    <a:pt x="54" y="56"/>
                    <a:pt x="32" y="56"/>
                  </a:cubicBezTo>
                  <a:close/>
                  <a:moveTo>
                    <a:pt x="22" y="4"/>
                  </a:moveTo>
                  <a:cubicBezTo>
                    <a:pt x="13" y="11"/>
                    <a:pt x="4" y="23"/>
                    <a:pt x="4" y="32"/>
                  </a:cubicBezTo>
                  <a:cubicBezTo>
                    <a:pt x="4" y="42"/>
                    <a:pt x="7" y="52"/>
                    <a:pt x="32" y="52"/>
                  </a:cubicBezTo>
                  <a:cubicBezTo>
                    <a:pt x="57" y="52"/>
                    <a:pt x="60" y="42"/>
                    <a:pt x="60" y="32"/>
                  </a:cubicBezTo>
                  <a:cubicBezTo>
                    <a:pt x="60" y="23"/>
                    <a:pt x="51" y="11"/>
                    <a:pt x="42" y="4"/>
                  </a:cubicBezTo>
                  <a:lnTo>
                    <a:pt x="22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65"/>
            <p:cNvSpPr>
              <a:spLocks/>
            </p:cNvSpPr>
            <p:nvPr/>
          </p:nvSpPr>
          <p:spPr bwMode="auto">
            <a:xfrm>
              <a:off x="9383713" y="3875088"/>
              <a:ext cx="125412" cy="14287"/>
            </a:xfrm>
            <a:custGeom>
              <a:avLst/>
              <a:gdLst>
                <a:gd name="T0" fmla="*/ 30 w 32"/>
                <a:gd name="T1" fmla="*/ 4 h 4"/>
                <a:gd name="T2" fmla="*/ 2 w 32"/>
                <a:gd name="T3" fmla="*/ 4 h 4"/>
                <a:gd name="T4" fmla="*/ 0 w 32"/>
                <a:gd name="T5" fmla="*/ 2 h 4"/>
                <a:gd name="T6" fmla="*/ 2 w 32"/>
                <a:gd name="T7" fmla="*/ 0 h 4"/>
                <a:gd name="T8" fmla="*/ 30 w 32"/>
                <a:gd name="T9" fmla="*/ 0 h 4"/>
                <a:gd name="T10" fmla="*/ 32 w 32"/>
                <a:gd name="T11" fmla="*/ 2 h 4"/>
                <a:gd name="T12" fmla="*/ 30 w 32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4">
                  <a:moveTo>
                    <a:pt x="30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1" y="0"/>
                    <a:pt x="32" y="1"/>
                    <a:pt x="32" y="2"/>
                  </a:cubicBezTo>
                  <a:cubicBezTo>
                    <a:pt x="32" y="3"/>
                    <a:pt x="31" y="4"/>
                    <a:pt x="3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Freeform 66"/>
            <p:cNvSpPr>
              <a:spLocks noEditPoints="1"/>
            </p:cNvSpPr>
            <p:nvPr/>
          </p:nvSpPr>
          <p:spPr bwMode="auto">
            <a:xfrm>
              <a:off x="9367838" y="3751263"/>
              <a:ext cx="157162" cy="107950"/>
            </a:xfrm>
            <a:custGeom>
              <a:avLst/>
              <a:gdLst>
                <a:gd name="T0" fmla="*/ 30 w 40"/>
                <a:gd name="T1" fmla="*/ 28 h 28"/>
                <a:gd name="T2" fmla="*/ 10 w 40"/>
                <a:gd name="T3" fmla="*/ 28 h 28"/>
                <a:gd name="T4" fmla="*/ 8 w 40"/>
                <a:gd name="T5" fmla="*/ 26 h 28"/>
                <a:gd name="T6" fmla="*/ 0 w 40"/>
                <a:gd name="T7" fmla="*/ 7 h 28"/>
                <a:gd name="T8" fmla="*/ 0 w 40"/>
                <a:gd name="T9" fmla="*/ 5 h 28"/>
                <a:gd name="T10" fmla="*/ 3 w 40"/>
                <a:gd name="T11" fmla="*/ 4 h 28"/>
                <a:gd name="T12" fmla="*/ 15 w 40"/>
                <a:gd name="T13" fmla="*/ 9 h 28"/>
                <a:gd name="T14" fmla="*/ 18 w 40"/>
                <a:gd name="T15" fmla="*/ 1 h 28"/>
                <a:gd name="T16" fmla="*/ 22 w 40"/>
                <a:gd name="T17" fmla="*/ 1 h 28"/>
                <a:gd name="T18" fmla="*/ 25 w 40"/>
                <a:gd name="T19" fmla="*/ 9 h 28"/>
                <a:gd name="T20" fmla="*/ 37 w 40"/>
                <a:gd name="T21" fmla="*/ 4 h 28"/>
                <a:gd name="T22" fmla="*/ 40 w 40"/>
                <a:gd name="T23" fmla="*/ 5 h 28"/>
                <a:gd name="T24" fmla="*/ 40 w 40"/>
                <a:gd name="T25" fmla="*/ 7 h 28"/>
                <a:gd name="T26" fmla="*/ 32 w 40"/>
                <a:gd name="T27" fmla="*/ 26 h 28"/>
                <a:gd name="T28" fmla="*/ 30 w 40"/>
                <a:gd name="T29" fmla="*/ 28 h 28"/>
                <a:gd name="T30" fmla="*/ 12 w 40"/>
                <a:gd name="T31" fmla="*/ 24 h 28"/>
                <a:gd name="T32" fmla="*/ 28 w 40"/>
                <a:gd name="T33" fmla="*/ 24 h 28"/>
                <a:gd name="T34" fmla="*/ 33 w 40"/>
                <a:gd name="T35" fmla="*/ 10 h 28"/>
                <a:gd name="T36" fmla="*/ 25 w 40"/>
                <a:gd name="T37" fmla="*/ 14 h 28"/>
                <a:gd name="T38" fmla="*/ 23 w 40"/>
                <a:gd name="T39" fmla="*/ 14 h 28"/>
                <a:gd name="T40" fmla="*/ 22 w 40"/>
                <a:gd name="T41" fmla="*/ 13 h 28"/>
                <a:gd name="T42" fmla="*/ 20 w 40"/>
                <a:gd name="T43" fmla="*/ 7 h 28"/>
                <a:gd name="T44" fmla="*/ 18 w 40"/>
                <a:gd name="T45" fmla="*/ 13 h 28"/>
                <a:gd name="T46" fmla="*/ 17 w 40"/>
                <a:gd name="T47" fmla="*/ 14 h 28"/>
                <a:gd name="T48" fmla="*/ 15 w 40"/>
                <a:gd name="T49" fmla="*/ 14 h 28"/>
                <a:gd name="T50" fmla="*/ 7 w 40"/>
                <a:gd name="T51" fmla="*/ 10 h 28"/>
                <a:gd name="T52" fmla="*/ 12 w 40"/>
                <a:gd name="T53" fmla="*/ 2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0" h="28">
                  <a:moveTo>
                    <a:pt x="30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9" y="28"/>
                    <a:pt x="8" y="27"/>
                    <a:pt x="8" y="26"/>
                  </a:cubicBezTo>
                  <a:cubicBezTo>
                    <a:pt x="8" y="19"/>
                    <a:pt x="0" y="7"/>
                    <a:pt x="0" y="7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1" y="4"/>
                    <a:pt x="2" y="4"/>
                    <a:pt x="3" y="4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9" y="0"/>
                    <a:pt x="21" y="0"/>
                    <a:pt x="22" y="1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8" y="4"/>
                    <a:pt x="39" y="4"/>
                    <a:pt x="40" y="5"/>
                  </a:cubicBezTo>
                  <a:cubicBezTo>
                    <a:pt x="40" y="5"/>
                    <a:pt x="40" y="6"/>
                    <a:pt x="40" y="7"/>
                  </a:cubicBezTo>
                  <a:cubicBezTo>
                    <a:pt x="40" y="7"/>
                    <a:pt x="32" y="19"/>
                    <a:pt x="32" y="26"/>
                  </a:cubicBezTo>
                  <a:cubicBezTo>
                    <a:pt x="32" y="27"/>
                    <a:pt x="31" y="28"/>
                    <a:pt x="30" y="28"/>
                  </a:cubicBezTo>
                  <a:close/>
                  <a:moveTo>
                    <a:pt x="12" y="24"/>
                  </a:moveTo>
                  <a:cubicBezTo>
                    <a:pt x="28" y="24"/>
                    <a:pt x="28" y="24"/>
                    <a:pt x="28" y="24"/>
                  </a:cubicBezTo>
                  <a:cubicBezTo>
                    <a:pt x="29" y="19"/>
                    <a:pt x="31" y="14"/>
                    <a:pt x="33" y="10"/>
                  </a:cubicBezTo>
                  <a:cubicBezTo>
                    <a:pt x="25" y="14"/>
                    <a:pt x="25" y="14"/>
                    <a:pt x="25" y="14"/>
                  </a:cubicBezTo>
                  <a:cubicBezTo>
                    <a:pt x="24" y="14"/>
                    <a:pt x="24" y="14"/>
                    <a:pt x="23" y="14"/>
                  </a:cubicBezTo>
                  <a:cubicBezTo>
                    <a:pt x="23" y="14"/>
                    <a:pt x="22" y="13"/>
                    <a:pt x="22" y="13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18" y="13"/>
                    <a:pt x="17" y="14"/>
                    <a:pt x="17" y="14"/>
                  </a:cubicBezTo>
                  <a:cubicBezTo>
                    <a:pt x="16" y="14"/>
                    <a:pt x="16" y="14"/>
                    <a:pt x="15" y="14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9" y="14"/>
                    <a:pt x="11" y="19"/>
                    <a:pt x="12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80" name="Rectangle 79"/>
          <p:cNvSpPr/>
          <p:nvPr/>
        </p:nvSpPr>
        <p:spPr>
          <a:xfrm>
            <a:off x="12344400" y="0"/>
            <a:ext cx="469900" cy="469900"/>
          </a:xfrm>
          <a:prstGeom prst="rect">
            <a:avLst/>
          </a:pr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Rectangle 80"/>
          <p:cNvSpPr/>
          <p:nvPr/>
        </p:nvSpPr>
        <p:spPr>
          <a:xfrm>
            <a:off x="12344400" y="649557"/>
            <a:ext cx="469900" cy="469900"/>
          </a:xfrm>
          <a:prstGeom prst="rect">
            <a:avLst/>
          </a:prstGeom>
          <a:solidFill>
            <a:srgbClr val="AFAB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2" name="Rectangle 81"/>
          <p:cNvSpPr/>
          <p:nvPr/>
        </p:nvSpPr>
        <p:spPr>
          <a:xfrm>
            <a:off x="12344400" y="1299114"/>
            <a:ext cx="469900" cy="469900"/>
          </a:xfrm>
          <a:prstGeom prst="rect">
            <a:avLst/>
          </a:prstGeom>
          <a:solidFill>
            <a:srgbClr val="7671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Rectangle 82"/>
          <p:cNvSpPr/>
          <p:nvPr/>
        </p:nvSpPr>
        <p:spPr>
          <a:xfrm>
            <a:off x="12966699" y="0"/>
            <a:ext cx="469900" cy="469900"/>
          </a:xfrm>
          <a:prstGeom prst="rect">
            <a:avLst/>
          </a:prstGeom>
          <a:solidFill>
            <a:srgbClr val="E878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Rectangle 83"/>
          <p:cNvSpPr/>
          <p:nvPr/>
        </p:nvSpPr>
        <p:spPr>
          <a:xfrm>
            <a:off x="12966699" y="649557"/>
            <a:ext cx="469900" cy="469900"/>
          </a:xfrm>
          <a:prstGeom prst="rect">
            <a:avLst/>
          </a:prstGeom>
          <a:solidFill>
            <a:srgbClr val="E258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5" name="Rectangle 84"/>
          <p:cNvSpPr/>
          <p:nvPr/>
        </p:nvSpPr>
        <p:spPr>
          <a:xfrm>
            <a:off x="12966699" y="1299114"/>
            <a:ext cx="469900" cy="469900"/>
          </a:xfrm>
          <a:prstGeom prst="rect">
            <a:avLst/>
          </a:prstGeom>
          <a:solidFill>
            <a:srgbClr val="D63E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6" name="Rectangle 85"/>
          <p:cNvSpPr/>
          <p:nvPr/>
        </p:nvSpPr>
        <p:spPr>
          <a:xfrm>
            <a:off x="13588998" y="0"/>
            <a:ext cx="469900" cy="469900"/>
          </a:xfrm>
          <a:prstGeom prst="rect">
            <a:avLst/>
          </a:prstGeom>
          <a:solidFill>
            <a:srgbClr val="8EDC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7" name="Rectangle 86"/>
          <p:cNvSpPr/>
          <p:nvPr/>
        </p:nvSpPr>
        <p:spPr>
          <a:xfrm>
            <a:off x="13588998" y="649557"/>
            <a:ext cx="469900" cy="469900"/>
          </a:xfrm>
          <a:prstGeom prst="rect">
            <a:avLst/>
          </a:prstGeom>
          <a:solidFill>
            <a:srgbClr val="78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8" name="Rectangle 87"/>
          <p:cNvSpPr/>
          <p:nvPr/>
        </p:nvSpPr>
        <p:spPr>
          <a:xfrm>
            <a:off x="13588998" y="1299114"/>
            <a:ext cx="469900" cy="469900"/>
          </a:xfrm>
          <a:prstGeom prst="rect">
            <a:avLst/>
          </a:prstGeom>
          <a:solidFill>
            <a:srgbClr val="4CC7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9" name="Rectangle 88"/>
          <p:cNvSpPr/>
          <p:nvPr/>
        </p:nvSpPr>
        <p:spPr>
          <a:xfrm>
            <a:off x="14211297" y="0"/>
            <a:ext cx="469900" cy="469900"/>
          </a:xfrm>
          <a:prstGeom prst="rect">
            <a:avLst/>
          </a:prstGeom>
          <a:solidFill>
            <a:srgbClr val="5553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0" name="Rectangle 89"/>
          <p:cNvSpPr/>
          <p:nvPr/>
        </p:nvSpPr>
        <p:spPr>
          <a:xfrm>
            <a:off x="14211297" y="649557"/>
            <a:ext cx="469900" cy="469900"/>
          </a:xfrm>
          <a:prstGeom prst="rect">
            <a:avLst/>
          </a:prstGeom>
          <a:solidFill>
            <a:srgbClr val="3B39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1" name="Rectangle 90"/>
          <p:cNvSpPr/>
          <p:nvPr/>
        </p:nvSpPr>
        <p:spPr>
          <a:xfrm>
            <a:off x="14211297" y="1299114"/>
            <a:ext cx="469900" cy="469900"/>
          </a:xfrm>
          <a:prstGeom prst="rect">
            <a:avLst/>
          </a:prstGeom>
          <a:solidFill>
            <a:srgbClr val="2523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964874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PowerPoint Presentation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852138-FCC6-44DD-9FFC-1C789392E7AA}" type="datetime1">
              <a:rPr lang="en-US" smtClean="0"/>
              <a:t>11/15/2018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06E70-9524-410D-AE9B-78D656EAA14D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80" name="Rectangle 79"/>
          <p:cNvSpPr/>
          <p:nvPr/>
        </p:nvSpPr>
        <p:spPr>
          <a:xfrm>
            <a:off x="12344400" y="0"/>
            <a:ext cx="469900" cy="469900"/>
          </a:xfrm>
          <a:prstGeom prst="rect">
            <a:avLst/>
          </a:pr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Rectangle 80"/>
          <p:cNvSpPr/>
          <p:nvPr/>
        </p:nvSpPr>
        <p:spPr>
          <a:xfrm>
            <a:off x="12344400" y="649557"/>
            <a:ext cx="469900" cy="469900"/>
          </a:xfrm>
          <a:prstGeom prst="rect">
            <a:avLst/>
          </a:prstGeom>
          <a:solidFill>
            <a:srgbClr val="AFAB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2" name="Rectangle 81"/>
          <p:cNvSpPr/>
          <p:nvPr/>
        </p:nvSpPr>
        <p:spPr>
          <a:xfrm>
            <a:off x="12344400" y="1299114"/>
            <a:ext cx="469900" cy="469900"/>
          </a:xfrm>
          <a:prstGeom prst="rect">
            <a:avLst/>
          </a:prstGeom>
          <a:solidFill>
            <a:srgbClr val="7671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Rectangle 82"/>
          <p:cNvSpPr/>
          <p:nvPr/>
        </p:nvSpPr>
        <p:spPr>
          <a:xfrm>
            <a:off x="12966699" y="0"/>
            <a:ext cx="469900" cy="469900"/>
          </a:xfrm>
          <a:prstGeom prst="rect">
            <a:avLst/>
          </a:prstGeom>
          <a:solidFill>
            <a:srgbClr val="E878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Rectangle 83"/>
          <p:cNvSpPr/>
          <p:nvPr/>
        </p:nvSpPr>
        <p:spPr>
          <a:xfrm>
            <a:off x="12966699" y="649557"/>
            <a:ext cx="469900" cy="469900"/>
          </a:xfrm>
          <a:prstGeom prst="rect">
            <a:avLst/>
          </a:prstGeom>
          <a:solidFill>
            <a:srgbClr val="E258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5" name="Rectangle 84"/>
          <p:cNvSpPr/>
          <p:nvPr/>
        </p:nvSpPr>
        <p:spPr>
          <a:xfrm>
            <a:off x="12966699" y="1299114"/>
            <a:ext cx="469900" cy="469900"/>
          </a:xfrm>
          <a:prstGeom prst="rect">
            <a:avLst/>
          </a:prstGeom>
          <a:solidFill>
            <a:srgbClr val="D63E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6" name="Rectangle 85"/>
          <p:cNvSpPr/>
          <p:nvPr/>
        </p:nvSpPr>
        <p:spPr>
          <a:xfrm>
            <a:off x="13588998" y="0"/>
            <a:ext cx="469900" cy="469900"/>
          </a:xfrm>
          <a:prstGeom prst="rect">
            <a:avLst/>
          </a:prstGeom>
          <a:solidFill>
            <a:srgbClr val="8EDC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7" name="Rectangle 86"/>
          <p:cNvSpPr/>
          <p:nvPr/>
        </p:nvSpPr>
        <p:spPr>
          <a:xfrm>
            <a:off x="13588998" y="649557"/>
            <a:ext cx="469900" cy="469900"/>
          </a:xfrm>
          <a:prstGeom prst="rect">
            <a:avLst/>
          </a:prstGeom>
          <a:solidFill>
            <a:srgbClr val="78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8" name="Rectangle 87"/>
          <p:cNvSpPr/>
          <p:nvPr/>
        </p:nvSpPr>
        <p:spPr>
          <a:xfrm>
            <a:off x="13588998" y="1299114"/>
            <a:ext cx="469900" cy="469900"/>
          </a:xfrm>
          <a:prstGeom prst="rect">
            <a:avLst/>
          </a:prstGeom>
          <a:solidFill>
            <a:srgbClr val="4CC7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9" name="Rectangle 88"/>
          <p:cNvSpPr/>
          <p:nvPr/>
        </p:nvSpPr>
        <p:spPr>
          <a:xfrm>
            <a:off x="14211297" y="0"/>
            <a:ext cx="469900" cy="469900"/>
          </a:xfrm>
          <a:prstGeom prst="rect">
            <a:avLst/>
          </a:prstGeom>
          <a:solidFill>
            <a:srgbClr val="5553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0" name="Rectangle 89"/>
          <p:cNvSpPr/>
          <p:nvPr/>
        </p:nvSpPr>
        <p:spPr>
          <a:xfrm>
            <a:off x="14211297" y="649557"/>
            <a:ext cx="469900" cy="469900"/>
          </a:xfrm>
          <a:prstGeom prst="rect">
            <a:avLst/>
          </a:prstGeom>
          <a:solidFill>
            <a:srgbClr val="3B39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1" name="Rectangle 90"/>
          <p:cNvSpPr/>
          <p:nvPr/>
        </p:nvSpPr>
        <p:spPr>
          <a:xfrm>
            <a:off x="14211297" y="1299114"/>
            <a:ext cx="469900" cy="469900"/>
          </a:xfrm>
          <a:prstGeom prst="rect">
            <a:avLst/>
          </a:prstGeom>
          <a:solidFill>
            <a:srgbClr val="2523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" name="Group 4"/>
          <p:cNvGrpSpPr/>
          <p:nvPr/>
        </p:nvGrpSpPr>
        <p:grpSpPr>
          <a:xfrm>
            <a:off x="1650469" y="1161050"/>
            <a:ext cx="8891062" cy="5175485"/>
            <a:chOff x="378108" y="1603366"/>
            <a:chExt cx="8438322" cy="4911945"/>
          </a:xfrm>
        </p:grpSpPr>
        <p:grpSp>
          <p:nvGrpSpPr>
            <p:cNvPr id="92" name="Group 91"/>
            <p:cNvGrpSpPr/>
            <p:nvPr/>
          </p:nvGrpSpPr>
          <p:grpSpPr>
            <a:xfrm>
              <a:off x="395288" y="1603366"/>
              <a:ext cx="8421142" cy="3873499"/>
              <a:chOff x="395288" y="1498601"/>
              <a:chExt cx="8421142" cy="3873499"/>
            </a:xfrm>
          </p:grpSpPr>
          <p:graphicFrame>
            <p:nvGraphicFramePr>
              <p:cNvPr id="93" name="Chart 92"/>
              <p:cNvGraphicFramePr/>
              <p:nvPr>
                <p:extLst>
                  <p:ext uri="{D42A27DB-BD31-4B8C-83A1-F6EECF244321}">
                    <p14:modId xmlns:p14="http://schemas.microsoft.com/office/powerpoint/2010/main" val="2879865570"/>
                  </p:ext>
                </p:extLst>
              </p:nvPr>
            </p:nvGraphicFramePr>
            <p:xfrm>
              <a:off x="395288" y="1498601"/>
              <a:ext cx="8421142" cy="3873499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2"/>
              </a:graphicData>
            </a:graphic>
          </p:graphicFrame>
          <p:sp>
            <p:nvSpPr>
              <p:cNvPr id="94" name="TextBox 93"/>
              <p:cNvSpPr txBox="1"/>
              <p:nvPr/>
            </p:nvSpPr>
            <p:spPr>
              <a:xfrm flipH="1">
                <a:off x="830996" y="2166185"/>
                <a:ext cx="1416407" cy="292105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ea typeface="+mn-ea"/>
                    <a:cs typeface="+mn-cs"/>
                  </a:rPr>
                  <a:t>Lorem </a:t>
                </a:r>
                <a:r>
                  <a:rPr kumimoji="0" lang="en-US" sz="1000" b="0" i="0" u="none" strike="noStrike" kern="1200" cap="none" spc="0" normalizeH="0" baseline="0" noProof="0" dirty="0" err="1">
                    <a:ln>
                      <a:noFill/>
                    </a:ln>
                    <a:effectLst/>
                    <a:uLnTx/>
                    <a:uFillTx/>
                    <a:ea typeface="+mn-ea"/>
                    <a:cs typeface="+mn-cs"/>
                  </a:rPr>
                  <a:t>Ipsum</a:t>
                </a: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ea typeface="+mn-ea"/>
                    <a:cs typeface="+mn-cs"/>
                  </a:rPr>
                  <a:t> is simply dummy text of the printing.</a:t>
                </a:r>
              </a:p>
            </p:txBody>
          </p:sp>
          <p:sp>
            <p:nvSpPr>
              <p:cNvPr id="95" name="TextBox 94"/>
              <p:cNvSpPr txBox="1"/>
              <p:nvPr/>
            </p:nvSpPr>
            <p:spPr>
              <a:xfrm flipH="1">
                <a:off x="1284974" y="2014231"/>
                <a:ext cx="962430" cy="146052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E2583D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LOREM IPSUM</a:t>
                </a:r>
              </a:p>
            </p:txBody>
          </p:sp>
          <p:grpSp>
            <p:nvGrpSpPr>
              <p:cNvPr id="96" name="Group 95"/>
              <p:cNvGrpSpPr/>
              <p:nvPr/>
            </p:nvGrpSpPr>
            <p:grpSpPr>
              <a:xfrm>
                <a:off x="1929673" y="1674940"/>
                <a:ext cx="320085" cy="320085"/>
                <a:chOff x="2462682" y="1738419"/>
                <a:chExt cx="515499" cy="515499"/>
              </a:xfrm>
            </p:grpSpPr>
            <p:sp>
              <p:nvSpPr>
                <p:cNvPr id="135" name="Oval 134"/>
                <p:cNvSpPr/>
                <p:nvPr/>
              </p:nvSpPr>
              <p:spPr>
                <a:xfrm>
                  <a:off x="2462682" y="1738419"/>
                  <a:ext cx="515499" cy="515499"/>
                </a:xfrm>
                <a:prstGeom prst="ellipse">
                  <a:avLst/>
                </a:prstGeom>
                <a:solidFill>
                  <a:srgbClr val="E2583D"/>
                </a:solidFill>
                <a:ln>
                  <a:noFill/>
                </a:ln>
                <a:effectLst>
                  <a:outerShdw blurRad="25400" dist="25400" dir="5400000" algn="t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grpSp>
              <p:nvGrpSpPr>
                <p:cNvPr id="136" name="Group 135"/>
                <p:cNvGrpSpPr>
                  <a:grpSpLocks noChangeAspect="1"/>
                </p:cNvGrpSpPr>
                <p:nvPr/>
              </p:nvGrpSpPr>
              <p:grpSpPr>
                <a:xfrm>
                  <a:off x="2571670" y="1847408"/>
                  <a:ext cx="297523" cy="297521"/>
                  <a:chOff x="1204913" y="5033963"/>
                  <a:chExt cx="371476" cy="371475"/>
                </a:xfrm>
                <a:solidFill>
                  <a:schemeClr val="bg1"/>
                </a:solidFill>
              </p:grpSpPr>
              <p:sp>
                <p:nvSpPr>
                  <p:cNvPr id="137" name="Freeform 6"/>
                  <p:cNvSpPr>
                    <a:spLocks noEditPoints="1"/>
                  </p:cNvSpPr>
                  <p:nvPr/>
                </p:nvSpPr>
                <p:spPr bwMode="auto">
                  <a:xfrm>
                    <a:off x="1282701" y="5219701"/>
                    <a:ext cx="107950" cy="107950"/>
                  </a:xfrm>
                  <a:custGeom>
                    <a:avLst/>
                    <a:gdLst>
                      <a:gd name="T0" fmla="*/ 14 w 28"/>
                      <a:gd name="T1" fmla="*/ 28 h 28"/>
                      <a:gd name="T2" fmla="*/ 0 w 28"/>
                      <a:gd name="T3" fmla="*/ 14 h 28"/>
                      <a:gd name="T4" fmla="*/ 14 w 28"/>
                      <a:gd name="T5" fmla="*/ 0 h 28"/>
                      <a:gd name="T6" fmla="*/ 28 w 28"/>
                      <a:gd name="T7" fmla="*/ 14 h 28"/>
                      <a:gd name="T8" fmla="*/ 14 w 28"/>
                      <a:gd name="T9" fmla="*/ 28 h 28"/>
                      <a:gd name="T10" fmla="*/ 14 w 28"/>
                      <a:gd name="T11" fmla="*/ 4 h 28"/>
                      <a:gd name="T12" fmla="*/ 4 w 28"/>
                      <a:gd name="T13" fmla="*/ 14 h 28"/>
                      <a:gd name="T14" fmla="*/ 14 w 28"/>
                      <a:gd name="T15" fmla="*/ 24 h 28"/>
                      <a:gd name="T16" fmla="*/ 24 w 28"/>
                      <a:gd name="T17" fmla="*/ 14 h 28"/>
                      <a:gd name="T18" fmla="*/ 14 w 28"/>
                      <a:gd name="T19" fmla="*/ 4 h 2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28" h="28">
                        <a:moveTo>
                          <a:pt x="14" y="28"/>
                        </a:moveTo>
                        <a:cubicBezTo>
                          <a:pt x="6" y="28"/>
                          <a:pt x="0" y="22"/>
                          <a:pt x="0" y="14"/>
                        </a:cubicBezTo>
                        <a:cubicBezTo>
                          <a:pt x="0" y="6"/>
                          <a:pt x="6" y="0"/>
                          <a:pt x="14" y="0"/>
                        </a:cubicBezTo>
                        <a:cubicBezTo>
                          <a:pt x="22" y="0"/>
                          <a:pt x="28" y="6"/>
                          <a:pt x="28" y="14"/>
                        </a:cubicBezTo>
                        <a:cubicBezTo>
                          <a:pt x="28" y="22"/>
                          <a:pt x="22" y="28"/>
                          <a:pt x="14" y="28"/>
                        </a:cubicBezTo>
                        <a:close/>
                        <a:moveTo>
                          <a:pt x="14" y="4"/>
                        </a:moveTo>
                        <a:cubicBezTo>
                          <a:pt x="8" y="4"/>
                          <a:pt x="4" y="8"/>
                          <a:pt x="4" y="14"/>
                        </a:cubicBezTo>
                        <a:cubicBezTo>
                          <a:pt x="4" y="20"/>
                          <a:pt x="8" y="24"/>
                          <a:pt x="14" y="24"/>
                        </a:cubicBezTo>
                        <a:cubicBezTo>
                          <a:pt x="20" y="24"/>
                          <a:pt x="24" y="20"/>
                          <a:pt x="24" y="14"/>
                        </a:cubicBezTo>
                        <a:cubicBezTo>
                          <a:pt x="24" y="8"/>
                          <a:pt x="20" y="4"/>
                          <a:pt x="14" y="4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8" name="Freeform 7"/>
                  <p:cNvSpPr>
                    <a:spLocks noEditPoints="1"/>
                  </p:cNvSpPr>
                  <p:nvPr/>
                </p:nvSpPr>
                <p:spPr bwMode="auto">
                  <a:xfrm>
                    <a:off x="1204913" y="5141913"/>
                    <a:ext cx="263525" cy="263525"/>
                  </a:xfrm>
                  <a:custGeom>
                    <a:avLst/>
                    <a:gdLst>
                      <a:gd name="T0" fmla="*/ 26 w 68"/>
                      <a:gd name="T1" fmla="*/ 68 h 68"/>
                      <a:gd name="T2" fmla="*/ 24 w 68"/>
                      <a:gd name="T3" fmla="*/ 60 h 68"/>
                      <a:gd name="T4" fmla="*/ 11 w 68"/>
                      <a:gd name="T5" fmla="*/ 59 h 68"/>
                      <a:gd name="T6" fmla="*/ 1 w 68"/>
                      <a:gd name="T7" fmla="*/ 44 h 68"/>
                      <a:gd name="T8" fmla="*/ 1 w 68"/>
                      <a:gd name="T9" fmla="*/ 41 h 68"/>
                      <a:gd name="T10" fmla="*/ 6 w 68"/>
                      <a:gd name="T11" fmla="*/ 30 h 68"/>
                      <a:gd name="T12" fmla="*/ 1 w 68"/>
                      <a:gd name="T13" fmla="*/ 24 h 68"/>
                      <a:gd name="T14" fmla="*/ 10 w 68"/>
                      <a:gd name="T15" fmla="*/ 9 h 68"/>
                      <a:gd name="T16" fmla="*/ 16 w 68"/>
                      <a:gd name="T17" fmla="*/ 12 h 68"/>
                      <a:gd name="T18" fmla="*/ 24 w 68"/>
                      <a:gd name="T19" fmla="*/ 2 h 68"/>
                      <a:gd name="T20" fmla="*/ 42 w 68"/>
                      <a:gd name="T21" fmla="*/ 0 h 68"/>
                      <a:gd name="T22" fmla="*/ 44 w 68"/>
                      <a:gd name="T23" fmla="*/ 8 h 68"/>
                      <a:gd name="T24" fmla="*/ 57 w 68"/>
                      <a:gd name="T25" fmla="*/ 9 h 68"/>
                      <a:gd name="T26" fmla="*/ 67 w 68"/>
                      <a:gd name="T27" fmla="*/ 24 h 68"/>
                      <a:gd name="T28" fmla="*/ 62 w 68"/>
                      <a:gd name="T29" fmla="*/ 30 h 68"/>
                      <a:gd name="T30" fmla="*/ 67 w 68"/>
                      <a:gd name="T31" fmla="*/ 41 h 68"/>
                      <a:gd name="T32" fmla="*/ 67 w 68"/>
                      <a:gd name="T33" fmla="*/ 44 h 68"/>
                      <a:gd name="T34" fmla="*/ 58 w 68"/>
                      <a:gd name="T35" fmla="*/ 59 h 68"/>
                      <a:gd name="T36" fmla="*/ 52 w 68"/>
                      <a:gd name="T37" fmla="*/ 56 h 68"/>
                      <a:gd name="T38" fmla="*/ 44 w 68"/>
                      <a:gd name="T39" fmla="*/ 66 h 68"/>
                      <a:gd name="T40" fmla="*/ 28 w 68"/>
                      <a:gd name="T41" fmla="*/ 64 h 68"/>
                      <a:gd name="T42" fmla="*/ 40 w 68"/>
                      <a:gd name="T43" fmla="*/ 59 h 68"/>
                      <a:gd name="T44" fmla="*/ 50 w 68"/>
                      <a:gd name="T45" fmla="*/ 52 h 68"/>
                      <a:gd name="T46" fmla="*/ 57 w 68"/>
                      <a:gd name="T47" fmla="*/ 54 h 68"/>
                      <a:gd name="T48" fmla="*/ 58 w 68"/>
                      <a:gd name="T49" fmla="*/ 41 h 68"/>
                      <a:gd name="T50" fmla="*/ 57 w 68"/>
                      <a:gd name="T51" fmla="*/ 29 h 68"/>
                      <a:gd name="T52" fmla="*/ 63 w 68"/>
                      <a:gd name="T53" fmla="*/ 24 h 68"/>
                      <a:gd name="T54" fmla="*/ 52 w 68"/>
                      <a:gd name="T55" fmla="*/ 16 h 68"/>
                      <a:gd name="T56" fmla="*/ 41 w 68"/>
                      <a:gd name="T57" fmla="*/ 11 h 68"/>
                      <a:gd name="T58" fmla="*/ 40 w 68"/>
                      <a:gd name="T59" fmla="*/ 4 h 68"/>
                      <a:gd name="T60" fmla="*/ 28 w 68"/>
                      <a:gd name="T61" fmla="*/ 9 h 68"/>
                      <a:gd name="T62" fmla="*/ 18 w 68"/>
                      <a:gd name="T63" fmla="*/ 16 h 68"/>
                      <a:gd name="T64" fmla="*/ 11 w 68"/>
                      <a:gd name="T65" fmla="*/ 14 h 68"/>
                      <a:gd name="T66" fmla="*/ 10 w 68"/>
                      <a:gd name="T67" fmla="*/ 27 h 68"/>
                      <a:gd name="T68" fmla="*/ 11 w 68"/>
                      <a:gd name="T69" fmla="*/ 39 h 68"/>
                      <a:gd name="T70" fmla="*/ 5 w 68"/>
                      <a:gd name="T71" fmla="*/ 44 h 68"/>
                      <a:gd name="T72" fmla="*/ 16 w 68"/>
                      <a:gd name="T73" fmla="*/ 52 h 68"/>
                      <a:gd name="T74" fmla="*/ 27 w 68"/>
                      <a:gd name="T75" fmla="*/ 57 h 68"/>
                      <a:gd name="T76" fmla="*/ 28 w 68"/>
                      <a:gd name="T77" fmla="*/ 64 h 6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</a:cxnLst>
                    <a:rect l="0" t="0" r="r" b="b"/>
                    <a:pathLst>
                      <a:path w="68" h="68">
                        <a:moveTo>
                          <a:pt x="42" y="68"/>
                        </a:moveTo>
                        <a:cubicBezTo>
                          <a:pt x="26" y="68"/>
                          <a:pt x="26" y="68"/>
                          <a:pt x="26" y="68"/>
                        </a:cubicBezTo>
                        <a:cubicBezTo>
                          <a:pt x="25" y="68"/>
                          <a:pt x="24" y="67"/>
                          <a:pt x="24" y="66"/>
                        </a:cubicBezTo>
                        <a:cubicBezTo>
                          <a:pt x="24" y="60"/>
                          <a:pt x="24" y="60"/>
                          <a:pt x="24" y="60"/>
                        </a:cubicBezTo>
                        <a:cubicBezTo>
                          <a:pt x="21" y="59"/>
                          <a:pt x="19" y="58"/>
                          <a:pt x="16" y="56"/>
                        </a:cubicBezTo>
                        <a:cubicBezTo>
                          <a:pt x="11" y="59"/>
                          <a:pt x="11" y="59"/>
                          <a:pt x="11" y="59"/>
                        </a:cubicBezTo>
                        <a:cubicBezTo>
                          <a:pt x="10" y="59"/>
                          <a:pt x="9" y="59"/>
                          <a:pt x="9" y="58"/>
                        </a:cubicBezTo>
                        <a:cubicBezTo>
                          <a:pt x="1" y="44"/>
                          <a:pt x="1" y="44"/>
                          <a:pt x="1" y="44"/>
                        </a:cubicBezTo>
                        <a:cubicBezTo>
                          <a:pt x="0" y="44"/>
                          <a:pt x="0" y="43"/>
                          <a:pt x="0" y="43"/>
                        </a:cubicBezTo>
                        <a:cubicBezTo>
                          <a:pt x="0" y="42"/>
                          <a:pt x="1" y="42"/>
                          <a:pt x="1" y="41"/>
                        </a:cubicBezTo>
                        <a:cubicBezTo>
                          <a:pt x="6" y="38"/>
                          <a:pt x="6" y="38"/>
                          <a:pt x="6" y="38"/>
                        </a:cubicBezTo>
                        <a:cubicBezTo>
                          <a:pt x="6" y="35"/>
                          <a:pt x="6" y="33"/>
                          <a:pt x="6" y="30"/>
                        </a:cubicBezTo>
                        <a:cubicBezTo>
                          <a:pt x="1" y="27"/>
                          <a:pt x="1" y="27"/>
                          <a:pt x="1" y="27"/>
                        </a:cubicBezTo>
                        <a:cubicBezTo>
                          <a:pt x="0" y="26"/>
                          <a:pt x="0" y="25"/>
                          <a:pt x="1" y="24"/>
                        </a:cubicBezTo>
                        <a:cubicBezTo>
                          <a:pt x="9" y="10"/>
                          <a:pt x="9" y="10"/>
                          <a:pt x="9" y="10"/>
                        </a:cubicBezTo>
                        <a:cubicBezTo>
                          <a:pt x="9" y="10"/>
                          <a:pt x="9" y="9"/>
                          <a:pt x="10" y="9"/>
                        </a:cubicBezTo>
                        <a:cubicBezTo>
                          <a:pt x="10" y="9"/>
                          <a:pt x="11" y="9"/>
                          <a:pt x="11" y="9"/>
                        </a:cubicBezTo>
                        <a:cubicBezTo>
                          <a:pt x="16" y="12"/>
                          <a:pt x="16" y="12"/>
                          <a:pt x="16" y="12"/>
                        </a:cubicBezTo>
                        <a:cubicBezTo>
                          <a:pt x="19" y="10"/>
                          <a:pt x="21" y="9"/>
                          <a:pt x="24" y="8"/>
                        </a:cubicBezTo>
                        <a:cubicBezTo>
                          <a:pt x="24" y="2"/>
                          <a:pt x="24" y="2"/>
                          <a:pt x="24" y="2"/>
                        </a:cubicBezTo>
                        <a:cubicBezTo>
                          <a:pt x="24" y="1"/>
                          <a:pt x="25" y="0"/>
                          <a:pt x="26" y="0"/>
                        </a:cubicBezTo>
                        <a:cubicBezTo>
                          <a:pt x="42" y="0"/>
                          <a:pt x="42" y="0"/>
                          <a:pt x="42" y="0"/>
                        </a:cubicBezTo>
                        <a:cubicBezTo>
                          <a:pt x="43" y="0"/>
                          <a:pt x="44" y="1"/>
                          <a:pt x="44" y="2"/>
                        </a:cubicBezTo>
                        <a:cubicBezTo>
                          <a:pt x="44" y="8"/>
                          <a:pt x="44" y="8"/>
                          <a:pt x="44" y="8"/>
                        </a:cubicBezTo>
                        <a:cubicBezTo>
                          <a:pt x="47" y="9"/>
                          <a:pt x="49" y="10"/>
                          <a:pt x="52" y="12"/>
                        </a:cubicBezTo>
                        <a:cubicBezTo>
                          <a:pt x="57" y="9"/>
                          <a:pt x="57" y="9"/>
                          <a:pt x="57" y="9"/>
                        </a:cubicBezTo>
                        <a:cubicBezTo>
                          <a:pt x="58" y="9"/>
                          <a:pt x="59" y="9"/>
                          <a:pt x="59" y="10"/>
                        </a:cubicBezTo>
                        <a:cubicBezTo>
                          <a:pt x="67" y="24"/>
                          <a:pt x="67" y="24"/>
                          <a:pt x="67" y="24"/>
                        </a:cubicBezTo>
                        <a:cubicBezTo>
                          <a:pt x="68" y="25"/>
                          <a:pt x="68" y="26"/>
                          <a:pt x="67" y="27"/>
                        </a:cubicBezTo>
                        <a:cubicBezTo>
                          <a:pt x="62" y="30"/>
                          <a:pt x="62" y="30"/>
                          <a:pt x="62" y="30"/>
                        </a:cubicBezTo>
                        <a:cubicBezTo>
                          <a:pt x="62" y="33"/>
                          <a:pt x="62" y="35"/>
                          <a:pt x="62" y="38"/>
                        </a:cubicBezTo>
                        <a:cubicBezTo>
                          <a:pt x="67" y="41"/>
                          <a:pt x="67" y="41"/>
                          <a:pt x="67" y="41"/>
                        </a:cubicBezTo>
                        <a:cubicBezTo>
                          <a:pt x="67" y="42"/>
                          <a:pt x="68" y="42"/>
                          <a:pt x="68" y="43"/>
                        </a:cubicBezTo>
                        <a:cubicBezTo>
                          <a:pt x="68" y="43"/>
                          <a:pt x="68" y="44"/>
                          <a:pt x="67" y="44"/>
                        </a:cubicBezTo>
                        <a:cubicBezTo>
                          <a:pt x="59" y="58"/>
                          <a:pt x="59" y="58"/>
                          <a:pt x="59" y="58"/>
                        </a:cubicBezTo>
                        <a:cubicBezTo>
                          <a:pt x="59" y="58"/>
                          <a:pt x="59" y="59"/>
                          <a:pt x="58" y="59"/>
                        </a:cubicBezTo>
                        <a:cubicBezTo>
                          <a:pt x="58" y="59"/>
                          <a:pt x="57" y="59"/>
                          <a:pt x="57" y="59"/>
                        </a:cubicBezTo>
                        <a:cubicBezTo>
                          <a:pt x="52" y="56"/>
                          <a:pt x="52" y="56"/>
                          <a:pt x="52" y="56"/>
                        </a:cubicBezTo>
                        <a:cubicBezTo>
                          <a:pt x="49" y="58"/>
                          <a:pt x="47" y="59"/>
                          <a:pt x="44" y="60"/>
                        </a:cubicBezTo>
                        <a:cubicBezTo>
                          <a:pt x="44" y="66"/>
                          <a:pt x="44" y="66"/>
                          <a:pt x="44" y="66"/>
                        </a:cubicBezTo>
                        <a:cubicBezTo>
                          <a:pt x="44" y="67"/>
                          <a:pt x="43" y="68"/>
                          <a:pt x="42" y="68"/>
                        </a:cubicBezTo>
                        <a:close/>
                        <a:moveTo>
                          <a:pt x="28" y="64"/>
                        </a:moveTo>
                        <a:cubicBezTo>
                          <a:pt x="40" y="64"/>
                          <a:pt x="40" y="64"/>
                          <a:pt x="40" y="64"/>
                        </a:cubicBezTo>
                        <a:cubicBezTo>
                          <a:pt x="40" y="59"/>
                          <a:pt x="40" y="59"/>
                          <a:pt x="40" y="59"/>
                        </a:cubicBezTo>
                        <a:cubicBezTo>
                          <a:pt x="40" y="58"/>
                          <a:pt x="41" y="57"/>
                          <a:pt x="41" y="57"/>
                        </a:cubicBezTo>
                        <a:cubicBezTo>
                          <a:pt x="45" y="56"/>
                          <a:pt x="48" y="54"/>
                          <a:pt x="50" y="52"/>
                        </a:cubicBezTo>
                        <a:cubicBezTo>
                          <a:pt x="51" y="51"/>
                          <a:pt x="52" y="51"/>
                          <a:pt x="52" y="52"/>
                        </a:cubicBezTo>
                        <a:cubicBezTo>
                          <a:pt x="57" y="54"/>
                          <a:pt x="57" y="54"/>
                          <a:pt x="57" y="54"/>
                        </a:cubicBezTo>
                        <a:cubicBezTo>
                          <a:pt x="63" y="44"/>
                          <a:pt x="63" y="44"/>
                          <a:pt x="63" y="44"/>
                        </a:cubicBezTo>
                        <a:cubicBezTo>
                          <a:pt x="58" y="41"/>
                          <a:pt x="58" y="41"/>
                          <a:pt x="58" y="41"/>
                        </a:cubicBezTo>
                        <a:cubicBezTo>
                          <a:pt x="58" y="41"/>
                          <a:pt x="57" y="40"/>
                          <a:pt x="57" y="39"/>
                        </a:cubicBezTo>
                        <a:cubicBezTo>
                          <a:pt x="58" y="36"/>
                          <a:pt x="58" y="32"/>
                          <a:pt x="57" y="29"/>
                        </a:cubicBezTo>
                        <a:cubicBezTo>
                          <a:pt x="57" y="28"/>
                          <a:pt x="58" y="27"/>
                          <a:pt x="58" y="27"/>
                        </a:cubicBezTo>
                        <a:cubicBezTo>
                          <a:pt x="63" y="24"/>
                          <a:pt x="63" y="24"/>
                          <a:pt x="63" y="24"/>
                        </a:cubicBezTo>
                        <a:cubicBezTo>
                          <a:pt x="57" y="14"/>
                          <a:pt x="57" y="14"/>
                          <a:pt x="57" y="14"/>
                        </a:cubicBezTo>
                        <a:cubicBezTo>
                          <a:pt x="52" y="16"/>
                          <a:pt x="52" y="16"/>
                          <a:pt x="52" y="16"/>
                        </a:cubicBezTo>
                        <a:cubicBezTo>
                          <a:pt x="52" y="17"/>
                          <a:pt x="51" y="17"/>
                          <a:pt x="50" y="16"/>
                        </a:cubicBezTo>
                        <a:cubicBezTo>
                          <a:pt x="48" y="14"/>
                          <a:pt x="45" y="12"/>
                          <a:pt x="41" y="11"/>
                        </a:cubicBezTo>
                        <a:cubicBezTo>
                          <a:pt x="41" y="11"/>
                          <a:pt x="40" y="10"/>
                          <a:pt x="40" y="9"/>
                        </a:cubicBezTo>
                        <a:cubicBezTo>
                          <a:pt x="40" y="4"/>
                          <a:pt x="40" y="4"/>
                          <a:pt x="40" y="4"/>
                        </a:cubicBezTo>
                        <a:cubicBezTo>
                          <a:pt x="28" y="4"/>
                          <a:pt x="28" y="4"/>
                          <a:pt x="28" y="4"/>
                        </a:cubicBezTo>
                        <a:cubicBezTo>
                          <a:pt x="28" y="9"/>
                          <a:pt x="28" y="9"/>
                          <a:pt x="28" y="9"/>
                        </a:cubicBezTo>
                        <a:cubicBezTo>
                          <a:pt x="28" y="10"/>
                          <a:pt x="27" y="11"/>
                          <a:pt x="27" y="11"/>
                        </a:cubicBezTo>
                        <a:cubicBezTo>
                          <a:pt x="23" y="12"/>
                          <a:pt x="20" y="14"/>
                          <a:pt x="18" y="16"/>
                        </a:cubicBezTo>
                        <a:cubicBezTo>
                          <a:pt x="17" y="17"/>
                          <a:pt x="16" y="17"/>
                          <a:pt x="16" y="16"/>
                        </a:cubicBezTo>
                        <a:cubicBezTo>
                          <a:pt x="11" y="14"/>
                          <a:pt x="11" y="14"/>
                          <a:pt x="11" y="14"/>
                        </a:cubicBezTo>
                        <a:cubicBezTo>
                          <a:pt x="5" y="24"/>
                          <a:pt x="5" y="24"/>
                          <a:pt x="5" y="24"/>
                        </a:cubicBezTo>
                        <a:cubicBezTo>
                          <a:pt x="10" y="27"/>
                          <a:pt x="10" y="27"/>
                          <a:pt x="10" y="27"/>
                        </a:cubicBezTo>
                        <a:cubicBezTo>
                          <a:pt x="10" y="27"/>
                          <a:pt x="11" y="28"/>
                          <a:pt x="11" y="29"/>
                        </a:cubicBezTo>
                        <a:cubicBezTo>
                          <a:pt x="10" y="32"/>
                          <a:pt x="10" y="36"/>
                          <a:pt x="11" y="39"/>
                        </a:cubicBezTo>
                        <a:cubicBezTo>
                          <a:pt x="11" y="40"/>
                          <a:pt x="10" y="41"/>
                          <a:pt x="10" y="41"/>
                        </a:cubicBezTo>
                        <a:cubicBezTo>
                          <a:pt x="5" y="44"/>
                          <a:pt x="5" y="44"/>
                          <a:pt x="5" y="44"/>
                        </a:cubicBezTo>
                        <a:cubicBezTo>
                          <a:pt x="11" y="54"/>
                          <a:pt x="11" y="54"/>
                          <a:pt x="11" y="54"/>
                        </a:cubicBezTo>
                        <a:cubicBezTo>
                          <a:pt x="16" y="52"/>
                          <a:pt x="16" y="52"/>
                          <a:pt x="16" y="52"/>
                        </a:cubicBezTo>
                        <a:cubicBezTo>
                          <a:pt x="16" y="51"/>
                          <a:pt x="17" y="51"/>
                          <a:pt x="18" y="52"/>
                        </a:cubicBezTo>
                        <a:cubicBezTo>
                          <a:pt x="20" y="54"/>
                          <a:pt x="23" y="56"/>
                          <a:pt x="27" y="57"/>
                        </a:cubicBezTo>
                        <a:cubicBezTo>
                          <a:pt x="27" y="57"/>
                          <a:pt x="28" y="58"/>
                          <a:pt x="28" y="59"/>
                        </a:cubicBezTo>
                        <a:lnTo>
                          <a:pt x="28" y="64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9" name="Freeform 8"/>
                  <p:cNvSpPr>
                    <a:spLocks noEditPoints="1"/>
                  </p:cNvSpPr>
                  <p:nvPr/>
                </p:nvSpPr>
                <p:spPr bwMode="auto">
                  <a:xfrm>
                    <a:off x="1468438" y="5080001"/>
                    <a:ext cx="61913" cy="61913"/>
                  </a:xfrm>
                  <a:custGeom>
                    <a:avLst/>
                    <a:gdLst>
                      <a:gd name="T0" fmla="*/ 8 w 16"/>
                      <a:gd name="T1" fmla="*/ 16 h 16"/>
                      <a:gd name="T2" fmla="*/ 0 w 16"/>
                      <a:gd name="T3" fmla="*/ 8 h 16"/>
                      <a:gd name="T4" fmla="*/ 8 w 16"/>
                      <a:gd name="T5" fmla="*/ 0 h 16"/>
                      <a:gd name="T6" fmla="*/ 16 w 16"/>
                      <a:gd name="T7" fmla="*/ 8 h 16"/>
                      <a:gd name="T8" fmla="*/ 8 w 16"/>
                      <a:gd name="T9" fmla="*/ 16 h 16"/>
                      <a:gd name="T10" fmla="*/ 8 w 16"/>
                      <a:gd name="T11" fmla="*/ 4 h 16"/>
                      <a:gd name="T12" fmla="*/ 4 w 16"/>
                      <a:gd name="T13" fmla="*/ 8 h 16"/>
                      <a:gd name="T14" fmla="*/ 8 w 16"/>
                      <a:gd name="T15" fmla="*/ 12 h 16"/>
                      <a:gd name="T16" fmla="*/ 12 w 16"/>
                      <a:gd name="T17" fmla="*/ 8 h 16"/>
                      <a:gd name="T18" fmla="*/ 8 w 16"/>
                      <a:gd name="T19" fmla="*/ 4 h 1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16" h="16">
                        <a:moveTo>
                          <a:pt x="8" y="16"/>
                        </a:moveTo>
                        <a:cubicBezTo>
                          <a:pt x="4" y="16"/>
                          <a:pt x="0" y="12"/>
                          <a:pt x="0" y="8"/>
                        </a:cubicBezTo>
                        <a:cubicBezTo>
                          <a:pt x="0" y="4"/>
                          <a:pt x="4" y="0"/>
                          <a:pt x="8" y="0"/>
                        </a:cubicBezTo>
                        <a:cubicBezTo>
                          <a:pt x="12" y="0"/>
                          <a:pt x="16" y="4"/>
                          <a:pt x="16" y="8"/>
                        </a:cubicBezTo>
                        <a:cubicBezTo>
                          <a:pt x="16" y="12"/>
                          <a:pt x="12" y="16"/>
                          <a:pt x="8" y="16"/>
                        </a:cubicBezTo>
                        <a:close/>
                        <a:moveTo>
                          <a:pt x="8" y="4"/>
                        </a:moveTo>
                        <a:cubicBezTo>
                          <a:pt x="6" y="4"/>
                          <a:pt x="4" y="6"/>
                          <a:pt x="4" y="8"/>
                        </a:cubicBezTo>
                        <a:cubicBezTo>
                          <a:pt x="4" y="10"/>
                          <a:pt x="6" y="12"/>
                          <a:pt x="8" y="12"/>
                        </a:cubicBezTo>
                        <a:cubicBezTo>
                          <a:pt x="10" y="12"/>
                          <a:pt x="12" y="10"/>
                          <a:pt x="12" y="8"/>
                        </a:cubicBezTo>
                        <a:cubicBezTo>
                          <a:pt x="12" y="6"/>
                          <a:pt x="10" y="4"/>
                          <a:pt x="8" y="4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40" name="Freeform 9"/>
                  <p:cNvSpPr>
                    <a:spLocks noEditPoints="1"/>
                  </p:cNvSpPr>
                  <p:nvPr/>
                </p:nvSpPr>
                <p:spPr bwMode="auto">
                  <a:xfrm>
                    <a:off x="1422401" y="5033963"/>
                    <a:ext cx="153988" cy="155575"/>
                  </a:xfrm>
                  <a:custGeom>
                    <a:avLst/>
                    <a:gdLst>
                      <a:gd name="T0" fmla="*/ 16 w 40"/>
                      <a:gd name="T1" fmla="*/ 40 h 40"/>
                      <a:gd name="T2" fmla="*/ 14 w 40"/>
                      <a:gd name="T3" fmla="*/ 35 h 40"/>
                      <a:gd name="T4" fmla="*/ 7 w 40"/>
                      <a:gd name="T5" fmla="*/ 34 h 40"/>
                      <a:gd name="T6" fmla="*/ 5 w 40"/>
                      <a:gd name="T7" fmla="*/ 33 h 40"/>
                      <a:gd name="T8" fmla="*/ 1 w 40"/>
                      <a:gd name="T9" fmla="*/ 24 h 40"/>
                      <a:gd name="T10" fmla="*/ 4 w 40"/>
                      <a:gd name="T11" fmla="*/ 18 h 40"/>
                      <a:gd name="T12" fmla="*/ 0 w 40"/>
                      <a:gd name="T13" fmla="*/ 15 h 40"/>
                      <a:gd name="T14" fmla="*/ 5 w 40"/>
                      <a:gd name="T15" fmla="*/ 7 h 40"/>
                      <a:gd name="T16" fmla="*/ 7 w 40"/>
                      <a:gd name="T17" fmla="*/ 6 h 40"/>
                      <a:gd name="T18" fmla="*/ 14 w 40"/>
                      <a:gd name="T19" fmla="*/ 5 h 40"/>
                      <a:gd name="T20" fmla="*/ 16 w 40"/>
                      <a:gd name="T21" fmla="*/ 0 h 40"/>
                      <a:gd name="T22" fmla="*/ 26 w 40"/>
                      <a:gd name="T23" fmla="*/ 2 h 40"/>
                      <a:gd name="T24" fmla="*/ 30 w 40"/>
                      <a:gd name="T25" fmla="*/ 7 h 40"/>
                      <a:gd name="T26" fmla="*/ 34 w 40"/>
                      <a:gd name="T27" fmla="*/ 6 h 40"/>
                      <a:gd name="T28" fmla="*/ 39 w 40"/>
                      <a:gd name="T29" fmla="*/ 13 h 40"/>
                      <a:gd name="T30" fmla="*/ 36 w 40"/>
                      <a:gd name="T31" fmla="*/ 18 h 40"/>
                      <a:gd name="T32" fmla="*/ 39 w 40"/>
                      <a:gd name="T33" fmla="*/ 24 h 40"/>
                      <a:gd name="T34" fmla="*/ 35 w 40"/>
                      <a:gd name="T35" fmla="*/ 33 h 40"/>
                      <a:gd name="T36" fmla="*/ 33 w 40"/>
                      <a:gd name="T37" fmla="*/ 34 h 40"/>
                      <a:gd name="T38" fmla="*/ 26 w 40"/>
                      <a:gd name="T39" fmla="*/ 35 h 40"/>
                      <a:gd name="T40" fmla="*/ 24 w 40"/>
                      <a:gd name="T41" fmla="*/ 40 h 40"/>
                      <a:gd name="T42" fmla="*/ 22 w 40"/>
                      <a:gd name="T43" fmla="*/ 36 h 40"/>
                      <a:gd name="T44" fmla="*/ 23 w 40"/>
                      <a:gd name="T45" fmla="*/ 31 h 40"/>
                      <a:gd name="T46" fmla="*/ 31 w 40"/>
                      <a:gd name="T47" fmla="*/ 28 h 40"/>
                      <a:gd name="T48" fmla="*/ 35 w 40"/>
                      <a:gd name="T49" fmla="*/ 26 h 40"/>
                      <a:gd name="T50" fmla="*/ 32 w 40"/>
                      <a:gd name="T51" fmla="*/ 23 h 40"/>
                      <a:gd name="T52" fmla="*/ 33 w 40"/>
                      <a:gd name="T53" fmla="*/ 15 h 40"/>
                      <a:gd name="T54" fmla="*/ 33 w 40"/>
                      <a:gd name="T55" fmla="*/ 10 h 40"/>
                      <a:gd name="T56" fmla="*/ 28 w 40"/>
                      <a:gd name="T57" fmla="*/ 11 h 40"/>
                      <a:gd name="T58" fmla="*/ 22 w 40"/>
                      <a:gd name="T59" fmla="*/ 7 h 40"/>
                      <a:gd name="T60" fmla="*/ 18 w 40"/>
                      <a:gd name="T61" fmla="*/ 4 h 40"/>
                      <a:gd name="T62" fmla="*/ 17 w 40"/>
                      <a:gd name="T63" fmla="*/ 9 h 40"/>
                      <a:gd name="T64" fmla="*/ 9 w 40"/>
                      <a:gd name="T65" fmla="*/ 12 h 40"/>
                      <a:gd name="T66" fmla="*/ 5 w 40"/>
                      <a:gd name="T67" fmla="*/ 14 h 40"/>
                      <a:gd name="T68" fmla="*/ 8 w 40"/>
                      <a:gd name="T69" fmla="*/ 17 h 40"/>
                      <a:gd name="T70" fmla="*/ 7 w 40"/>
                      <a:gd name="T71" fmla="*/ 25 h 40"/>
                      <a:gd name="T72" fmla="*/ 7 w 40"/>
                      <a:gd name="T73" fmla="*/ 30 h 40"/>
                      <a:gd name="T74" fmla="*/ 12 w 40"/>
                      <a:gd name="T75" fmla="*/ 29 h 40"/>
                      <a:gd name="T76" fmla="*/ 18 w 40"/>
                      <a:gd name="T77" fmla="*/ 33 h 4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</a:cxnLst>
                    <a:rect l="0" t="0" r="r" b="b"/>
                    <a:pathLst>
                      <a:path w="40" h="40">
                        <a:moveTo>
                          <a:pt x="24" y="40"/>
                        </a:moveTo>
                        <a:cubicBezTo>
                          <a:pt x="16" y="40"/>
                          <a:pt x="16" y="40"/>
                          <a:pt x="16" y="40"/>
                        </a:cubicBezTo>
                        <a:cubicBezTo>
                          <a:pt x="15" y="40"/>
                          <a:pt x="14" y="39"/>
                          <a:pt x="14" y="38"/>
                        </a:cubicBezTo>
                        <a:cubicBezTo>
                          <a:pt x="14" y="35"/>
                          <a:pt x="14" y="35"/>
                          <a:pt x="14" y="35"/>
                        </a:cubicBezTo>
                        <a:cubicBezTo>
                          <a:pt x="13" y="34"/>
                          <a:pt x="11" y="34"/>
                          <a:pt x="10" y="33"/>
                        </a:cubicBezTo>
                        <a:cubicBezTo>
                          <a:pt x="7" y="34"/>
                          <a:pt x="7" y="34"/>
                          <a:pt x="7" y="34"/>
                        </a:cubicBezTo>
                        <a:cubicBezTo>
                          <a:pt x="7" y="34"/>
                          <a:pt x="6" y="35"/>
                          <a:pt x="6" y="34"/>
                        </a:cubicBezTo>
                        <a:cubicBezTo>
                          <a:pt x="5" y="34"/>
                          <a:pt x="5" y="34"/>
                          <a:pt x="5" y="33"/>
                        </a:cubicBezTo>
                        <a:cubicBezTo>
                          <a:pt x="1" y="27"/>
                          <a:pt x="1" y="27"/>
                          <a:pt x="1" y="27"/>
                        </a:cubicBezTo>
                        <a:cubicBezTo>
                          <a:pt x="0" y="26"/>
                          <a:pt x="0" y="24"/>
                          <a:pt x="1" y="24"/>
                        </a:cubicBezTo>
                        <a:cubicBezTo>
                          <a:pt x="4" y="22"/>
                          <a:pt x="4" y="22"/>
                          <a:pt x="4" y="22"/>
                        </a:cubicBezTo>
                        <a:cubicBezTo>
                          <a:pt x="4" y="21"/>
                          <a:pt x="4" y="19"/>
                          <a:pt x="4" y="18"/>
                        </a:cubicBezTo>
                        <a:cubicBezTo>
                          <a:pt x="1" y="16"/>
                          <a:pt x="1" y="16"/>
                          <a:pt x="1" y="16"/>
                        </a:cubicBezTo>
                        <a:cubicBezTo>
                          <a:pt x="1" y="16"/>
                          <a:pt x="1" y="15"/>
                          <a:pt x="0" y="15"/>
                        </a:cubicBezTo>
                        <a:cubicBezTo>
                          <a:pt x="0" y="14"/>
                          <a:pt x="0" y="14"/>
                          <a:pt x="1" y="13"/>
                        </a:cubicBezTo>
                        <a:cubicBezTo>
                          <a:pt x="5" y="7"/>
                          <a:pt x="5" y="7"/>
                          <a:pt x="5" y="7"/>
                        </a:cubicBezTo>
                        <a:cubicBezTo>
                          <a:pt x="5" y="6"/>
                          <a:pt x="5" y="6"/>
                          <a:pt x="6" y="6"/>
                        </a:cubicBezTo>
                        <a:cubicBezTo>
                          <a:pt x="6" y="5"/>
                          <a:pt x="7" y="6"/>
                          <a:pt x="7" y="6"/>
                        </a:cubicBezTo>
                        <a:cubicBezTo>
                          <a:pt x="10" y="7"/>
                          <a:pt x="10" y="7"/>
                          <a:pt x="10" y="7"/>
                        </a:cubicBezTo>
                        <a:cubicBezTo>
                          <a:pt x="11" y="7"/>
                          <a:pt x="13" y="6"/>
                          <a:pt x="14" y="5"/>
                        </a:cubicBezTo>
                        <a:cubicBezTo>
                          <a:pt x="14" y="2"/>
                          <a:pt x="14" y="2"/>
                          <a:pt x="14" y="2"/>
                        </a:cubicBezTo>
                        <a:cubicBezTo>
                          <a:pt x="14" y="1"/>
                          <a:pt x="15" y="0"/>
                          <a:pt x="16" y="0"/>
                        </a:cubicBezTo>
                        <a:cubicBezTo>
                          <a:pt x="24" y="0"/>
                          <a:pt x="24" y="0"/>
                          <a:pt x="24" y="0"/>
                        </a:cubicBezTo>
                        <a:cubicBezTo>
                          <a:pt x="25" y="0"/>
                          <a:pt x="26" y="1"/>
                          <a:pt x="26" y="2"/>
                        </a:cubicBezTo>
                        <a:cubicBezTo>
                          <a:pt x="26" y="5"/>
                          <a:pt x="26" y="5"/>
                          <a:pt x="26" y="5"/>
                        </a:cubicBezTo>
                        <a:cubicBezTo>
                          <a:pt x="27" y="6"/>
                          <a:pt x="29" y="6"/>
                          <a:pt x="30" y="7"/>
                        </a:cubicBezTo>
                        <a:cubicBezTo>
                          <a:pt x="33" y="6"/>
                          <a:pt x="33" y="6"/>
                          <a:pt x="33" y="6"/>
                        </a:cubicBezTo>
                        <a:cubicBezTo>
                          <a:pt x="33" y="6"/>
                          <a:pt x="34" y="5"/>
                          <a:pt x="34" y="6"/>
                        </a:cubicBezTo>
                        <a:cubicBezTo>
                          <a:pt x="35" y="6"/>
                          <a:pt x="35" y="6"/>
                          <a:pt x="35" y="7"/>
                        </a:cubicBezTo>
                        <a:cubicBezTo>
                          <a:pt x="39" y="13"/>
                          <a:pt x="39" y="13"/>
                          <a:pt x="39" y="13"/>
                        </a:cubicBezTo>
                        <a:cubicBezTo>
                          <a:pt x="40" y="14"/>
                          <a:pt x="40" y="16"/>
                          <a:pt x="39" y="16"/>
                        </a:cubicBezTo>
                        <a:cubicBezTo>
                          <a:pt x="36" y="18"/>
                          <a:pt x="36" y="18"/>
                          <a:pt x="36" y="18"/>
                        </a:cubicBezTo>
                        <a:cubicBezTo>
                          <a:pt x="36" y="19"/>
                          <a:pt x="36" y="21"/>
                          <a:pt x="36" y="22"/>
                        </a:cubicBezTo>
                        <a:cubicBezTo>
                          <a:pt x="39" y="24"/>
                          <a:pt x="39" y="24"/>
                          <a:pt x="39" y="24"/>
                        </a:cubicBezTo>
                        <a:cubicBezTo>
                          <a:pt x="40" y="24"/>
                          <a:pt x="40" y="26"/>
                          <a:pt x="39" y="27"/>
                        </a:cubicBezTo>
                        <a:cubicBezTo>
                          <a:pt x="35" y="33"/>
                          <a:pt x="35" y="33"/>
                          <a:pt x="35" y="33"/>
                        </a:cubicBezTo>
                        <a:cubicBezTo>
                          <a:pt x="35" y="34"/>
                          <a:pt x="35" y="34"/>
                          <a:pt x="34" y="34"/>
                        </a:cubicBezTo>
                        <a:cubicBezTo>
                          <a:pt x="34" y="35"/>
                          <a:pt x="33" y="34"/>
                          <a:pt x="33" y="34"/>
                        </a:cubicBezTo>
                        <a:cubicBezTo>
                          <a:pt x="30" y="33"/>
                          <a:pt x="30" y="33"/>
                          <a:pt x="30" y="33"/>
                        </a:cubicBezTo>
                        <a:cubicBezTo>
                          <a:pt x="29" y="33"/>
                          <a:pt x="27" y="34"/>
                          <a:pt x="26" y="35"/>
                        </a:cubicBezTo>
                        <a:cubicBezTo>
                          <a:pt x="26" y="38"/>
                          <a:pt x="26" y="38"/>
                          <a:pt x="26" y="38"/>
                        </a:cubicBezTo>
                        <a:cubicBezTo>
                          <a:pt x="26" y="39"/>
                          <a:pt x="25" y="40"/>
                          <a:pt x="24" y="40"/>
                        </a:cubicBezTo>
                        <a:close/>
                        <a:moveTo>
                          <a:pt x="18" y="36"/>
                        </a:moveTo>
                        <a:cubicBezTo>
                          <a:pt x="22" y="36"/>
                          <a:pt x="22" y="36"/>
                          <a:pt x="22" y="36"/>
                        </a:cubicBezTo>
                        <a:cubicBezTo>
                          <a:pt x="22" y="33"/>
                          <a:pt x="22" y="33"/>
                          <a:pt x="22" y="33"/>
                        </a:cubicBezTo>
                        <a:cubicBezTo>
                          <a:pt x="22" y="32"/>
                          <a:pt x="23" y="32"/>
                          <a:pt x="23" y="31"/>
                        </a:cubicBezTo>
                        <a:cubicBezTo>
                          <a:pt x="25" y="31"/>
                          <a:pt x="27" y="30"/>
                          <a:pt x="28" y="29"/>
                        </a:cubicBezTo>
                        <a:cubicBezTo>
                          <a:pt x="29" y="28"/>
                          <a:pt x="30" y="28"/>
                          <a:pt x="31" y="28"/>
                        </a:cubicBezTo>
                        <a:cubicBezTo>
                          <a:pt x="33" y="30"/>
                          <a:pt x="33" y="30"/>
                          <a:pt x="33" y="30"/>
                        </a:cubicBezTo>
                        <a:cubicBezTo>
                          <a:pt x="35" y="26"/>
                          <a:pt x="35" y="26"/>
                          <a:pt x="35" y="26"/>
                        </a:cubicBezTo>
                        <a:cubicBezTo>
                          <a:pt x="33" y="25"/>
                          <a:pt x="33" y="25"/>
                          <a:pt x="33" y="25"/>
                        </a:cubicBezTo>
                        <a:cubicBezTo>
                          <a:pt x="32" y="25"/>
                          <a:pt x="31" y="24"/>
                          <a:pt x="32" y="23"/>
                        </a:cubicBezTo>
                        <a:cubicBezTo>
                          <a:pt x="32" y="21"/>
                          <a:pt x="32" y="19"/>
                          <a:pt x="32" y="17"/>
                        </a:cubicBezTo>
                        <a:cubicBezTo>
                          <a:pt x="31" y="16"/>
                          <a:pt x="32" y="15"/>
                          <a:pt x="33" y="15"/>
                        </a:cubicBezTo>
                        <a:cubicBezTo>
                          <a:pt x="35" y="14"/>
                          <a:pt x="35" y="14"/>
                          <a:pt x="35" y="14"/>
                        </a:cubicBezTo>
                        <a:cubicBezTo>
                          <a:pt x="33" y="10"/>
                          <a:pt x="33" y="10"/>
                          <a:pt x="33" y="10"/>
                        </a:cubicBezTo>
                        <a:cubicBezTo>
                          <a:pt x="31" y="12"/>
                          <a:pt x="31" y="12"/>
                          <a:pt x="31" y="12"/>
                        </a:cubicBezTo>
                        <a:cubicBezTo>
                          <a:pt x="30" y="12"/>
                          <a:pt x="29" y="12"/>
                          <a:pt x="28" y="11"/>
                        </a:cubicBezTo>
                        <a:cubicBezTo>
                          <a:pt x="27" y="10"/>
                          <a:pt x="25" y="9"/>
                          <a:pt x="23" y="9"/>
                        </a:cubicBezTo>
                        <a:cubicBezTo>
                          <a:pt x="23" y="8"/>
                          <a:pt x="22" y="8"/>
                          <a:pt x="22" y="7"/>
                        </a:cubicBezTo>
                        <a:cubicBezTo>
                          <a:pt x="22" y="4"/>
                          <a:pt x="22" y="4"/>
                          <a:pt x="22" y="4"/>
                        </a:cubicBezTo>
                        <a:cubicBezTo>
                          <a:pt x="18" y="4"/>
                          <a:pt x="18" y="4"/>
                          <a:pt x="18" y="4"/>
                        </a:cubicBezTo>
                        <a:cubicBezTo>
                          <a:pt x="18" y="7"/>
                          <a:pt x="18" y="7"/>
                          <a:pt x="18" y="7"/>
                        </a:cubicBezTo>
                        <a:cubicBezTo>
                          <a:pt x="18" y="8"/>
                          <a:pt x="17" y="8"/>
                          <a:pt x="17" y="9"/>
                        </a:cubicBezTo>
                        <a:cubicBezTo>
                          <a:pt x="15" y="9"/>
                          <a:pt x="13" y="10"/>
                          <a:pt x="12" y="11"/>
                        </a:cubicBezTo>
                        <a:cubicBezTo>
                          <a:pt x="11" y="12"/>
                          <a:pt x="10" y="12"/>
                          <a:pt x="9" y="12"/>
                        </a:cubicBezTo>
                        <a:cubicBezTo>
                          <a:pt x="7" y="10"/>
                          <a:pt x="7" y="10"/>
                          <a:pt x="7" y="10"/>
                        </a:cubicBezTo>
                        <a:cubicBezTo>
                          <a:pt x="5" y="14"/>
                          <a:pt x="5" y="14"/>
                          <a:pt x="5" y="14"/>
                        </a:cubicBezTo>
                        <a:cubicBezTo>
                          <a:pt x="7" y="15"/>
                          <a:pt x="7" y="15"/>
                          <a:pt x="7" y="15"/>
                        </a:cubicBezTo>
                        <a:cubicBezTo>
                          <a:pt x="8" y="15"/>
                          <a:pt x="9" y="16"/>
                          <a:pt x="8" y="17"/>
                        </a:cubicBezTo>
                        <a:cubicBezTo>
                          <a:pt x="8" y="19"/>
                          <a:pt x="8" y="21"/>
                          <a:pt x="8" y="23"/>
                        </a:cubicBezTo>
                        <a:cubicBezTo>
                          <a:pt x="9" y="24"/>
                          <a:pt x="8" y="24"/>
                          <a:pt x="7" y="25"/>
                        </a:cubicBezTo>
                        <a:cubicBezTo>
                          <a:pt x="5" y="26"/>
                          <a:pt x="5" y="26"/>
                          <a:pt x="5" y="26"/>
                        </a:cubicBezTo>
                        <a:cubicBezTo>
                          <a:pt x="7" y="30"/>
                          <a:pt x="7" y="30"/>
                          <a:pt x="7" y="30"/>
                        </a:cubicBezTo>
                        <a:cubicBezTo>
                          <a:pt x="9" y="28"/>
                          <a:pt x="9" y="28"/>
                          <a:pt x="9" y="28"/>
                        </a:cubicBezTo>
                        <a:cubicBezTo>
                          <a:pt x="10" y="28"/>
                          <a:pt x="11" y="28"/>
                          <a:pt x="12" y="29"/>
                        </a:cubicBezTo>
                        <a:cubicBezTo>
                          <a:pt x="13" y="30"/>
                          <a:pt x="15" y="31"/>
                          <a:pt x="17" y="31"/>
                        </a:cubicBezTo>
                        <a:cubicBezTo>
                          <a:pt x="17" y="32"/>
                          <a:pt x="18" y="33"/>
                          <a:pt x="18" y="33"/>
                        </a:cubicBezTo>
                        <a:lnTo>
                          <a:pt x="18" y="36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endParaRPr>
                  </a:p>
                </p:txBody>
              </p:sp>
            </p:grpSp>
          </p:grpSp>
          <p:sp>
            <p:nvSpPr>
              <p:cNvPr id="99" name="TextBox 98"/>
              <p:cNvSpPr txBox="1"/>
              <p:nvPr/>
            </p:nvSpPr>
            <p:spPr>
              <a:xfrm flipH="1">
                <a:off x="3275153" y="3843778"/>
                <a:ext cx="1186941" cy="438157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ea typeface="+mn-ea"/>
                    <a:cs typeface="+mn-cs"/>
                  </a:rPr>
                  <a:t>Lorem </a:t>
                </a:r>
                <a:r>
                  <a:rPr kumimoji="0" lang="en-US" sz="1000" b="0" i="0" u="none" strike="noStrike" kern="1200" cap="none" spc="0" normalizeH="0" baseline="0" noProof="0" dirty="0" err="1">
                    <a:ln>
                      <a:noFill/>
                    </a:ln>
                    <a:effectLst/>
                    <a:uLnTx/>
                    <a:uFillTx/>
                    <a:ea typeface="+mn-ea"/>
                    <a:cs typeface="+mn-cs"/>
                  </a:rPr>
                  <a:t>Ipsum</a:t>
                </a: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ea typeface="+mn-ea"/>
                    <a:cs typeface="+mn-cs"/>
                  </a:rPr>
                  <a:t> is simply dummy text of the printing.</a:t>
                </a:r>
              </a:p>
            </p:txBody>
          </p:sp>
          <p:sp>
            <p:nvSpPr>
              <p:cNvPr id="100" name="TextBox 99"/>
              <p:cNvSpPr txBox="1"/>
              <p:nvPr/>
            </p:nvSpPr>
            <p:spPr>
              <a:xfrm flipH="1">
                <a:off x="3492521" y="3705890"/>
                <a:ext cx="962430" cy="146052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AFABAB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LOREM IPSUM</a:t>
                </a:r>
              </a:p>
            </p:txBody>
          </p:sp>
          <p:sp>
            <p:nvSpPr>
              <p:cNvPr id="101" name="Oval 100"/>
              <p:cNvSpPr/>
              <p:nvPr/>
            </p:nvSpPr>
            <p:spPr>
              <a:xfrm flipH="1">
                <a:off x="4140685" y="3336258"/>
                <a:ext cx="320085" cy="320085"/>
              </a:xfrm>
              <a:prstGeom prst="ellipse">
                <a:avLst/>
              </a:prstGeom>
              <a:solidFill>
                <a:srgbClr val="AFABAB"/>
              </a:solidFill>
              <a:ln>
                <a:noFill/>
              </a:ln>
              <a:effectLst>
                <a:outerShdw blurRad="25400" dist="254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04" name="TextBox 103"/>
              <p:cNvSpPr txBox="1"/>
              <p:nvPr/>
            </p:nvSpPr>
            <p:spPr>
              <a:xfrm flipH="1">
                <a:off x="5255377" y="2843692"/>
                <a:ext cx="1416407" cy="292105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ea typeface="+mn-ea"/>
                    <a:cs typeface="+mn-cs"/>
                  </a:rPr>
                  <a:t>Lorem </a:t>
                </a:r>
                <a:r>
                  <a:rPr kumimoji="0" lang="en-US" sz="1000" b="0" i="0" u="none" strike="noStrike" kern="1200" cap="none" spc="0" normalizeH="0" baseline="0" noProof="0" dirty="0" err="1">
                    <a:ln>
                      <a:noFill/>
                    </a:ln>
                    <a:effectLst/>
                    <a:uLnTx/>
                    <a:uFillTx/>
                    <a:ea typeface="+mn-ea"/>
                    <a:cs typeface="+mn-cs"/>
                  </a:rPr>
                  <a:t>Ipsum</a:t>
                </a: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ea typeface="+mn-ea"/>
                    <a:cs typeface="+mn-cs"/>
                  </a:rPr>
                  <a:t> is simply dummy text of the printing.</a:t>
                </a:r>
              </a:p>
            </p:txBody>
          </p:sp>
          <p:sp>
            <p:nvSpPr>
              <p:cNvPr id="105" name="TextBox 104"/>
              <p:cNvSpPr txBox="1"/>
              <p:nvPr/>
            </p:nvSpPr>
            <p:spPr>
              <a:xfrm flipH="1">
                <a:off x="5709355" y="2691738"/>
                <a:ext cx="962430" cy="146052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78D2D2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LOREM IPSUM</a:t>
                </a:r>
              </a:p>
            </p:txBody>
          </p:sp>
          <p:sp>
            <p:nvSpPr>
              <p:cNvPr id="106" name="Oval 105"/>
              <p:cNvSpPr/>
              <p:nvPr/>
            </p:nvSpPr>
            <p:spPr>
              <a:xfrm>
                <a:off x="6354054" y="2352447"/>
                <a:ext cx="320085" cy="320085"/>
              </a:xfrm>
              <a:prstGeom prst="ellipse">
                <a:avLst/>
              </a:prstGeom>
              <a:solidFill>
                <a:srgbClr val="78D2D2"/>
              </a:solidFill>
              <a:ln>
                <a:noFill/>
              </a:ln>
              <a:effectLst>
                <a:outerShdw blurRad="25400" dist="254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09" name="TextBox 108"/>
              <p:cNvSpPr txBox="1"/>
              <p:nvPr/>
            </p:nvSpPr>
            <p:spPr>
              <a:xfrm flipH="1">
                <a:off x="7015616" y="4018955"/>
                <a:ext cx="1416407" cy="292105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ea typeface="+mn-ea"/>
                    <a:cs typeface="+mn-cs"/>
                  </a:rPr>
                  <a:t>Lorem </a:t>
                </a:r>
                <a:r>
                  <a:rPr kumimoji="0" lang="en-US" sz="1000" b="0" i="0" u="none" strike="noStrike" kern="1200" cap="none" spc="0" normalizeH="0" baseline="0" noProof="0" dirty="0" err="1">
                    <a:ln>
                      <a:noFill/>
                    </a:ln>
                    <a:effectLst/>
                    <a:uLnTx/>
                    <a:uFillTx/>
                    <a:ea typeface="+mn-ea"/>
                    <a:cs typeface="+mn-cs"/>
                  </a:rPr>
                  <a:t>Ipsum</a:t>
                </a: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ea typeface="+mn-ea"/>
                    <a:cs typeface="+mn-cs"/>
                  </a:rPr>
                  <a:t> is simply dummy text of the printing.</a:t>
                </a:r>
              </a:p>
            </p:txBody>
          </p:sp>
          <p:sp>
            <p:nvSpPr>
              <p:cNvPr id="110" name="TextBox 109"/>
              <p:cNvSpPr txBox="1"/>
              <p:nvPr/>
            </p:nvSpPr>
            <p:spPr>
              <a:xfrm flipH="1">
                <a:off x="7469594" y="3867001"/>
                <a:ext cx="962430" cy="146052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3B3939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LOREM IPSUM</a:t>
                </a:r>
              </a:p>
            </p:txBody>
          </p:sp>
          <p:sp>
            <p:nvSpPr>
              <p:cNvPr id="111" name="Oval 110"/>
              <p:cNvSpPr/>
              <p:nvPr/>
            </p:nvSpPr>
            <p:spPr>
              <a:xfrm>
                <a:off x="8114293" y="3527710"/>
                <a:ext cx="320085" cy="320085"/>
              </a:xfrm>
              <a:prstGeom prst="ellipse">
                <a:avLst/>
              </a:prstGeom>
              <a:solidFill>
                <a:srgbClr val="3B3939"/>
              </a:solidFill>
              <a:ln>
                <a:noFill/>
              </a:ln>
              <a:effectLst>
                <a:outerShdw blurRad="25400" dist="254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grpSp>
            <p:nvGrpSpPr>
              <p:cNvPr id="112" name="Group 111"/>
              <p:cNvGrpSpPr>
                <a:grpSpLocks noChangeAspect="1"/>
              </p:cNvGrpSpPr>
              <p:nvPr/>
            </p:nvGrpSpPr>
            <p:grpSpPr>
              <a:xfrm>
                <a:off x="4195941" y="3404500"/>
                <a:ext cx="209573" cy="183600"/>
                <a:chOff x="2738438" y="4754563"/>
                <a:chExt cx="371475" cy="325437"/>
              </a:xfrm>
              <a:solidFill>
                <a:schemeClr val="bg1"/>
              </a:solidFill>
            </p:grpSpPr>
            <p:sp>
              <p:nvSpPr>
                <p:cNvPr id="130" name="Freeform 13"/>
                <p:cNvSpPr>
                  <a:spLocks noEditPoints="1"/>
                </p:cNvSpPr>
                <p:nvPr/>
              </p:nvSpPr>
              <p:spPr bwMode="auto">
                <a:xfrm>
                  <a:off x="2738438" y="4754563"/>
                  <a:ext cx="371475" cy="293688"/>
                </a:xfrm>
                <a:custGeom>
                  <a:avLst/>
                  <a:gdLst>
                    <a:gd name="T0" fmla="*/ 88 w 96"/>
                    <a:gd name="T1" fmla="*/ 76 h 76"/>
                    <a:gd name="T2" fmla="*/ 8 w 96"/>
                    <a:gd name="T3" fmla="*/ 76 h 76"/>
                    <a:gd name="T4" fmla="*/ 0 w 96"/>
                    <a:gd name="T5" fmla="*/ 68 h 76"/>
                    <a:gd name="T6" fmla="*/ 0 w 96"/>
                    <a:gd name="T7" fmla="*/ 8 h 76"/>
                    <a:gd name="T8" fmla="*/ 8 w 96"/>
                    <a:gd name="T9" fmla="*/ 0 h 76"/>
                    <a:gd name="T10" fmla="*/ 88 w 96"/>
                    <a:gd name="T11" fmla="*/ 0 h 76"/>
                    <a:gd name="T12" fmla="*/ 96 w 96"/>
                    <a:gd name="T13" fmla="*/ 8 h 76"/>
                    <a:gd name="T14" fmla="*/ 96 w 96"/>
                    <a:gd name="T15" fmla="*/ 68 h 76"/>
                    <a:gd name="T16" fmla="*/ 88 w 96"/>
                    <a:gd name="T17" fmla="*/ 76 h 76"/>
                    <a:gd name="T18" fmla="*/ 8 w 96"/>
                    <a:gd name="T19" fmla="*/ 4 h 76"/>
                    <a:gd name="T20" fmla="*/ 4 w 96"/>
                    <a:gd name="T21" fmla="*/ 8 h 76"/>
                    <a:gd name="T22" fmla="*/ 4 w 96"/>
                    <a:gd name="T23" fmla="*/ 68 h 76"/>
                    <a:gd name="T24" fmla="*/ 8 w 96"/>
                    <a:gd name="T25" fmla="*/ 72 h 76"/>
                    <a:gd name="T26" fmla="*/ 88 w 96"/>
                    <a:gd name="T27" fmla="*/ 72 h 76"/>
                    <a:gd name="T28" fmla="*/ 92 w 96"/>
                    <a:gd name="T29" fmla="*/ 68 h 76"/>
                    <a:gd name="T30" fmla="*/ 92 w 96"/>
                    <a:gd name="T31" fmla="*/ 8 h 76"/>
                    <a:gd name="T32" fmla="*/ 88 w 96"/>
                    <a:gd name="T33" fmla="*/ 4 h 76"/>
                    <a:gd name="T34" fmla="*/ 8 w 96"/>
                    <a:gd name="T35" fmla="*/ 4 h 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96" h="76">
                      <a:moveTo>
                        <a:pt x="88" y="76"/>
                      </a:moveTo>
                      <a:cubicBezTo>
                        <a:pt x="8" y="76"/>
                        <a:pt x="8" y="76"/>
                        <a:pt x="8" y="76"/>
                      </a:cubicBezTo>
                      <a:cubicBezTo>
                        <a:pt x="4" y="76"/>
                        <a:pt x="0" y="72"/>
                        <a:pt x="0" y="68"/>
                      </a:cubicBezTo>
                      <a:cubicBezTo>
                        <a:pt x="0" y="8"/>
                        <a:pt x="0" y="8"/>
                        <a:pt x="0" y="8"/>
                      </a:cubicBezTo>
                      <a:cubicBezTo>
                        <a:pt x="0" y="4"/>
                        <a:pt x="4" y="0"/>
                        <a:pt x="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92" y="0"/>
                        <a:pt x="96" y="4"/>
                        <a:pt x="96" y="8"/>
                      </a:cubicBezTo>
                      <a:cubicBezTo>
                        <a:pt x="96" y="68"/>
                        <a:pt x="96" y="68"/>
                        <a:pt x="96" y="68"/>
                      </a:cubicBezTo>
                      <a:cubicBezTo>
                        <a:pt x="96" y="72"/>
                        <a:pt x="92" y="76"/>
                        <a:pt x="88" y="76"/>
                      </a:cubicBezTo>
                      <a:close/>
                      <a:moveTo>
                        <a:pt x="8" y="4"/>
                      </a:moveTo>
                      <a:cubicBezTo>
                        <a:pt x="6" y="4"/>
                        <a:pt x="4" y="6"/>
                        <a:pt x="4" y="8"/>
                      </a:cubicBezTo>
                      <a:cubicBezTo>
                        <a:pt x="4" y="68"/>
                        <a:pt x="4" y="68"/>
                        <a:pt x="4" y="68"/>
                      </a:cubicBezTo>
                      <a:cubicBezTo>
                        <a:pt x="4" y="70"/>
                        <a:pt x="6" y="72"/>
                        <a:pt x="8" y="72"/>
                      </a:cubicBezTo>
                      <a:cubicBezTo>
                        <a:pt x="88" y="72"/>
                        <a:pt x="88" y="72"/>
                        <a:pt x="88" y="72"/>
                      </a:cubicBezTo>
                      <a:cubicBezTo>
                        <a:pt x="90" y="72"/>
                        <a:pt x="92" y="70"/>
                        <a:pt x="92" y="68"/>
                      </a:cubicBezTo>
                      <a:cubicBezTo>
                        <a:pt x="92" y="8"/>
                        <a:pt x="92" y="8"/>
                        <a:pt x="92" y="8"/>
                      </a:cubicBezTo>
                      <a:cubicBezTo>
                        <a:pt x="92" y="6"/>
                        <a:pt x="90" y="4"/>
                        <a:pt x="88" y="4"/>
                      </a:cubicBezTo>
                      <a:lnTo>
                        <a:pt x="8" y="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31" name="Freeform 14"/>
                <p:cNvSpPr>
                  <a:spLocks/>
                </p:cNvSpPr>
                <p:nvPr/>
              </p:nvSpPr>
              <p:spPr bwMode="auto">
                <a:xfrm>
                  <a:off x="2808288" y="5064125"/>
                  <a:ext cx="231775" cy="15875"/>
                </a:xfrm>
                <a:custGeom>
                  <a:avLst/>
                  <a:gdLst>
                    <a:gd name="T0" fmla="*/ 58 w 60"/>
                    <a:gd name="T1" fmla="*/ 4 h 4"/>
                    <a:gd name="T2" fmla="*/ 2 w 60"/>
                    <a:gd name="T3" fmla="*/ 4 h 4"/>
                    <a:gd name="T4" fmla="*/ 0 w 60"/>
                    <a:gd name="T5" fmla="*/ 2 h 4"/>
                    <a:gd name="T6" fmla="*/ 2 w 60"/>
                    <a:gd name="T7" fmla="*/ 0 h 4"/>
                    <a:gd name="T8" fmla="*/ 58 w 60"/>
                    <a:gd name="T9" fmla="*/ 0 h 4"/>
                    <a:gd name="T10" fmla="*/ 60 w 60"/>
                    <a:gd name="T11" fmla="*/ 2 h 4"/>
                    <a:gd name="T12" fmla="*/ 58 w 60"/>
                    <a:gd name="T13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60" h="4">
                      <a:moveTo>
                        <a:pt x="58" y="4"/>
                      </a:moveTo>
                      <a:cubicBezTo>
                        <a:pt x="2" y="4"/>
                        <a:pt x="2" y="4"/>
                        <a:pt x="2" y="4"/>
                      </a:cubicBezTo>
                      <a:cubicBezTo>
                        <a:pt x="1" y="4"/>
                        <a:pt x="0" y="3"/>
                        <a:pt x="0" y="2"/>
                      </a:cubicBezTo>
                      <a:cubicBezTo>
                        <a:pt x="0" y="1"/>
                        <a:pt x="1" y="0"/>
                        <a:pt x="2" y="0"/>
                      </a:cubicBezTo>
                      <a:cubicBezTo>
                        <a:pt x="58" y="0"/>
                        <a:pt x="58" y="0"/>
                        <a:pt x="58" y="0"/>
                      </a:cubicBezTo>
                      <a:cubicBezTo>
                        <a:pt x="59" y="0"/>
                        <a:pt x="60" y="1"/>
                        <a:pt x="60" y="2"/>
                      </a:cubicBezTo>
                      <a:cubicBezTo>
                        <a:pt x="60" y="3"/>
                        <a:pt x="59" y="4"/>
                        <a:pt x="58" y="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32" name="Freeform 15"/>
                <p:cNvSpPr>
                  <a:spLocks/>
                </p:cNvSpPr>
                <p:nvPr/>
              </p:nvSpPr>
              <p:spPr bwMode="auto">
                <a:xfrm>
                  <a:off x="2916238" y="5032375"/>
                  <a:ext cx="15875" cy="47625"/>
                </a:xfrm>
                <a:custGeom>
                  <a:avLst/>
                  <a:gdLst>
                    <a:gd name="T0" fmla="*/ 2 w 4"/>
                    <a:gd name="T1" fmla="*/ 12 h 12"/>
                    <a:gd name="T2" fmla="*/ 0 w 4"/>
                    <a:gd name="T3" fmla="*/ 10 h 12"/>
                    <a:gd name="T4" fmla="*/ 0 w 4"/>
                    <a:gd name="T5" fmla="*/ 2 h 12"/>
                    <a:gd name="T6" fmla="*/ 2 w 4"/>
                    <a:gd name="T7" fmla="*/ 0 h 12"/>
                    <a:gd name="T8" fmla="*/ 4 w 4"/>
                    <a:gd name="T9" fmla="*/ 2 h 12"/>
                    <a:gd name="T10" fmla="*/ 4 w 4"/>
                    <a:gd name="T11" fmla="*/ 10 h 12"/>
                    <a:gd name="T12" fmla="*/ 2 w 4"/>
                    <a:gd name="T13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" h="12">
                      <a:moveTo>
                        <a:pt x="2" y="12"/>
                      </a:moveTo>
                      <a:cubicBezTo>
                        <a:pt x="1" y="12"/>
                        <a:pt x="0" y="11"/>
                        <a:pt x="0" y="10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1" y="0"/>
                        <a:pt x="2" y="0"/>
                      </a:cubicBezTo>
                      <a:cubicBezTo>
                        <a:pt x="3" y="0"/>
                        <a:pt x="4" y="1"/>
                        <a:pt x="4" y="2"/>
                      </a:cubicBezTo>
                      <a:cubicBezTo>
                        <a:pt x="4" y="10"/>
                        <a:pt x="4" y="10"/>
                        <a:pt x="4" y="10"/>
                      </a:cubicBezTo>
                      <a:cubicBezTo>
                        <a:pt x="4" y="11"/>
                        <a:pt x="3" y="12"/>
                        <a:pt x="2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33" name="Oval 16"/>
                <p:cNvSpPr>
                  <a:spLocks noChangeArrowheads="1"/>
                </p:cNvSpPr>
                <p:nvPr/>
              </p:nvSpPr>
              <p:spPr bwMode="auto">
                <a:xfrm>
                  <a:off x="2908301" y="4994275"/>
                  <a:ext cx="31750" cy="30163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34" name="Rectangle 17"/>
                <p:cNvSpPr>
                  <a:spLocks noChangeArrowheads="1"/>
                </p:cNvSpPr>
                <p:nvPr/>
              </p:nvSpPr>
              <p:spPr bwMode="auto">
                <a:xfrm>
                  <a:off x="2746376" y="4970463"/>
                  <a:ext cx="355600" cy="15875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13" name="Group 112"/>
              <p:cNvGrpSpPr>
                <a:grpSpLocks noChangeAspect="1"/>
              </p:cNvGrpSpPr>
              <p:nvPr/>
            </p:nvGrpSpPr>
            <p:grpSpPr>
              <a:xfrm>
                <a:off x="6420496" y="2422489"/>
                <a:ext cx="187200" cy="180000"/>
                <a:chOff x="4568825" y="5810250"/>
                <a:chExt cx="371475" cy="357188"/>
              </a:xfrm>
              <a:solidFill>
                <a:schemeClr val="bg1"/>
              </a:solidFill>
            </p:grpSpPr>
            <p:sp>
              <p:nvSpPr>
                <p:cNvPr id="123" name="Freeform 21"/>
                <p:cNvSpPr>
                  <a:spLocks/>
                </p:cNvSpPr>
                <p:nvPr/>
              </p:nvSpPr>
              <p:spPr bwMode="auto">
                <a:xfrm>
                  <a:off x="4568825" y="6151563"/>
                  <a:ext cx="371475" cy="15875"/>
                </a:xfrm>
                <a:custGeom>
                  <a:avLst/>
                  <a:gdLst>
                    <a:gd name="T0" fmla="*/ 94 w 96"/>
                    <a:gd name="T1" fmla="*/ 4 h 4"/>
                    <a:gd name="T2" fmla="*/ 2 w 96"/>
                    <a:gd name="T3" fmla="*/ 4 h 4"/>
                    <a:gd name="T4" fmla="*/ 0 w 96"/>
                    <a:gd name="T5" fmla="*/ 2 h 4"/>
                    <a:gd name="T6" fmla="*/ 2 w 96"/>
                    <a:gd name="T7" fmla="*/ 0 h 4"/>
                    <a:gd name="T8" fmla="*/ 94 w 96"/>
                    <a:gd name="T9" fmla="*/ 0 h 4"/>
                    <a:gd name="T10" fmla="*/ 96 w 96"/>
                    <a:gd name="T11" fmla="*/ 2 h 4"/>
                    <a:gd name="T12" fmla="*/ 94 w 96"/>
                    <a:gd name="T13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6" h="4">
                      <a:moveTo>
                        <a:pt x="94" y="4"/>
                      </a:moveTo>
                      <a:cubicBezTo>
                        <a:pt x="2" y="4"/>
                        <a:pt x="2" y="4"/>
                        <a:pt x="2" y="4"/>
                      </a:cubicBezTo>
                      <a:cubicBezTo>
                        <a:pt x="1" y="4"/>
                        <a:pt x="0" y="3"/>
                        <a:pt x="0" y="2"/>
                      </a:cubicBezTo>
                      <a:cubicBezTo>
                        <a:pt x="0" y="1"/>
                        <a:pt x="1" y="0"/>
                        <a:pt x="2" y="0"/>
                      </a:cubicBezTo>
                      <a:cubicBezTo>
                        <a:pt x="94" y="0"/>
                        <a:pt x="94" y="0"/>
                        <a:pt x="94" y="0"/>
                      </a:cubicBezTo>
                      <a:cubicBezTo>
                        <a:pt x="95" y="0"/>
                        <a:pt x="96" y="1"/>
                        <a:pt x="96" y="2"/>
                      </a:cubicBezTo>
                      <a:cubicBezTo>
                        <a:pt x="96" y="3"/>
                        <a:pt x="95" y="4"/>
                        <a:pt x="94" y="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24" name="Freeform 22"/>
                <p:cNvSpPr>
                  <a:spLocks/>
                </p:cNvSpPr>
                <p:nvPr/>
              </p:nvSpPr>
              <p:spPr bwMode="auto">
                <a:xfrm>
                  <a:off x="4584700" y="6073775"/>
                  <a:ext cx="61913" cy="93663"/>
                </a:xfrm>
                <a:custGeom>
                  <a:avLst/>
                  <a:gdLst>
                    <a:gd name="T0" fmla="*/ 14 w 16"/>
                    <a:gd name="T1" fmla="*/ 24 h 24"/>
                    <a:gd name="T2" fmla="*/ 12 w 16"/>
                    <a:gd name="T3" fmla="*/ 22 h 24"/>
                    <a:gd name="T4" fmla="*/ 12 w 16"/>
                    <a:gd name="T5" fmla="*/ 4 h 24"/>
                    <a:gd name="T6" fmla="*/ 4 w 16"/>
                    <a:gd name="T7" fmla="*/ 4 h 24"/>
                    <a:gd name="T8" fmla="*/ 4 w 16"/>
                    <a:gd name="T9" fmla="*/ 22 h 24"/>
                    <a:gd name="T10" fmla="*/ 2 w 16"/>
                    <a:gd name="T11" fmla="*/ 24 h 24"/>
                    <a:gd name="T12" fmla="*/ 0 w 16"/>
                    <a:gd name="T13" fmla="*/ 22 h 24"/>
                    <a:gd name="T14" fmla="*/ 0 w 16"/>
                    <a:gd name="T15" fmla="*/ 2 h 24"/>
                    <a:gd name="T16" fmla="*/ 2 w 16"/>
                    <a:gd name="T17" fmla="*/ 0 h 24"/>
                    <a:gd name="T18" fmla="*/ 14 w 16"/>
                    <a:gd name="T19" fmla="*/ 0 h 24"/>
                    <a:gd name="T20" fmla="*/ 16 w 16"/>
                    <a:gd name="T21" fmla="*/ 2 h 24"/>
                    <a:gd name="T22" fmla="*/ 16 w 16"/>
                    <a:gd name="T23" fmla="*/ 22 h 24"/>
                    <a:gd name="T24" fmla="*/ 14 w 16"/>
                    <a:gd name="T25" fmla="*/ 24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6" h="24">
                      <a:moveTo>
                        <a:pt x="14" y="24"/>
                      </a:moveTo>
                      <a:cubicBezTo>
                        <a:pt x="13" y="24"/>
                        <a:pt x="12" y="23"/>
                        <a:pt x="12" y="22"/>
                      </a:cubicBezTo>
                      <a:cubicBezTo>
                        <a:pt x="12" y="4"/>
                        <a:pt x="12" y="4"/>
                        <a:pt x="12" y="4"/>
                      </a:cubicBezTo>
                      <a:cubicBezTo>
                        <a:pt x="4" y="4"/>
                        <a:pt x="4" y="4"/>
                        <a:pt x="4" y="4"/>
                      </a:cubicBezTo>
                      <a:cubicBezTo>
                        <a:pt x="4" y="22"/>
                        <a:pt x="4" y="22"/>
                        <a:pt x="4" y="22"/>
                      </a:cubicBezTo>
                      <a:cubicBezTo>
                        <a:pt x="4" y="23"/>
                        <a:pt x="3" y="24"/>
                        <a:pt x="2" y="24"/>
                      </a:cubicBezTo>
                      <a:cubicBezTo>
                        <a:pt x="1" y="24"/>
                        <a:pt x="0" y="23"/>
                        <a:pt x="0" y="22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1" y="0"/>
                        <a:pt x="2" y="0"/>
                      </a:cubicBezTo>
                      <a:cubicBezTo>
                        <a:pt x="14" y="0"/>
                        <a:pt x="14" y="0"/>
                        <a:pt x="14" y="0"/>
                      </a:cubicBezTo>
                      <a:cubicBezTo>
                        <a:pt x="15" y="0"/>
                        <a:pt x="16" y="1"/>
                        <a:pt x="16" y="2"/>
                      </a:cubicBezTo>
                      <a:cubicBezTo>
                        <a:pt x="16" y="22"/>
                        <a:pt x="16" y="22"/>
                        <a:pt x="16" y="22"/>
                      </a:cubicBezTo>
                      <a:cubicBezTo>
                        <a:pt x="16" y="23"/>
                        <a:pt x="15" y="24"/>
                        <a:pt x="14" y="2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25" name="Freeform 23"/>
                <p:cNvSpPr>
                  <a:spLocks/>
                </p:cNvSpPr>
                <p:nvPr/>
              </p:nvSpPr>
              <p:spPr bwMode="auto">
                <a:xfrm>
                  <a:off x="4676775" y="5995988"/>
                  <a:ext cx="61913" cy="171450"/>
                </a:xfrm>
                <a:custGeom>
                  <a:avLst/>
                  <a:gdLst>
                    <a:gd name="T0" fmla="*/ 14 w 16"/>
                    <a:gd name="T1" fmla="*/ 44 h 44"/>
                    <a:gd name="T2" fmla="*/ 12 w 16"/>
                    <a:gd name="T3" fmla="*/ 42 h 44"/>
                    <a:gd name="T4" fmla="*/ 12 w 16"/>
                    <a:gd name="T5" fmla="*/ 4 h 44"/>
                    <a:gd name="T6" fmla="*/ 4 w 16"/>
                    <a:gd name="T7" fmla="*/ 4 h 44"/>
                    <a:gd name="T8" fmla="*/ 4 w 16"/>
                    <a:gd name="T9" fmla="*/ 42 h 44"/>
                    <a:gd name="T10" fmla="*/ 2 w 16"/>
                    <a:gd name="T11" fmla="*/ 44 h 44"/>
                    <a:gd name="T12" fmla="*/ 0 w 16"/>
                    <a:gd name="T13" fmla="*/ 42 h 44"/>
                    <a:gd name="T14" fmla="*/ 0 w 16"/>
                    <a:gd name="T15" fmla="*/ 2 h 44"/>
                    <a:gd name="T16" fmla="*/ 2 w 16"/>
                    <a:gd name="T17" fmla="*/ 0 h 44"/>
                    <a:gd name="T18" fmla="*/ 14 w 16"/>
                    <a:gd name="T19" fmla="*/ 0 h 44"/>
                    <a:gd name="T20" fmla="*/ 16 w 16"/>
                    <a:gd name="T21" fmla="*/ 2 h 44"/>
                    <a:gd name="T22" fmla="*/ 16 w 16"/>
                    <a:gd name="T23" fmla="*/ 42 h 44"/>
                    <a:gd name="T24" fmla="*/ 14 w 16"/>
                    <a:gd name="T25" fmla="*/ 44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6" h="44">
                      <a:moveTo>
                        <a:pt x="14" y="44"/>
                      </a:moveTo>
                      <a:cubicBezTo>
                        <a:pt x="13" y="44"/>
                        <a:pt x="12" y="43"/>
                        <a:pt x="12" y="42"/>
                      </a:cubicBezTo>
                      <a:cubicBezTo>
                        <a:pt x="12" y="4"/>
                        <a:pt x="12" y="4"/>
                        <a:pt x="12" y="4"/>
                      </a:cubicBezTo>
                      <a:cubicBezTo>
                        <a:pt x="4" y="4"/>
                        <a:pt x="4" y="4"/>
                        <a:pt x="4" y="4"/>
                      </a:cubicBezTo>
                      <a:cubicBezTo>
                        <a:pt x="4" y="42"/>
                        <a:pt x="4" y="42"/>
                        <a:pt x="4" y="42"/>
                      </a:cubicBezTo>
                      <a:cubicBezTo>
                        <a:pt x="4" y="43"/>
                        <a:pt x="3" y="44"/>
                        <a:pt x="2" y="44"/>
                      </a:cubicBezTo>
                      <a:cubicBezTo>
                        <a:pt x="1" y="44"/>
                        <a:pt x="0" y="43"/>
                        <a:pt x="0" y="42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1" y="0"/>
                        <a:pt x="2" y="0"/>
                      </a:cubicBezTo>
                      <a:cubicBezTo>
                        <a:pt x="14" y="0"/>
                        <a:pt x="14" y="0"/>
                        <a:pt x="14" y="0"/>
                      </a:cubicBezTo>
                      <a:cubicBezTo>
                        <a:pt x="15" y="0"/>
                        <a:pt x="16" y="1"/>
                        <a:pt x="16" y="2"/>
                      </a:cubicBezTo>
                      <a:cubicBezTo>
                        <a:pt x="16" y="42"/>
                        <a:pt x="16" y="42"/>
                        <a:pt x="16" y="42"/>
                      </a:cubicBezTo>
                      <a:cubicBezTo>
                        <a:pt x="16" y="43"/>
                        <a:pt x="15" y="44"/>
                        <a:pt x="14" y="4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26" name="Freeform 24"/>
                <p:cNvSpPr>
                  <a:spLocks/>
                </p:cNvSpPr>
                <p:nvPr/>
              </p:nvSpPr>
              <p:spPr bwMode="auto">
                <a:xfrm>
                  <a:off x="4770438" y="6027738"/>
                  <a:ext cx="61913" cy="139700"/>
                </a:xfrm>
                <a:custGeom>
                  <a:avLst/>
                  <a:gdLst>
                    <a:gd name="T0" fmla="*/ 14 w 16"/>
                    <a:gd name="T1" fmla="*/ 36 h 36"/>
                    <a:gd name="T2" fmla="*/ 12 w 16"/>
                    <a:gd name="T3" fmla="*/ 34 h 36"/>
                    <a:gd name="T4" fmla="*/ 12 w 16"/>
                    <a:gd name="T5" fmla="*/ 4 h 36"/>
                    <a:gd name="T6" fmla="*/ 4 w 16"/>
                    <a:gd name="T7" fmla="*/ 4 h 36"/>
                    <a:gd name="T8" fmla="*/ 4 w 16"/>
                    <a:gd name="T9" fmla="*/ 34 h 36"/>
                    <a:gd name="T10" fmla="*/ 2 w 16"/>
                    <a:gd name="T11" fmla="*/ 36 h 36"/>
                    <a:gd name="T12" fmla="*/ 0 w 16"/>
                    <a:gd name="T13" fmla="*/ 34 h 36"/>
                    <a:gd name="T14" fmla="*/ 0 w 16"/>
                    <a:gd name="T15" fmla="*/ 2 h 36"/>
                    <a:gd name="T16" fmla="*/ 2 w 16"/>
                    <a:gd name="T17" fmla="*/ 0 h 36"/>
                    <a:gd name="T18" fmla="*/ 14 w 16"/>
                    <a:gd name="T19" fmla="*/ 0 h 36"/>
                    <a:gd name="T20" fmla="*/ 16 w 16"/>
                    <a:gd name="T21" fmla="*/ 2 h 36"/>
                    <a:gd name="T22" fmla="*/ 16 w 16"/>
                    <a:gd name="T23" fmla="*/ 34 h 36"/>
                    <a:gd name="T24" fmla="*/ 14 w 16"/>
                    <a:gd name="T25" fmla="*/ 36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6" h="36">
                      <a:moveTo>
                        <a:pt x="14" y="36"/>
                      </a:moveTo>
                      <a:cubicBezTo>
                        <a:pt x="13" y="36"/>
                        <a:pt x="12" y="35"/>
                        <a:pt x="12" y="34"/>
                      </a:cubicBezTo>
                      <a:cubicBezTo>
                        <a:pt x="12" y="4"/>
                        <a:pt x="12" y="4"/>
                        <a:pt x="12" y="4"/>
                      </a:cubicBezTo>
                      <a:cubicBezTo>
                        <a:pt x="4" y="4"/>
                        <a:pt x="4" y="4"/>
                        <a:pt x="4" y="4"/>
                      </a:cubicBezTo>
                      <a:cubicBezTo>
                        <a:pt x="4" y="34"/>
                        <a:pt x="4" y="34"/>
                        <a:pt x="4" y="34"/>
                      </a:cubicBezTo>
                      <a:cubicBezTo>
                        <a:pt x="4" y="35"/>
                        <a:pt x="3" y="36"/>
                        <a:pt x="2" y="36"/>
                      </a:cubicBezTo>
                      <a:cubicBezTo>
                        <a:pt x="1" y="36"/>
                        <a:pt x="0" y="35"/>
                        <a:pt x="0" y="34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1" y="0"/>
                        <a:pt x="2" y="0"/>
                      </a:cubicBezTo>
                      <a:cubicBezTo>
                        <a:pt x="14" y="0"/>
                        <a:pt x="14" y="0"/>
                        <a:pt x="14" y="0"/>
                      </a:cubicBezTo>
                      <a:cubicBezTo>
                        <a:pt x="15" y="0"/>
                        <a:pt x="16" y="1"/>
                        <a:pt x="16" y="2"/>
                      </a:cubicBezTo>
                      <a:cubicBezTo>
                        <a:pt x="16" y="34"/>
                        <a:pt x="16" y="34"/>
                        <a:pt x="16" y="34"/>
                      </a:cubicBezTo>
                      <a:cubicBezTo>
                        <a:pt x="16" y="35"/>
                        <a:pt x="15" y="36"/>
                        <a:pt x="14" y="3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27" name="Freeform 25"/>
                <p:cNvSpPr>
                  <a:spLocks/>
                </p:cNvSpPr>
                <p:nvPr/>
              </p:nvSpPr>
              <p:spPr bwMode="auto">
                <a:xfrm>
                  <a:off x="4862513" y="5918200"/>
                  <a:ext cx="61913" cy="249238"/>
                </a:xfrm>
                <a:custGeom>
                  <a:avLst/>
                  <a:gdLst>
                    <a:gd name="T0" fmla="*/ 14 w 16"/>
                    <a:gd name="T1" fmla="*/ 64 h 64"/>
                    <a:gd name="T2" fmla="*/ 12 w 16"/>
                    <a:gd name="T3" fmla="*/ 62 h 64"/>
                    <a:gd name="T4" fmla="*/ 12 w 16"/>
                    <a:gd name="T5" fmla="*/ 4 h 64"/>
                    <a:gd name="T6" fmla="*/ 4 w 16"/>
                    <a:gd name="T7" fmla="*/ 4 h 64"/>
                    <a:gd name="T8" fmla="*/ 4 w 16"/>
                    <a:gd name="T9" fmla="*/ 62 h 64"/>
                    <a:gd name="T10" fmla="*/ 2 w 16"/>
                    <a:gd name="T11" fmla="*/ 64 h 64"/>
                    <a:gd name="T12" fmla="*/ 0 w 16"/>
                    <a:gd name="T13" fmla="*/ 62 h 64"/>
                    <a:gd name="T14" fmla="*/ 0 w 16"/>
                    <a:gd name="T15" fmla="*/ 2 h 64"/>
                    <a:gd name="T16" fmla="*/ 2 w 16"/>
                    <a:gd name="T17" fmla="*/ 0 h 64"/>
                    <a:gd name="T18" fmla="*/ 14 w 16"/>
                    <a:gd name="T19" fmla="*/ 0 h 64"/>
                    <a:gd name="T20" fmla="*/ 16 w 16"/>
                    <a:gd name="T21" fmla="*/ 2 h 64"/>
                    <a:gd name="T22" fmla="*/ 16 w 16"/>
                    <a:gd name="T23" fmla="*/ 62 h 64"/>
                    <a:gd name="T24" fmla="*/ 14 w 16"/>
                    <a:gd name="T25" fmla="*/ 64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6" h="64">
                      <a:moveTo>
                        <a:pt x="14" y="64"/>
                      </a:moveTo>
                      <a:cubicBezTo>
                        <a:pt x="13" y="64"/>
                        <a:pt x="12" y="63"/>
                        <a:pt x="12" y="62"/>
                      </a:cubicBezTo>
                      <a:cubicBezTo>
                        <a:pt x="12" y="4"/>
                        <a:pt x="12" y="4"/>
                        <a:pt x="12" y="4"/>
                      </a:cubicBezTo>
                      <a:cubicBezTo>
                        <a:pt x="4" y="4"/>
                        <a:pt x="4" y="4"/>
                        <a:pt x="4" y="4"/>
                      </a:cubicBezTo>
                      <a:cubicBezTo>
                        <a:pt x="4" y="62"/>
                        <a:pt x="4" y="62"/>
                        <a:pt x="4" y="62"/>
                      </a:cubicBezTo>
                      <a:cubicBezTo>
                        <a:pt x="4" y="63"/>
                        <a:pt x="3" y="64"/>
                        <a:pt x="2" y="64"/>
                      </a:cubicBezTo>
                      <a:cubicBezTo>
                        <a:pt x="1" y="64"/>
                        <a:pt x="0" y="63"/>
                        <a:pt x="0" y="62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1" y="0"/>
                        <a:pt x="2" y="0"/>
                      </a:cubicBezTo>
                      <a:cubicBezTo>
                        <a:pt x="14" y="0"/>
                        <a:pt x="14" y="0"/>
                        <a:pt x="14" y="0"/>
                      </a:cubicBezTo>
                      <a:cubicBezTo>
                        <a:pt x="15" y="0"/>
                        <a:pt x="16" y="1"/>
                        <a:pt x="16" y="2"/>
                      </a:cubicBezTo>
                      <a:cubicBezTo>
                        <a:pt x="16" y="62"/>
                        <a:pt x="16" y="62"/>
                        <a:pt x="16" y="62"/>
                      </a:cubicBezTo>
                      <a:cubicBezTo>
                        <a:pt x="16" y="63"/>
                        <a:pt x="15" y="64"/>
                        <a:pt x="14" y="6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28" name="Freeform 26"/>
                <p:cNvSpPr>
                  <a:spLocks/>
                </p:cNvSpPr>
                <p:nvPr/>
              </p:nvSpPr>
              <p:spPr bwMode="auto">
                <a:xfrm>
                  <a:off x="4606925" y="5810250"/>
                  <a:ext cx="303213" cy="169863"/>
                </a:xfrm>
                <a:custGeom>
                  <a:avLst/>
                  <a:gdLst>
                    <a:gd name="T0" fmla="*/ 2 w 78"/>
                    <a:gd name="T1" fmla="*/ 44 h 44"/>
                    <a:gd name="T2" fmla="*/ 0 w 78"/>
                    <a:gd name="T3" fmla="*/ 43 h 44"/>
                    <a:gd name="T4" fmla="*/ 1 w 78"/>
                    <a:gd name="T5" fmla="*/ 40 h 44"/>
                    <a:gd name="T6" fmla="*/ 25 w 78"/>
                    <a:gd name="T7" fmla="*/ 20 h 44"/>
                    <a:gd name="T8" fmla="*/ 27 w 78"/>
                    <a:gd name="T9" fmla="*/ 20 h 44"/>
                    <a:gd name="T10" fmla="*/ 49 w 78"/>
                    <a:gd name="T11" fmla="*/ 28 h 44"/>
                    <a:gd name="T12" fmla="*/ 75 w 78"/>
                    <a:gd name="T13" fmla="*/ 1 h 44"/>
                    <a:gd name="T14" fmla="*/ 77 w 78"/>
                    <a:gd name="T15" fmla="*/ 1 h 44"/>
                    <a:gd name="T16" fmla="*/ 77 w 78"/>
                    <a:gd name="T17" fmla="*/ 3 h 44"/>
                    <a:gd name="T18" fmla="*/ 51 w 78"/>
                    <a:gd name="T19" fmla="*/ 31 h 44"/>
                    <a:gd name="T20" fmla="*/ 49 w 78"/>
                    <a:gd name="T21" fmla="*/ 32 h 44"/>
                    <a:gd name="T22" fmla="*/ 26 w 78"/>
                    <a:gd name="T23" fmla="*/ 24 h 44"/>
                    <a:gd name="T24" fmla="*/ 3 w 78"/>
                    <a:gd name="T25" fmla="*/ 44 h 44"/>
                    <a:gd name="T26" fmla="*/ 2 w 78"/>
                    <a:gd name="T27" fmla="*/ 44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78" h="44">
                      <a:moveTo>
                        <a:pt x="2" y="44"/>
                      </a:moveTo>
                      <a:cubicBezTo>
                        <a:pt x="1" y="44"/>
                        <a:pt x="1" y="44"/>
                        <a:pt x="0" y="43"/>
                      </a:cubicBezTo>
                      <a:cubicBezTo>
                        <a:pt x="0" y="42"/>
                        <a:pt x="0" y="41"/>
                        <a:pt x="1" y="40"/>
                      </a:cubicBezTo>
                      <a:cubicBezTo>
                        <a:pt x="25" y="20"/>
                        <a:pt x="25" y="20"/>
                        <a:pt x="25" y="20"/>
                      </a:cubicBezTo>
                      <a:cubicBezTo>
                        <a:pt x="25" y="20"/>
                        <a:pt x="26" y="20"/>
                        <a:pt x="27" y="20"/>
                      </a:cubicBezTo>
                      <a:cubicBezTo>
                        <a:pt x="49" y="28"/>
                        <a:pt x="49" y="28"/>
                        <a:pt x="49" y="28"/>
                      </a:cubicBezTo>
                      <a:cubicBezTo>
                        <a:pt x="75" y="1"/>
                        <a:pt x="75" y="1"/>
                        <a:pt x="75" y="1"/>
                      </a:cubicBezTo>
                      <a:cubicBezTo>
                        <a:pt x="75" y="0"/>
                        <a:pt x="77" y="0"/>
                        <a:pt x="77" y="1"/>
                      </a:cubicBezTo>
                      <a:cubicBezTo>
                        <a:pt x="78" y="1"/>
                        <a:pt x="78" y="3"/>
                        <a:pt x="77" y="3"/>
                      </a:cubicBezTo>
                      <a:cubicBezTo>
                        <a:pt x="51" y="31"/>
                        <a:pt x="51" y="31"/>
                        <a:pt x="51" y="31"/>
                      </a:cubicBezTo>
                      <a:cubicBezTo>
                        <a:pt x="51" y="32"/>
                        <a:pt x="50" y="32"/>
                        <a:pt x="49" y="32"/>
                      </a:cubicBezTo>
                      <a:cubicBezTo>
                        <a:pt x="26" y="24"/>
                        <a:pt x="26" y="24"/>
                        <a:pt x="26" y="24"/>
                      </a:cubicBezTo>
                      <a:cubicBezTo>
                        <a:pt x="3" y="44"/>
                        <a:pt x="3" y="44"/>
                        <a:pt x="3" y="44"/>
                      </a:cubicBezTo>
                      <a:cubicBezTo>
                        <a:pt x="3" y="44"/>
                        <a:pt x="2" y="44"/>
                        <a:pt x="2" y="4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29" name="Freeform 27"/>
                <p:cNvSpPr>
                  <a:spLocks/>
                </p:cNvSpPr>
                <p:nvPr/>
              </p:nvSpPr>
              <p:spPr bwMode="auto">
                <a:xfrm>
                  <a:off x="4832350" y="5810250"/>
                  <a:ext cx="77788" cy="77788"/>
                </a:xfrm>
                <a:custGeom>
                  <a:avLst/>
                  <a:gdLst>
                    <a:gd name="T0" fmla="*/ 18 w 20"/>
                    <a:gd name="T1" fmla="*/ 20 h 20"/>
                    <a:gd name="T2" fmla="*/ 16 w 20"/>
                    <a:gd name="T3" fmla="*/ 18 h 20"/>
                    <a:gd name="T4" fmla="*/ 16 w 20"/>
                    <a:gd name="T5" fmla="*/ 4 h 20"/>
                    <a:gd name="T6" fmla="*/ 2 w 20"/>
                    <a:gd name="T7" fmla="*/ 4 h 20"/>
                    <a:gd name="T8" fmla="*/ 0 w 20"/>
                    <a:gd name="T9" fmla="*/ 2 h 20"/>
                    <a:gd name="T10" fmla="*/ 2 w 20"/>
                    <a:gd name="T11" fmla="*/ 0 h 20"/>
                    <a:gd name="T12" fmla="*/ 18 w 20"/>
                    <a:gd name="T13" fmla="*/ 0 h 20"/>
                    <a:gd name="T14" fmla="*/ 20 w 20"/>
                    <a:gd name="T15" fmla="*/ 2 h 20"/>
                    <a:gd name="T16" fmla="*/ 20 w 20"/>
                    <a:gd name="T17" fmla="*/ 18 h 20"/>
                    <a:gd name="T18" fmla="*/ 18 w 20"/>
                    <a:gd name="T19" fmla="*/ 20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0" h="20">
                      <a:moveTo>
                        <a:pt x="18" y="20"/>
                      </a:moveTo>
                      <a:cubicBezTo>
                        <a:pt x="17" y="20"/>
                        <a:pt x="16" y="19"/>
                        <a:pt x="16" y="18"/>
                      </a:cubicBezTo>
                      <a:cubicBezTo>
                        <a:pt x="16" y="4"/>
                        <a:pt x="16" y="4"/>
                        <a:pt x="16" y="4"/>
                      </a:cubicBezTo>
                      <a:cubicBezTo>
                        <a:pt x="2" y="4"/>
                        <a:pt x="2" y="4"/>
                        <a:pt x="2" y="4"/>
                      </a:cubicBezTo>
                      <a:cubicBezTo>
                        <a:pt x="1" y="4"/>
                        <a:pt x="0" y="3"/>
                        <a:pt x="0" y="2"/>
                      </a:cubicBezTo>
                      <a:cubicBezTo>
                        <a:pt x="0" y="1"/>
                        <a:pt x="1" y="0"/>
                        <a:pt x="2" y="0"/>
                      </a:cubicBezTo>
                      <a:cubicBezTo>
                        <a:pt x="18" y="0"/>
                        <a:pt x="18" y="0"/>
                        <a:pt x="18" y="0"/>
                      </a:cubicBezTo>
                      <a:cubicBezTo>
                        <a:pt x="19" y="0"/>
                        <a:pt x="20" y="1"/>
                        <a:pt x="20" y="2"/>
                      </a:cubicBezTo>
                      <a:cubicBezTo>
                        <a:pt x="20" y="18"/>
                        <a:pt x="20" y="18"/>
                        <a:pt x="20" y="18"/>
                      </a:cubicBezTo>
                      <a:cubicBezTo>
                        <a:pt x="20" y="19"/>
                        <a:pt x="19" y="20"/>
                        <a:pt x="18" y="2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14" name="Group 113"/>
              <p:cNvGrpSpPr>
                <a:grpSpLocks noChangeAspect="1"/>
              </p:cNvGrpSpPr>
              <p:nvPr/>
            </p:nvGrpSpPr>
            <p:grpSpPr>
              <a:xfrm>
                <a:off x="8182141" y="3595952"/>
                <a:ext cx="184388" cy="183600"/>
                <a:chOff x="6505575" y="5688013"/>
                <a:chExt cx="371475" cy="369887"/>
              </a:xfrm>
              <a:solidFill>
                <a:schemeClr val="bg1"/>
              </a:solidFill>
            </p:grpSpPr>
            <p:sp>
              <p:nvSpPr>
                <p:cNvPr id="115" name="Freeform 31"/>
                <p:cNvSpPr>
                  <a:spLocks noEditPoints="1"/>
                </p:cNvSpPr>
                <p:nvPr/>
              </p:nvSpPr>
              <p:spPr bwMode="auto">
                <a:xfrm>
                  <a:off x="6629400" y="5688013"/>
                  <a:ext cx="247650" cy="246062"/>
                </a:xfrm>
                <a:custGeom>
                  <a:avLst/>
                  <a:gdLst>
                    <a:gd name="T0" fmla="*/ 32 w 64"/>
                    <a:gd name="T1" fmla="*/ 64 h 64"/>
                    <a:gd name="T2" fmla="*/ 0 w 64"/>
                    <a:gd name="T3" fmla="*/ 32 h 64"/>
                    <a:gd name="T4" fmla="*/ 32 w 64"/>
                    <a:gd name="T5" fmla="*/ 0 h 64"/>
                    <a:gd name="T6" fmla="*/ 64 w 64"/>
                    <a:gd name="T7" fmla="*/ 32 h 64"/>
                    <a:gd name="T8" fmla="*/ 32 w 64"/>
                    <a:gd name="T9" fmla="*/ 64 h 64"/>
                    <a:gd name="T10" fmla="*/ 32 w 64"/>
                    <a:gd name="T11" fmla="*/ 4 h 64"/>
                    <a:gd name="T12" fmla="*/ 4 w 64"/>
                    <a:gd name="T13" fmla="*/ 32 h 64"/>
                    <a:gd name="T14" fmla="*/ 32 w 64"/>
                    <a:gd name="T15" fmla="*/ 60 h 64"/>
                    <a:gd name="T16" fmla="*/ 60 w 64"/>
                    <a:gd name="T17" fmla="*/ 32 h 64"/>
                    <a:gd name="T18" fmla="*/ 32 w 64"/>
                    <a:gd name="T19" fmla="*/ 4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64" h="64">
                      <a:moveTo>
                        <a:pt x="32" y="64"/>
                      </a:moveTo>
                      <a:cubicBezTo>
                        <a:pt x="14" y="64"/>
                        <a:pt x="0" y="50"/>
                        <a:pt x="0" y="32"/>
                      </a:cubicBezTo>
                      <a:cubicBezTo>
                        <a:pt x="0" y="14"/>
                        <a:pt x="14" y="0"/>
                        <a:pt x="32" y="0"/>
                      </a:cubicBezTo>
                      <a:cubicBezTo>
                        <a:pt x="50" y="0"/>
                        <a:pt x="64" y="14"/>
                        <a:pt x="64" y="32"/>
                      </a:cubicBezTo>
                      <a:cubicBezTo>
                        <a:pt x="64" y="50"/>
                        <a:pt x="50" y="64"/>
                        <a:pt x="32" y="64"/>
                      </a:cubicBezTo>
                      <a:close/>
                      <a:moveTo>
                        <a:pt x="32" y="4"/>
                      </a:moveTo>
                      <a:cubicBezTo>
                        <a:pt x="17" y="4"/>
                        <a:pt x="4" y="17"/>
                        <a:pt x="4" y="32"/>
                      </a:cubicBezTo>
                      <a:cubicBezTo>
                        <a:pt x="4" y="47"/>
                        <a:pt x="17" y="60"/>
                        <a:pt x="32" y="60"/>
                      </a:cubicBezTo>
                      <a:cubicBezTo>
                        <a:pt x="47" y="60"/>
                        <a:pt x="60" y="47"/>
                        <a:pt x="60" y="32"/>
                      </a:cubicBezTo>
                      <a:cubicBezTo>
                        <a:pt x="60" y="17"/>
                        <a:pt x="47" y="4"/>
                        <a:pt x="32" y="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16" name="Freeform 32"/>
                <p:cNvSpPr>
                  <a:spLocks/>
                </p:cNvSpPr>
                <p:nvPr/>
              </p:nvSpPr>
              <p:spPr bwMode="auto">
                <a:xfrm>
                  <a:off x="6737350" y="5849938"/>
                  <a:ext cx="15875" cy="30162"/>
                </a:xfrm>
                <a:custGeom>
                  <a:avLst/>
                  <a:gdLst>
                    <a:gd name="T0" fmla="*/ 2 w 4"/>
                    <a:gd name="T1" fmla="*/ 8 h 8"/>
                    <a:gd name="T2" fmla="*/ 0 w 4"/>
                    <a:gd name="T3" fmla="*/ 6 h 8"/>
                    <a:gd name="T4" fmla="*/ 0 w 4"/>
                    <a:gd name="T5" fmla="*/ 2 h 8"/>
                    <a:gd name="T6" fmla="*/ 2 w 4"/>
                    <a:gd name="T7" fmla="*/ 0 h 8"/>
                    <a:gd name="T8" fmla="*/ 4 w 4"/>
                    <a:gd name="T9" fmla="*/ 2 h 8"/>
                    <a:gd name="T10" fmla="*/ 4 w 4"/>
                    <a:gd name="T11" fmla="*/ 6 h 8"/>
                    <a:gd name="T12" fmla="*/ 2 w 4"/>
                    <a:gd name="T13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" h="8">
                      <a:moveTo>
                        <a:pt x="2" y="8"/>
                      </a:moveTo>
                      <a:cubicBezTo>
                        <a:pt x="1" y="8"/>
                        <a:pt x="0" y="7"/>
                        <a:pt x="0" y="6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1" y="0"/>
                        <a:pt x="2" y="0"/>
                      </a:cubicBezTo>
                      <a:cubicBezTo>
                        <a:pt x="3" y="0"/>
                        <a:pt x="4" y="1"/>
                        <a:pt x="4" y="2"/>
                      </a:cubicBezTo>
                      <a:cubicBezTo>
                        <a:pt x="4" y="6"/>
                        <a:pt x="4" y="6"/>
                        <a:pt x="4" y="6"/>
                      </a:cubicBezTo>
                      <a:cubicBezTo>
                        <a:pt x="4" y="7"/>
                        <a:pt x="3" y="8"/>
                        <a:pt x="2" y="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17" name="Freeform 33"/>
                <p:cNvSpPr>
                  <a:spLocks/>
                </p:cNvSpPr>
                <p:nvPr/>
              </p:nvSpPr>
              <p:spPr bwMode="auto">
                <a:xfrm>
                  <a:off x="6737350" y="5741988"/>
                  <a:ext cx="15875" cy="30162"/>
                </a:xfrm>
                <a:custGeom>
                  <a:avLst/>
                  <a:gdLst>
                    <a:gd name="T0" fmla="*/ 2 w 4"/>
                    <a:gd name="T1" fmla="*/ 8 h 8"/>
                    <a:gd name="T2" fmla="*/ 0 w 4"/>
                    <a:gd name="T3" fmla="*/ 6 h 8"/>
                    <a:gd name="T4" fmla="*/ 0 w 4"/>
                    <a:gd name="T5" fmla="*/ 2 h 8"/>
                    <a:gd name="T6" fmla="*/ 2 w 4"/>
                    <a:gd name="T7" fmla="*/ 0 h 8"/>
                    <a:gd name="T8" fmla="*/ 4 w 4"/>
                    <a:gd name="T9" fmla="*/ 2 h 8"/>
                    <a:gd name="T10" fmla="*/ 4 w 4"/>
                    <a:gd name="T11" fmla="*/ 6 h 8"/>
                    <a:gd name="T12" fmla="*/ 2 w 4"/>
                    <a:gd name="T13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" h="8">
                      <a:moveTo>
                        <a:pt x="2" y="8"/>
                      </a:moveTo>
                      <a:cubicBezTo>
                        <a:pt x="1" y="8"/>
                        <a:pt x="0" y="7"/>
                        <a:pt x="0" y="6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1" y="0"/>
                        <a:pt x="2" y="0"/>
                      </a:cubicBezTo>
                      <a:cubicBezTo>
                        <a:pt x="3" y="0"/>
                        <a:pt x="4" y="1"/>
                        <a:pt x="4" y="2"/>
                      </a:cubicBezTo>
                      <a:cubicBezTo>
                        <a:pt x="4" y="6"/>
                        <a:pt x="4" y="6"/>
                        <a:pt x="4" y="6"/>
                      </a:cubicBezTo>
                      <a:cubicBezTo>
                        <a:pt x="4" y="7"/>
                        <a:pt x="3" y="8"/>
                        <a:pt x="2" y="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18" name="Freeform 34"/>
                <p:cNvSpPr>
                  <a:spLocks/>
                </p:cNvSpPr>
                <p:nvPr/>
              </p:nvSpPr>
              <p:spPr bwMode="auto">
                <a:xfrm>
                  <a:off x="6715125" y="5757863"/>
                  <a:ext cx="61913" cy="107950"/>
                </a:xfrm>
                <a:custGeom>
                  <a:avLst/>
                  <a:gdLst>
                    <a:gd name="T0" fmla="*/ 8 w 16"/>
                    <a:gd name="T1" fmla="*/ 28 h 28"/>
                    <a:gd name="T2" fmla="*/ 0 w 16"/>
                    <a:gd name="T3" fmla="*/ 20 h 28"/>
                    <a:gd name="T4" fmla="*/ 2 w 16"/>
                    <a:gd name="T5" fmla="*/ 18 h 28"/>
                    <a:gd name="T6" fmla="*/ 4 w 16"/>
                    <a:gd name="T7" fmla="*/ 20 h 28"/>
                    <a:gd name="T8" fmla="*/ 8 w 16"/>
                    <a:gd name="T9" fmla="*/ 24 h 28"/>
                    <a:gd name="T10" fmla="*/ 12 w 16"/>
                    <a:gd name="T11" fmla="*/ 20 h 28"/>
                    <a:gd name="T12" fmla="*/ 8 w 16"/>
                    <a:gd name="T13" fmla="*/ 16 h 28"/>
                    <a:gd name="T14" fmla="*/ 0 w 16"/>
                    <a:gd name="T15" fmla="*/ 8 h 28"/>
                    <a:gd name="T16" fmla="*/ 8 w 16"/>
                    <a:gd name="T17" fmla="*/ 0 h 28"/>
                    <a:gd name="T18" fmla="*/ 16 w 16"/>
                    <a:gd name="T19" fmla="*/ 8 h 28"/>
                    <a:gd name="T20" fmla="*/ 14 w 16"/>
                    <a:gd name="T21" fmla="*/ 10 h 28"/>
                    <a:gd name="T22" fmla="*/ 12 w 16"/>
                    <a:gd name="T23" fmla="*/ 8 h 28"/>
                    <a:gd name="T24" fmla="*/ 8 w 16"/>
                    <a:gd name="T25" fmla="*/ 4 h 28"/>
                    <a:gd name="T26" fmla="*/ 4 w 16"/>
                    <a:gd name="T27" fmla="*/ 8 h 28"/>
                    <a:gd name="T28" fmla="*/ 8 w 16"/>
                    <a:gd name="T29" fmla="*/ 12 h 28"/>
                    <a:gd name="T30" fmla="*/ 16 w 16"/>
                    <a:gd name="T31" fmla="*/ 20 h 28"/>
                    <a:gd name="T32" fmla="*/ 8 w 16"/>
                    <a:gd name="T33" fmla="*/ 28 h 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6" h="28">
                      <a:moveTo>
                        <a:pt x="8" y="28"/>
                      </a:moveTo>
                      <a:cubicBezTo>
                        <a:pt x="4" y="28"/>
                        <a:pt x="0" y="24"/>
                        <a:pt x="0" y="20"/>
                      </a:cubicBezTo>
                      <a:cubicBezTo>
                        <a:pt x="0" y="19"/>
                        <a:pt x="1" y="18"/>
                        <a:pt x="2" y="18"/>
                      </a:cubicBezTo>
                      <a:cubicBezTo>
                        <a:pt x="3" y="18"/>
                        <a:pt x="4" y="19"/>
                        <a:pt x="4" y="20"/>
                      </a:cubicBezTo>
                      <a:cubicBezTo>
                        <a:pt x="4" y="22"/>
                        <a:pt x="6" y="24"/>
                        <a:pt x="8" y="24"/>
                      </a:cubicBezTo>
                      <a:cubicBezTo>
                        <a:pt x="10" y="24"/>
                        <a:pt x="12" y="22"/>
                        <a:pt x="12" y="20"/>
                      </a:cubicBezTo>
                      <a:cubicBezTo>
                        <a:pt x="12" y="18"/>
                        <a:pt x="10" y="16"/>
                        <a:pt x="8" y="16"/>
                      </a:cubicBezTo>
                      <a:cubicBezTo>
                        <a:pt x="4" y="16"/>
                        <a:pt x="0" y="12"/>
                        <a:pt x="0" y="8"/>
                      </a:cubicBezTo>
                      <a:cubicBezTo>
                        <a:pt x="0" y="4"/>
                        <a:pt x="4" y="0"/>
                        <a:pt x="8" y="0"/>
                      </a:cubicBezTo>
                      <a:cubicBezTo>
                        <a:pt x="12" y="0"/>
                        <a:pt x="16" y="4"/>
                        <a:pt x="16" y="8"/>
                      </a:cubicBezTo>
                      <a:cubicBezTo>
                        <a:pt x="16" y="9"/>
                        <a:pt x="15" y="10"/>
                        <a:pt x="14" y="10"/>
                      </a:cubicBezTo>
                      <a:cubicBezTo>
                        <a:pt x="13" y="10"/>
                        <a:pt x="12" y="9"/>
                        <a:pt x="12" y="8"/>
                      </a:cubicBezTo>
                      <a:cubicBezTo>
                        <a:pt x="12" y="6"/>
                        <a:pt x="10" y="4"/>
                        <a:pt x="8" y="4"/>
                      </a:cubicBezTo>
                      <a:cubicBezTo>
                        <a:pt x="6" y="4"/>
                        <a:pt x="4" y="6"/>
                        <a:pt x="4" y="8"/>
                      </a:cubicBezTo>
                      <a:cubicBezTo>
                        <a:pt x="4" y="10"/>
                        <a:pt x="6" y="12"/>
                        <a:pt x="8" y="12"/>
                      </a:cubicBezTo>
                      <a:cubicBezTo>
                        <a:pt x="12" y="12"/>
                        <a:pt x="16" y="16"/>
                        <a:pt x="16" y="20"/>
                      </a:cubicBezTo>
                      <a:cubicBezTo>
                        <a:pt x="16" y="24"/>
                        <a:pt x="12" y="28"/>
                        <a:pt x="8" y="2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19" name="Freeform 35"/>
                <p:cNvSpPr>
                  <a:spLocks/>
                </p:cNvSpPr>
                <p:nvPr/>
              </p:nvSpPr>
              <p:spPr bwMode="auto">
                <a:xfrm>
                  <a:off x="6613525" y="5973763"/>
                  <a:ext cx="15875" cy="30162"/>
                </a:xfrm>
                <a:custGeom>
                  <a:avLst/>
                  <a:gdLst>
                    <a:gd name="T0" fmla="*/ 2 w 4"/>
                    <a:gd name="T1" fmla="*/ 8 h 8"/>
                    <a:gd name="T2" fmla="*/ 0 w 4"/>
                    <a:gd name="T3" fmla="*/ 6 h 8"/>
                    <a:gd name="T4" fmla="*/ 0 w 4"/>
                    <a:gd name="T5" fmla="*/ 2 h 8"/>
                    <a:gd name="T6" fmla="*/ 2 w 4"/>
                    <a:gd name="T7" fmla="*/ 0 h 8"/>
                    <a:gd name="T8" fmla="*/ 4 w 4"/>
                    <a:gd name="T9" fmla="*/ 2 h 8"/>
                    <a:gd name="T10" fmla="*/ 4 w 4"/>
                    <a:gd name="T11" fmla="*/ 6 h 8"/>
                    <a:gd name="T12" fmla="*/ 2 w 4"/>
                    <a:gd name="T13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" h="8">
                      <a:moveTo>
                        <a:pt x="2" y="8"/>
                      </a:moveTo>
                      <a:cubicBezTo>
                        <a:pt x="1" y="8"/>
                        <a:pt x="0" y="7"/>
                        <a:pt x="0" y="6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1" y="0"/>
                        <a:pt x="2" y="0"/>
                      </a:cubicBezTo>
                      <a:cubicBezTo>
                        <a:pt x="3" y="0"/>
                        <a:pt x="4" y="1"/>
                        <a:pt x="4" y="2"/>
                      </a:cubicBezTo>
                      <a:cubicBezTo>
                        <a:pt x="4" y="6"/>
                        <a:pt x="4" y="6"/>
                        <a:pt x="4" y="6"/>
                      </a:cubicBezTo>
                      <a:cubicBezTo>
                        <a:pt x="4" y="7"/>
                        <a:pt x="3" y="8"/>
                        <a:pt x="2" y="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20" name="Freeform 36"/>
                <p:cNvSpPr>
                  <a:spLocks/>
                </p:cNvSpPr>
                <p:nvPr/>
              </p:nvSpPr>
              <p:spPr bwMode="auto">
                <a:xfrm>
                  <a:off x="6613525" y="5865813"/>
                  <a:ext cx="15875" cy="30162"/>
                </a:xfrm>
                <a:custGeom>
                  <a:avLst/>
                  <a:gdLst>
                    <a:gd name="T0" fmla="*/ 2 w 4"/>
                    <a:gd name="T1" fmla="*/ 8 h 8"/>
                    <a:gd name="T2" fmla="*/ 0 w 4"/>
                    <a:gd name="T3" fmla="*/ 6 h 8"/>
                    <a:gd name="T4" fmla="*/ 0 w 4"/>
                    <a:gd name="T5" fmla="*/ 2 h 8"/>
                    <a:gd name="T6" fmla="*/ 2 w 4"/>
                    <a:gd name="T7" fmla="*/ 0 h 8"/>
                    <a:gd name="T8" fmla="*/ 4 w 4"/>
                    <a:gd name="T9" fmla="*/ 2 h 8"/>
                    <a:gd name="T10" fmla="*/ 4 w 4"/>
                    <a:gd name="T11" fmla="*/ 6 h 8"/>
                    <a:gd name="T12" fmla="*/ 2 w 4"/>
                    <a:gd name="T13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" h="8">
                      <a:moveTo>
                        <a:pt x="2" y="8"/>
                      </a:moveTo>
                      <a:cubicBezTo>
                        <a:pt x="1" y="8"/>
                        <a:pt x="0" y="7"/>
                        <a:pt x="0" y="6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1" y="0"/>
                        <a:pt x="2" y="0"/>
                      </a:cubicBezTo>
                      <a:cubicBezTo>
                        <a:pt x="3" y="0"/>
                        <a:pt x="4" y="1"/>
                        <a:pt x="4" y="2"/>
                      </a:cubicBezTo>
                      <a:cubicBezTo>
                        <a:pt x="4" y="6"/>
                        <a:pt x="4" y="6"/>
                        <a:pt x="4" y="6"/>
                      </a:cubicBezTo>
                      <a:cubicBezTo>
                        <a:pt x="4" y="7"/>
                        <a:pt x="3" y="8"/>
                        <a:pt x="2" y="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21" name="Freeform 37"/>
                <p:cNvSpPr>
                  <a:spLocks/>
                </p:cNvSpPr>
                <p:nvPr/>
              </p:nvSpPr>
              <p:spPr bwMode="auto">
                <a:xfrm>
                  <a:off x="6591300" y="5880100"/>
                  <a:ext cx="61913" cy="107950"/>
                </a:xfrm>
                <a:custGeom>
                  <a:avLst/>
                  <a:gdLst>
                    <a:gd name="T0" fmla="*/ 8 w 16"/>
                    <a:gd name="T1" fmla="*/ 28 h 28"/>
                    <a:gd name="T2" fmla="*/ 0 w 16"/>
                    <a:gd name="T3" fmla="*/ 20 h 28"/>
                    <a:gd name="T4" fmla="*/ 2 w 16"/>
                    <a:gd name="T5" fmla="*/ 18 h 28"/>
                    <a:gd name="T6" fmla="*/ 4 w 16"/>
                    <a:gd name="T7" fmla="*/ 20 h 28"/>
                    <a:gd name="T8" fmla="*/ 8 w 16"/>
                    <a:gd name="T9" fmla="*/ 24 h 28"/>
                    <a:gd name="T10" fmla="*/ 12 w 16"/>
                    <a:gd name="T11" fmla="*/ 20 h 28"/>
                    <a:gd name="T12" fmla="*/ 8 w 16"/>
                    <a:gd name="T13" fmla="*/ 16 h 28"/>
                    <a:gd name="T14" fmla="*/ 0 w 16"/>
                    <a:gd name="T15" fmla="*/ 8 h 28"/>
                    <a:gd name="T16" fmla="*/ 8 w 16"/>
                    <a:gd name="T17" fmla="*/ 0 h 28"/>
                    <a:gd name="T18" fmla="*/ 16 w 16"/>
                    <a:gd name="T19" fmla="*/ 8 h 28"/>
                    <a:gd name="T20" fmla="*/ 14 w 16"/>
                    <a:gd name="T21" fmla="*/ 10 h 28"/>
                    <a:gd name="T22" fmla="*/ 12 w 16"/>
                    <a:gd name="T23" fmla="*/ 8 h 28"/>
                    <a:gd name="T24" fmla="*/ 8 w 16"/>
                    <a:gd name="T25" fmla="*/ 4 h 28"/>
                    <a:gd name="T26" fmla="*/ 4 w 16"/>
                    <a:gd name="T27" fmla="*/ 8 h 28"/>
                    <a:gd name="T28" fmla="*/ 8 w 16"/>
                    <a:gd name="T29" fmla="*/ 12 h 28"/>
                    <a:gd name="T30" fmla="*/ 16 w 16"/>
                    <a:gd name="T31" fmla="*/ 20 h 28"/>
                    <a:gd name="T32" fmla="*/ 8 w 16"/>
                    <a:gd name="T33" fmla="*/ 28 h 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6" h="28">
                      <a:moveTo>
                        <a:pt x="8" y="28"/>
                      </a:moveTo>
                      <a:cubicBezTo>
                        <a:pt x="4" y="28"/>
                        <a:pt x="0" y="24"/>
                        <a:pt x="0" y="20"/>
                      </a:cubicBezTo>
                      <a:cubicBezTo>
                        <a:pt x="0" y="19"/>
                        <a:pt x="1" y="18"/>
                        <a:pt x="2" y="18"/>
                      </a:cubicBezTo>
                      <a:cubicBezTo>
                        <a:pt x="3" y="18"/>
                        <a:pt x="4" y="19"/>
                        <a:pt x="4" y="20"/>
                      </a:cubicBezTo>
                      <a:cubicBezTo>
                        <a:pt x="4" y="22"/>
                        <a:pt x="6" y="24"/>
                        <a:pt x="8" y="24"/>
                      </a:cubicBezTo>
                      <a:cubicBezTo>
                        <a:pt x="10" y="24"/>
                        <a:pt x="12" y="22"/>
                        <a:pt x="12" y="20"/>
                      </a:cubicBezTo>
                      <a:cubicBezTo>
                        <a:pt x="12" y="18"/>
                        <a:pt x="10" y="16"/>
                        <a:pt x="8" y="16"/>
                      </a:cubicBezTo>
                      <a:cubicBezTo>
                        <a:pt x="4" y="16"/>
                        <a:pt x="0" y="12"/>
                        <a:pt x="0" y="8"/>
                      </a:cubicBezTo>
                      <a:cubicBezTo>
                        <a:pt x="0" y="4"/>
                        <a:pt x="4" y="0"/>
                        <a:pt x="8" y="0"/>
                      </a:cubicBezTo>
                      <a:cubicBezTo>
                        <a:pt x="12" y="0"/>
                        <a:pt x="16" y="4"/>
                        <a:pt x="16" y="8"/>
                      </a:cubicBezTo>
                      <a:cubicBezTo>
                        <a:pt x="16" y="9"/>
                        <a:pt x="15" y="10"/>
                        <a:pt x="14" y="10"/>
                      </a:cubicBezTo>
                      <a:cubicBezTo>
                        <a:pt x="13" y="10"/>
                        <a:pt x="12" y="9"/>
                        <a:pt x="12" y="8"/>
                      </a:cubicBezTo>
                      <a:cubicBezTo>
                        <a:pt x="12" y="6"/>
                        <a:pt x="10" y="4"/>
                        <a:pt x="8" y="4"/>
                      </a:cubicBezTo>
                      <a:cubicBezTo>
                        <a:pt x="6" y="4"/>
                        <a:pt x="4" y="6"/>
                        <a:pt x="4" y="8"/>
                      </a:cubicBezTo>
                      <a:cubicBezTo>
                        <a:pt x="4" y="10"/>
                        <a:pt x="6" y="12"/>
                        <a:pt x="8" y="12"/>
                      </a:cubicBezTo>
                      <a:cubicBezTo>
                        <a:pt x="12" y="12"/>
                        <a:pt x="16" y="16"/>
                        <a:pt x="16" y="20"/>
                      </a:cubicBezTo>
                      <a:cubicBezTo>
                        <a:pt x="16" y="24"/>
                        <a:pt x="12" y="28"/>
                        <a:pt x="8" y="2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22" name="Freeform 38"/>
                <p:cNvSpPr>
                  <a:spLocks/>
                </p:cNvSpPr>
                <p:nvPr/>
              </p:nvSpPr>
              <p:spPr bwMode="auto">
                <a:xfrm>
                  <a:off x="6505575" y="5811838"/>
                  <a:ext cx="247650" cy="246062"/>
                </a:xfrm>
                <a:custGeom>
                  <a:avLst/>
                  <a:gdLst>
                    <a:gd name="T0" fmla="*/ 32 w 64"/>
                    <a:gd name="T1" fmla="*/ 64 h 64"/>
                    <a:gd name="T2" fmla="*/ 0 w 64"/>
                    <a:gd name="T3" fmla="*/ 32 h 64"/>
                    <a:gd name="T4" fmla="*/ 10 w 64"/>
                    <a:gd name="T5" fmla="*/ 9 h 64"/>
                    <a:gd name="T6" fmla="*/ 34 w 64"/>
                    <a:gd name="T7" fmla="*/ 0 h 64"/>
                    <a:gd name="T8" fmla="*/ 36 w 64"/>
                    <a:gd name="T9" fmla="*/ 2 h 64"/>
                    <a:gd name="T10" fmla="*/ 34 w 64"/>
                    <a:gd name="T11" fmla="*/ 4 h 64"/>
                    <a:gd name="T12" fmla="*/ 13 w 64"/>
                    <a:gd name="T13" fmla="*/ 12 h 64"/>
                    <a:gd name="T14" fmla="*/ 4 w 64"/>
                    <a:gd name="T15" fmla="*/ 32 h 64"/>
                    <a:gd name="T16" fmla="*/ 32 w 64"/>
                    <a:gd name="T17" fmla="*/ 60 h 64"/>
                    <a:gd name="T18" fmla="*/ 52 w 64"/>
                    <a:gd name="T19" fmla="*/ 51 h 64"/>
                    <a:gd name="T20" fmla="*/ 60 w 64"/>
                    <a:gd name="T21" fmla="*/ 30 h 64"/>
                    <a:gd name="T22" fmla="*/ 62 w 64"/>
                    <a:gd name="T23" fmla="*/ 28 h 64"/>
                    <a:gd name="T24" fmla="*/ 64 w 64"/>
                    <a:gd name="T25" fmla="*/ 30 h 64"/>
                    <a:gd name="T26" fmla="*/ 55 w 64"/>
                    <a:gd name="T27" fmla="*/ 54 h 64"/>
                    <a:gd name="T28" fmla="*/ 32 w 64"/>
                    <a:gd name="T29" fmla="*/ 64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64" h="64">
                      <a:moveTo>
                        <a:pt x="32" y="64"/>
                      </a:moveTo>
                      <a:cubicBezTo>
                        <a:pt x="14" y="64"/>
                        <a:pt x="0" y="50"/>
                        <a:pt x="0" y="32"/>
                      </a:cubicBezTo>
                      <a:cubicBezTo>
                        <a:pt x="0" y="23"/>
                        <a:pt x="4" y="15"/>
                        <a:pt x="10" y="9"/>
                      </a:cubicBezTo>
                      <a:cubicBezTo>
                        <a:pt x="17" y="3"/>
                        <a:pt x="25" y="0"/>
                        <a:pt x="34" y="0"/>
                      </a:cubicBezTo>
                      <a:cubicBezTo>
                        <a:pt x="35" y="0"/>
                        <a:pt x="36" y="1"/>
                        <a:pt x="36" y="2"/>
                      </a:cubicBezTo>
                      <a:cubicBezTo>
                        <a:pt x="36" y="3"/>
                        <a:pt x="35" y="4"/>
                        <a:pt x="34" y="4"/>
                      </a:cubicBezTo>
                      <a:cubicBezTo>
                        <a:pt x="26" y="4"/>
                        <a:pt x="19" y="6"/>
                        <a:pt x="13" y="12"/>
                      </a:cubicBezTo>
                      <a:cubicBezTo>
                        <a:pt x="7" y="17"/>
                        <a:pt x="4" y="24"/>
                        <a:pt x="4" y="32"/>
                      </a:cubicBezTo>
                      <a:cubicBezTo>
                        <a:pt x="4" y="47"/>
                        <a:pt x="17" y="60"/>
                        <a:pt x="32" y="60"/>
                      </a:cubicBezTo>
                      <a:cubicBezTo>
                        <a:pt x="40" y="60"/>
                        <a:pt x="47" y="57"/>
                        <a:pt x="52" y="51"/>
                      </a:cubicBezTo>
                      <a:cubicBezTo>
                        <a:pt x="58" y="45"/>
                        <a:pt x="60" y="38"/>
                        <a:pt x="60" y="30"/>
                      </a:cubicBezTo>
                      <a:cubicBezTo>
                        <a:pt x="60" y="29"/>
                        <a:pt x="61" y="28"/>
                        <a:pt x="62" y="28"/>
                      </a:cubicBezTo>
                      <a:cubicBezTo>
                        <a:pt x="63" y="28"/>
                        <a:pt x="64" y="29"/>
                        <a:pt x="64" y="30"/>
                      </a:cubicBezTo>
                      <a:cubicBezTo>
                        <a:pt x="64" y="39"/>
                        <a:pt x="61" y="47"/>
                        <a:pt x="55" y="54"/>
                      </a:cubicBezTo>
                      <a:cubicBezTo>
                        <a:pt x="49" y="60"/>
                        <a:pt x="41" y="64"/>
                        <a:pt x="32" y="6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141" name="Group 140"/>
            <p:cNvGrpSpPr/>
            <p:nvPr/>
          </p:nvGrpSpPr>
          <p:grpSpPr>
            <a:xfrm>
              <a:off x="378108" y="5838359"/>
              <a:ext cx="8378543" cy="676952"/>
              <a:chOff x="378108" y="5838359"/>
              <a:chExt cx="8378543" cy="676952"/>
            </a:xfrm>
          </p:grpSpPr>
          <p:grpSp>
            <p:nvGrpSpPr>
              <p:cNvPr id="142" name="Group 141"/>
              <p:cNvGrpSpPr/>
              <p:nvPr/>
            </p:nvGrpSpPr>
            <p:grpSpPr>
              <a:xfrm>
                <a:off x="1046253" y="6012385"/>
                <a:ext cx="7042253" cy="502926"/>
                <a:chOff x="1324276" y="5837125"/>
                <a:chExt cx="7042253" cy="502926"/>
              </a:xfrm>
            </p:grpSpPr>
            <p:sp>
              <p:nvSpPr>
                <p:cNvPr id="144" name="TextBox 143"/>
                <p:cNvSpPr txBox="1"/>
                <p:nvPr/>
              </p:nvSpPr>
              <p:spPr>
                <a:xfrm>
                  <a:off x="2542219" y="5867159"/>
                  <a:ext cx="5824310" cy="438157"/>
                </a:xfrm>
                <a:prstGeom prst="rect">
                  <a:avLst/>
                </a:prstGeom>
                <a:noFill/>
                <a:ln w="6350">
                  <a:noFill/>
                  <a:prstDash val="dash"/>
                </a:ln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0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ea typeface="+mn-ea"/>
                      <a:cs typeface="+mn-cs"/>
                    </a:rPr>
                    <a:t>Lorem </a:t>
                  </a:r>
                  <a:r>
                    <a:rPr kumimoji="0" lang="en-US" sz="1000" b="0" i="0" u="none" strike="noStrike" kern="1200" cap="none" spc="0" normalizeH="0" baseline="0" noProof="0" dirty="0" err="1">
                      <a:ln>
                        <a:noFill/>
                      </a:ln>
                      <a:effectLst/>
                      <a:uLnTx/>
                      <a:uFillTx/>
                      <a:ea typeface="+mn-ea"/>
                      <a:cs typeface="+mn-cs"/>
                    </a:rPr>
                    <a:t>Ipsum</a:t>
                  </a:r>
                  <a:r>
                    <a:rPr kumimoji="0" lang="en-US" sz="1000" b="0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ea typeface="+mn-ea"/>
                      <a:cs typeface="+mn-cs"/>
                    </a:rPr>
                    <a:t> is simply dummy text of the printing and typesetting industry. Lorem </a:t>
                  </a:r>
                  <a:r>
                    <a:rPr kumimoji="0" lang="en-US" sz="1000" b="0" i="0" u="none" strike="noStrike" kern="1200" cap="none" spc="0" normalizeH="0" baseline="0" noProof="0" dirty="0" err="1">
                      <a:ln>
                        <a:noFill/>
                      </a:ln>
                      <a:effectLst/>
                      <a:uLnTx/>
                      <a:uFillTx/>
                      <a:ea typeface="+mn-ea"/>
                      <a:cs typeface="+mn-cs"/>
                    </a:rPr>
                    <a:t>Ipsum</a:t>
                  </a:r>
                  <a:r>
                    <a:rPr kumimoji="0" lang="en-US" sz="1000" b="0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ea typeface="+mn-ea"/>
                      <a:cs typeface="+mn-cs"/>
                    </a:rPr>
                    <a:t> has been the industry's standard dummy text ever since the 1500s, when an unknown printer took a galley of type and scrambled it to make a type specimen book. </a:t>
                  </a:r>
                </a:p>
              </p:txBody>
            </p:sp>
            <p:grpSp>
              <p:nvGrpSpPr>
                <p:cNvPr id="145" name="Group 144"/>
                <p:cNvGrpSpPr/>
                <p:nvPr/>
              </p:nvGrpSpPr>
              <p:grpSpPr>
                <a:xfrm>
                  <a:off x="1324276" y="5837125"/>
                  <a:ext cx="1005964" cy="502926"/>
                  <a:chOff x="1030067" y="5837125"/>
                  <a:chExt cx="1005964" cy="502926"/>
                </a:xfrm>
              </p:grpSpPr>
              <p:grpSp>
                <p:nvGrpSpPr>
                  <p:cNvPr id="146" name="Group 145"/>
                  <p:cNvGrpSpPr/>
                  <p:nvPr/>
                </p:nvGrpSpPr>
                <p:grpSpPr>
                  <a:xfrm>
                    <a:off x="1346836" y="5837125"/>
                    <a:ext cx="372427" cy="146052"/>
                    <a:chOff x="1094423" y="5837125"/>
                    <a:chExt cx="372427" cy="146052"/>
                  </a:xfrm>
                </p:grpSpPr>
                <p:grpSp>
                  <p:nvGrpSpPr>
                    <p:cNvPr id="148" name="Group 147"/>
                    <p:cNvGrpSpPr/>
                    <p:nvPr/>
                  </p:nvGrpSpPr>
                  <p:grpSpPr>
                    <a:xfrm flipV="1">
                      <a:off x="1094423" y="5849531"/>
                      <a:ext cx="156454" cy="129076"/>
                      <a:chOff x="1094423" y="5849531"/>
                      <a:chExt cx="156454" cy="129076"/>
                    </a:xfrm>
                    <a:solidFill>
                      <a:schemeClr val="tx1">
                        <a:lumMod val="65000"/>
                        <a:lumOff val="35000"/>
                      </a:schemeClr>
                    </a:solidFill>
                  </p:grpSpPr>
                  <p:sp>
                    <p:nvSpPr>
                      <p:cNvPr id="150" name="Freeform 38"/>
                      <p:cNvSpPr>
                        <a:spLocks/>
                      </p:cNvSpPr>
                      <p:nvPr/>
                    </p:nvSpPr>
                    <p:spPr bwMode="auto">
                      <a:xfrm flipV="1">
                        <a:off x="1094423" y="5895327"/>
                        <a:ext cx="156454" cy="83280"/>
                      </a:xfrm>
                      <a:custGeom>
                        <a:avLst/>
                        <a:gdLst>
                          <a:gd name="T0" fmla="*/ 0 w 351"/>
                          <a:gd name="T1" fmla="*/ 176 h 187"/>
                          <a:gd name="T2" fmla="*/ 11 w 351"/>
                          <a:gd name="T3" fmla="*/ 187 h 187"/>
                          <a:gd name="T4" fmla="*/ 340 w 351"/>
                          <a:gd name="T5" fmla="*/ 187 h 187"/>
                          <a:gd name="T6" fmla="*/ 351 w 351"/>
                          <a:gd name="T7" fmla="*/ 176 h 187"/>
                          <a:gd name="T8" fmla="*/ 351 w 351"/>
                          <a:gd name="T9" fmla="*/ 103 h 187"/>
                          <a:gd name="T10" fmla="*/ 341 w 351"/>
                          <a:gd name="T11" fmla="*/ 87 h 187"/>
                          <a:gd name="T12" fmla="*/ 186 w 351"/>
                          <a:gd name="T13" fmla="*/ 3 h 187"/>
                          <a:gd name="T14" fmla="*/ 166 w 351"/>
                          <a:gd name="T15" fmla="*/ 3 h 187"/>
                          <a:gd name="T16" fmla="*/ 10 w 351"/>
                          <a:gd name="T17" fmla="*/ 87 h 187"/>
                          <a:gd name="T18" fmla="*/ 0 w 351"/>
                          <a:gd name="T19" fmla="*/ 104 h 187"/>
                          <a:gd name="T20" fmla="*/ 0 w 351"/>
                          <a:gd name="T21" fmla="*/ 176 h 187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</a:cxnLst>
                        <a:rect l="0" t="0" r="r" b="b"/>
                        <a:pathLst>
                          <a:path w="351" h="187">
                            <a:moveTo>
                              <a:pt x="0" y="176"/>
                            </a:moveTo>
                            <a:cubicBezTo>
                              <a:pt x="0" y="182"/>
                              <a:pt x="5" y="187"/>
                              <a:pt x="11" y="187"/>
                            </a:cubicBezTo>
                            <a:cubicBezTo>
                              <a:pt x="340" y="187"/>
                              <a:pt x="340" y="187"/>
                              <a:pt x="340" y="187"/>
                            </a:cubicBezTo>
                            <a:cubicBezTo>
                              <a:pt x="346" y="187"/>
                              <a:pt x="351" y="182"/>
                              <a:pt x="351" y="176"/>
                            </a:cubicBezTo>
                            <a:cubicBezTo>
                              <a:pt x="351" y="103"/>
                              <a:pt x="351" y="103"/>
                              <a:pt x="351" y="103"/>
                            </a:cubicBezTo>
                            <a:cubicBezTo>
                              <a:pt x="351" y="97"/>
                              <a:pt x="347" y="90"/>
                              <a:pt x="341" y="87"/>
                            </a:cubicBezTo>
                            <a:cubicBezTo>
                              <a:pt x="186" y="3"/>
                              <a:pt x="186" y="3"/>
                              <a:pt x="186" y="3"/>
                            </a:cubicBezTo>
                            <a:cubicBezTo>
                              <a:pt x="180" y="0"/>
                              <a:pt x="171" y="0"/>
                              <a:pt x="166" y="3"/>
                            </a:cubicBezTo>
                            <a:cubicBezTo>
                              <a:pt x="10" y="87"/>
                              <a:pt x="10" y="87"/>
                              <a:pt x="10" y="87"/>
                            </a:cubicBezTo>
                            <a:cubicBezTo>
                              <a:pt x="5" y="90"/>
                              <a:pt x="0" y="98"/>
                              <a:pt x="0" y="104"/>
                            </a:cubicBezTo>
                            <a:lnTo>
                              <a:pt x="0" y="176"/>
                            </a:lnTo>
                            <a:close/>
                          </a:path>
                        </a:pathLst>
                      </a:custGeom>
                      <a:solidFill>
                        <a:srgbClr val="3B3939"/>
                      </a:solidFill>
                      <a:ln w="15875" cap="flat">
                        <a:noFill/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1" name="Freeform 38"/>
                      <p:cNvSpPr>
                        <a:spLocks/>
                      </p:cNvSpPr>
                      <p:nvPr/>
                    </p:nvSpPr>
                    <p:spPr bwMode="auto">
                      <a:xfrm flipV="1">
                        <a:off x="1094423" y="5849531"/>
                        <a:ext cx="156454" cy="32107"/>
                      </a:xfrm>
                      <a:prstGeom prst="roundRect">
                        <a:avLst/>
                      </a:prstGeom>
                      <a:solidFill>
                        <a:srgbClr val="3B3939"/>
                      </a:solidFill>
                      <a:ln w="15875" cap="flat">
                        <a:noFill/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sp>
                  <p:nvSpPr>
                    <p:cNvPr id="149" name="TextBox 148"/>
                    <p:cNvSpPr txBox="1"/>
                    <p:nvPr/>
                  </p:nvSpPr>
                  <p:spPr>
                    <a:xfrm>
                      <a:off x="1294448" y="5837125"/>
                      <a:ext cx="172402" cy="146052"/>
                    </a:xfrm>
                    <a:prstGeom prst="rect">
                      <a:avLst/>
                    </a:prstGeom>
                    <a:noFill/>
                    <a:ln w="6350">
                      <a:noFill/>
                      <a:prstDash val="dash"/>
                    </a:ln>
                  </p:spPr>
                  <p:txBody>
                    <a:bodyPr wrap="square" lIns="0" tIns="0" rIns="0" bIns="0" rtlCol="0">
                      <a:spAutoFit/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B3939"/>
                          </a:solidFill>
                          <a:effectLst/>
                          <a:uLnTx/>
                          <a:uFillTx/>
                          <a:ea typeface="+mn-ea"/>
                          <a:cs typeface="+mn-cs"/>
                        </a:rPr>
                        <a:t>UP</a:t>
                      </a:r>
                    </a:p>
                  </p:txBody>
                </p:sp>
              </p:grpSp>
              <p:sp>
                <p:nvSpPr>
                  <p:cNvPr id="147" name="TextBox 146"/>
                  <p:cNvSpPr txBox="1"/>
                  <p:nvPr/>
                </p:nvSpPr>
                <p:spPr>
                  <a:xfrm>
                    <a:off x="1030067" y="5989525"/>
                    <a:ext cx="1005964" cy="350526"/>
                  </a:xfrm>
                  <a:prstGeom prst="rect">
                    <a:avLst/>
                  </a:prstGeom>
                  <a:noFill/>
                  <a:ln w="6350">
                    <a:noFill/>
                    <a:prstDash val="dash"/>
                  </a:ln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2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B3939"/>
                        </a:solidFill>
                        <a:effectLst/>
                        <a:uLnTx/>
                        <a:uFillTx/>
                        <a:ea typeface="+mn-ea"/>
                        <a:cs typeface="+mn-cs"/>
                      </a:rPr>
                      <a:t>14.44 %</a:t>
                    </a:r>
                  </a:p>
                </p:txBody>
              </p:sp>
            </p:grpSp>
          </p:grpSp>
          <p:cxnSp>
            <p:nvCxnSpPr>
              <p:cNvPr id="143" name="Straight Connector 142"/>
              <p:cNvCxnSpPr/>
              <p:nvPr/>
            </p:nvCxnSpPr>
            <p:spPr>
              <a:xfrm>
                <a:off x="378108" y="5838359"/>
                <a:ext cx="8378543" cy="0"/>
              </a:xfrm>
              <a:prstGeom prst="line">
                <a:avLst/>
              </a:prstGeom>
              <a:ln w="127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356124088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PowerPoint Presentation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852138-FCC6-44DD-9FFC-1C789392E7AA}" type="datetime1">
              <a:rPr lang="en-US" smtClean="0"/>
              <a:t>11/15/2018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06E70-9524-410D-AE9B-78D656EAA14D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80" name="Rectangle 79"/>
          <p:cNvSpPr/>
          <p:nvPr/>
        </p:nvSpPr>
        <p:spPr>
          <a:xfrm>
            <a:off x="12344400" y="0"/>
            <a:ext cx="469900" cy="469900"/>
          </a:xfrm>
          <a:prstGeom prst="rect">
            <a:avLst/>
          </a:pr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Rectangle 80"/>
          <p:cNvSpPr/>
          <p:nvPr/>
        </p:nvSpPr>
        <p:spPr>
          <a:xfrm>
            <a:off x="12344400" y="649557"/>
            <a:ext cx="469900" cy="469900"/>
          </a:xfrm>
          <a:prstGeom prst="rect">
            <a:avLst/>
          </a:prstGeom>
          <a:solidFill>
            <a:srgbClr val="AFAB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2" name="Rectangle 81"/>
          <p:cNvSpPr/>
          <p:nvPr/>
        </p:nvSpPr>
        <p:spPr>
          <a:xfrm>
            <a:off x="12344400" y="1299114"/>
            <a:ext cx="469900" cy="469900"/>
          </a:xfrm>
          <a:prstGeom prst="rect">
            <a:avLst/>
          </a:prstGeom>
          <a:solidFill>
            <a:srgbClr val="7671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Rectangle 82"/>
          <p:cNvSpPr/>
          <p:nvPr/>
        </p:nvSpPr>
        <p:spPr>
          <a:xfrm>
            <a:off x="12966699" y="0"/>
            <a:ext cx="469900" cy="469900"/>
          </a:xfrm>
          <a:prstGeom prst="rect">
            <a:avLst/>
          </a:prstGeom>
          <a:solidFill>
            <a:srgbClr val="E878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Rectangle 83"/>
          <p:cNvSpPr/>
          <p:nvPr/>
        </p:nvSpPr>
        <p:spPr>
          <a:xfrm>
            <a:off x="12966699" y="649557"/>
            <a:ext cx="469900" cy="469900"/>
          </a:xfrm>
          <a:prstGeom prst="rect">
            <a:avLst/>
          </a:prstGeom>
          <a:solidFill>
            <a:srgbClr val="E258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5" name="Rectangle 84"/>
          <p:cNvSpPr/>
          <p:nvPr/>
        </p:nvSpPr>
        <p:spPr>
          <a:xfrm>
            <a:off x="12966699" y="1299114"/>
            <a:ext cx="469900" cy="469900"/>
          </a:xfrm>
          <a:prstGeom prst="rect">
            <a:avLst/>
          </a:prstGeom>
          <a:solidFill>
            <a:srgbClr val="D63E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6" name="Rectangle 85"/>
          <p:cNvSpPr/>
          <p:nvPr/>
        </p:nvSpPr>
        <p:spPr>
          <a:xfrm>
            <a:off x="13588998" y="0"/>
            <a:ext cx="469900" cy="469900"/>
          </a:xfrm>
          <a:prstGeom prst="rect">
            <a:avLst/>
          </a:prstGeom>
          <a:solidFill>
            <a:srgbClr val="8EDC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7" name="Rectangle 86"/>
          <p:cNvSpPr/>
          <p:nvPr/>
        </p:nvSpPr>
        <p:spPr>
          <a:xfrm>
            <a:off x="13588998" y="649557"/>
            <a:ext cx="469900" cy="469900"/>
          </a:xfrm>
          <a:prstGeom prst="rect">
            <a:avLst/>
          </a:prstGeom>
          <a:solidFill>
            <a:srgbClr val="78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8" name="Rectangle 87"/>
          <p:cNvSpPr/>
          <p:nvPr/>
        </p:nvSpPr>
        <p:spPr>
          <a:xfrm>
            <a:off x="13588998" y="1299114"/>
            <a:ext cx="469900" cy="469900"/>
          </a:xfrm>
          <a:prstGeom prst="rect">
            <a:avLst/>
          </a:prstGeom>
          <a:solidFill>
            <a:srgbClr val="4CC7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9" name="Rectangle 88"/>
          <p:cNvSpPr/>
          <p:nvPr/>
        </p:nvSpPr>
        <p:spPr>
          <a:xfrm>
            <a:off x="14211297" y="0"/>
            <a:ext cx="469900" cy="469900"/>
          </a:xfrm>
          <a:prstGeom prst="rect">
            <a:avLst/>
          </a:prstGeom>
          <a:solidFill>
            <a:srgbClr val="5553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0" name="Rectangle 89"/>
          <p:cNvSpPr/>
          <p:nvPr/>
        </p:nvSpPr>
        <p:spPr>
          <a:xfrm>
            <a:off x="14211297" y="649557"/>
            <a:ext cx="469900" cy="469900"/>
          </a:xfrm>
          <a:prstGeom prst="rect">
            <a:avLst/>
          </a:prstGeom>
          <a:solidFill>
            <a:srgbClr val="3B39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1" name="Rectangle 90"/>
          <p:cNvSpPr/>
          <p:nvPr/>
        </p:nvSpPr>
        <p:spPr>
          <a:xfrm>
            <a:off x="14211297" y="1299114"/>
            <a:ext cx="469900" cy="469900"/>
          </a:xfrm>
          <a:prstGeom prst="rect">
            <a:avLst/>
          </a:prstGeom>
          <a:solidFill>
            <a:srgbClr val="2523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72" name="Table 7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07827013"/>
              </p:ext>
            </p:extLst>
          </p:nvPr>
        </p:nvGraphicFramePr>
        <p:xfrm>
          <a:off x="2232865" y="4270387"/>
          <a:ext cx="8264592" cy="19292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774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7743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7743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7743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7743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37743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algn="l"/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LOREM IPSUM 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LOREM IPSUM 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LOREM IPSUM 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LOREM IPSUM 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LOREM IPSUM 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LOREM IPSUM 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3724">
                <a:tc>
                  <a:txBody>
                    <a:bodyPr/>
                    <a:lstStyle/>
                    <a:p>
                      <a:pPr algn="l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Lorem </a:t>
                      </a:r>
                      <a:r>
                        <a:rPr lang="en-US" sz="1000" dirty="0" err="1">
                          <a:solidFill>
                            <a:schemeClr val="tx1"/>
                          </a:solidFill>
                        </a:rPr>
                        <a:t>Ipsum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marL="21600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simply dummy 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20%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80%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simply dummy 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simply dummy 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13724">
                <a:tc>
                  <a:txBody>
                    <a:bodyPr/>
                    <a:lstStyle/>
                    <a:p>
                      <a:pPr algn="l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Lorem </a:t>
                      </a:r>
                      <a:r>
                        <a:rPr lang="en-US" sz="1000" dirty="0" err="1">
                          <a:solidFill>
                            <a:schemeClr val="tx1"/>
                          </a:solidFill>
                        </a:rPr>
                        <a:t>Ipsum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marL="21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simply dummy 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30%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60%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simply dummy 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simply dummy 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13724">
                <a:tc>
                  <a:txBody>
                    <a:bodyPr/>
                    <a:lstStyle/>
                    <a:p>
                      <a:pPr algn="l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Lorem </a:t>
                      </a:r>
                      <a:r>
                        <a:rPr lang="en-US" sz="1000" dirty="0" err="1">
                          <a:solidFill>
                            <a:schemeClr val="tx1"/>
                          </a:solidFill>
                        </a:rPr>
                        <a:t>Ipsum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marL="21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simply dummy 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45%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40%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simply dummy </a:t>
                      </a:r>
                    </a:p>
                    <a:p>
                      <a:pPr algn="l"/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simply dummy 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13724">
                <a:tc>
                  <a:txBody>
                    <a:bodyPr/>
                    <a:lstStyle/>
                    <a:p>
                      <a:pPr algn="l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Lorem </a:t>
                      </a:r>
                      <a:r>
                        <a:rPr lang="en-US" sz="1000" dirty="0" err="1">
                          <a:solidFill>
                            <a:schemeClr val="tx1"/>
                          </a:solidFill>
                        </a:rPr>
                        <a:t>Ipsum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marL="21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simply dummy 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20%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70%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simply dummy 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simply dummy 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157" name="Chart 156"/>
          <p:cNvGraphicFramePr/>
          <p:nvPr>
            <p:extLst>
              <p:ext uri="{D42A27DB-BD31-4B8C-83A1-F6EECF244321}">
                <p14:modId xmlns:p14="http://schemas.microsoft.com/office/powerpoint/2010/main" val="1340445979"/>
              </p:ext>
            </p:extLst>
          </p:nvPr>
        </p:nvGraphicFramePr>
        <p:xfrm>
          <a:off x="1702808" y="1090484"/>
          <a:ext cx="4580015" cy="30533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59" name="Oval 158"/>
          <p:cNvSpPr/>
          <p:nvPr/>
        </p:nvSpPr>
        <p:spPr>
          <a:xfrm>
            <a:off x="2676889" y="1698269"/>
            <a:ext cx="1895253" cy="1895253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3" name="TextBox 162"/>
          <p:cNvSpPr txBox="1"/>
          <p:nvPr/>
        </p:nvSpPr>
        <p:spPr>
          <a:xfrm>
            <a:off x="3239167" y="2571502"/>
            <a:ext cx="770697" cy="153888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LOREM IPSUM</a:t>
            </a:r>
          </a:p>
        </p:txBody>
      </p:sp>
      <p:grpSp>
        <p:nvGrpSpPr>
          <p:cNvPr id="164" name="Group 163"/>
          <p:cNvGrpSpPr>
            <a:grpSpLocks noChangeAspect="1"/>
          </p:cNvGrpSpPr>
          <p:nvPr/>
        </p:nvGrpSpPr>
        <p:grpSpPr>
          <a:xfrm>
            <a:off x="3442061" y="2117361"/>
            <a:ext cx="364908" cy="416528"/>
            <a:chOff x="6089650" y="1606550"/>
            <a:chExt cx="325438" cy="371476"/>
          </a:xfrm>
          <a:solidFill>
            <a:schemeClr val="accent4"/>
          </a:solidFill>
        </p:grpSpPr>
        <p:sp>
          <p:nvSpPr>
            <p:cNvPr id="165" name="Freeform 6"/>
            <p:cNvSpPr>
              <a:spLocks noEditPoints="1"/>
            </p:cNvSpPr>
            <p:nvPr/>
          </p:nvSpPr>
          <p:spPr bwMode="auto">
            <a:xfrm>
              <a:off x="6135688" y="1652588"/>
              <a:ext cx="231775" cy="233363"/>
            </a:xfrm>
            <a:custGeom>
              <a:avLst/>
              <a:gdLst>
                <a:gd name="T0" fmla="*/ 30 w 60"/>
                <a:gd name="T1" fmla="*/ 60 h 60"/>
                <a:gd name="T2" fmla="*/ 0 w 60"/>
                <a:gd name="T3" fmla="*/ 30 h 60"/>
                <a:gd name="T4" fmla="*/ 30 w 60"/>
                <a:gd name="T5" fmla="*/ 0 h 60"/>
                <a:gd name="T6" fmla="*/ 60 w 60"/>
                <a:gd name="T7" fmla="*/ 30 h 60"/>
                <a:gd name="T8" fmla="*/ 30 w 60"/>
                <a:gd name="T9" fmla="*/ 60 h 60"/>
                <a:gd name="T10" fmla="*/ 30 w 60"/>
                <a:gd name="T11" fmla="*/ 4 h 60"/>
                <a:gd name="T12" fmla="*/ 4 w 60"/>
                <a:gd name="T13" fmla="*/ 30 h 60"/>
                <a:gd name="T14" fmla="*/ 30 w 60"/>
                <a:gd name="T15" fmla="*/ 56 h 60"/>
                <a:gd name="T16" fmla="*/ 56 w 60"/>
                <a:gd name="T17" fmla="*/ 30 h 60"/>
                <a:gd name="T18" fmla="*/ 30 w 60"/>
                <a:gd name="T19" fmla="*/ 4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60">
                  <a:moveTo>
                    <a:pt x="30" y="60"/>
                  </a:moveTo>
                  <a:cubicBezTo>
                    <a:pt x="13" y="60"/>
                    <a:pt x="0" y="47"/>
                    <a:pt x="0" y="30"/>
                  </a:cubicBezTo>
                  <a:cubicBezTo>
                    <a:pt x="0" y="13"/>
                    <a:pt x="13" y="0"/>
                    <a:pt x="30" y="0"/>
                  </a:cubicBezTo>
                  <a:cubicBezTo>
                    <a:pt x="47" y="0"/>
                    <a:pt x="60" y="13"/>
                    <a:pt x="60" y="30"/>
                  </a:cubicBezTo>
                  <a:cubicBezTo>
                    <a:pt x="60" y="47"/>
                    <a:pt x="47" y="60"/>
                    <a:pt x="30" y="60"/>
                  </a:cubicBezTo>
                  <a:close/>
                  <a:moveTo>
                    <a:pt x="30" y="4"/>
                  </a:moveTo>
                  <a:cubicBezTo>
                    <a:pt x="16" y="4"/>
                    <a:pt x="4" y="16"/>
                    <a:pt x="4" y="30"/>
                  </a:cubicBezTo>
                  <a:cubicBezTo>
                    <a:pt x="4" y="44"/>
                    <a:pt x="16" y="56"/>
                    <a:pt x="30" y="56"/>
                  </a:cubicBezTo>
                  <a:cubicBezTo>
                    <a:pt x="44" y="56"/>
                    <a:pt x="56" y="44"/>
                    <a:pt x="56" y="30"/>
                  </a:cubicBezTo>
                  <a:cubicBezTo>
                    <a:pt x="56" y="16"/>
                    <a:pt x="44" y="4"/>
                    <a:pt x="3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6" name="Freeform 7"/>
            <p:cNvSpPr>
              <a:spLocks/>
            </p:cNvSpPr>
            <p:nvPr/>
          </p:nvSpPr>
          <p:spPr bwMode="auto">
            <a:xfrm>
              <a:off x="6197600" y="1870075"/>
              <a:ext cx="107950" cy="46038"/>
            </a:xfrm>
            <a:custGeom>
              <a:avLst/>
              <a:gdLst>
                <a:gd name="T0" fmla="*/ 26 w 28"/>
                <a:gd name="T1" fmla="*/ 12 h 12"/>
                <a:gd name="T2" fmla="*/ 2 w 28"/>
                <a:gd name="T3" fmla="*/ 12 h 12"/>
                <a:gd name="T4" fmla="*/ 0 w 28"/>
                <a:gd name="T5" fmla="*/ 10 h 12"/>
                <a:gd name="T6" fmla="*/ 0 w 28"/>
                <a:gd name="T7" fmla="*/ 0 h 12"/>
                <a:gd name="T8" fmla="*/ 4 w 28"/>
                <a:gd name="T9" fmla="*/ 0 h 12"/>
                <a:gd name="T10" fmla="*/ 4 w 28"/>
                <a:gd name="T11" fmla="*/ 8 h 12"/>
                <a:gd name="T12" fmla="*/ 24 w 28"/>
                <a:gd name="T13" fmla="*/ 8 h 12"/>
                <a:gd name="T14" fmla="*/ 24 w 28"/>
                <a:gd name="T15" fmla="*/ 0 h 12"/>
                <a:gd name="T16" fmla="*/ 28 w 28"/>
                <a:gd name="T17" fmla="*/ 0 h 12"/>
                <a:gd name="T18" fmla="*/ 28 w 28"/>
                <a:gd name="T19" fmla="*/ 10 h 12"/>
                <a:gd name="T20" fmla="*/ 26 w 28"/>
                <a:gd name="T21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" h="12">
                  <a:moveTo>
                    <a:pt x="26" y="12"/>
                  </a:moveTo>
                  <a:cubicBezTo>
                    <a:pt x="2" y="12"/>
                    <a:pt x="2" y="12"/>
                    <a:pt x="2" y="12"/>
                  </a:cubicBezTo>
                  <a:cubicBezTo>
                    <a:pt x="1" y="12"/>
                    <a:pt x="0" y="11"/>
                    <a:pt x="0" y="1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24" y="8"/>
                    <a:pt x="24" y="8"/>
                    <a:pt x="24" y="8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8" y="10"/>
                    <a:pt x="28" y="10"/>
                    <a:pt x="28" y="10"/>
                  </a:cubicBezTo>
                  <a:cubicBezTo>
                    <a:pt x="28" y="11"/>
                    <a:pt x="27" y="12"/>
                    <a:pt x="2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7" name="Freeform 8"/>
            <p:cNvSpPr>
              <a:spLocks noEditPoints="1"/>
            </p:cNvSpPr>
            <p:nvPr/>
          </p:nvSpPr>
          <p:spPr bwMode="auto">
            <a:xfrm>
              <a:off x="6213475" y="1900238"/>
              <a:ext cx="76200" cy="47625"/>
            </a:xfrm>
            <a:custGeom>
              <a:avLst/>
              <a:gdLst>
                <a:gd name="T0" fmla="*/ 18 w 20"/>
                <a:gd name="T1" fmla="*/ 12 h 12"/>
                <a:gd name="T2" fmla="*/ 2 w 20"/>
                <a:gd name="T3" fmla="*/ 12 h 12"/>
                <a:gd name="T4" fmla="*/ 0 w 20"/>
                <a:gd name="T5" fmla="*/ 10 h 12"/>
                <a:gd name="T6" fmla="*/ 0 w 20"/>
                <a:gd name="T7" fmla="*/ 2 h 12"/>
                <a:gd name="T8" fmla="*/ 2 w 20"/>
                <a:gd name="T9" fmla="*/ 0 h 12"/>
                <a:gd name="T10" fmla="*/ 18 w 20"/>
                <a:gd name="T11" fmla="*/ 0 h 12"/>
                <a:gd name="T12" fmla="*/ 20 w 20"/>
                <a:gd name="T13" fmla="*/ 2 h 12"/>
                <a:gd name="T14" fmla="*/ 20 w 20"/>
                <a:gd name="T15" fmla="*/ 10 h 12"/>
                <a:gd name="T16" fmla="*/ 18 w 20"/>
                <a:gd name="T17" fmla="*/ 12 h 12"/>
                <a:gd name="T18" fmla="*/ 4 w 20"/>
                <a:gd name="T19" fmla="*/ 8 h 12"/>
                <a:gd name="T20" fmla="*/ 16 w 20"/>
                <a:gd name="T21" fmla="*/ 8 h 12"/>
                <a:gd name="T22" fmla="*/ 16 w 20"/>
                <a:gd name="T23" fmla="*/ 4 h 12"/>
                <a:gd name="T24" fmla="*/ 4 w 20"/>
                <a:gd name="T25" fmla="*/ 4 h 12"/>
                <a:gd name="T26" fmla="*/ 4 w 20"/>
                <a:gd name="T27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" h="12">
                  <a:moveTo>
                    <a:pt x="18" y="12"/>
                  </a:moveTo>
                  <a:cubicBezTo>
                    <a:pt x="2" y="12"/>
                    <a:pt x="2" y="12"/>
                    <a:pt x="2" y="12"/>
                  </a:cubicBezTo>
                  <a:cubicBezTo>
                    <a:pt x="1" y="12"/>
                    <a:pt x="0" y="11"/>
                    <a:pt x="0" y="1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9" y="0"/>
                    <a:pt x="20" y="1"/>
                    <a:pt x="20" y="2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1"/>
                    <a:pt x="19" y="12"/>
                    <a:pt x="18" y="12"/>
                  </a:cubicBezTo>
                  <a:close/>
                  <a:moveTo>
                    <a:pt x="4" y="8"/>
                  </a:moveTo>
                  <a:cubicBezTo>
                    <a:pt x="16" y="8"/>
                    <a:pt x="16" y="8"/>
                    <a:pt x="16" y="8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4" y="4"/>
                    <a:pt x="4" y="4"/>
                    <a:pt x="4" y="4"/>
                  </a:cubicBezTo>
                  <a:lnTo>
                    <a:pt x="4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8" name="Freeform 9"/>
            <p:cNvSpPr>
              <a:spLocks/>
            </p:cNvSpPr>
            <p:nvPr/>
          </p:nvSpPr>
          <p:spPr bwMode="auto">
            <a:xfrm>
              <a:off x="6243638" y="1931988"/>
              <a:ext cx="15875" cy="46038"/>
            </a:xfrm>
            <a:custGeom>
              <a:avLst/>
              <a:gdLst>
                <a:gd name="T0" fmla="*/ 2 w 4"/>
                <a:gd name="T1" fmla="*/ 12 h 12"/>
                <a:gd name="T2" fmla="*/ 0 w 4"/>
                <a:gd name="T3" fmla="*/ 10 h 12"/>
                <a:gd name="T4" fmla="*/ 0 w 4"/>
                <a:gd name="T5" fmla="*/ 2 h 12"/>
                <a:gd name="T6" fmla="*/ 2 w 4"/>
                <a:gd name="T7" fmla="*/ 0 h 12"/>
                <a:gd name="T8" fmla="*/ 4 w 4"/>
                <a:gd name="T9" fmla="*/ 2 h 12"/>
                <a:gd name="T10" fmla="*/ 4 w 4"/>
                <a:gd name="T11" fmla="*/ 10 h 12"/>
                <a:gd name="T12" fmla="*/ 2 w 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12">
                  <a:moveTo>
                    <a:pt x="2" y="12"/>
                  </a:moveTo>
                  <a:cubicBezTo>
                    <a:pt x="1" y="12"/>
                    <a:pt x="0" y="11"/>
                    <a:pt x="0" y="1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1"/>
                    <a:pt x="3" y="12"/>
                    <a:pt x="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9" name="Freeform 10"/>
            <p:cNvSpPr>
              <a:spLocks/>
            </p:cNvSpPr>
            <p:nvPr/>
          </p:nvSpPr>
          <p:spPr bwMode="auto">
            <a:xfrm>
              <a:off x="6243638" y="1606550"/>
              <a:ext cx="15875" cy="31750"/>
            </a:xfrm>
            <a:custGeom>
              <a:avLst/>
              <a:gdLst>
                <a:gd name="T0" fmla="*/ 2 w 4"/>
                <a:gd name="T1" fmla="*/ 8 h 8"/>
                <a:gd name="T2" fmla="*/ 0 w 4"/>
                <a:gd name="T3" fmla="*/ 6 h 8"/>
                <a:gd name="T4" fmla="*/ 0 w 4"/>
                <a:gd name="T5" fmla="*/ 2 h 8"/>
                <a:gd name="T6" fmla="*/ 2 w 4"/>
                <a:gd name="T7" fmla="*/ 0 h 8"/>
                <a:gd name="T8" fmla="*/ 4 w 4"/>
                <a:gd name="T9" fmla="*/ 2 h 8"/>
                <a:gd name="T10" fmla="*/ 4 w 4"/>
                <a:gd name="T11" fmla="*/ 6 h 8"/>
                <a:gd name="T12" fmla="*/ 2 w 4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8">
                  <a:moveTo>
                    <a:pt x="2" y="8"/>
                  </a:moveTo>
                  <a:cubicBezTo>
                    <a:pt x="1" y="8"/>
                    <a:pt x="0" y="7"/>
                    <a:pt x="0" y="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7"/>
                    <a:pt x="3" y="8"/>
                    <a:pt x="2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0" name="Freeform 11"/>
            <p:cNvSpPr>
              <a:spLocks/>
            </p:cNvSpPr>
            <p:nvPr/>
          </p:nvSpPr>
          <p:spPr bwMode="auto">
            <a:xfrm>
              <a:off x="6340475" y="1652588"/>
              <a:ext cx="26988" cy="26988"/>
            </a:xfrm>
            <a:custGeom>
              <a:avLst/>
              <a:gdLst>
                <a:gd name="T0" fmla="*/ 2 w 7"/>
                <a:gd name="T1" fmla="*/ 7 h 7"/>
                <a:gd name="T2" fmla="*/ 1 w 7"/>
                <a:gd name="T3" fmla="*/ 6 h 7"/>
                <a:gd name="T4" fmla="*/ 1 w 7"/>
                <a:gd name="T5" fmla="*/ 3 h 7"/>
                <a:gd name="T6" fmla="*/ 4 w 7"/>
                <a:gd name="T7" fmla="*/ 0 h 7"/>
                <a:gd name="T8" fmla="*/ 7 w 7"/>
                <a:gd name="T9" fmla="*/ 0 h 7"/>
                <a:gd name="T10" fmla="*/ 7 w 7"/>
                <a:gd name="T11" fmla="*/ 3 h 7"/>
                <a:gd name="T12" fmla="*/ 4 w 7"/>
                <a:gd name="T13" fmla="*/ 6 h 7"/>
                <a:gd name="T14" fmla="*/ 2 w 7"/>
                <a:gd name="T15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7">
                  <a:moveTo>
                    <a:pt x="2" y="7"/>
                  </a:moveTo>
                  <a:cubicBezTo>
                    <a:pt x="2" y="7"/>
                    <a:pt x="1" y="6"/>
                    <a:pt x="1" y="6"/>
                  </a:cubicBezTo>
                  <a:cubicBezTo>
                    <a:pt x="0" y="5"/>
                    <a:pt x="0" y="4"/>
                    <a:pt x="1" y="3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5" y="0"/>
                    <a:pt x="6" y="0"/>
                    <a:pt x="7" y="0"/>
                  </a:cubicBezTo>
                  <a:cubicBezTo>
                    <a:pt x="7" y="1"/>
                    <a:pt x="7" y="2"/>
                    <a:pt x="7" y="3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3" y="6"/>
                    <a:pt x="3" y="7"/>
                    <a:pt x="2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1" name="Freeform 12"/>
            <p:cNvSpPr>
              <a:spLocks/>
            </p:cNvSpPr>
            <p:nvPr/>
          </p:nvSpPr>
          <p:spPr bwMode="auto">
            <a:xfrm>
              <a:off x="6383338" y="1762125"/>
              <a:ext cx="31750" cy="14288"/>
            </a:xfrm>
            <a:custGeom>
              <a:avLst/>
              <a:gdLst>
                <a:gd name="T0" fmla="*/ 6 w 8"/>
                <a:gd name="T1" fmla="*/ 4 h 4"/>
                <a:gd name="T2" fmla="*/ 2 w 8"/>
                <a:gd name="T3" fmla="*/ 4 h 4"/>
                <a:gd name="T4" fmla="*/ 0 w 8"/>
                <a:gd name="T5" fmla="*/ 2 h 4"/>
                <a:gd name="T6" fmla="*/ 2 w 8"/>
                <a:gd name="T7" fmla="*/ 0 h 4"/>
                <a:gd name="T8" fmla="*/ 6 w 8"/>
                <a:gd name="T9" fmla="*/ 0 h 4"/>
                <a:gd name="T10" fmla="*/ 8 w 8"/>
                <a:gd name="T11" fmla="*/ 2 h 4"/>
                <a:gd name="T12" fmla="*/ 6 w 8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4">
                  <a:moveTo>
                    <a:pt x="6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7" y="0"/>
                    <a:pt x="8" y="1"/>
                    <a:pt x="8" y="2"/>
                  </a:cubicBezTo>
                  <a:cubicBezTo>
                    <a:pt x="8" y="3"/>
                    <a:pt x="7" y="4"/>
                    <a:pt x="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2" name="Freeform 13"/>
            <p:cNvSpPr>
              <a:spLocks/>
            </p:cNvSpPr>
            <p:nvPr/>
          </p:nvSpPr>
          <p:spPr bwMode="auto">
            <a:xfrm>
              <a:off x="6340475" y="1857375"/>
              <a:ext cx="26988" cy="28575"/>
            </a:xfrm>
            <a:custGeom>
              <a:avLst/>
              <a:gdLst>
                <a:gd name="T0" fmla="*/ 5 w 7"/>
                <a:gd name="T1" fmla="*/ 7 h 7"/>
                <a:gd name="T2" fmla="*/ 4 w 7"/>
                <a:gd name="T3" fmla="*/ 7 h 7"/>
                <a:gd name="T4" fmla="*/ 1 w 7"/>
                <a:gd name="T5" fmla="*/ 4 h 7"/>
                <a:gd name="T6" fmla="*/ 1 w 7"/>
                <a:gd name="T7" fmla="*/ 1 h 7"/>
                <a:gd name="T8" fmla="*/ 4 w 7"/>
                <a:gd name="T9" fmla="*/ 1 h 7"/>
                <a:gd name="T10" fmla="*/ 7 w 7"/>
                <a:gd name="T11" fmla="*/ 4 h 7"/>
                <a:gd name="T12" fmla="*/ 7 w 7"/>
                <a:gd name="T13" fmla="*/ 7 h 7"/>
                <a:gd name="T14" fmla="*/ 5 w 7"/>
                <a:gd name="T15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7">
                  <a:moveTo>
                    <a:pt x="5" y="7"/>
                  </a:moveTo>
                  <a:cubicBezTo>
                    <a:pt x="5" y="7"/>
                    <a:pt x="4" y="7"/>
                    <a:pt x="4" y="7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1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7" y="5"/>
                    <a:pt x="7" y="6"/>
                    <a:pt x="7" y="7"/>
                  </a:cubicBezTo>
                  <a:cubicBezTo>
                    <a:pt x="6" y="7"/>
                    <a:pt x="6" y="7"/>
                    <a:pt x="5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3" name="Freeform 14"/>
            <p:cNvSpPr>
              <a:spLocks/>
            </p:cNvSpPr>
            <p:nvPr/>
          </p:nvSpPr>
          <p:spPr bwMode="auto">
            <a:xfrm>
              <a:off x="6135688" y="1652588"/>
              <a:ext cx="26988" cy="26988"/>
            </a:xfrm>
            <a:custGeom>
              <a:avLst/>
              <a:gdLst>
                <a:gd name="T0" fmla="*/ 5 w 7"/>
                <a:gd name="T1" fmla="*/ 7 h 7"/>
                <a:gd name="T2" fmla="*/ 3 w 7"/>
                <a:gd name="T3" fmla="*/ 6 h 7"/>
                <a:gd name="T4" fmla="*/ 0 w 7"/>
                <a:gd name="T5" fmla="*/ 3 h 7"/>
                <a:gd name="T6" fmla="*/ 0 w 7"/>
                <a:gd name="T7" fmla="*/ 0 h 7"/>
                <a:gd name="T8" fmla="*/ 3 w 7"/>
                <a:gd name="T9" fmla="*/ 0 h 7"/>
                <a:gd name="T10" fmla="*/ 6 w 7"/>
                <a:gd name="T11" fmla="*/ 3 h 7"/>
                <a:gd name="T12" fmla="*/ 6 w 7"/>
                <a:gd name="T13" fmla="*/ 6 h 7"/>
                <a:gd name="T14" fmla="*/ 5 w 7"/>
                <a:gd name="T15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7">
                  <a:moveTo>
                    <a:pt x="5" y="7"/>
                  </a:moveTo>
                  <a:cubicBezTo>
                    <a:pt x="4" y="7"/>
                    <a:pt x="4" y="6"/>
                    <a:pt x="3" y="6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1"/>
                    <a:pt x="0" y="0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7" y="4"/>
                    <a:pt x="7" y="5"/>
                    <a:pt x="6" y="6"/>
                  </a:cubicBezTo>
                  <a:cubicBezTo>
                    <a:pt x="6" y="6"/>
                    <a:pt x="5" y="7"/>
                    <a:pt x="5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4" name="Freeform 15"/>
            <p:cNvSpPr>
              <a:spLocks/>
            </p:cNvSpPr>
            <p:nvPr/>
          </p:nvSpPr>
          <p:spPr bwMode="auto">
            <a:xfrm>
              <a:off x="6089650" y="1762125"/>
              <a:ext cx="30163" cy="14288"/>
            </a:xfrm>
            <a:custGeom>
              <a:avLst/>
              <a:gdLst>
                <a:gd name="T0" fmla="*/ 6 w 8"/>
                <a:gd name="T1" fmla="*/ 4 h 4"/>
                <a:gd name="T2" fmla="*/ 2 w 8"/>
                <a:gd name="T3" fmla="*/ 4 h 4"/>
                <a:gd name="T4" fmla="*/ 0 w 8"/>
                <a:gd name="T5" fmla="*/ 2 h 4"/>
                <a:gd name="T6" fmla="*/ 2 w 8"/>
                <a:gd name="T7" fmla="*/ 0 h 4"/>
                <a:gd name="T8" fmla="*/ 6 w 8"/>
                <a:gd name="T9" fmla="*/ 0 h 4"/>
                <a:gd name="T10" fmla="*/ 8 w 8"/>
                <a:gd name="T11" fmla="*/ 2 h 4"/>
                <a:gd name="T12" fmla="*/ 6 w 8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4">
                  <a:moveTo>
                    <a:pt x="6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7" y="0"/>
                    <a:pt x="8" y="1"/>
                    <a:pt x="8" y="2"/>
                  </a:cubicBezTo>
                  <a:cubicBezTo>
                    <a:pt x="8" y="3"/>
                    <a:pt x="7" y="4"/>
                    <a:pt x="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5" name="Freeform 16"/>
            <p:cNvSpPr>
              <a:spLocks/>
            </p:cNvSpPr>
            <p:nvPr/>
          </p:nvSpPr>
          <p:spPr bwMode="auto">
            <a:xfrm>
              <a:off x="6135688" y="1857375"/>
              <a:ext cx="26988" cy="28575"/>
            </a:xfrm>
            <a:custGeom>
              <a:avLst/>
              <a:gdLst>
                <a:gd name="T0" fmla="*/ 2 w 7"/>
                <a:gd name="T1" fmla="*/ 7 h 7"/>
                <a:gd name="T2" fmla="*/ 0 w 7"/>
                <a:gd name="T3" fmla="*/ 7 h 7"/>
                <a:gd name="T4" fmla="*/ 0 w 7"/>
                <a:gd name="T5" fmla="*/ 4 h 7"/>
                <a:gd name="T6" fmla="*/ 3 w 7"/>
                <a:gd name="T7" fmla="*/ 1 h 7"/>
                <a:gd name="T8" fmla="*/ 6 w 7"/>
                <a:gd name="T9" fmla="*/ 1 h 7"/>
                <a:gd name="T10" fmla="*/ 6 w 7"/>
                <a:gd name="T11" fmla="*/ 4 h 7"/>
                <a:gd name="T12" fmla="*/ 3 w 7"/>
                <a:gd name="T13" fmla="*/ 7 h 7"/>
                <a:gd name="T14" fmla="*/ 2 w 7"/>
                <a:gd name="T15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7">
                  <a:moveTo>
                    <a:pt x="2" y="7"/>
                  </a:moveTo>
                  <a:cubicBezTo>
                    <a:pt x="1" y="7"/>
                    <a:pt x="1" y="7"/>
                    <a:pt x="0" y="7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4" y="0"/>
                    <a:pt x="5" y="0"/>
                    <a:pt x="6" y="1"/>
                  </a:cubicBezTo>
                  <a:cubicBezTo>
                    <a:pt x="7" y="2"/>
                    <a:pt x="7" y="3"/>
                    <a:pt x="6" y="4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7"/>
                    <a:pt x="2" y="7"/>
                    <a:pt x="2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6" name="Freeform 17"/>
            <p:cNvSpPr>
              <a:spLocks noEditPoints="1"/>
            </p:cNvSpPr>
            <p:nvPr/>
          </p:nvSpPr>
          <p:spPr bwMode="auto">
            <a:xfrm>
              <a:off x="6181725" y="1762125"/>
              <a:ext cx="139700" cy="115888"/>
            </a:xfrm>
            <a:custGeom>
              <a:avLst/>
              <a:gdLst>
                <a:gd name="T0" fmla="*/ 20 w 36"/>
                <a:gd name="T1" fmla="*/ 30 h 30"/>
                <a:gd name="T2" fmla="*/ 20 w 36"/>
                <a:gd name="T3" fmla="*/ 30 h 30"/>
                <a:gd name="T4" fmla="*/ 18 w 36"/>
                <a:gd name="T5" fmla="*/ 28 h 30"/>
                <a:gd name="T6" fmla="*/ 16 w 36"/>
                <a:gd name="T7" fmla="*/ 30 h 30"/>
                <a:gd name="T8" fmla="*/ 14 w 36"/>
                <a:gd name="T9" fmla="*/ 28 h 30"/>
                <a:gd name="T10" fmla="*/ 10 w 36"/>
                <a:gd name="T11" fmla="*/ 12 h 30"/>
                <a:gd name="T12" fmla="*/ 6 w 36"/>
                <a:gd name="T13" fmla="*/ 12 h 30"/>
                <a:gd name="T14" fmla="*/ 0 w 36"/>
                <a:gd name="T15" fmla="*/ 6 h 30"/>
                <a:gd name="T16" fmla="*/ 6 w 36"/>
                <a:gd name="T17" fmla="*/ 0 h 30"/>
                <a:gd name="T18" fmla="*/ 13 w 36"/>
                <a:gd name="T19" fmla="*/ 5 h 30"/>
                <a:gd name="T20" fmla="*/ 13 w 36"/>
                <a:gd name="T21" fmla="*/ 8 h 30"/>
                <a:gd name="T22" fmla="*/ 23 w 36"/>
                <a:gd name="T23" fmla="*/ 8 h 30"/>
                <a:gd name="T24" fmla="*/ 23 w 36"/>
                <a:gd name="T25" fmla="*/ 5 h 30"/>
                <a:gd name="T26" fmla="*/ 30 w 36"/>
                <a:gd name="T27" fmla="*/ 0 h 30"/>
                <a:gd name="T28" fmla="*/ 36 w 36"/>
                <a:gd name="T29" fmla="*/ 6 h 30"/>
                <a:gd name="T30" fmla="*/ 30 w 36"/>
                <a:gd name="T31" fmla="*/ 12 h 30"/>
                <a:gd name="T32" fmla="*/ 26 w 36"/>
                <a:gd name="T33" fmla="*/ 12 h 30"/>
                <a:gd name="T34" fmla="*/ 22 w 36"/>
                <a:gd name="T35" fmla="*/ 28 h 30"/>
                <a:gd name="T36" fmla="*/ 20 w 36"/>
                <a:gd name="T37" fmla="*/ 30 h 30"/>
                <a:gd name="T38" fmla="*/ 14 w 36"/>
                <a:gd name="T39" fmla="*/ 12 h 30"/>
                <a:gd name="T40" fmla="*/ 18 w 36"/>
                <a:gd name="T41" fmla="*/ 28 h 30"/>
                <a:gd name="T42" fmla="*/ 18 w 36"/>
                <a:gd name="T43" fmla="*/ 28 h 30"/>
                <a:gd name="T44" fmla="*/ 18 w 36"/>
                <a:gd name="T45" fmla="*/ 28 h 30"/>
                <a:gd name="T46" fmla="*/ 22 w 36"/>
                <a:gd name="T47" fmla="*/ 12 h 30"/>
                <a:gd name="T48" fmla="*/ 14 w 36"/>
                <a:gd name="T49" fmla="*/ 12 h 30"/>
                <a:gd name="T50" fmla="*/ 27 w 36"/>
                <a:gd name="T51" fmla="*/ 8 h 30"/>
                <a:gd name="T52" fmla="*/ 30 w 36"/>
                <a:gd name="T53" fmla="*/ 8 h 30"/>
                <a:gd name="T54" fmla="*/ 32 w 36"/>
                <a:gd name="T55" fmla="*/ 6 h 30"/>
                <a:gd name="T56" fmla="*/ 30 w 36"/>
                <a:gd name="T57" fmla="*/ 4 h 30"/>
                <a:gd name="T58" fmla="*/ 27 w 36"/>
                <a:gd name="T59" fmla="*/ 6 h 30"/>
                <a:gd name="T60" fmla="*/ 27 w 36"/>
                <a:gd name="T61" fmla="*/ 8 h 30"/>
                <a:gd name="T62" fmla="*/ 6 w 36"/>
                <a:gd name="T63" fmla="*/ 4 h 30"/>
                <a:gd name="T64" fmla="*/ 4 w 36"/>
                <a:gd name="T65" fmla="*/ 6 h 30"/>
                <a:gd name="T66" fmla="*/ 6 w 36"/>
                <a:gd name="T67" fmla="*/ 8 h 30"/>
                <a:gd name="T68" fmla="*/ 9 w 36"/>
                <a:gd name="T69" fmla="*/ 8 h 30"/>
                <a:gd name="T70" fmla="*/ 9 w 36"/>
                <a:gd name="T71" fmla="*/ 6 h 30"/>
                <a:gd name="T72" fmla="*/ 6 w 36"/>
                <a:gd name="T73" fmla="*/ 4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6" h="30">
                  <a:moveTo>
                    <a:pt x="20" y="30"/>
                  </a:moveTo>
                  <a:cubicBezTo>
                    <a:pt x="20" y="30"/>
                    <a:pt x="20" y="30"/>
                    <a:pt x="20" y="30"/>
                  </a:cubicBezTo>
                  <a:cubicBezTo>
                    <a:pt x="19" y="30"/>
                    <a:pt x="18" y="29"/>
                    <a:pt x="18" y="28"/>
                  </a:cubicBezTo>
                  <a:cubicBezTo>
                    <a:pt x="18" y="29"/>
                    <a:pt x="17" y="30"/>
                    <a:pt x="16" y="30"/>
                  </a:cubicBezTo>
                  <a:cubicBezTo>
                    <a:pt x="15" y="30"/>
                    <a:pt x="14" y="30"/>
                    <a:pt x="14" y="28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2"/>
                    <a:pt x="13" y="5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23" y="8"/>
                    <a:pt x="23" y="8"/>
                    <a:pt x="23" y="8"/>
                  </a:cubicBezTo>
                  <a:cubicBezTo>
                    <a:pt x="23" y="5"/>
                    <a:pt x="23" y="5"/>
                    <a:pt x="23" y="5"/>
                  </a:cubicBezTo>
                  <a:cubicBezTo>
                    <a:pt x="24" y="2"/>
                    <a:pt x="27" y="0"/>
                    <a:pt x="30" y="0"/>
                  </a:cubicBezTo>
                  <a:cubicBezTo>
                    <a:pt x="33" y="0"/>
                    <a:pt x="36" y="3"/>
                    <a:pt x="36" y="6"/>
                  </a:cubicBezTo>
                  <a:cubicBezTo>
                    <a:pt x="36" y="9"/>
                    <a:pt x="33" y="12"/>
                    <a:pt x="30" y="12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2" y="28"/>
                    <a:pt x="22" y="28"/>
                    <a:pt x="22" y="28"/>
                  </a:cubicBezTo>
                  <a:cubicBezTo>
                    <a:pt x="22" y="29"/>
                    <a:pt x="21" y="30"/>
                    <a:pt x="20" y="30"/>
                  </a:cubicBezTo>
                  <a:close/>
                  <a:moveTo>
                    <a:pt x="14" y="12"/>
                  </a:move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22" y="12"/>
                    <a:pt x="22" y="12"/>
                    <a:pt x="22" y="12"/>
                  </a:cubicBezTo>
                  <a:lnTo>
                    <a:pt x="14" y="12"/>
                  </a:lnTo>
                  <a:close/>
                  <a:moveTo>
                    <a:pt x="27" y="8"/>
                  </a:moveTo>
                  <a:cubicBezTo>
                    <a:pt x="30" y="8"/>
                    <a:pt x="30" y="8"/>
                    <a:pt x="30" y="8"/>
                  </a:cubicBezTo>
                  <a:cubicBezTo>
                    <a:pt x="31" y="8"/>
                    <a:pt x="32" y="7"/>
                    <a:pt x="32" y="6"/>
                  </a:cubicBezTo>
                  <a:cubicBezTo>
                    <a:pt x="32" y="5"/>
                    <a:pt x="31" y="4"/>
                    <a:pt x="30" y="4"/>
                  </a:cubicBezTo>
                  <a:cubicBezTo>
                    <a:pt x="29" y="4"/>
                    <a:pt x="27" y="5"/>
                    <a:pt x="27" y="6"/>
                  </a:cubicBezTo>
                  <a:lnTo>
                    <a:pt x="27" y="8"/>
                  </a:lnTo>
                  <a:close/>
                  <a:moveTo>
                    <a:pt x="6" y="4"/>
                  </a:moveTo>
                  <a:cubicBezTo>
                    <a:pt x="5" y="4"/>
                    <a:pt x="4" y="5"/>
                    <a:pt x="4" y="6"/>
                  </a:cubicBezTo>
                  <a:cubicBezTo>
                    <a:pt x="4" y="7"/>
                    <a:pt x="5" y="8"/>
                    <a:pt x="6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5"/>
                    <a:pt x="7" y="4"/>
                    <a:pt x="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62" name="TextBox 161"/>
          <p:cNvSpPr txBox="1"/>
          <p:nvPr/>
        </p:nvSpPr>
        <p:spPr>
          <a:xfrm>
            <a:off x="2793597" y="2712765"/>
            <a:ext cx="1661836" cy="461665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Lorem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Ipsum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is simply dummy text of the printing and typesetting industry.</a:t>
            </a:r>
          </a:p>
        </p:txBody>
      </p:sp>
      <p:grpSp>
        <p:nvGrpSpPr>
          <p:cNvPr id="76" name="Group 75"/>
          <p:cNvGrpSpPr/>
          <p:nvPr/>
        </p:nvGrpSpPr>
        <p:grpSpPr>
          <a:xfrm>
            <a:off x="6627049" y="2747037"/>
            <a:ext cx="3833219" cy="600016"/>
            <a:chOff x="4834319" y="3090238"/>
            <a:chExt cx="3833219" cy="600016"/>
          </a:xfrm>
        </p:grpSpPr>
        <p:grpSp>
          <p:nvGrpSpPr>
            <p:cNvPr id="97" name="Group 96"/>
            <p:cNvGrpSpPr/>
            <p:nvPr/>
          </p:nvGrpSpPr>
          <p:grpSpPr>
            <a:xfrm>
              <a:off x="4834319" y="3097859"/>
              <a:ext cx="904101" cy="584775"/>
              <a:chOff x="6206913" y="761576"/>
              <a:chExt cx="904101" cy="584775"/>
            </a:xfrm>
          </p:grpSpPr>
          <p:sp>
            <p:nvSpPr>
              <p:cNvPr id="155" name="TextBox 154"/>
              <p:cNvSpPr txBox="1"/>
              <p:nvPr/>
            </p:nvSpPr>
            <p:spPr>
              <a:xfrm>
                <a:off x="6261521" y="761576"/>
                <a:ext cx="794884" cy="153888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ea typeface="+mn-ea"/>
                    <a:cs typeface="+mn-cs"/>
                  </a:rPr>
                  <a:t>ORDERS</a:t>
                </a:r>
              </a:p>
            </p:txBody>
          </p:sp>
          <p:sp>
            <p:nvSpPr>
              <p:cNvPr id="156" name="TextBox 155"/>
              <p:cNvSpPr txBox="1"/>
              <p:nvPr/>
            </p:nvSpPr>
            <p:spPr>
              <a:xfrm>
                <a:off x="6206913" y="915464"/>
                <a:ext cx="904101" cy="430887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800" b="1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ea typeface="+mn-ea"/>
                    <a:cs typeface="+mn-cs"/>
                  </a:rPr>
                  <a:t>2.100</a:t>
                </a:r>
              </a:p>
            </p:txBody>
          </p:sp>
        </p:grpSp>
        <p:grpSp>
          <p:nvGrpSpPr>
            <p:cNvPr id="98" name="Group 97"/>
            <p:cNvGrpSpPr/>
            <p:nvPr/>
          </p:nvGrpSpPr>
          <p:grpSpPr>
            <a:xfrm>
              <a:off x="6156836" y="3097859"/>
              <a:ext cx="1046144" cy="584775"/>
              <a:chOff x="6135892" y="761576"/>
              <a:chExt cx="1046144" cy="584775"/>
            </a:xfrm>
          </p:grpSpPr>
          <p:sp>
            <p:nvSpPr>
              <p:cNvPr id="153" name="TextBox 152"/>
              <p:cNvSpPr txBox="1"/>
              <p:nvPr/>
            </p:nvSpPr>
            <p:spPr>
              <a:xfrm>
                <a:off x="6261521" y="761576"/>
                <a:ext cx="794884" cy="153888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E2583D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EARNINGS</a:t>
                </a:r>
              </a:p>
            </p:txBody>
          </p:sp>
          <p:sp>
            <p:nvSpPr>
              <p:cNvPr id="154" name="TextBox 153"/>
              <p:cNvSpPr txBox="1"/>
              <p:nvPr/>
            </p:nvSpPr>
            <p:spPr>
              <a:xfrm>
                <a:off x="6135892" y="915464"/>
                <a:ext cx="1046144" cy="430887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E2583D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$1.500</a:t>
                </a:r>
              </a:p>
            </p:txBody>
          </p:sp>
        </p:grpSp>
        <p:grpSp>
          <p:nvGrpSpPr>
            <p:cNvPr id="102" name="Group 101"/>
            <p:cNvGrpSpPr/>
            <p:nvPr/>
          </p:nvGrpSpPr>
          <p:grpSpPr>
            <a:xfrm>
              <a:off x="7621394" y="3097859"/>
              <a:ext cx="1046144" cy="584775"/>
              <a:chOff x="6135892" y="761576"/>
              <a:chExt cx="1046144" cy="584775"/>
            </a:xfrm>
          </p:grpSpPr>
          <p:sp>
            <p:nvSpPr>
              <p:cNvPr id="108" name="TextBox 107"/>
              <p:cNvSpPr txBox="1"/>
              <p:nvPr/>
            </p:nvSpPr>
            <p:spPr>
              <a:xfrm>
                <a:off x="6261521" y="761576"/>
                <a:ext cx="794884" cy="153888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ea typeface="+mn-ea"/>
                    <a:cs typeface="+mn-cs"/>
                  </a:rPr>
                  <a:t>SALES</a:t>
                </a:r>
              </a:p>
            </p:txBody>
          </p:sp>
          <p:sp>
            <p:nvSpPr>
              <p:cNvPr id="152" name="TextBox 151"/>
              <p:cNvSpPr txBox="1"/>
              <p:nvPr/>
            </p:nvSpPr>
            <p:spPr>
              <a:xfrm>
                <a:off x="6135892" y="915464"/>
                <a:ext cx="1046144" cy="430887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800" b="1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ea typeface="+mn-ea"/>
                    <a:cs typeface="+mn-cs"/>
                  </a:rPr>
                  <a:t>95.5%</a:t>
                </a:r>
              </a:p>
            </p:txBody>
          </p:sp>
        </p:grpSp>
        <p:cxnSp>
          <p:nvCxnSpPr>
            <p:cNvPr id="103" name="Straight Connector 102"/>
            <p:cNvCxnSpPr/>
            <p:nvPr/>
          </p:nvCxnSpPr>
          <p:spPr>
            <a:xfrm>
              <a:off x="5947628" y="3090238"/>
              <a:ext cx="0" cy="600016"/>
            </a:xfrm>
            <a:prstGeom prst="line">
              <a:avLst/>
            </a:prstGeom>
            <a:ln w="31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/>
            <p:cNvCxnSpPr/>
            <p:nvPr/>
          </p:nvCxnSpPr>
          <p:spPr>
            <a:xfrm>
              <a:off x="7412188" y="3090238"/>
              <a:ext cx="0" cy="600016"/>
            </a:xfrm>
            <a:prstGeom prst="line">
              <a:avLst/>
            </a:prstGeom>
            <a:ln w="31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7" name="Group 76"/>
          <p:cNvGrpSpPr/>
          <p:nvPr/>
        </p:nvGrpSpPr>
        <p:grpSpPr>
          <a:xfrm>
            <a:off x="6589857" y="1887257"/>
            <a:ext cx="3907602" cy="672586"/>
            <a:chOff x="4804598" y="2095628"/>
            <a:chExt cx="3907602" cy="672586"/>
          </a:xfrm>
        </p:grpSpPr>
        <p:sp>
          <p:nvSpPr>
            <p:cNvPr id="78" name="TextBox 77"/>
            <p:cNvSpPr txBox="1"/>
            <p:nvPr/>
          </p:nvSpPr>
          <p:spPr>
            <a:xfrm>
              <a:off x="4804598" y="2306549"/>
              <a:ext cx="3907602" cy="461665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Lorem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Ipsum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 is simply dummy text of the printing and typesetting industry. Lorem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Ipsum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 has been the industry's standard dummy text ever since the 1500s, when an unknown printer took a galley of type.</a:t>
              </a:r>
            </a:p>
          </p:txBody>
        </p:sp>
        <p:sp>
          <p:nvSpPr>
            <p:cNvPr id="79" name="TextBox 78"/>
            <p:cNvSpPr txBox="1"/>
            <p:nvPr/>
          </p:nvSpPr>
          <p:spPr>
            <a:xfrm>
              <a:off x="4804598" y="2095628"/>
              <a:ext cx="3907602" cy="184666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LOREM IPSUM</a:t>
              </a:r>
            </a:p>
          </p:txBody>
        </p:sp>
      </p:grpSp>
      <p:grpSp>
        <p:nvGrpSpPr>
          <p:cNvPr id="177" name="Group 176"/>
          <p:cNvGrpSpPr/>
          <p:nvPr/>
        </p:nvGrpSpPr>
        <p:grpSpPr>
          <a:xfrm>
            <a:off x="2292826" y="4653928"/>
            <a:ext cx="5088372" cy="1447407"/>
            <a:chOff x="507567" y="4653928"/>
            <a:chExt cx="5088372" cy="1447407"/>
          </a:xfrm>
        </p:grpSpPr>
        <p:sp>
          <p:nvSpPr>
            <p:cNvPr id="178" name="Oval 177"/>
            <p:cNvSpPr/>
            <p:nvPr/>
          </p:nvSpPr>
          <p:spPr>
            <a:xfrm>
              <a:off x="507567" y="4707202"/>
              <a:ext cx="86591" cy="86591"/>
            </a:xfrm>
            <a:prstGeom prst="ellipse">
              <a:avLst/>
            </a:prstGeom>
            <a:solidFill>
              <a:srgbClr val="E2583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9" name="Oval 178"/>
            <p:cNvSpPr/>
            <p:nvPr/>
          </p:nvSpPr>
          <p:spPr>
            <a:xfrm>
              <a:off x="507567" y="5125292"/>
              <a:ext cx="86591" cy="86591"/>
            </a:xfrm>
            <a:prstGeom prst="ellipse">
              <a:avLst/>
            </a:prstGeom>
            <a:solidFill>
              <a:srgbClr val="AFABA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0" name="Oval 179"/>
            <p:cNvSpPr/>
            <p:nvPr/>
          </p:nvSpPr>
          <p:spPr>
            <a:xfrm>
              <a:off x="507567" y="5543382"/>
              <a:ext cx="86591" cy="86591"/>
            </a:xfrm>
            <a:prstGeom prst="ellipse">
              <a:avLst/>
            </a:prstGeom>
            <a:solidFill>
              <a:srgbClr val="78D2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1" name="Oval 180"/>
            <p:cNvSpPr/>
            <p:nvPr/>
          </p:nvSpPr>
          <p:spPr>
            <a:xfrm>
              <a:off x="507567" y="5961472"/>
              <a:ext cx="86591" cy="86591"/>
            </a:xfrm>
            <a:prstGeom prst="ellipse">
              <a:avLst/>
            </a:prstGeom>
            <a:solidFill>
              <a:srgbClr val="3B39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182" name="Group 181"/>
            <p:cNvGrpSpPr/>
            <p:nvPr/>
          </p:nvGrpSpPr>
          <p:grpSpPr>
            <a:xfrm>
              <a:off x="4676775" y="4653928"/>
              <a:ext cx="919164" cy="1447407"/>
              <a:chOff x="4676774" y="4697470"/>
              <a:chExt cx="1014507" cy="1447407"/>
            </a:xfrm>
          </p:grpSpPr>
          <p:sp>
            <p:nvSpPr>
              <p:cNvPr id="187" name="Rectangle 186"/>
              <p:cNvSpPr/>
              <p:nvPr/>
            </p:nvSpPr>
            <p:spPr>
              <a:xfrm>
                <a:off x="4676774" y="4697470"/>
                <a:ext cx="1014507" cy="193137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88" name="Rectangle 187"/>
              <p:cNvSpPr/>
              <p:nvPr/>
            </p:nvSpPr>
            <p:spPr>
              <a:xfrm>
                <a:off x="4676774" y="5951740"/>
                <a:ext cx="1014507" cy="193137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89" name="Rectangle 188"/>
              <p:cNvSpPr/>
              <p:nvPr/>
            </p:nvSpPr>
            <p:spPr>
              <a:xfrm>
                <a:off x="4676774" y="5115560"/>
                <a:ext cx="1014507" cy="193137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90" name="Rectangle 189"/>
              <p:cNvSpPr/>
              <p:nvPr/>
            </p:nvSpPr>
            <p:spPr>
              <a:xfrm>
                <a:off x="4676774" y="5533650"/>
                <a:ext cx="1014507" cy="193137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183" name="Rectangle 182"/>
            <p:cNvSpPr/>
            <p:nvPr/>
          </p:nvSpPr>
          <p:spPr>
            <a:xfrm>
              <a:off x="4676774" y="4653928"/>
              <a:ext cx="704851" cy="193137"/>
            </a:xfrm>
            <a:prstGeom prst="rect">
              <a:avLst/>
            </a:prstGeom>
            <a:solidFill>
              <a:srgbClr val="E2583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4" name="Rectangle 183"/>
            <p:cNvSpPr/>
            <p:nvPr/>
          </p:nvSpPr>
          <p:spPr>
            <a:xfrm>
              <a:off x="4676775" y="5908198"/>
              <a:ext cx="652464" cy="193137"/>
            </a:xfrm>
            <a:prstGeom prst="rect">
              <a:avLst/>
            </a:prstGeom>
            <a:solidFill>
              <a:srgbClr val="3B39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5" name="Rectangle 184"/>
            <p:cNvSpPr/>
            <p:nvPr/>
          </p:nvSpPr>
          <p:spPr>
            <a:xfrm>
              <a:off x="4676775" y="5072018"/>
              <a:ext cx="614364" cy="193137"/>
            </a:xfrm>
            <a:prstGeom prst="rect">
              <a:avLst/>
            </a:prstGeom>
            <a:solidFill>
              <a:srgbClr val="AFABA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6" name="Rectangle 185"/>
            <p:cNvSpPr/>
            <p:nvPr/>
          </p:nvSpPr>
          <p:spPr>
            <a:xfrm>
              <a:off x="4676775" y="5490108"/>
              <a:ext cx="447676" cy="193137"/>
            </a:xfrm>
            <a:prstGeom prst="rect">
              <a:avLst/>
            </a:prstGeom>
            <a:solidFill>
              <a:srgbClr val="78D2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3196679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6"/>
          <p:cNvPicPr>
            <a:picLocks noGrp="1" noChangeAspect="1"/>
          </p:cNvPicPr>
          <p:nvPr>
            <p:ph type="pic" sz="quarter" idx="1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293" r="15293"/>
          <a:stretch>
            <a:fillRect/>
          </a:stretch>
        </p:blipFill>
        <p:spPr/>
      </p:pic>
      <p:sp>
        <p:nvSpPr>
          <p:cNvPr id="105" name="Rectangle 104"/>
          <p:cNvSpPr/>
          <p:nvPr/>
        </p:nvSpPr>
        <p:spPr>
          <a:xfrm>
            <a:off x="5050971" y="0"/>
            <a:ext cx="7141029" cy="6858000"/>
          </a:xfrm>
          <a:prstGeom prst="rect">
            <a:avLst/>
          </a:prstGeom>
          <a:solidFill>
            <a:schemeClr val="tx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852138-FCC6-44DD-9FFC-1C789392E7AA}" type="datetime1">
              <a:rPr lang="en-US" smtClean="0"/>
              <a:t>11/15/2018</a:t>
            </a:fld>
            <a:endParaRPr lang="en-US"/>
          </a:p>
        </p:txBody>
      </p:sp>
      <p:sp>
        <p:nvSpPr>
          <p:cNvPr id="80" name="Rectangle 79"/>
          <p:cNvSpPr/>
          <p:nvPr/>
        </p:nvSpPr>
        <p:spPr>
          <a:xfrm>
            <a:off x="12344400" y="0"/>
            <a:ext cx="469900" cy="469900"/>
          </a:xfrm>
          <a:prstGeom prst="rect">
            <a:avLst/>
          </a:pr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Rectangle 80"/>
          <p:cNvSpPr/>
          <p:nvPr/>
        </p:nvSpPr>
        <p:spPr>
          <a:xfrm>
            <a:off x="12344400" y="649557"/>
            <a:ext cx="469900" cy="469900"/>
          </a:xfrm>
          <a:prstGeom prst="rect">
            <a:avLst/>
          </a:prstGeom>
          <a:solidFill>
            <a:srgbClr val="AFAB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2" name="Rectangle 81"/>
          <p:cNvSpPr/>
          <p:nvPr/>
        </p:nvSpPr>
        <p:spPr>
          <a:xfrm>
            <a:off x="12344400" y="1299114"/>
            <a:ext cx="469900" cy="469900"/>
          </a:xfrm>
          <a:prstGeom prst="rect">
            <a:avLst/>
          </a:prstGeom>
          <a:solidFill>
            <a:srgbClr val="7671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Rectangle 82"/>
          <p:cNvSpPr/>
          <p:nvPr/>
        </p:nvSpPr>
        <p:spPr>
          <a:xfrm>
            <a:off x="12966699" y="0"/>
            <a:ext cx="469900" cy="469900"/>
          </a:xfrm>
          <a:prstGeom prst="rect">
            <a:avLst/>
          </a:prstGeom>
          <a:solidFill>
            <a:srgbClr val="E878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Rectangle 83"/>
          <p:cNvSpPr/>
          <p:nvPr/>
        </p:nvSpPr>
        <p:spPr>
          <a:xfrm>
            <a:off x="12966699" y="649557"/>
            <a:ext cx="469900" cy="469900"/>
          </a:xfrm>
          <a:prstGeom prst="rect">
            <a:avLst/>
          </a:prstGeom>
          <a:solidFill>
            <a:srgbClr val="E258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5" name="Rectangle 84"/>
          <p:cNvSpPr/>
          <p:nvPr/>
        </p:nvSpPr>
        <p:spPr>
          <a:xfrm>
            <a:off x="12966699" y="1299114"/>
            <a:ext cx="469900" cy="469900"/>
          </a:xfrm>
          <a:prstGeom prst="rect">
            <a:avLst/>
          </a:prstGeom>
          <a:solidFill>
            <a:srgbClr val="D63E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6" name="Rectangle 85"/>
          <p:cNvSpPr/>
          <p:nvPr/>
        </p:nvSpPr>
        <p:spPr>
          <a:xfrm>
            <a:off x="13588998" y="0"/>
            <a:ext cx="469900" cy="469900"/>
          </a:xfrm>
          <a:prstGeom prst="rect">
            <a:avLst/>
          </a:prstGeom>
          <a:solidFill>
            <a:srgbClr val="8EDC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7" name="Rectangle 86"/>
          <p:cNvSpPr/>
          <p:nvPr/>
        </p:nvSpPr>
        <p:spPr>
          <a:xfrm>
            <a:off x="13588998" y="649557"/>
            <a:ext cx="469900" cy="469900"/>
          </a:xfrm>
          <a:prstGeom prst="rect">
            <a:avLst/>
          </a:prstGeom>
          <a:solidFill>
            <a:srgbClr val="78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8" name="Rectangle 87"/>
          <p:cNvSpPr/>
          <p:nvPr/>
        </p:nvSpPr>
        <p:spPr>
          <a:xfrm>
            <a:off x="13588998" y="1299114"/>
            <a:ext cx="469900" cy="469900"/>
          </a:xfrm>
          <a:prstGeom prst="rect">
            <a:avLst/>
          </a:prstGeom>
          <a:solidFill>
            <a:srgbClr val="4CC7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9" name="Rectangle 88"/>
          <p:cNvSpPr/>
          <p:nvPr/>
        </p:nvSpPr>
        <p:spPr>
          <a:xfrm>
            <a:off x="14211297" y="0"/>
            <a:ext cx="469900" cy="469900"/>
          </a:xfrm>
          <a:prstGeom prst="rect">
            <a:avLst/>
          </a:prstGeom>
          <a:solidFill>
            <a:srgbClr val="5553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0" name="Rectangle 89"/>
          <p:cNvSpPr/>
          <p:nvPr/>
        </p:nvSpPr>
        <p:spPr>
          <a:xfrm>
            <a:off x="14211297" y="649557"/>
            <a:ext cx="469900" cy="469900"/>
          </a:xfrm>
          <a:prstGeom prst="rect">
            <a:avLst/>
          </a:prstGeom>
          <a:solidFill>
            <a:srgbClr val="3B39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1" name="Rectangle 90"/>
          <p:cNvSpPr/>
          <p:nvPr/>
        </p:nvSpPr>
        <p:spPr>
          <a:xfrm>
            <a:off x="14211297" y="1299114"/>
            <a:ext cx="469900" cy="469900"/>
          </a:xfrm>
          <a:prstGeom prst="rect">
            <a:avLst/>
          </a:prstGeom>
          <a:solidFill>
            <a:srgbClr val="2523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8" name="Group 7"/>
          <p:cNvGrpSpPr/>
          <p:nvPr/>
        </p:nvGrpSpPr>
        <p:grpSpPr>
          <a:xfrm>
            <a:off x="1423837" y="793418"/>
            <a:ext cx="3165322" cy="5271164"/>
            <a:chOff x="1423837" y="524453"/>
            <a:chExt cx="3165322" cy="5271164"/>
          </a:xfrm>
        </p:grpSpPr>
        <p:sp>
          <p:nvSpPr>
            <p:cNvPr id="64" name="Oval 63"/>
            <p:cNvSpPr>
              <a:spLocks noChangeAspect="1"/>
            </p:cNvSpPr>
            <p:nvPr/>
          </p:nvSpPr>
          <p:spPr>
            <a:xfrm>
              <a:off x="4301159" y="4681193"/>
              <a:ext cx="288000" cy="288000"/>
            </a:xfrm>
            <a:prstGeom prst="ellipse">
              <a:avLst/>
            </a:prstGeom>
            <a:solidFill>
              <a:srgbClr val="E2583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65" name="Oval 64"/>
            <p:cNvSpPr>
              <a:spLocks noChangeAspect="1"/>
            </p:cNvSpPr>
            <p:nvPr/>
          </p:nvSpPr>
          <p:spPr>
            <a:xfrm>
              <a:off x="2341266" y="5507617"/>
              <a:ext cx="288000" cy="288000"/>
            </a:xfrm>
            <a:prstGeom prst="ellipse">
              <a:avLst/>
            </a:prstGeom>
            <a:solidFill>
              <a:srgbClr val="E2583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66" name="Oval 65"/>
            <p:cNvSpPr>
              <a:spLocks noChangeAspect="1"/>
            </p:cNvSpPr>
            <p:nvPr/>
          </p:nvSpPr>
          <p:spPr>
            <a:xfrm>
              <a:off x="2793277" y="4271748"/>
              <a:ext cx="288000" cy="288000"/>
            </a:xfrm>
            <a:prstGeom prst="ellipse">
              <a:avLst/>
            </a:prstGeom>
            <a:solidFill>
              <a:srgbClr val="E2583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  <a:latin typeface="Calibri"/>
              </a:endParaRPr>
            </a:p>
          </p:txBody>
        </p:sp>
        <p:grpSp>
          <p:nvGrpSpPr>
            <p:cNvPr id="68" name="Group 67"/>
            <p:cNvGrpSpPr/>
            <p:nvPr/>
          </p:nvGrpSpPr>
          <p:grpSpPr>
            <a:xfrm>
              <a:off x="1437845" y="3102150"/>
              <a:ext cx="3149152" cy="2661951"/>
              <a:chOff x="427318" y="2287670"/>
              <a:chExt cx="3149152" cy="2661951"/>
            </a:xfrm>
          </p:grpSpPr>
          <p:sp>
            <p:nvSpPr>
              <p:cNvPr id="92" name="TextBox 91"/>
              <p:cNvSpPr txBox="1"/>
              <p:nvPr/>
            </p:nvSpPr>
            <p:spPr>
              <a:xfrm>
                <a:off x="427318" y="2287670"/>
                <a:ext cx="586142" cy="215444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1400" b="1" dirty="0"/>
                  <a:t>JUNE</a:t>
                </a:r>
              </a:p>
            </p:txBody>
          </p:sp>
          <p:grpSp>
            <p:nvGrpSpPr>
              <p:cNvPr id="93" name="Group 92"/>
              <p:cNvGrpSpPr/>
              <p:nvPr/>
            </p:nvGrpSpPr>
            <p:grpSpPr>
              <a:xfrm>
                <a:off x="427318" y="2687463"/>
                <a:ext cx="3149152" cy="2262158"/>
                <a:chOff x="427318" y="1609538"/>
                <a:chExt cx="3149152" cy="2262158"/>
              </a:xfrm>
            </p:grpSpPr>
            <p:sp>
              <p:nvSpPr>
                <p:cNvPr id="94" name="TextBox 93"/>
                <p:cNvSpPr txBox="1"/>
                <p:nvPr/>
              </p:nvSpPr>
              <p:spPr>
                <a:xfrm>
                  <a:off x="427318" y="1609538"/>
                  <a:ext cx="220382" cy="2262158"/>
                </a:xfrm>
                <a:prstGeom prst="rect">
                  <a:avLst/>
                </a:prstGeom>
                <a:noFill/>
                <a:ln w="6350">
                  <a:noFill/>
                  <a:prstDash val="dash"/>
                </a:ln>
              </p:spPr>
              <p:txBody>
                <a:bodyPr wrap="square" lIns="0" tIns="0" rIns="0" bIns="0" rtlCol="0">
                  <a:spAutoFit/>
                </a:bodyPr>
                <a:lstStyle/>
                <a:p>
                  <a:pPr>
                    <a:spcAft>
                      <a:spcPts val="1800"/>
                    </a:spcAft>
                  </a:pPr>
                  <a:r>
                    <a:rPr lang="en-US" sz="1200" dirty="0"/>
                    <a:t>S</a:t>
                  </a:r>
                </a:p>
                <a:p>
                  <a:pPr>
                    <a:spcAft>
                      <a:spcPts val="1800"/>
                    </a:spcAft>
                  </a:pPr>
                  <a:endParaRPr lang="en-US" sz="1200" dirty="0"/>
                </a:p>
                <a:p>
                  <a:pPr>
                    <a:spcAft>
                      <a:spcPts val="1800"/>
                    </a:spcAft>
                  </a:pPr>
                  <a:r>
                    <a:rPr lang="en-US" sz="1200" dirty="0"/>
                    <a:t>4</a:t>
                  </a:r>
                </a:p>
                <a:p>
                  <a:pPr>
                    <a:spcAft>
                      <a:spcPts val="1800"/>
                    </a:spcAft>
                  </a:pPr>
                  <a:r>
                    <a:rPr lang="en-US" sz="1200" dirty="0"/>
                    <a:t>11</a:t>
                  </a:r>
                </a:p>
                <a:p>
                  <a:pPr>
                    <a:spcAft>
                      <a:spcPts val="1800"/>
                    </a:spcAft>
                  </a:pPr>
                  <a:r>
                    <a:rPr lang="en-US" sz="1200" dirty="0"/>
                    <a:t>18</a:t>
                  </a:r>
                </a:p>
                <a:p>
                  <a:pPr>
                    <a:spcAft>
                      <a:spcPts val="1800"/>
                    </a:spcAft>
                  </a:pPr>
                  <a:r>
                    <a:rPr lang="en-US" sz="1200" dirty="0"/>
                    <a:t>25</a:t>
                  </a:r>
                </a:p>
              </p:txBody>
            </p:sp>
            <p:sp>
              <p:nvSpPr>
                <p:cNvPr id="95" name="TextBox 94"/>
                <p:cNvSpPr txBox="1"/>
                <p:nvPr/>
              </p:nvSpPr>
              <p:spPr>
                <a:xfrm>
                  <a:off x="915446" y="1609538"/>
                  <a:ext cx="220382" cy="2262158"/>
                </a:xfrm>
                <a:prstGeom prst="rect">
                  <a:avLst/>
                </a:prstGeom>
                <a:noFill/>
                <a:ln w="6350">
                  <a:noFill/>
                  <a:prstDash val="dash"/>
                </a:ln>
              </p:spPr>
              <p:txBody>
                <a:bodyPr wrap="square" lIns="0" tIns="0" rIns="0" bIns="0" rtlCol="0">
                  <a:spAutoFit/>
                </a:bodyPr>
                <a:lstStyle/>
                <a:p>
                  <a:pPr>
                    <a:spcAft>
                      <a:spcPts val="1800"/>
                    </a:spcAft>
                  </a:pPr>
                  <a:r>
                    <a:rPr lang="en-US" sz="1200" dirty="0"/>
                    <a:t>M</a:t>
                  </a:r>
                </a:p>
                <a:p>
                  <a:pPr>
                    <a:spcAft>
                      <a:spcPts val="1800"/>
                    </a:spcAft>
                  </a:pPr>
                  <a:endParaRPr lang="en-US" sz="1200" dirty="0"/>
                </a:p>
                <a:p>
                  <a:pPr>
                    <a:spcAft>
                      <a:spcPts val="1800"/>
                    </a:spcAft>
                  </a:pPr>
                  <a:r>
                    <a:rPr lang="en-US" sz="1200" dirty="0"/>
                    <a:t>5</a:t>
                  </a:r>
                </a:p>
                <a:p>
                  <a:pPr>
                    <a:spcAft>
                      <a:spcPts val="1800"/>
                    </a:spcAft>
                  </a:pPr>
                  <a:r>
                    <a:rPr lang="en-US" sz="1200" dirty="0"/>
                    <a:t>12</a:t>
                  </a:r>
                </a:p>
                <a:p>
                  <a:pPr>
                    <a:spcAft>
                      <a:spcPts val="1800"/>
                    </a:spcAft>
                  </a:pPr>
                  <a:r>
                    <a:rPr lang="en-US" sz="1200" dirty="0"/>
                    <a:t>19</a:t>
                  </a:r>
                </a:p>
                <a:p>
                  <a:pPr>
                    <a:spcAft>
                      <a:spcPts val="1800"/>
                    </a:spcAft>
                  </a:pPr>
                  <a:r>
                    <a:rPr lang="en-US" sz="1200" dirty="0"/>
                    <a:t>26</a:t>
                  </a:r>
                </a:p>
              </p:txBody>
            </p:sp>
            <p:sp>
              <p:nvSpPr>
                <p:cNvPr id="96" name="TextBox 95"/>
                <p:cNvSpPr txBox="1"/>
                <p:nvPr/>
              </p:nvSpPr>
              <p:spPr>
                <a:xfrm>
                  <a:off x="1403574" y="1609538"/>
                  <a:ext cx="220382" cy="2262158"/>
                </a:xfrm>
                <a:prstGeom prst="rect">
                  <a:avLst/>
                </a:prstGeom>
                <a:noFill/>
                <a:ln w="6350">
                  <a:noFill/>
                  <a:prstDash val="dash"/>
                </a:ln>
              </p:spPr>
              <p:txBody>
                <a:bodyPr wrap="square" lIns="0" tIns="0" rIns="0" bIns="0" rtlCol="0">
                  <a:spAutoFit/>
                </a:bodyPr>
                <a:lstStyle/>
                <a:p>
                  <a:pPr>
                    <a:spcAft>
                      <a:spcPts val="1800"/>
                    </a:spcAft>
                  </a:pPr>
                  <a:r>
                    <a:rPr lang="en-US" sz="1200" dirty="0"/>
                    <a:t>T</a:t>
                  </a:r>
                </a:p>
                <a:p>
                  <a:pPr>
                    <a:spcAft>
                      <a:spcPts val="1800"/>
                    </a:spcAft>
                  </a:pPr>
                  <a:endParaRPr lang="en-US" sz="1200" dirty="0"/>
                </a:p>
                <a:p>
                  <a:pPr>
                    <a:spcAft>
                      <a:spcPts val="1800"/>
                    </a:spcAft>
                  </a:pPr>
                  <a:r>
                    <a:rPr lang="en-US" sz="1200" dirty="0"/>
                    <a:t>6</a:t>
                  </a:r>
                </a:p>
                <a:p>
                  <a:pPr>
                    <a:spcAft>
                      <a:spcPts val="1800"/>
                    </a:spcAft>
                  </a:pPr>
                  <a:r>
                    <a:rPr lang="en-US" sz="1200" dirty="0"/>
                    <a:t>13</a:t>
                  </a:r>
                </a:p>
                <a:p>
                  <a:pPr>
                    <a:spcAft>
                      <a:spcPts val="1800"/>
                    </a:spcAft>
                  </a:pPr>
                  <a:r>
                    <a:rPr lang="en-US" sz="1200" dirty="0"/>
                    <a:t>20</a:t>
                  </a:r>
                </a:p>
                <a:p>
                  <a:pPr>
                    <a:spcAft>
                      <a:spcPts val="1800"/>
                    </a:spcAft>
                  </a:pPr>
                  <a:r>
                    <a:rPr lang="en-US" sz="1200" b="1" dirty="0">
                      <a:solidFill>
                        <a:schemeClr val="bg1"/>
                      </a:solidFill>
                    </a:rPr>
                    <a:t>27</a:t>
                  </a:r>
                </a:p>
              </p:txBody>
            </p:sp>
            <p:sp>
              <p:nvSpPr>
                <p:cNvPr id="99" name="TextBox 98"/>
                <p:cNvSpPr txBox="1"/>
                <p:nvPr/>
              </p:nvSpPr>
              <p:spPr>
                <a:xfrm>
                  <a:off x="1891702" y="1609538"/>
                  <a:ext cx="220382" cy="2262158"/>
                </a:xfrm>
                <a:prstGeom prst="rect">
                  <a:avLst/>
                </a:prstGeom>
                <a:noFill/>
                <a:ln w="6350">
                  <a:noFill/>
                  <a:prstDash val="dash"/>
                </a:ln>
              </p:spPr>
              <p:txBody>
                <a:bodyPr wrap="square" lIns="0" tIns="0" rIns="0" bIns="0" rtlCol="0">
                  <a:spAutoFit/>
                </a:bodyPr>
                <a:lstStyle/>
                <a:p>
                  <a:pPr>
                    <a:spcAft>
                      <a:spcPts val="1800"/>
                    </a:spcAft>
                  </a:pPr>
                  <a:r>
                    <a:rPr lang="en-US" sz="1200" dirty="0"/>
                    <a:t>W</a:t>
                  </a:r>
                </a:p>
                <a:p>
                  <a:pPr>
                    <a:spcAft>
                      <a:spcPts val="1800"/>
                    </a:spcAft>
                  </a:pPr>
                  <a:endParaRPr lang="en-US" sz="1200" dirty="0"/>
                </a:p>
                <a:p>
                  <a:pPr>
                    <a:spcAft>
                      <a:spcPts val="1800"/>
                    </a:spcAft>
                  </a:pPr>
                  <a:r>
                    <a:rPr lang="en-US" sz="1200" b="1" dirty="0">
                      <a:solidFill>
                        <a:schemeClr val="bg1"/>
                      </a:solidFill>
                    </a:rPr>
                    <a:t>7</a:t>
                  </a:r>
                </a:p>
                <a:p>
                  <a:pPr>
                    <a:spcAft>
                      <a:spcPts val="1800"/>
                    </a:spcAft>
                  </a:pPr>
                  <a:r>
                    <a:rPr lang="en-US" sz="1200" dirty="0"/>
                    <a:t>14</a:t>
                  </a:r>
                </a:p>
                <a:p>
                  <a:pPr>
                    <a:spcAft>
                      <a:spcPts val="1800"/>
                    </a:spcAft>
                  </a:pPr>
                  <a:r>
                    <a:rPr lang="en-US" sz="1200" dirty="0"/>
                    <a:t>21</a:t>
                  </a:r>
                </a:p>
                <a:p>
                  <a:pPr>
                    <a:spcAft>
                      <a:spcPts val="1800"/>
                    </a:spcAft>
                  </a:pPr>
                  <a:r>
                    <a:rPr lang="en-US" sz="1200" dirty="0"/>
                    <a:t>28</a:t>
                  </a:r>
                </a:p>
              </p:txBody>
            </p:sp>
            <p:sp>
              <p:nvSpPr>
                <p:cNvPr id="100" name="TextBox 99"/>
                <p:cNvSpPr txBox="1"/>
                <p:nvPr/>
              </p:nvSpPr>
              <p:spPr>
                <a:xfrm>
                  <a:off x="2379830" y="1609538"/>
                  <a:ext cx="220382" cy="2262158"/>
                </a:xfrm>
                <a:prstGeom prst="rect">
                  <a:avLst/>
                </a:prstGeom>
                <a:noFill/>
                <a:ln w="6350">
                  <a:noFill/>
                  <a:prstDash val="dash"/>
                </a:ln>
              </p:spPr>
              <p:txBody>
                <a:bodyPr wrap="square" lIns="0" tIns="0" rIns="0" bIns="0" rtlCol="0">
                  <a:spAutoFit/>
                </a:bodyPr>
                <a:lstStyle/>
                <a:p>
                  <a:pPr>
                    <a:spcAft>
                      <a:spcPts val="1800"/>
                    </a:spcAft>
                  </a:pPr>
                  <a:r>
                    <a:rPr lang="en-US" sz="1200" dirty="0"/>
                    <a:t>T</a:t>
                  </a:r>
                </a:p>
                <a:p>
                  <a:pPr>
                    <a:spcAft>
                      <a:spcPts val="1800"/>
                    </a:spcAft>
                  </a:pPr>
                  <a:r>
                    <a:rPr lang="en-US" sz="1200" dirty="0"/>
                    <a:t>1</a:t>
                  </a:r>
                </a:p>
                <a:p>
                  <a:pPr>
                    <a:spcAft>
                      <a:spcPts val="1800"/>
                    </a:spcAft>
                  </a:pPr>
                  <a:r>
                    <a:rPr lang="en-US" sz="1200" dirty="0"/>
                    <a:t>8</a:t>
                  </a:r>
                </a:p>
                <a:p>
                  <a:pPr>
                    <a:spcAft>
                      <a:spcPts val="1800"/>
                    </a:spcAft>
                  </a:pPr>
                  <a:r>
                    <a:rPr lang="en-US" sz="1200" dirty="0"/>
                    <a:t>15</a:t>
                  </a:r>
                </a:p>
                <a:p>
                  <a:pPr>
                    <a:spcAft>
                      <a:spcPts val="1800"/>
                    </a:spcAft>
                  </a:pPr>
                  <a:r>
                    <a:rPr lang="en-US" sz="1200" dirty="0"/>
                    <a:t>22</a:t>
                  </a:r>
                </a:p>
                <a:p>
                  <a:pPr>
                    <a:spcAft>
                      <a:spcPts val="1800"/>
                    </a:spcAft>
                  </a:pPr>
                  <a:r>
                    <a:rPr lang="en-US" sz="1200" dirty="0"/>
                    <a:t>29</a:t>
                  </a:r>
                </a:p>
              </p:txBody>
            </p:sp>
            <p:sp>
              <p:nvSpPr>
                <p:cNvPr id="101" name="TextBox 100"/>
                <p:cNvSpPr txBox="1"/>
                <p:nvPr/>
              </p:nvSpPr>
              <p:spPr>
                <a:xfrm>
                  <a:off x="2867958" y="1609538"/>
                  <a:ext cx="220382" cy="2262158"/>
                </a:xfrm>
                <a:prstGeom prst="rect">
                  <a:avLst/>
                </a:prstGeom>
                <a:noFill/>
                <a:ln w="6350">
                  <a:noFill/>
                  <a:prstDash val="dash"/>
                </a:ln>
              </p:spPr>
              <p:txBody>
                <a:bodyPr wrap="square" lIns="0" tIns="0" rIns="0" bIns="0" rtlCol="0">
                  <a:spAutoFit/>
                </a:bodyPr>
                <a:lstStyle/>
                <a:p>
                  <a:pPr>
                    <a:spcAft>
                      <a:spcPts val="1800"/>
                    </a:spcAft>
                  </a:pPr>
                  <a:r>
                    <a:rPr lang="en-US" sz="1200" dirty="0"/>
                    <a:t>F</a:t>
                  </a:r>
                </a:p>
                <a:p>
                  <a:pPr>
                    <a:spcAft>
                      <a:spcPts val="1800"/>
                    </a:spcAft>
                  </a:pPr>
                  <a:r>
                    <a:rPr lang="en-US" sz="1200" dirty="0"/>
                    <a:t>2</a:t>
                  </a:r>
                </a:p>
                <a:p>
                  <a:pPr>
                    <a:spcAft>
                      <a:spcPts val="1800"/>
                    </a:spcAft>
                  </a:pPr>
                  <a:r>
                    <a:rPr lang="en-US" sz="1200" dirty="0"/>
                    <a:t>9</a:t>
                  </a:r>
                </a:p>
                <a:p>
                  <a:pPr>
                    <a:spcAft>
                      <a:spcPts val="1800"/>
                    </a:spcAft>
                  </a:pPr>
                  <a:r>
                    <a:rPr lang="en-US" sz="1200" dirty="0"/>
                    <a:t>16</a:t>
                  </a:r>
                </a:p>
                <a:p>
                  <a:pPr>
                    <a:spcAft>
                      <a:spcPts val="1800"/>
                    </a:spcAft>
                  </a:pPr>
                  <a:r>
                    <a:rPr lang="en-US" sz="1200" dirty="0"/>
                    <a:t>23</a:t>
                  </a:r>
                </a:p>
                <a:p>
                  <a:pPr>
                    <a:spcAft>
                      <a:spcPts val="1800"/>
                    </a:spcAft>
                  </a:pPr>
                  <a:r>
                    <a:rPr lang="en-US" sz="1200" dirty="0"/>
                    <a:t>30</a:t>
                  </a:r>
                </a:p>
              </p:txBody>
            </p:sp>
            <p:sp>
              <p:nvSpPr>
                <p:cNvPr id="104" name="TextBox 103"/>
                <p:cNvSpPr txBox="1"/>
                <p:nvPr/>
              </p:nvSpPr>
              <p:spPr>
                <a:xfrm>
                  <a:off x="3356088" y="1609538"/>
                  <a:ext cx="220382" cy="1846659"/>
                </a:xfrm>
                <a:prstGeom prst="rect">
                  <a:avLst/>
                </a:prstGeom>
                <a:noFill/>
                <a:ln w="6350">
                  <a:noFill/>
                  <a:prstDash val="dash"/>
                </a:ln>
              </p:spPr>
              <p:txBody>
                <a:bodyPr wrap="square" lIns="0" tIns="0" rIns="0" bIns="0" rtlCol="0">
                  <a:spAutoFit/>
                </a:bodyPr>
                <a:lstStyle/>
                <a:p>
                  <a:pPr>
                    <a:spcAft>
                      <a:spcPts val="1800"/>
                    </a:spcAft>
                  </a:pPr>
                  <a:r>
                    <a:rPr lang="en-US" sz="1200" dirty="0"/>
                    <a:t>S</a:t>
                  </a:r>
                </a:p>
                <a:p>
                  <a:pPr>
                    <a:spcAft>
                      <a:spcPts val="1800"/>
                    </a:spcAft>
                  </a:pPr>
                  <a:r>
                    <a:rPr lang="en-US" sz="1200" dirty="0"/>
                    <a:t>3</a:t>
                  </a:r>
                </a:p>
                <a:p>
                  <a:pPr>
                    <a:spcAft>
                      <a:spcPts val="1800"/>
                    </a:spcAft>
                  </a:pPr>
                  <a:r>
                    <a:rPr lang="en-US" sz="1200" dirty="0"/>
                    <a:t>10</a:t>
                  </a:r>
                </a:p>
                <a:p>
                  <a:pPr>
                    <a:spcAft>
                      <a:spcPts val="1800"/>
                    </a:spcAft>
                  </a:pPr>
                  <a:r>
                    <a:rPr lang="en-US" sz="1200" b="1" dirty="0">
                      <a:solidFill>
                        <a:schemeClr val="bg1"/>
                      </a:solidFill>
                    </a:rPr>
                    <a:t>17</a:t>
                  </a:r>
                </a:p>
                <a:p>
                  <a:pPr>
                    <a:spcAft>
                      <a:spcPts val="1800"/>
                    </a:spcAft>
                  </a:pPr>
                  <a:r>
                    <a:rPr lang="en-US" sz="1200" dirty="0"/>
                    <a:t>24</a:t>
                  </a:r>
                </a:p>
              </p:txBody>
            </p:sp>
          </p:grpSp>
        </p:grpSp>
        <p:cxnSp>
          <p:nvCxnSpPr>
            <p:cNvPr id="69" name="Straight Connector 68"/>
            <p:cNvCxnSpPr/>
            <p:nvPr/>
          </p:nvCxnSpPr>
          <p:spPr>
            <a:xfrm>
              <a:off x="1437845" y="2882551"/>
              <a:ext cx="314915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0" name="Group 69"/>
            <p:cNvGrpSpPr/>
            <p:nvPr/>
          </p:nvGrpSpPr>
          <p:grpSpPr>
            <a:xfrm>
              <a:off x="1423837" y="524453"/>
              <a:ext cx="3163160" cy="2138499"/>
              <a:chOff x="422835" y="-89838"/>
              <a:chExt cx="3163160" cy="2138499"/>
            </a:xfrm>
          </p:grpSpPr>
          <p:sp>
            <p:nvSpPr>
              <p:cNvPr id="74" name="TextBox 73"/>
              <p:cNvSpPr txBox="1"/>
              <p:nvPr/>
            </p:nvSpPr>
            <p:spPr>
              <a:xfrm>
                <a:off x="422835" y="-89838"/>
                <a:ext cx="2726405" cy="98488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 anchor="ctr">
                <a:spAutoFit/>
              </a:bodyPr>
              <a:lstStyle/>
              <a:p>
                <a:r>
                  <a:rPr lang="en-US" sz="3200" dirty="0">
                    <a:latin typeface="+mj-lt"/>
                  </a:rPr>
                  <a:t>PowerPoint Template</a:t>
                </a:r>
              </a:p>
            </p:txBody>
          </p:sp>
          <p:sp>
            <p:nvSpPr>
              <p:cNvPr id="73" name="TextBox 72"/>
              <p:cNvSpPr txBox="1"/>
              <p:nvPr/>
            </p:nvSpPr>
            <p:spPr>
              <a:xfrm>
                <a:off x="422835" y="971443"/>
                <a:ext cx="3163160" cy="1077218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1000" dirty="0"/>
                  <a:t>Lorem </a:t>
                </a:r>
                <a:r>
                  <a:rPr lang="en-US" sz="1000" dirty="0" err="1"/>
                  <a:t>Ipsum</a:t>
                </a:r>
                <a:r>
                  <a:rPr lang="en-US" sz="1000" dirty="0"/>
                  <a:t> is simply dummy text of the printing and typesetting industry. Lorem </a:t>
                </a:r>
                <a:r>
                  <a:rPr lang="en-US" sz="1000" dirty="0" err="1"/>
                  <a:t>Ipsum</a:t>
                </a:r>
                <a:r>
                  <a:rPr lang="en-US" sz="1000" dirty="0"/>
                  <a:t>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    </a:r>
              </a:p>
            </p:txBody>
          </p:sp>
        </p:grpSp>
      </p:grpSp>
      <p:grpSp>
        <p:nvGrpSpPr>
          <p:cNvPr id="106" name="Group 105"/>
          <p:cNvGrpSpPr/>
          <p:nvPr/>
        </p:nvGrpSpPr>
        <p:grpSpPr>
          <a:xfrm>
            <a:off x="8207972" y="595520"/>
            <a:ext cx="2914252" cy="1089991"/>
            <a:chOff x="5797948" y="501072"/>
            <a:chExt cx="2914252" cy="1089991"/>
          </a:xfrm>
        </p:grpSpPr>
        <p:sp>
          <p:nvSpPr>
            <p:cNvPr id="109" name="TextBox 108"/>
            <p:cNvSpPr txBox="1"/>
            <p:nvPr/>
          </p:nvSpPr>
          <p:spPr>
            <a:xfrm>
              <a:off x="5797948" y="501072"/>
              <a:ext cx="931465" cy="153888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dirty="0">
                  <a:solidFill>
                    <a:prstClr val="white"/>
                  </a:solidFill>
                </a:rPr>
                <a:t>07 JUNE 2017</a:t>
              </a:r>
            </a:p>
          </p:txBody>
        </p:sp>
        <p:sp>
          <p:nvSpPr>
            <p:cNvPr id="110" name="TextBox 109"/>
            <p:cNvSpPr txBox="1"/>
            <p:nvPr/>
          </p:nvSpPr>
          <p:spPr>
            <a:xfrm>
              <a:off x="5797948" y="1129398"/>
              <a:ext cx="2914252" cy="461665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dirty="0">
                  <a:solidFill>
                    <a:prstClr val="white"/>
                  </a:solidFill>
                </a:rPr>
                <a:t>Lorem </a:t>
              </a:r>
              <a:r>
                <a:rPr lang="en-US" sz="1000" dirty="0" err="1">
                  <a:solidFill>
                    <a:prstClr val="white"/>
                  </a:solidFill>
                </a:rPr>
                <a:t>Ipsum</a:t>
              </a:r>
              <a:r>
                <a:rPr lang="en-US" sz="1000" dirty="0">
                  <a:solidFill>
                    <a:prstClr val="white"/>
                  </a:solidFill>
                </a:rPr>
                <a:t> is simply dummy text of the printing and typesetting industry. Lorem </a:t>
              </a:r>
              <a:r>
                <a:rPr lang="en-US" sz="1000" dirty="0" err="1">
                  <a:solidFill>
                    <a:prstClr val="white"/>
                  </a:solidFill>
                </a:rPr>
                <a:t>Ipsum</a:t>
              </a:r>
              <a:r>
                <a:rPr lang="en-US" sz="1000" dirty="0">
                  <a:solidFill>
                    <a:prstClr val="white"/>
                  </a:solidFill>
                </a:rPr>
                <a:t> has been the industry's standard dummy text ever since the 1500s.</a:t>
              </a:r>
            </a:p>
          </p:txBody>
        </p:sp>
        <p:sp>
          <p:nvSpPr>
            <p:cNvPr id="111" name="TextBox 110"/>
            <p:cNvSpPr txBox="1"/>
            <p:nvPr/>
          </p:nvSpPr>
          <p:spPr>
            <a:xfrm>
              <a:off x="5797948" y="925199"/>
              <a:ext cx="2914252" cy="184666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b="1" dirty="0">
                  <a:solidFill>
                    <a:srgbClr val="E2583D"/>
                  </a:solidFill>
                </a:rPr>
                <a:t>LOREM IPSUM</a:t>
              </a:r>
            </a:p>
          </p:txBody>
        </p:sp>
      </p:grpSp>
      <p:cxnSp>
        <p:nvCxnSpPr>
          <p:cNvPr id="112" name="Straight Connector 111"/>
          <p:cNvCxnSpPr/>
          <p:nvPr/>
        </p:nvCxnSpPr>
        <p:spPr>
          <a:xfrm>
            <a:off x="6096000" y="2051491"/>
            <a:ext cx="4935894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Oval 9"/>
          <p:cNvSpPr/>
          <p:nvPr/>
        </p:nvSpPr>
        <p:spPr>
          <a:xfrm>
            <a:off x="6583955" y="586274"/>
            <a:ext cx="1108482" cy="1108482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3" name="Oval 112"/>
          <p:cNvSpPr/>
          <p:nvPr/>
        </p:nvSpPr>
        <p:spPr>
          <a:xfrm>
            <a:off x="6659106" y="661425"/>
            <a:ext cx="958180" cy="958180"/>
          </a:xfrm>
          <a:prstGeom prst="ellipse">
            <a:avLst/>
          </a:prstGeom>
          <a:solidFill>
            <a:srgbClr val="E2583D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14" name="Group 113"/>
          <p:cNvGrpSpPr/>
          <p:nvPr/>
        </p:nvGrpSpPr>
        <p:grpSpPr>
          <a:xfrm>
            <a:off x="6923092" y="925411"/>
            <a:ext cx="430208" cy="430208"/>
            <a:chOff x="885825" y="1925638"/>
            <a:chExt cx="287338" cy="287338"/>
          </a:xfrm>
          <a:solidFill>
            <a:schemeClr val="bg1"/>
          </a:solidFill>
        </p:grpSpPr>
        <p:sp>
          <p:nvSpPr>
            <p:cNvPr id="115" name="Freeform 50"/>
            <p:cNvSpPr>
              <a:spLocks noEditPoints="1"/>
            </p:cNvSpPr>
            <p:nvPr/>
          </p:nvSpPr>
          <p:spPr bwMode="auto">
            <a:xfrm>
              <a:off x="885825" y="1925638"/>
              <a:ext cx="228600" cy="287338"/>
            </a:xfrm>
            <a:custGeom>
              <a:avLst/>
              <a:gdLst>
                <a:gd name="T0" fmla="*/ 230 w 722"/>
                <a:gd name="T1" fmla="*/ 221 h 905"/>
                <a:gd name="T2" fmla="*/ 252 w 722"/>
                <a:gd name="T3" fmla="*/ 167 h 905"/>
                <a:gd name="T4" fmla="*/ 252 w 722"/>
                <a:gd name="T5" fmla="*/ 105 h 905"/>
                <a:gd name="T6" fmla="*/ 227 w 722"/>
                <a:gd name="T7" fmla="*/ 52 h 905"/>
                <a:gd name="T8" fmla="*/ 598 w 722"/>
                <a:gd name="T9" fmla="*/ 30 h 905"/>
                <a:gd name="T10" fmla="*/ 635 w 722"/>
                <a:gd name="T11" fmla="*/ 43 h 905"/>
                <a:gd name="T12" fmla="*/ 668 w 722"/>
                <a:gd name="T13" fmla="*/ 70 h 905"/>
                <a:gd name="T14" fmla="*/ 688 w 722"/>
                <a:gd name="T15" fmla="*/ 106 h 905"/>
                <a:gd name="T16" fmla="*/ 692 w 722"/>
                <a:gd name="T17" fmla="*/ 145 h 905"/>
                <a:gd name="T18" fmla="*/ 679 w 722"/>
                <a:gd name="T19" fmla="*/ 184 h 905"/>
                <a:gd name="T20" fmla="*/ 652 w 722"/>
                <a:gd name="T21" fmla="*/ 216 h 905"/>
                <a:gd name="T22" fmla="*/ 617 w 722"/>
                <a:gd name="T23" fmla="*/ 236 h 905"/>
                <a:gd name="T24" fmla="*/ 587 w 722"/>
                <a:gd name="T25" fmla="*/ 241 h 905"/>
                <a:gd name="T26" fmla="*/ 572 w 722"/>
                <a:gd name="T27" fmla="*/ 271 h 905"/>
                <a:gd name="T28" fmla="*/ 217 w 722"/>
                <a:gd name="T29" fmla="*/ 181 h 905"/>
                <a:gd name="T30" fmla="*/ 191 w 722"/>
                <a:gd name="T31" fmla="*/ 220 h 905"/>
                <a:gd name="T32" fmla="*/ 150 w 722"/>
                <a:gd name="T33" fmla="*/ 240 h 905"/>
                <a:gd name="T34" fmla="*/ 30 w 722"/>
                <a:gd name="T35" fmla="*/ 125 h 905"/>
                <a:gd name="T36" fmla="*/ 42 w 722"/>
                <a:gd name="T37" fmla="*/ 86 h 905"/>
                <a:gd name="T38" fmla="*/ 66 w 722"/>
                <a:gd name="T39" fmla="*/ 55 h 905"/>
                <a:gd name="T40" fmla="*/ 100 w 722"/>
                <a:gd name="T41" fmla="*/ 35 h 905"/>
                <a:gd name="T42" fmla="*/ 138 w 722"/>
                <a:gd name="T43" fmla="*/ 30 h 905"/>
                <a:gd name="T44" fmla="*/ 174 w 722"/>
                <a:gd name="T45" fmla="*/ 43 h 905"/>
                <a:gd name="T46" fmla="*/ 203 w 722"/>
                <a:gd name="T47" fmla="*/ 69 h 905"/>
                <a:gd name="T48" fmla="*/ 221 w 722"/>
                <a:gd name="T49" fmla="*/ 105 h 905"/>
                <a:gd name="T50" fmla="*/ 225 w 722"/>
                <a:gd name="T51" fmla="*/ 143 h 905"/>
                <a:gd name="T52" fmla="*/ 129 w 722"/>
                <a:gd name="T53" fmla="*/ 152 h 905"/>
                <a:gd name="T54" fmla="*/ 121 w 722"/>
                <a:gd name="T55" fmla="*/ 160 h 905"/>
                <a:gd name="T56" fmla="*/ 120 w 722"/>
                <a:gd name="T57" fmla="*/ 604 h 905"/>
                <a:gd name="T58" fmla="*/ 720 w 722"/>
                <a:gd name="T59" fmla="*/ 110 h 905"/>
                <a:gd name="T60" fmla="*/ 699 w 722"/>
                <a:gd name="T61" fmla="*/ 62 h 905"/>
                <a:gd name="T62" fmla="*/ 661 w 722"/>
                <a:gd name="T63" fmla="*/ 24 h 905"/>
                <a:gd name="T64" fmla="*/ 614 w 722"/>
                <a:gd name="T65" fmla="*/ 3 h 905"/>
                <a:gd name="T66" fmla="*/ 134 w 722"/>
                <a:gd name="T67" fmla="*/ 0 h 905"/>
                <a:gd name="T68" fmla="*/ 116 w 722"/>
                <a:gd name="T69" fmla="*/ 1 h 905"/>
                <a:gd name="T70" fmla="*/ 67 w 722"/>
                <a:gd name="T71" fmla="*/ 16 h 905"/>
                <a:gd name="T72" fmla="*/ 29 w 722"/>
                <a:gd name="T73" fmla="*/ 50 h 905"/>
                <a:gd name="T74" fmla="*/ 5 w 722"/>
                <a:gd name="T75" fmla="*/ 96 h 905"/>
                <a:gd name="T76" fmla="*/ 0 w 722"/>
                <a:gd name="T77" fmla="*/ 619 h 905"/>
                <a:gd name="T78" fmla="*/ 4 w 722"/>
                <a:gd name="T79" fmla="*/ 629 h 905"/>
                <a:gd name="T80" fmla="*/ 15 w 722"/>
                <a:gd name="T81" fmla="*/ 634 h 905"/>
                <a:gd name="T82" fmla="*/ 121 w 722"/>
                <a:gd name="T83" fmla="*/ 895 h 905"/>
                <a:gd name="T84" fmla="*/ 129 w 722"/>
                <a:gd name="T85" fmla="*/ 904 h 905"/>
                <a:gd name="T86" fmla="*/ 590 w 722"/>
                <a:gd name="T87" fmla="*/ 905 h 905"/>
                <a:gd name="T88" fmla="*/ 600 w 722"/>
                <a:gd name="T89" fmla="*/ 898 h 905"/>
                <a:gd name="T90" fmla="*/ 602 w 722"/>
                <a:gd name="T91" fmla="*/ 270 h 905"/>
                <a:gd name="T92" fmla="*/ 648 w 722"/>
                <a:gd name="T93" fmla="*/ 255 h 905"/>
                <a:gd name="T94" fmla="*/ 687 w 722"/>
                <a:gd name="T95" fmla="*/ 225 h 905"/>
                <a:gd name="T96" fmla="*/ 713 w 722"/>
                <a:gd name="T97" fmla="*/ 183 h 905"/>
                <a:gd name="T98" fmla="*/ 722 w 722"/>
                <a:gd name="T99" fmla="*/ 136 h 9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722" h="905">
                  <a:moveTo>
                    <a:pt x="587" y="241"/>
                  </a:moveTo>
                  <a:lnTo>
                    <a:pt x="211" y="241"/>
                  </a:lnTo>
                  <a:lnTo>
                    <a:pt x="221" y="231"/>
                  </a:lnTo>
                  <a:lnTo>
                    <a:pt x="230" y="221"/>
                  </a:lnTo>
                  <a:lnTo>
                    <a:pt x="237" y="209"/>
                  </a:lnTo>
                  <a:lnTo>
                    <a:pt x="244" y="195"/>
                  </a:lnTo>
                  <a:lnTo>
                    <a:pt x="249" y="182"/>
                  </a:lnTo>
                  <a:lnTo>
                    <a:pt x="252" y="167"/>
                  </a:lnTo>
                  <a:lnTo>
                    <a:pt x="254" y="152"/>
                  </a:lnTo>
                  <a:lnTo>
                    <a:pt x="256" y="136"/>
                  </a:lnTo>
                  <a:lnTo>
                    <a:pt x="254" y="120"/>
                  </a:lnTo>
                  <a:lnTo>
                    <a:pt x="252" y="105"/>
                  </a:lnTo>
                  <a:lnTo>
                    <a:pt x="248" y="91"/>
                  </a:lnTo>
                  <a:lnTo>
                    <a:pt x="243" y="77"/>
                  </a:lnTo>
                  <a:lnTo>
                    <a:pt x="235" y="64"/>
                  </a:lnTo>
                  <a:lnTo>
                    <a:pt x="227" y="52"/>
                  </a:lnTo>
                  <a:lnTo>
                    <a:pt x="218" y="40"/>
                  </a:lnTo>
                  <a:lnTo>
                    <a:pt x="207" y="30"/>
                  </a:lnTo>
                  <a:lnTo>
                    <a:pt x="587" y="30"/>
                  </a:lnTo>
                  <a:lnTo>
                    <a:pt x="598" y="30"/>
                  </a:lnTo>
                  <a:lnTo>
                    <a:pt x="607" y="33"/>
                  </a:lnTo>
                  <a:lnTo>
                    <a:pt x="617" y="36"/>
                  </a:lnTo>
                  <a:lnTo>
                    <a:pt x="627" y="39"/>
                  </a:lnTo>
                  <a:lnTo>
                    <a:pt x="635" y="43"/>
                  </a:lnTo>
                  <a:lnTo>
                    <a:pt x="645" y="50"/>
                  </a:lnTo>
                  <a:lnTo>
                    <a:pt x="652" y="56"/>
                  </a:lnTo>
                  <a:lnTo>
                    <a:pt x="660" y="63"/>
                  </a:lnTo>
                  <a:lnTo>
                    <a:pt x="668" y="70"/>
                  </a:lnTo>
                  <a:lnTo>
                    <a:pt x="674" y="79"/>
                  </a:lnTo>
                  <a:lnTo>
                    <a:pt x="679" y="87"/>
                  </a:lnTo>
                  <a:lnTo>
                    <a:pt x="684" y="96"/>
                  </a:lnTo>
                  <a:lnTo>
                    <a:pt x="688" y="106"/>
                  </a:lnTo>
                  <a:lnTo>
                    <a:pt x="690" y="115"/>
                  </a:lnTo>
                  <a:lnTo>
                    <a:pt x="692" y="126"/>
                  </a:lnTo>
                  <a:lnTo>
                    <a:pt x="692" y="136"/>
                  </a:lnTo>
                  <a:lnTo>
                    <a:pt x="692" y="145"/>
                  </a:lnTo>
                  <a:lnTo>
                    <a:pt x="690" y="156"/>
                  </a:lnTo>
                  <a:lnTo>
                    <a:pt x="688" y="166"/>
                  </a:lnTo>
                  <a:lnTo>
                    <a:pt x="684" y="176"/>
                  </a:lnTo>
                  <a:lnTo>
                    <a:pt x="679" y="184"/>
                  </a:lnTo>
                  <a:lnTo>
                    <a:pt x="674" y="193"/>
                  </a:lnTo>
                  <a:lnTo>
                    <a:pt x="668" y="201"/>
                  </a:lnTo>
                  <a:lnTo>
                    <a:pt x="660" y="209"/>
                  </a:lnTo>
                  <a:lnTo>
                    <a:pt x="652" y="216"/>
                  </a:lnTo>
                  <a:lnTo>
                    <a:pt x="645" y="222"/>
                  </a:lnTo>
                  <a:lnTo>
                    <a:pt x="635" y="228"/>
                  </a:lnTo>
                  <a:lnTo>
                    <a:pt x="627" y="233"/>
                  </a:lnTo>
                  <a:lnTo>
                    <a:pt x="617" y="236"/>
                  </a:lnTo>
                  <a:lnTo>
                    <a:pt x="607" y="239"/>
                  </a:lnTo>
                  <a:lnTo>
                    <a:pt x="598" y="241"/>
                  </a:lnTo>
                  <a:lnTo>
                    <a:pt x="587" y="241"/>
                  </a:lnTo>
                  <a:lnTo>
                    <a:pt x="587" y="241"/>
                  </a:lnTo>
                  <a:close/>
                  <a:moveTo>
                    <a:pt x="572" y="874"/>
                  </a:moveTo>
                  <a:lnTo>
                    <a:pt x="150" y="874"/>
                  </a:lnTo>
                  <a:lnTo>
                    <a:pt x="150" y="271"/>
                  </a:lnTo>
                  <a:lnTo>
                    <a:pt x="572" y="271"/>
                  </a:lnTo>
                  <a:lnTo>
                    <a:pt x="572" y="874"/>
                  </a:lnTo>
                  <a:close/>
                  <a:moveTo>
                    <a:pt x="150" y="240"/>
                  </a:moveTo>
                  <a:lnTo>
                    <a:pt x="150" y="181"/>
                  </a:lnTo>
                  <a:lnTo>
                    <a:pt x="217" y="181"/>
                  </a:lnTo>
                  <a:lnTo>
                    <a:pt x="211" y="192"/>
                  </a:lnTo>
                  <a:lnTo>
                    <a:pt x="206" y="201"/>
                  </a:lnTo>
                  <a:lnTo>
                    <a:pt x="199" y="211"/>
                  </a:lnTo>
                  <a:lnTo>
                    <a:pt x="191" y="220"/>
                  </a:lnTo>
                  <a:lnTo>
                    <a:pt x="182" y="226"/>
                  </a:lnTo>
                  <a:lnTo>
                    <a:pt x="172" y="233"/>
                  </a:lnTo>
                  <a:lnTo>
                    <a:pt x="161" y="237"/>
                  </a:lnTo>
                  <a:lnTo>
                    <a:pt x="150" y="240"/>
                  </a:lnTo>
                  <a:lnTo>
                    <a:pt x="150" y="240"/>
                  </a:lnTo>
                  <a:close/>
                  <a:moveTo>
                    <a:pt x="30" y="604"/>
                  </a:moveTo>
                  <a:lnTo>
                    <a:pt x="30" y="136"/>
                  </a:lnTo>
                  <a:lnTo>
                    <a:pt x="30" y="125"/>
                  </a:lnTo>
                  <a:lnTo>
                    <a:pt x="32" y="115"/>
                  </a:lnTo>
                  <a:lnTo>
                    <a:pt x="34" y="105"/>
                  </a:lnTo>
                  <a:lnTo>
                    <a:pt x="37" y="96"/>
                  </a:lnTo>
                  <a:lnTo>
                    <a:pt x="42" y="86"/>
                  </a:lnTo>
                  <a:lnTo>
                    <a:pt x="47" y="78"/>
                  </a:lnTo>
                  <a:lnTo>
                    <a:pt x="52" y="69"/>
                  </a:lnTo>
                  <a:lnTo>
                    <a:pt x="59" y="62"/>
                  </a:lnTo>
                  <a:lnTo>
                    <a:pt x="66" y="55"/>
                  </a:lnTo>
                  <a:lnTo>
                    <a:pt x="74" y="49"/>
                  </a:lnTo>
                  <a:lnTo>
                    <a:pt x="82" y="43"/>
                  </a:lnTo>
                  <a:lnTo>
                    <a:pt x="91" y="39"/>
                  </a:lnTo>
                  <a:lnTo>
                    <a:pt x="100" y="35"/>
                  </a:lnTo>
                  <a:lnTo>
                    <a:pt x="109" y="33"/>
                  </a:lnTo>
                  <a:lnTo>
                    <a:pt x="119" y="30"/>
                  </a:lnTo>
                  <a:lnTo>
                    <a:pt x="129" y="30"/>
                  </a:lnTo>
                  <a:lnTo>
                    <a:pt x="138" y="30"/>
                  </a:lnTo>
                  <a:lnTo>
                    <a:pt x="148" y="33"/>
                  </a:lnTo>
                  <a:lnTo>
                    <a:pt x="157" y="35"/>
                  </a:lnTo>
                  <a:lnTo>
                    <a:pt x="165" y="39"/>
                  </a:lnTo>
                  <a:lnTo>
                    <a:pt x="174" y="43"/>
                  </a:lnTo>
                  <a:lnTo>
                    <a:pt x="182" y="49"/>
                  </a:lnTo>
                  <a:lnTo>
                    <a:pt x="190" y="55"/>
                  </a:lnTo>
                  <a:lnTo>
                    <a:pt x="196" y="62"/>
                  </a:lnTo>
                  <a:lnTo>
                    <a:pt x="203" y="69"/>
                  </a:lnTo>
                  <a:lnTo>
                    <a:pt x="208" y="78"/>
                  </a:lnTo>
                  <a:lnTo>
                    <a:pt x="214" y="86"/>
                  </a:lnTo>
                  <a:lnTo>
                    <a:pt x="218" y="95"/>
                  </a:lnTo>
                  <a:lnTo>
                    <a:pt x="221" y="105"/>
                  </a:lnTo>
                  <a:lnTo>
                    <a:pt x="223" y="115"/>
                  </a:lnTo>
                  <a:lnTo>
                    <a:pt x="224" y="125"/>
                  </a:lnTo>
                  <a:lnTo>
                    <a:pt x="225" y="136"/>
                  </a:lnTo>
                  <a:lnTo>
                    <a:pt x="225" y="143"/>
                  </a:lnTo>
                  <a:lnTo>
                    <a:pt x="224" y="151"/>
                  </a:lnTo>
                  <a:lnTo>
                    <a:pt x="135" y="151"/>
                  </a:lnTo>
                  <a:lnTo>
                    <a:pt x="132" y="151"/>
                  </a:lnTo>
                  <a:lnTo>
                    <a:pt x="129" y="152"/>
                  </a:lnTo>
                  <a:lnTo>
                    <a:pt x="126" y="153"/>
                  </a:lnTo>
                  <a:lnTo>
                    <a:pt x="124" y="155"/>
                  </a:lnTo>
                  <a:lnTo>
                    <a:pt x="122" y="157"/>
                  </a:lnTo>
                  <a:lnTo>
                    <a:pt x="121" y="160"/>
                  </a:lnTo>
                  <a:lnTo>
                    <a:pt x="120" y="163"/>
                  </a:lnTo>
                  <a:lnTo>
                    <a:pt x="120" y="166"/>
                  </a:lnTo>
                  <a:lnTo>
                    <a:pt x="120" y="256"/>
                  </a:lnTo>
                  <a:lnTo>
                    <a:pt x="120" y="604"/>
                  </a:lnTo>
                  <a:lnTo>
                    <a:pt x="30" y="604"/>
                  </a:lnTo>
                  <a:close/>
                  <a:moveTo>
                    <a:pt x="722" y="136"/>
                  </a:moveTo>
                  <a:lnTo>
                    <a:pt x="722" y="123"/>
                  </a:lnTo>
                  <a:lnTo>
                    <a:pt x="720" y="110"/>
                  </a:lnTo>
                  <a:lnTo>
                    <a:pt x="717" y="97"/>
                  </a:lnTo>
                  <a:lnTo>
                    <a:pt x="712" y="84"/>
                  </a:lnTo>
                  <a:lnTo>
                    <a:pt x="706" y="72"/>
                  </a:lnTo>
                  <a:lnTo>
                    <a:pt x="699" y="62"/>
                  </a:lnTo>
                  <a:lnTo>
                    <a:pt x="691" y="51"/>
                  </a:lnTo>
                  <a:lnTo>
                    <a:pt x="682" y="41"/>
                  </a:lnTo>
                  <a:lnTo>
                    <a:pt x="672" y="33"/>
                  </a:lnTo>
                  <a:lnTo>
                    <a:pt x="661" y="24"/>
                  </a:lnTo>
                  <a:lnTo>
                    <a:pt x="650" y="17"/>
                  </a:lnTo>
                  <a:lnTo>
                    <a:pt x="638" y="11"/>
                  </a:lnTo>
                  <a:lnTo>
                    <a:pt x="626" y="7"/>
                  </a:lnTo>
                  <a:lnTo>
                    <a:pt x="614" y="3"/>
                  </a:lnTo>
                  <a:lnTo>
                    <a:pt x="601" y="1"/>
                  </a:lnTo>
                  <a:lnTo>
                    <a:pt x="587" y="0"/>
                  </a:lnTo>
                  <a:lnTo>
                    <a:pt x="135" y="0"/>
                  </a:lnTo>
                  <a:lnTo>
                    <a:pt x="134" y="0"/>
                  </a:lnTo>
                  <a:lnTo>
                    <a:pt x="133" y="0"/>
                  </a:lnTo>
                  <a:lnTo>
                    <a:pt x="131" y="0"/>
                  </a:lnTo>
                  <a:lnTo>
                    <a:pt x="129" y="0"/>
                  </a:lnTo>
                  <a:lnTo>
                    <a:pt x="116" y="1"/>
                  </a:lnTo>
                  <a:lnTo>
                    <a:pt x="103" y="2"/>
                  </a:lnTo>
                  <a:lnTo>
                    <a:pt x="90" y="7"/>
                  </a:lnTo>
                  <a:lnTo>
                    <a:pt x="78" y="11"/>
                  </a:lnTo>
                  <a:lnTo>
                    <a:pt x="67" y="16"/>
                  </a:lnTo>
                  <a:lnTo>
                    <a:pt x="57" y="24"/>
                  </a:lnTo>
                  <a:lnTo>
                    <a:pt x="47" y="31"/>
                  </a:lnTo>
                  <a:lnTo>
                    <a:pt x="37" y="40"/>
                  </a:lnTo>
                  <a:lnTo>
                    <a:pt x="29" y="50"/>
                  </a:lnTo>
                  <a:lnTo>
                    <a:pt x="21" y="60"/>
                  </a:lnTo>
                  <a:lnTo>
                    <a:pt x="15" y="71"/>
                  </a:lnTo>
                  <a:lnTo>
                    <a:pt x="9" y="83"/>
                  </a:lnTo>
                  <a:lnTo>
                    <a:pt x="5" y="96"/>
                  </a:lnTo>
                  <a:lnTo>
                    <a:pt x="2" y="109"/>
                  </a:lnTo>
                  <a:lnTo>
                    <a:pt x="0" y="122"/>
                  </a:lnTo>
                  <a:lnTo>
                    <a:pt x="0" y="136"/>
                  </a:lnTo>
                  <a:lnTo>
                    <a:pt x="0" y="619"/>
                  </a:lnTo>
                  <a:lnTo>
                    <a:pt x="0" y="621"/>
                  </a:lnTo>
                  <a:lnTo>
                    <a:pt x="1" y="624"/>
                  </a:lnTo>
                  <a:lnTo>
                    <a:pt x="2" y="626"/>
                  </a:lnTo>
                  <a:lnTo>
                    <a:pt x="4" y="629"/>
                  </a:lnTo>
                  <a:lnTo>
                    <a:pt x="6" y="630"/>
                  </a:lnTo>
                  <a:lnTo>
                    <a:pt x="8" y="633"/>
                  </a:lnTo>
                  <a:lnTo>
                    <a:pt x="11" y="633"/>
                  </a:lnTo>
                  <a:lnTo>
                    <a:pt x="15" y="634"/>
                  </a:lnTo>
                  <a:lnTo>
                    <a:pt x="120" y="634"/>
                  </a:lnTo>
                  <a:lnTo>
                    <a:pt x="120" y="890"/>
                  </a:lnTo>
                  <a:lnTo>
                    <a:pt x="120" y="893"/>
                  </a:lnTo>
                  <a:lnTo>
                    <a:pt x="121" y="895"/>
                  </a:lnTo>
                  <a:lnTo>
                    <a:pt x="122" y="898"/>
                  </a:lnTo>
                  <a:lnTo>
                    <a:pt x="124" y="900"/>
                  </a:lnTo>
                  <a:lnTo>
                    <a:pt x="126" y="902"/>
                  </a:lnTo>
                  <a:lnTo>
                    <a:pt x="129" y="904"/>
                  </a:lnTo>
                  <a:lnTo>
                    <a:pt x="132" y="905"/>
                  </a:lnTo>
                  <a:lnTo>
                    <a:pt x="135" y="905"/>
                  </a:lnTo>
                  <a:lnTo>
                    <a:pt x="587" y="905"/>
                  </a:lnTo>
                  <a:lnTo>
                    <a:pt x="590" y="905"/>
                  </a:lnTo>
                  <a:lnTo>
                    <a:pt x="593" y="904"/>
                  </a:lnTo>
                  <a:lnTo>
                    <a:pt x="595" y="902"/>
                  </a:lnTo>
                  <a:lnTo>
                    <a:pt x="598" y="900"/>
                  </a:lnTo>
                  <a:lnTo>
                    <a:pt x="600" y="898"/>
                  </a:lnTo>
                  <a:lnTo>
                    <a:pt x="601" y="895"/>
                  </a:lnTo>
                  <a:lnTo>
                    <a:pt x="602" y="893"/>
                  </a:lnTo>
                  <a:lnTo>
                    <a:pt x="602" y="890"/>
                  </a:lnTo>
                  <a:lnTo>
                    <a:pt x="602" y="270"/>
                  </a:lnTo>
                  <a:lnTo>
                    <a:pt x="615" y="268"/>
                  </a:lnTo>
                  <a:lnTo>
                    <a:pt x="626" y="265"/>
                  </a:lnTo>
                  <a:lnTo>
                    <a:pt x="637" y="260"/>
                  </a:lnTo>
                  <a:lnTo>
                    <a:pt x="648" y="255"/>
                  </a:lnTo>
                  <a:lnTo>
                    <a:pt x="659" y="249"/>
                  </a:lnTo>
                  <a:lnTo>
                    <a:pt x="669" y="241"/>
                  </a:lnTo>
                  <a:lnTo>
                    <a:pt x="678" y="234"/>
                  </a:lnTo>
                  <a:lnTo>
                    <a:pt x="687" y="225"/>
                  </a:lnTo>
                  <a:lnTo>
                    <a:pt x="694" y="215"/>
                  </a:lnTo>
                  <a:lnTo>
                    <a:pt x="702" y="206"/>
                  </a:lnTo>
                  <a:lnTo>
                    <a:pt x="708" y="195"/>
                  </a:lnTo>
                  <a:lnTo>
                    <a:pt x="713" y="183"/>
                  </a:lnTo>
                  <a:lnTo>
                    <a:pt x="717" y="172"/>
                  </a:lnTo>
                  <a:lnTo>
                    <a:pt x="720" y="160"/>
                  </a:lnTo>
                  <a:lnTo>
                    <a:pt x="722" y="148"/>
                  </a:lnTo>
                  <a:lnTo>
                    <a:pt x="722" y="136"/>
                  </a:lnTo>
                  <a:lnTo>
                    <a:pt x="722" y="1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51"/>
            <p:cNvSpPr>
              <a:spLocks/>
            </p:cNvSpPr>
            <p:nvPr/>
          </p:nvSpPr>
          <p:spPr bwMode="auto">
            <a:xfrm>
              <a:off x="995363" y="2051050"/>
              <a:ext cx="57150" cy="9525"/>
            </a:xfrm>
            <a:custGeom>
              <a:avLst/>
              <a:gdLst>
                <a:gd name="T0" fmla="*/ 15 w 181"/>
                <a:gd name="T1" fmla="*/ 30 h 30"/>
                <a:gd name="T2" fmla="*/ 166 w 181"/>
                <a:gd name="T3" fmla="*/ 30 h 30"/>
                <a:gd name="T4" fmla="*/ 169 w 181"/>
                <a:gd name="T5" fmla="*/ 30 h 30"/>
                <a:gd name="T6" fmla="*/ 172 w 181"/>
                <a:gd name="T7" fmla="*/ 29 h 30"/>
                <a:gd name="T8" fmla="*/ 174 w 181"/>
                <a:gd name="T9" fmla="*/ 28 h 30"/>
                <a:gd name="T10" fmla="*/ 176 w 181"/>
                <a:gd name="T11" fmla="*/ 25 h 30"/>
                <a:gd name="T12" fmla="*/ 178 w 181"/>
                <a:gd name="T13" fmla="*/ 23 h 30"/>
                <a:gd name="T14" fmla="*/ 180 w 181"/>
                <a:gd name="T15" fmla="*/ 21 h 30"/>
                <a:gd name="T16" fmla="*/ 181 w 181"/>
                <a:gd name="T17" fmla="*/ 18 h 30"/>
                <a:gd name="T18" fmla="*/ 181 w 181"/>
                <a:gd name="T19" fmla="*/ 15 h 30"/>
                <a:gd name="T20" fmla="*/ 181 w 181"/>
                <a:gd name="T21" fmla="*/ 13 h 30"/>
                <a:gd name="T22" fmla="*/ 180 w 181"/>
                <a:gd name="T23" fmla="*/ 9 h 30"/>
                <a:gd name="T24" fmla="*/ 178 w 181"/>
                <a:gd name="T25" fmla="*/ 7 h 30"/>
                <a:gd name="T26" fmla="*/ 176 w 181"/>
                <a:gd name="T27" fmla="*/ 4 h 30"/>
                <a:gd name="T28" fmla="*/ 174 w 181"/>
                <a:gd name="T29" fmla="*/ 3 h 30"/>
                <a:gd name="T30" fmla="*/ 172 w 181"/>
                <a:gd name="T31" fmla="*/ 1 h 30"/>
                <a:gd name="T32" fmla="*/ 169 w 181"/>
                <a:gd name="T33" fmla="*/ 1 h 30"/>
                <a:gd name="T34" fmla="*/ 166 w 181"/>
                <a:gd name="T35" fmla="*/ 0 h 30"/>
                <a:gd name="T36" fmla="*/ 15 w 181"/>
                <a:gd name="T37" fmla="*/ 0 h 30"/>
                <a:gd name="T38" fmla="*/ 12 w 181"/>
                <a:gd name="T39" fmla="*/ 1 h 30"/>
                <a:gd name="T40" fmla="*/ 10 w 181"/>
                <a:gd name="T41" fmla="*/ 1 h 30"/>
                <a:gd name="T42" fmla="*/ 6 w 181"/>
                <a:gd name="T43" fmla="*/ 3 h 30"/>
                <a:gd name="T44" fmla="*/ 4 w 181"/>
                <a:gd name="T45" fmla="*/ 4 h 30"/>
                <a:gd name="T46" fmla="*/ 2 w 181"/>
                <a:gd name="T47" fmla="*/ 7 h 30"/>
                <a:gd name="T48" fmla="*/ 1 w 181"/>
                <a:gd name="T49" fmla="*/ 9 h 30"/>
                <a:gd name="T50" fmla="*/ 0 w 181"/>
                <a:gd name="T51" fmla="*/ 13 h 30"/>
                <a:gd name="T52" fmla="*/ 0 w 181"/>
                <a:gd name="T53" fmla="*/ 15 h 30"/>
                <a:gd name="T54" fmla="*/ 0 w 181"/>
                <a:gd name="T55" fmla="*/ 18 h 30"/>
                <a:gd name="T56" fmla="*/ 1 w 181"/>
                <a:gd name="T57" fmla="*/ 21 h 30"/>
                <a:gd name="T58" fmla="*/ 2 w 181"/>
                <a:gd name="T59" fmla="*/ 23 h 30"/>
                <a:gd name="T60" fmla="*/ 4 w 181"/>
                <a:gd name="T61" fmla="*/ 25 h 30"/>
                <a:gd name="T62" fmla="*/ 6 w 181"/>
                <a:gd name="T63" fmla="*/ 28 h 30"/>
                <a:gd name="T64" fmla="*/ 10 w 181"/>
                <a:gd name="T65" fmla="*/ 29 h 30"/>
                <a:gd name="T66" fmla="*/ 12 w 181"/>
                <a:gd name="T67" fmla="*/ 30 h 30"/>
                <a:gd name="T68" fmla="*/ 15 w 181"/>
                <a:gd name="T69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81" h="30">
                  <a:moveTo>
                    <a:pt x="15" y="30"/>
                  </a:moveTo>
                  <a:lnTo>
                    <a:pt x="166" y="30"/>
                  </a:lnTo>
                  <a:lnTo>
                    <a:pt x="169" y="30"/>
                  </a:lnTo>
                  <a:lnTo>
                    <a:pt x="172" y="29"/>
                  </a:lnTo>
                  <a:lnTo>
                    <a:pt x="174" y="28"/>
                  </a:lnTo>
                  <a:lnTo>
                    <a:pt x="176" y="25"/>
                  </a:lnTo>
                  <a:lnTo>
                    <a:pt x="178" y="23"/>
                  </a:lnTo>
                  <a:lnTo>
                    <a:pt x="180" y="21"/>
                  </a:lnTo>
                  <a:lnTo>
                    <a:pt x="181" y="18"/>
                  </a:lnTo>
                  <a:lnTo>
                    <a:pt x="181" y="15"/>
                  </a:lnTo>
                  <a:lnTo>
                    <a:pt x="181" y="13"/>
                  </a:lnTo>
                  <a:lnTo>
                    <a:pt x="180" y="9"/>
                  </a:lnTo>
                  <a:lnTo>
                    <a:pt x="178" y="7"/>
                  </a:lnTo>
                  <a:lnTo>
                    <a:pt x="176" y="4"/>
                  </a:lnTo>
                  <a:lnTo>
                    <a:pt x="174" y="3"/>
                  </a:lnTo>
                  <a:lnTo>
                    <a:pt x="172" y="1"/>
                  </a:lnTo>
                  <a:lnTo>
                    <a:pt x="169" y="1"/>
                  </a:lnTo>
                  <a:lnTo>
                    <a:pt x="166" y="0"/>
                  </a:lnTo>
                  <a:lnTo>
                    <a:pt x="15" y="0"/>
                  </a:lnTo>
                  <a:lnTo>
                    <a:pt x="12" y="1"/>
                  </a:lnTo>
                  <a:lnTo>
                    <a:pt x="10" y="1"/>
                  </a:lnTo>
                  <a:lnTo>
                    <a:pt x="6" y="3"/>
                  </a:lnTo>
                  <a:lnTo>
                    <a:pt x="4" y="4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1"/>
                  </a:lnTo>
                  <a:lnTo>
                    <a:pt x="2" y="23"/>
                  </a:lnTo>
                  <a:lnTo>
                    <a:pt x="4" y="25"/>
                  </a:lnTo>
                  <a:lnTo>
                    <a:pt x="6" y="28"/>
                  </a:lnTo>
                  <a:lnTo>
                    <a:pt x="10" y="29"/>
                  </a:lnTo>
                  <a:lnTo>
                    <a:pt x="12" y="30"/>
                  </a:lnTo>
                  <a:lnTo>
                    <a:pt x="15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Freeform 52"/>
            <p:cNvSpPr>
              <a:spLocks/>
            </p:cNvSpPr>
            <p:nvPr/>
          </p:nvSpPr>
          <p:spPr bwMode="auto">
            <a:xfrm>
              <a:off x="995363" y="2098675"/>
              <a:ext cx="57150" cy="9525"/>
            </a:xfrm>
            <a:custGeom>
              <a:avLst/>
              <a:gdLst>
                <a:gd name="T0" fmla="*/ 15 w 181"/>
                <a:gd name="T1" fmla="*/ 31 h 31"/>
                <a:gd name="T2" fmla="*/ 166 w 181"/>
                <a:gd name="T3" fmla="*/ 31 h 31"/>
                <a:gd name="T4" fmla="*/ 169 w 181"/>
                <a:gd name="T5" fmla="*/ 30 h 31"/>
                <a:gd name="T6" fmla="*/ 172 w 181"/>
                <a:gd name="T7" fmla="*/ 30 h 31"/>
                <a:gd name="T8" fmla="*/ 174 w 181"/>
                <a:gd name="T9" fmla="*/ 28 h 31"/>
                <a:gd name="T10" fmla="*/ 176 w 181"/>
                <a:gd name="T11" fmla="*/ 27 h 31"/>
                <a:gd name="T12" fmla="*/ 178 w 181"/>
                <a:gd name="T13" fmla="*/ 24 h 31"/>
                <a:gd name="T14" fmla="*/ 180 w 181"/>
                <a:gd name="T15" fmla="*/ 22 h 31"/>
                <a:gd name="T16" fmla="*/ 181 w 181"/>
                <a:gd name="T17" fmla="*/ 19 h 31"/>
                <a:gd name="T18" fmla="*/ 181 w 181"/>
                <a:gd name="T19" fmla="*/ 16 h 31"/>
                <a:gd name="T20" fmla="*/ 181 w 181"/>
                <a:gd name="T21" fmla="*/ 13 h 31"/>
                <a:gd name="T22" fmla="*/ 180 w 181"/>
                <a:gd name="T23" fmla="*/ 10 h 31"/>
                <a:gd name="T24" fmla="*/ 178 w 181"/>
                <a:gd name="T25" fmla="*/ 8 h 31"/>
                <a:gd name="T26" fmla="*/ 176 w 181"/>
                <a:gd name="T27" fmla="*/ 6 h 31"/>
                <a:gd name="T28" fmla="*/ 174 w 181"/>
                <a:gd name="T29" fmla="*/ 3 h 31"/>
                <a:gd name="T30" fmla="*/ 172 w 181"/>
                <a:gd name="T31" fmla="*/ 2 h 31"/>
                <a:gd name="T32" fmla="*/ 169 w 181"/>
                <a:gd name="T33" fmla="*/ 1 h 31"/>
                <a:gd name="T34" fmla="*/ 166 w 181"/>
                <a:gd name="T35" fmla="*/ 1 h 31"/>
                <a:gd name="T36" fmla="*/ 15 w 181"/>
                <a:gd name="T37" fmla="*/ 0 h 31"/>
                <a:gd name="T38" fmla="*/ 12 w 181"/>
                <a:gd name="T39" fmla="*/ 1 h 31"/>
                <a:gd name="T40" fmla="*/ 10 w 181"/>
                <a:gd name="T41" fmla="*/ 2 h 31"/>
                <a:gd name="T42" fmla="*/ 6 w 181"/>
                <a:gd name="T43" fmla="*/ 3 h 31"/>
                <a:gd name="T44" fmla="*/ 4 w 181"/>
                <a:gd name="T45" fmla="*/ 6 h 31"/>
                <a:gd name="T46" fmla="*/ 2 w 181"/>
                <a:gd name="T47" fmla="*/ 8 h 31"/>
                <a:gd name="T48" fmla="*/ 1 w 181"/>
                <a:gd name="T49" fmla="*/ 10 h 31"/>
                <a:gd name="T50" fmla="*/ 0 w 181"/>
                <a:gd name="T51" fmla="*/ 13 h 31"/>
                <a:gd name="T52" fmla="*/ 0 w 181"/>
                <a:gd name="T53" fmla="*/ 16 h 31"/>
                <a:gd name="T54" fmla="*/ 0 w 181"/>
                <a:gd name="T55" fmla="*/ 19 h 31"/>
                <a:gd name="T56" fmla="*/ 1 w 181"/>
                <a:gd name="T57" fmla="*/ 22 h 31"/>
                <a:gd name="T58" fmla="*/ 2 w 181"/>
                <a:gd name="T59" fmla="*/ 24 h 31"/>
                <a:gd name="T60" fmla="*/ 4 w 181"/>
                <a:gd name="T61" fmla="*/ 27 h 31"/>
                <a:gd name="T62" fmla="*/ 6 w 181"/>
                <a:gd name="T63" fmla="*/ 28 h 31"/>
                <a:gd name="T64" fmla="*/ 10 w 181"/>
                <a:gd name="T65" fmla="*/ 30 h 31"/>
                <a:gd name="T66" fmla="*/ 12 w 181"/>
                <a:gd name="T67" fmla="*/ 30 h 31"/>
                <a:gd name="T68" fmla="*/ 15 w 181"/>
                <a:gd name="T6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81" h="31">
                  <a:moveTo>
                    <a:pt x="15" y="31"/>
                  </a:moveTo>
                  <a:lnTo>
                    <a:pt x="166" y="31"/>
                  </a:lnTo>
                  <a:lnTo>
                    <a:pt x="169" y="30"/>
                  </a:lnTo>
                  <a:lnTo>
                    <a:pt x="172" y="30"/>
                  </a:lnTo>
                  <a:lnTo>
                    <a:pt x="174" y="28"/>
                  </a:lnTo>
                  <a:lnTo>
                    <a:pt x="176" y="27"/>
                  </a:lnTo>
                  <a:lnTo>
                    <a:pt x="178" y="24"/>
                  </a:lnTo>
                  <a:lnTo>
                    <a:pt x="180" y="22"/>
                  </a:lnTo>
                  <a:lnTo>
                    <a:pt x="181" y="19"/>
                  </a:lnTo>
                  <a:lnTo>
                    <a:pt x="181" y="16"/>
                  </a:lnTo>
                  <a:lnTo>
                    <a:pt x="181" y="13"/>
                  </a:lnTo>
                  <a:lnTo>
                    <a:pt x="180" y="10"/>
                  </a:lnTo>
                  <a:lnTo>
                    <a:pt x="178" y="8"/>
                  </a:lnTo>
                  <a:lnTo>
                    <a:pt x="176" y="6"/>
                  </a:lnTo>
                  <a:lnTo>
                    <a:pt x="174" y="3"/>
                  </a:lnTo>
                  <a:lnTo>
                    <a:pt x="172" y="2"/>
                  </a:lnTo>
                  <a:lnTo>
                    <a:pt x="169" y="1"/>
                  </a:lnTo>
                  <a:lnTo>
                    <a:pt x="166" y="1"/>
                  </a:lnTo>
                  <a:lnTo>
                    <a:pt x="15" y="0"/>
                  </a:lnTo>
                  <a:lnTo>
                    <a:pt x="12" y="1"/>
                  </a:lnTo>
                  <a:lnTo>
                    <a:pt x="10" y="2"/>
                  </a:lnTo>
                  <a:lnTo>
                    <a:pt x="6" y="3"/>
                  </a:lnTo>
                  <a:lnTo>
                    <a:pt x="4" y="6"/>
                  </a:lnTo>
                  <a:lnTo>
                    <a:pt x="2" y="8"/>
                  </a:lnTo>
                  <a:lnTo>
                    <a:pt x="1" y="10"/>
                  </a:lnTo>
                  <a:lnTo>
                    <a:pt x="0" y="13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1" y="22"/>
                  </a:lnTo>
                  <a:lnTo>
                    <a:pt x="2" y="24"/>
                  </a:lnTo>
                  <a:lnTo>
                    <a:pt x="4" y="27"/>
                  </a:lnTo>
                  <a:lnTo>
                    <a:pt x="6" y="28"/>
                  </a:lnTo>
                  <a:lnTo>
                    <a:pt x="10" y="30"/>
                  </a:lnTo>
                  <a:lnTo>
                    <a:pt x="12" y="30"/>
                  </a:lnTo>
                  <a:lnTo>
                    <a:pt x="15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Freeform 53"/>
            <p:cNvSpPr>
              <a:spLocks/>
            </p:cNvSpPr>
            <p:nvPr/>
          </p:nvSpPr>
          <p:spPr bwMode="auto">
            <a:xfrm>
              <a:off x="995363" y="2146300"/>
              <a:ext cx="57150" cy="9525"/>
            </a:xfrm>
            <a:custGeom>
              <a:avLst/>
              <a:gdLst>
                <a:gd name="T0" fmla="*/ 15 w 181"/>
                <a:gd name="T1" fmla="*/ 30 h 30"/>
                <a:gd name="T2" fmla="*/ 166 w 181"/>
                <a:gd name="T3" fmla="*/ 30 h 30"/>
                <a:gd name="T4" fmla="*/ 169 w 181"/>
                <a:gd name="T5" fmla="*/ 30 h 30"/>
                <a:gd name="T6" fmla="*/ 172 w 181"/>
                <a:gd name="T7" fmla="*/ 29 h 30"/>
                <a:gd name="T8" fmla="*/ 174 w 181"/>
                <a:gd name="T9" fmla="*/ 27 h 30"/>
                <a:gd name="T10" fmla="*/ 176 w 181"/>
                <a:gd name="T11" fmla="*/ 26 h 30"/>
                <a:gd name="T12" fmla="*/ 178 w 181"/>
                <a:gd name="T13" fmla="*/ 23 h 30"/>
                <a:gd name="T14" fmla="*/ 180 w 181"/>
                <a:gd name="T15" fmla="*/ 20 h 30"/>
                <a:gd name="T16" fmla="*/ 181 w 181"/>
                <a:gd name="T17" fmla="*/ 18 h 30"/>
                <a:gd name="T18" fmla="*/ 181 w 181"/>
                <a:gd name="T19" fmla="*/ 15 h 30"/>
                <a:gd name="T20" fmla="*/ 181 w 181"/>
                <a:gd name="T21" fmla="*/ 12 h 30"/>
                <a:gd name="T22" fmla="*/ 180 w 181"/>
                <a:gd name="T23" fmla="*/ 8 h 30"/>
                <a:gd name="T24" fmla="*/ 178 w 181"/>
                <a:gd name="T25" fmla="*/ 6 h 30"/>
                <a:gd name="T26" fmla="*/ 176 w 181"/>
                <a:gd name="T27" fmla="*/ 4 h 30"/>
                <a:gd name="T28" fmla="*/ 174 w 181"/>
                <a:gd name="T29" fmla="*/ 2 h 30"/>
                <a:gd name="T30" fmla="*/ 172 w 181"/>
                <a:gd name="T31" fmla="*/ 1 h 30"/>
                <a:gd name="T32" fmla="*/ 169 w 181"/>
                <a:gd name="T33" fmla="*/ 0 h 30"/>
                <a:gd name="T34" fmla="*/ 166 w 181"/>
                <a:gd name="T35" fmla="*/ 0 h 30"/>
                <a:gd name="T36" fmla="*/ 15 w 181"/>
                <a:gd name="T37" fmla="*/ 0 h 30"/>
                <a:gd name="T38" fmla="*/ 12 w 181"/>
                <a:gd name="T39" fmla="*/ 0 h 30"/>
                <a:gd name="T40" fmla="*/ 10 w 181"/>
                <a:gd name="T41" fmla="*/ 1 h 30"/>
                <a:gd name="T42" fmla="*/ 6 w 181"/>
                <a:gd name="T43" fmla="*/ 2 h 30"/>
                <a:gd name="T44" fmla="*/ 4 w 181"/>
                <a:gd name="T45" fmla="*/ 4 h 30"/>
                <a:gd name="T46" fmla="*/ 2 w 181"/>
                <a:gd name="T47" fmla="*/ 6 h 30"/>
                <a:gd name="T48" fmla="*/ 1 w 181"/>
                <a:gd name="T49" fmla="*/ 8 h 30"/>
                <a:gd name="T50" fmla="*/ 0 w 181"/>
                <a:gd name="T51" fmla="*/ 12 h 30"/>
                <a:gd name="T52" fmla="*/ 0 w 181"/>
                <a:gd name="T53" fmla="*/ 15 h 30"/>
                <a:gd name="T54" fmla="*/ 0 w 181"/>
                <a:gd name="T55" fmla="*/ 18 h 30"/>
                <a:gd name="T56" fmla="*/ 1 w 181"/>
                <a:gd name="T57" fmla="*/ 20 h 30"/>
                <a:gd name="T58" fmla="*/ 2 w 181"/>
                <a:gd name="T59" fmla="*/ 23 h 30"/>
                <a:gd name="T60" fmla="*/ 4 w 181"/>
                <a:gd name="T61" fmla="*/ 26 h 30"/>
                <a:gd name="T62" fmla="*/ 6 w 181"/>
                <a:gd name="T63" fmla="*/ 27 h 30"/>
                <a:gd name="T64" fmla="*/ 10 w 181"/>
                <a:gd name="T65" fmla="*/ 29 h 30"/>
                <a:gd name="T66" fmla="*/ 12 w 181"/>
                <a:gd name="T67" fmla="*/ 30 h 30"/>
                <a:gd name="T68" fmla="*/ 15 w 181"/>
                <a:gd name="T69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81" h="30">
                  <a:moveTo>
                    <a:pt x="15" y="30"/>
                  </a:moveTo>
                  <a:lnTo>
                    <a:pt x="166" y="30"/>
                  </a:lnTo>
                  <a:lnTo>
                    <a:pt x="169" y="30"/>
                  </a:lnTo>
                  <a:lnTo>
                    <a:pt x="172" y="29"/>
                  </a:lnTo>
                  <a:lnTo>
                    <a:pt x="174" y="27"/>
                  </a:lnTo>
                  <a:lnTo>
                    <a:pt x="176" y="26"/>
                  </a:lnTo>
                  <a:lnTo>
                    <a:pt x="178" y="23"/>
                  </a:lnTo>
                  <a:lnTo>
                    <a:pt x="180" y="20"/>
                  </a:lnTo>
                  <a:lnTo>
                    <a:pt x="181" y="18"/>
                  </a:lnTo>
                  <a:lnTo>
                    <a:pt x="181" y="15"/>
                  </a:lnTo>
                  <a:lnTo>
                    <a:pt x="181" y="12"/>
                  </a:lnTo>
                  <a:lnTo>
                    <a:pt x="180" y="8"/>
                  </a:lnTo>
                  <a:lnTo>
                    <a:pt x="178" y="6"/>
                  </a:lnTo>
                  <a:lnTo>
                    <a:pt x="176" y="4"/>
                  </a:lnTo>
                  <a:lnTo>
                    <a:pt x="174" y="2"/>
                  </a:lnTo>
                  <a:lnTo>
                    <a:pt x="172" y="1"/>
                  </a:lnTo>
                  <a:lnTo>
                    <a:pt x="169" y="0"/>
                  </a:lnTo>
                  <a:lnTo>
                    <a:pt x="166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8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0"/>
                  </a:lnTo>
                  <a:lnTo>
                    <a:pt x="2" y="23"/>
                  </a:lnTo>
                  <a:lnTo>
                    <a:pt x="4" y="26"/>
                  </a:lnTo>
                  <a:lnTo>
                    <a:pt x="6" y="27"/>
                  </a:lnTo>
                  <a:lnTo>
                    <a:pt x="10" y="29"/>
                  </a:lnTo>
                  <a:lnTo>
                    <a:pt x="12" y="30"/>
                  </a:lnTo>
                  <a:lnTo>
                    <a:pt x="15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Freeform 54"/>
            <p:cNvSpPr>
              <a:spLocks/>
            </p:cNvSpPr>
            <p:nvPr/>
          </p:nvSpPr>
          <p:spPr bwMode="auto">
            <a:xfrm>
              <a:off x="947738" y="2022475"/>
              <a:ext cx="38100" cy="33338"/>
            </a:xfrm>
            <a:custGeom>
              <a:avLst/>
              <a:gdLst>
                <a:gd name="T0" fmla="*/ 20 w 121"/>
                <a:gd name="T1" fmla="*/ 101 h 106"/>
                <a:gd name="T2" fmla="*/ 22 w 121"/>
                <a:gd name="T3" fmla="*/ 104 h 106"/>
                <a:gd name="T4" fmla="*/ 25 w 121"/>
                <a:gd name="T5" fmla="*/ 105 h 106"/>
                <a:gd name="T6" fmla="*/ 27 w 121"/>
                <a:gd name="T7" fmla="*/ 106 h 106"/>
                <a:gd name="T8" fmla="*/ 30 w 121"/>
                <a:gd name="T9" fmla="*/ 106 h 106"/>
                <a:gd name="T10" fmla="*/ 36 w 121"/>
                <a:gd name="T11" fmla="*/ 105 h 106"/>
                <a:gd name="T12" fmla="*/ 41 w 121"/>
                <a:gd name="T13" fmla="*/ 101 h 106"/>
                <a:gd name="T14" fmla="*/ 116 w 121"/>
                <a:gd name="T15" fmla="*/ 26 h 106"/>
                <a:gd name="T16" fmla="*/ 119 w 121"/>
                <a:gd name="T17" fmla="*/ 24 h 106"/>
                <a:gd name="T18" fmla="*/ 120 w 121"/>
                <a:gd name="T19" fmla="*/ 21 h 106"/>
                <a:gd name="T20" fmla="*/ 121 w 121"/>
                <a:gd name="T21" fmla="*/ 19 h 106"/>
                <a:gd name="T22" fmla="*/ 121 w 121"/>
                <a:gd name="T23" fmla="*/ 15 h 106"/>
                <a:gd name="T24" fmla="*/ 121 w 121"/>
                <a:gd name="T25" fmla="*/ 13 h 106"/>
                <a:gd name="T26" fmla="*/ 120 w 121"/>
                <a:gd name="T27" fmla="*/ 10 h 106"/>
                <a:gd name="T28" fmla="*/ 119 w 121"/>
                <a:gd name="T29" fmla="*/ 8 h 106"/>
                <a:gd name="T30" fmla="*/ 116 w 121"/>
                <a:gd name="T31" fmla="*/ 5 h 106"/>
                <a:gd name="T32" fmla="*/ 114 w 121"/>
                <a:gd name="T33" fmla="*/ 4 h 106"/>
                <a:gd name="T34" fmla="*/ 111 w 121"/>
                <a:gd name="T35" fmla="*/ 1 h 106"/>
                <a:gd name="T36" fmla="*/ 109 w 121"/>
                <a:gd name="T37" fmla="*/ 0 h 106"/>
                <a:gd name="T38" fmla="*/ 106 w 121"/>
                <a:gd name="T39" fmla="*/ 0 h 106"/>
                <a:gd name="T40" fmla="*/ 103 w 121"/>
                <a:gd name="T41" fmla="*/ 0 h 106"/>
                <a:gd name="T42" fmla="*/ 100 w 121"/>
                <a:gd name="T43" fmla="*/ 1 h 106"/>
                <a:gd name="T44" fmla="*/ 97 w 121"/>
                <a:gd name="T45" fmla="*/ 4 h 106"/>
                <a:gd name="T46" fmla="*/ 95 w 121"/>
                <a:gd name="T47" fmla="*/ 5 h 106"/>
                <a:gd name="T48" fmla="*/ 30 w 121"/>
                <a:gd name="T49" fmla="*/ 69 h 106"/>
                <a:gd name="T50" fmla="*/ 26 w 121"/>
                <a:gd name="T51" fmla="*/ 65 h 106"/>
                <a:gd name="T52" fmla="*/ 24 w 121"/>
                <a:gd name="T53" fmla="*/ 64 h 106"/>
                <a:gd name="T54" fmla="*/ 21 w 121"/>
                <a:gd name="T55" fmla="*/ 62 h 106"/>
                <a:gd name="T56" fmla="*/ 18 w 121"/>
                <a:gd name="T57" fmla="*/ 62 h 106"/>
                <a:gd name="T58" fmla="*/ 15 w 121"/>
                <a:gd name="T59" fmla="*/ 61 h 106"/>
                <a:gd name="T60" fmla="*/ 12 w 121"/>
                <a:gd name="T61" fmla="*/ 62 h 106"/>
                <a:gd name="T62" fmla="*/ 10 w 121"/>
                <a:gd name="T63" fmla="*/ 62 h 106"/>
                <a:gd name="T64" fmla="*/ 7 w 121"/>
                <a:gd name="T65" fmla="*/ 64 h 106"/>
                <a:gd name="T66" fmla="*/ 5 w 121"/>
                <a:gd name="T67" fmla="*/ 65 h 106"/>
                <a:gd name="T68" fmla="*/ 2 w 121"/>
                <a:gd name="T69" fmla="*/ 68 h 106"/>
                <a:gd name="T70" fmla="*/ 1 w 121"/>
                <a:gd name="T71" fmla="*/ 70 h 106"/>
                <a:gd name="T72" fmla="*/ 0 w 121"/>
                <a:gd name="T73" fmla="*/ 73 h 106"/>
                <a:gd name="T74" fmla="*/ 0 w 121"/>
                <a:gd name="T75" fmla="*/ 76 h 106"/>
                <a:gd name="T76" fmla="*/ 0 w 121"/>
                <a:gd name="T77" fmla="*/ 79 h 106"/>
                <a:gd name="T78" fmla="*/ 1 w 121"/>
                <a:gd name="T79" fmla="*/ 82 h 106"/>
                <a:gd name="T80" fmla="*/ 2 w 121"/>
                <a:gd name="T81" fmla="*/ 84 h 106"/>
                <a:gd name="T82" fmla="*/ 5 w 121"/>
                <a:gd name="T83" fmla="*/ 86 h 106"/>
                <a:gd name="T84" fmla="*/ 20 w 121"/>
                <a:gd name="T85" fmla="*/ 101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1" h="106">
                  <a:moveTo>
                    <a:pt x="20" y="101"/>
                  </a:moveTo>
                  <a:lnTo>
                    <a:pt x="22" y="104"/>
                  </a:lnTo>
                  <a:lnTo>
                    <a:pt x="25" y="105"/>
                  </a:lnTo>
                  <a:lnTo>
                    <a:pt x="27" y="106"/>
                  </a:lnTo>
                  <a:lnTo>
                    <a:pt x="30" y="106"/>
                  </a:lnTo>
                  <a:lnTo>
                    <a:pt x="36" y="105"/>
                  </a:lnTo>
                  <a:lnTo>
                    <a:pt x="41" y="101"/>
                  </a:lnTo>
                  <a:lnTo>
                    <a:pt x="116" y="26"/>
                  </a:lnTo>
                  <a:lnTo>
                    <a:pt x="119" y="24"/>
                  </a:lnTo>
                  <a:lnTo>
                    <a:pt x="120" y="21"/>
                  </a:lnTo>
                  <a:lnTo>
                    <a:pt x="121" y="19"/>
                  </a:lnTo>
                  <a:lnTo>
                    <a:pt x="121" y="15"/>
                  </a:lnTo>
                  <a:lnTo>
                    <a:pt x="121" y="13"/>
                  </a:lnTo>
                  <a:lnTo>
                    <a:pt x="120" y="10"/>
                  </a:lnTo>
                  <a:lnTo>
                    <a:pt x="119" y="8"/>
                  </a:lnTo>
                  <a:lnTo>
                    <a:pt x="116" y="5"/>
                  </a:lnTo>
                  <a:lnTo>
                    <a:pt x="114" y="4"/>
                  </a:lnTo>
                  <a:lnTo>
                    <a:pt x="111" y="1"/>
                  </a:lnTo>
                  <a:lnTo>
                    <a:pt x="109" y="0"/>
                  </a:lnTo>
                  <a:lnTo>
                    <a:pt x="106" y="0"/>
                  </a:lnTo>
                  <a:lnTo>
                    <a:pt x="103" y="0"/>
                  </a:lnTo>
                  <a:lnTo>
                    <a:pt x="100" y="1"/>
                  </a:lnTo>
                  <a:lnTo>
                    <a:pt x="97" y="4"/>
                  </a:lnTo>
                  <a:lnTo>
                    <a:pt x="95" y="5"/>
                  </a:lnTo>
                  <a:lnTo>
                    <a:pt x="30" y="69"/>
                  </a:lnTo>
                  <a:lnTo>
                    <a:pt x="26" y="65"/>
                  </a:lnTo>
                  <a:lnTo>
                    <a:pt x="24" y="64"/>
                  </a:lnTo>
                  <a:lnTo>
                    <a:pt x="21" y="62"/>
                  </a:lnTo>
                  <a:lnTo>
                    <a:pt x="18" y="62"/>
                  </a:lnTo>
                  <a:lnTo>
                    <a:pt x="15" y="61"/>
                  </a:lnTo>
                  <a:lnTo>
                    <a:pt x="12" y="62"/>
                  </a:lnTo>
                  <a:lnTo>
                    <a:pt x="10" y="62"/>
                  </a:lnTo>
                  <a:lnTo>
                    <a:pt x="7" y="64"/>
                  </a:lnTo>
                  <a:lnTo>
                    <a:pt x="5" y="65"/>
                  </a:lnTo>
                  <a:lnTo>
                    <a:pt x="2" y="68"/>
                  </a:lnTo>
                  <a:lnTo>
                    <a:pt x="1" y="70"/>
                  </a:lnTo>
                  <a:lnTo>
                    <a:pt x="0" y="73"/>
                  </a:lnTo>
                  <a:lnTo>
                    <a:pt x="0" y="76"/>
                  </a:lnTo>
                  <a:lnTo>
                    <a:pt x="0" y="79"/>
                  </a:lnTo>
                  <a:lnTo>
                    <a:pt x="1" y="82"/>
                  </a:lnTo>
                  <a:lnTo>
                    <a:pt x="2" y="84"/>
                  </a:lnTo>
                  <a:lnTo>
                    <a:pt x="5" y="86"/>
                  </a:lnTo>
                  <a:lnTo>
                    <a:pt x="20" y="1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Freeform 55"/>
            <p:cNvSpPr>
              <a:spLocks/>
            </p:cNvSpPr>
            <p:nvPr/>
          </p:nvSpPr>
          <p:spPr bwMode="auto">
            <a:xfrm>
              <a:off x="947738" y="2070100"/>
              <a:ext cx="38100" cy="33338"/>
            </a:xfrm>
            <a:custGeom>
              <a:avLst/>
              <a:gdLst>
                <a:gd name="T0" fmla="*/ 20 w 121"/>
                <a:gd name="T1" fmla="*/ 101 h 106"/>
                <a:gd name="T2" fmla="*/ 22 w 121"/>
                <a:gd name="T3" fmla="*/ 103 h 106"/>
                <a:gd name="T4" fmla="*/ 25 w 121"/>
                <a:gd name="T5" fmla="*/ 105 h 106"/>
                <a:gd name="T6" fmla="*/ 27 w 121"/>
                <a:gd name="T7" fmla="*/ 105 h 106"/>
                <a:gd name="T8" fmla="*/ 30 w 121"/>
                <a:gd name="T9" fmla="*/ 106 h 106"/>
                <a:gd name="T10" fmla="*/ 34 w 121"/>
                <a:gd name="T11" fmla="*/ 105 h 106"/>
                <a:gd name="T12" fmla="*/ 36 w 121"/>
                <a:gd name="T13" fmla="*/ 105 h 106"/>
                <a:gd name="T14" fmla="*/ 39 w 121"/>
                <a:gd name="T15" fmla="*/ 103 h 106"/>
                <a:gd name="T16" fmla="*/ 41 w 121"/>
                <a:gd name="T17" fmla="*/ 102 h 106"/>
                <a:gd name="T18" fmla="*/ 116 w 121"/>
                <a:gd name="T19" fmla="*/ 26 h 106"/>
                <a:gd name="T20" fmla="*/ 119 w 121"/>
                <a:gd name="T21" fmla="*/ 24 h 106"/>
                <a:gd name="T22" fmla="*/ 120 w 121"/>
                <a:gd name="T23" fmla="*/ 21 h 106"/>
                <a:gd name="T24" fmla="*/ 121 w 121"/>
                <a:gd name="T25" fmla="*/ 18 h 106"/>
                <a:gd name="T26" fmla="*/ 121 w 121"/>
                <a:gd name="T27" fmla="*/ 15 h 106"/>
                <a:gd name="T28" fmla="*/ 121 w 121"/>
                <a:gd name="T29" fmla="*/ 13 h 106"/>
                <a:gd name="T30" fmla="*/ 120 w 121"/>
                <a:gd name="T31" fmla="*/ 10 h 106"/>
                <a:gd name="T32" fmla="*/ 119 w 121"/>
                <a:gd name="T33" fmla="*/ 7 h 106"/>
                <a:gd name="T34" fmla="*/ 116 w 121"/>
                <a:gd name="T35" fmla="*/ 5 h 106"/>
                <a:gd name="T36" fmla="*/ 114 w 121"/>
                <a:gd name="T37" fmla="*/ 3 h 106"/>
                <a:gd name="T38" fmla="*/ 111 w 121"/>
                <a:gd name="T39" fmla="*/ 1 h 106"/>
                <a:gd name="T40" fmla="*/ 109 w 121"/>
                <a:gd name="T41" fmla="*/ 1 h 106"/>
                <a:gd name="T42" fmla="*/ 106 w 121"/>
                <a:gd name="T43" fmla="*/ 0 h 106"/>
                <a:gd name="T44" fmla="*/ 103 w 121"/>
                <a:gd name="T45" fmla="*/ 1 h 106"/>
                <a:gd name="T46" fmla="*/ 100 w 121"/>
                <a:gd name="T47" fmla="*/ 1 h 106"/>
                <a:gd name="T48" fmla="*/ 97 w 121"/>
                <a:gd name="T49" fmla="*/ 3 h 106"/>
                <a:gd name="T50" fmla="*/ 95 w 121"/>
                <a:gd name="T51" fmla="*/ 5 h 106"/>
                <a:gd name="T52" fmla="*/ 30 w 121"/>
                <a:gd name="T53" fmla="*/ 70 h 106"/>
                <a:gd name="T54" fmla="*/ 26 w 121"/>
                <a:gd name="T55" fmla="*/ 65 h 106"/>
                <a:gd name="T56" fmla="*/ 24 w 121"/>
                <a:gd name="T57" fmla="*/ 63 h 106"/>
                <a:gd name="T58" fmla="*/ 21 w 121"/>
                <a:gd name="T59" fmla="*/ 61 h 106"/>
                <a:gd name="T60" fmla="*/ 18 w 121"/>
                <a:gd name="T61" fmla="*/ 61 h 106"/>
                <a:gd name="T62" fmla="*/ 15 w 121"/>
                <a:gd name="T63" fmla="*/ 60 h 106"/>
                <a:gd name="T64" fmla="*/ 12 w 121"/>
                <a:gd name="T65" fmla="*/ 61 h 106"/>
                <a:gd name="T66" fmla="*/ 10 w 121"/>
                <a:gd name="T67" fmla="*/ 62 h 106"/>
                <a:gd name="T68" fmla="*/ 7 w 121"/>
                <a:gd name="T69" fmla="*/ 63 h 106"/>
                <a:gd name="T70" fmla="*/ 5 w 121"/>
                <a:gd name="T71" fmla="*/ 65 h 106"/>
                <a:gd name="T72" fmla="*/ 2 w 121"/>
                <a:gd name="T73" fmla="*/ 68 h 106"/>
                <a:gd name="T74" fmla="*/ 1 w 121"/>
                <a:gd name="T75" fmla="*/ 70 h 106"/>
                <a:gd name="T76" fmla="*/ 0 w 121"/>
                <a:gd name="T77" fmla="*/ 73 h 106"/>
                <a:gd name="T78" fmla="*/ 0 w 121"/>
                <a:gd name="T79" fmla="*/ 76 h 106"/>
                <a:gd name="T80" fmla="*/ 0 w 121"/>
                <a:gd name="T81" fmla="*/ 78 h 106"/>
                <a:gd name="T82" fmla="*/ 1 w 121"/>
                <a:gd name="T83" fmla="*/ 82 h 106"/>
                <a:gd name="T84" fmla="*/ 2 w 121"/>
                <a:gd name="T85" fmla="*/ 84 h 106"/>
                <a:gd name="T86" fmla="*/ 5 w 121"/>
                <a:gd name="T87" fmla="*/ 87 h 106"/>
                <a:gd name="T88" fmla="*/ 20 w 121"/>
                <a:gd name="T89" fmla="*/ 101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21" h="106">
                  <a:moveTo>
                    <a:pt x="20" y="101"/>
                  </a:moveTo>
                  <a:lnTo>
                    <a:pt x="22" y="103"/>
                  </a:lnTo>
                  <a:lnTo>
                    <a:pt x="25" y="105"/>
                  </a:lnTo>
                  <a:lnTo>
                    <a:pt x="27" y="105"/>
                  </a:lnTo>
                  <a:lnTo>
                    <a:pt x="30" y="106"/>
                  </a:lnTo>
                  <a:lnTo>
                    <a:pt x="34" y="105"/>
                  </a:lnTo>
                  <a:lnTo>
                    <a:pt x="36" y="105"/>
                  </a:lnTo>
                  <a:lnTo>
                    <a:pt x="39" y="103"/>
                  </a:lnTo>
                  <a:lnTo>
                    <a:pt x="41" y="102"/>
                  </a:lnTo>
                  <a:lnTo>
                    <a:pt x="116" y="26"/>
                  </a:lnTo>
                  <a:lnTo>
                    <a:pt x="119" y="24"/>
                  </a:lnTo>
                  <a:lnTo>
                    <a:pt x="120" y="21"/>
                  </a:lnTo>
                  <a:lnTo>
                    <a:pt x="121" y="18"/>
                  </a:lnTo>
                  <a:lnTo>
                    <a:pt x="121" y="15"/>
                  </a:lnTo>
                  <a:lnTo>
                    <a:pt x="121" y="13"/>
                  </a:lnTo>
                  <a:lnTo>
                    <a:pt x="120" y="10"/>
                  </a:lnTo>
                  <a:lnTo>
                    <a:pt x="119" y="7"/>
                  </a:lnTo>
                  <a:lnTo>
                    <a:pt x="116" y="5"/>
                  </a:lnTo>
                  <a:lnTo>
                    <a:pt x="114" y="3"/>
                  </a:lnTo>
                  <a:lnTo>
                    <a:pt x="111" y="1"/>
                  </a:lnTo>
                  <a:lnTo>
                    <a:pt x="109" y="1"/>
                  </a:lnTo>
                  <a:lnTo>
                    <a:pt x="106" y="0"/>
                  </a:lnTo>
                  <a:lnTo>
                    <a:pt x="103" y="1"/>
                  </a:lnTo>
                  <a:lnTo>
                    <a:pt x="100" y="1"/>
                  </a:lnTo>
                  <a:lnTo>
                    <a:pt x="97" y="3"/>
                  </a:lnTo>
                  <a:lnTo>
                    <a:pt x="95" y="5"/>
                  </a:lnTo>
                  <a:lnTo>
                    <a:pt x="30" y="70"/>
                  </a:lnTo>
                  <a:lnTo>
                    <a:pt x="26" y="65"/>
                  </a:lnTo>
                  <a:lnTo>
                    <a:pt x="24" y="63"/>
                  </a:lnTo>
                  <a:lnTo>
                    <a:pt x="21" y="61"/>
                  </a:lnTo>
                  <a:lnTo>
                    <a:pt x="18" y="61"/>
                  </a:lnTo>
                  <a:lnTo>
                    <a:pt x="15" y="60"/>
                  </a:lnTo>
                  <a:lnTo>
                    <a:pt x="12" y="61"/>
                  </a:lnTo>
                  <a:lnTo>
                    <a:pt x="10" y="62"/>
                  </a:lnTo>
                  <a:lnTo>
                    <a:pt x="7" y="63"/>
                  </a:lnTo>
                  <a:lnTo>
                    <a:pt x="5" y="65"/>
                  </a:lnTo>
                  <a:lnTo>
                    <a:pt x="2" y="68"/>
                  </a:lnTo>
                  <a:lnTo>
                    <a:pt x="1" y="70"/>
                  </a:lnTo>
                  <a:lnTo>
                    <a:pt x="0" y="73"/>
                  </a:lnTo>
                  <a:lnTo>
                    <a:pt x="0" y="76"/>
                  </a:lnTo>
                  <a:lnTo>
                    <a:pt x="0" y="78"/>
                  </a:lnTo>
                  <a:lnTo>
                    <a:pt x="1" y="82"/>
                  </a:lnTo>
                  <a:lnTo>
                    <a:pt x="2" y="84"/>
                  </a:lnTo>
                  <a:lnTo>
                    <a:pt x="5" y="87"/>
                  </a:lnTo>
                  <a:lnTo>
                    <a:pt x="20" y="1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Freeform 56"/>
            <p:cNvSpPr>
              <a:spLocks noEditPoints="1"/>
            </p:cNvSpPr>
            <p:nvPr/>
          </p:nvSpPr>
          <p:spPr bwMode="auto">
            <a:xfrm>
              <a:off x="1104900" y="1993900"/>
              <a:ext cx="68263" cy="219075"/>
            </a:xfrm>
            <a:custGeom>
              <a:avLst/>
              <a:gdLst>
                <a:gd name="T0" fmla="*/ 120 w 212"/>
                <a:gd name="T1" fmla="*/ 659 h 694"/>
                <a:gd name="T2" fmla="*/ 99 w 212"/>
                <a:gd name="T3" fmla="*/ 643 h 694"/>
                <a:gd name="T4" fmla="*/ 92 w 212"/>
                <a:gd name="T5" fmla="*/ 618 h 694"/>
                <a:gd name="T6" fmla="*/ 181 w 212"/>
                <a:gd name="T7" fmla="*/ 616 h 694"/>
                <a:gd name="T8" fmla="*/ 167 w 212"/>
                <a:gd name="T9" fmla="*/ 647 h 694"/>
                <a:gd name="T10" fmla="*/ 144 w 212"/>
                <a:gd name="T11" fmla="*/ 662 h 694"/>
                <a:gd name="T12" fmla="*/ 145 w 212"/>
                <a:gd name="T13" fmla="*/ 31 h 694"/>
                <a:gd name="T14" fmla="*/ 168 w 212"/>
                <a:gd name="T15" fmla="*/ 43 h 694"/>
                <a:gd name="T16" fmla="*/ 181 w 212"/>
                <a:gd name="T17" fmla="*/ 57 h 694"/>
                <a:gd name="T18" fmla="*/ 92 w 212"/>
                <a:gd name="T19" fmla="*/ 331 h 694"/>
                <a:gd name="T20" fmla="*/ 95 w 212"/>
                <a:gd name="T21" fmla="*/ 53 h 694"/>
                <a:gd name="T22" fmla="*/ 112 w 212"/>
                <a:gd name="T23" fmla="*/ 38 h 694"/>
                <a:gd name="T24" fmla="*/ 137 w 212"/>
                <a:gd name="T25" fmla="*/ 30 h 694"/>
                <a:gd name="T26" fmla="*/ 182 w 212"/>
                <a:gd name="T27" fmla="*/ 362 h 694"/>
                <a:gd name="T28" fmla="*/ 92 w 212"/>
                <a:gd name="T29" fmla="*/ 362 h 694"/>
                <a:gd name="T30" fmla="*/ 113 w 212"/>
                <a:gd name="T31" fmla="*/ 4 h 694"/>
                <a:gd name="T32" fmla="*/ 84 w 212"/>
                <a:gd name="T33" fmla="*/ 22 h 694"/>
                <a:gd name="T34" fmla="*/ 65 w 212"/>
                <a:gd name="T35" fmla="*/ 46 h 694"/>
                <a:gd name="T36" fmla="*/ 36 w 212"/>
                <a:gd name="T37" fmla="*/ 55 h 694"/>
                <a:gd name="T38" fmla="*/ 21 w 212"/>
                <a:gd name="T39" fmla="*/ 67 h 694"/>
                <a:gd name="T40" fmla="*/ 9 w 212"/>
                <a:gd name="T41" fmla="*/ 82 h 694"/>
                <a:gd name="T42" fmla="*/ 2 w 212"/>
                <a:gd name="T43" fmla="*/ 103 h 694"/>
                <a:gd name="T44" fmla="*/ 0 w 212"/>
                <a:gd name="T45" fmla="*/ 394 h 694"/>
                <a:gd name="T46" fmla="*/ 3 w 212"/>
                <a:gd name="T47" fmla="*/ 402 h 694"/>
                <a:gd name="T48" fmla="*/ 10 w 212"/>
                <a:gd name="T49" fmla="*/ 408 h 694"/>
                <a:gd name="T50" fmla="*/ 19 w 212"/>
                <a:gd name="T51" fmla="*/ 409 h 694"/>
                <a:gd name="T52" fmla="*/ 26 w 212"/>
                <a:gd name="T53" fmla="*/ 404 h 694"/>
                <a:gd name="T54" fmla="*/ 30 w 212"/>
                <a:gd name="T55" fmla="*/ 397 h 694"/>
                <a:gd name="T56" fmla="*/ 31 w 212"/>
                <a:gd name="T57" fmla="*/ 111 h 694"/>
                <a:gd name="T58" fmla="*/ 40 w 212"/>
                <a:gd name="T59" fmla="*/ 89 h 694"/>
                <a:gd name="T60" fmla="*/ 55 w 212"/>
                <a:gd name="T61" fmla="*/ 79 h 694"/>
                <a:gd name="T62" fmla="*/ 62 w 212"/>
                <a:gd name="T63" fmla="*/ 626 h 694"/>
                <a:gd name="T64" fmla="*/ 67 w 212"/>
                <a:gd name="T65" fmla="*/ 647 h 694"/>
                <a:gd name="T66" fmla="*/ 79 w 212"/>
                <a:gd name="T67" fmla="*/ 666 h 694"/>
                <a:gd name="T68" fmla="*/ 95 w 212"/>
                <a:gd name="T69" fmla="*/ 681 h 694"/>
                <a:gd name="T70" fmla="*/ 114 w 212"/>
                <a:gd name="T71" fmla="*/ 690 h 694"/>
                <a:gd name="T72" fmla="*/ 137 w 212"/>
                <a:gd name="T73" fmla="*/ 694 h 694"/>
                <a:gd name="T74" fmla="*/ 157 w 212"/>
                <a:gd name="T75" fmla="*/ 690 h 694"/>
                <a:gd name="T76" fmla="*/ 177 w 212"/>
                <a:gd name="T77" fmla="*/ 680 h 694"/>
                <a:gd name="T78" fmla="*/ 193 w 212"/>
                <a:gd name="T79" fmla="*/ 663 h 694"/>
                <a:gd name="T80" fmla="*/ 206 w 212"/>
                <a:gd name="T81" fmla="*/ 641 h 694"/>
                <a:gd name="T82" fmla="*/ 211 w 212"/>
                <a:gd name="T83" fmla="*/ 613 h 694"/>
                <a:gd name="T84" fmla="*/ 211 w 212"/>
                <a:gd name="T85" fmla="*/ 56 h 694"/>
                <a:gd name="T86" fmla="*/ 206 w 212"/>
                <a:gd name="T87" fmla="*/ 41 h 694"/>
                <a:gd name="T88" fmla="*/ 177 w 212"/>
                <a:gd name="T89" fmla="*/ 13 h 694"/>
                <a:gd name="T90" fmla="*/ 151 w 212"/>
                <a:gd name="T91" fmla="*/ 2 h 694"/>
                <a:gd name="T92" fmla="*/ 137 w 212"/>
                <a:gd name="T93" fmla="*/ 0 h 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12" h="694">
                  <a:moveTo>
                    <a:pt x="137" y="663"/>
                  </a:moveTo>
                  <a:lnTo>
                    <a:pt x="128" y="662"/>
                  </a:lnTo>
                  <a:lnTo>
                    <a:pt x="120" y="659"/>
                  </a:lnTo>
                  <a:lnTo>
                    <a:pt x="112" y="655"/>
                  </a:lnTo>
                  <a:lnTo>
                    <a:pt x="105" y="650"/>
                  </a:lnTo>
                  <a:lnTo>
                    <a:pt x="99" y="643"/>
                  </a:lnTo>
                  <a:lnTo>
                    <a:pt x="95" y="636"/>
                  </a:lnTo>
                  <a:lnTo>
                    <a:pt x="92" y="627"/>
                  </a:lnTo>
                  <a:lnTo>
                    <a:pt x="92" y="618"/>
                  </a:lnTo>
                  <a:lnTo>
                    <a:pt x="92" y="603"/>
                  </a:lnTo>
                  <a:lnTo>
                    <a:pt x="182" y="603"/>
                  </a:lnTo>
                  <a:lnTo>
                    <a:pt x="181" y="616"/>
                  </a:lnTo>
                  <a:lnTo>
                    <a:pt x="178" y="628"/>
                  </a:lnTo>
                  <a:lnTo>
                    <a:pt x="173" y="639"/>
                  </a:lnTo>
                  <a:lnTo>
                    <a:pt x="167" y="647"/>
                  </a:lnTo>
                  <a:lnTo>
                    <a:pt x="161" y="654"/>
                  </a:lnTo>
                  <a:lnTo>
                    <a:pt x="153" y="659"/>
                  </a:lnTo>
                  <a:lnTo>
                    <a:pt x="144" y="662"/>
                  </a:lnTo>
                  <a:lnTo>
                    <a:pt x="137" y="663"/>
                  </a:lnTo>
                  <a:close/>
                  <a:moveTo>
                    <a:pt x="137" y="30"/>
                  </a:moveTo>
                  <a:lnTo>
                    <a:pt x="145" y="31"/>
                  </a:lnTo>
                  <a:lnTo>
                    <a:pt x="153" y="34"/>
                  </a:lnTo>
                  <a:lnTo>
                    <a:pt x="161" y="38"/>
                  </a:lnTo>
                  <a:lnTo>
                    <a:pt x="168" y="43"/>
                  </a:lnTo>
                  <a:lnTo>
                    <a:pt x="173" y="47"/>
                  </a:lnTo>
                  <a:lnTo>
                    <a:pt x="178" y="53"/>
                  </a:lnTo>
                  <a:lnTo>
                    <a:pt x="181" y="57"/>
                  </a:lnTo>
                  <a:lnTo>
                    <a:pt x="182" y="60"/>
                  </a:lnTo>
                  <a:lnTo>
                    <a:pt x="182" y="331"/>
                  </a:lnTo>
                  <a:lnTo>
                    <a:pt x="92" y="331"/>
                  </a:lnTo>
                  <a:lnTo>
                    <a:pt x="92" y="60"/>
                  </a:lnTo>
                  <a:lnTo>
                    <a:pt x="93" y="57"/>
                  </a:lnTo>
                  <a:lnTo>
                    <a:pt x="95" y="53"/>
                  </a:lnTo>
                  <a:lnTo>
                    <a:pt x="99" y="48"/>
                  </a:lnTo>
                  <a:lnTo>
                    <a:pt x="106" y="43"/>
                  </a:lnTo>
                  <a:lnTo>
                    <a:pt x="112" y="38"/>
                  </a:lnTo>
                  <a:lnTo>
                    <a:pt x="120" y="34"/>
                  </a:lnTo>
                  <a:lnTo>
                    <a:pt x="127" y="31"/>
                  </a:lnTo>
                  <a:lnTo>
                    <a:pt x="137" y="30"/>
                  </a:lnTo>
                  <a:lnTo>
                    <a:pt x="137" y="30"/>
                  </a:lnTo>
                  <a:close/>
                  <a:moveTo>
                    <a:pt x="92" y="362"/>
                  </a:moveTo>
                  <a:lnTo>
                    <a:pt x="182" y="362"/>
                  </a:lnTo>
                  <a:lnTo>
                    <a:pt x="182" y="573"/>
                  </a:lnTo>
                  <a:lnTo>
                    <a:pt x="92" y="573"/>
                  </a:lnTo>
                  <a:lnTo>
                    <a:pt x="92" y="362"/>
                  </a:lnTo>
                  <a:close/>
                  <a:moveTo>
                    <a:pt x="137" y="0"/>
                  </a:moveTo>
                  <a:lnTo>
                    <a:pt x="125" y="1"/>
                  </a:lnTo>
                  <a:lnTo>
                    <a:pt x="113" y="4"/>
                  </a:lnTo>
                  <a:lnTo>
                    <a:pt x="102" y="9"/>
                  </a:lnTo>
                  <a:lnTo>
                    <a:pt x="93" y="15"/>
                  </a:lnTo>
                  <a:lnTo>
                    <a:pt x="84" y="22"/>
                  </a:lnTo>
                  <a:lnTo>
                    <a:pt x="76" y="29"/>
                  </a:lnTo>
                  <a:lnTo>
                    <a:pt x="69" y="38"/>
                  </a:lnTo>
                  <a:lnTo>
                    <a:pt x="65" y="46"/>
                  </a:lnTo>
                  <a:lnTo>
                    <a:pt x="53" y="48"/>
                  </a:lnTo>
                  <a:lnTo>
                    <a:pt x="41" y="53"/>
                  </a:lnTo>
                  <a:lnTo>
                    <a:pt x="36" y="55"/>
                  </a:lnTo>
                  <a:lnTo>
                    <a:pt x="30" y="58"/>
                  </a:lnTo>
                  <a:lnTo>
                    <a:pt x="25" y="62"/>
                  </a:lnTo>
                  <a:lnTo>
                    <a:pt x="21" y="67"/>
                  </a:lnTo>
                  <a:lnTo>
                    <a:pt x="16" y="71"/>
                  </a:lnTo>
                  <a:lnTo>
                    <a:pt x="12" y="76"/>
                  </a:lnTo>
                  <a:lnTo>
                    <a:pt x="9" y="82"/>
                  </a:lnTo>
                  <a:lnTo>
                    <a:pt x="6" y="88"/>
                  </a:lnTo>
                  <a:lnTo>
                    <a:pt x="3" y="96"/>
                  </a:lnTo>
                  <a:lnTo>
                    <a:pt x="2" y="103"/>
                  </a:lnTo>
                  <a:lnTo>
                    <a:pt x="1" y="112"/>
                  </a:lnTo>
                  <a:lnTo>
                    <a:pt x="0" y="120"/>
                  </a:lnTo>
                  <a:lnTo>
                    <a:pt x="0" y="394"/>
                  </a:lnTo>
                  <a:lnTo>
                    <a:pt x="1" y="397"/>
                  </a:lnTo>
                  <a:lnTo>
                    <a:pt x="2" y="399"/>
                  </a:lnTo>
                  <a:lnTo>
                    <a:pt x="3" y="402"/>
                  </a:lnTo>
                  <a:lnTo>
                    <a:pt x="6" y="404"/>
                  </a:lnTo>
                  <a:lnTo>
                    <a:pt x="8" y="406"/>
                  </a:lnTo>
                  <a:lnTo>
                    <a:pt x="10" y="408"/>
                  </a:lnTo>
                  <a:lnTo>
                    <a:pt x="13" y="409"/>
                  </a:lnTo>
                  <a:lnTo>
                    <a:pt x="15" y="409"/>
                  </a:lnTo>
                  <a:lnTo>
                    <a:pt x="19" y="409"/>
                  </a:lnTo>
                  <a:lnTo>
                    <a:pt x="22" y="408"/>
                  </a:lnTo>
                  <a:lnTo>
                    <a:pt x="24" y="406"/>
                  </a:lnTo>
                  <a:lnTo>
                    <a:pt x="26" y="404"/>
                  </a:lnTo>
                  <a:lnTo>
                    <a:pt x="28" y="402"/>
                  </a:lnTo>
                  <a:lnTo>
                    <a:pt x="29" y="399"/>
                  </a:lnTo>
                  <a:lnTo>
                    <a:pt x="30" y="397"/>
                  </a:lnTo>
                  <a:lnTo>
                    <a:pt x="30" y="394"/>
                  </a:lnTo>
                  <a:lnTo>
                    <a:pt x="30" y="120"/>
                  </a:lnTo>
                  <a:lnTo>
                    <a:pt x="31" y="111"/>
                  </a:lnTo>
                  <a:lnTo>
                    <a:pt x="34" y="102"/>
                  </a:lnTo>
                  <a:lnTo>
                    <a:pt x="36" y="96"/>
                  </a:lnTo>
                  <a:lnTo>
                    <a:pt x="40" y="89"/>
                  </a:lnTo>
                  <a:lnTo>
                    <a:pt x="44" y="85"/>
                  </a:lnTo>
                  <a:lnTo>
                    <a:pt x="50" y="82"/>
                  </a:lnTo>
                  <a:lnTo>
                    <a:pt x="55" y="79"/>
                  </a:lnTo>
                  <a:lnTo>
                    <a:pt x="62" y="77"/>
                  </a:lnTo>
                  <a:lnTo>
                    <a:pt x="62" y="618"/>
                  </a:lnTo>
                  <a:lnTo>
                    <a:pt x="62" y="626"/>
                  </a:lnTo>
                  <a:lnTo>
                    <a:pt x="63" y="633"/>
                  </a:lnTo>
                  <a:lnTo>
                    <a:pt x="65" y="640"/>
                  </a:lnTo>
                  <a:lnTo>
                    <a:pt x="67" y="647"/>
                  </a:lnTo>
                  <a:lnTo>
                    <a:pt x="70" y="654"/>
                  </a:lnTo>
                  <a:lnTo>
                    <a:pt x="74" y="660"/>
                  </a:lnTo>
                  <a:lnTo>
                    <a:pt x="79" y="666"/>
                  </a:lnTo>
                  <a:lnTo>
                    <a:pt x="84" y="671"/>
                  </a:lnTo>
                  <a:lnTo>
                    <a:pt x="90" y="676"/>
                  </a:lnTo>
                  <a:lnTo>
                    <a:pt x="95" y="681"/>
                  </a:lnTo>
                  <a:lnTo>
                    <a:pt x="101" y="684"/>
                  </a:lnTo>
                  <a:lnTo>
                    <a:pt x="108" y="687"/>
                  </a:lnTo>
                  <a:lnTo>
                    <a:pt x="114" y="690"/>
                  </a:lnTo>
                  <a:lnTo>
                    <a:pt x="122" y="693"/>
                  </a:lnTo>
                  <a:lnTo>
                    <a:pt x="129" y="694"/>
                  </a:lnTo>
                  <a:lnTo>
                    <a:pt x="137" y="694"/>
                  </a:lnTo>
                  <a:lnTo>
                    <a:pt x="143" y="694"/>
                  </a:lnTo>
                  <a:lnTo>
                    <a:pt x="150" y="693"/>
                  </a:lnTo>
                  <a:lnTo>
                    <a:pt x="157" y="690"/>
                  </a:lnTo>
                  <a:lnTo>
                    <a:pt x="164" y="687"/>
                  </a:lnTo>
                  <a:lnTo>
                    <a:pt x="170" y="684"/>
                  </a:lnTo>
                  <a:lnTo>
                    <a:pt x="177" y="680"/>
                  </a:lnTo>
                  <a:lnTo>
                    <a:pt x="182" y="675"/>
                  </a:lnTo>
                  <a:lnTo>
                    <a:pt x="187" y="669"/>
                  </a:lnTo>
                  <a:lnTo>
                    <a:pt x="193" y="663"/>
                  </a:lnTo>
                  <a:lnTo>
                    <a:pt x="197" y="656"/>
                  </a:lnTo>
                  <a:lnTo>
                    <a:pt x="201" y="648"/>
                  </a:lnTo>
                  <a:lnTo>
                    <a:pt x="206" y="641"/>
                  </a:lnTo>
                  <a:lnTo>
                    <a:pt x="208" y="632"/>
                  </a:lnTo>
                  <a:lnTo>
                    <a:pt x="210" y="623"/>
                  </a:lnTo>
                  <a:lnTo>
                    <a:pt x="211" y="613"/>
                  </a:lnTo>
                  <a:lnTo>
                    <a:pt x="212" y="603"/>
                  </a:lnTo>
                  <a:lnTo>
                    <a:pt x="212" y="60"/>
                  </a:lnTo>
                  <a:lnTo>
                    <a:pt x="211" y="56"/>
                  </a:lnTo>
                  <a:lnTo>
                    <a:pt x="210" y="51"/>
                  </a:lnTo>
                  <a:lnTo>
                    <a:pt x="208" y="45"/>
                  </a:lnTo>
                  <a:lnTo>
                    <a:pt x="206" y="41"/>
                  </a:lnTo>
                  <a:lnTo>
                    <a:pt x="198" y="30"/>
                  </a:lnTo>
                  <a:lnTo>
                    <a:pt x="188" y="20"/>
                  </a:lnTo>
                  <a:lnTo>
                    <a:pt x="177" y="13"/>
                  </a:lnTo>
                  <a:lnTo>
                    <a:pt x="164" y="6"/>
                  </a:lnTo>
                  <a:lnTo>
                    <a:pt x="157" y="3"/>
                  </a:lnTo>
                  <a:lnTo>
                    <a:pt x="151" y="2"/>
                  </a:lnTo>
                  <a:lnTo>
                    <a:pt x="143" y="1"/>
                  </a:lnTo>
                  <a:lnTo>
                    <a:pt x="137" y="0"/>
                  </a:lnTo>
                  <a:lnTo>
                    <a:pt x="13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38" name="Group 137"/>
          <p:cNvGrpSpPr/>
          <p:nvPr/>
        </p:nvGrpSpPr>
        <p:grpSpPr>
          <a:xfrm>
            <a:off x="8207972" y="2705638"/>
            <a:ext cx="2914252" cy="1089991"/>
            <a:chOff x="5797948" y="501072"/>
            <a:chExt cx="2914252" cy="1089991"/>
          </a:xfrm>
        </p:grpSpPr>
        <p:sp>
          <p:nvSpPr>
            <p:cNvPr id="150" name="TextBox 149"/>
            <p:cNvSpPr txBox="1"/>
            <p:nvPr/>
          </p:nvSpPr>
          <p:spPr>
            <a:xfrm>
              <a:off x="5797948" y="501072"/>
              <a:ext cx="931465" cy="153888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dirty="0">
                  <a:solidFill>
                    <a:prstClr val="white"/>
                  </a:solidFill>
                </a:rPr>
                <a:t>17 JUNE 2017</a:t>
              </a:r>
            </a:p>
          </p:txBody>
        </p:sp>
        <p:sp>
          <p:nvSpPr>
            <p:cNvPr id="151" name="TextBox 150"/>
            <p:cNvSpPr txBox="1"/>
            <p:nvPr/>
          </p:nvSpPr>
          <p:spPr>
            <a:xfrm>
              <a:off x="5797948" y="1129398"/>
              <a:ext cx="2914252" cy="461665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dirty="0">
                  <a:solidFill>
                    <a:prstClr val="white"/>
                  </a:solidFill>
                </a:rPr>
                <a:t>Lorem </a:t>
              </a:r>
              <a:r>
                <a:rPr lang="en-US" sz="1000" dirty="0" err="1">
                  <a:solidFill>
                    <a:prstClr val="white"/>
                  </a:solidFill>
                </a:rPr>
                <a:t>Ipsum</a:t>
              </a:r>
              <a:r>
                <a:rPr lang="en-US" sz="1000" dirty="0">
                  <a:solidFill>
                    <a:prstClr val="white"/>
                  </a:solidFill>
                </a:rPr>
                <a:t> is simply dummy text of the printing and typesetting industry. Lorem </a:t>
              </a:r>
              <a:r>
                <a:rPr lang="en-US" sz="1000" dirty="0" err="1">
                  <a:solidFill>
                    <a:prstClr val="white"/>
                  </a:solidFill>
                </a:rPr>
                <a:t>Ipsum</a:t>
              </a:r>
              <a:r>
                <a:rPr lang="en-US" sz="1000" dirty="0">
                  <a:solidFill>
                    <a:prstClr val="white"/>
                  </a:solidFill>
                </a:rPr>
                <a:t> has been the industry's standard dummy text ever since the 1500s.</a:t>
              </a:r>
            </a:p>
          </p:txBody>
        </p:sp>
        <p:sp>
          <p:nvSpPr>
            <p:cNvPr id="158" name="TextBox 157"/>
            <p:cNvSpPr txBox="1"/>
            <p:nvPr/>
          </p:nvSpPr>
          <p:spPr>
            <a:xfrm>
              <a:off x="5797948" y="925199"/>
              <a:ext cx="2914252" cy="184666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b="1" dirty="0">
                  <a:solidFill>
                    <a:srgbClr val="E2583D"/>
                  </a:solidFill>
                </a:rPr>
                <a:t>LOREM IPSUM</a:t>
              </a:r>
            </a:p>
          </p:txBody>
        </p:sp>
      </p:grpSp>
      <p:cxnSp>
        <p:nvCxnSpPr>
          <p:cNvPr id="139" name="Straight Connector 138"/>
          <p:cNvCxnSpPr/>
          <p:nvPr/>
        </p:nvCxnSpPr>
        <p:spPr>
          <a:xfrm>
            <a:off x="6096000" y="4161609"/>
            <a:ext cx="4935894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Oval 139"/>
          <p:cNvSpPr/>
          <p:nvPr/>
        </p:nvSpPr>
        <p:spPr>
          <a:xfrm>
            <a:off x="6583955" y="2696392"/>
            <a:ext cx="1108482" cy="1108482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1" name="Oval 140"/>
          <p:cNvSpPr/>
          <p:nvPr/>
        </p:nvSpPr>
        <p:spPr>
          <a:xfrm>
            <a:off x="6659106" y="2771543"/>
            <a:ext cx="958180" cy="958180"/>
          </a:xfrm>
          <a:prstGeom prst="ellipse">
            <a:avLst/>
          </a:prstGeom>
          <a:solidFill>
            <a:srgbClr val="E2583D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61" name="Group 160"/>
          <p:cNvGrpSpPr/>
          <p:nvPr/>
        </p:nvGrpSpPr>
        <p:grpSpPr>
          <a:xfrm>
            <a:off x="8207972" y="4815756"/>
            <a:ext cx="2914252" cy="1089991"/>
            <a:chOff x="5797948" y="501072"/>
            <a:chExt cx="2914252" cy="1089991"/>
          </a:xfrm>
        </p:grpSpPr>
        <p:sp>
          <p:nvSpPr>
            <p:cNvPr id="202" name="TextBox 201"/>
            <p:cNvSpPr txBox="1"/>
            <p:nvPr/>
          </p:nvSpPr>
          <p:spPr>
            <a:xfrm>
              <a:off x="5797948" y="501072"/>
              <a:ext cx="931465" cy="153888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dirty="0">
                  <a:solidFill>
                    <a:prstClr val="white"/>
                  </a:solidFill>
                </a:rPr>
                <a:t>27 JUNE 2017</a:t>
              </a:r>
            </a:p>
          </p:txBody>
        </p:sp>
        <p:sp>
          <p:nvSpPr>
            <p:cNvPr id="203" name="TextBox 202"/>
            <p:cNvSpPr txBox="1"/>
            <p:nvPr/>
          </p:nvSpPr>
          <p:spPr>
            <a:xfrm>
              <a:off x="5797948" y="1129398"/>
              <a:ext cx="2914252" cy="461665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dirty="0">
                  <a:solidFill>
                    <a:prstClr val="white"/>
                  </a:solidFill>
                </a:rPr>
                <a:t>Lorem </a:t>
              </a:r>
              <a:r>
                <a:rPr lang="en-US" sz="1000" dirty="0" err="1">
                  <a:solidFill>
                    <a:prstClr val="white"/>
                  </a:solidFill>
                </a:rPr>
                <a:t>Ipsum</a:t>
              </a:r>
              <a:r>
                <a:rPr lang="en-US" sz="1000" dirty="0">
                  <a:solidFill>
                    <a:prstClr val="white"/>
                  </a:solidFill>
                </a:rPr>
                <a:t> is simply dummy text of the printing and typesetting industry. Lorem </a:t>
              </a:r>
              <a:r>
                <a:rPr lang="en-US" sz="1000" dirty="0" err="1">
                  <a:solidFill>
                    <a:prstClr val="white"/>
                  </a:solidFill>
                </a:rPr>
                <a:t>Ipsum</a:t>
              </a:r>
              <a:r>
                <a:rPr lang="en-US" sz="1000" dirty="0">
                  <a:solidFill>
                    <a:prstClr val="white"/>
                  </a:solidFill>
                </a:rPr>
                <a:t> has been the industry's standard dummy text ever since the 1500s.</a:t>
              </a:r>
            </a:p>
          </p:txBody>
        </p:sp>
        <p:sp>
          <p:nvSpPr>
            <p:cNvPr id="204" name="TextBox 203"/>
            <p:cNvSpPr txBox="1"/>
            <p:nvPr/>
          </p:nvSpPr>
          <p:spPr>
            <a:xfrm>
              <a:off x="5797948" y="925199"/>
              <a:ext cx="2914252" cy="184666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b="1" dirty="0">
                  <a:solidFill>
                    <a:srgbClr val="E2583D"/>
                  </a:solidFill>
                </a:rPr>
                <a:t>LOREM IPSUM</a:t>
              </a:r>
            </a:p>
          </p:txBody>
        </p:sp>
      </p:grpSp>
      <p:sp>
        <p:nvSpPr>
          <p:cNvPr id="192" name="Oval 191"/>
          <p:cNvSpPr/>
          <p:nvPr/>
        </p:nvSpPr>
        <p:spPr>
          <a:xfrm>
            <a:off x="6583955" y="4806510"/>
            <a:ext cx="1108482" cy="1108482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3" name="Oval 192"/>
          <p:cNvSpPr/>
          <p:nvPr/>
        </p:nvSpPr>
        <p:spPr>
          <a:xfrm>
            <a:off x="6659106" y="4881661"/>
            <a:ext cx="958180" cy="958180"/>
          </a:xfrm>
          <a:prstGeom prst="ellipse">
            <a:avLst/>
          </a:prstGeom>
          <a:solidFill>
            <a:srgbClr val="E2583D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05" name="Group 204"/>
          <p:cNvGrpSpPr/>
          <p:nvPr/>
        </p:nvGrpSpPr>
        <p:grpSpPr>
          <a:xfrm>
            <a:off x="6921729" y="3034166"/>
            <a:ext cx="432934" cy="432934"/>
            <a:chOff x="11601450" y="1933576"/>
            <a:chExt cx="285750" cy="285750"/>
          </a:xfrm>
          <a:solidFill>
            <a:schemeClr val="bg1"/>
          </a:solidFill>
        </p:grpSpPr>
        <p:sp>
          <p:nvSpPr>
            <p:cNvPr id="206" name="Freeform 293"/>
            <p:cNvSpPr>
              <a:spLocks noEditPoints="1"/>
            </p:cNvSpPr>
            <p:nvPr/>
          </p:nvSpPr>
          <p:spPr bwMode="auto">
            <a:xfrm>
              <a:off x="11744325" y="1933576"/>
              <a:ext cx="142875" cy="190500"/>
            </a:xfrm>
            <a:custGeom>
              <a:avLst/>
              <a:gdLst>
                <a:gd name="T0" fmla="*/ 29 w 450"/>
                <a:gd name="T1" fmla="*/ 570 h 600"/>
                <a:gd name="T2" fmla="*/ 29 w 450"/>
                <a:gd name="T3" fmla="*/ 30 h 600"/>
                <a:gd name="T4" fmla="*/ 270 w 450"/>
                <a:gd name="T5" fmla="*/ 30 h 600"/>
                <a:gd name="T6" fmla="*/ 270 w 450"/>
                <a:gd name="T7" fmla="*/ 165 h 600"/>
                <a:gd name="T8" fmla="*/ 270 w 450"/>
                <a:gd name="T9" fmla="*/ 168 h 600"/>
                <a:gd name="T10" fmla="*/ 271 w 450"/>
                <a:gd name="T11" fmla="*/ 171 h 600"/>
                <a:gd name="T12" fmla="*/ 272 w 450"/>
                <a:gd name="T13" fmla="*/ 173 h 600"/>
                <a:gd name="T14" fmla="*/ 275 w 450"/>
                <a:gd name="T15" fmla="*/ 175 h 600"/>
                <a:gd name="T16" fmla="*/ 277 w 450"/>
                <a:gd name="T17" fmla="*/ 178 h 600"/>
                <a:gd name="T18" fmla="*/ 279 w 450"/>
                <a:gd name="T19" fmla="*/ 179 h 600"/>
                <a:gd name="T20" fmla="*/ 282 w 450"/>
                <a:gd name="T21" fmla="*/ 180 h 600"/>
                <a:gd name="T22" fmla="*/ 285 w 450"/>
                <a:gd name="T23" fmla="*/ 180 h 600"/>
                <a:gd name="T24" fmla="*/ 420 w 450"/>
                <a:gd name="T25" fmla="*/ 180 h 600"/>
                <a:gd name="T26" fmla="*/ 420 w 450"/>
                <a:gd name="T27" fmla="*/ 570 h 600"/>
                <a:gd name="T28" fmla="*/ 29 w 450"/>
                <a:gd name="T29" fmla="*/ 570 h 600"/>
                <a:gd name="T30" fmla="*/ 300 w 450"/>
                <a:gd name="T31" fmla="*/ 52 h 600"/>
                <a:gd name="T32" fmla="*/ 399 w 450"/>
                <a:gd name="T33" fmla="*/ 150 h 600"/>
                <a:gd name="T34" fmla="*/ 300 w 450"/>
                <a:gd name="T35" fmla="*/ 150 h 600"/>
                <a:gd name="T36" fmla="*/ 300 w 450"/>
                <a:gd name="T37" fmla="*/ 52 h 600"/>
                <a:gd name="T38" fmla="*/ 446 w 450"/>
                <a:gd name="T39" fmla="*/ 154 h 600"/>
                <a:gd name="T40" fmla="*/ 296 w 450"/>
                <a:gd name="T41" fmla="*/ 4 h 600"/>
                <a:gd name="T42" fmla="*/ 293 w 450"/>
                <a:gd name="T43" fmla="*/ 2 h 600"/>
                <a:gd name="T44" fmla="*/ 291 w 450"/>
                <a:gd name="T45" fmla="*/ 1 h 600"/>
                <a:gd name="T46" fmla="*/ 287 w 450"/>
                <a:gd name="T47" fmla="*/ 0 h 600"/>
                <a:gd name="T48" fmla="*/ 285 w 450"/>
                <a:gd name="T49" fmla="*/ 0 h 600"/>
                <a:gd name="T50" fmla="*/ 15 w 450"/>
                <a:gd name="T51" fmla="*/ 0 h 600"/>
                <a:gd name="T52" fmla="*/ 11 w 450"/>
                <a:gd name="T53" fmla="*/ 0 h 600"/>
                <a:gd name="T54" fmla="*/ 8 w 450"/>
                <a:gd name="T55" fmla="*/ 1 h 600"/>
                <a:gd name="T56" fmla="*/ 6 w 450"/>
                <a:gd name="T57" fmla="*/ 2 h 600"/>
                <a:gd name="T58" fmla="*/ 4 w 450"/>
                <a:gd name="T59" fmla="*/ 4 h 600"/>
                <a:gd name="T60" fmla="*/ 2 w 450"/>
                <a:gd name="T61" fmla="*/ 6 h 600"/>
                <a:gd name="T62" fmla="*/ 1 w 450"/>
                <a:gd name="T63" fmla="*/ 10 h 600"/>
                <a:gd name="T64" fmla="*/ 0 w 450"/>
                <a:gd name="T65" fmla="*/ 12 h 600"/>
                <a:gd name="T66" fmla="*/ 0 w 450"/>
                <a:gd name="T67" fmla="*/ 15 h 600"/>
                <a:gd name="T68" fmla="*/ 0 w 450"/>
                <a:gd name="T69" fmla="*/ 585 h 600"/>
                <a:gd name="T70" fmla="*/ 0 w 450"/>
                <a:gd name="T71" fmla="*/ 589 h 600"/>
                <a:gd name="T72" fmla="*/ 1 w 450"/>
                <a:gd name="T73" fmla="*/ 592 h 600"/>
                <a:gd name="T74" fmla="*/ 2 w 450"/>
                <a:gd name="T75" fmla="*/ 594 h 600"/>
                <a:gd name="T76" fmla="*/ 4 w 450"/>
                <a:gd name="T77" fmla="*/ 596 h 600"/>
                <a:gd name="T78" fmla="*/ 6 w 450"/>
                <a:gd name="T79" fmla="*/ 598 h 600"/>
                <a:gd name="T80" fmla="*/ 8 w 450"/>
                <a:gd name="T81" fmla="*/ 599 h 600"/>
                <a:gd name="T82" fmla="*/ 11 w 450"/>
                <a:gd name="T83" fmla="*/ 600 h 600"/>
                <a:gd name="T84" fmla="*/ 15 w 450"/>
                <a:gd name="T85" fmla="*/ 600 h 600"/>
                <a:gd name="T86" fmla="*/ 435 w 450"/>
                <a:gd name="T87" fmla="*/ 600 h 600"/>
                <a:gd name="T88" fmla="*/ 438 w 450"/>
                <a:gd name="T89" fmla="*/ 600 h 600"/>
                <a:gd name="T90" fmla="*/ 440 w 450"/>
                <a:gd name="T91" fmla="*/ 599 h 600"/>
                <a:gd name="T92" fmla="*/ 444 w 450"/>
                <a:gd name="T93" fmla="*/ 598 h 600"/>
                <a:gd name="T94" fmla="*/ 446 w 450"/>
                <a:gd name="T95" fmla="*/ 596 h 600"/>
                <a:gd name="T96" fmla="*/ 448 w 450"/>
                <a:gd name="T97" fmla="*/ 594 h 600"/>
                <a:gd name="T98" fmla="*/ 449 w 450"/>
                <a:gd name="T99" fmla="*/ 592 h 600"/>
                <a:gd name="T100" fmla="*/ 450 w 450"/>
                <a:gd name="T101" fmla="*/ 589 h 600"/>
                <a:gd name="T102" fmla="*/ 450 w 450"/>
                <a:gd name="T103" fmla="*/ 585 h 600"/>
                <a:gd name="T104" fmla="*/ 450 w 450"/>
                <a:gd name="T105" fmla="*/ 165 h 600"/>
                <a:gd name="T106" fmla="*/ 449 w 450"/>
                <a:gd name="T107" fmla="*/ 159 h 600"/>
                <a:gd name="T108" fmla="*/ 446 w 450"/>
                <a:gd name="T109" fmla="*/ 154 h 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50" h="600">
                  <a:moveTo>
                    <a:pt x="29" y="570"/>
                  </a:moveTo>
                  <a:lnTo>
                    <a:pt x="29" y="30"/>
                  </a:lnTo>
                  <a:lnTo>
                    <a:pt x="270" y="30"/>
                  </a:lnTo>
                  <a:lnTo>
                    <a:pt x="270" y="165"/>
                  </a:lnTo>
                  <a:lnTo>
                    <a:pt x="270" y="168"/>
                  </a:lnTo>
                  <a:lnTo>
                    <a:pt x="271" y="171"/>
                  </a:lnTo>
                  <a:lnTo>
                    <a:pt x="272" y="173"/>
                  </a:lnTo>
                  <a:lnTo>
                    <a:pt x="275" y="175"/>
                  </a:lnTo>
                  <a:lnTo>
                    <a:pt x="277" y="178"/>
                  </a:lnTo>
                  <a:lnTo>
                    <a:pt x="279" y="179"/>
                  </a:lnTo>
                  <a:lnTo>
                    <a:pt x="282" y="180"/>
                  </a:lnTo>
                  <a:lnTo>
                    <a:pt x="285" y="180"/>
                  </a:lnTo>
                  <a:lnTo>
                    <a:pt x="420" y="180"/>
                  </a:lnTo>
                  <a:lnTo>
                    <a:pt x="420" y="570"/>
                  </a:lnTo>
                  <a:lnTo>
                    <a:pt x="29" y="570"/>
                  </a:lnTo>
                  <a:close/>
                  <a:moveTo>
                    <a:pt x="300" y="52"/>
                  </a:moveTo>
                  <a:lnTo>
                    <a:pt x="399" y="150"/>
                  </a:lnTo>
                  <a:lnTo>
                    <a:pt x="300" y="150"/>
                  </a:lnTo>
                  <a:lnTo>
                    <a:pt x="300" y="52"/>
                  </a:lnTo>
                  <a:close/>
                  <a:moveTo>
                    <a:pt x="446" y="154"/>
                  </a:moveTo>
                  <a:lnTo>
                    <a:pt x="296" y="4"/>
                  </a:lnTo>
                  <a:lnTo>
                    <a:pt x="293" y="2"/>
                  </a:lnTo>
                  <a:lnTo>
                    <a:pt x="291" y="1"/>
                  </a:lnTo>
                  <a:lnTo>
                    <a:pt x="287" y="0"/>
                  </a:lnTo>
                  <a:lnTo>
                    <a:pt x="285" y="0"/>
                  </a:lnTo>
                  <a:lnTo>
                    <a:pt x="15" y="0"/>
                  </a:lnTo>
                  <a:lnTo>
                    <a:pt x="11" y="0"/>
                  </a:lnTo>
                  <a:lnTo>
                    <a:pt x="8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10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585"/>
                  </a:lnTo>
                  <a:lnTo>
                    <a:pt x="0" y="589"/>
                  </a:lnTo>
                  <a:lnTo>
                    <a:pt x="1" y="592"/>
                  </a:lnTo>
                  <a:lnTo>
                    <a:pt x="2" y="594"/>
                  </a:lnTo>
                  <a:lnTo>
                    <a:pt x="4" y="596"/>
                  </a:lnTo>
                  <a:lnTo>
                    <a:pt x="6" y="598"/>
                  </a:lnTo>
                  <a:lnTo>
                    <a:pt x="8" y="599"/>
                  </a:lnTo>
                  <a:lnTo>
                    <a:pt x="11" y="600"/>
                  </a:lnTo>
                  <a:lnTo>
                    <a:pt x="15" y="600"/>
                  </a:lnTo>
                  <a:lnTo>
                    <a:pt x="435" y="600"/>
                  </a:lnTo>
                  <a:lnTo>
                    <a:pt x="438" y="600"/>
                  </a:lnTo>
                  <a:lnTo>
                    <a:pt x="440" y="599"/>
                  </a:lnTo>
                  <a:lnTo>
                    <a:pt x="444" y="598"/>
                  </a:lnTo>
                  <a:lnTo>
                    <a:pt x="446" y="596"/>
                  </a:lnTo>
                  <a:lnTo>
                    <a:pt x="448" y="594"/>
                  </a:lnTo>
                  <a:lnTo>
                    <a:pt x="449" y="592"/>
                  </a:lnTo>
                  <a:lnTo>
                    <a:pt x="450" y="589"/>
                  </a:lnTo>
                  <a:lnTo>
                    <a:pt x="450" y="585"/>
                  </a:lnTo>
                  <a:lnTo>
                    <a:pt x="450" y="165"/>
                  </a:lnTo>
                  <a:lnTo>
                    <a:pt x="449" y="159"/>
                  </a:lnTo>
                  <a:lnTo>
                    <a:pt x="446" y="1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Freeform 294"/>
            <p:cNvSpPr>
              <a:spLocks noEditPoints="1"/>
            </p:cNvSpPr>
            <p:nvPr/>
          </p:nvSpPr>
          <p:spPr bwMode="auto">
            <a:xfrm>
              <a:off x="11601450" y="2124076"/>
              <a:ext cx="261938" cy="95250"/>
            </a:xfrm>
            <a:custGeom>
              <a:avLst/>
              <a:gdLst>
                <a:gd name="T0" fmla="*/ 298 w 825"/>
                <a:gd name="T1" fmla="*/ 60 h 301"/>
                <a:gd name="T2" fmla="*/ 354 w 825"/>
                <a:gd name="T3" fmla="*/ 77 h 301"/>
                <a:gd name="T4" fmla="*/ 396 w 825"/>
                <a:gd name="T5" fmla="*/ 103 h 301"/>
                <a:gd name="T6" fmla="*/ 261 w 825"/>
                <a:gd name="T7" fmla="*/ 120 h 301"/>
                <a:gd name="T8" fmla="*/ 253 w 825"/>
                <a:gd name="T9" fmla="*/ 123 h 301"/>
                <a:gd name="T10" fmla="*/ 247 w 825"/>
                <a:gd name="T11" fmla="*/ 130 h 301"/>
                <a:gd name="T12" fmla="*/ 246 w 825"/>
                <a:gd name="T13" fmla="*/ 138 h 301"/>
                <a:gd name="T14" fmla="*/ 250 w 825"/>
                <a:gd name="T15" fmla="*/ 147 h 301"/>
                <a:gd name="T16" fmla="*/ 258 w 825"/>
                <a:gd name="T17" fmla="*/ 150 h 301"/>
                <a:gd name="T18" fmla="*/ 546 w 825"/>
                <a:gd name="T19" fmla="*/ 151 h 301"/>
                <a:gd name="T20" fmla="*/ 604 w 825"/>
                <a:gd name="T21" fmla="*/ 155 h 301"/>
                <a:gd name="T22" fmla="*/ 658 w 825"/>
                <a:gd name="T23" fmla="*/ 165 h 301"/>
                <a:gd name="T24" fmla="*/ 706 w 825"/>
                <a:gd name="T25" fmla="*/ 180 h 301"/>
                <a:gd name="T26" fmla="*/ 747 w 825"/>
                <a:gd name="T27" fmla="*/ 199 h 301"/>
                <a:gd name="T28" fmla="*/ 777 w 825"/>
                <a:gd name="T29" fmla="*/ 221 h 301"/>
                <a:gd name="T30" fmla="*/ 182 w 825"/>
                <a:gd name="T31" fmla="*/ 241 h 301"/>
                <a:gd name="T32" fmla="*/ 30 w 825"/>
                <a:gd name="T33" fmla="*/ 30 h 301"/>
                <a:gd name="T34" fmla="*/ 532 w 825"/>
                <a:gd name="T35" fmla="*/ 120 h 301"/>
                <a:gd name="T36" fmla="*/ 458 w 825"/>
                <a:gd name="T37" fmla="*/ 120 h 301"/>
                <a:gd name="T38" fmla="*/ 444 w 825"/>
                <a:gd name="T39" fmla="*/ 107 h 301"/>
                <a:gd name="T40" fmla="*/ 401 w 825"/>
                <a:gd name="T41" fmla="*/ 70 h 301"/>
                <a:gd name="T42" fmla="*/ 369 w 825"/>
                <a:gd name="T43" fmla="*/ 52 h 301"/>
                <a:gd name="T44" fmla="*/ 331 w 825"/>
                <a:gd name="T45" fmla="*/ 37 h 301"/>
                <a:gd name="T46" fmla="*/ 300 w 825"/>
                <a:gd name="T47" fmla="*/ 30 h 301"/>
                <a:gd name="T48" fmla="*/ 182 w 825"/>
                <a:gd name="T49" fmla="*/ 15 h 301"/>
                <a:gd name="T50" fmla="*/ 179 w 825"/>
                <a:gd name="T51" fmla="*/ 8 h 301"/>
                <a:gd name="T52" fmla="*/ 172 w 825"/>
                <a:gd name="T53" fmla="*/ 1 h 301"/>
                <a:gd name="T54" fmla="*/ 15 w 825"/>
                <a:gd name="T55" fmla="*/ 0 h 301"/>
                <a:gd name="T56" fmla="*/ 6 w 825"/>
                <a:gd name="T57" fmla="*/ 3 h 301"/>
                <a:gd name="T58" fmla="*/ 1 w 825"/>
                <a:gd name="T59" fmla="*/ 10 h 301"/>
                <a:gd name="T60" fmla="*/ 0 w 825"/>
                <a:gd name="T61" fmla="*/ 286 h 301"/>
                <a:gd name="T62" fmla="*/ 2 w 825"/>
                <a:gd name="T63" fmla="*/ 295 h 301"/>
                <a:gd name="T64" fmla="*/ 9 w 825"/>
                <a:gd name="T65" fmla="*/ 300 h 301"/>
                <a:gd name="T66" fmla="*/ 167 w 825"/>
                <a:gd name="T67" fmla="*/ 301 h 301"/>
                <a:gd name="T68" fmla="*/ 174 w 825"/>
                <a:gd name="T69" fmla="*/ 299 h 301"/>
                <a:gd name="T70" fmla="*/ 180 w 825"/>
                <a:gd name="T71" fmla="*/ 292 h 301"/>
                <a:gd name="T72" fmla="*/ 182 w 825"/>
                <a:gd name="T73" fmla="*/ 271 h 301"/>
                <a:gd name="T74" fmla="*/ 816 w 825"/>
                <a:gd name="T75" fmla="*/ 270 h 301"/>
                <a:gd name="T76" fmla="*/ 823 w 825"/>
                <a:gd name="T77" fmla="*/ 265 h 301"/>
                <a:gd name="T78" fmla="*/ 825 w 825"/>
                <a:gd name="T79" fmla="*/ 256 h 301"/>
                <a:gd name="T80" fmla="*/ 822 w 825"/>
                <a:gd name="T81" fmla="*/ 235 h 301"/>
                <a:gd name="T82" fmla="*/ 810 w 825"/>
                <a:gd name="T83" fmla="*/ 213 h 301"/>
                <a:gd name="T84" fmla="*/ 789 w 825"/>
                <a:gd name="T85" fmla="*/ 192 h 301"/>
                <a:gd name="T86" fmla="*/ 752 w 825"/>
                <a:gd name="T87" fmla="*/ 167 h 301"/>
                <a:gd name="T88" fmla="*/ 706 w 825"/>
                <a:gd name="T89" fmla="*/ 148 h 301"/>
                <a:gd name="T90" fmla="*/ 653 w 825"/>
                <a:gd name="T91" fmla="*/ 133 h 301"/>
                <a:gd name="T92" fmla="*/ 594 w 825"/>
                <a:gd name="T93" fmla="*/ 123 h 301"/>
                <a:gd name="T94" fmla="*/ 532 w 825"/>
                <a:gd name="T95" fmla="*/ 120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825" h="301">
                  <a:moveTo>
                    <a:pt x="182" y="241"/>
                  </a:moveTo>
                  <a:lnTo>
                    <a:pt x="182" y="60"/>
                  </a:lnTo>
                  <a:lnTo>
                    <a:pt x="298" y="60"/>
                  </a:lnTo>
                  <a:lnTo>
                    <a:pt x="319" y="65"/>
                  </a:lnTo>
                  <a:lnTo>
                    <a:pt x="337" y="71"/>
                  </a:lnTo>
                  <a:lnTo>
                    <a:pt x="354" y="77"/>
                  </a:lnTo>
                  <a:lnTo>
                    <a:pt x="370" y="86"/>
                  </a:lnTo>
                  <a:lnTo>
                    <a:pt x="384" y="94"/>
                  </a:lnTo>
                  <a:lnTo>
                    <a:pt x="396" y="103"/>
                  </a:lnTo>
                  <a:lnTo>
                    <a:pt x="407" y="112"/>
                  </a:lnTo>
                  <a:lnTo>
                    <a:pt x="416" y="120"/>
                  </a:lnTo>
                  <a:lnTo>
                    <a:pt x="261" y="120"/>
                  </a:lnTo>
                  <a:lnTo>
                    <a:pt x="258" y="121"/>
                  </a:lnTo>
                  <a:lnTo>
                    <a:pt x="255" y="122"/>
                  </a:lnTo>
                  <a:lnTo>
                    <a:pt x="253" y="123"/>
                  </a:lnTo>
                  <a:lnTo>
                    <a:pt x="250" y="126"/>
                  </a:lnTo>
                  <a:lnTo>
                    <a:pt x="248" y="128"/>
                  </a:lnTo>
                  <a:lnTo>
                    <a:pt x="247" y="130"/>
                  </a:lnTo>
                  <a:lnTo>
                    <a:pt x="246" y="133"/>
                  </a:lnTo>
                  <a:lnTo>
                    <a:pt x="246" y="135"/>
                  </a:lnTo>
                  <a:lnTo>
                    <a:pt x="246" y="138"/>
                  </a:lnTo>
                  <a:lnTo>
                    <a:pt x="247" y="142"/>
                  </a:lnTo>
                  <a:lnTo>
                    <a:pt x="248" y="145"/>
                  </a:lnTo>
                  <a:lnTo>
                    <a:pt x="250" y="147"/>
                  </a:lnTo>
                  <a:lnTo>
                    <a:pt x="253" y="148"/>
                  </a:lnTo>
                  <a:lnTo>
                    <a:pt x="255" y="149"/>
                  </a:lnTo>
                  <a:lnTo>
                    <a:pt x="258" y="150"/>
                  </a:lnTo>
                  <a:lnTo>
                    <a:pt x="261" y="151"/>
                  </a:lnTo>
                  <a:lnTo>
                    <a:pt x="527" y="150"/>
                  </a:lnTo>
                  <a:lnTo>
                    <a:pt x="546" y="151"/>
                  </a:lnTo>
                  <a:lnTo>
                    <a:pt x="565" y="151"/>
                  </a:lnTo>
                  <a:lnTo>
                    <a:pt x="584" y="153"/>
                  </a:lnTo>
                  <a:lnTo>
                    <a:pt x="604" y="155"/>
                  </a:lnTo>
                  <a:lnTo>
                    <a:pt x="623" y="158"/>
                  </a:lnTo>
                  <a:lnTo>
                    <a:pt x="641" y="161"/>
                  </a:lnTo>
                  <a:lnTo>
                    <a:pt x="658" y="165"/>
                  </a:lnTo>
                  <a:lnTo>
                    <a:pt x="675" y="169"/>
                  </a:lnTo>
                  <a:lnTo>
                    <a:pt x="691" y="175"/>
                  </a:lnTo>
                  <a:lnTo>
                    <a:pt x="706" y="180"/>
                  </a:lnTo>
                  <a:lnTo>
                    <a:pt x="721" y="185"/>
                  </a:lnTo>
                  <a:lnTo>
                    <a:pt x="735" y="192"/>
                  </a:lnTo>
                  <a:lnTo>
                    <a:pt x="747" y="199"/>
                  </a:lnTo>
                  <a:lnTo>
                    <a:pt x="759" y="206"/>
                  </a:lnTo>
                  <a:lnTo>
                    <a:pt x="768" y="213"/>
                  </a:lnTo>
                  <a:lnTo>
                    <a:pt x="777" y="221"/>
                  </a:lnTo>
                  <a:lnTo>
                    <a:pt x="785" y="231"/>
                  </a:lnTo>
                  <a:lnTo>
                    <a:pt x="792" y="241"/>
                  </a:lnTo>
                  <a:lnTo>
                    <a:pt x="182" y="241"/>
                  </a:lnTo>
                  <a:close/>
                  <a:moveTo>
                    <a:pt x="151" y="271"/>
                  </a:moveTo>
                  <a:lnTo>
                    <a:pt x="30" y="271"/>
                  </a:lnTo>
                  <a:lnTo>
                    <a:pt x="30" y="30"/>
                  </a:lnTo>
                  <a:lnTo>
                    <a:pt x="151" y="30"/>
                  </a:lnTo>
                  <a:lnTo>
                    <a:pt x="151" y="271"/>
                  </a:lnTo>
                  <a:close/>
                  <a:moveTo>
                    <a:pt x="532" y="120"/>
                  </a:moveTo>
                  <a:lnTo>
                    <a:pt x="529" y="120"/>
                  </a:lnTo>
                  <a:lnTo>
                    <a:pt x="527" y="120"/>
                  </a:lnTo>
                  <a:lnTo>
                    <a:pt x="458" y="120"/>
                  </a:lnTo>
                  <a:lnTo>
                    <a:pt x="456" y="119"/>
                  </a:lnTo>
                  <a:lnTo>
                    <a:pt x="454" y="118"/>
                  </a:lnTo>
                  <a:lnTo>
                    <a:pt x="444" y="107"/>
                  </a:lnTo>
                  <a:lnTo>
                    <a:pt x="432" y="96"/>
                  </a:lnTo>
                  <a:lnTo>
                    <a:pt x="418" y="83"/>
                  </a:lnTo>
                  <a:lnTo>
                    <a:pt x="401" y="70"/>
                  </a:lnTo>
                  <a:lnTo>
                    <a:pt x="392" y="63"/>
                  </a:lnTo>
                  <a:lnTo>
                    <a:pt x="381" y="58"/>
                  </a:lnTo>
                  <a:lnTo>
                    <a:pt x="369" y="52"/>
                  </a:lnTo>
                  <a:lnTo>
                    <a:pt x="357" y="46"/>
                  </a:lnTo>
                  <a:lnTo>
                    <a:pt x="345" y="42"/>
                  </a:lnTo>
                  <a:lnTo>
                    <a:pt x="331" y="37"/>
                  </a:lnTo>
                  <a:lnTo>
                    <a:pt x="317" y="33"/>
                  </a:lnTo>
                  <a:lnTo>
                    <a:pt x="301" y="30"/>
                  </a:lnTo>
                  <a:lnTo>
                    <a:pt x="300" y="30"/>
                  </a:lnTo>
                  <a:lnTo>
                    <a:pt x="299" y="30"/>
                  </a:lnTo>
                  <a:lnTo>
                    <a:pt x="182" y="30"/>
                  </a:lnTo>
                  <a:lnTo>
                    <a:pt x="182" y="15"/>
                  </a:lnTo>
                  <a:lnTo>
                    <a:pt x="181" y="13"/>
                  </a:lnTo>
                  <a:lnTo>
                    <a:pt x="180" y="10"/>
                  </a:lnTo>
                  <a:lnTo>
                    <a:pt x="179" y="8"/>
                  </a:lnTo>
                  <a:lnTo>
                    <a:pt x="177" y="6"/>
                  </a:lnTo>
                  <a:lnTo>
                    <a:pt x="174" y="3"/>
                  </a:lnTo>
                  <a:lnTo>
                    <a:pt x="172" y="1"/>
                  </a:lnTo>
                  <a:lnTo>
                    <a:pt x="169" y="0"/>
                  </a:lnTo>
                  <a:lnTo>
                    <a:pt x="167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9" y="1"/>
                  </a:lnTo>
                  <a:lnTo>
                    <a:pt x="6" y="3"/>
                  </a:lnTo>
                  <a:lnTo>
                    <a:pt x="4" y="6"/>
                  </a:lnTo>
                  <a:lnTo>
                    <a:pt x="2" y="8"/>
                  </a:lnTo>
                  <a:lnTo>
                    <a:pt x="1" y="10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0" y="286"/>
                  </a:lnTo>
                  <a:lnTo>
                    <a:pt x="0" y="289"/>
                  </a:lnTo>
                  <a:lnTo>
                    <a:pt x="1" y="292"/>
                  </a:lnTo>
                  <a:lnTo>
                    <a:pt x="2" y="295"/>
                  </a:lnTo>
                  <a:lnTo>
                    <a:pt x="4" y="297"/>
                  </a:lnTo>
                  <a:lnTo>
                    <a:pt x="6" y="299"/>
                  </a:lnTo>
                  <a:lnTo>
                    <a:pt x="9" y="300"/>
                  </a:lnTo>
                  <a:lnTo>
                    <a:pt x="12" y="301"/>
                  </a:lnTo>
                  <a:lnTo>
                    <a:pt x="15" y="301"/>
                  </a:lnTo>
                  <a:lnTo>
                    <a:pt x="167" y="301"/>
                  </a:lnTo>
                  <a:lnTo>
                    <a:pt x="169" y="301"/>
                  </a:lnTo>
                  <a:lnTo>
                    <a:pt x="172" y="300"/>
                  </a:lnTo>
                  <a:lnTo>
                    <a:pt x="174" y="299"/>
                  </a:lnTo>
                  <a:lnTo>
                    <a:pt x="177" y="297"/>
                  </a:lnTo>
                  <a:lnTo>
                    <a:pt x="179" y="295"/>
                  </a:lnTo>
                  <a:lnTo>
                    <a:pt x="180" y="292"/>
                  </a:lnTo>
                  <a:lnTo>
                    <a:pt x="181" y="289"/>
                  </a:lnTo>
                  <a:lnTo>
                    <a:pt x="182" y="286"/>
                  </a:lnTo>
                  <a:lnTo>
                    <a:pt x="182" y="271"/>
                  </a:lnTo>
                  <a:lnTo>
                    <a:pt x="810" y="271"/>
                  </a:lnTo>
                  <a:lnTo>
                    <a:pt x="813" y="271"/>
                  </a:lnTo>
                  <a:lnTo>
                    <a:pt x="816" y="270"/>
                  </a:lnTo>
                  <a:lnTo>
                    <a:pt x="819" y="269"/>
                  </a:lnTo>
                  <a:lnTo>
                    <a:pt x="821" y="267"/>
                  </a:lnTo>
                  <a:lnTo>
                    <a:pt x="823" y="265"/>
                  </a:lnTo>
                  <a:lnTo>
                    <a:pt x="824" y="261"/>
                  </a:lnTo>
                  <a:lnTo>
                    <a:pt x="825" y="259"/>
                  </a:lnTo>
                  <a:lnTo>
                    <a:pt x="825" y="256"/>
                  </a:lnTo>
                  <a:lnTo>
                    <a:pt x="825" y="249"/>
                  </a:lnTo>
                  <a:lnTo>
                    <a:pt x="824" y="241"/>
                  </a:lnTo>
                  <a:lnTo>
                    <a:pt x="822" y="235"/>
                  </a:lnTo>
                  <a:lnTo>
                    <a:pt x="819" y="227"/>
                  </a:lnTo>
                  <a:lnTo>
                    <a:pt x="814" y="221"/>
                  </a:lnTo>
                  <a:lnTo>
                    <a:pt x="810" y="213"/>
                  </a:lnTo>
                  <a:lnTo>
                    <a:pt x="805" y="207"/>
                  </a:lnTo>
                  <a:lnTo>
                    <a:pt x="798" y="200"/>
                  </a:lnTo>
                  <a:lnTo>
                    <a:pt x="789" y="192"/>
                  </a:lnTo>
                  <a:lnTo>
                    <a:pt x="778" y="183"/>
                  </a:lnTo>
                  <a:lnTo>
                    <a:pt x="765" y="175"/>
                  </a:lnTo>
                  <a:lnTo>
                    <a:pt x="752" y="167"/>
                  </a:lnTo>
                  <a:lnTo>
                    <a:pt x="738" y="161"/>
                  </a:lnTo>
                  <a:lnTo>
                    <a:pt x="722" y="154"/>
                  </a:lnTo>
                  <a:lnTo>
                    <a:pt x="706" y="148"/>
                  </a:lnTo>
                  <a:lnTo>
                    <a:pt x="689" y="143"/>
                  </a:lnTo>
                  <a:lnTo>
                    <a:pt x="671" y="137"/>
                  </a:lnTo>
                  <a:lnTo>
                    <a:pt x="653" y="133"/>
                  </a:lnTo>
                  <a:lnTo>
                    <a:pt x="634" y="130"/>
                  </a:lnTo>
                  <a:lnTo>
                    <a:pt x="613" y="127"/>
                  </a:lnTo>
                  <a:lnTo>
                    <a:pt x="594" y="123"/>
                  </a:lnTo>
                  <a:lnTo>
                    <a:pt x="574" y="122"/>
                  </a:lnTo>
                  <a:lnTo>
                    <a:pt x="552" y="121"/>
                  </a:lnTo>
                  <a:lnTo>
                    <a:pt x="532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Freeform 295"/>
            <p:cNvSpPr>
              <a:spLocks/>
            </p:cNvSpPr>
            <p:nvPr/>
          </p:nvSpPr>
          <p:spPr bwMode="auto">
            <a:xfrm>
              <a:off x="11623675" y="2184401"/>
              <a:ext cx="12700" cy="12700"/>
            </a:xfrm>
            <a:custGeom>
              <a:avLst/>
              <a:gdLst>
                <a:gd name="T0" fmla="*/ 19 w 37"/>
                <a:gd name="T1" fmla="*/ 0 h 39"/>
                <a:gd name="T2" fmla="*/ 15 w 37"/>
                <a:gd name="T3" fmla="*/ 1 h 39"/>
                <a:gd name="T4" fmla="*/ 12 w 37"/>
                <a:gd name="T5" fmla="*/ 2 h 39"/>
                <a:gd name="T6" fmla="*/ 8 w 37"/>
                <a:gd name="T7" fmla="*/ 4 h 39"/>
                <a:gd name="T8" fmla="*/ 5 w 37"/>
                <a:gd name="T9" fmla="*/ 6 h 39"/>
                <a:gd name="T10" fmla="*/ 3 w 37"/>
                <a:gd name="T11" fmla="*/ 9 h 39"/>
                <a:gd name="T12" fmla="*/ 1 w 37"/>
                <a:gd name="T13" fmla="*/ 13 h 39"/>
                <a:gd name="T14" fmla="*/ 0 w 37"/>
                <a:gd name="T15" fmla="*/ 16 h 39"/>
                <a:gd name="T16" fmla="*/ 0 w 37"/>
                <a:gd name="T17" fmla="*/ 20 h 39"/>
                <a:gd name="T18" fmla="*/ 0 w 37"/>
                <a:gd name="T19" fmla="*/ 23 h 39"/>
                <a:gd name="T20" fmla="*/ 1 w 37"/>
                <a:gd name="T21" fmla="*/ 28 h 39"/>
                <a:gd name="T22" fmla="*/ 3 w 37"/>
                <a:gd name="T23" fmla="*/ 31 h 39"/>
                <a:gd name="T24" fmla="*/ 5 w 37"/>
                <a:gd name="T25" fmla="*/ 33 h 39"/>
                <a:gd name="T26" fmla="*/ 8 w 37"/>
                <a:gd name="T27" fmla="*/ 36 h 39"/>
                <a:gd name="T28" fmla="*/ 12 w 37"/>
                <a:gd name="T29" fmla="*/ 37 h 39"/>
                <a:gd name="T30" fmla="*/ 15 w 37"/>
                <a:gd name="T31" fmla="*/ 39 h 39"/>
                <a:gd name="T32" fmla="*/ 19 w 37"/>
                <a:gd name="T33" fmla="*/ 39 h 39"/>
                <a:gd name="T34" fmla="*/ 22 w 37"/>
                <a:gd name="T35" fmla="*/ 38 h 39"/>
                <a:gd name="T36" fmla="*/ 27 w 37"/>
                <a:gd name="T37" fmla="*/ 37 h 39"/>
                <a:gd name="T38" fmla="*/ 30 w 37"/>
                <a:gd name="T39" fmla="*/ 36 h 39"/>
                <a:gd name="T40" fmla="*/ 32 w 37"/>
                <a:gd name="T41" fmla="*/ 33 h 39"/>
                <a:gd name="T42" fmla="*/ 34 w 37"/>
                <a:gd name="T43" fmla="*/ 31 h 39"/>
                <a:gd name="T44" fmla="*/ 36 w 37"/>
                <a:gd name="T45" fmla="*/ 28 h 39"/>
                <a:gd name="T46" fmla="*/ 37 w 37"/>
                <a:gd name="T47" fmla="*/ 23 h 39"/>
                <a:gd name="T48" fmla="*/ 37 w 37"/>
                <a:gd name="T49" fmla="*/ 20 h 39"/>
                <a:gd name="T50" fmla="*/ 37 w 37"/>
                <a:gd name="T51" fmla="*/ 16 h 39"/>
                <a:gd name="T52" fmla="*/ 36 w 37"/>
                <a:gd name="T53" fmla="*/ 13 h 39"/>
                <a:gd name="T54" fmla="*/ 34 w 37"/>
                <a:gd name="T55" fmla="*/ 9 h 39"/>
                <a:gd name="T56" fmla="*/ 32 w 37"/>
                <a:gd name="T57" fmla="*/ 6 h 39"/>
                <a:gd name="T58" fmla="*/ 30 w 37"/>
                <a:gd name="T59" fmla="*/ 4 h 39"/>
                <a:gd name="T60" fmla="*/ 27 w 37"/>
                <a:gd name="T61" fmla="*/ 2 h 39"/>
                <a:gd name="T62" fmla="*/ 22 w 37"/>
                <a:gd name="T63" fmla="*/ 1 h 39"/>
                <a:gd name="T64" fmla="*/ 19 w 37"/>
                <a:gd name="T65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7" h="39">
                  <a:moveTo>
                    <a:pt x="19" y="0"/>
                  </a:moveTo>
                  <a:lnTo>
                    <a:pt x="15" y="1"/>
                  </a:lnTo>
                  <a:lnTo>
                    <a:pt x="12" y="2"/>
                  </a:lnTo>
                  <a:lnTo>
                    <a:pt x="8" y="4"/>
                  </a:lnTo>
                  <a:lnTo>
                    <a:pt x="5" y="6"/>
                  </a:lnTo>
                  <a:lnTo>
                    <a:pt x="3" y="9"/>
                  </a:lnTo>
                  <a:lnTo>
                    <a:pt x="1" y="13"/>
                  </a:lnTo>
                  <a:lnTo>
                    <a:pt x="0" y="16"/>
                  </a:lnTo>
                  <a:lnTo>
                    <a:pt x="0" y="20"/>
                  </a:lnTo>
                  <a:lnTo>
                    <a:pt x="0" y="23"/>
                  </a:lnTo>
                  <a:lnTo>
                    <a:pt x="1" y="28"/>
                  </a:lnTo>
                  <a:lnTo>
                    <a:pt x="3" y="31"/>
                  </a:lnTo>
                  <a:lnTo>
                    <a:pt x="5" y="33"/>
                  </a:lnTo>
                  <a:lnTo>
                    <a:pt x="8" y="36"/>
                  </a:lnTo>
                  <a:lnTo>
                    <a:pt x="12" y="37"/>
                  </a:lnTo>
                  <a:lnTo>
                    <a:pt x="15" y="39"/>
                  </a:lnTo>
                  <a:lnTo>
                    <a:pt x="19" y="39"/>
                  </a:lnTo>
                  <a:lnTo>
                    <a:pt x="22" y="38"/>
                  </a:lnTo>
                  <a:lnTo>
                    <a:pt x="27" y="37"/>
                  </a:lnTo>
                  <a:lnTo>
                    <a:pt x="30" y="36"/>
                  </a:lnTo>
                  <a:lnTo>
                    <a:pt x="32" y="33"/>
                  </a:lnTo>
                  <a:lnTo>
                    <a:pt x="34" y="31"/>
                  </a:lnTo>
                  <a:lnTo>
                    <a:pt x="36" y="28"/>
                  </a:lnTo>
                  <a:lnTo>
                    <a:pt x="37" y="23"/>
                  </a:lnTo>
                  <a:lnTo>
                    <a:pt x="37" y="20"/>
                  </a:lnTo>
                  <a:lnTo>
                    <a:pt x="37" y="16"/>
                  </a:lnTo>
                  <a:lnTo>
                    <a:pt x="36" y="13"/>
                  </a:lnTo>
                  <a:lnTo>
                    <a:pt x="34" y="9"/>
                  </a:lnTo>
                  <a:lnTo>
                    <a:pt x="32" y="6"/>
                  </a:lnTo>
                  <a:lnTo>
                    <a:pt x="30" y="4"/>
                  </a:lnTo>
                  <a:lnTo>
                    <a:pt x="27" y="2"/>
                  </a:lnTo>
                  <a:lnTo>
                    <a:pt x="22" y="1"/>
                  </a:lnTo>
                  <a:lnTo>
                    <a:pt x="1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09" name="Group 208"/>
          <p:cNvGrpSpPr/>
          <p:nvPr/>
        </p:nvGrpSpPr>
        <p:grpSpPr>
          <a:xfrm>
            <a:off x="6923092" y="5174168"/>
            <a:ext cx="430208" cy="373166"/>
            <a:chOff x="8736013" y="2536825"/>
            <a:chExt cx="287338" cy="249238"/>
          </a:xfrm>
          <a:solidFill>
            <a:schemeClr val="bg1"/>
          </a:solidFill>
        </p:grpSpPr>
        <p:sp>
          <p:nvSpPr>
            <p:cNvPr id="210" name="Freeform 219"/>
            <p:cNvSpPr>
              <a:spLocks noEditPoints="1"/>
            </p:cNvSpPr>
            <p:nvPr/>
          </p:nvSpPr>
          <p:spPr bwMode="auto">
            <a:xfrm>
              <a:off x="8793163" y="2632075"/>
              <a:ext cx="230188" cy="153988"/>
            </a:xfrm>
            <a:custGeom>
              <a:avLst/>
              <a:gdLst>
                <a:gd name="T0" fmla="*/ 621 w 722"/>
                <a:gd name="T1" fmla="*/ 368 h 481"/>
                <a:gd name="T2" fmla="*/ 588 w 722"/>
                <a:gd name="T3" fmla="*/ 338 h 481"/>
                <a:gd name="T4" fmla="*/ 557 w 722"/>
                <a:gd name="T5" fmla="*/ 331 h 481"/>
                <a:gd name="T6" fmla="*/ 525 w 722"/>
                <a:gd name="T7" fmla="*/ 338 h 481"/>
                <a:gd name="T8" fmla="*/ 493 w 722"/>
                <a:gd name="T9" fmla="*/ 368 h 481"/>
                <a:gd name="T10" fmla="*/ 451 w 722"/>
                <a:gd name="T11" fmla="*/ 391 h 481"/>
                <a:gd name="T12" fmla="*/ 557 w 722"/>
                <a:gd name="T13" fmla="*/ 451 h 481"/>
                <a:gd name="T14" fmla="*/ 520 w 722"/>
                <a:gd name="T15" fmla="*/ 432 h 481"/>
                <a:gd name="T16" fmla="*/ 515 w 722"/>
                <a:gd name="T17" fmla="*/ 389 h 481"/>
                <a:gd name="T18" fmla="*/ 547 w 722"/>
                <a:gd name="T19" fmla="*/ 362 h 481"/>
                <a:gd name="T20" fmla="*/ 588 w 722"/>
                <a:gd name="T21" fmla="*/ 374 h 481"/>
                <a:gd name="T22" fmla="*/ 601 w 722"/>
                <a:gd name="T23" fmla="*/ 415 h 481"/>
                <a:gd name="T24" fmla="*/ 574 w 722"/>
                <a:gd name="T25" fmla="*/ 448 h 481"/>
                <a:gd name="T26" fmla="*/ 451 w 722"/>
                <a:gd name="T27" fmla="*/ 241 h 481"/>
                <a:gd name="T28" fmla="*/ 163 w 722"/>
                <a:gd name="T29" fmla="*/ 448 h 481"/>
                <a:gd name="T30" fmla="*/ 136 w 722"/>
                <a:gd name="T31" fmla="*/ 415 h 481"/>
                <a:gd name="T32" fmla="*/ 149 w 722"/>
                <a:gd name="T33" fmla="*/ 374 h 481"/>
                <a:gd name="T34" fmla="*/ 190 w 722"/>
                <a:gd name="T35" fmla="*/ 362 h 481"/>
                <a:gd name="T36" fmla="*/ 222 w 722"/>
                <a:gd name="T37" fmla="*/ 389 h 481"/>
                <a:gd name="T38" fmla="*/ 219 w 722"/>
                <a:gd name="T39" fmla="*/ 431 h 481"/>
                <a:gd name="T40" fmla="*/ 181 w 722"/>
                <a:gd name="T41" fmla="*/ 451 h 481"/>
                <a:gd name="T42" fmla="*/ 565 w 722"/>
                <a:gd name="T43" fmla="*/ 94 h 481"/>
                <a:gd name="T44" fmla="*/ 451 w 722"/>
                <a:gd name="T45" fmla="*/ 15 h 481"/>
                <a:gd name="T46" fmla="*/ 445 w 722"/>
                <a:gd name="T47" fmla="*/ 3 h 481"/>
                <a:gd name="T48" fmla="*/ 253 w 722"/>
                <a:gd name="T49" fmla="*/ 0 h 481"/>
                <a:gd name="T50" fmla="*/ 242 w 722"/>
                <a:gd name="T51" fmla="*/ 10 h 481"/>
                <a:gd name="T52" fmla="*/ 243 w 722"/>
                <a:gd name="T53" fmla="*/ 24 h 481"/>
                <a:gd name="T54" fmla="*/ 256 w 722"/>
                <a:gd name="T55" fmla="*/ 30 h 481"/>
                <a:gd name="T56" fmla="*/ 251 w 722"/>
                <a:gd name="T57" fmla="*/ 378 h 481"/>
                <a:gd name="T58" fmla="*/ 224 w 722"/>
                <a:gd name="T59" fmla="*/ 344 h 481"/>
                <a:gd name="T60" fmla="*/ 194 w 722"/>
                <a:gd name="T61" fmla="*/ 332 h 481"/>
                <a:gd name="T62" fmla="*/ 161 w 722"/>
                <a:gd name="T63" fmla="*/ 334 h 481"/>
                <a:gd name="T64" fmla="*/ 133 w 722"/>
                <a:gd name="T65" fmla="*/ 349 h 481"/>
                <a:gd name="T66" fmla="*/ 108 w 722"/>
                <a:gd name="T67" fmla="*/ 385 h 481"/>
                <a:gd name="T68" fmla="*/ 29 w 722"/>
                <a:gd name="T69" fmla="*/ 115 h 481"/>
                <a:gd name="T70" fmla="*/ 18 w 722"/>
                <a:gd name="T71" fmla="*/ 106 h 481"/>
                <a:gd name="T72" fmla="*/ 4 w 722"/>
                <a:gd name="T73" fmla="*/ 110 h 481"/>
                <a:gd name="T74" fmla="*/ 0 w 722"/>
                <a:gd name="T75" fmla="*/ 406 h 481"/>
                <a:gd name="T76" fmla="*/ 6 w 722"/>
                <a:gd name="T77" fmla="*/ 419 h 481"/>
                <a:gd name="T78" fmla="*/ 108 w 722"/>
                <a:gd name="T79" fmla="*/ 428 h 481"/>
                <a:gd name="T80" fmla="*/ 133 w 722"/>
                <a:gd name="T81" fmla="*/ 464 h 481"/>
                <a:gd name="T82" fmla="*/ 161 w 722"/>
                <a:gd name="T83" fmla="*/ 479 h 481"/>
                <a:gd name="T84" fmla="*/ 194 w 722"/>
                <a:gd name="T85" fmla="*/ 480 h 481"/>
                <a:gd name="T86" fmla="*/ 224 w 722"/>
                <a:gd name="T87" fmla="*/ 468 h 481"/>
                <a:gd name="T88" fmla="*/ 251 w 722"/>
                <a:gd name="T89" fmla="*/ 434 h 481"/>
                <a:gd name="T90" fmla="*/ 484 w 722"/>
                <a:gd name="T91" fmla="*/ 428 h 481"/>
                <a:gd name="T92" fmla="*/ 509 w 722"/>
                <a:gd name="T93" fmla="*/ 464 h 481"/>
                <a:gd name="T94" fmla="*/ 537 w 722"/>
                <a:gd name="T95" fmla="*/ 479 h 481"/>
                <a:gd name="T96" fmla="*/ 570 w 722"/>
                <a:gd name="T97" fmla="*/ 480 h 481"/>
                <a:gd name="T98" fmla="*/ 599 w 722"/>
                <a:gd name="T99" fmla="*/ 468 h 481"/>
                <a:gd name="T100" fmla="*/ 627 w 722"/>
                <a:gd name="T101" fmla="*/ 434 h 481"/>
                <a:gd name="T102" fmla="*/ 712 w 722"/>
                <a:gd name="T103" fmla="*/ 420 h 481"/>
                <a:gd name="T104" fmla="*/ 722 w 722"/>
                <a:gd name="T105" fmla="*/ 410 h 481"/>
                <a:gd name="T106" fmla="*/ 721 w 722"/>
                <a:gd name="T107" fmla="*/ 25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22" h="481">
                  <a:moveTo>
                    <a:pt x="630" y="391"/>
                  </a:moveTo>
                  <a:lnTo>
                    <a:pt x="629" y="385"/>
                  </a:lnTo>
                  <a:lnTo>
                    <a:pt x="627" y="378"/>
                  </a:lnTo>
                  <a:lnTo>
                    <a:pt x="623" y="373"/>
                  </a:lnTo>
                  <a:lnTo>
                    <a:pt x="621" y="368"/>
                  </a:lnTo>
                  <a:lnTo>
                    <a:pt x="614" y="357"/>
                  </a:lnTo>
                  <a:lnTo>
                    <a:pt x="604" y="349"/>
                  </a:lnTo>
                  <a:lnTo>
                    <a:pt x="599" y="344"/>
                  </a:lnTo>
                  <a:lnTo>
                    <a:pt x="593" y="341"/>
                  </a:lnTo>
                  <a:lnTo>
                    <a:pt x="588" y="338"/>
                  </a:lnTo>
                  <a:lnTo>
                    <a:pt x="583" y="336"/>
                  </a:lnTo>
                  <a:lnTo>
                    <a:pt x="576" y="334"/>
                  </a:lnTo>
                  <a:lnTo>
                    <a:pt x="570" y="332"/>
                  </a:lnTo>
                  <a:lnTo>
                    <a:pt x="563" y="331"/>
                  </a:lnTo>
                  <a:lnTo>
                    <a:pt x="557" y="331"/>
                  </a:lnTo>
                  <a:lnTo>
                    <a:pt x="550" y="331"/>
                  </a:lnTo>
                  <a:lnTo>
                    <a:pt x="543" y="332"/>
                  </a:lnTo>
                  <a:lnTo>
                    <a:pt x="537" y="334"/>
                  </a:lnTo>
                  <a:lnTo>
                    <a:pt x="530" y="336"/>
                  </a:lnTo>
                  <a:lnTo>
                    <a:pt x="525" y="338"/>
                  </a:lnTo>
                  <a:lnTo>
                    <a:pt x="520" y="341"/>
                  </a:lnTo>
                  <a:lnTo>
                    <a:pt x="514" y="344"/>
                  </a:lnTo>
                  <a:lnTo>
                    <a:pt x="509" y="349"/>
                  </a:lnTo>
                  <a:lnTo>
                    <a:pt x="499" y="357"/>
                  </a:lnTo>
                  <a:lnTo>
                    <a:pt x="493" y="368"/>
                  </a:lnTo>
                  <a:lnTo>
                    <a:pt x="490" y="373"/>
                  </a:lnTo>
                  <a:lnTo>
                    <a:pt x="486" y="378"/>
                  </a:lnTo>
                  <a:lnTo>
                    <a:pt x="484" y="385"/>
                  </a:lnTo>
                  <a:lnTo>
                    <a:pt x="483" y="391"/>
                  </a:lnTo>
                  <a:lnTo>
                    <a:pt x="451" y="391"/>
                  </a:lnTo>
                  <a:lnTo>
                    <a:pt x="451" y="271"/>
                  </a:lnTo>
                  <a:lnTo>
                    <a:pt x="692" y="271"/>
                  </a:lnTo>
                  <a:lnTo>
                    <a:pt x="692" y="391"/>
                  </a:lnTo>
                  <a:lnTo>
                    <a:pt x="630" y="391"/>
                  </a:lnTo>
                  <a:close/>
                  <a:moveTo>
                    <a:pt x="557" y="451"/>
                  </a:moveTo>
                  <a:lnTo>
                    <a:pt x="547" y="450"/>
                  </a:lnTo>
                  <a:lnTo>
                    <a:pt x="539" y="448"/>
                  </a:lnTo>
                  <a:lnTo>
                    <a:pt x="531" y="444"/>
                  </a:lnTo>
                  <a:lnTo>
                    <a:pt x="525" y="438"/>
                  </a:lnTo>
                  <a:lnTo>
                    <a:pt x="520" y="432"/>
                  </a:lnTo>
                  <a:lnTo>
                    <a:pt x="515" y="423"/>
                  </a:lnTo>
                  <a:lnTo>
                    <a:pt x="512" y="415"/>
                  </a:lnTo>
                  <a:lnTo>
                    <a:pt x="511" y="406"/>
                  </a:lnTo>
                  <a:lnTo>
                    <a:pt x="512" y="398"/>
                  </a:lnTo>
                  <a:lnTo>
                    <a:pt x="515" y="389"/>
                  </a:lnTo>
                  <a:lnTo>
                    <a:pt x="520" y="381"/>
                  </a:lnTo>
                  <a:lnTo>
                    <a:pt x="525" y="374"/>
                  </a:lnTo>
                  <a:lnTo>
                    <a:pt x="531" y="369"/>
                  </a:lnTo>
                  <a:lnTo>
                    <a:pt x="539" y="365"/>
                  </a:lnTo>
                  <a:lnTo>
                    <a:pt x="547" y="362"/>
                  </a:lnTo>
                  <a:lnTo>
                    <a:pt x="557" y="361"/>
                  </a:lnTo>
                  <a:lnTo>
                    <a:pt x="566" y="362"/>
                  </a:lnTo>
                  <a:lnTo>
                    <a:pt x="574" y="365"/>
                  </a:lnTo>
                  <a:lnTo>
                    <a:pt x="582" y="369"/>
                  </a:lnTo>
                  <a:lnTo>
                    <a:pt x="588" y="374"/>
                  </a:lnTo>
                  <a:lnTo>
                    <a:pt x="593" y="381"/>
                  </a:lnTo>
                  <a:lnTo>
                    <a:pt x="598" y="389"/>
                  </a:lnTo>
                  <a:lnTo>
                    <a:pt x="601" y="398"/>
                  </a:lnTo>
                  <a:lnTo>
                    <a:pt x="602" y="406"/>
                  </a:lnTo>
                  <a:lnTo>
                    <a:pt x="601" y="415"/>
                  </a:lnTo>
                  <a:lnTo>
                    <a:pt x="598" y="423"/>
                  </a:lnTo>
                  <a:lnTo>
                    <a:pt x="593" y="431"/>
                  </a:lnTo>
                  <a:lnTo>
                    <a:pt x="588" y="438"/>
                  </a:lnTo>
                  <a:lnTo>
                    <a:pt x="582" y="444"/>
                  </a:lnTo>
                  <a:lnTo>
                    <a:pt x="574" y="448"/>
                  </a:lnTo>
                  <a:lnTo>
                    <a:pt x="566" y="450"/>
                  </a:lnTo>
                  <a:lnTo>
                    <a:pt x="557" y="451"/>
                  </a:lnTo>
                  <a:close/>
                  <a:moveTo>
                    <a:pt x="551" y="120"/>
                  </a:moveTo>
                  <a:lnTo>
                    <a:pt x="671" y="241"/>
                  </a:lnTo>
                  <a:lnTo>
                    <a:pt x="451" y="241"/>
                  </a:lnTo>
                  <a:lnTo>
                    <a:pt x="451" y="120"/>
                  </a:lnTo>
                  <a:lnTo>
                    <a:pt x="551" y="120"/>
                  </a:lnTo>
                  <a:close/>
                  <a:moveTo>
                    <a:pt x="181" y="451"/>
                  </a:moveTo>
                  <a:lnTo>
                    <a:pt x="171" y="450"/>
                  </a:lnTo>
                  <a:lnTo>
                    <a:pt x="163" y="448"/>
                  </a:lnTo>
                  <a:lnTo>
                    <a:pt x="155" y="444"/>
                  </a:lnTo>
                  <a:lnTo>
                    <a:pt x="149" y="438"/>
                  </a:lnTo>
                  <a:lnTo>
                    <a:pt x="144" y="432"/>
                  </a:lnTo>
                  <a:lnTo>
                    <a:pt x="139" y="423"/>
                  </a:lnTo>
                  <a:lnTo>
                    <a:pt x="136" y="415"/>
                  </a:lnTo>
                  <a:lnTo>
                    <a:pt x="136" y="406"/>
                  </a:lnTo>
                  <a:lnTo>
                    <a:pt x="136" y="398"/>
                  </a:lnTo>
                  <a:lnTo>
                    <a:pt x="139" y="389"/>
                  </a:lnTo>
                  <a:lnTo>
                    <a:pt x="144" y="381"/>
                  </a:lnTo>
                  <a:lnTo>
                    <a:pt x="149" y="374"/>
                  </a:lnTo>
                  <a:lnTo>
                    <a:pt x="155" y="369"/>
                  </a:lnTo>
                  <a:lnTo>
                    <a:pt x="163" y="365"/>
                  </a:lnTo>
                  <a:lnTo>
                    <a:pt x="171" y="362"/>
                  </a:lnTo>
                  <a:lnTo>
                    <a:pt x="181" y="361"/>
                  </a:lnTo>
                  <a:lnTo>
                    <a:pt x="190" y="362"/>
                  </a:lnTo>
                  <a:lnTo>
                    <a:pt x="198" y="365"/>
                  </a:lnTo>
                  <a:lnTo>
                    <a:pt x="206" y="369"/>
                  </a:lnTo>
                  <a:lnTo>
                    <a:pt x="212" y="374"/>
                  </a:lnTo>
                  <a:lnTo>
                    <a:pt x="219" y="381"/>
                  </a:lnTo>
                  <a:lnTo>
                    <a:pt x="222" y="389"/>
                  </a:lnTo>
                  <a:lnTo>
                    <a:pt x="225" y="398"/>
                  </a:lnTo>
                  <a:lnTo>
                    <a:pt x="226" y="406"/>
                  </a:lnTo>
                  <a:lnTo>
                    <a:pt x="225" y="415"/>
                  </a:lnTo>
                  <a:lnTo>
                    <a:pt x="222" y="423"/>
                  </a:lnTo>
                  <a:lnTo>
                    <a:pt x="219" y="431"/>
                  </a:lnTo>
                  <a:lnTo>
                    <a:pt x="212" y="438"/>
                  </a:lnTo>
                  <a:lnTo>
                    <a:pt x="206" y="444"/>
                  </a:lnTo>
                  <a:lnTo>
                    <a:pt x="198" y="448"/>
                  </a:lnTo>
                  <a:lnTo>
                    <a:pt x="190" y="450"/>
                  </a:lnTo>
                  <a:lnTo>
                    <a:pt x="181" y="451"/>
                  </a:lnTo>
                  <a:close/>
                  <a:moveTo>
                    <a:pt x="721" y="250"/>
                  </a:moveTo>
                  <a:lnTo>
                    <a:pt x="720" y="248"/>
                  </a:lnTo>
                  <a:lnTo>
                    <a:pt x="718" y="246"/>
                  </a:lnTo>
                  <a:lnTo>
                    <a:pt x="568" y="95"/>
                  </a:lnTo>
                  <a:lnTo>
                    <a:pt x="565" y="94"/>
                  </a:lnTo>
                  <a:lnTo>
                    <a:pt x="562" y="91"/>
                  </a:lnTo>
                  <a:lnTo>
                    <a:pt x="559" y="91"/>
                  </a:lnTo>
                  <a:lnTo>
                    <a:pt x="557" y="90"/>
                  </a:lnTo>
                  <a:lnTo>
                    <a:pt x="451" y="90"/>
                  </a:lnTo>
                  <a:lnTo>
                    <a:pt x="451" y="15"/>
                  </a:lnTo>
                  <a:lnTo>
                    <a:pt x="451" y="12"/>
                  </a:lnTo>
                  <a:lnTo>
                    <a:pt x="450" y="10"/>
                  </a:lnTo>
                  <a:lnTo>
                    <a:pt x="449" y="7"/>
                  </a:lnTo>
                  <a:lnTo>
                    <a:pt x="447" y="5"/>
                  </a:lnTo>
                  <a:lnTo>
                    <a:pt x="445" y="3"/>
                  </a:lnTo>
                  <a:lnTo>
                    <a:pt x="442" y="1"/>
                  </a:lnTo>
                  <a:lnTo>
                    <a:pt x="439" y="0"/>
                  </a:lnTo>
                  <a:lnTo>
                    <a:pt x="436" y="0"/>
                  </a:lnTo>
                  <a:lnTo>
                    <a:pt x="256" y="0"/>
                  </a:lnTo>
                  <a:lnTo>
                    <a:pt x="253" y="0"/>
                  </a:lnTo>
                  <a:lnTo>
                    <a:pt x="250" y="1"/>
                  </a:lnTo>
                  <a:lnTo>
                    <a:pt x="247" y="3"/>
                  </a:lnTo>
                  <a:lnTo>
                    <a:pt x="245" y="5"/>
                  </a:lnTo>
                  <a:lnTo>
                    <a:pt x="243" y="7"/>
                  </a:lnTo>
                  <a:lnTo>
                    <a:pt x="242" y="10"/>
                  </a:lnTo>
                  <a:lnTo>
                    <a:pt x="241" y="12"/>
                  </a:lnTo>
                  <a:lnTo>
                    <a:pt x="241" y="15"/>
                  </a:lnTo>
                  <a:lnTo>
                    <a:pt x="241" y="19"/>
                  </a:lnTo>
                  <a:lnTo>
                    <a:pt x="242" y="22"/>
                  </a:lnTo>
                  <a:lnTo>
                    <a:pt x="243" y="24"/>
                  </a:lnTo>
                  <a:lnTo>
                    <a:pt x="245" y="26"/>
                  </a:lnTo>
                  <a:lnTo>
                    <a:pt x="247" y="28"/>
                  </a:lnTo>
                  <a:lnTo>
                    <a:pt x="250" y="29"/>
                  </a:lnTo>
                  <a:lnTo>
                    <a:pt x="253" y="30"/>
                  </a:lnTo>
                  <a:lnTo>
                    <a:pt x="256" y="30"/>
                  </a:lnTo>
                  <a:lnTo>
                    <a:pt x="421" y="30"/>
                  </a:lnTo>
                  <a:lnTo>
                    <a:pt x="421" y="391"/>
                  </a:lnTo>
                  <a:lnTo>
                    <a:pt x="254" y="391"/>
                  </a:lnTo>
                  <a:lnTo>
                    <a:pt x="253" y="385"/>
                  </a:lnTo>
                  <a:lnTo>
                    <a:pt x="251" y="378"/>
                  </a:lnTo>
                  <a:lnTo>
                    <a:pt x="249" y="373"/>
                  </a:lnTo>
                  <a:lnTo>
                    <a:pt x="245" y="368"/>
                  </a:lnTo>
                  <a:lnTo>
                    <a:pt x="238" y="357"/>
                  </a:lnTo>
                  <a:lnTo>
                    <a:pt x="228" y="349"/>
                  </a:lnTo>
                  <a:lnTo>
                    <a:pt x="224" y="344"/>
                  </a:lnTo>
                  <a:lnTo>
                    <a:pt x="219" y="341"/>
                  </a:lnTo>
                  <a:lnTo>
                    <a:pt x="212" y="338"/>
                  </a:lnTo>
                  <a:lnTo>
                    <a:pt x="207" y="336"/>
                  </a:lnTo>
                  <a:lnTo>
                    <a:pt x="200" y="334"/>
                  </a:lnTo>
                  <a:lnTo>
                    <a:pt x="194" y="332"/>
                  </a:lnTo>
                  <a:lnTo>
                    <a:pt x="187" y="331"/>
                  </a:lnTo>
                  <a:lnTo>
                    <a:pt x="181" y="331"/>
                  </a:lnTo>
                  <a:lnTo>
                    <a:pt x="174" y="331"/>
                  </a:lnTo>
                  <a:lnTo>
                    <a:pt x="167" y="332"/>
                  </a:lnTo>
                  <a:lnTo>
                    <a:pt x="161" y="334"/>
                  </a:lnTo>
                  <a:lnTo>
                    <a:pt x="155" y="336"/>
                  </a:lnTo>
                  <a:lnTo>
                    <a:pt x="149" y="338"/>
                  </a:lnTo>
                  <a:lnTo>
                    <a:pt x="144" y="341"/>
                  </a:lnTo>
                  <a:lnTo>
                    <a:pt x="138" y="344"/>
                  </a:lnTo>
                  <a:lnTo>
                    <a:pt x="133" y="349"/>
                  </a:lnTo>
                  <a:lnTo>
                    <a:pt x="124" y="357"/>
                  </a:lnTo>
                  <a:lnTo>
                    <a:pt x="117" y="368"/>
                  </a:lnTo>
                  <a:lnTo>
                    <a:pt x="114" y="373"/>
                  </a:lnTo>
                  <a:lnTo>
                    <a:pt x="110" y="378"/>
                  </a:lnTo>
                  <a:lnTo>
                    <a:pt x="108" y="385"/>
                  </a:lnTo>
                  <a:lnTo>
                    <a:pt x="107" y="391"/>
                  </a:lnTo>
                  <a:lnTo>
                    <a:pt x="30" y="391"/>
                  </a:lnTo>
                  <a:lnTo>
                    <a:pt x="30" y="120"/>
                  </a:lnTo>
                  <a:lnTo>
                    <a:pt x="30" y="117"/>
                  </a:lnTo>
                  <a:lnTo>
                    <a:pt x="29" y="115"/>
                  </a:lnTo>
                  <a:lnTo>
                    <a:pt x="28" y="112"/>
                  </a:lnTo>
                  <a:lnTo>
                    <a:pt x="26" y="110"/>
                  </a:lnTo>
                  <a:lnTo>
                    <a:pt x="24" y="109"/>
                  </a:lnTo>
                  <a:lnTo>
                    <a:pt x="21" y="106"/>
                  </a:lnTo>
                  <a:lnTo>
                    <a:pt x="18" y="106"/>
                  </a:lnTo>
                  <a:lnTo>
                    <a:pt x="15" y="105"/>
                  </a:lnTo>
                  <a:lnTo>
                    <a:pt x="12" y="106"/>
                  </a:lnTo>
                  <a:lnTo>
                    <a:pt x="10" y="106"/>
                  </a:lnTo>
                  <a:lnTo>
                    <a:pt x="6" y="109"/>
                  </a:lnTo>
                  <a:lnTo>
                    <a:pt x="4" y="110"/>
                  </a:lnTo>
                  <a:lnTo>
                    <a:pt x="3" y="112"/>
                  </a:lnTo>
                  <a:lnTo>
                    <a:pt x="1" y="115"/>
                  </a:lnTo>
                  <a:lnTo>
                    <a:pt x="1" y="117"/>
                  </a:lnTo>
                  <a:lnTo>
                    <a:pt x="0" y="120"/>
                  </a:lnTo>
                  <a:lnTo>
                    <a:pt x="0" y="406"/>
                  </a:lnTo>
                  <a:lnTo>
                    <a:pt x="1" y="410"/>
                  </a:lnTo>
                  <a:lnTo>
                    <a:pt x="1" y="412"/>
                  </a:lnTo>
                  <a:lnTo>
                    <a:pt x="3" y="415"/>
                  </a:lnTo>
                  <a:lnTo>
                    <a:pt x="4" y="417"/>
                  </a:lnTo>
                  <a:lnTo>
                    <a:pt x="6" y="419"/>
                  </a:lnTo>
                  <a:lnTo>
                    <a:pt x="10" y="420"/>
                  </a:lnTo>
                  <a:lnTo>
                    <a:pt x="12" y="421"/>
                  </a:lnTo>
                  <a:lnTo>
                    <a:pt x="15" y="421"/>
                  </a:lnTo>
                  <a:lnTo>
                    <a:pt x="107" y="421"/>
                  </a:lnTo>
                  <a:lnTo>
                    <a:pt x="108" y="428"/>
                  </a:lnTo>
                  <a:lnTo>
                    <a:pt x="110" y="434"/>
                  </a:lnTo>
                  <a:lnTo>
                    <a:pt x="114" y="440"/>
                  </a:lnTo>
                  <a:lnTo>
                    <a:pt x="117" y="445"/>
                  </a:lnTo>
                  <a:lnTo>
                    <a:pt x="124" y="456"/>
                  </a:lnTo>
                  <a:lnTo>
                    <a:pt x="133" y="464"/>
                  </a:lnTo>
                  <a:lnTo>
                    <a:pt x="138" y="468"/>
                  </a:lnTo>
                  <a:lnTo>
                    <a:pt x="144" y="472"/>
                  </a:lnTo>
                  <a:lnTo>
                    <a:pt x="149" y="475"/>
                  </a:lnTo>
                  <a:lnTo>
                    <a:pt x="155" y="477"/>
                  </a:lnTo>
                  <a:lnTo>
                    <a:pt x="161" y="479"/>
                  </a:lnTo>
                  <a:lnTo>
                    <a:pt x="167" y="480"/>
                  </a:lnTo>
                  <a:lnTo>
                    <a:pt x="174" y="481"/>
                  </a:lnTo>
                  <a:lnTo>
                    <a:pt x="181" y="481"/>
                  </a:lnTo>
                  <a:lnTo>
                    <a:pt x="187" y="481"/>
                  </a:lnTo>
                  <a:lnTo>
                    <a:pt x="194" y="480"/>
                  </a:lnTo>
                  <a:lnTo>
                    <a:pt x="200" y="479"/>
                  </a:lnTo>
                  <a:lnTo>
                    <a:pt x="207" y="477"/>
                  </a:lnTo>
                  <a:lnTo>
                    <a:pt x="212" y="475"/>
                  </a:lnTo>
                  <a:lnTo>
                    <a:pt x="219" y="472"/>
                  </a:lnTo>
                  <a:lnTo>
                    <a:pt x="224" y="468"/>
                  </a:lnTo>
                  <a:lnTo>
                    <a:pt x="228" y="464"/>
                  </a:lnTo>
                  <a:lnTo>
                    <a:pt x="238" y="456"/>
                  </a:lnTo>
                  <a:lnTo>
                    <a:pt x="245" y="445"/>
                  </a:lnTo>
                  <a:lnTo>
                    <a:pt x="249" y="440"/>
                  </a:lnTo>
                  <a:lnTo>
                    <a:pt x="251" y="434"/>
                  </a:lnTo>
                  <a:lnTo>
                    <a:pt x="253" y="428"/>
                  </a:lnTo>
                  <a:lnTo>
                    <a:pt x="254" y="421"/>
                  </a:lnTo>
                  <a:lnTo>
                    <a:pt x="436" y="421"/>
                  </a:lnTo>
                  <a:lnTo>
                    <a:pt x="483" y="421"/>
                  </a:lnTo>
                  <a:lnTo>
                    <a:pt x="484" y="428"/>
                  </a:lnTo>
                  <a:lnTo>
                    <a:pt x="486" y="434"/>
                  </a:lnTo>
                  <a:lnTo>
                    <a:pt x="490" y="440"/>
                  </a:lnTo>
                  <a:lnTo>
                    <a:pt x="493" y="445"/>
                  </a:lnTo>
                  <a:lnTo>
                    <a:pt x="499" y="456"/>
                  </a:lnTo>
                  <a:lnTo>
                    <a:pt x="509" y="464"/>
                  </a:lnTo>
                  <a:lnTo>
                    <a:pt x="514" y="468"/>
                  </a:lnTo>
                  <a:lnTo>
                    <a:pt x="520" y="472"/>
                  </a:lnTo>
                  <a:lnTo>
                    <a:pt x="525" y="475"/>
                  </a:lnTo>
                  <a:lnTo>
                    <a:pt x="530" y="477"/>
                  </a:lnTo>
                  <a:lnTo>
                    <a:pt x="537" y="479"/>
                  </a:lnTo>
                  <a:lnTo>
                    <a:pt x="543" y="480"/>
                  </a:lnTo>
                  <a:lnTo>
                    <a:pt x="550" y="481"/>
                  </a:lnTo>
                  <a:lnTo>
                    <a:pt x="557" y="481"/>
                  </a:lnTo>
                  <a:lnTo>
                    <a:pt x="563" y="481"/>
                  </a:lnTo>
                  <a:lnTo>
                    <a:pt x="570" y="480"/>
                  </a:lnTo>
                  <a:lnTo>
                    <a:pt x="576" y="479"/>
                  </a:lnTo>
                  <a:lnTo>
                    <a:pt x="583" y="477"/>
                  </a:lnTo>
                  <a:lnTo>
                    <a:pt x="588" y="475"/>
                  </a:lnTo>
                  <a:lnTo>
                    <a:pt x="593" y="472"/>
                  </a:lnTo>
                  <a:lnTo>
                    <a:pt x="599" y="468"/>
                  </a:lnTo>
                  <a:lnTo>
                    <a:pt x="604" y="464"/>
                  </a:lnTo>
                  <a:lnTo>
                    <a:pt x="614" y="456"/>
                  </a:lnTo>
                  <a:lnTo>
                    <a:pt x="621" y="445"/>
                  </a:lnTo>
                  <a:lnTo>
                    <a:pt x="623" y="440"/>
                  </a:lnTo>
                  <a:lnTo>
                    <a:pt x="627" y="434"/>
                  </a:lnTo>
                  <a:lnTo>
                    <a:pt x="629" y="428"/>
                  </a:lnTo>
                  <a:lnTo>
                    <a:pt x="630" y="421"/>
                  </a:lnTo>
                  <a:lnTo>
                    <a:pt x="707" y="421"/>
                  </a:lnTo>
                  <a:lnTo>
                    <a:pt x="710" y="421"/>
                  </a:lnTo>
                  <a:lnTo>
                    <a:pt x="712" y="420"/>
                  </a:lnTo>
                  <a:lnTo>
                    <a:pt x="716" y="419"/>
                  </a:lnTo>
                  <a:lnTo>
                    <a:pt x="718" y="417"/>
                  </a:lnTo>
                  <a:lnTo>
                    <a:pt x="720" y="415"/>
                  </a:lnTo>
                  <a:lnTo>
                    <a:pt x="721" y="412"/>
                  </a:lnTo>
                  <a:lnTo>
                    <a:pt x="722" y="410"/>
                  </a:lnTo>
                  <a:lnTo>
                    <a:pt x="722" y="406"/>
                  </a:lnTo>
                  <a:lnTo>
                    <a:pt x="722" y="256"/>
                  </a:lnTo>
                  <a:lnTo>
                    <a:pt x="722" y="253"/>
                  </a:lnTo>
                  <a:lnTo>
                    <a:pt x="721" y="250"/>
                  </a:lnTo>
                  <a:lnTo>
                    <a:pt x="721" y="2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Freeform 220"/>
            <p:cNvSpPr>
              <a:spLocks/>
            </p:cNvSpPr>
            <p:nvPr/>
          </p:nvSpPr>
          <p:spPr bwMode="auto">
            <a:xfrm>
              <a:off x="8793163" y="2565400"/>
              <a:ext cx="28575" cy="38100"/>
            </a:xfrm>
            <a:custGeom>
              <a:avLst/>
              <a:gdLst>
                <a:gd name="T0" fmla="*/ 15 w 90"/>
                <a:gd name="T1" fmla="*/ 120 h 120"/>
                <a:gd name="T2" fmla="*/ 75 w 90"/>
                <a:gd name="T3" fmla="*/ 120 h 120"/>
                <a:gd name="T4" fmla="*/ 78 w 90"/>
                <a:gd name="T5" fmla="*/ 120 h 120"/>
                <a:gd name="T6" fmla="*/ 81 w 90"/>
                <a:gd name="T7" fmla="*/ 119 h 120"/>
                <a:gd name="T8" fmla="*/ 84 w 90"/>
                <a:gd name="T9" fmla="*/ 117 h 120"/>
                <a:gd name="T10" fmla="*/ 86 w 90"/>
                <a:gd name="T11" fmla="*/ 116 h 120"/>
                <a:gd name="T12" fmla="*/ 88 w 90"/>
                <a:gd name="T13" fmla="*/ 114 h 120"/>
                <a:gd name="T14" fmla="*/ 89 w 90"/>
                <a:gd name="T15" fmla="*/ 111 h 120"/>
                <a:gd name="T16" fmla="*/ 90 w 90"/>
                <a:gd name="T17" fmla="*/ 109 h 120"/>
                <a:gd name="T18" fmla="*/ 90 w 90"/>
                <a:gd name="T19" fmla="*/ 105 h 120"/>
                <a:gd name="T20" fmla="*/ 90 w 90"/>
                <a:gd name="T21" fmla="*/ 102 h 120"/>
                <a:gd name="T22" fmla="*/ 89 w 90"/>
                <a:gd name="T23" fmla="*/ 99 h 120"/>
                <a:gd name="T24" fmla="*/ 88 w 90"/>
                <a:gd name="T25" fmla="*/ 97 h 120"/>
                <a:gd name="T26" fmla="*/ 86 w 90"/>
                <a:gd name="T27" fmla="*/ 95 h 120"/>
                <a:gd name="T28" fmla="*/ 84 w 90"/>
                <a:gd name="T29" fmla="*/ 93 h 120"/>
                <a:gd name="T30" fmla="*/ 81 w 90"/>
                <a:gd name="T31" fmla="*/ 91 h 120"/>
                <a:gd name="T32" fmla="*/ 78 w 90"/>
                <a:gd name="T33" fmla="*/ 90 h 120"/>
                <a:gd name="T34" fmla="*/ 75 w 90"/>
                <a:gd name="T35" fmla="*/ 90 h 120"/>
                <a:gd name="T36" fmla="*/ 30 w 90"/>
                <a:gd name="T37" fmla="*/ 90 h 120"/>
                <a:gd name="T38" fmla="*/ 30 w 90"/>
                <a:gd name="T39" fmla="*/ 15 h 120"/>
                <a:gd name="T40" fmla="*/ 30 w 90"/>
                <a:gd name="T41" fmla="*/ 12 h 120"/>
                <a:gd name="T42" fmla="*/ 29 w 90"/>
                <a:gd name="T43" fmla="*/ 9 h 120"/>
                <a:gd name="T44" fmla="*/ 28 w 90"/>
                <a:gd name="T45" fmla="*/ 7 h 120"/>
                <a:gd name="T46" fmla="*/ 26 w 90"/>
                <a:gd name="T47" fmla="*/ 5 h 120"/>
                <a:gd name="T48" fmla="*/ 24 w 90"/>
                <a:gd name="T49" fmla="*/ 3 h 120"/>
                <a:gd name="T50" fmla="*/ 21 w 90"/>
                <a:gd name="T51" fmla="*/ 1 h 120"/>
                <a:gd name="T52" fmla="*/ 18 w 90"/>
                <a:gd name="T53" fmla="*/ 0 h 120"/>
                <a:gd name="T54" fmla="*/ 15 w 90"/>
                <a:gd name="T55" fmla="*/ 0 h 120"/>
                <a:gd name="T56" fmla="*/ 12 w 90"/>
                <a:gd name="T57" fmla="*/ 0 h 120"/>
                <a:gd name="T58" fmla="*/ 10 w 90"/>
                <a:gd name="T59" fmla="*/ 1 h 120"/>
                <a:gd name="T60" fmla="*/ 6 w 90"/>
                <a:gd name="T61" fmla="*/ 3 h 120"/>
                <a:gd name="T62" fmla="*/ 4 w 90"/>
                <a:gd name="T63" fmla="*/ 5 h 120"/>
                <a:gd name="T64" fmla="*/ 3 w 90"/>
                <a:gd name="T65" fmla="*/ 7 h 120"/>
                <a:gd name="T66" fmla="*/ 1 w 90"/>
                <a:gd name="T67" fmla="*/ 9 h 120"/>
                <a:gd name="T68" fmla="*/ 1 w 90"/>
                <a:gd name="T69" fmla="*/ 12 h 120"/>
                <a:gd name="T70" fmla="*/ 0 w 90"/>
                <a:gd name="T71" fmla="*/ 15 h 120"/>
                <a:gd name="T72" fmla="*/ 0 w 90"/>
                <a:gd name="T73" fmla="*/ 105 h 120"/>
                <a:gd name="T74" fmla="*/ 1 w 90"/>
                <a:gd name="T75" fmla="*/ 109 h 120"/>
                <a:gd name="T76" fmla="*/ 1 w 90"/>
                <a:gd name="T77" fmla="*/ 111 h 120"/>
                <a:gd name="T78" fmla="*/ 3 w 90"/>
                <a:gd name="T79" fmla="*/ 114 h 120"/>
                <a:gd name="T80" fmla="*/ 4 w 90"/>
                <a:gd name="T81" fmla="*/ 116 h 120"/>
                <a:gd name="T82" fmla="*/ 6 w 90"/>
                <a:gd name="T83" fmla="*/ 117 h 120"/>
                <a:gd name="T84" fmla="*/ 10 w 90"/>
                <a:gd name="T85" fmla="*/ 119 h 120"/>
                <a:gd name="T86" fmla="*/ 13 w 90"/>
                <a:gd name="T87" fmla="*/ 120 h 120"/>
                <a:gd name="T88" fmla="*/ 15 w 90"/>
                <a:gd name="T89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90" h="120">
                  <a:moveTo>
                    <a:pt x="15" y="120"/>
                  </a:moveTo>
                  <a:lnTo>
                    <a:pt x="75" y="120"/>
                  </a:lnTo>
                  <a:lnTo>
                    <a:pt x="78" y="120"/>
                  </a:lnTo>
                  <a:lnTo>
                    <a:pt x="81" y="119"/>
                  </a:lnTo>
                  <a:lnTo>
                    <a:pt x="84" y="117"/>
                  </a:lnTo>
                  <a:lnTo>
                    <a:pt x="86" y="116"/>
                  </a:lnTo>
                  <a:lnTo>
                    <a:pt x="88" y="114"/>
                  </a:lnTo>
                  <a:lnTo>
                    <a:pt x="89" y="111"/>
                  </a:lnTo>
                  <a:lnTo>
                    <a:pt x="90" y="109"/>
                  </a:lnTo>
                  <a:lnTo>
                    <a:pt x="90" y="105"/>
                  </a:lnTo>
                  <a:lnTo>
                    <a:pt x="90" y="102"/>
                  </a:lnTo>
                  <a:lnTo>
                    <a:pt x="89" y="99"/>
                  </a:lnTo>
                  <a:lnTo>
                    <a:pt x="88" y="97"/>
                  </a:lnTo>
                  <a:lnTo>
                    <a:pt x="86" y="95"/>
                  </a:lnTo>
                  <a:lnTo>
                    <a:pt x="84" y="93"/>
                  </a:lnTo>
                  <a:lnTo>
                    <a:pt x="81" y="91"/>
                  </a:lnTo>
                  <a:lnTo>
                    <a:pt x="78" y="90"/>
                  </a:lnTo>
                  <a:lnTo>
                    <a:pt x="75" y="90"/>
                  </a:lnTo>
                  <a:lnTo>
                    <a:pt x="30" y="90"/>
                  </a:lnTo>
                  <a:lnTo>
                    <a:pt x="30" y="15"/>
                  </a:lnTo>
                  <a:lnTo>
                    <a:pt x="30" y="12"/>
                  </a:lnTo>
                  <a:lnTo>
                    <a:pt x="29" y="9"/>
                  </a:lnTo>
                  <a:lnTo>
                    <a:pt x="28" y="7"/>
                  </a:lnTo>
                  <a:lnTo>
                    <a:pt x="26" y="5"/>
                  </a:lnTo>
                  <a:lnTo>
                    <a:pt x="24" y="3"/>
                  </a:lnTo>
                  <a:lnTo>
                    <a:pt x="21" y="1"/>
                  </a:lnTo>
                  <a:lnTo>
                    <a:pt x="18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6" y="3"/>
                  </a:lnTo>
                  <a:lnTo>
                    <a:pt x="4" y="5"/>
                  </a:lnTo>
                  <a:lnTo>
                    <a:pt x="3" y="7"/>
                  </a:lnTo>
                  <a:lnTo>
                    <a:pt x="1" y="9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0" y="105"/>
                  </a:lnTo>
                  <a:lnTo>
                    <a:pt x="1" y="109"/>
                  </a:lnTo>
                  <a:lnTo>
                    <a:pt x="1" y="111"/>
                  </a:lnTo>
                  <a:lnTo>
                    <a:pt x="3" y="114"/>
                  </a:lnTo>
                  <a:lnTo>
                    <a:pt x="4" y="116"/>
                  </a:lnTo>
                  <a:lnTo>
                    <a:pt x="6" y="117"/>
                  </a:lnTo>
                  <a:lnTo>
                    <a:pt x="10" y="119"/>
                  </a:lnTo>
                  <a:lnTo>
                    <a:pt x="13" y="120"/>
                  </a:lnTo>
                  <a:lnTo>
                    <a:pt x="15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Freeform 221"/>
            <p:cNvSpPr>
              <a:spLocks/>
            </p:cNvSpPr>
            <p:nvPr/>
          </p:nvSpPr>
          <p:spPr bwMode="auto">
            <a:xfrm>
              <a:off x="8736013" y="2698750"/>
              <a:ext cx="47625" cy="11113"/>
            </a:xfrm>
            <a:custGeom>
              <a:avLst/>
              <a:gdLst>
                <a:gd name="T0" fmla="*/ 135 w 150"/>
                <a:gd name="T1" fmla="*/ 0 h 31"/>
                <a:gd name="T2" fmla="*/ 15 w 150"/>
                <a:gd name="T3" fmla="*/ 0 h 31"/>
                <a:gd name="T4" fmla="*/ 12 w 150"/>
                <a:gd name="T5" fmla="*/ 1 h 31"/>
                <a:gd name="T6" fmla="*/ 9 w 150"/>
                <a:gd name="T7" fmla="*/ 2 h 31"/>
                <a:gd name="T8" fmla="*/ 6 w 150"/>
                <a:gd name="T9" fmla="*/ 4 h 31"/>
                <a:gd name="T10" fmla="*/ 4 w 150"/>
                <a:gd name="T11" fmla="*/ 6 h 31"/>
                <a:gd name="T12" fmla="*/ 2 w 150"/>
                <a:gd name="T13" fmla="*/ 8 h 31"/>
                <a:gd name="T14" fmla="*/ 1 w 150"/>
                <a:gd name="T15" fmla="*/ 10 h 31"/>
                <a:gd name="T16" fmla="*/ 0 w 150"/>
                <a:gd name="T17" fmla="*/ 13 h 31"/>
                <a:gd name="T18" fmla="*/ 0 w 150"/>
                <a:gd name="T19" fmla="*/ 16 h 31"/>
                <a:gd name="T20" fmla="*/ 0 w 150"/>
                <a:gd name="T21" fmla="*/ 19 h 31"/>
                <a:gd name="T22" fmla="*/ 1 w 150"/>
                <a:gd name="T23" fmla="*/ 22 h 31"/>
                <a:gd name="T24" fmla="*/ 2 w 150"/>
                <a:gd name="T25" fmla="*/ 24 h 31"/>
                <a:gd name="T26" fmla="*/ 4 w 150"/>
                <a:gd name="T27" fmla="*/ 26 h 31"/>
                <a:gd name="T28" fmla="*/ 6 w 150"/>
                <a:gd name="T29" fmla="*/ 28 h 31"/>
                <a:gd name="T30" fmla="*/ 9 w 150"/>
                <a:gd name="T31" fmla="*/ 29 h 31"/>
                <a:gd name="T32" fmla="*/ 12 w 150"/>
                <a:gd name="T33" fmla="*/ 30 h 31"/>
                <a:gd name="T34" fmla="*/ 15 w 150"/>
                <a:gd name="T35" fmla="*/ 31 h 31"/>
                <a:gd name="T36" fmla="*/ 135 w 150"/>
                <a:gd name="T37" fmla="*/ 31 h 31"/>
                <a:gd name="T38" fmla="*/ 138 w 150"/>
                <a:gd name="T39" fmla="*/ 30 h 31"/>
                <a:gd name="T40" fmla="*/ 141 w 150"/>
                <a:gd name="T41" fmla="*/ 29 h 31"/>
                <a:gd name="T42" fmla="*/ 144 w 150"/>
                <a:gd name="T43" fmla="*/ 28 h 31"/>
                <a:gd name="T44" fmla="*/ 146 w 150"/>
                <a:gd name="T45" fmla="*/ 26 h 31"/>
                <a:gd name="T46" fmla="*/ 148 w 150"/>
                <a:gd name="T47" fmla="*/ 24 h 31"/>
                <a:gd name="T48" fmla="*/ 149 w 150"/>
                <a:gd name="T49" fmla="*/ 22 h 31"/>
                <a:gd name="T50" fmla="*/ 150 w 150"/>
                <a:gd name="T51" fmla="*/ 19 h 31"/>
                <a:gd name="T52" fmla="*/ 150 w 150"/>
                <a:gd name="T53" fmla="*/ 16 h 31"/>
                <a:gd name="T54" fmla="*/ 150 w 150"/>
                <a:gd name="T55" fmla="*/ 13 h 31"/>
                <a:gd name="T56" fmla="*/ 149 w 150"/>
                <a:gd name="T57" fmla="*/ 10 h 31"/>
                <a:gd name="T58" fmla="*/ 148 w 150"/>
                <a:gd name="T59" fmla="*/ 8 h 31"/>
                <a:gd name="T60" fmla="*/ 146 w 150"/>
                <a:gd name="T61" fmla="*/ 6 h 31"/>
                <a:gd name="T62" fmla="*/ 144 w 150"/>
                <a:gd name="T63" fmla="*/ 4 h 31"/>
                <a:gd name="T64" fmla="*/ 141 w 150"/>
                <a:gd name="T65" fmla="*/ 2 h 31"/>
                <a:gd name="T66" fmla="*/ 138 w 150"/>
                <a:gd name="T67" fmla="*/ 1 h 31"/>
                <a:gd name="T68" fmla="*/ 135 w 150"/>
                <a:gd name="T69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0" h="31">
                  <a:moveTo>
                    <a:pt x="135" y="0"/>
                  </a:moveTo>
                  <a:lnTo>
                    <a:pt x="15" y="0"/>
                  </a:lnTo>
                  <a:lnTo>
                    <a:pt x="12" y="1"/>
                  </a:lnTo>
                  <a:lnTo>
                    <a:pt x="9" y="2"/>
                  </a:lnTo>
                  <a:lnTo>
                    <a:pt x="6" y="4"/>
                  </a:lnTo>
                  <a:lnTo>
                    <a:pt x="4" y="6"/>
                  </a:lnTo>
                  <a:lnTo>
                    <a:pt x="2" y="8"/>
                  </a:lnTo>
                  <a:lnTo>
                    <a:pt x="1" y="10"/>
                  </a:lnTo>
                  <a:lnTo>
                    <a:pt x="0" y="13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1" y="22"/>
                  </a:lnTo>
                  <a:lnTo>
                    <a:pt x="2" y="24"/>
                  </a:lnTo>
                  <a:lnTo>
                    <a:pt x="4" y="26"/>
                  </a:lnTo>
                  <a:lnTo>
                    <a:pt x="6" y="28"/>
                  </a:lnTo>
                  <a:lnTo>
                    <a:pt x="9" y="29"/>
                  </a:lnTo>
                  <a:lnTo>
                    <a:pt x="12" y="30"/>
                  </a:lnTo>
                  <a:lnTo>
                    <a:pt x="15" y="31"/>
                  </a:lnTo>
                  <a:lnTo>
                    <a:pt x="135" y="31"/>
                  </a:lnTo>
                  <a:lnTo>
                    <a:pt x="138" y="30"/>
                  </a:lnTo>
                  <a:lnTo>
                    <a:pt x="141" y="29"/>
                  </a:lnTo>
                  <a:lnTo>
                    <a:pt x="144" y="28"/>
                  </a:lnTo>
                  <a:lnTo>
                    <a:pt x="146" y="26"/>
                  </a:lnTo>
                  <a:lnTo>
                    <a:pt x="148" y="24"/>
                  </a:lnTo>
                  <a:lnTo>
                    <a:pt x="149" y="22"/>
                  </a:lnTo>
                  <a:lnTo>
                    <a:pt x="150" y="19"/>
                  </a:lnTo>
                  <a:lnTo>
                    <a:pt x="150" y="16"/>
                  </a:lnTo>
                  <a:lnTo>
                    <a:pt x="150" y="13"/>
                  </a:lnTo>
                  <a:lnTo>
                    <a:pt x="149" y="10"/>
                  </a:lnTo>
                  <a:lnTo>
                    <a:pt x="148" y="8"/>
                  </a:lnTo>
                  <a:lnTo>
                    <a:pt x="146" y="6"/>
                  </a:lnTo>
                  <a:lnTo>
                    <a:pt x="144" y="4"/>
                  </a:lnTo>
                  <a:lnTo>
                    <a:pt x="141" y="2"/>
                  </a:lnTo>
                  <a:lnTo>
                    <a:pt x="138" y="1"/>
                  </a:lnTo>
                  <a:lnTo>
                    <a:pt x="13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" name="Freeform 222"/>
            <p:cNvSpPr>
              <a:spLocks/>
            </p:cNvSpPr>
            <p:nvPr/>
          </p:nvSpPr>
          <p:spPr bwMode="auto">
            <a:xfrm>
              <a:off x="8755063" y="2719388"/>
              <a:ext cx="28575" cy="9525"/>
            </a:xfrm>
            <a:custGeom>
              <a:avLst/>
              <a:gdLst>
                <a:gd name="T0" fmla="*/ 75 w 90"/>
                <a:gd name="T1" fmla="*/ 0 h 30"/>
                <a:gd name="T2" fmla="*/ 15 w 90"/>
                <a:gd name="T3" fmla="*/ 0 h 30"/>
                <a:gd name="T4" fmla="*/ 12 w 90"/>
                <a:gd name="T5" fmla="*/ 0 h 30"/>
                <a:gd name="T6" fmla="*/ 10 w 90"/>
                <a:gd name="T7" fmla="*/ 1 h 30"/>
                <a:gd name="T8" fmla="*/ 6 w 90"/>
                <a:gd name="T9" fmla="*/ 3 h 30"/>
                <a:gd name="T10" fmla="*/ 4 w 90"/>
                <a:gd name="T11" fmla="*/ 5 h 30"/>
                <a:gd name="T12" fmla="*/ 2 w 90"/>
                <a:gd name="T13" fmla="*/ 7 h 30"/>
                <a:gd name="T14" fmla="*/ 1 w 90"/>
                <a:gd name="T15" fmla="*/ 9 h 30"/>
                <a:gd name="T16" fmla="*/ 0 w 90"/>
                <a:gd name="T17" fmla="*/ 12 h 30"/>
                <a:gd name="T18" fmla="*/ 0 w 90"/>
                <a:gd name="T19" fmla="*/ 15 h 30"/>
                <a:gd name="T20" fmla="*/ 0 w 90"/>
                <a:gd name="T21" fmla="*/ 19 h 30"/>
                <a:gd name="T22" fmla="*/ 1 w 90"/>
                <a:gd name="T23" fmla="*/ 21 h 30"/>
                <a:gd name="T24" fmla="*/ 2 w 90"/>
                <a:gd name="T25" fmla="*/ 24 h 30"/>
                <a:gd name="T26" fmla="*/ 4 w 90"/>
                <a:gd name="T27" fmla="*/ 26 h 30"/>
                <a:gd name="T28" fmla="*/ 6 w 90"/>
                <a:gd name="T29" fmla="*/ 27 h 30"/>
                <a:gd name="T30" fmla="*/ 10 w 90"/>
                <a:gd name="T31" fmla="*/ 29 h 30"/>
                <a:gd name="T32" fmla="*/ 12 w 90"/>
                <a:gd name="T33" fmla="*/ 29 h 30"/>
                <a:gd name="T34" fmla="*/ 15 w 90"/>
                <a:gd name="T35" fmla="*/ 30 h 30"/>
                <a:gd name="T36" fmla="*/ 75 w 90"/>
                <a:gd name="T37" fmla="*/ 30 h 30"/>
                <a:gd name="T38" fmla="*/ 78 w 90"/>
                <a:gd name="T39" fmla="*/ 29 h 30"/>
                <a:gd name="T40" fmla="*/ 81 w 90"/>
                <a:gd name="T41" fmla="*/ 29 h 30"/>
                <a:gd name="T42" fmla="*/ 84 w 90"/>
                <a:gd name="T43" fmla="*/ 27 h 30"/>
                <a:gd name="T44" fmla="*/ 86 w 90"/>
                <a:gd name="T45" fmla="*/ 26 h 30"/>
                <a:gd name="T46" fmla="*/ 88 w 90"/>
                <a:gd name="T47" fmla="*/ 24 h 30"/>
                <a:gd name="T48" fmla="*/ 89 w 90"/>
                <a:gd name="T49" fmla="*/ 21 h 30"/>
                <a:gd name="T50" fmla="*/ 90 w 90"/>
                <a:gd name="T51" fmla="*/ 19 h 30"/>
                <a:gd name="T52" fmla="*/ 90 w 90"/>
                <a:gd name="T53" fmla="*/ 15 h 30"/>
                <a:gd name="T54" fmla="*/ 90 w 90"/>
                <a:gd name="T55" fmla="*/ 12 h 30"/>
                <a:gd name="T56" fmla="*/ 89 w 90"/>
                <a:gd name="T57" fmla="*/ 9 h 30"/>
                <a:gd name="T58" fmla="*/ 88 w 90"/>
                <a:gd name="T59" fmla="*/ 7 h 30"/>
                <a:gd name="T60" fmla="*/ 86 w 90"/>
                <a:gd name="T61" fmla="*/ 5 h 30"/>
                <a:gd name="T62" fmla="*/ 84 w 90"/>
                <a:gd name="T63" fmla="*/ 3 h 30"/>
                <a:gd name="T64" fmla="*/ 81 w 90"/>
                <a:gd name="T65" fmla="*/ 1 h 30"/>
                <a:gd name="T66" fmla="*/ 78 w 90"/>
                <a:gd name="T67" fmla="*/ 0 h 30"/>
                <a:gd name="T68" fmla="*/ 75 w 90"/>
                <a:gd name="T69" fmla="*/ 0 h 30"/>
                <a:gd name="T70" fmla="*/ 75 w 90"/>
                <a:gd name="T7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0" h="30">
                  <a:moveTo>
                    <a:pt x="75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6" y="3"/>
                  </a:lnTo>
                  <a:lnTo>
                    <a:pt x="4" y="5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9"/>
                  </a:lnTo>
                  <a:lnTo>
                    <a:pt x="1" y="21"/>
                  </a:lnTo>
                  <a:lnTo>
                    <a:pt x="2" y="24"/>
                  </a:lnTo>
                  <a:lnTo>
                    <a:pt x="4" y="26"/>
                  </a:lnTo>
                  <a:lnTo>
                    <a:pt x="6" y="27"/>
                  </a:lnTo>
                  <a:lnTo>
                    <a:pt x="10" y="29"/>
                  </a:lnTo>
                  <a:lnTo>
                    <a:pt x="12" y="29"/>
                  </a:lnTo>
                  <a:lnTo>
                    <a:pt x="15" y="30"/>
                  </a:lnTo>
                  <a:lnTo>
                    <a:pt x="75" y="30"/>
                  </a:lnTo>
                  <a:lnTo>
                    <a:pt x="78" y="29"/>
                  </a:lnTo>
                  <a:lnTo>
                    <a:pt x="81" y="29"/>
                  </a:lnTo>
                  <a:lnTo>
                    <a:pt x="84" y="27"/>
                  </a:lnTo>
                  <a:lnTo>
                    <a:pt x="86" y="26"/>
                  </a:lnTo>
                  <a:lnTo>
                    <a:pt x="88" y="24"/>
                  </a:lnTo>
                  <a:lnTo>
                    <a:pt x="89" y="21"/>
                  </a:lnTo>
                  <a:lnTo>
                    <a:pt x="90" y="19"/>
                  </a:lnTo>
                  <a:lnTo>
                    <a:pt x="90" y="15"/>
                  </a:lnTo>
                  <a:lnTo>
                    <a:pt x="90" y="12"/>
                  </a:lnTo>
                  <a:lnTo>
                    <a:pt x="89" y="9"/>
                  </a:lnTo>
                  <a:lnTo>
                    <a:pt x="88" y="7"/>
                  </a:lnTo>
                  <a:lnTo>
                    <a:pt x="86" y="5"/>
                  </a:lnTo>
                  <a:lnTo>
                    <a:pt x="84" y="3"/>
                  </a:lnTo>
                  <a:lnTo>
                    <a:pt x="81" y="1"/>
                  </a:lnTo>
                  <a:lnTo>
                    <a:pt x="78" y="0"/>
                  </a:lnTo>
                  <a:lnTo>
                    <a:pt x="75" y="0"/>
                  </a:lnTo>
                  <a:lnTo>
                    <a:pt x="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" name="Freeform 223"/>
            <p:cNvSpPr>
              <a:spLocks/>
            </p:cNvSpPr>
            <p:nvPr/>
          </p:nvSpPr>
          <p:spPr bwMode="auto">
            <a:xfrm>
              <a:off x="8764588" y="2738438"/>
              <a:ext cx="19050" cy="9525"/>
            </a:xfrm>
            <a:custGeom>
              <a:avLst/>
              <a:gdLst>
                <a:gd name="T0" fmla="*/ 45 w 60"/>
                <a:gd name="T1" fmla="*/ 0 h 30"/>
                <a:gd name="T2" fmla="*/ 15 w 60"/>
                <a:gd name="T3" fmla="*/ 0 h 30"/>
                <a:gd name="T4" fmla="*/ 12 w 60"/>
                <a:gd name="T5" fmla="*/ 0 h 30"/>
                <a:gd name="T6" fmla="*/ 10 w 60"/>
                <a:gd name="T7" fmla="*/ 1 h 30"/>
                <a:gd name="T8" fmla="*/ 6 w 60"/>
                <a:gd name="T9" fmla="*/ 3 h 30"/>
                <a:gd name="T10" fmla="*/ 4 w 60"/>
                <a:gd name="T11" fmla="*/ 5 h 30"/>
                <a:gd name="T12" fmla="*/ 2 w 60"/>
                <a:gd name="T13" fmla="*/ 7 h 30"/>
                <a:gd name="T14" fmla="*/ 1 w 60"/>
                <a:gd name="T15" fmla="*/ 9 h 30"/>
                <a:gd name="T16" fmla="*/ 0 w 60"/>
                <a:gd name="T17" fmla="*/ 12 h 30"/>
                <a:gd name="T18" fmla="*/ 0 w 60"/>
                <a:gd name="T19" fmla="*/ 15 h 30"/>
                <a:gd name="T20" fmla="*/ 0 w 60"/>
                <a:gd name="T21" fmla="*/ 19 h 30"/>
                <a:gd name="T22" fmla="*/ 1 w 60"/>
                <a:gd name="T23" fmla="*/ 21 h 30"/>
                <a:gd name="T24" fmla="*/ 2 w 60"/>
                <a:gd name="T25" fmla="*/ 24 h 30"/>
                <a:gd name="T26" fmla="*/ 4 w 60"/>
                <a:gd name="T27" fmla="*/ 26 h 30"/>
                <a:gd name="T28" fmla="*/ 6 w 60"/>
                <a:gd name="T29" fmla="*/ 27 h 30"/>
                <a:gd name="T30" fmla="*/ 10 w 60"/>
                <a:gd name="T31" fmla="*/ 29 h 30"/>
                <a:gd name="T32" fmla="*/ 12 w 60"/>
                <a:gd name="T33" fmla="*/ 30 h 30"/>
                <a:gd name="T34" fmla="*/ 15 w 60"/>
                <a:gd name="T35" fmla="*/ 30 h 30"/>
                <a:gd name="T36" fmla="*/ 45 w 60"/>
                <a:gd name="T37" fmla="*/ 30 h 30"/>
                <a:gd name="T38" fmla="*/ 48 w 60"/>
                <a:gd name="T39" fmla="*/ 30 h 30"/>
                <a:gd name="T40" fmla="*/ 51 w 60"/>
                <a:gd name="T41" fmla="*/ 29 h 30"/>
                <a:gd name="T42" fmla="*/ 54 w 60"/>
                <a:gd name="T43" fmla="*/ 27 h 30"/>
                <a:gd name="T44" fmla="*/ 56 w 60"/>
                <a:gd name="T45" fmla="*/ 26 h 30"/>
                <a:gd name="T46" fmla="*/ 58 w 60"/>
                <a:gd name="T47" fmla="*/ 24 h 30"/>
                <a:gd name="T48" fmla="*/ 59 w 60"/>
                <a:gd name="T49" fmla="*/ 21 h 30"/>
                <a:gd name="T50" fmla="*/ 60 w 60"/>
                <a:gd name="T51" fmla="*/ 19 h 30"/>
                <a:gd name="T52" fmla="*/ 60 w 60"/>
                <a:gd name="T53" fmla="*/ 15 h 30"/>
                <a:gd name="T54" fmla="*/ 60 w 60"/>
                <a:gd name="T55" fmla="*/ 12 h 30"/>
                <a:gd name="T56" fmla="*/ 59 w 60"/>
                <a:gd name="T57" fmla="*/ 9 h 30"/>
                <a:gd name="T58" fmla="*/ 58 w 60"/>
                <a:gd name="T59" fmla="*/ 7 h 30"/>
                <a:gd name="T60" fmla="*/ 56 w 60"/>
                <a:gd name="T61" fmla="*/ 5 h 30"/>
                <a:gd name="T62" fmla="*/ 54 w 60"/>
                <a:gd name="T63" fmla="*/ 3 h 30"/>
                <a:gd name="T64" fmla="*/ 51 w 60"/>
                <a:gd name="T65" fmla="*/ 1 h 30"/>
                <a:gd name="T66" fmla="*/ 48 w 60"/>
                <a:gd name="T67" fmla="*/ 0 h 30"/>
                <a:gd name="T68" fmla="*/ 45 w 60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" h="30">
                  <a:moveTo>
                    <a:pt x="45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6" y="3"/>
                  </a:lnTo>
                  <a:lnTo>
                    <a:pt x="4" y="5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9"/>
                  </a:lnTo>
                  <a:lnTo>
                    <a:pt x="1" y="21"/>
                  </a:lnTo>
                  <a:lnTo>
                    <a:pt x="2" y="24"/>
                  </a:lnTo>
                  <a:lnTo>
                    <a:pt x="4" y="26"/>
                  </a:lnTo>
                  <a:lnTo>
                    <a:pt x="6" y="27"/>
                  </a:lnTo>
                  <a:lnTo>
                    <a:pt x="10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45" y="30"/>
                  </a:lnTo>
                  <a:lnTo>
                    <a:pt x="48" y="30"/>
                  </a:lnTo>
                  <a:lnTo>
                    <a:pt x="51" y="29"/>
                  </a:lnTo>
                  <a:lnTo>
                    <a:pt x="54" y="27"/>
                  </a:lnTo>
                  <a:lnTo>
                    <a:pt x="56" y="26"/>
                  </a:lnTo>
                  <a:lnTo>
                    <a:pt x="58" y="24"/>
                  </a:lnTo>
                  <a:lnTo>
                    <a:pt x="59" y="21"/>
                  </a:lnTo>
                  <a:lnTo>
                    <a:pt x="60" y="19"/>
                  </a:lnTo>
                  <a:lnTo>
                    <a:pt x="60" y="15"/>
                  </a:lnTo>
                  <a:lnTo>
                    <a:pt x="60" y="12"/>
                  </a:lnTo>
                  <a:lnTo>
                    <a:pt x="59" y="9"/>
                  </a:lnTo>
                  <a:lnTo>
                    <a:pt x="58" y="7"/>
                  </a:lnTo>
                  <a:lnTo>
                    <a:pt x="56" y="5"/>
                  </a:lnTo>
                  <a:lnTo>
                    <a:pt x="54" y="3"/>
                  </a:lnTo>
                  <a:lnTo>
                    <a:pt x="51" y="1"/>
                  </a:lnTo>
                  <a:lnTo>
                    <a:pt x="48" y="0"/>
                  </a:lnTo>
                  <a:lnTo>
                    <a:pt x="4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" name="Freeform 224"/>
            <p:cNvSpPr>
              <a:spLocks noEditPoints="1"/>
            </p:cNvSpPr>
            <p:nvPr/>
          </p:nvSpPr>
          <p:spPr bwMode="auto">
            <a:xfrm>
              <a:off x="8740775" y="2536825"/>
              <a:ext cx="115888" cy="114300"/>
            </a:xfrm>
            <a:custGeom>
              <a:avLst/>
              <a:gdLst>
                <a:gd name="T0" fmla="*/ 211 w 361"/>
                <a:gd name="T1" fmla="*/ 34 h 361"/>
                <a:gd name="T2" fmla="*/ 252 w 361"/>
                <a:gd name="T3" fmla="*/ 49 h 361"/>
                <a:gd name="T4" fmla="*/ 286 w 361"/>
                <a:gd name="T5" fmla="*/ 75 h 361"/>
                <a:gd name="T6" fmla="*/ 313 w 361"/>
                <a:gd name="T7" fmla="*/ 110 h 361"/>
                <a:gd name="T8" fmla="*/ 328 w 361"/>
                <a:gd name="T9" fmla="*/ 151 h 361"/>
                <a:gd name="T10" fmla="*/ 330 w 361"/>
                <a:gd name="T11" fmla="*/ 196 h 361"/>
                <a:gd name="T12" fmla="*/ 319 w 361"/>
                <a:gd name="T13" fmla="*/ 239 h 361"/>
                <a:gd name="T14" fmla="*/ 297 w 361"/>
                <a:gd name="T15" fmla="*/ 277 h 361"/>
                <a:gd name="T16" fmla="*/ 265 w 361"/>
                <a:gd name="T17" fmla="*/ 306 h 361"/>
                <a:gd name="T18" fmla="*/ 225 w 361"/>
                <a:gd name="T19" fmla="*/ 325 h 361"/>
                <a:gd name="T20" fmla="*/ 180 w 361"/>
                <a:gd name="T21" fmla="*/ 331 h 361"/>
                <a:gd name="T22" fmla="*/ 136 w 361"/>
                <a:gd name="T23" fmla="*/ 325 h 361"/>
                <a:gd name="T24" fmla="*/ 96 w 361"/>
                <a:gd name="T25" fmla="*/ 306 h 361"/>
                <a:gd name="T26" fmla="*/ 64 w 361"/>
                <a:gd name="T27" fmla="*/ 277 h 361"/>
                <a:gd name="T28" fmla="*/ 42 w 361"/>
                <a:gd name="T29" fmla="*/ 239 h 361"/>
                <a:gd name="T30" fmla="*/ 31 w 361"/>
                <a:gd name="T31" fmla="*/ 196 h 361"/>
                <a:gd name="T32" fmla="*/ 33 w 361"/>
                <a:gd name="T33" fmla="*/ 151 h 361"/>
                <a:gd name="T34" fmla="*/ 48 w 361"/>
                <a:gd name="T35" fmla="*/ 110 h 361"/>
                <a:gd name="T36" fmla="*/ 74 w 361"/>
                <a:gd name="T37" fmla="*/ 75 h 361"/>
                <a:gd name="T38" fmla="*/ 108 w 361"/>
                <a:gd name="T39" fmla="*/ 49 h 361"/>
                <a:gd name="T40" fmla="*/ 150 w 361"/>
                <a:gd name="T41" fmla="*/ 34 h 361"/>
                <a:gd name="T42" fmla="*/ 180 w 361"/>
                <a:gd name="T43" fmla="*/ 30 h 361"/>
                <a:gd name="T44" fmla="*/ 216 w 361"/>
                <a:gd name="T45" fmla="*/ 358 h 361"/>
                <a:gd name="T46" fmla="*/ 267 w 361"/>
                <a:gd name="T47" fmla="*/ 340 h 361"/>
                <a:gd name="T48" fmla="*/ 307 w 361"/>
                <a:gd name="T49" fmla="*/ 309 h 361"/>
                <a:gd name="T50" fmla="*/ 339 w 361"/>
                <a:gd name="T51" fmla="*/ 267 h 361"/>
                <a:gd name="T52" fmla="*/ 357 w 361"/>
                <a:gd name="T53" fmla="*/ 218 h 361"/>
                <a:gd name="T54" fmla="*/ 360 w 361"/>
                <a:gd name="T55" fmla="*/ 163 h 361"/>
                <a:gd name="T56" fmla="*/ 346 w 361"/>
                <a:gd name="T57" fmla="*/ 111 h 361"/>
                <a:gd name="T58" fmla="*/ 319 w 361"/>
                <a:gd name="T59" fmla="*/ 67 h 361"/>
                <a:gd name="T60" fmla="*/ 281 w 361"/>
                <a:gd name="T61" fmla="*/ 31 h 361"/>
                <a:gd name="T62" fmla="*/ 234 w 361"/>
                <a:gd name="T63" fmla="*/ 9 h 361"/>
                <a:gd name="T64" fmla="*/ 180 w 361"/>
                <a:gd name="T65" fmla="*/ 0 h 361"/>
                <a:gd name="T66" fmla="*/ 126 w 361"/>
                <a:gd name="T67" fmla="*/ 9 h 361"/>
                <a:gd name="T68" fmla="*/ 79 w 361"/>
                <a:gd name="T69" fmla="*/ 31 h 361"/>
                <a:gd name="T70" fmla="*/ 41 w 361"/>
                <a:gd name="T71" fmla="*/ 67 h 361"/>
                <a:gd name="T72" fmla="*/ 14 w 361"/>
                <a:gd name="T73" fmla="*/ 111 h 361"/>
                <a:gd name="T74" fmla="*/ 1 w 361"/>
                <a:gd name="T75" fmla="*/ 163 h 361"/>
                <a:gd name="T76" fmla="*/ 3 w 361"/>
                <a:gd name="T77" fmla="*/ 218 h 361"/>
                <a:gd name="T78" fmla="*/ 21 w 361"/>
                <a:gd name="T79" fmla="*/ 267 h 361"/>
                <a:gd name="T80" fmla="*/ 53 w 361"/>
                <a:gd name="T81" fmla="*/ 309 h 361"/>
                <a:gd name="T82" fmla="*/ 94 w 361"/>
                <a:gd name="T83" fmla="*/ 340 h 361"/>
                <a:gd name="T84" fmla="*/ 144 w 361"/>
                <a:gd name="T85" fmla="*/ 358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61" h="361">
                  <a:moveTo>
                    <a:pt x="180" y="30"/>
                  </a:moveTo>
                  <a:lnTo>
                    <a:pt x="196" y="31"/>
                  </a:lnTo>
                  <a:lnTo>
                    <a:pt x="211" y="34"/>
                  </a:lnTo>
                  <a:lnTo>
                    <a:pt x="225" y="38"/>
                  </a:lnTo>
                  <a:lnTo>
                    <a:pt x="239" y="42"/>
                  </a:lnTo>
                  <a:lnTo>
                    <a:pt x="252" y="49"/>
                  </a:lnTo>
                  <a:lnTo>
                    <a:pt x="265" y="56"/>
                  </a:lnTo>
                  <a:lnTo>
                    <a:pt x="276" y="65"/>
                  </a:lnTo>
                  <a:lnTo>
                    <a:pt x="286" y="75"/>
                  </a:lnTo>
                  <a:lnTo>
                    <a:pt x="297" y="85"/>
                  </a:lnTo>
                  <a:lnTo>
                    <a:pt x="305" y="97"/>
                  </a:lnTo>
                  <a:lnTo>
                    <a:pt x="313" y="110"/>
                  </a:lnTo>
                  <a:lnTo>
                    <a:pt x="319" y="122"/>
                  </a:lnTo>
                  <a:lnTo>
                    <a:pt x="324" y="136"/>
                  </a:lnTo>
                  <a:lnTo>
                    <a:pt x="328" y="151"/>
                  </a:lnTo>
                  <a:lnTo>
                    <a:pt x="330" y="165"/>
                  </a:lnTo>
                  <a:lnTo>
                    <a:pt x="331" y="181"/>
                  </a:lnTo>
                  <a:lnTo>
                    <a:pt x="330" y="196"/>
                  </a:lnTo>
                  <a:lnTo>
                    <a:pt x="328" y="211"/>
                  </a:lnTo>
                  <a:lnTo>
                    <a:pt x="324" y="225"/>
                  </a:lnTo>
                  <a:lnTo>
                    <a:pt x="319" y="239"/>
                  </a:lnTo>
                  <a:lnTo>
                    <a:pt x="313" y="253"/>
                  </a:lnTo>
                  <a:lnTo>
                    <a:pt x="305" y="265"/>
                  </a:lnTo>
                  <a:lnTo>
                    <a:pt x="297" y="277"/>
                  </a:lnTo>
                  <a:lnTo>
                    <a:pt x="286" y="287"/>
                  </a:lnTo>
                  <a:lnTo>
                    <a:pt x="276" y="297"/>
                  </a:lnTo>
                  <a:lnTo>
                    <a:pt x="265" y="306"/>
                  </a:lnTo>
                  <a:lnTo>
                    <a:pt x="252" y="313"/>
                  </a:lnTo>
                  <a:lnTo>
                    <a:pt x="239" y="320"/>
                  </a:lnTo>
                  <a:lnTo>
                    <a:pt x="225" y="325"/>
                  </a:lnTo>
                  <a:lnTo>
                    <a:pt x="211" y="328"/>
                  </a:lnTo>
                  <a:lnTo>
                    <a:pt x="196" y="330"/>
                  </a:lnTo>
                  <a:lnTo>
                    <a:pt x="180" y="331"/>
                  </a:lnTo>
                  <a:lnTo>
                    <a:pt x="165" y="330"/>
                  </a:lnTo>
                  <a:lnTo>
                    <a:pt x="150" y="328"/>
                  </a:lnTo>
                  <a:lnTo>
                    <a:pt x="136" y="325"/>
                  </a:lnTo>
                  <a:lnTo>
                    <a:pt x="122" y="320"/>
                  </a:lnTo>
                  <a:lnTo>
                    <a:pt x="108" y="313"/>
                  </a:lnTo>
                  <a:lnTo>
                    <a:pt x="96" y="306"/>
                  </a:lnTo>
                  <a:lnTo>
                    <a:pt x="85" y="297"/>
                  </a:lnTo>
                  <a:lnTo>
                    <a:pt x="74" y="287"/>
                  </a:lnTo>
                  <a:lnTo>
                    <a:pt x="64" y="277"/>
                  </a:lnTo>
                  <a:lnTo>
                    <a:pt x="56" y="265"/>
                  </a:lnTo>
                  <a:lnTo>
                    <a:pt x="48" y="253"/>
                  </a:lnTo>
                  <a:lnTo>
                    <a:pt x="42" y="239"/>
                  </a:lnTo>
                  <a:lnTo>
                    <a:pt x="36" y="225"/>
                  </a:lnTo>
                  <a:lnTo>
                    <a:pt x="33" y="211"/>
                  </a:lnTo>
                  <a:lnTo>
                    <a:pt x="31" y="196"/>
                  </a:lnTo>
                  <a:lnTo>
                    <a:pt x="30" y="181"/>
                  </a:lnTo>
                  <a:lnTo>
                    <a:pt x="31" y="165"/>
                  </a:lnTo>
                  <a:lnTo>
                    <a:pt x="33" y="151"/>
                  </a:lnTo>
                  <a:lnTo>
                    <a:pt x="36" y="136"/>
                  </a:lnTo>
                  <a:lnTo>
                    <a:pt x="42" y="122"/>
                  </a:lnTo>
                  <a:lnTo>
                    <a:pt x="48" y="110"/>
                  </a:lnTo>
                  <a:lnTo>
                    <a:pt x="56" y="97"/>
                  </a:lnTo>
                  <a:lnTo>
                    <a:pt x="64" y="86"/>
                  </a:lnTo>
                  <a:lnTo>
                    <a:pt x="74" y="75"/>
                  </a:lnTo>
                  <a:lnTo>
                    <a:pt x="85" y="65"/>
                  </a:lnTo>
                  <a:lnTo>
                    <a:pt x="96" y="56"/>
                  </a:lnTo>
                  <a:lnTo>
                    <a:pt x="108" y="49"/>
                  </a:lnTo>
                  <a:lnTo>
                    <a:pt x="122" y="42"/>
                  </a:lnTo>
                  <a:lnTo>
                    <a:pt x="136" y="38"/>
                  </a:lnTo>
                  <a:lnTo>
                    <a:pt x="150" y="34"/>
                  </a:lnTo>
                  <a:lnTo>
                    <a:pt x="165" y="31"/>
                  </a:lnTo>
                  <a:lnTo>
                    <a:pt x="180" y="30"/>
                  </a:lnTo>
                  <a:lnTo>
                    <a:pt x="180" y="30"/>
                  </a:lnTo>
                  <a:close/>
                  <a:moveTo>
                    <a:pt x="180" y="361"/>
                  </a:moveTo>
                  <a:lnTo>
                    <a:pt x="199" y="360"/>
                  </a:lnTo>
                  <a:lnTo>
                    <a:pt x="216" y="358"/>
                  </a:lnTo>
                  <a:lnTo>
                    <a:pt x="234" y="354"/>
                  </a:lnTo>
                  <a:lnTo>
                    <a:pt x="251" y="347"/>
                  </a:lnTo>
                  <a:lnTo>
                    <a:pt x="267" y="340"/>
                  </a:lnTo>
                  <a:lnTo>
                    <a:pt x="281" y="330"/>
                  </a:lnTo>
                  <a:lnTo>
                    <a:pt x="295" y="321"/>
                  </a:lnTo>
                  <a:lnTo>
                    <a:pt x="307" y="309"/>
                  </a:lnTo>
                  <a:lnTo>
                    <a:pt x="319" y="296"/>
                  </a:lnTo>
                  <a:lnTo>
                    <a:pt x="330" y="282"/>
                  </a:lnTo>
                  <a:lnTo>
                    <a:pt x="339" y="267"/>
                  </a:lnTo>
                  <a:lnTo>
                    <a:pt x="346" y="251"/>
                  </a:lnTo>
                  <a:lnTo>
                    <a:pt x="352" y="235"/>
                  </a:lnTo>
                  <a:lnTo>
                    <a:pt x="357" y="218"/>
                  </a:lnTo>
                  <a:lnTo>
                    <a:pt x="360" y="200"/>
                  </a:lnTo>
                  <a:lnTo>
                    <a:pt x="361" y="181"/>
                  </a:lnTo>
                  <a:lnTo>
                    <a:pt x="360" y="163"/>
                  </a:lnTo>
                  <a:lnTo>
                    <a:pt x="357" y="145"/>
                  </a:lnTo>
                  <a:lnTo>
                    <a:pt x="352" y="128"/>
                  </a:lnTo>
                  <a:lnTo>
                    <a:pt x="346" y="111"/>
                  </a:lnTo>
                  <a:lnTo>
                    <a:pt x="339" y="96"/>
                  </a:lnTo>
                  <a:lnTo>
                    <a:pt x="330" y="81"/>
                  </a:lnTo>
                  <a:lnTo>
                    <a:pt x="319" y="67"/>
                  </a:lnTo>
                  <a:lnTo>
                    <a:pt x="307" y="54"/>
                  </a:lnTo>
                  <a:lnTo>
                    <a:pt x="295" y="42"/>
                  </a:lnTo>
                  <a:lnTo>
                    <a:pt x="281" y="31"/>
                  </a:lnTo>
                  <a:lnTo>
                    <a:pt x="267" y="23"/>
                  </a:lnTo>
                  <a:lnTo>
                    <a:pt x="251" y="15"/>
                  </a:lnTo>
                  <a:lnTo>
                    <a:pt x="234" y="9"/>
                  </a:lnTo>
                  <a:lnTo>
                    <a:pt x="216" y="5"/>
                  </a:lnTo>
                  <a:lnTo>
                    <a:pt x="199" y="1"/>
                  </a:lnTo>
                  <a:lnTo>
                    <a:pt x="180" y="0"/>
                  </a:lnTo>
                  <a:lnTo>
                    <a:pt x="162" y="1"/>
                  </a:lnTo>
                  <a:lnTo>
                    <a:pt x="144" y="5"/>
                  </a:lnTo>
                  <a:lnTo>
                    <a:pt x="126" y="9"/>
                  </a:lnTo>
                  <a:lnTo>
                    <a:pt x="110" y="15"/>
                  </a:lnTo>
                  <a:lnTo>
                    <a:pt x="94" y="23"/>
                  </a:lnTo>
                  <a:lnTo>
                    <a:pt x="79" y="31"/>
                  </a:lnTo>
                  <a:lnTo>
                    <a:pt x="65" y="42"/>
                  </a:lnTo>
                  <a:lnTo>
                    <a:pt x="53" y="54"/>
                  </a:lnTo>
                  <a:lnTo>
                    <a:pt x="41" y="67"/>
                  </a:lnTo>
                  <a:lnTo>
                    <a:pt x="31" y="81"/>
                  </a:lnTo>
                  <a:lnTo>
                    <a:pt x="21" y="96"/>
                  </a:lnTo>
                  <a:lnTo>
                    <a:pt x="14" y="111"/>
                  </a:lnTo>
                  <a:lnTo>
                    <a:pt x="8" y="128"/>
                  </a:lnTo>
                  <a:lnTo>
                    <a:pt x="3" y="145"/>
                  </a:lnTo>
                  <a:lnTo>
                    <a:pt x="1" y="163"/>
                  </a:lnTo>
                  <a:lnTo>
                    <a:pt x="0" y="181"/>
                  </a:lnTo>
                  <a:lnTo>
                    <a:pt x="1" y="200"/>
                  </a:lnTo>
                  <a:lnTo>
                    <a:pt x="3" y="218"/>
                  </a:lnTo>
                  <a:lnTo>
                    <a:pt x="8" y="235"/>
                  </a:lnTo>
                  <a:lnTo>
                    <a:pt x="14" y="251"/>
                  </a:lnTo>
                  <a:lnTo>
                    <a:pt x="21" y="267"/>
                  </a:lnTo>
                  <a:lnTo>
                    <a:pt x="31" y="282"/>
                  </a:lnTo>
                  <a:lnTo>
                    <a:pt x="41" y="296"/>
                  </a:lnTo>
                  <a:lnTo>
                    <a:pt x="53" y="309"/>
                  </a:lnTo>
                  <a:lnTo>
                    <a:pt x="65" y="321"/>
                  </a:lnTo>
                  <a:lnTo>
                    <a:pt x="79" y="330"/>
                  </a:lnTo>
                  <a:lnTo>
                    <a:pt x="94" y="340"/>
                  </a:lnTo>
                  <a:lnTo>
                    <a:pt x="110" y="347"/>
                  </a:lnTo>
                  <a:lnTo>
                    <a:pt x="126" y="354"/>
                  </a:lnTo>
                  <a:lnTo>
                    <a:pt x="144" y="358"/>
                  </a:lnTo>
                  <a:lnTo>
                    <a:pt x="162" y="360"/>
                  </a:lnTo>
                  <a:lnTo>
                    <a:pt x="180" y="3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74465037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Rectangle 102"/>
          <p:cNvSpPr/>
          <p:nvPr/>
        </p:nvSpPr>
        <p:spPr>
          <a:xfrm>
            <a:off x="12344400" y="0"/>
            <a:ext cx="469900" cy="469900"/>
          </a:xfrm>
          <a:prstGeom prst="rect">
            <a:avLst/>
          </a:pr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4" name="Rectangle 103"/>
          <p:cNvSpPr/>
          <p:nvPr/>
        </p:nvSpPr>
        <p:spPr>
          <a:xfrm>
            <a:off x="12344400" y="649557"/>
            <a:ext cx="469900" cy="469900"/>
          </a:xfrm>
          <a:prstGeom prst="rect">
            <a:avLst/>
          </a:prstGeom>
          <a:solidFill>
            <a:srgbClr val="AFAB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5" name="Rectangle 104"/>
          <p:cNvSpPr/>
          <p:nvPr/>
        </p:nvSpPr>
        <p:spPr>
          <a:xfrm>
            <a:off x="12344400" y="1299114"/>
            <a:ext cx="469900" cy="469900"/>
          </a:xfrm>
          <a:prstGeom prst="rect">
            <a:avLst/>
          </a:prstGeom>
          <a:solidFill>
            <a:srgbClr val="7671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7" name="Rectangle 106"/>
          <p:cNvSpPr/>
          <p:nvPr/>
        </p:nvSpPr>
        <p:spPr>
          <a:xfrm>
            <a:off x="12966699" y="0"/>
            <a:ext cx="469900" cy="469900"/>
          </a:xfrm>
          <a:prstGeom prst="rect">
            <a:avLst/>
          </a:prstGeom>
          <a:solidFill>
            <a:srgbClr val="E878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8" name="Rectangle 107"/>
          <p:cNvSpPr/>
          <p:nvPr/>
        </p:nvSpPr>
        <p:spPr>
          <a:xfrm>
            <a:off x="12966699" y="649557"/>
            <a:ext cx="469900" cy="469900"/>
          </a:xfrm>
          <a:prstGeom prst="rect">
            <a:avLst/>
          </a:prstGeom>
          <a:solidFill>
            <a:srgbClr val="E258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9" name="Rectangle 108"/>
          <p:cNvSpPr/>
          <p:nvPr/>
        </p:nvSpPr>
        <p:spPr>
          <a:xfrm>
            <a:off x="12966699" y="1299114"/>
            <a:ext cx="469900" cy="469900"/>
          </a:xfrm>
          <a:prstGeom prst="rect">
            <a:avLst/>
          </a:prstGeom>
          <a:solidFill>
            <a:srgbClr val="D63E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0" name="Rectangle 109"/>
          <p:cNvSpPr/>
          <p:nvPr/>
        </p:nvSpPr>
        <p:spPr>
          <a:xfrm>
            <a:off x="13588998" y="0"/>
            <a:ext cx="469900" cy="469900"/>
          </a:xfrm>
          <a:prstGeom prst="rect">
            <a:avLst/>
          </a:prstGeom>
          <a:solidFill>
            <a:srgbClr val="8EDC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1" name="Rectangle 110"/>
          <p:cNvSpPr/>
          <p:nvPr/>
        </p:nvSpPr>
        <p:spPr>
          <a:xfrm>
            <a:off x="13588998" y="649557"/>
            <a:ext cx="469900" cy="469900"/>
          </a:xfrm>
          <a:prstGeom prst="rect">
            <a:avLst/>
          </a:prstGeom>
          <a:solidFill>
            <a:srgbClr val="78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2" name="Rectangle 111"/>
          <p:cNvSpPr/>
          <p:nvPr/>
        </p:nvSpPr>
        <p:spPr>
          <a:xfrm>
            <a:off x="13588998" y="1299114"/>
            <a:ext cx="469900" cy="469900"/>
          </a:xfrm>
          <a:prstGeom prst="rect">
            <a:avLst/>
          </a:prstGeom>
          <a:solidFill>
            <a:srgbClr val="4CC7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3" name="Rectangle 112"/>
          <p:cNvSpPr/>
          <p:nvPr/>
        </p:nvSpPr>
        <p:spPr>
          <a:xfrm>
            <a:off x="14211297" y="0"/>
            <a:ext cx="469900" cy="469900"/>
          </a:xfrm>
          <a:prstGeom prst="rect">
            <a:avLst/>
          </a:prstGeom>
          <a:solidFill>
            <a:srgbClr val="5553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4" name="Rectangle 113"/>
          <p:cNvSpPr/>
          <p:nvPr/>
        </p:nvSpPr>
        <p:spPr>
          <a:xfrm>
            <a:off x="14211297" y="649557"/>
            <a:ext cx="469900" cy="469900"/>
          </a:xfrm>
          <a:prstGeom prst="rect">
            <a:avLst/>
          </a:prstGeom>
          <a:solidFill>
            <a:srgbClr val="3B39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5" name="Rectangle 114"/>
          <p:cNvSpPr/>
          <p:nvPr/>
        </p:nvSpPr>
        <p:spPr>
          <a:xfrm>
            <a:off x="14211297" y="1299114"/>
            <a:ext cx="469900" cy="469900"/>
          </a:xfrm>
          <a:prstGeom prst="rect">
            <a:avLst/>
          </a:prstGeom>
          <a:solidFill>
            <a:srgbClr val="2523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0" name="Text Placeholder 119"/>
          <p:cNvSpPr>
            <a:spLocks noGrp="1"/>
          </p:cNvSpPr>
          <p:nvPr>
            <p:ph type="body" sz="quarter" idx="13"/>
          </p:nvPr>
        </p:nvSpPr>
        <p:spPr>
          <a:xfrm>
            <a:off x="3107788" y="360971"/>
            <a:ext cx="5976424" cy="535531"/>
          </a:xfrm>
        </p:spPr>
        <p:txBody>
          <a:bodyPr/>
          <a:lstStyle/>
          <a:p>
            <a:r>
              <a:rPr lang="en-US" sz="3200" dirty="0"/>
              <a:t>PowerPoint Presentation</a:t>
            </a:r>
          </a:p>
        </p:txBody>
      </p:sp>
      <p:sp>
        <p:nvSpPr>
          <p:cNvPr id="116" name="Date Placeholder 11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E1B330-CB56-448E-9C70-830A2B9C05C8}" type="datetime1">
              <a:rPr lang="en-US" smtClean="0"/>
              <a:t>11/15/2018</a:t>
            </a:fld>
            <a:endParaRPr lang="en-US"/>
          </a:p>
        </p:txBody>
      </p:sp>
      <p:sp>
        <p:nvSpPr>
          <p:cNvPr id="117" name="Slide Number Placeholder 1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06E70-9524-410D-AE9B-78D656EAA14D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>
          <a:xfrm>
            <a:off x="1857375" y="1014880"/>
            <a:ext cx="8380505" cy="400110"/>
          </a:xfrm>
        </p:spPr>
        <p:txBody>
          <a:bodyPr/>
          <a:lstStyle/>
          <a:p>
            <a:r>
              <a:rPr lang="en-US" dirty="0"/>
              <a:t>Lorem Ipsum is simply dummy text of the printing and typesetting industry. Lorem Ipsum has been the industry's standard dummy text ever since the 1500s, when an unknown printer took a galley of type and scrambled it to make a type specimen book. 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1980992" y="1610058"/>
            <a:ext cx="8230017" cy="4551224"/>
            <a:chOff x="449630" y="1232169"/>
            <a:chExt cx="8230017" cy="4551224"/>
          </a:xfrm>
        </p:grpSpPr>
        <p:grpSp>
          <p:nvGrpSpPr>
            <p:cNvPr id="118" name="Group 117"/>
            <p:cNvGrpSpPr/>
            <p:nvPr/>
          </p:nvGrpSpPr>
          <p:grpSpPr>
            <a:xfrm>
              <a:off x="2260934" y="1232169"/>
              <a:ext cx="2076776" cy="492108"/>
              <a:chOff x="2260934" y="1232169"/>
              <a:chExt cx="2076776" cy="492108"/>
            </a:xfrm>
          </p:grpSpPr>
          <p:sp>
            <p:nvSpPr>
              <p:cNvPr id="119" name="Rectangle 118"/>
              <p:cNvSpPr/>
              <p:nvPr/>
            </p:nvSpPr>
            <p:spPr>
              <a:xfrm>
                <a:off x="2260934" y="1232169"/>
                <a:ext cx="2076776" cy="492108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22" name="TextBox 121"/>
              <p:cNvSpPr txBox="1"/>
              <p:nvPr/>
            </p:nvSpPr>
            <p:spPr>
              <a:xfrm>
                <a:off x="2920084" y="1293443"/>
                <a:ext cx="758472" cy="184666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ea typeface="+mn-ea"/>
                    <a:cs typeface="+mn-cs"/>
                  </a:rPr>
                  <a:t>MONTH 1</a:t>
                </a:r>
              </a:p>
            </p:txBody>
          </p:sp>
          <p:grpSp>
            <p:nvGrpSpPr>
              <p:cNvPr id="123" name="Group 122"/>
              <p:cNvGrpSpPr/>
              <p:nvPr/>
            </p:nvGrpSpPr>
            <p:grpSpPr>
              <a:xfrm>
                <a:off x="2307570" y="1509115"/>
                <a:ext cx="1983504" cy="153888"/>
                <a:chOff x="2314713" y="1509115"/>
                <a:chExt cx="1983504" cy="153888"/>
              </a:xfrm>
            </p:grpSpPr>
            <p:sp>
              <p:nvSpPr>
                <p:cNvPr id="124" name="TextBox 123"/>
                <p:cNvSpPr txBox="1"/>
                <p:nvPr/>
              </p:nvSpPr>
              <p:spPr>
                <a:xfrm>
                  <a:off x="2314713" y="1509115"/>
                  <a:ext cx="441962" cy="153888"/>
                </a:xfrm>
                <a:prstGeom prst="rect">
                  <a:avLst/>
                </a:prstGeom>
                <a:noFill/>
                <a:ln w="6350">
                  <a:noFill/>
                  <a:prstDash val="dash"/>
                </a:ln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0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ea typeface="+mn-ea"/>
                      <a:cs typeface="+mn-cs"/>
                    </a:rPr>
                    <a:t>Week 1</a:t>
                  </a:r>
                </a:p>
              </p:txBody>
            </p:sp>
            <p:sp>
              <p:nvSpPr>
                <p:cNvPr id="125" name="TextBox 124"/>
                <p:cNvSpPr txBox="1"/>
                <p:nvPr/>
              </p:nvSpPr>
              <p:spPr>
                <a:xfrm>
                  <a:off x="2828561" y="1509115"/>
                  <a:ext cx="441962" cy="153888"/>
                </a:xfrm>
                <a:prstGeom prst="rect">
                  <a:avLst/>
                </a:prstGeom>
                <a:noFill/>
                <a:ln w="6350">
                  <a:noFill/>
                  <a:prstDash val="dash"/>
                </a:ln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0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ea typeface="+mn-ea"/>
                      <a:cs typeface="+mn-cs"/>
                    </a:rPr>
                    <a:t>Week 2</a:t>
                  </a:r>
                </a:p>
              </p:txBody>
            </p:sp>
            <p:sp>
              <p:nvSpPr>
                <p:cNvPr id="126" name="TextBox 125"/>
                <p:cNvSpPr txBox="1"/>
                <p:nvPr/>
              </p:nvSpPr>
              <p:spPr>
                <a:xfrm>
                  <a:off x="3342409" y="1509115"/>
                  <a:ext cx="441962" cy="153888"/>
                </a:xfrm>
                <a:prstGeom prst="rect">
                  <a:avLst/>
                </a:prstGeom>
                <a:noFill/>
                <a:ln w="6350">
                  <a:noFill/>
                  <a:prstDash val="dash"/>
                </a:ln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0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ea typeface="+mn-ea"/>
                      <a:cs typeface="+mn-cs"/>
                    </a:rPr>
                    <a:t>Week 3</a:t>
                  </a:r>
                </a:p>
              </p:txBody>
            </p:sp>
            <p:sp>
              <p:nvSpPr>
                <p:cNvPr id="127" name="TextBox 126"/>
                <p:cNvSpPr txBox="1"/>
                <p:nvPr/>
              </p:nvSpPr>
              <p:spPr>
                <a:xfrm>
                  <a:off x="3856255" y="1509115"/>
                  <a:ext cx="441962" cy="153888"/>
                </a:xfrm>
                <a:prstGeom prst="rect">
                  <a:avLst/>
                </a:prstGeom>
                <a:noFill/>
                <a:ln w="6350">
                  <a:noFill/>
                  <a:prstDash val="dash"/>
                </a:ln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0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ea typeface="+mn-ea"/>
                      <a:cs typeface="+mn-cs"/>
                    </a:rPr>
                    <a:t>Week 4</a:t>
                  </a:r>
                </a:p>
              </p:txBody>
            </p:sp>
            <p:cxnSp>
              <p:nvCxnSpPr>
                <p:cNvPr id="128" name="Straight Connector 127"/>
                <p:cNvCxnSpPr/>
                <p:nvPr/>
              </p:nvCxnSpPr>
              <p:spPr>
                <a:xfrm>
                  <a:off x="2792618" y="1522469"/>
                  <a:ext cx="0" cy="127180"/>
                </a:xfrm>
                <a:prstGeom prst="line">
                  <a:avLst/>
                </a:prstGeom>
                <a:ln w="635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9" name="Straight Connector 128"/>
                <p:cNvCxnSpPr/>
                <p:nvPr/>
              </p:nvCxnSpPr>
              <p:spPr>
                <a:xfrm>
                  <a:off x="3306466" y="1522469"/>
                  <a:ext cx="0" cy="127180"/>
                </a:xfrm>
                <a:prstGeom prst="line">
                  <a:avLst/>
                </a:prstGeom>
                <a:ln w="635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0" name="Straight Connector 129"/>
                <p:cNvCxnSpPr/>
                <p:nvPr/>
              </p:nvCxnSpPr>
              <p:spPr>
                <a:xfrm>
                  <a:off x="3820314" y="1522469"/>
                  <a:ext cx="0" cy="127180"/>
                </a:xfrm>
                <a:prstGeom prst="line">
                  <a:avLst/>
                </a:prstGeom>
                <a:ln w="635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131" name="Group 130"/>
            <p:cNvGrpSpPr/>
            <p:nvPr/>
          </p:nvGrpSpPr>
          <p:grpSpPr>
            <a:xfrm>
              <a:off x="449630" y="1929456"/>
              <a:ext cx="4360694" cy="693106"/>
              <a:chOff x="428696" y="949325"/>
              <a:chExt cx="4360694" cy="693106"/>
            </a:xfrm>
          </p:grpSpPr>
          <p:sp>
            <p:nvSpPr>
              <p:cNvPr id="132" name="Rectangle 131"/>
              <p:cNvSpPr/>
              <p:nvPr/>
            </p:nvSpPr>
            <p:spPr>
              <a:xfrm>
                <a:off x="428696" y="949325"/>
                <a:ext cx="1811303" cy="693106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grpSp>
            <p:nvGrpSpPr>
              <p:cNvPr id="133" name="Group 132"/>
              <p:cNvGrpSpPr/>
              <p:nvPr/>
            </p:nvGrpSpPr>
            <p:grpSpPr>
              <a:xfrm>
                <a:off x="2317589" y="949325"/>
                <a:ext cx="2471801" cy="596240"/>
                <a:chOff x="2108577" y="948956"/>
                <a:chExt cx="2471801" cy="596240"/>
              </a:xfrm>
            </p:grpSpPr>
            <p:sp>
              <p:nvSpPr>
                <p:cNvPr id="183" name="Line 6"/>
                <p:cNvSpPr>
                  <a:spLocks noChangeShapeType="1"/>
                </p:cNvSpPr>
                <p:nvPr/>
              </p:nvSpPr>
              <p:spPr bwMode="auto">
                <a:xfrm>
                  <a:off x="2591472" y="1300216"/>
                  <a:ext cx="1988906" cy="0"/>
                </a:xfrm>
                <a:prstGeom prst="line">
                  <a:avLst/>
                </a:prstGeom>
                <a:noFill/>
                <a:ln w="19050" cap="rnd">
                  <a:solidFill>
                    <a:srgbClr val="E2583D"/>
                  </a:solidFill>
                  <a:prstDash val="solid"/>
                  <a:round/>
                  <a:headEnd/>
                  <a:tailEnd type="oval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grpSp>
              <p:nvGrpSpPr>
                <p:cNvPr id="184" name="Group 183"/>
                <p:cNvGrpSpPr/>
                <p:nvPr/>
              </p:nvGrpSpPr>
              <p:grpSpPr>
                <a:xfrm>
                  <a:off x="2108577" y="1053427"/>
                  <a:ext cx="491769" cy="491769"/>
                  <a:chOff x="2152274" y="1053427"/>
                  <a:chExt cx="491769" cy="491769"/>
                </a:xfrm>
              </p:grpSpPr>
              <p:sp>
                <p:nvSpPr>
                  <p:cNvPr id="188" name="Oval 187"/>
                  <p:cNvSpPr>
                    <a:spLocks noChangeAspect="1"/>
                  </p:cNvSpPr>
                  <p:nvPr/>
                </p:nvSpPr>
                <p:spPr>
                  <a:xfrm>
                    <a:off x="2152274" y="1053427"/>
                    <a:ext cx="491769" cy="491769"/>
                  </a:xfrm>
                  <a:prstGeom prst="ellipse">
                    <a:avLst/>
                  </a:prstGeom>
                  <a:solidFill>
                    <a:srgbClr val="E2583D"/>
                  </a:solidFill>
                  <a:ln>
                    <a:noFill/>
                  </a:ln>
                  <a:effectLst>
                    <a:outerShdw blurRad="25400" dist="25400" dir="5400000" algn="t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endParaRPr>
                  </a:p>
                </p:txBody>
              </p:sp>
              <p:grpSp>
                <p:nvGrpSpPr>
                  <p:cNvPr id="189" name="Group 188"/>
                  <p:cNvGrpSpPr>
                    <a:grpSpLocks noChangeAspect="1"/>
                  </p:cNvGrpSpPr>
                  <p:nvPr/>
                </p:nvGrpSpPr>
                <p:grpSpPr>
                  <a:xfrm>
                    <a:off x="2272005" y="1155311"/>
                    <a:ext cx="252307" cy="288000"/>
                    <a:chOff x="2947988" y="5462588"/>
                    <a:chExt cx="325437" cy="371476"/>
                  </a:xfrm>
                  <a:solidFill>
                    <a:schemeClr val="bg1"/>
                  </a:solidFill>
                </p:grpSpPr>
                <p:sp>
                  <p:nvSpPr>
                    <p:cNvPr id="190" name="Freeform 5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2994025" y="5508626"/>
                      <a:ext cx="231775" cy="233363"/>
                    </a:xfrm>
                    <a:custGeom>
                      <a:avLst/>
                      <a:gdLst>
                        <a:gd name="T0" fmla="*/ 30 w 60"/>
                        <a:gd name="T1" fmla="*/ 60 h 60"/>
                        <a:gd name="T2" fmla="*/ 0 w 60"/>
                        <a:gd name="T3" fmla="*/ 30 h 60"/>
                        <a:gd name="T4" fmla="*/ 30 w 60"/>
                        <a:gd name="T5" fmla="*/ 0 h 60"/>
                        <a:gd name="T6" fmla="*/ 60 w 60"/>
                        <a:gd name="T7" fmla="*/ 30 h 60"/>
                        <a:gd name="T8" fmla="*/ 30 w 60"/>
                        <a:gd name="T9" fmla="*/ 60 h 60"/>
                        <a:gd name="T10" fmla="*/ 30 w 60"/>
                        <a:gd name="T11" fmla="*/ 4 h 60"/>
                        <a:gd name="T12" fmla="*/ 4 w 60"/>
                        <a:gd name="T13" fmla="*/ 30 h 60"/>
                        <a:gd name="T14" fmla="*/ 30 w 60"/>
                        <a:gd name="T15" fmla="*/ 56 h 60"/>
                        <a:gd name="T16" fmla="*/ 56 w 60"/>
                        <a:gd name="T17" fmla="*/ 30 h 60"/>
                        <a:gd name="T18" fmla="*/ 30 w 60"/>
                        <a:gd name="T19" fmla="*/ 4 h 6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60" h="60">
                          <a:moveTo>
                            <a:pt x="30" y="60"/>
                          </a:moveTo>
                          <a:cubicBezTo>
                            <a:pt x="13" y="60"/>
                            <a:pt x="0" y="47"/>
                            <a:pt x="0" y="30"/>
                          </a:cubicBezTo>
                          <a:cubicBezTo>
                            <a:pt x="0" y="13"/>
                            <a:pt x="13" y="0"/>
                            <a:pt x="30" y="0"/>
                          </a:cubicBezTo>
                          <a:cubicBezTo>
                            <a:pt x="47" y="0"/>
                            <a:pt x="60" y="13"/>
                            <a:pt x="60" y="30"/>
                          </a:cubicBezTo>
                          <a:cubicBezTo>
                            <a:pt x="60" y="47"/>
                            <a:pt x="47" y="60"/>
                            <a:pt x="30" y="60"/>
                          </a:cubicBezTo>
                          <a:close/>
                          <a:moveTo>
                            <a:pt x="30" y="4"/>
                          </a:moveTo>
                          <a:cubicBezTo>
                            <a:pt x="16" y="4"/>
                            <a:pt x="4" y="16"/>
                            <a:pt x="4" y="30"/>
                          </a:cubicBezTo>
                          <a:cubicBezTo>
                            <a:pt x="4" y="44"/>
                            <a:pt x="16" y="56"/>
                            <a:pt x="30" y="56"/>
                          </a:cubicBezTo>
                          <a:cubicBezTo>
                            <a:pt x="44" y="56"/>
                            <a:pt x="56" y="44"/>
                            <a:pt x="56" y="30"/>
                          </a:cubicBezTo>
                          <a:cubicBezTo>
                            <a:pt x="56" y="16"/>
                            <a:pt x="44" y="4"/>
                            <a:pt x="30" y="4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1" name="Freeform 6"/>
                    <p:cNvSpPr>
                      <a:spLocks/>
                    </p:cNvSpPr>
                    <p:nvPr/>
                  </p:nvSpPr>
                  <p:spPr bwMode="auto">
                    <a:xfrm>
                      <a:off x="3055938" y="5726113"/>
                      <a:ext cx="107950" cy="46038"/>
                    </a:xfrm>
                    <a:custGeom>
                      <a:avLst/>
                      <a:gdLst>
                        <a:gd name="T0" fmla="*/ 26 w 28"/>
                        <a:gd name="T1" fmla="*/ 12 h 12"/>
                        <a:gd name="T2" fmla="*/ 2 w 28"/>
                        <a:gd name="T3" fmla="*/ 12 h 12"/>
                        <a:gd name="T4" fmla="*/ 0 w 28"/>
                        <a:gd name="T5" fmla="*/ 10 h 12"/>
                        <a:gd name="T6" fmla="*/ 0 w 28"/>
                        <a:gd name="T7" fmla="*/ 0 h 12"/>
                        <a:gd name="T8" fmla="*/ 4 w 28"/>
                        <a:gd name="T9" fmla="*/ 0 h 12"/>
                        <a:gd name="T10" fmla="*/ 4 w 28"/>
                        <a:gd name="T11" fmla="*/ 8 h 12"/>
                        <a:gd name="T12" fmla="*/ 24 w 28"/>
                        <a:gd name="T13" fmla="*/ 8 h 12"/>
                        <a:gd name="T14" fmla="*/ 24 w 28"/>
                        <a:gd name="T15" fmla="*/ 0 h 12"/>
                        <a:gd name="T16" fmla="*/ 28 w 28"/>
                        <a:gd name="T17" fmla="*/ 0 h 12"/>
                        <a:gd name="T18" fmla="*/ 28 w 28"/>
                        <a:gd name="T19" fmla="*/ 10 h 12"/>
                        <a:gd name="T20" fmla="*/ 26 w 28"/>
                        <a:gd name="T21" fmla="*/ 12 h 1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28" h="12">
                          <a:moveTo>
                            <a:pt x="26" y="12"/>
                          </a:moveTo>
                          <a:cubicBezTo>
                            <a:pt x="2" y="12"/>
                            <a:pt x="2" y="12"/>
                            <a:pt x="2" y="12"/>
                          </a:cubicBezTo>
                          <a:cubicBezTo>
                            <a:pt x="1" y="12"/>
                            <a:pt x="0" y="11"/>
                            <a:pt x="0" y="10"/>
                          </a:cubicBezTo>
                          <a:cubicBezTo>
                            <a:pt x="0" y="0"/>
                            <a:pt x="0" y="0"/>
                            <a:pt x="0" y="0"/>
                          </a:cubicBezTo>
                          <a:cubicBezTo>
                            <a:pt x="4" y="0"/>
                            <a:pt x="4" y="0"/>
                            <a:pt x="4" y="0"/>
                          </a:cubicBezTo>
                          <a:cubicBezTo>
                            <a:pt x="4" y="8"/>
                            <a:pt x="4" y="8"/>
                            <a:pt x="4" y="8"/>
                          </a:cubicBezTo>
                          <a:cubicBezTo>
                            <a:pt x="24" y="8"/>
                            <a:pt x="24" y="8"/>
                            <a:pt x="24" y="8"/>
                          </a:cubicBezTo>
                          <a:cubicBezTo>
                            <a:pt x="24" y="0"/>
                            <a:pt x="24" y="0"/>
                            <a:pt x="24" y="0"/>
                          </a:cubicBezTo>
                          <a:cubicBezTo>
                            <a:pt x="28" y="0"/>
                            <a:pt x="28" y="0"/>
                            <a:pt x="28" y="0"/>
                          </a:cubicBezTo>
                          <a:cubicBezTo>
                            <a:pt x="28" y="10"/>
                            <a:pt x="28" y="10"/>
                            <a:pt x="28" y="10"/>
                          </a:cubicBezTo>
                          <a:cubicBezTo>
                            <a:pt x="28" y="11"/>
                            <a:pt x="27" y="12"/>
                            <a:pt x="26" y="12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2" name="Freeform 7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3071813" y="5756276"/>
                      <a:ext cx="76200" cy="47625"/>
                    </a:xfrm>
                    <a:custGeom>
                      <a:avLst/>
                      <a:gdLst>
                        <a:gd name="T0" fmla="*/ 18 w 20"/>
                        <a:gd name="T1" fmla="*/ 12 h 12"/>
                        <a:gd name="T2" fmla="*/ 2 w 20"/>
                        <a:gd name="T3" fmla="*/ 12 h 12"/>
                        <a:gd name="T4" fmla="*/ 0 w 20"/>
                        <a:gd name="T5" fmla="*/ 10 h 12"/>
                        <a:gd name="T6" fmla="*/ 0 w 20"/>
                        <a:gd name="T7" fmla="*/ 2 h 12"/>
                        <a:gd name="T8" fmla="*/ 2 w 20"/>
                        <a:gd name="T9" fmla="*/ 0 h 12"/>
                        <a:gd name="T10" fmla="*/ 18 w 20"/>
                        <a:gd name="T11" fmla="*/ 0 h 12"/>
                        <a:gd name="T12" fmla="*/ 20 w 20"/>
                        <a:gd name="T13" fmla="*/ 2 h 12"/>
                        <a:gd name="T14" fmla="*/ 20 w 20"/>
                        <a:gd name="T15" fmla="*/ 10 h 12"/>
                        <a:gd name="T16" fmla="*/ 18 w 20"/>
                        <a:gd name="T17" fmla="*/ 12 h 12"/>
                        <a:gd name="T18" fmla="*/ 4 w 20"/>
                        <a:gd name="T19" fmla="*/ 8 h 12"/>
                        <a:gd name="T20" fmla="*/ 16 w 20"/>
                        <a:gd name="T21" fmla="*/ 8 h 12"/>
                        <a:gd name="T22" fmla="*/ 16 w 20"/>
                        <a:gd name="T23" fmla="*/ 4 h 12"/>
                        <a:gd name="T24" fmla="*/ 4 w 20"/>
                        <a:gd name="T25" fmla="*/ 4 h 12"/>
                        <a:gd name="T26" fmla="*/ 4 w 20"/>
                        <a:gd name="T27" fmla="*/ 8 h 1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20" h="12">
                          <a:moveTo>
                            <a:pt x="18" y="12"/>
                          </a:moveTo>
                          <a:cubicBezTo>
                            <a:pt x="2" y="12"/>
                            <a:pt x="2" y="12"/>
                            <a:pt x="2" y="12"/>
                          </a:cubicBezTo>
                          <a:cubicBezTo>
                            <a:pt x="1" y="12"/>
                            <a:pt x="0" y="11"/>
                            <a:pt x="0" y="10"/>
                          </a:cubicBezTo>
                          <a:cubicBezTo>
                            <a:pt x="0" y="2"/>
                            <a:pt x="0" y="2"/>
                            <a:pt x="0" y="2"/>
                          </a:cubicBezTo>
                          <a:cubicBezTo>
                            <a:pt x="0" y="1"/>
                            <a:pt x="1" y="0"/>
                            <a:pt x="2" y="0"/>
                          </a:cubicBezTo>
                          <a:cubicBezTo>
                            <a:pt x="18" y="0"/>
                            <a:pt x="18" y="0"/>
                            <a:pt x="18" y="0"/>
                          </a:cubicBezTo>
                          <a:cubicBezTo>
                            <a:pt x="19" y="0"/>
                            <a:pt x="20" y="1"/>
                            <a:pt x="20" y="2"/>
                          </a:cubicBezTo>
                          <a:cubicBezTo>
                            <a:pt x="20" y="10"/>
                            <a:pt x="20" y="10"/>
                            <a:pt x="20" y="10"/>
                          </a:cubicBezTo>
                          <a:cubicBezTo>
                            <a:pt x="20" y="11"/>
                            <a:pt x="19" y="12"/>
                            <a:pt x="18" y="12"/>
                          </a:cubicBezTo>
                          <a:close/>
                          <a:moveTo>
                            <a:pt x="4" y="8"/>
                          </a:moveTo>
                          <a:cubicBezTo>
                            <a:pt x="16" y="8"/>
                            <a:pt x="16" y="8"/>
                            <a:pt x="16" y="8"/>
                          </a:cubicBezTo>
                          <a:cubicBezTo>
                            <a:pt x="16" y="4"/>
                            <a:pt x="16" y="4"/>
                            <a:pt x="16" y="4"/>
                          </a:cubicBezTo>
                          <a:cubicBezTo>
                            <a:pt x="4" y="4"/>
                            <a:pt x="4" y="4"/>
                            <a:pt x="4" y="4"/>
                          </a:cubicBezTo>
                          <a:lnTo>
                            <a:pt x="4" y="8"/>
                          </a:ln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3" name="Freeform 8"/>
                    <p:cNvSpPr>
                      <a:spLocks/>
                    </p:cNvSpPr>
                    <p:nvPr/>
                  </p:nvSpPr>
                  <p:spPr bwMode="auto">
                    <a:xfrm>
                      <a:off x="3101975" y="5788026"/>
                      <a:ext cx="15875" cy="46038"/>
                    </a:xfrm>
                    <a:custGeom>
                      <a:avLst/>
                      <a:gdLst>
                        <a:gd name="T0" fmla="*/ 2 w 4"/>
                        <a:gd name="T1" fmla="*/ 12 h 12"/>
                        <a:gd name="T2" fmla="*/ 0 w 4"/>
                        <a:gd name="T3" fmla="*/ 10 h 12"/>
                        <a:gd name="T4" fmla="*/ 0 w 4"/>
                        <a:gd name="T5" fmla="*/ 2 h 12"/>
                        <a:gd name="T6" fmla="*/ 2 w 4"/>
                        <a:gd name="T7" fmla="*/ 0 h 12"/>
                        <a:gd name="T8" fmla="*/ 4 w 4"/>
                        <a:gd name="T9" fmla="*/ 2 h 12"/>
                        <a:gd name="T10" fmla="*/ 4 w 4"/>
                        <a:gd name="T11" fmla="*/ 10 h 12"/>
                        <a:gd name="T12" fmla="*/ 2 w 4"/>
                        <a:gd name="T13" fmla="*/ 12 h 1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4" h="12">
                          <a:moveTo>
                            <a:pt x="2" y="12"/>
                          </a:moveTo>
                          <a:cubicBezTo>
                            <a:pt x="1" y="12"/>
                            <a:pt x="0" y="11"/>
                            <a:pt x="0" y="10"/>
                          </a:cubicBezTo>
                          <a:cubicBezTo>
                            <a:pt x="0" y="2"/>
                            <a:pt x="0" y="2"/>
                            <a:pt x="0" y="2"/>
                          </a:cubicBezTo>
                          <a:cubicBezTo>
                            <a:pt x="0" y="1"/>
                            <a:pt x="1" y="0"/>
                            <a:pt x="2" y="0"/>
                          </a:cubicBezTo>
                          <a:cubicBezTo>
                            <a:pt x="3" y="0"/>
                            <a:pt x="4" y="1"/>
                            <a:pt x="4" y="2"/>
                          </a:cubicBezTo>
                          <a:cubicBezTo>
                            <a:pt x="4" y="10"/>
                            <a:pt x="4" y="10"/>
                            <a:pt x="4" y="10"/>
                          </a:cubicBezTo>
                          <a:cubicBezTo>
                            <a:pt x="4" y="11"/>
                            <a:pt x="3" y="12"/>
                            <a:pt x="2" y="12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4" name="Freeform 9"/>
                    <p:cNvSpPr>
                      <a:spLocks/>
                    </p:cNvSpPr>
                    <p:nvPr/>
                  </p:nvSpPr>
                  <p:spPr bwMode="auto">
                    <a:xfrm>
                      <a:off x="3101975" y="5462588"/>
                      <a:ext cx="15875" cy="31750"/>
                    </a:xfrm>
                    <a:custGeom>
                      <a:avLst/>
                      <a:gdLst>
                        <a:gd name="T0" fmla="*/ 2 w 4"/>
                        <a:gd name="T1" fmla="*/ 8 h 8"/>
                        <a:gd name="T2" fmla="*/ 0 w 4"/>
                        <a:gd name="T3" fmla="*/ 6 h 8"/>
                        <a:gd name="T4" fmla="*/ 0 w 4"/>
                        <a:gd name="T5" fmla="*/ 2 h 8"/>
                        <a:gd name="T6" fmla="*/ 2 w 4"/>
                        <a:gd name="T7" fmla="*/ 0 h 8"/>
                        <a:gd name="T8" fmla="*/ 4 w 4"/>
                        <a:gd name="T9" fmla="*/ 2 h 8"/>
                        <a:gd name="T10" fmla="*/ 4 w 4"/>
                        <a:gd name="T11" fmla="*/ 6 h 8"/>
                        <a:gd name="T12" fmla="*/ 2 w 4"/>
                        <a:gd name="T13" fmla="*/ 8 h 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4" h="8">
                          <a:moveTo>
                            <a:pt x="2" y="8"/>
                          </a:moveTo>
                          <a:cubicBezTo>
                            <a:pt x="1" y="8"/>
                            <a:pt x="0" y="7"/>
                            <a:pt x="0" y="6"/>
                          </a:cubicBezTo>
                          <a:cubicBezTo>
                            <a:pt x="0" y="2"/>
                            <a:pt x="0" y="2"/>
                            <a:pt x="0" y="2"/>
                          </a:cubicBezTo>
                          <a:cubicBezTo>
                            <a:pt x="0" y="1"/>
                            <a:pt x="1" y="0"/>
                            <a:pt x="2" y="0"/>
                          </a:cubicBezTo>
                          <a:cubicBezTo>
                            <a:pt x="3" y="0"/>
                            <a:pt x="4" y="1"/>
                            <a:pt x="4" y="2"/>
                          </a:cubicBezTo>
                          <a:cubicBezTo>
                            <a:pt x="4" y="6"/>
                            <a:pt x="4" y="6"/>
                            <a:pt x="4" y="6"/>
                          </a:cubicBezTo>
                          <a:cubicBezTo>
                            <a:pt x="4" y="7"/>
                            <a:pt x="3" y="8"/>
                            <a:pt x="2" y="8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5" name="Freeform 10"/>
                    <p:cNvSpPr>
                      <a:spLocks/>
                    </p:cNvSpPr>
                    <p:nvPr/>
                  </p:nvSpPr>
                  <p:spPr bwMode="auto">
                    <a:xfrm>
                      <a:off x="3198813" y="5508626"/>
                      <a:ext cx="26987" cy="26988"/>
                    </a:xfrm>
                    <a:custGeom>
                      <a:avLst/>
                      <a:gdLst>
                        <a:gd name="T0" fmla="*/ 2 w 7"/>
                        <a:gd name="T1" fmla="*/ 7 h 7"/>
                        <a:gd name="T2" fmla="*/ 1 w 7"/>
                        <a:gd name="T3" fmla="*/ 6 h 7"/>
                        <a:gd name="T4" fmla="*/ 1 w 7"/>
                        <a:gd name="T5" fmla="*/ 3 h 7"/>
                        <a:gd name="T6" fmla="*/ 4 w 7"/>
                        <a:gd name="T7" fmla="*/ 0 h 7"/>
                        <a:gd name="T8" fmla="*/ 7 w 7"/>
                        <a:gd name="T9" fmla="*/ 0 h 7"/>
                        <a:gd name="T10" fmla="*/ 7 w 7"/>
                        <a:gd name="T11" fmla="*/ 3 h 7"/>
                        <a:gd name="T12" fmla="*/ 4 w 7"/>
                        <a:gd name="T13" fmla="*/ 6 h 7"/>
                        <a:gd name="T14" fmla="*/ 2 w 7"/>
                        <a:gd name="T15" fmla="*/ 7 h 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7" h="7">
                          <a:moveTo>
                            <a:pt x="2" y="7"/>
                          </a:moveTo>
                          <a:cubicBezTo>
                            <a:pt x="2" y="7"/>
                            <a:pt x="1" y="6"/>
                            <a:pt x="1" y="6"/>
                          </a:cubicBezTo>
                          <a:cubicBezTo>
                            <a:pt x="0" y="5"/>
                            <a:pt x="0" y="4"/>
                            <a:pt x="1" y="3"/>
                          </a:cubicBezTo>
                          <a:cubicBezTo>
                            <a:pt x="4" y="0"/>
                            <a:pt x="4" y="0"/>
                            <a:pt x="4" y="0"/>
                          </a:cubicBezTo>
                          <a:cubicBezTo>
                            <a:pt x="5" y="0"/>
                            <a:pt x="6" y="0"/>
                            <a:pt x="7" y="0"/>
                          </a:cubicBezTo>
                          <a:cubicBezTo>
                            <a:pt x="7" y="1"/>
                            <a:pt x="7" y="2"/>
                            <a:pt x="7" y="3"/>
                          </a:cubicBezTo>
                          <a:cubicBezTo>
                            <a:pt x="4" y="6"/>
                            <a:pt x="4" y="6"/>
                            <a:pt x="4" y="6"/>
                          </a:cubicBezTo>
                          <a:cubicBezTo>
                            <a:pt x="3" y="6"/>
                            <a:pt x="3" y="7"/>
                            <a:pt x="2" y="7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6" name="Freeform 11"/>
                    <p:cNvSpPr>
                      <a:spLocks/>
                    </p:cNvSpPr>
                    <p:nvPr/>
                  </p:nvSpPr>
                  <p:spPr bwMode="auto">
                    <a:xfrm>
                      <a:off x="3241675" y="5618163"/>
                      <a:ext cx="31750" cy="14288"/>
                    </a:xfrm>
                    <a:custGeom>
                      <a:avLst/>
                      <a:gdLst>
                        <a:gd name="T0" fmla="*/ 6 w 8"/>
                        <a:gd name="T1" fmla="*/ 4 h 4"/>
                        <a:gd name="T2" fmla="*/ 2 w 8"/>
                        <a:gd name="T3" fmla="*/ 4 h 4"/>
                        <a:gd name="T4" fmla="*/ 0 w 8"/>
                        <a:gd name="T5" fmla="*/ 2 h 4"/>
                        <a:gd name="T6" fmla="*/ 2 w 8"/>
                        <a:gd name="T7" fmla="*/ 0 h 4"/>
                        <a:gd name="T8" fmla="*/ 6 w 8"/>
                        <a:gd name="T9" fmla="*/ 0 h 4"/>
                        <a:gd name="T10" fmla="*/ 8 w 8"/>
                        <a:gd name="T11" fmla="*/ 2 h 4"/>
                        <a:gd name="T12" fmla="*/ 6 w 8"/>
                        <a:gd name="T13" fmla="*/ 4 h 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8" h="4">
                          <a:moveTo>
                            <a:pt x="6" y="4"/>
                          </a:moveTo>
                          <a:cubicBezTo>
                            <a:pt x="2" y="4"/>
                            <a:pt x="2" y="4"/>
                            <a:pt x="2" y="4"/>
                          </a:cubicBezTo>
                          <a:cubicBezTo>
                            <a:pt x="1" y="4"/>
                            <a:pt x="0" y="3"/>
                            <a:pt x="0" y="2"/>
                          </a:cubicBezTo>
                          <a:cubicBezTo>
                            <a:pt x="0" y="1"/>
                            <a:pt x="1" y="0"/>
                            <a:pt x="2" y="0"/>
                          </a:cubicBezTo>
                          <a:cubicBezTo>
                            <a:pt x="6" y="0"/>
                            <a:pt x="6" y="0"/>
                            <a:pt x="6" y="0"/>
                          </a:cubicBezTo>
                          <a:cubicBezTo>
                            <a:pt x="7" y="0"/>
                            <a:pt x="8" y="1"/>
                            <a:pt x="8" y="2"/>
                          </a:cubicBezTo>
                          <a:cubicBezTo>
                            <a:pt x="8" y="3"/>
                            <a:pt x="7" y="4"/>
                            <a:pt x="6" y="4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7" name="Freeform 12"/>
                    <p:cNvSpPr>
                      <a:spLocks/>
                    </p:cNvSpPr>
                    <p:nvPr/>
                  </p:nvSpPr>
                  <p:spPr bwMode="auto">
                    <a:xfrm>
                      <a:off x="3198813" y="5713413"/>
                      <a:ext cx="26987" cy="28575"/>
                    </a:xfrm>
                    <a:custGeom>
                      <a:avLst/>
                      <a:gdLst>
                        <a:gd name="T0" fmla="*/ 5 w 7"/>
                        <a:gd name="T1" fmla="*/ 7 h 7"/>
                        <a:gd name="T2" fmla="*/ 4 w 7"/>
                        <a:gd name="T3" fmla="*/ 7 h 7"/>
                        <a:gd name="T4" fmla="*/ 1 w 7"/>
                        <a:gd name="T5" fmla="*/ 4 h 7"/>
                        <a:gd name="T6" fmla="*/ 1 w 7"/>
                        <a:gd name="T7" fmla="*/ 1 h 7"/>
                        <a:gd name="T8" fmla="*/ 4 w 7"/>
                        <a:gd name="T9" fmla="*/ 1 h 7"/>
                        <a:gd name="T10" fmla="*/ 7 w 7"/>
                        <a:gd name="T11" fmla="*/ 4 h 7"/>
                        <a:gd name="T12" fmla="*/ 7 w 7"/>
                        <a:gd name="T13" fmla="*/ 7 h 7"/>
                        <a:gd name="T14" fmla="*/ 5 w 7"/>
                        <a:gd name="T15" fmla="*/ 7 h 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7" h="7">
                          <a:moveTo>
                            <a:pt x="5" y="7"/>
                          </a:moveTo>
                          <a:cubicBezTo>
                            <a:pt x="5" y="7"/>
                            <a:pt x="4" y="7"/>
                            <a:pt x="4" y="7"/>
                          </a:cubicBezTo>
                          <a:cubicBezTo>
                            <a:pt x="1" y="4"/>
                            <a:pt x="1" y="4"/>
                            <a:pt x="1" y="4"/>
                          </a:cubicBezTo>
                          <a:cubicBezTo>
                            <a:pt x="0" y="3"/>
                            <a:pt x="0" y="2"/>
                            <a:pt x="1" y="1"/>
                          </a:cubicBezTo>
                          <a:cubicBezTo>
                            <a:pt x="2" y="0"/>
                            <a:pt x="3" y="0"/>
                            <a:pt x="4" y="1"/>
                          </a:cubicBezTo>
                          <a:cubicBezTo>
                            <a:pt x="7" y="4"/>
                            <a:pt x="7" y="4"/>
                            <a:pt x="7" y="4"/>
                          </a:cubicBezTo>
                          <a:cubicBezTo>
                            <a:pt x="7" y="5"/>
                            <a:pt x="7" y="6"/>
                            <a:pt x="7" y="7"/>
                          </a:cubicBezTo>
                          <a:cubicBezTo>
                            <a:pt x="6" y="7"/>
                            <a:pt x="6" y="7"/>
                            <a:pt x="5" y="7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8" name="Freeform 13"/>
                    <p:cNvSpPr>
                      <a:spLocks/>
                    </p:cNvSpPr>
                    <p:nvPr/>
                  </p:nvSpPr>
                  <p:spPr bwMode="auto">
                    <a:xfrm>
                      <a:off x="2994025" y="5508626"/>
                      <a:ext cx="26987" cy="26988"/>
                    </a:xfrm>
                    <a:custGeom>
                      <a:avLst/>
                      <a:gdLst>
                        <a:gd name="T0" fmla="*/ 5 w 7"/>
                        <a:gd name="T1" fmla="*/ 7 h 7"/>
                        <a:gd name="T2" fmla="*/ 3 w 7"/>
                        <a:gd name="T3" fmla="*/ 6 h 7"/>
                        <a:gd name="T4" fmla="*/ 0 w 7"/>
                        <a:gd name="T5" fmla="*/ 3 h 7"/>
                        <a:gd name="T6" fmla="*/ 0 w 7"/>
                        <a:gd name="T7" fmla="*/ 0 h 7"/>
                        <a:gd name="T8" fmla="*/ 3 w 7"/>
                        <a:gd name="T9" fmla="*/ 0 h 7"/>
                        <a:gd name="T10" fmla="*/ 6 w 7"/>
                        <a:gd name="T11" fmla="*/ 3 h 7"/>
                        <a:gd name="T12" fmla="*/ 6 w 7"/>
                        <a:gd name="T13" fmla="*/ 6 h 7"/>
                        <a:gd name="T14" fmla="*/ 5 w 7"/>
                        <a:gd name="T15" fmla="*/ 7 h 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7" h="7">
                          <a:moveTo>
                            <a:pt x="5" y="7"/>
                          </a:moveTo>
                          <a:cubicBezTo>
                            <a:pt x="4" y="7"/>
                            <a:pt x="4" y="6"/>
                            <a:pt x="3" y="6"/>
                          </a:cubicBezTo>
                          <a:cubicBezTo>
                            <a:pt x="0" y="3"/>
                            <a:pt x="0" y="3"/>
                            <a:pt x="0" y="3"/>
                          </a:cubicBezTo>
                          <a:cubicBezTo>
                            <a:pt x="0" y="2"/>
                            <a:pt x="0" y="1"/>
                            <a:pt x="0" y="0"/>
                          </a:cubicBezTo>
                          <a:cubicBezTo>
                            <a:pt x="1" y="0"/>
                            <a:pt x="2" y="0"/>
                            <a:pt x="3" y="0"/>
                          </a:cubicBezTo>
                          <a:cubicBezTo>
                            <a:pt x="6" y="3"/>
                            <a:pt x="6" y="3"/>
                            <a:pt x="6" y="3"/>
                          </a:cubicBezTo>
                          <a:cubicBezTo>
                            <a:pt x="7" y="4"/>
                            <a:pt x="7" y="5"/>
                            <a:pt x="6" y="6"/>
                          </a:cubicBezTo>
                          <a:cubicBezTo>
                            <a:pt x="6" y="6"/>
                            <a:pt x="5" y="7"/>
                            <a:pt x="5" y="7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9" name="Freeform 14"/>
                    <p:cNvSpPr>
                      <a:spLocks/>
                    </p:cNvSpPr>
                    <p:nvPr/>
                  </p:nvSpPr>
                  <p:spPr bwMode="auto">
                    <a:xfrm>
                      <a:off x="2947988" y="5618163"/>
                      <a:ext cx="30162" cy="14288"/>
                    </a:xfrm>
                    <a:custGeom>
                      <a:avLst/>
                      <a:gdLst>
                        <a:gd name="T0" fmla="*/ 6 w 8"/>
                        <a:gd name="T1" fmla="*/ 4 h 4"/>
                        <a:gd name="T2" fmla="*/ 2 w 8"/>
                        <a:gd name="T3" fmla="*/ 4 h 4"/>
                        <a:gd name="T4" fmla="*/ 0 w 8"/>
                        <a:gd name="T5" fmla="*/ 2 h 4"/>
                        <a:gd name="T6" fmla="*/ 2 w 8"/>
                        <a:gd name="T7" fmla="*/ 0 h 4"/>
                        <a:gd name="T8" fmla="*/ 6 w 8"/>
                        <a:gd name="T9" fmla="*/ 0 h 4"/>
                        <a:gd name="T10" fmla="*/ 8 w 8"/>
                        <a:gd name="T11" fmla="*/ 2 h 4"/>
                        <a:gd name="T12" fmla="*/ 6 w 8"/>
                        <a:gd name="T13" fmla="*/ 4 h 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8" h="4">
                          <a:moveTo>
                            <a:pt x="6" y="4"/>
                          </a:moveTo>
                          <a:cubicBezTo>
                            <a:pt x="2" y="4"/>
                            <a:pt x="2" y="4"/>
                            <a:pt x="2" y="4"/>
                          </a:cubicBezTo>
                          <a:cubicBezTo>
                            <a:pt x="1" y="4"/>
                            <a:pt x="0" y="3"/>
                            <a:pt x="0" y="2"/>
                          </a:cubicBezTo>
                          <a:cubicBezTo>
                            <a:pt x="0" y="1"/>
                            <a:pt x="1" y="0"/>
                            <a:pt x="2" y="0"/>
                          </a:cubicBezTo>
                          <a:cubicBezTo>
                            <a:pt x="6" y="0"/>
                            <a:pt x="6" y="0"/>
                            <a:pt x="6" y="0"/>
                          </a:cubicBezTo>
                          <a:cubicBezTo>
                            <a:pt x="7" y="0"/>
                            <a:pt x="8" y="1"/>
                            <a:pt x="8" y="2"/>
                          </a:cubicBezTo>
                          <a:cubicBezTo>
                            <a:pt x="8" y="3"/>
                            <a:pt x="7" y="4"/>
                            <a:pt x="6" y="4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00" name="Freeform 15"/>
                    <p:cNvSpPr>
                      <a:spLocks/>
                    </p:cNvSpPr>
                    <p:nvPr/>
                  </p:nvSpPr>
                  <p:spPr bwMode="auto">
                    <a:xfrm>
                      <a:off x="2994025" y="5713413"/>
                      <a:ext cx="26987" cy="28575"/>
                    </a:xfrm>
                    <a:custGeom>
                      <a:avLst/>
                      <a:gdLst>
                        <a:gd name="T0" fmla="*/ 2 w 7"/>
                        <a:gd name="T1" fmla="*/ 7 h 7"/>
                        <a:gd name="T2" fmla="*/ 0 w 7"/>
                        <a:gd name="T3" fmla="*/ 7 h 7"/>
                        <a:gd name="T4" fmla="*/ 0 w 7"/>
                        <a:gd name="T5" fmla="*/ 4 h 7"/>
                        <a:gd name="T6" fmla="*/ 3 w 7"/>
                        <a:gd name="T7" fmla="*/ 1 h 7"/>
                        <a:gd name="T8" fmla="*/ 6 w 7"/>
                        <a:gd name="T9" fmla="*/ 1 h 7"/>
                        <a:gd name="T10" fmla="*/ 6 w 7"/>
                        <a:gd name="T11" fmla="*/ 4 h 7"/>
                        <a:gd name="T12" fmla="*/ 3 w 7"/>
                        <a:gd name="T13" fmla="*/ 7 h 7"/>
                        <a:gd name="T14" fmla="*/ 2 w 7"/>
                        <a:gd name="T15" fmla="*/ 7 h 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7" h="7">
                          <a:moveTo>
                            <a:pt x="2" y="7"/>
                          </a:moveTo>
                          <a:cubicBezTo>
                            <a:pt x="1" y="7"/>
                            <a:pt x="1" y="7"/>
                            <a:pt x="0" y="7"/>
                          </a:cubicBezTo>
                          <a:cubicBezTo>
                            <a:pt x="0" y="6"/>
                            <a:pt x="0" y="5"/>
                            <a:pt x="0" y="4"/>
                          </a:cubicBezTo>
                          <a:cubicBezTo>
                            <a:pt x="3" y="1"/>
                            <a:pt x="3" y="1"/>
                            <a:pt x="3" y="1"/>
                          </a:cubicBezTo>
                          <a:cubicBezTo>
                            <a:pt x="4" y="0"/>
                            <a:pt x="5" y="0"/>
                            <a:pt x="6" y="1"/>
                          </a:cubicBezTo>
                          <a:cubicBezTo>
                            <a:pt x="7" y="2"/>
                            <a:pt x="7" y="3"/>
                            <a:pt x="6" y="4"/>
                          </a:cubicBezTo>
                          <a:cubicBezTo>
                            <a:pt x="3" y="7"/>
                            <a:pt x="3" y="7"/>
                            <a:pt x="3" y="7"/>
                          </a:cubicBezTo>
                          <a:cubicBezTo>
                            <a:pt x="3" y="7"/>
                            <a:pt x="2" y="7"/>
                            <a:pt x="2" y="7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01" name="Freeform 16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3040063" y="5618163"/>
                      <a:ext cx="139700" cy="115888"/>
                    </a:xfrm>
                    <a:custGeom>
                      <a:avLst/>
                      <a:gdLst>
                        <a:gd name="T0" fmla="*/ 20 w 36"/>
                        <a:gd name="T1" fmla="*/ 30 h 30"/>
                        <a:gd name="T2" fmla="*/ 20 w 36"/>
                        <a:gd name="T3" fmla="*/ 30 h 30"/>
                        <a:gd name="T4" fmla="*/ 18 w 36"/>
                        <a:gd name="T5" fmla="*/ 28 h 30"/>
                        <a:gd name="T6" fmla="*/ 16 w 36"/>
                        <a:gd name="T7" fmla="*/ 30 h 30"/>
                        <a:gd name="T8" fmla="*/ 14 w 36"/>
                        <a:gd name="T9" fmla="*/ 28 h 30"/>
                        <a:gd name="T10" fmla="*/ 10 w 36"/>
                        <a:gd name="T11" fmla="*/ 12 h 30"/>
                        <a:gd name="T12" fmla="*/ 6 w 36"/>
                        <a:gd name="T13" fmla="*/ 12 h 30"/>
                        <a:gd name="T14" fmla="*/ 0 w 36"/>
                        <a:gd name="T15" fmla="*/ 6 h 30"/>
                        <a:gd name="T16" fmla="*/ 6 w 36"/>
                        <a:gd name="T17" fmla="*/ 0 h 30"/>
                        <a:gd name="T18" fmla="*/ 13 w 36"/>
                        <a:gd name="T19" fmla="*/ 5 h 30"/>
                        <a:gd name="T20" fmla="*/ 13 w 36"/>
                        <a:gd name="T21" fmla="*/ 8 h 30"/>
                        <a:gd name="T22" fmla="*/ 23 w 36"/>
                        <a:gd name="T23" fmla="*/ 8 h 30"/>
                        <a:gd name="T24" fmla="*/ 23 w 36"/>
                        <a:gd name="T25" fmla="*/ 5 h 30"/>
                        <a:gd name="T26" fmla="*/ 30 w 36"/>
                        <a:gd name="T27" fmla="*/ 0 h 30"/>
                        <a:gd name="T28" fmla="*/ 36 w 36"/>
                        <a:gd name="T29" fmla="*/ 6 h 30"/>
                        <a:gd name="T30" fmla="*/ 30 w 36"/>
                        <a:gd name="T31" fmla="*/ 12 h 30"/>
                        <a:gd name="T32" fmla="*/ 26 w 36"/>
                        <a:gd name="T33" fmla="*/ 12 h 30"/>
                        <a:gd name="T34" fmla="*/ 22 w 36"/>
                        <a:gd name="T35" fmla="*/ 28 h 30"/>
                        <a:gd name="T36" fmla="*/ 20 w 36"/>
                        <a:gd name="T37" fmla="*/ 30 h 30"/>
                        <a:gd name="T38" fmla="*/ 14 w 36"/>
                        <a:gd name="T39" fmla="*/ 12 h 30"/>
                        <a:gd name="T40" fmla="*/ 18 w 36"/>
                        <a:gd name="T41" fmla="*/ 28 h 30"/>
                        <a:gd name="T42" fmla="*/ 18 w 36"/>
                        <a:gd name="T43" fmla="*/ 28 h 30"/>
                        <a:gd name="T44" fmla="*/ 18 w 36"/>
                        <a:gd name="T45" fmla="*/ 28 h 30"/>
                        <a:gd name="T46" fmla="*/ 22 w 36"/>
                        <a:gd name="T47" fmla="*/ 12 h 30"/>
                        <a:gd name="T48" fmla="*/ 14 w 36"/>
                        <a:gd name="T49" fmla="*/ 12 h 30"/>
                        <a:gd name="T50" fmla="*/ 27 w 36"/>
                        <a:gd name="T51" fmla="*/ 8 h 30"/>
                        <a:gd name="T52" fmla="*/ 30 w 36"/>
                        <a:gd name="T53" fmla="*/ 8 h 30"/>
                        <a:gd name="T54" fmla="*/ 32 w 36"/>
                        <a:gd name="T55" fmla="*/ 6 h 30"/>
                        <a:gd name="T56" fmla="*/ 30 w 36"/>
                        <a:gd name="T57" fmla="*/ 4 h 30"/>
                        <a:gd name="T58" fmla="*/ 27 w 36"/>
                        <a:gd name="T59" fmla="*/ 6 h 30"/>
                        <a:gd name="T60" fmla="*/ 27 w 36"/>
                        <a:gd name="T61" fmla="*/ 8 h 30"/>
                        <a:gd name="T62" fmla="*/ 6 w 36"/>
                        <a:gd name="T63" fmla="*/ 4 h 30"/>
                        <a:gd name="T64" fmla="*/ 4 w 36"/>
                        <a:gd name="T65" fmla="*/ 6 h 30"/>
                        <a:gd name="T66" fmla="*/ 6 w 36"/>
                        <a:gd name="T67" fmla="*/ 8 h 30"/>
                        <a:gd name="T68" fmla="*/ 9 w 36"/>
                        <a:gd name="T69" fmla="*/ 8 h 30"/>
                        <a:gd name="T70" fmla="*/ 9 w 36"/>
                        <a:gd name="T71" fmla="*/ 6 h 30"/>
                        <a:gd name="T72" fmla="*/ 6 w 36"/>
                        <a:gd name="T73" fmla="*/ 4 h 3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</a:cxnLst>
                      <a:rect l="0" t="0" r="r" b="b"/>
                      <a:pathLst>
                        <a:path w="36" h="30">
                          <a:moveTo>
                            <a:pt x="20" y="30"/>
                          </a:moveTo>
                          <a:cubicBezTo>
                            <a:pt x="20" y="30"/>
                            <a:pt x="20" y="30"/>
                            <a:pt x="20" y="30"/>
                          </a:cubicBezTo>
                          <a:cubicBezTo>
                            <a:pt x="19" y="30"/>
                            <a:pt x="18" y="29"/>
                            <a:pt x="18" y="28"/>
                          </a:cubicBezTo>
                          <a:cubicBezTo>
                            <a:pt x="18" y="29"/>
                            <a:pt x="17" y="30"/>
                            <a:pt x="16" y="30"/>
                          </a:cubicBezTo>
                          <a:cubicBezTo>
                            <a:pt x="15" y="30"/>
                            <a:pt x="14" y="30"/>
                            <a:pt x="14" y="28"/>
                          </a:cubicBezTo>
                          <a:cubicBezTo>
                            <a:pt x="10" y="12"/>
                            <a:pt x="10" y="12"/>
                            <a:pt x="10" y="12"/>
                          </a:cubicBezTo>
                          <a:cubicBezTo>
                            <a:pt x="6" y="12"/>
                            <a:pt x="6" y="12"/>
                            <a:pt x="6" y="12"/>
                          </a:cubicBezTo>
                          <a:cubicBezTo>
                            <a:pt x="3" y="12"/>
                            <a:pt x="0" y="9"/>
                            <a:pt x="0" y="6"/>
                          </a:cubicBezTo>
                          <a:cubicBezTo>
                            <a:pt x="0" y="3"/>
                            <a:pt x="3" y="0"/>
                            <a:pt x="6" y="0"/>
                          </a:cubicBezTo>
                          <a:cubicBezTo>
                            <a:pt x="9" y="0"/>
                            <a:pt x="12" y="2"/>
                            <a:pt x="13" y="5"/>
                          </a:cubicBezTo>
                          <a:cubicBezTo>
                            <a:pt x="13" y="8"/>
                            <a:pt x="13" y="8"/>
                            <a:pt x="13" y="8"/>
                          </a:cubicBezTo>
                          <a:cubicBezTo>
                            <a:pt x="23" y="8"/>
                            <a:pt x="23" y="8"/>
                            <a:pt x="23" y="8"/>
                          </a:cubicBezTo>
                          <a:cubicBezTo>
                            <a:pt x="23" y="5"/>
                            <a:pt x="23" y="5"/>
                            <a:pt x="23" y="5"/>
                          </a:cubicBezTo>
                          <a:cubicBezTo>
                            <a:pt x="24" y="2"/>
                            <a:pt x="27" y="0"/>
                            <a:pt x="30" y="0"/>
                          </a:cubicBezTo>
                          <a:cubicBezTo>
                            <a:pt x="33" y="0"/>
                            <a:pt x="36" y="3"/>
                            <a:pt x="36" y="6"/>
                          </a:cubicBezTo>
                          <a:cubicBezTo>
                            <a:pt x="36" y="9"/>
                            <a:pt x="33" y="12"/>
                            <a:pt x="30" y="12"/>
                          </a:cubicBezTo>
                          <a:cubicBezTo>
                            <a:pt x="26" y="12"/>
                            <a:pt x="26" y="12"/>
                            <a:pt x="26" y="12"/>
                          </a:cubicBezTo>
                          <a:cubicBezTo>
                            <a:pt x="22" y="28"/>
                            <a:pt x="22" y="28"/>
                            <a:pt x="22" y="28"/>
                          </a:cubicBezTo>
                          <a:cubicBezTo>
                            <a:pt x="22" y="29"/>
                            <a:pt x="21" y="30"/>
                            <a:pt x="20" y="30"/>
                          </a:cubicBezTo>
                          <a:close/>
                          <a:moveTo>
                            <a:pt x="14" y="12"/>
                          </a:moveTo>
                          <a:cubicBezTo>
                            <a:pt x="18" y="28"/>
                            <a:pt x="18" y="28"/>
                            <a:pt x="18" y="28"/>
                          </a:cubicBezTo>
                          <a:cubicBezTo>
                            <a:pt x="18" y="28"/>
                            <a:pt x="18" y="28"/>
                            <a:pt x="18" y="28"/>
                          </a:cubicBezTo>
                          <a:cubicBezTo>
                            <a:pt x="18" y="28"/>
                            <a:pt x="18" y="28"/>
                            <a:pt x="18" y="28"/>
                          </a:cubicBezTo>
                          <a:cubicBezTo>
                            <a:pt x="22" y="12"/>
                            <a:pt x="22" y="12"/>
                            <a:pt x="22" y="12"/>
                          </a:cubicBezTo>
                          <a:lnTo>
                            <a:pt x="14" y="12"/>
                          </a:lnTo>
                          <a:close/>
                          <a:moveTo>
                            <a:pt x="27" y="8"/>
                          </a:moveTo>
                          <a:cubicBezTo>
                            <a:pt x="30" y="8"/>
                            <a:pt x="30" y="8"/>
                            <a:pt x="30" y="8"/>
                          </a:cubicBezTo>
                          <a:cubicBezTo>
                            <a:pt x="31" y="8"/>
                            <a:pt x="32" y="7"/>
                            <a:pt x="32" y="6"/>
                          </a:cubicBezTo>
                          <a:cubicBezTo>
                            <a:pt x="32" y="5"/>
                            <a:pt x="31" y="4"/>
                            <a:pt x="30" y="4"/>
                          </a:cubicBezTo>
                          <a:cubicBezTo>
                            <a:pt x="29" y="4"/>
                            <a:pt x="27" y="5"/>
                            <a:pt x="27" y="6"/>
                          </a:cubicBezTo>
                          <a:lnTo>
                            <a:pt x="27" y="8"/>
                          </a:lnTo>
                          <a:close/>
                          <a:moveTo>
                            <a:pt x="6" y="4"/>
                          </a:moveTo>
                          <a:cubicBezTo>
                            <a:pt x="5" y="4"/>
                            <a:pt x="4" y="5"/>
                            <a:pt x="4" y="6"/>
                          </a:cubicBezTo>
                          <a:cubicBezTo>
                            <a:pt x="4" y="7"/>
                            <a:pt x="5" y="8"/>
                            <a:pt x="6" y="8"/>
                          </a:cubicBezTo>
                          <a:cubicBezTo>
                            <a:pt x="9" y="8"/>
                            <a:pt x="9" y="8"/>
                            <a:pt x="9" y="8"/>
                          </a:cubicBezTo>
                          <a:cubicBezTo>
                            <a:pt x="9" y="6"/>
                            <a:pt x="9" y="6"/>
                            <a:pt x="9" y="6"/>
                          </a:cubicBezTo>
                          <a:cubicBezTo>
                            <a:pt x="9" y="5"/>
                            <a:pt x="7" y="4"/>
                            <a:pt x="6" y="4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p:txBody>
                </p:sp>
              </p:grpSp>
            </p:grpSp>
            <p:grpSp>
              <p:nvGrpSpPr>
                <p:cNvPr id="185" name="Group 184"/>
                <p:cNvGrpSpPr/>
                <p:nvPr/>
              </p:nvGrpSpPr>
              <p:grpSpPr>
                <a:xfrm>
                  <a:off x="2637412" y="948956"/>
                  <a:ext cx="1819595" cy="303026"/>
                  <a:chOff x="2637412" y="816342"/>
                  <a:chExt cx="1819595" cy="303026"/>
                </a:xfrm>
              </p:grpSpPr>
              <p:sp>
                <p:nvSpPr>
                  <p:cNvPr id="186" name="TextBox 185"/>
                  <p:cNvSpPr txBox="1"/>
                  <p:nvPr/>
                </p:nvSpPr>
                <p:spPr>
                  <a:xfrm>
                    <a:off x="2637413" y="816342"/>
                    <a:ext cx="1447670" cy="153888"/>
                  </a:xfrm>
                  <a:prstGeom prst="rect">
                    <a:avLst/>
                  </a:prstGeom>
                  <a:noFill/>
                  <a:ln w="6350">
                    <a:noFill/>
                    <a:prstDash val="dash"/>
                  </a:ln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E2583D"/>
                        </a:solidFill>
                        <a:effectLst/>
                        <a:uLnTx/>
                        <a:uFillTx/>
                        <a:ea typeface="+mn-ea"/>
                        <a:cs typeface="+mn-cs"/>
                      </a:rPr>
                      <a:t>START – FINISH DATE</a:t>
                    </a:r>
                  </a:p>
                </p:txBody>
              </p:sp>
              <p:sp>
                <p:nvSpPr>
                  <p:cNvPr id="187" name="TextBox 186"/>
                  <p:cNvSpPr txBox="1"/>
                  <p:nvPr/>
                </p:nvSpPr>
                <p:spPr>
                  <a:xfrm>
                    <a:off x="2637412" y="965480"/>
                    <a:ext cx="1819595" cy="153888"/>
                  </a:xfrm>
                  <a:prstGeom prst="rect">
                    <a:avLst/>
                  </a:prstGeom>
                  <a:noFill/>
                  <a:ln w="6350">
                    <a:noFill/>
                    <a:prstDash val="dash"/>
                  </a:ln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ea typeface="+mn-ea"/>
                        <a:cs typeface="+mn-cs"/>
                      </a:rPr>
                      <a:t>Lorem </a:t>
                    </a:r>
                    <a:r>
                      <a:rPr kumimoji="0" lang="en-US" sz="1000" b="0" i="0" u="none" strike="noStrike" kern="1200" cap="none" spc="0" normalizeH="0" baseline="0" noProof="0" dirty="0" err="1">
                        <a:ln>
                          <a:noFill/>
                        </a:ln>
                        <a:effectLst/>
                        <a:uLnTx/>
                        <a:uFillTx/>
                        <a:ea typeface="+mn-ea"/>
                        <a:cs typeface="+mn-cs"/>
                      </a:rPr>
                      <a:t>Ipsum</a:t>
                    </a:r>
                    <a:r>
                      <a: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ea typeface="+mn-ea"/>
                        <a:cs typeface="+mn-cs"/>
                      </a:rPr>
                      <a:t> is simply dummy text</a:t>
                    </a:r>
                  </a:p>
                </p:txBody>
              </p:sp>
            </p:grpSp>
          </p:grpSp>
          <p:grpSp>
            <p:nvGrpSpPr>
              <p:cNvPr id="134" name="Group 133"/>
              <p:cNvGrpSpPr/>
              <p:nvPr/>
            </p:nvGrpSpPr>
            <p:grpSpPr>
              <a:xfrm>
                <a:off x="610512" y="1062887"/>
                <a:ext cx="1447670" cy="465983"/>
                <a:chOff x="431800" y="990281"/>
                <a:chExt cx="1447670" cy="465983"/>
              </a:xfrm>
            </p:grpSpPr>
            <p:sp>
              <p:nvSpPr>
                <p:cNvPr id="135" name="TextBox 134"/>
                <p:cNvSpPr txBox="1"/>
                <p:nvPr/>
              </p:nvSpPr>
              <p:spPr>
                <a:xfrm>
                  <a:off x="431800" y="990281"/>
                  <a:ext cx="371789" cy="153888"/>
                </a:xfrm>
                <a:prstGeom prst="rect">
                  <a:avLst/>
                </a:prstGeom>
                <a:noFill/>
                <a:ln w="6350">
                  <a:noFill/>
                  <a:prstDash val="dash"/>
                </a:ln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ea typeface="+mn-ea"/>
                      <a:cs typeface="+mn-cs"/>
                    </a:rPr>
                    <a:t>TASK 1</a:t>
                  </a:r>
                </a:p>
              </p:txBody>
            </p:sp>
            <p:sp>
              <p:nvSpPr>
                <p:cNvPr id="182" name="TextBox 181"/>
                <p:cNvSpPr txBox="1"/>
                <p:nvPr/>
              </p:nvSpPr>
              <p:spPr>
                <a:xfrm>
                  <a:off x="431800" y="1148487"/>
                  <a:ext cx="1447670" cy="307777"/>
                </a:xfrm>
                <a:prstGeom prst="rect">
                  <a:avLst/>
                </a:prstGeom>
                <a:noFill/>
                <a:ln w="6350">
                  <a:noFill/>
                  <a:prstDash val="dash"/>
                </a:ln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0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ea typeface="+mn-ea"/>
                      <a:cs typeface="+mn-cs"/>
                    </a:rPr>
                    <a:t>Lorem </a:t>
                  </a:r>
                  <a:r>
                    <a:rPr kumimoji="0" lang="en-US" sz="1000" b="0" i="0" u="none" strike="noStrike" kern="1200" cap="none" spc="0" normalizeH="0" baseline="0" noProof="0" dirty="0" err="1">
                      <a:ln>
                        <a:noFill/>
                      </a:ln>
                      <a:effectLst/>
                      <a:uLnTx/>
                      <a:uFillTx/>
                      <a:ea typeface="+mn-ea"/>
                      <a:cs typeface="+mn-cs"/>
                    </a:rPr>
                    <a:t>Ipsum</a:t>
                  </a:r>
                  <a:r>
                    <a:rPr kumimoji="0" lang="en-US" sz="1000" b="0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ea typeface="+mn-ea"/>
                      <a:cs typeface="+mn-cs"/>
                    </a:rPr>
                    <a:t> is simply dummy text of the printing</a:t>
                  </a:r>
                </a:p>
              </p:txBody>
            </p:sp>
          </p:grpSp>
        </p:grpSp>
        <p:grpSp>
          <p:nvGrpSpPr>
            <p:cNvPr id="202" name="Group 201"/>
            <p:cNvGrpSpPr/>
            <p:nvPr/>
          </p:nvGrpSpPr>
          <p:grpSpPr>
            <a:xfrm>
              <a:off x="449630" y="2719664"/>
              <a:ext cx="5421678" cy="693106"/>
              <a:chOff x="428696" y="1784011"/>
              <a:chExt cx="5421678" cy="693106"/>
            </a:xfrm>
          </p:grpSpPr>
          <p:grpSp>
            <p:nvGrpSpPr>
              <p:cNvPr id="203" name="Group 202"/>
              <p:cNvGrpSpPr/>
              <p:nvPr/>
            </p:nvGrpSpPr>
            <p:grpSpPr>
              <a:xfrm>
                <a:off x="3306235" y="1784011"/>
                <a:ext cx="2544139" cy="596240"/>
                <a:chOff x="3169543" y="1832279"/>
                <a:chExt cx="2544139" cy="596240"/>
              </a:xfrm>
            </p:grpSpPr>
            <p:sp>
              <p:nvSpPr>
                <p:cNvPr id="209" name="Line 6"/>
                <p:cNvSpPr>
                  <a:spLocks noChangeShapeType="1"/>
                </p:cNvSpPr>
                <p:nvPr/>
              </p:nvSpPr>
              <p:spPr bwMode="auto">
                <a:xfrm>
                  <a:off x="3619602" y="2183660"/>
                  <a:ext cx="2094080" cy="0"/>
                </a:xfrm>
                <a:prstGeom prst="line">
                  <a:avLst/>
                </a:prstGeom>
                <a:noFill/>
                <a:ln w="19050" cap="rnd">
                  <a:solidFill>
                    <a:srgbClr val="AFABAB"/>
                  </a:solidFill>
                  <a:prstDash val="solid"/>
                  <a:round/>
                  <a:headEnd/>
                  <a:tailEnd type="oval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210" name="Oval 209"/>
                <p:cNvSpPr>
                  <a:spLocks noChangeAspect="1"/>
                </p:cNvSpPr>
                <p:nvPr/>
              </p:nvSpPr>
              <p:spPr>
                <a:xfrm>
                  <a:off x="3169543" y="1936750"/>
                  <a:ext cx="491769" cy="491769"/>
                </a:xfrm>
                <a:prstGeom prst="ellipse">
                  <a:avLst/>
                </a:prstGeom>
                <a:solidFill>
                  <a:srgbClr val="AFABAB"/>
                </a:solidFill>
                <a:ln>
                  <a:noFill/>
                </a:ln>
                <a:effectLst>
                  <a:outerShdw blurRad="25400" dist="25400" dir="5400000" algn="t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grpSp>
              <p:nvGrpSpPr>
                <p:cNvPr id="211" name="Group 210"/>
                <p:cNvGrpSpPr/>
                <p:nvPr/>
              </p:nvGrpSpPr>
              <p:grpSpPr>
                <a:xfrm>
                  <a:off x="3698378" y="1832279"/>
                  <a:ext cx="1819595" cy="303026"/>
                  <a:chOff x="2637412" y="816342"/>
                  <a:chExt cx="1819595" cy="303026"/>
                </a:xfrm>
              </p:grpSpPr>
              <p:sp>
                <p:nvSpPr>
                  <p:cNvPr id="267" name="TextBox 266"/>
                  <p:cNvSpPr txBox="1"/>
                  <p:nvPr/>
                </p:nvSpPr>
                <p:spPr>
                  <a:xfrm>
                    <a:off x="2637413" y="816342"/>
                    <a:ext cx="1447670" cy="153888"/>
                  </a:xfrm>
                  <a:prstGeom prst="rect">
                    <a:avLst/>
                  </a:prstGeom>
                  <a:noFill/>
                  <a:ln w="6350">
                    <a:noFill/>
                    <a:prstDash val="dash"/>
                  </a:ln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AFABAB"/>
                        </a:solidFill>
                        <a:effectLst/>
                        <a:uLnTx/>
                        <a:uFillTx/>
                        <a:ea typeface="+mn-ea"/>
                        <a:cs typeface="+mn-cs"/>
                      </a:rPr>
                      <a:t>START – FINISH DATE</a:t>
                    </a:r>
                  </a:p>
                </p:txBody>
              </p:sp>
              <p:sp>
                <p:nvSpPr>
                  <p:cNvPr id="268" name="TextBox 267"/>
                  <p:cNvSpPr txBox="1"/>
                  <p:nvPr/>
                </p:nvSpPr>
                <p:spPr>
                  <a:xfrm>
                    <a:off x="2637412" y="965480"/>
                    <a:ext cx="1819595" cy="153888"/>
                  </a:xfrm>
                  <a:prstGeom prst="rect">
                    <a:avLst/>
                  </a:prstGeom>
                  <a:noFill/>
                  <a:ln w="6350">
                    <a:noFill/>
                    <a:prstDash val="dash"/>
                  </a:ln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ea typeface="+mn-ea"/>
                        <a:cs typeface="+mn-cs"/>
                      </a:rPr>
                      <a:t>Lorem </a:t>
                    </a:r>
                    <a:r>
                      <a:rPr kumimoji="0" lang="en-US" sz="1000" b="0" i="0" u="none" strike="noStrike" kern="1200" cap="none" spc="0" normalizeH="0" baseline="0" noProof="0" dirty="0" err="1">
                        <a:ln>
                          <a:noFill/>
                        </a:ln>
                        <a:effectLst/>
                        <a:uLnTx/>
                        <a:uFillTx/>
                        <a:ea typeface="+mn-ea"/>
                        <a:cs typeface="+mn-cs"/>
                      </a:rPr>
                      <a:t>Ipsum</a:t>
                    </a:r>
                    <a:r>
                      <a: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ea typeface="+mn-ea"/>
                        <a:cs typeface="+mn-cs"/>
                      </a:rPr>
                      <a:t> is simply dummy text</a:t>
                    </a:r>
                  </a:p>
                </p:txBody>
              </p:sp>
            </p:grpSp>
            <p:grpSp>
              <p:nvGrpSpPr>
                <p:cNvPr id="212" name="Group 211"/>
                <p:cNvGrpSpPr>
                  <a:grpSpLocks noChangeAspect="1"/>
                </p:cNvGrpSpPr>
                <p:nvPr/>
              </p:nvGrpSpPr>
              <p:grpSpPr>
                <a:xfrm>
                  <a:off x="3289428" y="2056634"/>
                  <a:ext cx="251999" cy="252001"/>
                  <a:chOff x="2089154" y="4705365"/>
                  <a:chExt cx="371475" cy="371479"/>
                </a:xfrm>
                <a:solidFill>
                  <a:schemeClr val="bg1"/>
                </a:solidFill>
              </p:grpSpPr>
              <p:sp>
                <p:nvSpPr>
                  <p:cNvPr id="228" name="Freeform 20"/>
                  <p:cNvSpPr>
                    <a:spLocks noEditPoints="1"/>
                  </p:cNvSpPr>
                  <p:nvPr/>
                </p:nvSpPr>
                <p:spPr bwMode="auto">
                  <a:xfrm>
                    <a:off x="2120903" y="4791095"/>
                    <a:ext cx="254000" cy="255588"/>
                  </a:xfrm>
                  <a:custGeom>
                    <a:avLst/>
                    <a:gdLst>
                      <a:gd name="T0" fmla="*/ 14 w 66"/>
                      <a:gd name="T1" fmla="*/ 66 h 66"/>
                      <a:gd name="T2" fmla="*/ 13 w 66"/>
                      <a:gd name="T3" fmla="*/ 65 h 66"/>
                      <a:gd name="T4" fmla="*/ 1 w 66"/>
                      <a:gd name="T5" fmla="*/ 53 h 66"/>
                      <a:gd name="T6" fmla="*/ 0 w 66"/>
                      <a:gd name="T7" fmla="*/ 52 h 66"/>
                      <a:gd name="T8" fmla="*/ 1 w 66"/>
                      <a:gd name="T9" fmla="*/ 51 h 66"/>
                      <a:gd name="T10" fmla="*/ 51 w 66"/>
                      <a:gd name="T11" fmla="*/ 1 h 66"/>
                      <a:gd name="T12" fmla="*/ 52 w 66"/>
                      <a:gd name="T13" fmla="*/ 0 h 66"/>
                      <a:gd name="T14" fmla="*/ 52 w 66"/>
                      <a:gd name="T15" fmla="*/ 0 h 66"/>
                      <a:gd name="T16" fmla="*/ 53 w 66"/>
                      <a:gd name="T17" fmla="*/ 1 h 66"/>
                      <a:gd name="T18" fmla="*/ 65 w 66"/>
                      <a:gd name="T19" fmla="*/ 13 h 66"/>
                      <a:gd name="T20" fmla="*/ 65 w 66"/>
                      <a:gd name="T21" fmla="*/ 15 h 66"/>
                      <a:gd name="T22" fmla="*/ 15 w 66"/>
                      <a:gd name="T23" fmla="*/ 65 h 66"/>
                      <a:gd name="T24" fmla="*/ 14 w 66"/>
                      <a:gd name="T25" fmla="*/ 66 h 66"/>
                      <a:gd name="T26" fmla="*/ 5 w 66"/>
                      <a:gd name="T27" fmla="*/ 52 h 66"/>
                      <a:gd name="T28" fmla="*/ 14 w 66"/>
                      <a:gd name="T29" fmla="*/ 61 h 66"/>
                      <a:gd name="T30" fmla="*/ 61 w 66"/>
                      <a:gd name="T31" fmla="*/ 14 h 66"/>
                      <a:gd name="T32" fmla="*/ 52 w 66"/>
                      <a:gd name="T33" fmla="*/ 5 h 66"/>
                      <a:gd name="T34" fmla="*/ 5 w 66"/>
                      <a:gd name="T35" fmla="*/ 52 h 6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66" h="66">
                        <a:moveTo>
                          <a:pt x="14" y="66"/>
                        </a:moveTo>
                        <a:cubicBezTo>
                          <a:pt x="13" y="66"/>
                          <a:pt x="13" y="66"/>
                          <a:pt x="13" y="65"/>
                        </a:cubicBezTo>
                        <a:cubicBezTo>
                          <a:pt x="1" y="53"/>
                          <a:pt x="1" y="53"/>
                          <a:pt x="1" y="53"/>
                        </a:cubicBezTo>
                        <a:cubicBezTo>
                          <a:pt x="0" y="53"/>
                          <a:pt x="0" y="53"/>
                          <a:pt x="0" y="52"/>
                        </a:cubicBezTo>
                        <a:cubicBezTo>
                          <a:pt x="0" y="51"/>
                          <a:pt x="0" y="51"/>
                          <a:pt x="1" y="51"/>
                        </a:cubicBezTo>
                        <a:cubicBezTo>
                          <a:pt x="51" y="1"/>
                          <a:pt x="51" y="1"/>
                          <a:pt x="51" y="1"/>
                        </a:cubicBezTo>
                        <a:cubicBezTo>
                          <a:pt x="51" y="0"/>
                          <a:pt x="51" y="0"/>
                          <a:pt x="52" y="0"/>
                        </a:cubicBezTo>
                        <a:cubicBezTo>
                          <a:pt x="52" y="0"/>
                          <a:pt x="52" y="0"/>
                          <a:pt x="52" y="0"/>
                        </a:cubicBezTo>
                        <a:cubicBezTo>
                          <a:pt x="53" y="0"/>
                          <a:pt x="53" y="0"/>
                          <a:pt x="53" y="1"/>
                        </a:cubicBezTo>
                        <a:cubicBezTo>
                          <a:pt x="65" y="13"/>
                          <a:pt x="65" y="13"/>
                          <a:pt x="65" y="13"/>
                        </a:cubicBezTo>
                        <a:cubicBezTo>
                          <a:pt x="66" y="13"/>
                          <a:pt x="66" y="15"/>
                          <a:pt x="65" y="15"/>
                        </a:cubicBezTo>
                        <a:cubicBezTo>
                          <a:pt x="15" y="65"/>
                          <a:pt x="15" y="65"/>
                          <a:pt x="15" y="65"/>
                        </a:cubicBezTo>
                        <a:cubicBezTo>
                          <a:pt x="15" y="66"/>
                          <a:pt x="15" y="66"/>
                          <a:pt x="14" y="66"/>
                        </a:cubicBezTo>
                        <a:close/>
                        <a:moveTo>
                          <a:pt x="5" y="52"/>
                        </a:moveTo>
                        <a:cubicBezTo>
                          <a:pt x="14" y="61"/>
                          <a:pt x="14" y="61"/>
                          <a:pt x="14" y="61"/>
                        </a:cubicBezTo>
                        <a:cubicBezTo>
                          <a:pt x="61" y="14"/>
                          <a:pt x="61" y="14"/>
                          <a:pt x="61" y="14"/>
                        </a:cubicBezTo>
                        <a:cubicBezTo>
                          <a:pt x="52" y="5"/>
                          <a:pt x="52" y="5"/>
                          <a:pt x="52" y="5"/>
                        </a:cubicBezTo>
                        <a:lnTo>
                          <a:pt x="5" y="52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4" name="Freeform 21"/>
                  <p:cNvSpPr>
                    <a:spLocks/>
                  </p:cNvSpPr>
                  <p:nvPr/>
                </p:nvSpPr>
                <p:spPr bwMode="auto">
                  <a:xfrm>
                    <a:off x="2263779" y="4902219"/>
                    <a:ext cx="196850" cy="174625"/>
                  </a:xfrm>
                  <a:custGeom>
                    <a:avLst/>
                    <a:gdLst>
                      <a:gd name="T0" fmla="*/ 41 w 51"/>
                      <a:gd name="T1" fmla="*/ 45 h 45"/>
                      <a:gd name="T2" fmla="*/ 40 w 51"/>
                      <a:gd name="T3" fmla="*/ 45 h 45"/>
                      <a:gd name="T4" fmla="*/ 39 w 51"/>
                      <a:gd name="T5" fmla="*/ 45 h 45"/>
                      <a:gd name="T6" fmla="*/ 38 w 51"/>
                      <a:gd name="T7" fmla="*/ 44 h 45"/>
                      <a:gd name="T8" fmla="*/ 1 w 51"/>
                      <a:gd name="T9" fmla="*/ 11 h 45"/>
                      <a:gd name="T10" fmla="*/ 1 w 51"/>
                      <a:gd name="T11" fmla="*/ 8 h 45"/>
                      <a:gd name="T12" fmla="*/ 4 w 51"/>
                      <a:gd name="T13" fmla="*/ 8 h 45"/>
                      <a:gd name="T14" fmla="*/ 40 w 51"/>
                      <a:gd name="T15" fmla="*/ 41 h 45"/>
                      <a:gd name="T16" fmla="*/ 40 w 51"/>
                      <a:gd name="T17" fmla="*/ 41 h 45"/>
                      <a:gd name="T18" fmla="*/ 46 w 51"/>
                      <a:gd name="T19" fmla="*/ 40 h 45"/>
                      <a:gd name="T20" fmla="*/ 47 w 51"/>
                      <a:gd name="T21" fmla="*/ 34 h 45"/>
                      <a:gd name="T22" fmla="*/ 9 w 51"/>
                      <a:gd name="T23" fmla="*/ 4 h 45"/>
                      <a:gd name="T24" fmla="*/ 8 w 51"/>
                      <a:gd name="T25" fmla="*/ 1 h 45"/>
                      <a:gd name="T26" fmla="*/ 11 w 51"/>
                      <a:gd name="T27" fmla="*/ 0 h 45"/>
                      <a:gd name="T28" fmla="*/ 50 w 51"/>
                      <a:gd name="T29" fmla="*/ 31 h 45"/>
                      <a:gd name="T30" fmla="*/ 51 w 51"/>
                      <a:gd name="T31" fmla="*/ 33 h 45"/>
                      <a:gd name="T32" fmla="*/ 48 w 51"/>
                      <a:gd name="T33" fmla="*/ 43 h 45"/>
                      <a:gd name="T34" fmla="*/ 41 w 51"/>
                      <a:gd name="T35" fmla="*/ 45 h 4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51" h="45">
                        <a:moveTo>
                          <a:pt x="41" y="45"/>
                        </a:moveTo>
                        <a:cubicBezTo>
                          <a:pt x="41" y="45"/>
                          <a:pt x="41" y="45"/>
                          <a:pt x="40" y="45"/>
                        </a:cubicBezTo>
                        <a:cubicBezTo>
                          <a:pt x="39" y="45"/>
                          <a:pt x="39" y="45"/>
                          <a:pt x="39" y="45"/>
                        </a:cubicBezTo>
                        <a:cubicBezTo>
                          <a:pt x="38" y="45"/>
                          <a:pt x="38" y="45"/>
                          <a:pt x="38" y="44"/>
                        </a:cubicBezTo>
                        <a:cubicBezTo>
                          <a:pt x="1" y="11"/>
                          <a:pt x="1" y="11"/>
                          <a:pt x="1" y="11"/>
                        </a:cubicBezTo>
                        <a:cubicBezTo>
                          <a:pt x="1" y="10"/>
                          <a:pt x="0" y="9"/>
                          <a:pt x="1" y="8"/>
                        </a:cubicBezTo>
                        <a:cubicBezTo>
                          <a:pt x="2" y="7"/>
                          <a:pt x="3" y="7"/>
                          <a:pt x="4" y="8"/>
                        </a:cubicBezTo>
                        <a:cubicBezTo>
                          <a:pt x="40" y="41"/>
                          <a:pt x="40" y="41"/>
                          <a:pt x="40" y="41"/>
                        </a:cubicBezTo>
                        <a:cubicBezTo>
                          <a:pt x="40" y="41"/>
                          <a:pt x="40" y="41"/>
                          <a:pt x="40" y="41"/>
                        </a:cubicBezTo>
                        <a:cubicBezTo>
                          <a:pt x="43" y="41"/>
                          <a:pt x="45" y="41"/>
                          <a:pt x="46" y="40"/>
                        </a:cubicBezTo>
                        <a:cubicBezTo>
                          <a:pt x="46" y="39"/>
                          <a:pt x="47" y="37"/>
                          <a:pt x="47" y="34"/>
                        </a:cubicBezTo>
                        <a:cubicBezTo>
                          <a:pt x="9" y="4"/>
                          <a:pt x="9" y="4"/>
                          <a:pt x="9" y="4"/>
                        </a:cubicBezTo>
                        <a:cubicBezTo>
                          <a:pt x="8" y="3"/>
                          <a:pt x="8" y="2"/>
                          <a:pt x="8" y="1"/>
                        </a:cubicBezTo>
                        <a:cubicBezTo>
                          <a:pt x="9" y="0"/>
                          <a:pt x="10" y="0"/>
                          <a:pt x="11" y="0"/>
                        </a:cubicBezTo>
                        <a:cubicBezTo>
                          <a:pt x="50" y="31"/>
                          <a:pt x="50" y="31"/>
                          <a:pt x="50" y="31"/>
                        </a:cubicBezTo>
                        <a:cubicBezTo>
                          <a:pt x="51" y="32"/>
                          <a:pt x="51" y="32"/>
                          <a:pt x="51" y="33"/>
                        </a:cubicBezTo>
                        <a:cubicBezTo>
                          <a:pt x="51" y="38"/>
                          <a:pt x="50" y="41"/>
                          <a:pt x="48" y="43"/>
                        </a:cubicBezTo>
                        <a:cubicBezTo>
                          <a:pt x="47" y="45"/>
                          <a:pt x="44" y="45"/>
                          <a:pt x="41" y="45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1" name="Freeform 22"/>
                  <p:cNvSpPr>
                    <a:spLocks/>
                  </p:cNvSpPr>
                  <p:nvPr/>
                </p:nvSpPr>
                <p:spPr bwMode="auto">
                  <a:xfrm>
                    <a:off x="2352680" y="4767281"/>
                    <a:ext cx="100013" cy="139701"/>
                  </a:xfrm>
                  <a:custGeom>
                    <a:avLst/>
                    <a:gdLst>
                      <a:gd name="T0" fmla="*/ 2 w 26"/>
                      <a:gd name="T1" fmla="*/ 36 h 36"/>
                      <a:gd name="T2" fmla="*/ 1 w 26"/>
                      <a:gd name="T3" fmla="*/ 35 h 36"/>
                      <a:gd name="T4" fmla="*/ 1 w 26"/>
                      <a:gd name="T5" fmla="*/ 33 h 36"/>
                      <a:gd name="T6" fmla="*/ 21 w 26"/>
                      <a:gd name="T7" fmla="*/ 13 h 36"/>
                      <a:gd name="T8" fmla="*/ 22 w 26"/>
                      <a:gd name="T9" fmla="*/ 8 h 36"/>
                      <a:gd name="T10" fmla="*/ 21 w 26"/>
                      <a:gd name="T11" fmla="*/ 3 h 36"/>
                      <a:gd name="T12" fmla="*/ 21 w 26"/>
                      <a:gd name="T13" fmla="*/ 1 h 36"/>
                      <a:gd name="T14" fmla="*/ 23 w 26"/>
                      <a:gd name="T15" fmla="*/ 1 h 36"/>
                      <a:gd name="T16" fmla="*/ 26 w 26"/>
                      <a:gd name="T17" fmla="*/ 8 h 36"/>
                      <a:gd name="T18" fmla="*/ 23 w 26"/>
                      <a:gd name="T19" fmla="*/ 15 h 36"/>
                      <a:gd name="T20" fmla="*/ 3 w 26"/>
                      <a:gd name="T21" fmla="*/ 35 h 36"/>
                      <a:gd name="T22" fmla="*/ 2 w 26"/>
                      <a:gd name="T23" fmla="*/ 36 h 3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26" h="36">
                        <a:moveTo>
                          <a:pt x="2" y="36"/>
                        </a:moveTo>
                        <a:cubicBezTo>
                          <a:pt x="1" y="36"/>
                          <a:pt x="1" y="36"/>
                          <a:pt x="1" y="35"/>
                        </a:cubicBezTo>
                        <a:cubicBezTo>
                          <a:pt x="0" y="35"/>
                          <a:pt x="0" y="33"/>
                          <a:pt x="1" y="33"/>
                        </a:cubicBezTo>
                        <a:cubicBezTo>
                          <a:pt x="21" y="13"/>
                          <a:pt x="21" y="13"/>
                          <a:pt x="21" y="13"/>
                        </a:cubicBezTo>
                        <a:cubicBezTo>
                          <a:pt x="22" y="11"/>
                          <a:pt x="22" y="10"/>
                          <a:pt x="22" y="8"/>
                        </a:cubicBezTo>
                        <a:cubicBezTo>
                          <a:pt x="22" y="6"/>
                          <a:pt x="22" y="5"/>
                          <a:pt x="21" y="3"/>
                        </a:cubicBezTo>
                        <a:cubicBezTo>
                          <a:pt x="20" y="3"/>
                          <a:pt x="20" y="1"/>
                          <a:pt x="21" y="1"/>
                        </a:cubicBezTo>
                        <a:cubicBezTo>
                          <a:pt x="21" y="0"/>
                          <a:pt x="23" y="0"/>
                          <a:pt x="23" y="1"/>
                        </a:cubicBezTo>
                        <a:cubicBezTo>
                          <a:pt x="25" y="2"/>
                          <a:pt x="26" y="5"/>
                          <a:pt x="26" y="8"/>
                        </a:cubicBezTo>
                        <a:cubicBezTo>
                          <a:pt x="26" y="11"/>
                          <a:pt x="25" y="14"/>
                          <a:pt x="23" y="15"/>
                        </a:cubicBezTo>
                        <a:cubicBezTo>
                          <a:pt x="3" y="35"/>
                          <a:pt x="3" y="35"/>
                          <a:pt x="3" y="35"/>
                        </a:cubicBezTo>
                        <a:cubicBezTo>
                          <a:pt x="3" y="36"/>
                          <a:pt x="3" y="36"/>
                          <a:pt x="2" y="36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2" name="Freeform 23"/>
                  <p:cNvSpPr>
                    <a:spLocks/>
                  </p:cNvSpPr>
                  <p:nvPr/>
                </p:nvSpPr>
                <p:spPr bwMode="auto">
                  <a:xfrm>
                    <a:off x="2089154" y="5033975"/>
                    <a:ext cx="42863" cy="42863"/>
                  </a:xfrm>
                  <a:custGeom>
                    <a:avLst/>
                    <a:gdLst>
                      <a:gd name="T0" fmla="*/ 2 w 11"/>
                      <a:gd name="T1" fmla="*/ 11 h 11"/>
                      <a:gd name="T2" fmla="*/ 1 w 11"/>
                      <a:gd name="T3" fmla="*/ 10 h 11"/>
                      <a:gd name="T4" fmla="*/ 1 w 11"/>
                      <a:gd name="T5" fmla="*/ 8 h 11"/>
                      <a:gd name="T6" fmla="*/ 8 w 11"/>
                      <a:gd name="T7" fmla="*/ 1 h 11"/>
                      <a:gd name="T8" fmla="*/ 10 w 11"/>
                      <a:gd name="T9" fmla="*/ 1 h 11"/>
                      <a:gd name="T10" fmla="*/ 10 w 11"/>
                      <a:gd name="T11" fmla="*/ 3 h 11"/>
                      <a:gd name="T12" fmla="*/ 3 w 11"/>
                      <a:gd name="T13" fmla="*/ 10 h 11"/>
                      <a:gd name="T14" fmla="*/ 2 w 11"/>
                      <a:gd name="T15" fmla="*/ 11 h 1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1" h="11">
                        <a:moveTo>
                          <a:pt x="2" y="11"/>
                        </a:moveTo>
                        <a:cubicBezTo>
                          <a:pt x="1" y="11"/>
                          <a:pt x="1" y="11"/>
                          <a:pt x="1" y="10"/>
                        </a:cubicBezTo>
                        <a:cubicBezTo>
                          <a:pt x="0" y="10"/>
                          <a:pt x="0" y="8"/>
                          <a:pt x="1" y="8"/>
                        </a:cubicBezTo>
                        <a:cubicBezTo>
                          <a:pt x="8" y="1"/>
                          <a:pt x="8" y="1"/>
                          <a:pt x="8" y="1"/>
                        </a:cubicBezTo>
                        <a:cubicBezTo>
                          <a:pt x="8" y="0"/>
                          <a:pt x="10" y="0"/>
                          <a:pt x="10" y="1"/>
                        </a:cubicBezTo>
                        <a:cubicBezTo>
                          <a:pt x="11" y="1"/>
                          <a:pt x="11" y="3"/>
                          <a:pt x="10" y="3"/>
                        </a:cubicBezTo>
                        <a:cubicBezTo>
                          <a:pt x="3" y="10"/>
                          <a:pt x="3" y="10"/>
                          <a:pt x="3" y="10"/>
                        </a:cubicBezTo>
                        <a:cubicBezTo>
                          <a:pt x="3" y="11"/>
                          <a:pt x="3" y="11"/>
                          <a:pt x="2" y="11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3" name="Freeform 24"/>
                  <p:cNvSpPr>
                    <a:spLocks noEditPoints="1"/>
                  </p:cNvSpPr>
                  <p:nvPr/>
                </p:nvSpPr>
                <p:spPr bwMode="auto">
                  <a:xfrm>
                    <a:off x="2312991" y="4705365"/>
                    <a:ext cx="147638" cy="147639"/>
                  </a:xfrm>
                  <a:custGeom>
                    <a:avLst/>
                    <a:gdLst>
                      <a:gd name="T0" fmla="*/ 14 w 38"/>
                      <a:gd name="T1" fmla="*/ 38 h 38"/>
                      <a:gd name="T2" fmla="*/ 13 w 38"/>
                      <a:gd name="T3" fmla="*/ 37 h 38"/>
                      <a:gd name="T4" fmla="*/ 1 w 38"/>
                      <a:gd name="T5" fmla="*/ 25 h 38"/>
                      <a:gd name="T6" fmla="*/ 1 w 38"/>
                      <a:gd name="T7" fmla="*/ 23 h 38"/>
                      <a:gd name="T8" fmla="*/ 23 w 38"/>
                      <a:gd name="T9" fmla="*/ 1 h 38"/>
                      <a:gd name="T10" fmla="*/ 25 w 38"/>
                      <a:gd name="T11" fmla="*/ 1 h 38"/>
                      <a:gd name="T12" fmla="*/ 37 w 38"/>
                      <a:gd name="T13" fmla="*/ 13 h 38"/>
                      <a:gd name="T14" fmla="*/ 37 w 38"/>
                      <a:gd name="T15" fmla="*/ 15 h 38"/>
                      <a:gd name="T16" fmla="*/ 15 w 38"/>
                      <a:gd name="T17" fmla="*/ 37 h 38"/>
                      <a:gd name="T18" fmla="*/ 14 w 38"/>
                      <a:gd name="T19" fmla="*/ 38 h 38"/>
                      <a:gd name="T20" fmla="*/ 5 w 38"/>
                      <a:gd name="T21" fmla="*/ 24 h 38"/>
                      <a:gd name="T22" fmla="*/ 14 w 38"/>
                      <a:gd name="T23" fmla="*/ 33 h 38"/>
                      <a:gd name="T24" fmla="*/ 33 w 38"/>
                      <a:gd name="T25" fmla="*/ 14 h 38"/>
                      <a:gd name="T26" fmla="*/ 24 w 38"/>
                      <a:gd name="T27" fmla="*/ 5 h 38"/>
                      <a:gd name="T28" fmla="*/ 5 w 38"/>
                      <a:gd name="T29" fmla="*/ 24 h 3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38" h="38">
                        <a:moveTo>
                          <a:pt x="14" y="38"/>
                        </a:moveTo>
                        <a:cubicBezTo>
                          <a:pt x="13" y="38"/>
                          <a:pt x="13" y="38"/>
                          <a:pt x="13" y="37"/>
                        </a:cubicBezTo>
                        <a:cubicBezTo>
                          <a:pt x="1" y="25"/>
                          <a:pt x="1" y="25"/>
                          <a:pt x="1" y="25"/>
                        </a:cubicBezTo>
                        <a:cubicBezTo>
                          <a:pt x="0" y="25"/>
                          <a:pt x="0" y="23"/>
                          <a:pt x="1" y="23"/>
                        </a:cubicBezTo>
                        <a:cubicBezTo>
                          <a:pt x="23" y="1"/>
                          <a:pt x="23" y="1"/>
                          <a:pt x="23" y="1"/>
                        </a:cubicBezTo>
                        <a:cubicBezTo>
                          <a:pt x="23" y="0"/>
                          <a:pt x="25" y="0"/>
                          <a:pt x="25" y="1"/>
                        </a:cubicBezTo>
                        <a:cubicBezTo>
                          <a:pt x="37" y="13"/>
                          <a:pt x="37" y="13"/>
                          <a:pt x="37" y="13"/>
                        </a:cubicBezTo>
                        <a:cubicBezTo>
                          <a:pt x="38" y="13"/>
                          <a:pt x="38" y="15"/>
                          <a:pt x="37" y="15"/>
                        </a:cubicBezTo>
                        <a:cubicBezTo>
                          <a:pt x="15" y="37"/>
                          <a:pt x="15" y="37"/>
                          <a:pt x="15" y="37"/>
                        </a:cubicBezTo>
                        <a:cubicBezTo>
                          <a:pt x="15" y="38"/>
                          <a:pt x="15" y="38"/>
                          <a:pt x="14" y="38"/>
                        </a:cubicBezTo>
                        <a:close/>
                        <a:moveTo>
                          <a:pt x="5" y="24"/>
                        </a:moveTo>
                        <a:cubicBezTo>
                          <a:pt x="14" y="33"/>
                          <a:pt x="14" y="33"/>
                          <a:pt x="14" y="33"/>
                        </a:cubicBezTo>
                        <a:cubicBezTo>
                          <a:pt x="33" y="14"/>
                          <a:pt x="33" y="14"/>
                          <a:pt x="33" y="14"/>
                        </a:cubicBezTo>
                        <a:cubicBezTo>
                          <a:pt x="24" y="5"/>
                          <a:pt x="24" y="5"/>
                          <a:pt x="24" y="5"/>
                        </a:cubicBezTo>
                        <a:lnTo>
                          <a:pt x="5" y="24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4" name="Freeform 25"/>
                  <p:cNvSpPr>
                    <a:spLocks/>
                  </p:cNvSpPr>
                  <p:nvPr/>
                </p:nvSpPr>
                <p:spPr bwMode="auto">
                  <a:xfrm>
                    <a:off x="2105027" y="4995882"/>
                    <a:ext cx="65088" cy="65088"/>
                  </a:xfrm>
                  <a:custGeom>
                    <a:avLst/>
                    <a:gdLst>
                      <a:gd name="T0" fmla="*/ 8 w 17"/>
                      <a:gd name="T1" fmla="*/ 17 h 17"/>
                      <a:gd name="T2" fmla="*/ 8 w 17"/>
                      <a:gd name="T3" fmla="*/ 17 h 17"/>
                      <a:gd name="T4" fmla="*/ 7 w 17"/>
                      <a:gd name="T5" fmla="*/ 16 h 17"/>
                      <a:gd name="T6" fmla="*/ 1 w 17"/>
                      <a:gd name="T7" fmla="*/ 10 h 17"/>
                      <a:gd name="T8" fmla="*/ 1 w 17"/>
                      <a:gd name="T9" fmla="*/ 8 h 17"/>
                      <a:gd name="T10" fmla="*/ 8 w 17"/>
                      <a:gd name="T11" fmla="*/ 1 h 17"/>
                      <a:gd name="T12" fmla="*/ 10 w 17"/>
                      <a:gd name="T13" fmla="*/ 1 h 17"/>
                      <a:gd name="T14" fmla="*/ 10 w 17"/>
                      <a:gd name="T15" fmla="*/ 3 h 17"/>
                      <a:gd name="T16" fmla="*/ 5 w 17"/>
                      <a:gd name="T17" fmla="*/ 9 h 17"/>
                      <a:gd name="T18" fmla="*/ 8 w 17"/>
                      <a:gd name="T19" fmla="*/ 12 h 17"/>
                      <a:gd name="T20" fmla="*/ 14 w 17"/>
                      <a:gd name="T21" fmla="*/ 7 h 17"/>
                      <a:gd name="T22" fmla="*/ 16 w 17"/>
                      <a:gd name="T23" fmla="*/ 7 h 17"/>
                      <a:gd name="T24" fmla="*/ 16 w 17"/>
                      <a:gd name="T25" fmla="*/ 9 h 17"/>
                      <a:gd name="T26" fmla="*/ 9 w 17"/>
                      <a:gd name="T27" fmla="*/ 16 h 17"/>
                      <a:gd name="T28" fmla="*/ 8 w 17"/>
                      <a:gd name="T29" fmla="*/ 17 h 1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17" h="17">
                        <a:moveTo>
                          <a:pt x="8" y="17"/>
                        </a:moveTo>
                        <a:cubicBezTo>
                          <a:pt x="8" y="17"/>
                          <a:pt x="8" y="17"/>
                          <a:pt x="8" y="17"/>
                        </a:cubicBezTo>
                        <a:cubicBezTo>
                          <a:pt x="7" y="17"/>
                          <a:pt x="7" y="17"/>
                          <a:pt x="7" y="16"/>
                        </a:cubicBezTo>
                        <a:cubicBezTo>
                          <a:pt x="1" y="10"/>
                          <a:pt x="1" y="10"/>
                          <a:pt x="1" y="10"/>
                        </a:cubicBezTo>
                        <a:cubicBezTo>
                          <a:pt x="0" y="10"/>
                          <a:pt x="0" y="8"/>
                          <a:pt x="1" y="8"/>
                        </a:cubicBezTo>
                        <a:cubicBezTo>
                          <a:pt x="8" y="1"/>
                          <a:pt x="8" y="1"/>
                          <a:pt x="8" y="1"/>
                        </a:cubicBezTo>
                        <a:cubicBezTo>
                          <a:pt x="8" y="0"/>
                          <a:pt x="10" y="0"/>
                          <a:pt x="10" y="1"/>
                        </a:cubicBezTo>
                        <a:cubicBezTo>
                          <a:pt x="11" y="1"/>
                          <a:pt x="11" y="3"/>
                          <a:pt x="10" y="3"/>
                        </a:cubicBezTo>
                        <a:cubicBezTo>
                          <a:pt x="5" y="9"/>
                          <a:pt x="5" y="9"/>
                          <a:pt x="5" y="9"/>
                        </a:cubicBezTo>
                        <a:cubicBezTo>
                          <a:pt x="8" y="12"/>
                          <a:pt x="8" y="12"/>
                          <a:pt x="8" y="12"/>
                        </a:cubicBezTo>
                        <a:cubicBezTo>
                          <a:pt x="14" y="7"/>
                          <a:pt x="14" y="7"/>
                          <a:pt x="14" y="7"/>
                        </a:cubicBezTo>
                        <a:cubicBezTo>
                          <a:pt x="14" y="6"/>
                          <a:pt x="16" y="6"/>
                          <a:pt x="16" y="7"/>
                        </a:cubicBezTo>
                        <a:cubicBezTo>
                          <a:pt x="17" y="7"/>
                          <a:pt x="17" y="9"/>
                          <a:pt x="16" y="9"/>
                        </a:cubicBezTo>
                        <a:cubicBezTo>
                          <a:pt x="9" y="16"/>
                          <a:pt x="9" y="16"/>
                          <a:pt x="9" y="16"/>
                        </a:cubicBezTo>
                        <a:cubicBezTo>
                          <a:pt x="9" y="17"/>
                          <a:pt x="9" y="17"/>
                          <a:pt x="8" y="17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5" name="Freeform 26"/>
                  <p:cNvSpPr>
                    <a:spLocks noEditPoints="1"/>
                  </p:cNvSpPr>
                  <p:nvPr/>
                </p:nvSpPr>
                <p:spPr bwMode="auto">
                  <a:xfrm>
                    <a:off x="2089154" y="4705375"/>
                    <a:ext cx="150814" cy="182564"/>
                  </a:xfrm>
                  <a:custGeom>
                    <a:avLst/>
                    <a:gdLst>
                      <a:gd name="T0" fmla="*/ 23 w 39"/>
                      <a:gd name="T1" fmla="*/ 47 h 47"/>
                      <a:gd name="T2" fmla="*/ 4 w 39"/>
                      <a:gd name="T3" fmla="*/ 32 h 47"/>
                      <a:gd name="T4" fmla="*/ 11 w 39"/>
                      <a:gd name="T5" fmla="*/ 1 h 47"/>
                      <a:gd name="T6" fmla="*/ 13 w 39"/>
                      <a:gd name="T7" fmla="*/ 0 h 47"/>
                      <a:gd name="T8" fmla="*/ 14 w 39"/>
                      <a:gd name="T9" fmla="*/ 2 h 47"/>
                      <a:gd name="T10" fmla="*/ 25 w 39"/>
                      <a:gd name="T11" fmla="*/ 15 h 47"/>
                      <a:gd name="T12" fmla="*/ 32 w 39"/>
                      <a:gd name="T13" fmla="*/ 18 h 47"/>
                      <a:gd name="T14" fmla="*/ 38 w 39"/>
                      <a:gd name="T15" fmla="*/ 28 h 47"/>
                      <a:gd name="T16" fmla="*/ 35 w 39"/>
                      <a:gd name="T17" fmla="*/ 40 h 47"/>
                      <a:gd name="T18" fmla="*/ 23 w 39"/>
                      <a:gd name="T19" fmla="*/ 47 h 47"/>
                      <a:gd name="T20" fmla="*/ 10 w 39"/>
                      <a:gd name="T21" fmla="*/ 7 h 47"/>
                      <a:gd name="T22" fmla="*/ 8 w 39"/>
                      <a:gd name="T23" fmla="*/ 30 h 47"/>
                      <a:gd name="T24" fmla="*/ 23 w 39"/>
                      <a:gd name="T25" fmla="*/ 43 h 47"/>
                      <a:gd name="T26" fmla="*/ 32 w 39"/>
                      <a:gd name="T27" fmla="*/ 38 h 47"/>
                      <a:gd name="T28" fmla="*/ 34 w 39"/>
                      <a:gd name="T29" fmla="*/ 29 h 47"/>
                      <a:gd name="T30" fmla="*/ 30 w 39"/>
                      <a:gd name="T31" fmla="*/ 21 h 47"/>
                      <a:gd name="T32" fmla="*/ 24 w 39"/>
                      <a:gd name="T33" fmla="*/ 19 h 47"/>
                      <a:gd name="T34" fmla="*/ 10 w 39"/>
                      <a:gd name="T35" fmla="*/ 7 h 4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39" h="47">
                        <a:moveTo>
                          <a:pt x="23" y="47"/>
                        </a:moveTo>
                        <a:cubicBezTo>
                          <a:pt x="16" y="47"/>
                          <a:pt x="8" y="41"/>
                          <a:pt x="4" y="32"/>
                        </a:cubicBezTo>
                        <a:cubicBezTo>
                          <a:pt x="0" y="20"/>
                          <a:pt x="2" y="9"/>
                          <a:pt x="11" y="1"/>
                        </a:cubicBezTo>
                        <a:cubicBezTo>
                          <a:pt x="11" y="0"/>
                          <a:pt x="12" y="0"/>
                          <a:pt x="13" y="0"/>
                        </a:cubicBezTo>
                        <a:cubicBezTo>
                          <a:pt x="14" y="1"/>
                          <a:pt x="14" y="1"/>
                          <a:pt x="14" y="2"/>
                        </a:cubicBezTo>
                        <a:cubicBezTo>
                          <a:pt x="14" y="11"/>
                          <a:pt x="19" y="13"/>
                          <a:pt x="25" y="15"/>
                        </a:cubicBezTo>
                        <a:cubicBezTo>
                          <a:pt x="27" y="16"/>
                          <a:pt x="30" y="16"/>
                          <a:pt x="32" y="18"/>
                        </a:cubicBezTo>
                        <a:cubicBezTo>
                          <a:pt x="35" y="20"/>
                          <a:pt x="38" y="24"/>
                          <a:pt x="38" y="28"/>
                        </a:cubicBezTo>
                        <a:cubicBezTo>
                          <a:pt x="39" y="33"/>
                          <a:pt x="38" y="37"/>
                          <a:pt x="35" y="40"/>
                        </a:cubicBezTo>
                        <a:cubicBezTo>
                          <a:pt x="31" y="46"/>
                          <a:pt x="26" y="47"/>
                          <a:pt x="23" y="47"/>
                        </a:cubicBezTo>
                        <a:close/>
                        <a:moveTo>
                          <a:pt x="10" y="7"/>
                        </a:moveTo>
                        <a:cubicBezTo>
                          <a:pt x="5" y="14"/>
                          <a:pt x="4" y="22"/>
                          <a:pt x="8" y="30"/>
                        </a:cubicBezTo>
                        <a:cubicBezTo>
                          <a:pt x="11" y="38"/>
                          <a:pt x="17" y="43"/>
                          <a:pt x="23" y="43"/>
                        </a:cubicBezTo>
                        <a:cubicBezTo>
                          <a:pt x="26" y="43"/>
                          <a:pt x="29" y="41"/>
                          <a:pt x="32" y="38"/>
                        </a:cubicBezTo>
                        <a:cubicBezTo>
                          <a:pt x="34" y="36"/>
                          <a:pt x="35" y="32"/>
                          <a:pt x="34" y="29"/>
                        </a:cubicBezTo>
                        <a:cubicBezTo>
                          <a:pt x="34" y="26"/>
                          <a:pt x="32" y="23"/>
                          <a:pt x="30" y="21"/>
                        </a:cubicBezTo>
                        <a:cubicBezTo>
                          <a:pt x="28" y="20"/>
                          <a:pt x="26" y="19"/>
                          <a:pt x="24" y="19"/>
                        </a:cubicBezTo>
                        <a:cubicBezTo>
                          <a:pt x="19" y="17"/>
                          <a:pt x="12" y="15"/>
                          <a:pt x="10" y="7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6" name="Freeform 27"/>
                  <p:cNvSpPr>
                    <a:spLocks/>
                  </p:cNvSpPr>
                  <p:nvPr/>
                </p:nvSpPr>
                <p:spPr bwMode="auto">
                  <a:xfrm>
                    <a:off x="2193925" y="4840289"/>
                    <a:ext cx="65088" cy="61913"/>
                  </a:xfrm>
                  <a:custGeom>
                    <a:avLst/>
                    <a:gdLst>
                      <a:gd name="T0" fmla="*/ 8 w 17"/>
                      <a:gd name="T1" fmla="*/ 16 h 16"/>
                      <a:gd name="T2" fmla="*/ 7 w 17"/>
                      <a:gd name="T3" fmla="*/ 15 h 16"/>
                      <a:gd name="T4" fmla="*/ 1 w 17"/>
                      <a:gd name="T5" fmla="*/ 10 h 16"/>
                      <a:gd name="T6" fmla="*/ 0 w 17"/>
                      <a:gd name="T7" fmla="*/ 8 h 16"/>
                      <a:gd name="T8" fmla="*/ 1 w 17"/>
                      <a:gd name="T9" fmla="*/ 7 h 16"/>
                      <a:gd name="T10" fmla="*/ 5 w 17"/>
                      <a:gd name="T11" fmla="*/ 3 h 16"/>
                      <a:gd name="T12" fmla="*/ 6 w 17"/>
                      <a:gd name="T13" fmla="*/ 1 h 16"/>
                      <a:gd name="T14" fmla="*/ 6 w 17"/>
                      <a:gd name="T15" fmla="*/ 1 h 16"/>
                      <a:gd name="T16" fmla="*/ 9 w 17"/>
                      <a:gd name="T17" fmla="*/ 1 h 16"/>
                      <a:gd name="T18" fmla="*/ 16 w 17"/>
                      <a:gd name="T19" fmla="*/ 6 h 16"/>
                      <a:gd name="T20" fmla="*/ 16 w 17"/>
                      <a:gd name="T21" fmla="*/ 9 h 16"/>
                      <a:gd name="T22" fmla="*/ 13 w 17"/>
                      <a:gd name="T23" fmla="*/ 9 h 16"/>
                      <a:gd name="T24" fmla="*/ 8 w 17"/>
                      <a:gd name="T25" fmla="*/ 5 h 16"/>
                      <a:gd name="T26" fmla="*/ 8 w 17"/>
                      <a:gd name="T27" fmla="*/ 5 h 16"/>
                      <a:gd name="T28" fmla="*/ 5 w 17"/>
                      <a:gd name="T29" fmla="*/ 8 h 16"/>
                      <a:gd name="T30" fmla="*/ 10 w 17"/>
                      <a:gd name="T31" fmla="*/ 12 h 16"/>
                      <a:gd name="T32" fmla="*/ 10 w 17"/>
                      <a:gd name="T33" fmla="*/ 15 h 16"/>
                      <a:gd name="T34" fmla="*/ 8 w 17"/>
                      <a:gd name="T35" fmla="*/ 16 h 1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17" h="16">
                        <a:moveTo>
                          <a:pt x="8" y="16"/>
                        </a:moveTo>
                        <a:cubicBezTo>
                          <a:pt x="8" y="16"/>
                          <a:pt x="7" y="16"/>
                          <a:pt x="7" y="15"/>
                        </a:cubicBezTo>
                        <a:cubicBezTo>
                          <a:pt x="1" y="10"/>
                          <a:pt x="1" y="10"/>
                          <a:pt x="1" y="10"/>
                        </a:cubicBezTo>
                        <a:cubicBezTo>
                          <a:pt x="1" y="9"/>
                          <a:pt x="0" y="9"/>
                          <a:pt x="0" y="8"/>
                        </a:cubicBezTo>
                        <a:cubicBezTo>
                          <a:pt x="0" y="8"/>
                          <a:pt x="1" y="7"/>
                          <a:pt x="1" y="7"/>
                        </a:cubicBezTo>
                        <a:cubicBezTo>
                          <a:pt x="3" y="6"/>
                          <a:pt x="4" y="5"/>
                          <a:pt x="5" y="3"/>
                        </a:cubicBezTo>
                        <a:cubicBezTo>
                          <a:pt x="5" y="3"/>
                          <a:pt x="6" y="2"/>
                          <a:pt x="6" y="1"/>
                        </a:cubicBezTo>
                        <a:cubicBezTo>
                          <a:pt x="6" y="1"/>
                          <a:pt x="6" y="1"/>
                          <a:pt x="6" y="1"/>
                        </a:cubicBezTo>
                        <a:cubicBezTo>
                          <a:pt x="7" y="0"/>
                          <a:pt x="8" y="0"/>
                          <a:pt x="9" y="1"/>
                        </a:cubicBezTo>
                        <a:cubicBezTo>
                          <a:pt x="16" y="6"/>
                          <a:pt x="16" y="6"/>
                          <a:pt x="16" y="6"/>
                        </a:cubicBezTo>
                        <a:cubicBezTo>
                          <a:pt x="17" y="7"/>
                          <a:pt x="17" y="8"/>
                          <a:pt x="16" y="9"/>
                        </a:cubicBezTo>
                        <a:cubicBezTo>
                          <a:pt x="15" y="10"/>
                          <a:pt x="14" y="10"/>
                          <a:pt x="13" y="9"/>
                        </a:cubicBezTo>
                        <a:cubicBezTo>
                          <a:pt x="8" y="5"/>
                          <a:pt x="8" y="5"/>
                          <a:pt x="8" y="5"/>
                        </a:cubicBezTo>
                        <a:cubicBezTo>
                          <a:pt x="8" y="5"/>
                          <a:pt x="8" y="5"/>
                          <a:pt x="8" y="5"/>
                        </a:cubicBezTo>
                        <a:cubicBezTo>
                          <a:pt x="7" y="7"/>
                          <a:pt x="6" y="8"/>
                          <a:pt x="5" y="8"/>
                        </a:cubicBezTo>
                        <a:cubicBezTo>
                          <a:pt x="10" y="12"/>
                          <a:pt x="10" y="12"/>
                          <a:pt x="10" y="12"/>
                        </a:cubicBezTo>
                        <a:cubicBezTo>
                          <a:pt x="10" y="13"/>
                          <a:pt x="10" y="14"/>
                          <a:pt x="10" y="15"/>
                        </a:cubicBezTo>
                        <a:cubicBezTo>
                          <a:pt x="9" y="16"/>
                          <a:pt x="9" y="16"/>
                          <a:pt x="8" y="16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204" name="Group 203"/>
              <p:cNvGrpSpPr/>
              <p:nvPr/>
            </p:nvGrpSpPr>
            <p:grpSpPr>
              <a:xfrm>
                <a:off x="428696" y="1784011"/>
                <a:ext cx="1811303" cy="693106"/>
                <a:chOff x="428696" y="1837130"/>
                <a:chExt cx="1811303" cy="693106"/>
              </a:xfrm>
            </p:grpSpPr>
            <p:sp>
              <p:nvSpPr>
                <p:cNvPr id="205" name="Rectangle 204"/>
                <p:cNvSpPr/>
                <p:nvPr/>
              </p:nvSpPr>
              <p:spPr>
                <a:xfrm>
                  <a:off x="428696" y="1837130"/>
                  <a:ext cx="1811303" cy="693106"/>
                </a:xfrm>
                <a:prstGeom prst="rect">
                  <a:avLst/>
                </a:prstGeom>
                <a:solidFill>
                  <a:schemeClr val="bg1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grpSp>
              <p:nvGrpSpPr>
                <p:cNvPr id="206" name="Group 205"/>
                <p:cNvGrpSpPr/>
                <p:nvPr/>
              </p:nvGrpSpPr>
              <p:grpSpPr>
                <a:xfrm>
                  <a:off x="610512" y="1950692"/>
                  <a:ext cx="1447670" cy="465983"/>
                  <a:chOff x="431800" y="990281"/>
                  <a:chExt cx="1447670" cy="465983"/>
                </a:xfrm>
              </p:grpSpPr>
              <p:sp>
                <p:nvSpPr>
                  <p:cNvPr id="207" name="TextBox 206"/>
                  <p:cNvSpPr txBox="1"/>
                  <p:nvPr/>
                </p:nvSpPr>
                <p:spPr>
                  <a:xfrm>
                    <a:off x="431800" y="990281"/>
                    <a:ext cx="371789" cy="153888"/>
                  </a:xfrm>
                  <a:prstGeom prst="rect">
                    <a:avLst/>
                  </a:prstGeom>
                  <a:noFill/>
                  <a:ln w="6350">
                    <a:noFill/>
                    <a:prstDash val="dash"/>
                  </a:ln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000" b="1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ea typeface="+mn-ea"/>
                        <a:cs typeface="+mn-cs"/>
                      </a:rPr>
                      <a:t>TASK 2</a:t>
                    </a:r>
                  </a:p>
                </p:txBody>
              </p:sp>
              <p:sp>
                <p:nvSpPr>
                  <p:cNvPr id="208" name="TextBox 207"/>
                  <p:cNvSpPr txBox="1"/>
                  <p:nvPr/>
                </p:nvSpPr>
                <p:spPr>
                  <a:xfrm>
                    <a:off x="431800" y="1148487"/>
                    <a:ext cx="1447670" cy="307777"/>
                  </a:xfrm>
                  <a:prstGeom prst="rect">
                    <a:avLst/>
                  </a:prstGeom>
                  <a:noFill/>
                  <a:ln w="6350">
                    <a:noFill/>
                    <a:prstDash val="dash"/>
                  </a:ln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ea typeface="+mn-ea"/>
                        <a:cs typeface="+mn-cs"/>
                      </a:rPr>
                      <a:t>Lorem </a:t>
                    </a:r>
                    <a:r>
                      <a:rPr kumimoji="0" lang="en-US" sz="1000" b="0" i="0" u="none" strike="noStrike" kern="1200" cap="none" spc="0" normalizeH="0" baseline="0" noProof="0" dirty="0" err="1">
                        <a:ln>
                          <a:noFill/>
                        </a:ln>
                        <a:effectLst/>
                        <a:uLnTx/>
                        <a:uFillTx/>
                        <a:ea typeface="+mn-ea"/>
                        <a:cs typeface="+mn-cs"/>
                      </a:rPr>
                      <a:t>Ipsum</a:t>
                    </a:r>
                    <a:r>
                      <a: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ea typeface="+mn-ea"/>
                        <a:cs typeface="+mn-cs"/>
                      </a:rPr>
                      <a:t> is simply dummy text of the printing</a:t>
                    </a:r>
                  </a:p>
                </p:txBody>
              </p:sp>
            </p:grpSp>
          </p:grpSp>
        </p:grpSp>
        <p:grpSp>
          <p:nvGrpSpPr>
            <p:cNvPr id="269" name="Group 268"/>
            <p:cNvGrpSpPr/>
            <p:nvPr/>
          </p:nvGrpSpPr>
          <p:grpSpPr>
            <a:xfrm>
              <a:off x="449630" y="5090287"/>
              <a:ext cx="4697233" cy="693106"/>
              <a:chOff x="428696" y="4288071"/>
              <a:chExt cx="4697233" cy="693106"/>
            </a:xfrm>
          </p:grpSpPr>
          <p:grpSp>
            <p:nvGrpSpPr>
              <p:cNvPr id="270" name="Group 269"/>
              <p:cNvGrpSpPr/>
              <p:nvPr/>
            </p:nvGrpSpPr>
            <p:grpSpPr>
              <a:xfrm>
                <a:off x="2753363" y="4288071"/>
                <a:ext cx="2372566" cy="596240"/>
                <a:chOff x="2616671" y="4481679"/>
                <a:chExt cx="2372566" cy="596240"/>
              </a:xfrm>
            </p:grpSpPr>
            <p:sp>
              <p:nvSpPr>
                <p:cNvPr id="276" name="Line 6"/>
                <p:cNvSpPr>
                  <a:spLocks noChangeShapeType="1"/>
                </p:cNvSpPr>
                <p:nvPr/>
              </p:nvSpPr>
              <p:spPr bwMode="auto">
                <a:xfrm>
                  <a:off x="2649785" y="4833991"/>
                  <a:ext cx="2339452" cy="0"/>
                </a:xfrm>
                <a:prstGeom prst="line">
                  <a:avLst/>
                </a:prstGeom>
                <a:noFill/>
                <a:ln w="19050" cap="rnd">
                  <a:solidFill>
                    <a:srgbClr val="E2583D"/>
                  </a:solidFill>
                  <a:prstDash val="solid"/>
                  <a:round/>
                  <a:headEnd/>
                  <a:tailEnd type="oval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277" name="Oval 276"/>
                <p:cNvSpPr>
                  <a:spLocks noChangeAspect="1"/>
                </p:cNvSpPr>
                <p:nvPr/>
              </p:nvSpPr>
              <p:spPr>
                <a:xfrm>
                  <a:off x="2616671" y="4586150"/>
                  <a:ext cx="491769" cy="491769"/>
                </a:xfrm>
                <a:prstGeom prst="ellipse">
                  <a:avLst/>
                </a:prstGeom>
                <a:solidFill>
                  <a:srgbClr val="E2583D"/>
                </a:solidFill>
                <a:ln>
                  <a:noFill/>
                </a:ln>
                <a:effectLst>
                  <a:outerShdw blurRad="25400" dist="25400" dir="5400000" algn="t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grpSp>
              <p:nvGrpSpPr>
                <p:cNvPr id="278" name="Group 277"/>
                <p:cNvGrpSpPr/>
                <p:nvPr/>
              </p:nvGrpSpPr>
              <p:grpSpPr>
                <a:xfrm>
                  <a:off x="3145506" y="4481679"/>
                  <a:ext cx="1819595" cy="303026"/>
                  <a:chOff x="2637412" y="816342"/>
                  <a:chExt cx="1819595" cy="303026"/>
                </a:xfrm>
              </p:grpSpPr>
              <p:sp>
                <p:nvSpPr>
                  <p:cNvPr id="285" name="TextBox 284"/>
                  <p:cNvSpPr txBox="1"/>
                  <p:nvPr/>
                </p:nvSpPr>
                <p:spPr>
                  <a:xfrm>
                    <a:off x="2637413" y="816342"/>
                    <a:ext cx="1447670" cy="153888"/>
                  </a:xfrm>
                  <a:prstGeom prst="rect">
                    <a:avLst/>
                  </a:prstGeom>
                  <a:noFill/>
                  <a:ln w="6350">
                    <a:noFill/>
                    <a:prstDash val="dash"/>
                  </a:ln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E2583D"/>
                        </a:solidFill>
                        <a:effectLst/>
                        <a:uLnTx/>
                        <a:uFillTx/>
                        <a:ea typeface="+mn-ea"/>
                        <a:cs typeface="+mn-cs"/>
                      </a:rPr>
                      <a:t>START – FINISH DATE</a:t>
                    </a:r>
                  </a:p>
                </p:txBody>
              </p:sp>
              <p:sp>
                <p:nvSpPr>
                  <p:cNvPr id="286" name="TextBox 285"/>
                  <p:cNvSpPr txBox="1"/>
                  <p:nvPr/>
                </p:nvSpPr>
                <p:spPr>
                  <a:xfrm>
                    <a:off x="2637412" y="965480"/>
                    <a:ext cx="1819595" cy="153888"/>
                  </a:xfrm>
                  <a:prstGeom prst="rect">
                    <a:avLst/>
                  </a:prstGeom>
                  <a:noFill/>
                  <a:ln w="6350">
                    <a:noFill/>
                    <a:prstDash val="dash"/>
                  </a:ln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B3939"/>
                        </a:solidFill>
                        <a:effectLst/>
                        <a:uLnTx/>
                        <a:uFillTx/>
                        <a:ea typeface="+mn-ea"/>
                        <a:cs typeface="+mn-cs"/>
                      </a:rPr>
                      <a:t>Lorem </a:t>
                    </a:r>
                    <a:r>
                      <a:rPr kumimoji="0" lang="en-US" sz="1000" b="0" i="0" u="none" strike="noStrike" kern="1200" cap="none" spc="0" normalizeH="0" baseline="0" noProof="0" dirty="0" err="1">
                        <a:ln>
                          <a:noFill/>
                        </a:ln>
                        <a:solidFill>
                          <a:srgbClr val="3B3939"/>
                        </a:solidFill>
                        <a:effectLst/>
                        <a:uLnTx/>
                        <a:uFillTx/>
                        <a:ea typeface="+mn-ea"/>
                        <a:cs typeface="+mn-cs"/>
                      </a:rPr>
                      <a:t>Ipsum</a:t>
                    </a:r>
                    <a:r>
                      <a: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B3939"/>
                        </a:solidFill>
                        <a:effectLst/>
                        <a:uLnTx/>
                        <a:uFillTx/>
                        <a:ea typeface="+mn-ea"/>
                        <a:cs typeface="+mn-cs"/>
                      </a:rPr>
                      <a:t> is simply dummy text</a:t>
                    </a:r>
                  </a:p>
                </p:txBody>
              </p:sp>
            </p:grpSp>
            <p:grpSp>
              <p:nvGrpSpPr>
                <p:cNvPr id="279" name="Group 278"/>
                <p:cNvGrpSpPr>
                  <a:grpSpLocks noChangeAspect="1"/>
                </p:cNvGrpSpPr>
                <p:nvPr/>
              </p:nvGrpSpPr>
              <p:grpSpPr>
                <a:xfrm>
                  <a:off x="2737094" y="4706035"/>
                  <a:ext cx="250923" cy="251999"/>
                  <a:chOff x="5218112" y="4595827"/>
                  <a:chExt cx="369887" cy="371475"/>
                </a:xfrm>
                <a:solidFill>
                  <a:schemeClr val="bg1"/>
                </a:solidFill>
              </p:grpSpPr>
              <p:sp>
                <p:nvSpPr>
                  <p:cNvPr id="280" name="Freeform 31"/>
                  <p:cNvSpPr>
                    <a:spLocks noEditPoints="1"/>
                  </p:cNvSpPr>
                  <p:nvPr/>
                </p:nvSpPr>
                <p:spPr bwMode="auto">
                  <a:xfrm>
                    <a:off x="5218112" y="4595827"/>
                    <a:ext cx="369887" cy="247651"/>
                  </a:xfrm>
                  <a:custGeom>
                    <a:avLst/>
                    <a:gdLst>
                      <a:gd name="T0" fmla="*/ 94 w 96"/>
                      <a:gd name="T1" fmla="*/ 64 h 64"/>
                      <a:gd name="T2" fmla="*/ 2 w 96"/>
                      <a:gd name="T3" fmla="*/ 64 h 64"/>
                      <a:gd name="T4" fmla="*/ 0 w 96"/>
                      <a:gd name="T5" fmla="*/ 62 h 64"/>
                      <a:gd name="T6" fmla="*/ 0 w 96"/>
                      <a:gd name="T7" fmla="*/ 2 h 64"/>
                      <a:gd name="T8" fmla="*/ 2 w 96"/>
                      <a:gd name="T9" fmla="*/ 0 h 64"/>
                      <a:gd name="T10" fmla="*/ 94 w 96"/>
                      <a:gd name="T11" fmla="*/ 0 h 64"/>
                      <a:gd name="T12" fmla="*/ 96 w 96"/>
                      <a:gd name="T13" fmla="*/ 2 h 64"/>
                      <a:gd name="T14" fmla="*/ 96 w 96"/>
                      <a:gd name="T15" fmla="*/ 62 h 64"/>
                      <a:gd name="T16" fmla="*/ 94 w 96"/>
                      <a:gd name="T17" fmla="*/ 64 h 64"/>
                      <a:gd name="T18" fmla="*/ 4 w 96"/>
                      <a:gd name="T19" fmla="*/ 60 h 64"/>
                      <a:gd name="T20" fmla="*/ 92 w 96"/>
                      <a:gd name="T21" fmla="*/ 60 h 64"/>
                      <a:gd name="T22" fmla="*/ 92 w 96"/>
                      <a:gd name="T23" fmla="*/ 4 h 64"/>
                      <a:gd name="T24" fmla="*/ 4 w 96"/>
                      <a:gd name="T25" fmla="*/ 4 h 64"/>
                      <a:gd name="T26" fmla="*/ 4 w 96"/>
                      <a:gd name="T27" fmla="*/ 60 h 6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96" h="64">
                        <a:moveTo>
                          <a:pt x="94" y="64"/>
                        </a:moveTo>
                        <a:cubicBezTo>
                          <a:pt x="2" y="64"/>
                          <a:pt x="2" y="64"/>
                          <a:pt x="2" y="64"/>
                        </a:cubicBezTo>
                        <a:cubicBezTo>
                          <a:pt x="1" y="64"/>
                          <a:pt x="0" y="63"/>
                          <a:pt x="0" y="62"/>
                        </a:cubicBezTo>
                        <a:cubicBezTo>
                          <a:pt x="0" y="2"/>
                          <a:pt x="0" y="2"/>
                          <a:pt x="0" y="2"/>
                        </a:cubicBezTo>
                        <a:cubicBezTo>
                          <a:pt x="0" y="1"/>
                          <a:pt x="1" y="0"/>
                          <a:pt x="2" y="0"/>
                        </a:cubicBezTo>
                        <a:cubicBezTo>
                          <a:pt x="94" y="0"/>
                          <a:pt x="94" y="0"/>
                          <a:pt x="94" y="0"/>
                        </a:cubicBezTo>
                        <a:cubicBezTo>
                          <a:pt x="95" y="0"/>
                          <a:pt x="96" y="1"/>
                          <a:pt x="96" y="2"/>
                        </a:cubicBezTo>
                        <a:cubicBezTo>
                          <a:pt x="96" y="62"/>
                          <a:pt x="96" y="62"/>
                          <a:pt x="96" y="62"/>
                        </a:cubicBezTo>
                        <a:cubicBezTo>
                          <a:pt x="96" y="63"/>
                          <a:pt x="95" y="64"/>
                          <a:pt x="94" y="64"/>
                        </a:cubicBezTo>
                        <a:close/>
                        <a:moveTo>
                          <a:pt x="4" y="60"/>
                        </a:moveTo>
                        <a:cubicBezTo>
                          <a:pt x="92" y="60"/>
                          <a:pt x="92" y="60"/>
                          <a:pt x="92" y="60"/>
                        </a:cubicBezTo>
                        <a:cubicBezTo>
                          <a:pt x="92" y="4"/>
                          <a:pt x="92" y="4"/>
                          <a:pt x="92" y="4"/>
                        </a:cubicBezTo>
                        <a:cubicBezTo>
                          <a:pt x="4" y="4"/>
                          <a:pt x="4" y="4"/>
                          <a:pt x="4" y="4"/>
                        </a:cubicBezTo>
                        <a:lnTo>
                          <a:pt x="4" y="6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81" name="Freeform 32"/>
                  <p:cNvSpPr>
                    <a:spLocks/>
                  </p:cNvSpPr>
                  <p:nvPr/>
                </p:nvSpPr>
                <p:spPr bwMode="auto">
                  <a:xfrm>
                    <a:off x="5387974" y="4827603"/>
                    <a:ext cx="15875" cy="61913"/>
                  </a:xfrm>
                  <a:custGeom>
                    <a:avLst/>
                    <a:gdLst>
                      <a:gd name="T0" fmla="*/ 2 w 4"/>
                      <a:gd name="T1" fmla="*/ 16 h 16"/>
                      <a:gd name="T2" fmla="*/ 0 w 4"/>
                      <a:gd name="T3" fmla="*/ 14 h 16"/>
                      <a:gd name="T4" fmla="*/ 0 w 4"/>
                      <a:gd name="T5" fmla="*/ 2 h 16"/>
                      <a:gd name="T6" fmla="*/ 2 w 4"/>
                      <a:gd name="T7" fmla="*/ 0 h 16"/>
                      <a:gd name="T8" fmla="*/ 4 w 4"/>
                      <a:gd name="T9" fmla="*/ 2 h 16"/>
                      <a:gd name="T10" fmla="*/ 4 w 4"/>
                      <a:gd name="T11" fmla="*/ 14 h 16"/>
                      <a:gd name="T12" fmla="*/ 2 w 4"/>
                      <a:gd name="T13" fmla="*/ 16 h 1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4" h="16">
                        <a:moveTo>
                          <a:pt x="2" y="16"/>
                        </a:moveTo>
                        <a:cubicBezTo>
                          <a:pt x="1" y="16"/>
                          <a:pt x="0" y="15"/>
                          <a:pt x="0" y="14"/>
                        </a:cubicBezTo>
                        <a:cubicBezTo>
                          <a:pt x="0" y="2"/>
                          <a:pt x="0" y="2"/>
                          <a:pt x="0" y="2"/>
                        </a:cubicBezTo>
                        <a:cubicBezTo>
                          <a:pt x="0" y="1"/>
                          <a:pt x="1" y="0"/>
                          <a:pt x="2" y="0"/>
                        </a:cubicBezTo>
                        <a:cubicBezTo>
                          <a:pt x="3" y="0"/>
                          <a:pt x="4" y="1"/>
                          <a:pt x="4" y="2"/>
                        </a:cubicBezTo>
                        <a:cubicBezTo>
                          <a:pt x="4" y="14"/>
                          <a:pt x="4" y="14"/>
                          <a:pt x="4" y="14"/>
                        </a:cubicBezTo>
                        <a:cubicBezTo>
                          <a:pt x="4" y="15"/>
                          <a:pt x="3" y="16"/>
                          <a:pt x="2" y="16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82" name="Freeform 33"/>
                  <p:cNvSpPr>
                    <a:spLocks/>
                  </p:cNvSpPr>
                  <p:nvPr/>
                </p:nvSpPr>
                <p:spPr bwMode="auto">
                  <a:xfrm>
                    <a:off x="5310187" y="4875226"/>
                    <a:ext cx="169863" cy="92076"/>
                  </a:xfrm>
                  <a:custGeom>
                    <a:avLst/>
                    <a:gdLst>
                      <a:gd name="T0" fmla="*/ 42 w 44"/>
                      <a:gd name="T1" fmla="*/ 24 h 24"/>
                      <a:gd name="T2" fmla="*/ 41 w 44"/>
                      <a:gd name="T3" fmla="*/ 23 h 24"/>
                      <a:gd name="T4" fmla="*/ 22 w 44"/>
                      <a:gd name="T5" fmla="*/ 5 h 24"/>
                      <a:gd name="T6" fmla="*/ 3 w 44"/>
                      <a:gd name="T7" fmla="*/ 23 h 24"/>
                      <a:gd name="T8" fmla="*/ 1 w 44"/>
                      <a:gd name="T9" fmla="*/ 23 h 24"/>
                      <a:gd name="T10" fmla="*/ 1 w 44"/>
                      <a:gd name="T11" fmla="*/ 21 h 24"/>
                      <a:gd name="T12" fmla="*/ 21 w 44"/>
                      <a:gd name="T13" fmla="*/ 1 h 24"/>
                      <a:gd name="T14" fmla="*/ 23 w 44"/>
                      <a:gd name="T15" fmla="*/ 1 h 24"/>
                      <a:gd name="T16" fmla="*/ 43 w 44"/>
                      <a:gd name="T17" fmla="*/ 21 h 24"/>
                      <a:gd name="T18" fmla="*/ 43 w 44"/>
                      <a:gd name="T19" fmla="*/ 23 h 24"/>
                      <a:gd name="T20" fmla="*/ 42 w 44"/>
                      <a:gd name="T21" fmla="*/ 24 h 2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44" h="24">
                        <a:moveTo>
                          <a:pt x="42" y="24"/>
                        </a:moveTo>
                        <a:cubicBezTo>
                          <a:pt x="41" y="24"/>
                          <a:pt x="41" y="24"/>
                          <a:pt x="41" y="23"/>
                        </a:cubicBezTo>
                        <a:cubicBezTo>
                          <a:pt x="22" y="5"/>
                          <a:pt x="22" y="5"/>
                          <a:pt x="22" y="5"/>
                        </a:cubicBezTo>
                        <a:cubicBezTo>
                          <a:pt x="3" y="23"/>
                          <a:pt x="3" y="23"/>
                          <a:pt x="3" y="23"/>
                        </a:cubicBezTo>
                        <a:cubicBezTo>
                          <a:pt x="3" y="24"/>
                          <a:pt x="1" y="24"/>
                          <a:pt x="1" y="23"/>
                        </a:cubicBezTo>
                        <a:cubicBezTo>
                          <a:pt x="0" y="23"/>
                          <a:pt x="0" y="21"/>
                          <a:pt x="1" y="21"/>
                        </a:cubicBezTo>
                        <a:cubicBezTo>
                          <a:pt x="21" y="1"/>
                          <a:pt x="21" y="1"/>
                          <a:pt x="21" y="1"/>
                        </a:cubicBezTo>
                        <a:cubicBezTo>
                          <a:pt x="21" y="0"/>
                          <a:pt x="23" y="0"/>
                          <a:pt x="23" y="1"/>
                        </a:cubicBezTo>
                        <a:cubicBezTo>
                          <a:pt x="43" y="21"/>
                          <a:pt x="43" y="21"/>
                          <a:pt x="43" y="21"/>
                        </a:cubicBezTo>
                        <a:cubicBezTo>
                          <a:pt x="44" y="21"/>
                          <a:pt x="44" y="23"/>
                          <a:pt x="43" y="23"/>
                        </a:cubicBezTo>
                        <a:cubicBezTo>
                          <a:pt x="43" y="24"/>
                          <a:pt x="43" y="24"/>
                          <a:pt x="42" y="24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83" name="Freeform 34"/>
                  <p:cNvSpPr>
                    <a:spLocks/>
                  </p:cNvSpPr>
                  <p:nvPr/>
                </p:nvSpPr>
                <p:spPr bwMode="auto">
                  <a:xfrm>
                    <a:off x="5248272" y="4657739"/>
                    <a:ext cx="263524" cy="107951"/>
                  </a:xfrm>
                  <a:custGeom>
                    <a:avLst/>
                    <a:gdLst>
                      <a:gd name="T0" fmla="*/ 34 w 68"/>
                      <a:gd name="T1" fmla="*/ 28 h 28"/>
                      <a:gd name="T2" fmla="*/ 34 w 68"/>
                      <a:gd name="T3" fmla="*/ 28 h 28"/>
                      <a:gd name="T4" fmla="*/ 32 w 68"/>
                      <a:gd name="T5" fmla="*/ 27 h 28"/>
                      <a:gd name="T6" fmla="*/ 26 w 68"/>
                      <a:gd name="T7" fmla="*/ 12 h 28"/>
                      <a:gd name="T8" fmla="*/ 20 w 68"/>
                      <a:gd name="T9" fmla="*/ 19 h 28"/>
                      <a:gd name="T10" fmla="*/ 18 w 68"/>
                      <a:gd name="T11" fmla="*/ 20 h 28"/>
                      <a:gd name="T12" fmla="*/ 2 w 68"/>
                      <a:gd name="T13" fmla="*/ 20 h 28"/>
                      <a:gd name="T14" fmla="*/ 0 w 68"/>
                      <a:gd name="T15" fmla="*/ 18 h 28"/>
                      <a:gd name="T16" fmla="*/ 2 w 68"/>
                      <a:gd name="T17" fmla="*/ 16 h 28"/>
                      <a:gd name="T18" fmla="*/ 17 w 68"/>
                      <a:gd name="T19" fmla="*/ 16 h 28"/>
                      <a:gd name="T20" fmla="*/ 24 w 68"/>
                      <a:gd name="T21" fmla="*/ 7 h 28"/>
                      <a:gd name="T22" fmla="*/ 26 w 68"/>
                      <a:gd name="T23" fmla="*/ 6 h 28"/>
                      <a:gd name="T24" fmla="*/ 28 w 68"/>
                      <a:gd name="T25" fmla="*/ 7 h 28"/>
                      <a:gd name="T26" fmla="*/ 35 w 68"/>
                      <a:gd name="T27" fmla="*/ 22 h 28"/>
                      <a:gd name="T28" fmla="*/ 42 w 68"/>
                      <a:gd name="T29" fmla="*/ 13 h 28"/>
                      <a:gd name="T30" fmla="*/ 44 w 68"/>
                      <a:gd name="T31" fmla="*/ 12 h 28"/>
                      <a:gd name="T32" fmla="*/ 45 w 68"/>
                      <a:gd name="T33" fmla="*/ 13 h 28"/>
                      <a:gd name="T34" fmla="*/ 52 w 68"/>
                      <a:gd name="T35" fmla="*/ 19 h 28"/>
                      <a:gd name="T36" fmla="*/ 64 w 68"/>
                      <a:gd name="T37" fmla="*/ 1 h 28"/>
                      <a:gd name="T38" fmla="*/ 67 w 68"/>
                      <a:gd name="T39" fmla="*/ 0 h 28"/>
                      <a:gd name="T40" fmla="*/ 68 w 68"/>
                      <a:gd name="T41" fmla="*/ 3 h 28"/>
                      <a:gd name="T42" fmla="*/ 54 w 68"/>
                      <a:gd name="T43" fmla="*/ 23 h 28"/>
                      <a:gd name="T44" fmla="*/ 52 w 68"/>
                      <a:gd name="T45" fmla="*/ 24 h 28"/>
                      <a:gd name="T46" fmla="*/ 51 w 68"/>
                      <a:gd name="T47" fmla="*/ 23 h 28"/>
                      <a:gd name="T48" fmla="*/ 44 w 68"/>
                      <a:gd name="T49" fmla="*/ 17 h 28"/>
                      <a:gd name="T50" fmla="*/ 36 w 68"/>
                      <a:gd name="T51" fmla="*/ 27 h 28"/>
                      <a:gd name="T52" fmla="*/ 34 w 68"/>
                      <a:gd name="T53" fmla="*/ 28 h 2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</a:cxnLst>
                    <a:rect l="0" t="0" r="r" b="b"/>
                    <a:pathLst>
                      <a:path w="68" h="28">
                        <a:moveTo>
                          <a:pt x="34" y="28"/>
                        </a:moveTo>
                        <a:cubicBezTo>
                          <a:pt x="34" y="28"/>
                          <a:pt x="34" y="28"/>
                          <a:pt x="34" y="28"/>
                        </a:cubicBezTo>
                        <a:cubicBezTo>
                          <a:pt x="33" y="28"/>
                          <a:pt x="32" y="27"/>
                          <a:pt x="32" y="27"/>
                        </a:cubicBezTo>
                        <a:cubicBezTo>
                          <a:pt x="26" y="12"/>
                          <a:pt x="26" y="12"/>
                          <a:pt x="26" y="12"/>
                        </a:cubicBezTo>
                        <a:cubicBezTo>
                          <a:pt x="20" y="19"/>
                          <a:pt x="20" y="19"/>
                          <a:pt x="20" y="19"/>
                        </a:cubicBezTo>
                        <a:cubicBezTo>
                          <a:pt x="19" y="20"/>
                          <a:pt x="19" y="20"/>
                          <a:pt x="18" y="20"/>
                        </a:cubicBezTo>
                        <a:cubicBezTo>
                          <a:pt x="2" y="20"/>
                          <a:pt x="2" y="20"/>
                          <a:pt x="2" y="20"/>
                        </a:cubicBezTo>
                        <a:cubicBezTo>
                          <a:pt x="1" y="20"/>
                          <a:pt x="0" y="19"/>
                          <a:pt x="0" y="18"/>
                        </a:cubicBezTo>
                        <a:cubicBezTo>
                          <a:pt x="0" y="17"/>
                          <a:pt x="1" y="16"/>
                          <a:pt x="2" y="16"/>
                        </a:cubicBezTo>
                        <a:cubicBezTo>
                          <a:pt x="17" y="16"/>
                          <a:pt x="17" y="16"/>
                          <a:pt x="17" y="16"/>
                        </a:cubicBezTo>
                        <a:cubicBezTo>
                          <a:pt x="24" y="7"/>
                          <a:pt x="24" y="7"/>
                          <a:pt x="24" y="7"/>
                        </a:cubicBezTo>
                        <a:cubicBezTo>
                          <a:pt x="25" y="6"/>
                          <a:pt x="26" y="6"/>
                          <a:pt x="26" y="6"/>
                        </a:cubicBezTo>
                        <a:cubicBezTo>
                          <a:pt x="27" y="6"/>
                          <a:pt x="28" y="7"/>
                          <a:pt x="28" y="7"/>
                        </a:cubicBezTo>
                        <a:cubicBezTo>
                          <a:pt x="35" y="22"/>
                          <a:pt x="35" y="22"/>
                          <a:pt x="35" y="22"/>
                        </a:cubicBezTo>
                        <a:cubicBezTo>
                          <a:pt x="42" y="13"/>
                          <a:pt x="42" y="13"/>
                          <a:pt x="42" y="13"/>
                        </a:cubicBezTo>
                        <a:cubicBezTo>
                          <a:pt x="43" y="12"/>
                          <a:pt x="43" y="12"/>
                          <a:pt x="44" y="12"/>
                        </a:cubicBezTo>
                        <a:cubicBezTo>
                          <a:pt x="44" y="12"/>
                          <a:pt x="45" y="12"/>
                          <a:pt x="45" y="13"/>
                        </a:cubicBezTo>
                        <a:cubicBezTo>
                          <a:pt x="52" y="19"/>
                          <a:pt x="52" y="19"/>
                          <a:pt x="52" y="19"/>
                        </a:cubicBezTo>
                        <a:cubicBezTo>
                          <a:pt x="64" y="1"/>
                          <a:pt x="64" y="1"/>
                          <a:pt x="64" y="1"/>
                        </a:cubicBezTo>
                        <a:cubicBezTo>
                          <a:pt x="65" y="0"/>
                          <a:pt x="66" y="0"/>
                          <a:pt x="67" y="0"/>
                        </a:cubicBezTo>
                        <a:cubicBezTo>
                          <a:pt x="68" y="1"/>
                          <a:pt x="68" y="2"/>
                          <a:pt x="68" y="3"/>
                        </a:cubicBezTo>
                        <a:cubicBezTo>
                          <a:pt x="54" y="23"/>
                          <a:pt x="54" y="23"/>
                          <a:pt x="54" y="23"/>
                        </a:cubicBezTo>
                        <a:cubicBezTo>
                          <a:pt x="53" y="24"/>
                          <a:pt x="53" y="24"/>
                          <a:pt x="52" y="24"/>
                        </a:cubicBezTo>
                        <a:cubicBezTo>
                          <a:pt x="52" y="24"/>
                          <a:pt x="51" y="24"/>
                          <a:pt x="51" y="23"/>
                        </a:cubicBezTo>
                        <a:cubicBezTo>
                          <a:pt x="44" y="17"/>
                          <a:pt x="44" y="17"/>
                          <a:pt x="44" y="17"/>
                        </a:cubicBezTo>
                        <a:cubicBezTo>
                          <a:pt x="36" y="27"/>
                          <a:pt x="36" y="27"/>
                          <a:pt x="36" y="27"/>
                        </a:cubicBezTo>
                        <a:cubicBezTo>
                          <a:pt x="35" y="28"/>
                          <a:pt x="35" y="28"/>
                          <a:pt x="34" y="28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84" name="Freeform 35"/>
                  <p:cNvSpPr>
                    <a:spLocks noEditPoints="1"/>
                  </p:cNvSpPr>
                  <p:nvPr/>
                </p:nvSpPr>
                <p:spPr bwMode="auto">
                  <a:xfrm>
                    <a:off x="5248275" y="4627562"/>
                    <a:ext cx="309562" cy="185738"/>
                  </a:xfrm>
                  <a:custGeom>
                    <a:avLst/>
                    <a:gdLst>
                      <a:gd name="T0" fmla="*/ 78 w 80"/>
                      <a:gd name="T1" fmla="*/ 48 h 48"/>
                      <a:gd name="T2" fmla="*/ 2 w 80"/>
                      <a:gd name="T3" fmla="*/ 48 h 48"/>
                      <a:gd name="T4" fmla="*/ 0 w 80"/>
                      <a:gd name="T5" fmla="*/ 46 h 48"/>
                      <a:gd name="T6" fmla="*/ 0 w 80"/>
                      <a:gd name="T7" fmla="*/ 2 h 48"/>
                      <a:gd name="T8" fmla="*/ 2 w 80"/>
                      <a:gd name="T9" fmla="*/ 0 h 48"/>
                      <a:gd name="T10" fmla="*/ 78 w 80"/>
                      <a:gd name="T11" fmla="*/ 0 h 48"/>
                      <a:gd name="T12" fmla="*/ 80 w 80"/>
                      <a:gd name="T13" fmla="*/ 2 h 48"/>
                      <a:gd name="T14" fmla="*/ 80 w 80"/>
                      <a:gd name="T15" fmla="*/ 46 h 48"/>
                      <a:gd name="T16" fmla="*/ 78 w 80"/>
                      <a:gd name="T17" fmla="*/ 48 h 48"/>
                      <a:gd name="T18" fmla="*/ 4 w 80"/>
                      <a:gd name="T19" fmla="*/ 44 h 48"/>
                      <a:gd name="T20" fmla="*/ 76 w 80"/>
                      <a:gd name="T21" fmla="*/ 44 h 48"/>
                      <a:gd name="T22" fmla="*/ 76 w 80"/>
                      <a:gd name="T23" fmla="*/ 4 h 48"/>
                      <a:gd name="T24" fmla="*/ 4 w 80"/>
                      <a:gd name="T25" fmla="*/ 4 h 48"/>
                      <a:gd name="T26" fmla="*/ 4 w 80"/>
                      <a:gd name="T27" fmla="*/ 44 h 4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80" h="48">
                        <a:moveTo>
                          <a:pt x="78" y="48"/>
                        </a:moveTo>
                        <a:cubicBezTo>
                          <a:pt x="2" y="48"/>
                          <a:pt x="2" y="48"/>
                          <a:pt x="2" y="48"/>
                        </a:cubicBezTo>
                        <a:cubicBezTo>
                          <a:pt x="1" y="48"/>
                          <a:pt x="0" y="47"/>
                          <a:pt x="0" y="46"/>
                        </a:cubicBezTo>
                        <a:cubicBezTo>
                          <a:pt x="0" y="2"/>
                          <a:pt x="0" y="2"/>
                          <a:pt x="0" y="2"/>
                        </a:cubicBezTo>
                        <a:cubicBezTo>
                          <a:pt x="0" y="1"/>
                          <a:pt x="1" y="0"/>
                          <a:pt x="2" y="0"/>
                        </a:cubicBezTo>
                        <a:cubicBezTo>
                          <a:pt x="78" y="0"/>
                          <a:pt x="78" y="0"/>
                          <a:pt x="78" y="0"/>
                        </a:cubicBezTo>
                        <a:cubicBezTo>
                          <a:pt x="79" y="0"/>
                          <a:pt x="80" y="1"/>
                          <a:pt x="80" y="2"/>
                        </a:cubicBezTo>
                        <a:cubicBezTo>
                          <a:pt x="80" y="46"/>
                          <a:pt x="80" y="46"/>
                          <a:pt x="80" y="46"/>
                        </a:cubicBezTo>
                        <a:cubicBezTo>
                          <a:pt x="80" y="47"/>
                          <a:pt x="79" y="48"/>
                          <a:pt x="78" y="48"/>
                        </a:cubicBezTo>
                        <a:close/>
                        <a:moveTo>
                          <a:pt x="4" y="44"/>
                        </a:moveTo>
                        <a:cubicBezTo>
                          <a:pt x="76" y="44"/>
                          <a:pt x="76" y="44"/>
                          <a:pt x="76" y="44"/>
                        </a:cubicBezTo>
                        <a:cubicBezTo>
                          <a:pt x="76" y="4"/>
                          <a:pt x="76" y="4"/>
                          <a:pt x="76" y="4"/>
                        </a:cubicBezTo>
                        <a:cubicBezTo>
                          <a:pt x="4" y="4"/>
                          <a:pt x="4" y="4"/>
                          <a:pt x="4" y="4"/>
                        </a:cubicBezTo>
                        <a:lnTo>
                          <a:pt x="4" y="44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271" name="Group 270"/>
              <p:cNvGrpSpPr/>
              <p:nvPr/>
            </p:nvGrpSpPr>
            <p:grpSpPr>
              <a:xfrm>
                <a:off x="428696" y="4288071"/>
                <a:ext cx="1811303" cy="693106"/>
                <a:chOff x="428696" y="4288071"/>
                <a:chExt cx="1811303" cy="693106"/>
              </a:xfrm>
            </p:grpSpPr>
            <p:sp>
              <p:nvSpPr>
                <p:cNvPr id="272" name="Rectangle 271"/>
                <p:cNvSpPr/>
                <p:nvPr/>
              </p:nvSpPr>
              <p:spPr>
                <a:xfrm>
                  <a:off x="428696" y="4288071"/>
                  <a:ext cx="1811303" cy="693106"/>
                </a:xfrm>
                <a:prstGeom prst="rect">
                  <a:avLst/>
                </a:prstGeom>
                <a:solidFill>
                  <a:schemeClr val="bg1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grpSp>
              <p:nvGrpSpPr>
                <p:cNvPr id="273" name="Group 272"/>
                <p:cNvGrpSpPr/>
                <p:nvPr/>
              </p:nvGrpSpPr>
              <p:grpSpPr>
                <a:xfrm>
                  <a:off x="610512" y="4401633"/>
                  <a:ext cx="1447670" cy="465983"/>
                  <a:chOff x="431800" y="990281"/>
                  <a:chExt cx="1447670" cy="465983"/>
                </a:xfrm>
              </p:grpSpPr>
              <p:sp>
                <p:nvSpPr>
                  <p:cNvPr id="274" name="TextBox 273"/>
                  <p:cNvSpPr txBox="1"/>
                  <p:nvPr/>
                </p:nvSpPr>
                <p:spPr>
                  <a:xfrm>
                    <a:off x="431800" y="990281"/>
                    <a:ext cx="371789" cy="153888"/>
                  </a:xfrm>
                  <a:prstGeom prst="rect">
                    <a:avLst/>
                  </a:prstGeom>
                  <a:noFill/>
                  <a:ln w="6350">
                    <a:noFill/>
                    <a:prstDash val="dash"/>
                  </a:ln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000" b="1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ea typeface="+mn-ea"/>
                        <a:cs typeface="+mn-cs"/>
                      </a:rPr>
                      <a:t>TASK 5</a:t>
                    </a:r>
                  </a:p>
                </p:txBody>
              </p:sp>
              <p:sp>
                <p:nvSpPr>
                  <p:cNvPr id="275" name="TextBox 274"/>
                  <p:cNvSpPr txBox="1"/>
                  <p:nvPr/>
                </p:nvSpPr>
                <p:spPr>
                  <a:xfrm>
                    <a:off x="431800" y="1148487"/>
                    <a:ext cx="1447670" cy="307777"/>
                  </a:xfrm>
                  <a:prstGeom prst="rect">
                    <a:avLst/>
                  </a:prstGeom>
                  <a:noFill/>
                  <a:ln w="6350">
                    <a:noFill/>
                    <a:prstDash val="dash"/>
                  </a:ln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ea typeface="+mn-ea"/>
                        <a:cs typeface="+mn-cs"/>
                      </a:rPr>
                      <a:t>Lorem </a:t>
                    </a:r>
                    <a:r>
                      <a:rPr kumimoji="0" lang="en-US" sz="1000" b="0" i="0" u="none" strike="noStrike" kern="1200" cap="none" spc="0" normalizeH="0" baseline="0" noProof="0" dirty="0" err="1">
                        <a:ln>
                          <a:noFill/>
                        </a:ln>
                        <a:effectLst/>
                        <a:uLnTx/>
                        <a:uFillTx/>
                        <a:ea typeface="+mn-ea"/>
                        <a:cs typeface="+mn-cs"/>
                      </a:rPr>
                      <a:t>Ipsum</a:t>
                    </a:r>
                    <a:r>
                      <a: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ea typeface="+mn-ea"/>
                        <a:cs typeface="+mn-cs"/>
                      </a:rPr>
                      <a:t> is simply dummy text of the printing</a:t>
                    </a:r>
                  </a:p>
                </p:txBody>
              </p:sp>
            </p:grpSp>
          </p:grpSp>
        </p:grpSp>
        <p:grpSp>
          <p:nvGrpSpPr>
            <p:cNvPr id="287" name="Group 286"/>
            <p:cNvGrpSpPr/>
            <p:nvPr/>
          </p:nvGrpSpPr>
          <p:grpSpPr>
            <a:xfrm>
              <a:off x="449630" y="3509872"/>
              <a:ext cx="8112433" cy="693106"/>
              <a:chOff x="428696" y="2618697"/>
              <a:chExt cx="8112433" cy="693106"/>
            </a:xfrm>
          </p:grpSpPr>
          <p:grpSp>
            <p:nvGrpSpPr>
              <p:cNvPr id="288" name="Group 287"/>
              <p:cNvGrpSpPr/>
              <p:nvPr/>
            </p:nvGrpSpPr>
            <p:grpSpPr>
              <a:xfrm>
                <a:off x="6010933" y="2618697"/>
                <a:ext cx="2530196" cy="596240"/>
                <a:chOff x="6010933" y="2719532"/>
                <a:chExt cx="2530196" cy="596240"/>
              </a:xfrm>
            </p:grpSpPr>
            <p:sp>
              <p:nvSpPr>
                <p:cNvPr id="294" name="Oval 293"/>
                <p:cNvSpPr>
                  <a:spLocks noChangeAspect="1"/>
                </p:cNvSpPr>
                <p:nvPr/>
              </p:nvSpPr>
              <p:spPr>
                <a:xfrm>
                  <a:off x="6010933" y="2824003"/>
                  <a:ext cx="491769" cy="491769"/>
                </a:xfrm>
                <a:prstGeom prst="ellipse">
                  <a:avLst/>
                </a:prstGeom>
                <a:solidFill>
                  <a:srgbClr val="78D2D2"/>
                </a:solidFill>
                <a:ln>
                  <a:noFill/>
                </a:ln>
                <a:effectLst>
                  <a:outerShdw blurRad="25400" dist="25400" dir="5400000" algn="t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grpSp>
              <p:nvGrpSpPr>
                <p:cNvPr id="295" name="Group 294"/>
                <p:cNvGrpSpPr/>
                <p:nvPr/>
              </p:nvGrpSpPr>
              <p:grpSpPr>
                <a:xfrm>
                  <a:off x="6131362" y="2719532"/>
                  <a:ext cx="2409767" cy="476352"/>
                  <a:chOff x="6131362" y="2719532"/>
                  <a:chExt cx="2409767" cy="476352"/>
                </a:xfrm>
              </p:grpSpPr>
              <p:sp>
                <p:nvSpPr>
                  <p:cNvPr id="296" name="Line 6"/>
                  <p:cNvSpPr>
                    <a:spLocks noChangeShapeType="1"/>
                  </p:cNvSpPr>
                  <p:nvPr/>
                </p:nvSpPr>
                <p:spPr bwMode="auto">
                  <a:xfrm>
                    <a:off x="6441109" y="3067104"/>
                    <a:ext cx="2100020" cy="0"/>
                  </a:xfrm>
                  <a:prstGeom prst="line">
                    <a:avLst/>
                  </a:prstGeom>
                  <a:noFill/>
                  <a:ln w="19050" cap="rnd">
                    <a:solidFill>
                      <a:srgbClr val="78D2D2"/>
                    </a:solidFill>
                    <a:prstDash val="solid"/>
                    <a:round/>
                    <a:headEnd/>
                    <a:tailEnd type="oval"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endParaRPr>
                  </a:p>
                </p:txBody>
              </p:sp>
              <p:grpSp>
                <p:nvGrpSpPr>
                  <p:cNvPr id="297" name="Group 296"/>
                  <p:cNvGrpSpPr/>
                  <p:nvPr/>
                </p:nvGrpSpPr>
                <p:grpSpPr>
                  <a:xfrm>
                    <a:off x="6539768" y="2719532"/>
                    <a:ext cx="1819595" cy="303026"/>
                    <a:chOff x="2637412" y="816342"/>
                    <a:chExt cx="1819595" cy="303026"/>
                  </a:xfrm>
                </p:grpSpPr>
                <p:sp>
                  <p:nvSpPr>
                    <p:cNvPr id="303" name="TextBox 302"/>
                    <p:cNvSpPr txBox="1"/>
                    <p:nvPr/>
                  </p:nvSpPr>
                  <p:spPr>
                    <a:xfrm>
                      <a:off x="2637413" y="816342"/>
                      <a:ext cx="1447670" cy="153888"/>
                    </a:xfrm>
                    <a:prstGeom prst="rect">
                      <a:avLst/>
                    </a:prstGeom>
                    <a:noFill/>
                    <a:ln w="6350">
                      <a:noFill/>
                      <a:prstDash val="dash"/>
                    </a:ln>
                  </p:spPr>
                  <p:txBody>
                    <a:bodyPr wrap="square" lIns="0" tIns="0" rIns="0" bIns="0" rtlCol="0">
                      <a:spAutoFit/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78D2D2"/>
                          </a:solidFill>
                          <a:effectLst/>
                          <a:uLnTx/>
                          <a:uFillTx/>
                          <a:ea typeface="+mn-ea"/>
                          <a:cs typeface="+mn-cs"/>
                        </a:rPr>
                        <a:t>START – FINISH DATE</a:t>
                      </a:r>
                    </a:p>
                  </p:txBody>
                </p:sp>
                <p:sp>
                  <p:nvSpPr>
                    <p:cNvPr id="304" name="TextBox 303"/>
                    <p:cNvSpPr txBox="1"/>
                    <p:nvPr/>
                  </p:nvSpPr>
                  <p:spPr>
                    <a:xfrm>
                      <a:off x="2637412" y="965480"/>
                      <a:ext cx="1819595" cy="153888"/>
                    </a:xfrm>
                    <a:prstGeom prst="rect">
                      <a:avLst/>
                    </a:prstGeom>
                    <a:noFill/>
                    <a:ln w="6350">
                      <a:noFill/>
                      <a:prstDash val="dash"/>
                    </a:ln>
                  </p:spPr>
                  <p:txBody>
                    <a:bodyPr wrap="square" lIns="0" tIns="0" rIns="0" bIns="0" rtlCol="0">
                      <a:spAutoFit/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ea typeface="+mn-ea"/>
                          <a:cs typeface="+mn-cs"/>
                        </a:rPr>
                        <a:t>Lorem </a:t>
                      </a:r>
                      <a:r>
                        <a:rPr kumimoji="0" lang="en-US" sz="1000" b="0" i="0" u="none" strike="noStrike" kern="1200" cap="none" spc="0" normalizeH="0" baseline="0" noProof="0" dirty="0" err="1">
                          <a:ln>
                            <a:noFill/>
                          </a:ln>
                          <a:effectLst/>
                          <a:uLnTx/>
                          <a:uFillTx/>
                          <a:ea typeface="+mn-ea"/>
                          <a:cs typeface="+mn-cs"/>
                        </a:rPr>
                        <a:t>Ipsum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ea typeface="+mn-ea"/>
                          <a:cs typeface="+mn-cs"/>
                        </a:rPr>
                        <a:t> is simply dummy text</a:t>
                      </a:r>
                    </a:p>
                  </p:txBody>
                </p:sp>
              </p:grpSp>
              <p:grpSp>
                <p:nvGrpSpPr>
                  <p:cNvPr id="298" name="Group 297"/>
                  <p:cNvGrpSpPr>
                    <a:grpSpLocks noChangeAspect="1"/>
                  </p:cNvGrpSpPr>
                  <p:nvPr/>
                </p:nvGrpSpPr>
                <p:grpSpPr>
                  <a:xfrm>
                    <a:off x="6131362" y="2943890"/>
                    <a:ext cx="250911" cy="251994"/>
                    <a:chOff x="5418155" y="4657725"/>
                    <a:chExt cx="369870" cy="371465"/>
                  </a:xfrm>
                  <a:solidFill>
                    <a:schemeClr val="bg1"/>
                  </a:solidFill>
                </p:grpSpPr>
                <p:sp>
                  <p:nvSpPr>
                    <p:cNvPr id="299" name="Freeform 39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5495936" y="4843449"/>
                      <a:ext cx="107950" cy="107950"/>
                    </a:xfrm>
                    <a:custGeom>
                      <a:avLst/>
                      <a:gdLst>
                        <a:gd name="T0" fmla="*/ 14 w 28"/>
                        <a:gd name="T1" fmla="*/ 28 h 28"/>
                        <a:gd name="T2" fmla="*/ 0 w 28"/>
                        <a:gd name="T3" fmla="*/ 14 h 28"/>
                        <a:gd name="T4" fmla="*/ 14 w 28"/>
                        <a:gd name="T5" fmla="*/ 0 h 28"/>
                        <a:gd name="T6" fmla="*/ 28 w 28"/>
                        <a:gd name="T7" fmla="*/ 14 h 28"/>
                        <a:gd name="T8" fmla="*/ 14 w 28"/>
                        <a:gd name="T9" fmla="*/ 28 h 28"/>
                        <a:gd name="T10" fmla="*/ 14 w 28"/>
                        <a:gd name="T11" fmla="*/ 4 h 28"/>
                        <a:gd name="T12" fmla="*/ 4 w 28"/>
                        <a:gd name="T13" fmla="*/ 14 h 28"/>
                        <a:gd name="T14" fmla="*/ 14 w 28"/>
                        <a:gd name="T15" fmla="*/ 24 h 28"/>
                        <a:gd name="T16" fmla="*/ 24 w 28"/>
                        <a:gd name="T17" fmla="*/ 14 h 28"/>
                        <a:gd name="T18" fmla="*/ 14 w 28"/>
                        <a:gd name="T19" fmla="*/ 4 h 2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28" h="28">
                          <a:moveTo>
                            <a:pt x="14" y="28"/>
                          </a:moveTo>
                          <a:cubicBezTo>
                            <a:pt x="6" y="28"/>
                            <a:pt x="0" y="22"/>
                            <a:pt x="0" y="14"/>
                          </a:cubicBezTo>
                          <a:cubicBezTo>
                            <a:pt x="0" y="6"/>
                            <a:pt x="6" y="0"/>
                            <a:pt x="14" y="0"/>
                          </a:cubicBezTo>
                          <a:cubicBezTo>
                            <a:pt x="22" y="0"/>
                            <a:pt x="28" y="6"/>
                            <a:pt x="28" y="14"/>
                          </a:cubicBezTo>
                          <a:cubicBezTo>
                            <a:pt x="28" y="22"/>
                            <a:pt x="22" y="28"/>
                            <a:pt x="14" y="28"/>
                          </a:cubicBezTo>
                          <a:close/>
                          <a:moveTo>
                            <a:pt x="14" y="4"/>
                          </a:moveTo>
                          <a:cubicBezTo>
                            <a:pt x="8" y="4"/>
                            <a:pt x="4" y="8"/>
                            <a:pt x="4" y="14"/>
                          </a:cubicBezTo>
                          <a:cubicBezTo>
                            <a:pt x="4" y="20"/>
                            <a:pt x="8" y="24"/>
                            <a:pt x="14" y="24"/>
                          </a:cubicBezTo>
                          <a:cubicBezTo>
                            <a:pt x="20" y="24"/>
                            <a:pt x="24" y="20"/>
                            <a:pt x="24" y="14"/>
                          </a:cubicBezTo>
                          <a:cubicBezTo>
                            <a:pt x="24" y="8"/>
                            <a:pt x="20" y="4"/>
                            <a:pt x="14" y="4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300" name="Freeform 40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5418155" y="4765666"/>
                      <a:ext cx="261938" cy="263524"/>
                    </a:xfrm>
                    <a:custGeom>
                      <a:avLst/>
                      <a:gdLst>
                        <a:gd name="T0" fmla="*/ 26 w 68"/>
                        <a:gd name="T1" fmla="*/ 68 h 68"/>
                        <a:gd name="T2" fmla="*/ 24 w 68"/>
                        <a:gd name="T3" fmla="*/ 60 h 68"/>
                        <a:gd name="T4" fmla="*/ 11 w 68"/>
                        <a:gd name="T5" fmla="*/ 59 h 68"/>
                        <a:gd name="T6" fmla="*/ 1 w 68"/>
                        <a:gd name="T7" fmla="*/ 44 h 68"/>
                        <a:gd name="T8" fmla="*/ 1 w 68"/>
                        <a:gd name="T9" fmla="*/ 41 h 68"/>
                        <a:gd name="T10" fmla="*/ 6 w 68"/>
                        <a:gd name="T11" fmla="*/ 30 h 68"/>
                        <a:gd name="T12" fmla="*/ 1 w 68"/>
                        <a:gd name="T13" fmla="*/ 24 h 68"/>
                        <a:gd name="T14" fmla="*/ 10 w 68"/>
                        <a:gd name="T15" fmla="*/ 9 h 68"/>
                        <a:gd name="T16" fmla="*/ 16 w 68"/>
                        <a:gd name="T17" fmla="*/ 12 h 68"/>
                        <a:gd name="T18" fmla="*/ 24 w 68"/>
                        <a:gd name="T19" fmla="*/ 2 h 68"/>
                        <a:gd name="T20" fmla="*/ 42 w 68"/>
                        <a:gd name="T21" fmla="*/ 0 h 68"/>
                        <a:gd name="T22" fmla="*/ 44 w 68"/>
                        <a:gd name="T23" fmla="*/ 8 h 68"/>
                        <a:gd name="T24" fmla="*/ 57 w 68"/>
                        <a:gd name="T25" fmla="*/ 9 h 68"/>
                        <a:gd name="T26" fmla="*/ 67 w 68"/>
                        <a:gd name="T27" fmla="*/ 24 h 68"/>
                        <a:gd name="T28" fmla="*/ 62 w 68"/>
                        <a:gd name="T29" fmla="*/ 30 h 68"/>
                        <a:gd name="T30" fmla="*/ 67 w 68"/>
                        <a:gd name="T31" fmla="*/ 41 h 68"/>
                        <a:gd name="T32" fmla="*/ 67 w 68"/>
                        <a:gd name="T33" fmla="*/ 44 h 68"/>
                        <a:gd name="T34" fmla="*/ 58 w 68"/>
                        <a:gd name="T35" fmla="*/ 59 h 68"/>
                        <a:gd name="T36" fmla="*/ 52 w 68"/>
                        <a:gd name="T37" fmla="*/ 56 h 68"/>
                        <a:gd name="T38" fmla="*/ 44 w 68"/>
                        <a:gd name="T39" fmla="*/ 66 h 68"/>
                        <a:gd name="T40" fmla="*/ 28 w 68"/>
                        <a:gd name="T41" fmla="*/ 64 h 68"/>
                        <a:gd name="T42" fmla="*/ 40 w 68"/>
                        <a:gd name="T43" fmla="*/ 59 h 68"/>
                        <a:gd name="T44" fmla="*/ 50 w 68"/>
                        <a:gd name="T45" fmla="*/ 52 h 68"/>
                        <a:gd name="T46" fmla="*/ 57 w 68"/>
                        <a:gd name="T47" fmla="*/ 54 h 68"/>
                        <a:gd name="T48" fmla="*/ 58 w 68"/>
                        <a:gd name="T49" fmla="*/ 41 h 68"/>
                        <a:gd name="T50" fmla="*/ 57 w 68"/>
                        <a:gd name="T51" fmla="*/ 29 h 68"/>
                        <a:gd name="T52" fmla="*/ 63 w 68"/>
                        <a:gd name="T53" fmla="*/ 24 h 68"/>
                        <a:gd name="T54" fmla="*/ 52 w 68"/>
                        <a:gd name="T55" fmla="*/ 16 h 68"/>
                        <a:gd name="T56" fmla="*/ 41 w 68"/>
                        <a:gd name="T57" fmla="*/ 11 h 68"/>
                        <a:gd name="T58" fmla="*/ 40 w 68"/>
                        <a:gd name="T59" fmla="*/ 4 h 68"/>
                        <a:gd name="T60" fmla="*/ 28 w 68"/>
                        <a:gd name="T61" fmla="*/ 9 h 68"/>
                        <a:gd name="T62" fmla="*/ 18 w 68"/>
                        <a:gd name="T63" fmla="*/ 16 h 68"/>
                        <a:gd name="T64" fmla="*/ 11 w 68"/>
                        <a:gd name="T65" fmla="*/ 14 h 68"/>
                        <a:gd name="T66" fmla="*/ 10 w 68"/>
                        <a:gd name="T67" fmla="*/ 27 h 68"/>
                        <a:gd name="T68" fmla="*/ 11 w 68"/>
                        <a:gd name="T69" fmla="*/ 39 h 68"/>
                        <a:gd name="T70" fmla="*/ 5 w 68"/>
                        <a:gd name="T71" fmla="*/ 44 h 68"/>
                        <a:gd name="T72" fmla="*/ 16 w 68"/>
                        <a:gd name="T73" fmla="*/ 52 h 68"/>
                        <a:gd name="T74" fmla="*/ 27 w 68"/>
                        <a:gd name="T75" fmla="*/ 57 h 68"/>
                        <a:gd name="T76" fmla="*/ 28 w 68"/>
                        <a:gd name="T77" fmla="*/ 64 h 6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</a:cxnLst>
                      <a:rect l="0" t="0" r="r" b="b"/>
                      <a:pathLst>
                        <a:path w="68" h="68">
                          <a:moveTo>
                            <a:pt x="42" y="68"/>
                          </a:moveTo>
                          <a:cubicBezTo>
                            <a:pt x="26" y="68"/>
                            <a:pt x="26" y="68"/>
                            <a:pt x="26" y="68"/>
                          </a:cubicBezTo>
                          <a:cubicBezTo>
                            <a:pt x="25" y="68"/>
                            <a:pt x="24" y="67"/>
                            <a:pt x="24" y="66"/>
                          </a:cubicBezTo>
                          <a:cubicBezTo>
                            <a:pt x="24" y="60"/>
                            <a:pt x="24" y="60"/>
                            <a:pt x="24" y="60"/>
                          </a:cubicBezTo>
                          <a:cubicBezTo>
                            <a:pt x="21" y="59"/>
                            <a:pt x="19" y="58"/>
                            <a:pt x="16" y="56"/>
                          </a:cubicBezTo>
                          <a:cubicBezTo>
                            <a:pt x="11" y="59"/>
                            <a:pt x="11" y="59"/>
                            <a:pt x="11" y="59"/>
                          </a:cubicBezTo>
                          <a:cubicBezTo>
                            <a:pt x="10" y="59"/>
                            <a:pt x="9" y="59"/>
                            <a:pt x="9" y="58"/>
                          </a:cubicBezTo>
                          <a:cubicBezTo>
                            <a:pt x="1" y="44"/>
                            <a:pt x="1" y="44"/>
                            <a:pt x="1" y="44"/>
                          </a:cubicBezTo>
                          <a:cubicBezTo>
                            <a:pt x="0" y="44"/>
                            <a:pt x="0" y="43"/>
                            <a:pt x="0" y="43"/>
                          </a:cubicBezTo>
                          <a:cubicBezTo>
                            <a:pt x="0" y="42"/>
                            <a:pt x="1" y="42"/>
                            <a:pt x="1" y="41"/>
                          </a:cubicBezTo>
                          <a:cubicBezTo>
                            <a:pt x="6" y="38"/>
                            <a:pt x="6" y="38"/>
                            <a:pt x="6" y="38"/>
                          </a:cubicBezTo>
                          <a:cubicBezTo>
                            <a:pt x="6" y="35"/>
                            <a:pt x="6" y="33"/>
                            <a:pt x="6" y="30"/>
                          </a:cubicBezTo>
                          <a:cubicBezTo>
                            <a:pt x="1" y="27"/>
                            <a:pt x="1" y="27"/>
                            <a:pt x="1" y="27"/>
                          </a:cubicBezTo>
                          <a:cubicBezTo>
                            <a:pt x="0" y="26"/>
                            <a:pt x="0" y="25"/>
                            <a:pt x="1" y="24"/>
                          </a:cubicBezTo>
                          <a:cubicBezTo>
                            <a:pt x="9" y="10"/>
                            <a:pt x="9" y="10"/>
                            <a:pt x="9" y="10"/>
                          </a:cubicBezTo>
                          <a:cubicBezTo>
                            <a:pt x="9" y="10"/>
                            <a:pt x="9" y="9"/>
                            <a:pt x="10" y="9"/>
                          </a:cubicBezTo>
                          <a:cubicBezTo>
                            <a:pt x="10" y="9"/>
                            <a:pt x="11" y="9"/>
                            <a:pt x="11" y="9"/>
                          </a:cubicBezTo>
                          <a:cubicBezTo>
                            <a:pt x="16" y="12"/>
                            <a:pt x="16" y="12"/>
                            <a:pt x="16" y="12"/>
                          </a:cubicBezTo>
                          <a:cubicBezTo>
                            <a:pt x="19" y="10"/>
                            <a:pt x="21" y="9"/>
                            <a:pt x="24" y="8"/>
                          </a:cubicBezTo>
                          <a:cubicBezTo>
                            <a:pt x="24" y="2"/>
                            <a:pt x="24" y="2"/>
                            <a:pt x="24" y="2"/>
                          </a:cubicBezTo>
                          <a:cubicBezTo>
                            <a:pt x="24" y="1"/>
                            <a:pt x="25" y="0"/>
                            <a:pt x="26" y="0"/>
                          </a:cubicBezTo>
                          <a:cubicBezTo>
                            <a:pt x="42" y="0"/>
                            <a:pt x="42" y="0"/>
                            <a:pt x="42" y="0"/>
                          </a:cubicBezTo>
                          <a:cubicBezTo>
                            <a:pt x="43" y="0"/>
                            <a:pt x="44" y="1"/>
                            <a:pt x="44" y="2"/>
                          </a:cubicBezTo>
                          <a:cubicBezTo>
                            <a:pt x="44" y="8"/>
                            <a:pt x="44" y="8"/>
                            <a:pt x="44" y="8"/>
                          </a:cubicBezTo>
                          <a:cubicBezTo>
                            <a:pt x="47" y="9"/>
                            <a:pt x="49" y="10"/>
                            <a:pt x="52" y="12"/>
                          </a:cubicBezTo>
                          <a:cubicBezTo>
                            <a:pt x="57" y="9"/>
                            <a:pt x="57" y="9"/>
                            <a:pt x="57" y="9"/>
                          </a:cubicBezTo>
                          <a:cubicBezTo>
                            <a:pt x="58" y="9"/>
                            <a:pt x="59" y="9"/>
                            <a:pt x="59" y="10"/>
                          </a:cubicBezTo>
                          <a:cubicBezTo>
                            <a:pt x="67" y="24"/>
                            <a:pt x="67" y="24"/>
                            <a:pt x="67" y="24"/>
                          </a:cubicBezTo>
                          <a:cubicBezTo>
                            <a:pt x="68" y="25"/>
                            <a:pt x="68" y="26"/>
                            <a:pt x="67" y="27"/>
                          </a:cubicBezTo>
                          <a:cubicBezTo>
                            <a:pt x="62" y="30"/>
                            <a:pt x="62" y="30"/>
                            <a:pt x="62" y="30"/>
                          </a:cubicBezTo>
                          <a:cubicBezTo>
                            <a:pt x="62" y="33"/>
                            <a:pt x="62" y="35"/>
                            <a:pt x="62" y="38"/>
                          </a:cubicBezTo>
                          <a:cubicBezTo>
                            <a:pt x="67" y="41"/>
                            <a:pt x="67" y="41"/>
                            <a:pt x="67" y="41"/>
                          </a:cubicBezTo>
                          <a:cubicBezTo>
                            <a:pt x="67" y="42"/>
                            <a:pt x="68" y="42"/>
                            <a:pt x="68" y="43"/>
                          </a:cubicBezTo>
                          <a:cubicBezTo>
                            <a:pt x="68" y="43"/>
                            <a:pt x="68" y="44"/>
                            <a:pt x="67" y="44"/>
                          </a:cubicBezTo>
                          <a:cubicBezTo>
                            <a:pt x="59" y="58"/>
                            <a:pt x="59" y="58"/>
                            <a:pt x="59" y="58"/>
                          </a:cubicBezTo>
                          <a:cubicBezTo>
                            <a:pt x="59" y="58"/>
                            <a:pt x="59" y="59"/>
                            <a:pt x="58" y="59"/>
                          </a:cubicBezTo>
                          <a:cubicBezTo>
                            <a:pt x="58" y="59"/>
                            <a:pt x="57" y="59"/>
                            <a:pt x="57" y="59"/>
                          </a:cubicBezTo>
                          <a:cubicBezTo>
                            <a:pt x="52" y="56"/>
                            <a:pt x="52" y="56"/>
                            <a:pt x="52" y="56"/>
                          </a:cubicBezTo>
                          <a:cubicBezTo>
                            <a:pt x="49" y="58"/>
                            <a:pt x="47" y="59"/>
                            <a:pt x="44" y="60"/>
                          </a:cubicBezTo>
                          <a:cubicBezTo>
                            <a:pt x="44" y="66"/>
                            <a:pt x="44" y="66"/>
                            <a:pt x="44" y="66"/>
                          </a:cubicBezTo>
                          <a:cubicBezTo>
                            <a:pt x="44" y="67"/>
                            <a:pt x="43" y="68"/>
                            <a:pt x="42" y="68"/>
                          </a:cubicBezTo>
                          <a:close/>
                          <a:moveTo>
                            <a:pt x="28" y="64"/>
                          </a:moveTo>
                          <a:cubicBezTo>
                            <a:pt x="40" y="64"/>
                            <a:pt x="40" y="64"/>
                            <a:pt x="40" y="64"/>
                          </a:cubicBezTo>
                          <a:cubicBezTo>
                            <a:pt x="40" y="59"/>
                            <a:pt x="40" y="59"/>
                            <a:pt x="40" y="59"/>
                          </a:cubicBezTo>
                          <a:cubicBezTo>
                            <a:pt x="40" y="58"/>
                            <a:pt x="41" y="57"/>
                            <a:pt x="41" y="57"/>
                          </a:cubicBezTo>
                          <a:cubicBezTo>
                            <a:pt x="45" y="56"/>
                            <a:pt x="48" y="54"/>
                            <a:pt x="50" y="52"/>
                          </a:cubicBezTo>
                          <a:cubicBezTo>
                            <a:pt x="51" y="51"/>
                            <a:pt x="52" y="51"/>
                            <a:pt x="52" y="52"/>
                          </a:cubicBezTo>
                          <a:cubicBezTo>
                            <a:pt x="57" y="54"/>
                            <a:pt x="57" y="54"/>
                            <a:pt x="57" y="54"/>
                          </a:cubicBezTo>
                          <a:cubicBezTo>
                            <a:pt x="63" y="44"/>
                            <a:pt x="63" y="44"/>
                            <a:pt x="63" y="44"/>
                          </a:cubicBezTo>
                          <a:cubicBezTo>
                            <a:pt x="58" y="41"/>
                            <a:pt x="58" y="41"/>
                            <a:pt x="58" y="41"/>
                          </a:cubicBezTo>
                          <a:cubicBezTo>
                            <a:pt x="58" y="41"/>
                            <a:pt x="57" y="40"/>
                            <a:pt x="57" y="39"/>
                          </a:cubicBezTo>
                          <a:cubicBezTo>
                            <a:pt x="58" y="36"/>
                            <a:pt x="58" y="32"/>
                            <a:pt x="57" y="29"/>
                          </a:cubicBezTo>
                          <a:cubicBezTo>
                            <a:pt x="57" y="28"/>
                            <a:pt x="58" y="27"/>
                            <a:pt x="58" y="27"/>
                          </a:cubicBezTo>
                          <a:cubicBezTo>
                            <a:pt x="63" y="24"/>
                            <a:pt x="63" y="24"/>
                            <a:pt x="63" y="24"/>
                          </a:cubicBezTo>
                          <a:cubicBezTo>
                            <a:pt x="57" y="14"/>
                            <a:pt x="57" y="14"/>
                            <a:pt x="57" y="14"/>
                          </a:cubicBezTo>
                          <a:cubicBezTo>
                            <a:pt x="52" y="16"/>
                            <a:pt x="52" y="16"/>
                            <a:pt x="52" y="16"/>
                          </a:cubicBezTo>
                          <a:cubicBezTo>
                            <a:pt x="52" y="17"/>
                            <a:pt x="51" y="17"/>
                            <a:pt x="50" y="16"/>
                          </a:cubicBezTo>
                          <a:cubicBezTo>
                            <a:pt x="48" y="14"/>
                            <a:pt x="45" y="12"/>
                            <a:pt x="41" y="11"/>
                          </a:cubicBezTo>
                          <a:cubicBezTo>
                            <a:pt x="41" y="11"/>
                            <a:pt x="40" y="10"/>
                            <a:pt x="40" y="9"/>
                          </a:cubicBezTo>
                          <a:cubicBezTo>
                            <a:pt x="40" y="4"/>
                            <a:pt x="40" y="4"/>
                            <a:pt x="40" y="4"/>
                          </a:cubicBezTo>
                          <a:cubicBezTo>
                            <a:pt x="28" y="4"/>
                            <a:pt x="28" y="4"/>
                            <a:pt x="28" y="4"/>
                          </a:cubicBezTo>
                          <a:cubicBezTo>
                            <a:pt x="28" y="9"/>
                            <a:pt x="28" y="9"/>
                            <a:pt x="28" y="9"/>
                          </a:cubicBezTo>
                          <a:cubicBezTo>
                            <a:pt x="28" y="10"/>
                            <a:pt x="27" y="11"/>
                            <a:pt x="27" y="11"/>
                          </a:cubicBezTo>
                          <a:cubicBezTo>
                            <a:pt x="23" y="12"/>
                            <a:pt x="20" y="14"/>
                            <a:pt x="18" y="16"/>
                          </a:cubicBezTo>
                          <a:cubicBezTo>
                            <a:pt x="17" y="17"/>
                            <a:pt x="16" y="17"/>
                            <a:pt x="16" y="16"/>
                          </a:cubicBezTo>
                          <a:cubicBezTo>
                            <a:pt x="11" y="14"/>
                            <a:pt x="11" y="14"/>
                            <a:pt x="11" y="14"/>
                          </a:cubicBezTo>
                          <a:cubicBezTo>
                            <a:pt x="5" y="24"/>
                            <a:pt x="5" y="24"/>
                            <a:pt x="5" y="24"/>
                          </a:cubicBezTo>
                          <a:cubicBezTo>
                            <a:pt x="10" y="27"/>
                            <a:pt x="10" y="27"/>
                            <a:pt x="10" y="27"/>
                          </a:cubicBezTo>
                          <a:cubicBezTo>
                            <a:pt x="10" y="27"/>
                            <a:pt x="11" y="28"/>
                            <a:pt x="11" y="29"/>
                          </a:cubicBezTo>
                          <a:cubicBezTo>
                            <a:pt x="10" y="32"/>
                            <a:pt x="10" y="36"/>
                            <a:pt x="11" y="39"/>
                          </a:cubicBezTo>
                          <a:cubicBezTo>
                            <a:pt x="11" y="40"/>
                            <a:pt x="10" y="41"/>
                            <a:pt x="10" y="41"/>
                          </a:cubicBezTo>
                          <a:cubicBezTo>
                            <a:pt x="5" y="44"/>
                            <a:pt x="5" y="44"/>
                            <a:pt x="5" y="44"/>
                          </a:cubicBezTo>
                          <a:cubicBezTo>
                            <a:pt x="11" y="54"/>
                            <a:pt x="11" y="54"/>
                            <a:pt x="11" y="54"/>
                          </a:cubicBezTo>
                          <a:cubicBezTo>
                            <a:pt x="16" y="52"/>
                            <a:pt x="16" y="52"/>
                            <a:pt x="16" y="52"/>
                          </a:cubicBezTo>
                          <a:cubicBezTo>
                            <a:pt x="16" y="51"/>
                            <a:pt x="17" y="51"/>
                            <a:pt x="18" y="52"/>
                          </a:cubicBezTo>
                          <a:cubicBezTo>
                            <a:pt x="20" y="54"/>
                            <a:pt x="23" y="56"/>
                            <a:pt x="27" y="57"/>
                          </a:cubicBezTo>
                          <a:cubicBezTo>
                            <a:pt x="27" y="57"/>
                            <a:pt x="28" y="58"/>
                            <a:pt x="28" y="59"/>
                          </a:cubicBezTo>
                          <a:lnTo>
                            <a:pt x="28" y="64"/>
                          </a:ln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301" name="Freeform 41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5680092" y="4703754"/>
                      <a:ext cx="61913" cy="61912"/>
                    </a:xfrm>
                    <a:custGeom>
                      <a:avLst/>
                      <a:gdLst>
                        <a:gd name="T0" fmla="*/ 8 w 16"/>
                        <a:gd name="T1" fmla="*/ 16 h 16"/>
                        <a:gd name="T2" fmla="*/ 0 w 16"/>
                        <a:gd name="T3" fmla="*/ 8 h 16"/>
                        <a:gd name="T4" fmla="*/ 8 w 16"/>
                        <a:gd name="T5" fmla="*/ 0 h 16"/>
                        <a:gd name="T6" fmla="*/ 16 w 16"/>
                        <a:gd name="T7" fmla="*/ 8 h 16"/>
                        <a:gd name="T8" fmla="*/ 8 w 16"/>
                        <a:gd name="T9" fmla="*/ 16 h 16"/>
                        <a:gd name="T10" fmla="*/ 8 w 16"/>
                        <a:gd name="T11" fmla="*/ 4 h 16"/>
                        <a:gd name="T12" fmla="*/ 4 w 16"/>
                        <a:gd name="T13" fmla="*/ 8 h 16"/>
                        <a:gd name="T14" fmla="*/ 8 w 16"/>
                        <a:gd name="T15" fmla="*/ 12 h 16"/>
                        <a:gd name="T16" fmla="*/ 12 w 16"/>
                        <a:gd name="T17" fmla="*/ 8 h 16"/>
                        <a:gd name="T18" fmla="*/ 8 w 16"/>
                        <a:gd name="T19" fmla="*/ 4 h 1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16" h="16">
                          <a:moveTo>
                            <a:pt x="8" y="16"/>
                          </a:moveTo>
                          <a:cubicBezTo>
                            <a:pt x="4" y="16"/>
                            <a:pt x="0" y="12"/>
                            <a:pt x="0" y="8"/>
                          </a:cubicBezTo>
                          <a:cubicBezTo>
                            <a:pt x="0" y="4"/>
                            <a:pt x="4" y="0"/>
                            <a:pt x="8" y="0"/>
                          </a:cubicBezTo>
                          <a:cubicBezTo>
                            <a:pt x="12" y="0"/>
                            <a:pt x="16" y="4"/>
                            <a:pt x="16" y="8"/>
                          </a:cubicBezTo>
                          <a:cubicBezTo>
                            <a:pt x="16" y="12"/>
                            <a:pt x="12" y="16"/>
                            <a:pt x="8" y="16"/>
                          </a:cubicBezTo>
                          <a:close/>
                          <a:moveTo>
                            <a:pt x="8" y="4"/>
                          </a:moveTo>
                          <a:cubicBezTo>
                            <a:pt x="6" y="4"/>
                            <a:pt x="4" y="6"/>
                            <a:pt x="4" y="8"/>
                          </a:cubicBezTo>
                          <a:cubicBezTo>
                            <a:pt x="4" y="10"/>
                            <a:pt x="6" y="12"/>
                            <a:pt x="8" y="12"/>
                          </a:cubicBezTo>
                          <a:cubicBezTo>
                            <a:pt x="10" y="12"/>
                            <a:pt x="12" y="10"/>
                            <a:pt x="12" y="8"/>
                          </a:cubicBezTo>
                          <a:cubicBezTo>
                            <a:pt x="12" y="6"/>
                            <a:pt x="10" y="4"/>
                            <a:pt x="8" y="4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302" name="Freeform 42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5634038" y="4657725"/>
                      <a:ext cx="153987" cy="155574"/>
                    </a:xfrm>
                    <a:custGeom>
                      <a:avLst/>
                      <a:gdLst>
                        <a:gd name="T0" fmla="*/ 16 w 40"/>
                        <a:gd name="T1" fmla="*/ 40 h 40"/>
                        <a:gd name="T2" fmla="*/ 14 w 40"/>
                        <a:gd name="T3" fmla="*/ 35 h 40"/>
                        <a:gd name="T4" fmla="*/ 7 w 40"/>
                        <a:gd name="T5" fmla="*/ 34 h 40"/>
                        <a:gd name="T6" fmla="*/ 5 w 40"/>
                        <a:gd name="T7" fmla="*/ 33 h 40"/>
                        <a:gd name="T8" fmla="*/ 1 w 40"/>
                        <a:gd name="T9" fmla="*/ 24 h 40"/>
                        <a:gd name="T10" fmla="*/ 4 w 40"/>
                        <a:gd name="T11" fmla="*/ 18 h 40"/>
                        <a:gd name="T12" fmla="*/ 0 w 40"/>
                        <a:gd name="T13" fmla="*/ 15 h 40"/>
                        <a:gd name="T14" fmla="*/ 5 w 40"/>
                        <a:gd name="T15" fmla="*/ 7 h 40"/>
                        <a:gd name="T16" fmla="*/ 7 w 40"/>
                        <a:gd name="T17" fmla="*/ 6 h 40"/>
                        <a:gd name="T18" fmla="*/ 14 w 40"/>
                        <a:gd name="T19" fmla="*/ 5 h 40"/>
                        <a:gd name="T20" fmla="*/ 16 w 40"/>
                        <a:gd name="T21" fmla="*/ 0 h 40"/>
                        <a:gd name="T22" fmla="*/ 26 w 40"/>
                        <a:gd name="T23" fmla="*/ 2 h 40"/>
                        <a:gd name="T24" fmla="*/ 30 w 40"/>
                        <a:gd name="T25" fmla="*/ 7 h 40"/>
                        <a:gd name="T26" fmla="*/ 34 w 40"/>
                        <a:gd name="T27" fmla="*/ 6 h 40"/>
                        <a:gd name="T28" fmla="*/ 39 w 40"/>
                        <a:gd name="T29" fmla="*/ 13 h 40"/>
                        <a:gd name="T30" fmla="*/ 36 w 40"/>
                        <a:gd name="T31" fmla="*/ 18 h 40"/>
                        <a:gd name="T32" fmla="*/ 39 w 40"/>
                        <a:gd name="T33" fmla="*/ 24 h 40"/>
                        <a:gd name="T34" fmla="*/ 35 w 40"/>
                        <a:gd name="T35" fmla="*/ 33 h 40"/>
                        <a:gd name="T36" fmla="*/ 33 w 40"/>
                        <a:gd name="T37" fmla="*/ 34 h 40"/>
                        <a:gd name="T38" fmla="*/ 26 w 40"/>
                        <a:gd name="T39" fmla="*/ 35 h 40"/>
                        <a:gd name="T40" fmla="*/ 24 w 40"/>
                        <a:gd name="T41" fmla="*/ 40 h 40"/>
                        <a:gd name="T42" fmla="*/ 22 w 40"/>
                        <a:gd name="T43" fmla="*/ 36 h 40"/>
                        <a:gd name="T44" fmla="*/ 23 w 40"/>
                        <a:gd name="T45" fmla="*/ 31 h 40"/>
                        <a:gd name="T46" fmla="*/ 31 w 40"/>
                        <a:gd name="T47" fmla="*/ 28 h 40"/>
                        <a:gd name="T48" fmla="*/ 35 w 40"/>
                        <a:gd name="T49" fmla="*/ 26 h 40"/>
                        <a:gd name="T50" fmla="*/ 32 w 40"/>
                        <a:gd name="T51" fmla="*/ 23 h 40"/>
                        <a:gd name="T52" fmla="*/ 33 w 40"/>
                        <a:gd name="T53" fmla="*/ 15 h 40"/>
                        <a:gd name="T54" fmla="*/ 33 w 40"/>
                        <a:gd name="T55" fmla="*/ 10 h 40"/>
                        <a:gd name="T56" fmla="*/ 28 w 40"/>
                        <a:gd name="T57" fmla="*/ 11 h 40"/>
                        <a:gd name="T58" fmla="*/ 22 w 40"/>
                        <a:gd name="T59" fmla="*/ 7 h 40"/>
                        <a:gd name="T60" fmla="*/ 18 w 40"/>
                        <a:gd name="T61" fmla="*/ 4 h 40"/>
                        <a:gd name="T62" fmla="*/ 17 w 40"/>
                        <a:gd name="T63" fmla="*/ 9 h 40"/>
                        <a:gd name="T64" fmla="*/ 9 w 40"/>
                        <a:gd name="T65" fmla="*/ 12 h 40"/>
                        <a:gd name="T66" fmla="*/ 5 w 40"/>
                        <a:gd name="T67" fmla="*/ 14 h 40"/>
                        <a:gd name="T68" fmla="*/ 8 w 40"/>
                        <a:gd name="T69" fmla="*/ 17 h 40"/>
                        <a:gd name="T70" fmla="*/ 7 w 40"/>
                        <a:gd name="T71" fmla="*/ 25 h 40"/>
                        <a:gd name="T72" fmla="*/ 7 w 40"/>
                        <a:gd name="T73" fmla="*/ 30 h 40"/>
                        <a:gd name="T74" fmla="*/ 12 w 40"/>
                        <a:gd name="T75" fmla="*/ 29 h 40"/>
                        <a:gd name="T76" fmla="*/ 18 w 40"/>
                        <a:gd name="T77" fmla="*/ 33 h 4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</a:cxnLst>
                      <a:rect l="0" t="0" r="r" b="b"/>
                      <a:pathLst>
                        <a:path w="40" h="40">
                          <a:moveTo>
                            <a:pt x="24" y="40"/>
                          </a:moveTo>
                          <a:cubicBezTo>
                            <a:pt x="16" y="40"/>
                            <a:pt x="16" y="40"/>
                            <a:pt x="16" y="40"/>
                          </a:cubicBezTo>
                          <a:cubicBezTo>
                            <a:pt x="15" y="40"/>
                            <a:pt x="14" y="39"/>
                            <a:pt x="14" y="38"/>
                          </a:cubicBezTo>
                          <a:cubicBezTo>
                            <a:pt x="14" y="35"/>
                            <a:pt x="14" y="35"/>
                            <a:pt x="14" y="35"/>
                          </a:cubicBezTo>
                          <a:cubicBezTo>
                            <a:pt x="13" y="34"/>
                            <a:pt x="11" y="34"/>
                            <a:pt x="10" y="33"/>
                          </a:cubicBezTo>
                          <a:cubicBezTo>
                            <a:pt x="7" y="34"/>
                            <a:pt x="7" y="34"/>
                            <a:pt x="7" y="34"/>
                          </a:cubicBezTo>
                          <a:cubicBezTo>
                            <a:pt x="7" y="34"/>
                            <a:pt x="6" y="35"/>
                            <a:pt x="6" y="34"/>
                          </a:cubicBezTo>
                          <a:cubicBezTo>
                            <a:pt x="5" y="34"/>
                            <a:pt x="5" y="34"/>
                            <a:pt x="5" y="33"/>
                          </a:cubicBezTo>
                          <a:cubicBezTo>
                            <a:pt x="1" y="27"/>
                            <a:pt x="1" y="27"/>
                            <a:pt x="1" y="27"/>
                          </a:cubicBezTo>
                          <a:cubicBezTo>
                            <a:pt x="0" y="26"/>
                            <a:pt x="0" y="24"/>
                            <a:pt x="1" y="24"/>
                          </a:cubicBezTo>
                          <a:cubicBezTo>
                            <a:pt x="4" y="22"/>
                            <a:pt x="4" y="22"/>
                            <a:pt x="4" y="22"/>
                          </a:cubicBezTo>
                          <a:cubicBezTo>
                            <a:pt x="4" y="21"/>
                            <a:pt x="4" y="19"/>
                            <a:pt x="4" y="18"/>
                          </a:cubicBezTo>
                          <a:cubicBezTo>
                            <a:pt x="1" y="16"/>
                            <a:pt x="1" y="16"/>
                            <a:pt x="1" y="16"/>
                          </a:cubicBezTo>
                          <a:cubicBezTo>
                            <a:pt x="1" y="16"/>
                            <a:pt x="1" y="15"/>
                            <a:pt x="0" y="15"/>
                          </a:cubicBezTo>
                          <a:cubicBezTo>
                            <a:pt x="0" y="14"/>
                            <a:pt x="0" y="14"/>
                            <a:pt x="1" y="13"/>
                          </a:cubicBezTo>
                          <a:cubicBezTo>
                            <a:pt x="5" y="7"/>
                            <a:pt x="5" y="7"/>
                            <a:pt x="5" y="7"/>
                          </a:cubicBezTo>
                          <a:cubicBezTo>
                            <a:pt x="5" y="6"/>
                            <a:pt x="5" y="6"/>
                            <a:pt x="6" y="6"/>
                          </a:cubicBezTo>
                          <a:cubicBezTo>
                            <a:pt x="6" y="5"/>
                            <a:pt x="7" y="6"/>
                            <a:pt x="7" y="6"/>
                          </a:cubicBezTo>
                          <a:cubicBezTo>
                            <a:pt x="10" y="7"/>
                            <a:pt x="10" y="7"/>
                            <a:pt x="10" y="7"/>
                          </a:cubicBezTo>
                          <a:cubicBezTo>
                            <a:pt x="11" y="7"/>
                            <a:pt x="13" y="6"/>
                            <a:pt x="14" y="5"/>
                          </a:cubicBezTo>
                          <a:cubicBezTo>
                            <a:pt x="14" y="2"/>
                            <a:pt x="14" y="2"/>
                            <a:pt x="14" y="2"/>
                          </a:cubicBezTo>
                          <a:cubicBezTo>
                            <a:pt x="14" y="1"/>
                            <a:pt x="15" y="0"/>
                            <a:pt x="16" y="0"/>
                          </a:cubicBezTo>
                          <a:cubicBezTo>
                            <a:pt x="24" y="0"/>
                            <a:pt x="24" y="0"/>
                            <a:pt x="24" y="0"/>
                          </a:cubicBezTo>
                          <a:cubicBezTo>
                            <a:pt x="25" y="0"/>
                            <a:pt x="26" y="1"/>
                            <a:pt x="26" y="2"/>
                          </a:cubicBezTo>
                          <a:cubicBezTo>
                            <a:pt x="26" y="5"/>
                            <a:pt x="26" y="5"/>
                            <a:pt x="26" y="5"/>
                          </a:cubicBezTo>
                          <a:cubicBezTo>
                            <a:pt x="27" y="6"/>
                            <a:pt x="29" y="6"/>
                            <a:pt x="30" y="7"/>
                          </a:cubicBezTo>
                          <a:cubicBezTo>
                            <a:pt x="33" y="6"/>
                            <a:pt x="33" y="6"/>
                            <a:pt x="33" y="6"/>
                          </a:cubicBezTo>
                          <a:cubicBezTo>
                            <a:pt x="33" y="6"/>
                            <a:pt x="34" y="5"/>
                            <a:pt x="34" y="6"/>
                          </a:cubicBezTo>
                          <a:cubicBezTo>
                            <a:pt x="35" y="6"/>
                            <a:pt x="35" y="6"/>
                            <a:pt x="35" y="7"/>
                          </a:cubicBezTo>
                          <a:cubicBezTo>
                            <a:pt x="39" y="13"/>
                            <a:pt x="39" y="13"/>
                            <a:pt x="39" y="13"/>
                          </a:cubicBezTo>
                          <a:cubicBezTo>
                            <a:pt x="40" y="14"/>
                            <a:pt x="40" y="16"/>
                            <a:pt x="39" y="16"/>
                          </a:cubicBezTo>
                          <a:cubicBezTo>
                            <a:pt x="36" y="18"/>
                            <a:pt x="36" y="18"/>
                            <a:pt x="36" y="18"/>
                          </a:cubicBezTo>
                          <a:cubicBezTo>
                            <a:pt x="36" y="19"/>
                            <a:pt x="36" y="21"/>
                            <a:pt x="36" y="22"/>
                          </a:cubicBezTo>
                          <a:cubicBezTo>
                            <a:pt x="39" y="24"/>
                            <a:pt x="39" y="24"/>
                            <a:pt x="39" y="24"/>
                          </a:cubicBezTo>
                          <a:cubicBezTo>
                            <a:pt x="40" y="24"/>
                            <a:pt x="40" y="26"/>
                            <a:pt x="39" y="27"/>
                          </a:cubicBezTo>
                          <a:cubicBezTo>
                            <a:pt x="35" y="33"/>
                            <a:pt x="35" y="33"/>
                            <a:pt x="35" y="33"/>
                          </a:cubicBezTo>
                          <a:cubicBezTo>
                            <a:pt x="35" y="34"/>
                            <a:pt x="35" y="34"/>
                            <a:pt x="34" y="34"/>
                          </a:cubicBezTo>
                          <a:cubicBezTo>
                            <a:pt x="34" y="35"/>
                            <a:pt x="33" y="34"/>
                            <a:pt x="33" y="34"/>
                          </a:cubicBezTo>
                          <a:cubicBezTo>
                            <a:pt x="30" y="33"/>
                            <a:pt x="30" y="33"/>
                            <a:pt x="30" y="33"/>
                          </a:cubicBezTo>
                          <a:cubicBezTo>
                            <a:pt x="29" y="33"/>
                            <a:pt x="27" y="34"/>
                            <a:pt x="26" y="35"/>
                          </a:cubicBezTo>
                          <a:cubicBezTo>
                            <a:pt x="26" y="38"/>
                            <a:pt x="26" y="38"/>
                            <a:pt x="26" y="38"/>
                          </a:cubicBezTo>
                          <a:cubicBezTo>
                            <a:pt x="26" y="39"/>
                            <a:pt x="25" y="40"/>
                            <a:pt x="24" y="40"/>
                          </a:cubicBezTo>
                          <a:close/>
                          <a:moveTo>
                            <a:pt x="18" y="36"/>
                          </a:moveTo>
                          <a:cubicBezTo>
                            <a:pt x="22" y="36"/>
                            <a:pt x="22" y="36"/>
                            <a:pt x="22" y="36"/>
                          </a:cubicBezTo>
                          <a:cubicBezTo>
                            <a:pt x="22" y="33"/>
                            <a:pt x="22" y="33"/>
                            <a:pt x="22" y="33"/>
                          </a:cubicBezTo>
                          <a:cubicBezTo>
                            <a:pt x="22" y="32"/>
                            <a:pt x="23" y="32"/>
                            <a:pt x="23" y="31"/>
                          </a:cubicBezTo>
                          <a:cubicBezTo>
                            <a:pt x="25" y="31"/>
                            <a:pt x="27" y="30"/>
                            <a:pt x="28" y="29"/>
                          </a:cubicBezTo>
                          <a:cubicBezTo>
                            <a:pt x="29" y="28"/>
                            <a:pt x="30" y="28"/>
                            <a:pt x="31" y="28"/>
                          </a:cubicBezTo>
                          <a:cubicBezTo>
                            <a:pt x="33" y="30"/>
                            <a:pt x="33" y="30"/>
                            <a:pt x="33" y="30"/>
                          </a:cubicBezTo>
                          <a:cubicBezTo>
                            <a:pt x="35" y="26"/>
                            <a:pt x="35" y="26"/>
                            <a:pt x="35" y="26"/>
                          </a:cubicBezTo>
                          <a:cubicBezTo>
                            <a:pt x="33" y="25"/>
                            <a:pt x="33" y="25"/>
                            <a:pt x="33" y="25"/>
                          </a:cubicBezTo>
                          <a:cubicBezTo>
                            <a:pt x="32" y="25"/>
                            <a:pt x="31" y="24"/>
                            <a:pt x="32" y="23"/>
                          </a:cubicBezTo>
                          <a:cubicBezTo>
                            <a:pt x="32" y="21"/>
                            <a:pt x="32" y="19"/>
                            <a:pt x="32" y="17"/>
                          </a:cubicBezTo>
                          <a:cubicBezTo>
                            <a:pt x="31" y="16"/>
                            <a:pt x="32" y="15"/>
                            <a:pt x="33" y="15"/>
                          </a:cubicBezTo>
                          <a:cubicBezTo>
                            <a:pt x="35" y="14"/>
                            <a:pt x="35" y="14"/>
                            <a:pt x="35" y="14"/>
                          </a:cubicBezTo>
                          <a:cubicBezTo>
                            <a:pt x="33" y="10"/>
                            <a:pt x="33" y="10"/>
                            <a:pt x="33" y="10"/>
                          </a:cubicBezTo>
                          <a:cubicBezTo>
                            <a:pt x="31" y="12"/>
                            <a:pt x="31" y="12"/>
                            <a:pt x="31" y="12"/>
                          </a:cubicBezTo>
                          <a:cubicBezTo>
                            <a:pt x="30" y="12"/>
                            <a:pt x="29" y="12"/>
                            <a:pt x="28" y="11"/>
                          </a:cubicBezTo>
                          <a:cubicBezTo>
                            <a:pt x="27" y="10"/>
                            <a:pt x="25" y="9"/>
                            <a:pt x="23" y="9"/>
                          </a:cubicBezTo>
                          <a:cubicBezTo>
                            <a:pt x="23" y="8"/>
                            <a:pt x="22" y="8"/>
                            <a:pt x="22" y="7"/>
                          </a:cubicBezTo>
                          <a:cubicBezTo>
                            <a:pt x="22" y="4"/>
                            <a:pt x="22" y="4"/>
                            <a:pt x="22" y="4"/>
                          </a:cubicBezTo>
                          <a:cubicBezTo>
                            <a:pt x="18" y="4"/>
                            <a:pt x="18" y="4"/>
                            <a:pt x="18" y="4"/>
                          </a:cubicBezTo>
                          <a:cubicBezTo>
                            <a:pt x="18" y="7"/>
                            <a:pt x="18" y="7"/>
                            <a:pt x="18" y="7"/>
                          </a:cubicBezTo>
                          <a:cubicBezTo>
                            <a:pt x="18" y="8"/>
                            <a:pt x="17" y="8"/>
                            <a:pt x="17" y="9"/>
                          </a:cubicBezTo>
                          <a:cubicBezTo>
                            <a:pt x="15" y="9"/>
                            <a:pt x="13" y="10"/>
                            <a:pt x="12" y="11"/>
                          </a:cubicBezTo>
                          <a:cubicBezTo>
                            <a:pt x="11" y="12"/>
                            <a:pt x="10" y="12"/>
                            <a:pt x="9" y="12"/>
                          </a:cubicBezTo>
                          <a:cubicBezTo>
                            <a:pt x="7" y="10"/>
                            <a:pt x="7" y="10"/>
                            <a:pt x="7" y="10"/>
                          </a:cubicBezTo>
                          <a:cubicBezTo>
                            <a:pt x="5" y="14"/>
                            <a:pt x="5" y="14"/>
                            <a:pt x="5" y="14"/>
                          </a:cubicBezTo>
                          <a:cubicBezTo>
                            <a:pt x="7" y="15"/>
                            <a:pt x="7" y="15"/>
                            <a:pt x="7" y="15"/>
                          </a:cubicBezTo>
                          <a:cubicBezTo>
                            <a:pt x="8" y="15"/>
                            <a:pt x="9" y="16"/>
                            <a:pt x="8" y="17"/>
                          </a:cubicBezTo>
                          <a:cubicBezTo>
                            <a:pt x="8" y="19"/>
                            <a:pt x="8" y="21"/>
                            <a:pt x="8" y="23"/>
                          </a:cubicBezTo>
                          <a:cubicBezTo>
                            <a:pt x="9" y="24"/>
                            <a:pt x="8" y="24"/>
                            <a:pt x="7" y="25"/>
                          </a:cubicBezTo>
                          <a:cubicBezTo>
                            <a:pt x="5" y="26"/>
                            <a:pt x="5" y="26"/>
                            <a:pt x="5" y="26"/>
                          </a:cubicBezTo>
                          <a:cubicBezTo>
                            <a:pt x="7" y="30"/>
                            <a:pt x="7" y="30"/>
                            <a:pt x="7" y="30"/>
                          </a:cubicBezTo>
                          <a:cubicBezTo>
                            <a:pt x="9" y="28"/>
                            <a:pt x="9" y="28"/>
                            <a:pt x="9" y="28"/>
                          </a:cubicBezTo>
                          <a:cubicBezTo>
                            <a:pt x="10" y="28"/>
                            <a:pt x="11" y="28"/>
                            <a:pt x="12" y="29"/>
                          </a:cubicBezTo>
                          <a:cubicBezTo>
                            <a:pt x="13" y="30"/>
                            <a:pt x="15" y="31"/>
                            <a:pt x="17" y="31"/>
                          </a:cubicBezTo>
                          <a:cubicBezTo>
                            <a:pt x="17" y="32"/>
                            <a:pt x="18" y="33"/>
                            <a:pt x="18" y="33"/>
                          </a:cubicBezTo>
                          <a:lnTo>
                            <a:pt x="18" y="36"/>
                          </a:ln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p:txBody>
                </p:sp>
              </p:grpSp>
            </p:grpSp>
          </p:grpSp>
          <p:grpSp>
            <p:nvGrpSpPr>
              <p:cNvPr id="289" name="Group 288"/>
              <p:cNvGrpSpPr/>
              <p:nvPr/>
            </p:nvGrpSpPr>
            <p:grpSpPr>
              <a:xfrm>
                <a:off x="428696" y="2618697"/>
                <a:ext cx="1811303" cy="693106"/>
                <a:chOff x="428696" y="2663174"/>
                <a:chExt cx="1811303" cy="693106"/>
              </a:xfrm>
            </p:grpSpPr>
            <p:sp>
              <p:nvSpPr>
                <p:cNvPr id="290" name="Rectangle 289"/>
                <p:cNvSpPr/>
                <p:nvPr/>
              </p:nvSpPr>
              <p:spPr>
                <a:xfrm>
                  <a:off x="428696" y="2663174"/>
                  <a:ext cx="1811303" cy="693106"/>
                </a:xfrm>
                <a:prstGeom prst="rect">
                  <a:avLst/>
                </a:prstGeom>
                <a:solidFill>
                  <a:schemeClr val="bg1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grpSp>
              <p:nvGrpSpPr>
                <p:cNvPr id="291" name="Group 290"/>
                <p:cNvGrpSpPr/>
                <p:nvPr/>
              </p:nvGrpSpPr>
              <p:grpSpPr>
                <a:xfrm>
                  <a:off x="610512" y="2776736"/>
                  <a:ext cx="1447670" cy="465983"/>
                  <a:chOff x="431800" y="990281"/>
                  <a:chExt cx="1447670" cy="465983"/>
                </a:xfrm>
              </p:grpSpPr>
              <p:sp>
                <p:nvSpPr>
                  <p:cNvPr id="292" name="TextBox 291"/>
                  <p:cNvSpPr txBox="1"/>
                  <p:nvPr/>
                </p:nvSpPr>
                <p:spPr>
                  <a:xfrm>
                    <a:off x="431800" y="990281"/>
                    <a:ext cx="371789" cy="153888"/>
                  </a:xfrm>
                  <a:prstGeom prst="rect">
                    <a:avLst/>
                  </a:prstGeom>
                  <a:noFill/>
                  <a:ln w="6350">
                    <a:noFill/>
                    <a:prstDash val="dash"/>
                  </a:ln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000" b="1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ea typeface="+mn-ea"/>
                        <a:cs typeface="+mn-cs"/>
                      </a:rPr>
                      <a:t>TASK 3</a:t>
                    </a:r>
                  </a:p>
                </p:txBody>
              </p:sp>
              <p:sp>
                <p:nvSpPr>
                  <p:cNvPr id="293" name="TextBox 292"/>
                  <p:cNvSpPr txBox="1"/>
                  <p:nvPr/>
                </p:nvSpPr>
                <p:spPr>
                  <a:xfrm>
                    <a:off x="431800" y="1148487"/>
                    <a:ext cx="1447670" cy="307777"/>
                  </a:xfrm>
                  <a:prstGeom prst="rect">
                    <a:avLst/>
                  </a:prstGeom>
                  <a:noFill/>
                  <a:ln w="6350">
                    <a:noFill/>
                    <a:prstDash val="dash"/>
                  </a:ln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ea typeface="+mn-ea"/>
                        <a:cs typeface="+mn-cs"/>
                      </a:rPr>
                      <a:t>Lorem </a:t>
                    </a:r>
                    <a:r>
                      <a:rPr kumimoji="0" lang="en-US" sz="1000" b="0" i="0" u="none" strike="noStrike" kern="1200" cap="none" spc="0" normalizeH="0" baseline="0" noProof="0" dirty="0" err="1">
                        <a:ln>
                          <a:noFill/>
                        </a:ln>
                        <a:effectLst/>
                        <a:uLnTx/>
                        <a:uFillTx/>
                        <a:ea typeface="+mn-ea"/>
                        <a:cs typeface="+mn-cs"/>
                      </a:rPr>
                      <a:t>Ipsum</a:t>
                    </a:r>
                    <a:r>
                      <a: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ea typeface="+mn-ea"/>
                        <a:cs typeface="+mn-cs"/>
                      </a:rPr>
                      <a:t> is simply dummy text of the printing</a:t>
                    </a:r>
                  </a:p>
                </p:txBody>
              </p:sp>
            </p:grpSp>
          </p:grpSp>
        </p:grpSp>
        <p:grpSp>
          <p:nvGrpSpPr>
            <p:cNvPr id="305" name="Group 304"/>
            <p:cNvGrpSpPr/>
            <p:nvPr/>
          </p:nvGrpSpPr>
          <p:grpSpPr>
            <a:xfrm>
              <a:off x="449630" y="4300080"/>
              <a:ext cx="7229404" cy="693106"/>
              <a:chOff x="428696" y="3453383"/>
              <a:chExt cx="7229404" cy="693106"/>
            </a:xfrm>
          </p:grpSpPr>
          <p:grpSp>
            <p:nvGrpSpPr>
              <p:cNvPr id="306" name="Group 305"/>
              <p:cNvGrpSpPr/>
              <p:nvPr/>
            </p:nvGrpSpPr>
            <p:grpSpPr>
              <a:xfrm>
                <a:off x="428696" y="3453383"/>
                <a:ext cx="1811303" cy="693106"/>
                <a:chOff x="428696" y="3630644"/>
                <a:chExt cx="1811303" cy="693106"/>
              </a:xfrm>
            </p:grpSpPr>
            <p:sp>
              <p:nvSpPr>
                <p:cNvPr id="319" name="Rectangle 318"/>
                <p:cNvSpPr/>
                <p:nvPr/>
              </p:nvSpPr>
              <p:spPr>
                <a:xfrm>
                  <a:off x="428696" y="3630644"/>
                  <a:ext cx="1811303" cy="693106"/>
                </a:xfrm>
                <a:prstGeom prst="rect">
                  <a:avLst/>
                </a:prstGeom>
                <a:solidFill>
                  <a:schemeClr val="bg1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grpSp>
              <p:nvGrpSpPr>
                <p:cNvPr id="320" name="Group 319"/>
                <p:cNvGrpSpPr/>
                <p:nvPr/>
              </p:nvGrpSpPr>
              <p:grpSpPr>
                <a:xfrm>
                  <a:off x="610512" y="3744206"/>
                  <a:ext cx="1447670" cy="465983"/>
                  <a:chOff x="431800" y="990281"/>
                  <a:chExt cx="1447670" cy="465983"/>
                </a:xfrm>
              </p:grpSpPr>
              <p:sp>
                <p:nvSpPr>
                  <p:cNvPr id="321" name="TextBox 320"/>
                  <p:cNvSpPr txBox="1"/>
                  <p:nvPr/>
                </p:nvSpPr>
                <p:spPr>
                  <a:xfrm>
                    <a:off x="431800" y="990281"/>
                    <a:ext cx="371789" cy="153888"/>
                  </a:xfrm>
                  <a:prstGeom prst="rect">
                    <a:avLst/>
                  </a:prstGeom>
                  <a:noFill/>
                  <a:ln w="6350">
                    <a:noFill/>
                    <a:prstDash val="dash"/>
                  </a:ln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000" b="1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ea typeface="+mn-ea"/>
                        <a:cs typeface="+mn-cs"/>
                      </a:rPr>
                      <a:t>TASK 4</a:t>
                    </a:r>
                  </a:p>
                </p:txBody>
              </p:sp>
              <p:sp>
                <p:nvSpPr>
                  <p:cNvPr id="322" name="TextBox 321"/>
                  <p:cNvSpPr txBox="1"/>
                  <p:nvPr/>
                </p:nvSpPr>
                <p:spPr>
                  <a:xfrm>
                    <a:off x="431800" y="1148487"/>
                    <a:ext cx="1447670" cy="307777"/>
                  </a:xfrm>
                  <a:prstGeom prst="rect">
                    <a:avLst/>
                  </a:prstGeom>
                  <a:noFill/>
                  <a:ln w="6350">
                    <a:noFill/>
                    <a:prstDash val="dash"/>
                  </a:ln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ea typeface="+mn-ea"/>
                        <a:cs typeface="+mn-cs"/>
                      </a:rPr>
                      <a:t>Lorem </a:t>
                    </a:r>
                    <a:r>
                      <a:rPr kumimoji="0" lang="en-US" sz="1000" b="0" i="0" u="none" strike="noStrike" kern="1200" cap="none" spc="0" normalizeH="0" baseline="0" noProof="0" dirty="0" err="1">
                        <a:ln>
                          <a:noFill/>
                        </a:ln>
                        <a:effectLst/>
                        <a:uLnTx/>
                        <a:uFillTx/>
                        <a:ea typeface="+mn-ea"/>
                        <a:cs typeface="+mn-cs"/>
                      </a:rPr>
                      <a:t>Ipsum</a:t>
                    </a:r>
                    <a:r>
                      <a: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ea typeface="+mn-ea"/>
                        <a:cs typeface="+mn-cs"/>
                      </a:rPr>
                      <a:t> is simply dummy text of the printing</a:t>
                    </a:r>
                  </a:p>
                </p:txBody>
              </p:sp>
            </p:grpSp>
          </p:grpSp>
          <p:grpSp>
            <p:nvGrpSpPr>
              <p:cNvPr id="307" name="Group 306"/>
              <p:cNvGrpSpPr/>
              <p:nvPr/>
            </p:nvGrpSpPr>
            <p:grpSpPr>
              <a:xfrm>
                <a:off x="5184847" y="3453383"/>
                <a:ext cx="2473253" cy="596240"/>
                <a:chOff x="5184847" y="3596549"/>
                <a:chExt cx="2473253" cy="596240"/>
              </a:xfrm>
            </p:grpSpPr>
            <p:sp>
              <p:nvSpPr>
                <p:cNvPr id="308" name="Line 6"/>
                <p:cNvSpPr>
                  <a:spLocks noChangeShapeType="1"/>
                </p:cNvSpPr>
                <p:nvPr/>
              </p:nvSpPr>
              <p:spPr bwMode="auto">
                <a:xfrm>
                  <a:off x="5654665" y="3950548"/>
                  <a:ext cx="2003435" cy="0"/>
                </a:xfrm>
                <a:prstGeom prst="line">
                  <a:avLst/>
                </a:prstGeom>
                <a:noFill/>
                <a:ln w="19050" cap="rnd">
                  <a:solidFill>
                    <a:srgbClr val="3B3939"/>
                  </a:solidFill>
                  <a:prstDash val="solid"/>
                  <a:round/>
                  <a:headEnd/>
                  <a:tailEnd type="oval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309" name="Oval 308"/>
                <p:cNvSpPr>
                  <a:spLocks noChangeAspect="1"/>
                </p:cNvSpPr>
                <p:nvPr/>
              </p:nvSpPr>
              <p:spPr>
                <a:xfrm>
                  <a:off x="5184847" y="3701020"/>
                  <a:ext cx="491769" cy="491769"/>
                </a:xfrm>
                <a:prstGeom prst="ellipse">
                  <a:avLst/>
                </a:prstGeom>
                <a:solidFill>
                  <a:srgbClr val="3B3939"/>
                </a:solidFill>
                <a:ln>
                  <a:noFill/>
                </a:ln>
                <a:effectLst>
                  <a:outerShdw blurRad="25400" dist="25400" dir="5400000" algn="t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grpSp>
              <p:nvGrpSpPr>
                <p:cNvPr id="310" name="Group 309"/>
                <p:cNvGrpSpPr/>
                <p:nvPr/>
              </p:nvGrpSpPr>
              <p:grpSpPr>
                <a:xfrm>
                  <a:off x="5713682" y="3596549"/>
                  <a:ext cx="1819595" cy="303026"/>
                  <a:chOff x="2637412" y="816342"/>
                  <a:chExt cx="1819595" cy="303026"/>
                </a:xfrm>
              </p:grpSpPr>
              <p:sp>
                <p:nvSpPr>
                  <p:cNvPr id="317" name="TextBox 316"/>
                  <p:cNvSpPr txBox="1"/>
                  <p:nvPr/>
                </p:nvSpPr>
                <p:spPr>
                  <a:xfrm>
                    <a:off x="2637413" y="816342"/>
                    <a:ext cx="1447670" cy="153888"/>
                  </a:xfrm>
                  <a:prstGeom prst="rect">
                    <a:avLst/>
                  </a:prstGeom>
                  <a:noFill/>
                  <a:ln w="6350">
                    <a:noFill/>
                    <a:prstDash val="dash"/>
                  </a:ln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B3939"/>
                        </a:solidFill>
                        <a:effectLst/>
                        <a:uLnTx/>
                        <a:uFillTx/>
                        <a:ea typeface="+mn-ea"/>
                        <a:cs typeface="+mn-cs"/>
                      </a:rPr>
                      <a:t>START – FINISH DATE</a:t>
                    </a:r>
                  </a:p>
                </p:txBody>
              </p:sp>
              <p:sp>
                <p:nvSpPr>
                  <p:cNvPr id="318" name="TextBox 317"/>
                  <p:cNvSpPr txBox="1"/>
                  <p:nvPr/>
                </p:nvSpPr>
                <p:spPr>
                  <a:xfrm>
                    <a:off x="2637412" y="965480"/>
                    <a:ext cx="1819595" cy="153888"/>
                  </a:xfrm>
                  <a:prstGeom prst="rect">
                    <a:avLst/>
                  </a:prstGeom>
                  <a:noFill/>
                  <a:ln w="6350">
                    <a:noFill/>
                    <a:prstDash val="dash"/>
                  </a:ln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ea typeface="+mn-ea"/>
                        <a:cs typeface="+mn-cs"/>
                      </a:rPr>
                      <a:t>Lorem </a:t>
                    </a:r>
                    <a:r>
                      <a:rPr kumimoji="0" lang="en-US" sz="1000" b="0" i="0" u="none" strike="noStrike" kern="1200" cap="none" spc="0" normalizeH="0" baseline="0" noProof="0" dirty="0" err="1">
                        <a:ln>
                          <a:noFill/>
                        </a:ln>
                        <a:effectLst/>
                        <a:uLnTx/>
                        <a:uFillTx/>
                        <a:ea typeface="+mn-ea"/>
                        <a:cs typeface="+mn-cs"/>
                      </a:rPr>
                      <a:t>Ipsum</a:t>
                    </a:r>
                    <a:r>
                      <a: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ea typeface="+mn-ea"/>
                        <a:cs typeface="+mn-cs"/>
                      </a:rPr>
                      <a:t> is simply dummy text</a:t>
                    </a:r>
                  </a:p>
                </p:txBody>
              </p:sp>
            </p:grpSp>
            <p:grpSp>
              <p:nvGrpSpPr>
                <p:cNvPr id="311" name="Group 310"/>
                <p:cNvGrpSpPr>
                  <a:grpSpLocks noChangeAspect="1"/>
                </p:cNvGrpSpPr>
                <p:nvPr/>
              </p:nvGrpSpPr>
              <p:grpSpPr>
                <a:xfrm>
                  <a:off x="5287605" y="3820897"/>
                  <a:ext cx="286252" cy="252014"/>
                  <a:chOff x="5227638" y="4597393"/>
                  <a:chExt cx="371475" cy="327043"/>
                </a:xfrm>
                <a:solidFill>
                  <a:schemeClr val="bg1"/>
                </a:solidFill>
              </p:grpSpPr>
              <p:sp>
                <p:nvSpPr>
                  <p:cNvPr id="312" name="Freeform 46"/>
                  <p:cNvSpPr>
                    <a:spLocks noEditPoints="1"/>
                  </p:cNvSpPr>
                  <p:nvPr/>
                </p:nvSpPr>
                <p:spPr bwMode="auto">
                  <a:xfrm>
                    <a:off x="5227638" y="4597393"/>
                    <a:ext cx="371475" cy="295275"/>
                  </a:xfrm>
                  <a:custGeom>
                    <a:avLst/>
                    <a:gdLst>
                      <a:gd name="T0" fmla="*/ 88 w 96"/>
                      <a:gd name="T1" fmla="*/ 76 h 76"/>
                      <a:gd name="T2" fmla="*/ 8 w 96"/>
                      <a:gd name="T3" fmla="*/ 76 h 76"/>
                      <a:gd name="T4" fmla="*/ 0 w 96"/>
                      <a:gd name="T5" fmla="*/ 68 h 76"/>
                      <a:gd name="T6" fmla="*/ 0 w 96"/>
                      <a:gd name="T7" fmla="*/ 8 h 76"/>
                      <a:gd name="T8" fmla="*/ 8 w 96"/>
                      <a:gd name="T9" fmla="*/ 0 h 76"/>
                      <a:gd name="T10" fmla="*/ 88 w 96"/>
                      <a:gd name="T11" fmla="*/ 0 h 76"/>
                      <a:gd name="T12" fmla="*/ 96 w 96"/>
                      <a:gd name="T13" fmla="*/ 8 h 76"/>
                      <a:gd name="T14" fmla="*/ 96 w 96"/>
                      <a:gd name="T15" fmla="*/ 68 h 76"/>
                      <a:gd name="T16" fmla="*/ 88 w 96"/>
                      <a:gd name="T17" fmla="*/ 76 h 76"/>
                      <a:gd name="T18" fmla="*/ 8 w 96"/>
                      <a:gd name="T19" fmla="*/ 4 h 76"/>
                      <a:gd name="T20" fmla="*/ 4 w 96"/>
                      <a:gd name="T21" fmla="*/ 8 h 76"/>
                      <a:gd name="T22" fmla="*/ 4 w 96"/>
                      <a:gd name="T23" fmla="*/ 68 h 76"/>
                      <a:gd name="T24" fmla="*/ 8 w 96"/>
                      <a:gd name="T25" fmla="*/ 72 h 76"/>
                      <a:gd name="T26" fmla="*/ 88 w 96"/>
                      <a:gd name="T27" fmla="*/ 72 h 76"/>
                      <a:gd name="T28" fmla="*/ 92 w 96"/>
                      <a:gd name="T29" fmla="*/ 68 h 76"/>
                      <a:gd name="T30" fmla="*/ 92 w 96"/>
                      <a:gd name="T31" fmla="*/ 8 h 76"/>
                      <a:gd name="T32" fmla="*/ 88 w 96"/>
                      <a:gd name="T33" fmla="*/ 4 h 76"/>
                      <a:gd name="T34" fmla="*/ 8 w 96"/>
                      <a:gd name="T35" fmla="*/ 4 h 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96" h="76">
                        <a:moveTo>
                          <a:pt x="88" y="76"/>
                        </a:moveTo>
                        <a:cubicBezTo>
                          <a:pt x="8" y="76"/>
                          <a:pt x="8" y="76"/>
                          <a:pt x="8" y="76"/>
                        </a:cubicBezTo>
                        <a:cubicBezTo>
                          <a:pt x="4" y="76"/>
                          <a:pt x="0" y="72"/>
                          <a:pt x="0" y="68"/>
                        </a:cubicBezTo>
                        <a:cubicBezTo>
                          <a:pt x="0" y="8"/>
                          <a:pt x="0" y="8"/>
                          <a:pt x="0" y="8"/>
                        </a:cubicBezTo>
                        <a:cubicBezTo>
                          <a:pt x="0" y="4"/>
                          <a:pt x="4" y="0"/>
                          <a:pt x="8" y="0"/>
                        </a:cubicBezTo>
                        <a:cubicBezTo>
                          <a:pt x="88" y="0"/>
                          <a:pt x="88" y="0"/>
                          <a:pt x="88" y="0"/>
                        </a:cubicBezTo>
                        <a:cubicBezTo>
                          <a:pt x="92" y="0"/>
                          <a:pt x="96" y="4"/>
                          <a:pt x="96" y="8"/>
                        </a:cubicBezTo>
                        <a:cubicBezTo>
                          <a:pt x="96" y="68"/>
                          <a:pt x="96" y="68"/>
                          <a:pt x="96" y="68"/>
                        </a:cubicBezTo>
                        <a:cubicBezTo>
                          <a:pt x="96" y="72"/>
                          <a:pt x="92" y="76"/>
                          <a:pt x="88" y="76"/>
                        </a:cubicBezTo>
                        <a:close/>
                        <a:moveTo>
                          <a:pt x="8" y="4"/>
                        </a:moveTo>
                        <a:cubicBezTo>
                          <a:pt x="6" y="4"/>
                          <a:pt x="4" y="6"/>
                          <a:pt x="4" y="8"/>
                        </a:cubicBezTo>
                        <a:cubicBezTo>
                          <a:pt x="4" y="68"/>
                          <a:pt x="4" y="68"/>
                          <a:pt x="4" y="68"/>
                        </a:cubicBezTo>
                        <a:cubicBezTo>
                          <a:pt x="4" y="70"/>
                          <a:pt x="6" y="72"/>
                          <a:pt x="8" y="72"/>
                        </a:cubicBezTo>
                        <a:cubicBezTo>
                          <a:pt x="88" y="72"/>
                          <a:pt x="88" y="72"/>
                          <a:pt x="88" y="72"/>
                        </a:cubicBezTo>
                        <a:cubicBezTo>
                          <a:pt x="90" y="72"/>
                          <a:pt x="92" y="70"/>
                          <a:pt x="92" y="68"/>
                        </a:cubicBezTo>
                        <a:cubicBezTo>
                          <a:pt x="92" y="8"/>
                          <a:pt x="92" y="8"/>
                          <a:pt x="92" y="8"/>
                        </a:cubicBezTo>
                        <a:cubicBezTo>
                          <a:pt x="92" y="6"/>
                          <a:pt x="90" y="4"/>
                          <a:pt x="88" y="4"/>
                        </a:cubicBezTo>
                        <a:lnTo>
                          <a:pt x="8" y="4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13" name="Freeform 47"/>
                  <p:cNvSpPr>
                    <a:spLocks/>
                  </p:cNvSpPr>
                  <p:nvPr/>
                </p:nvSpPr>
                <p:spPr bwMode="auto">
                  <a:xfrm>
                    <a:off x="5297488" y="4908543"/>
                    <a:ext cx="231775" cy="15875"/>
                  </a:xfrm>
                  <a:custGeom>
                    <a:avLst/>
                    <a:gdLst>
                      <a:gd name="T0" fmla="*/ 58 w 60"/>
                      <a:gd name="T1" fmla="*/ 4 h 4"/>
                      <a:gd name="T2" fmla="*/ 2 w 60"/>
                      <a:gd name="T3" fmla="*/ 4 h 4"/>
                      <a:gd name="T4" fmla="*/ 0 w 60"/>
                      <a:gd name="T5" fmla="*/ 2 h 4"/>
                      <a:gd name="T6" fmla="*/ 2 w 60"/>
                      <a:gd name="T7" fmla="*/ 0 h 4"/>
                      <a:gd name="T8" fmla="*/ 58 w 60"/>
                      <a:gd name="T9" fmla="*/ 0 h 4"/>
                      <a:gd name="T10" fmla="*/ 60 w 60"/>
                      <a:gd name="T11" fmla="*/ 2 h 4"/>
                      <a:gd name="T12" fmla="*/ 58 w 60"/>
                      <a:gd name="T13" fmla="*/ 4 h 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60" h="4">
                        <a:moveTo>
                          <a:pt x="58" y="4"/>
                        </a:moveTo>
                        <a:cubicBezTo>
                          <a:pt x="2" y="4"/>
                          <a:pt x="2" y="4"/>
                          <a:pt x="2" y="4"/>
                        </a:cubicBezTo>
                        <a:cubicBezTo>
                          <a:pt x="1" y="4"/>
                          <a:pt x="0" y="3"/>
                          <a:pt x="0" y="2"/>
                        </a:cubicBezTo>
                        <a:cubicBezTo>
                          <a:pt x="0" y="1"/>
                          <a:pt x="1" y="0"/>
                          <a:pt x="2" y="0"/>
                        </a:cubicBezTo>
                        <a:cubicBezTo>
                          <a:pt x="58" y="0"/>
                          <a:pt x="58" y="0"/>
                          <a:pt x="58" y="0"/>
                        </a:cubicBezTo>
                        <a:cubicBezTo>
                          <a:pt x="59" y="0"/>
                          <a:pt x="60" y="1"/>
                          <a:pt x="60" y="2"/>
                        </a:cubicBezTo>
                        <a:cubicBezTo>
                          <a:pt x="60" y="3"/>
                          <a:pt x="59" y="4"/>
                          <a:pt x="58" y="4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14" name="Freeform 48"/>
                  <p:cNvSpPr>
                    <a:spLocks/>
                  </p:cNvSpPr>
                  <p:nvPr/>
                </p:nvSpPr>
                <p:spPr bwMode="auto">
                  <a:xfrm>
                    <a:off x="5405438" y="4876811"/>
                    <a:ext cx="15875" cy="47625"/>
                  </a:xfrm>
                  <a:custGeom>
                    <a:avLst/>
                    <a:gdLst>
                      <a:gd name="T0" fmla="*/ 2 w 4"/>
                      <a:gd name="T1" fmla="*/ 12 h 12"/>
                      <a:gd name="T2" fmla="*/ 0 w 4"/>
                      <a:gd name="T3" fmla="*/ 10 h 12"/>
                      <a:gd name="T4" fmla="*/ 0 w 4"/>
                      <a:gd name="T5" fmla="*/ 2 h 12"/>
                      <a:gd name="T6" fmla="*/ 2 w 4"/>
                      <a:gd name="T7" fmla="*/ 0 h 12"/>
                      <a:gd name="T8" fmla="*/ 4 w 4"/>
                      <a:gd name="T9" fmla="*/ 2 h 12"/>
                      <a:gd name="T10" fmla="*/ 4 w 4"/>
                      <a:gd name="T11" fmla="*/ 10 h 12"/>
                      <a:gd name="T12" fmla="*/ 2 w 4"/>
                      <a:gd name="T13" fmla="*/ 12 h 1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4" h="12">
                        <a:moveTo>
                          <a:pt x="2" y="12"/>
                        </a:moveTo>
                        <a:cubicBezTo>
                          <a:pt x="1" y="12"/>
                          <a:pt x="0" y="11"/>
                          <a:pt x="0" y="10"/>
                        </a:cubicBezTo>
                        <a:cubicBezTo>
                          <a:pt x="0" y="2"/>
                          <a:pt x="0" y="2"/>
                          <a:pt x="0" y="2"/>
                        </a:cubicBezTo>
                        <a:cubicBezTo>
                          <a:pt x="0" y="1"/>
                          <a:pt x="1" y="0"/>
                          <a:pt x="2" y="0"/>
                        </a:cubicBezTo>
                        <a:cubicBezTo>
                          <a:pt x="3" y="0"/>
                          <a:pt x="4" y="1"/>
                          <a:pt x="4" y="2"/>
                        </a:cubicBezTo>
                        <a:cubicBezTo>
                          <a:pt x="4" y="10"/>
                          <a:pt x="4" y="10"/>
                          <a:pt x="4" y="10"/>
                        </a:cubicBezTo>
                        <a:cubicBezTo>
                          <a:pt x="4" y="11"/>
                          <a:pt x="3" y="12"/>
                          <a:pt x="2" y="12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15" name="Oval 49"/>
                  <p:cNvSpPr>
                    <a:spLocks noChangeArrowheads="1"/>
                  </p:cNvSpPr>
                  <p:nvPr/>
                </p:nvSpPr>
                <p:spPr bwMode="auto">
                  <a:xfrm>
                    <a:off x="5397500" y="4838705"/>
                    <a:ext cx="31750" cy="30163"/>
                  </a:xfrm>
                  <a:prstGeom prst="ellipse">
                    <a:avLst/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16" name="Rectangle 50"/>
                  <p:cNvSpPr>
                    <a:spLocks noChangeArrowheads="1"/>
                  </p:cNvSpPr>
                  <p:nvPr/>
                </p:nvSpPr>
                <p:spPr bwMode="auto">
                  <a:xfrm>
                    <a:off x="5235576" y="4814888"/>
                    <a:ext cx="355600" cy="15875"/>
                  </a:xfrm>
                  <a:prstGeom prst="rect">
                    <a:avLst/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endParaRPr>
                  </a:p>
                </p:txBody>
              </p:sp>
            </p:grpSp>
          </p:grpSp>
        </p:grpSp>
        <p:grpSp>
          <p:nvGrpSpPr>
            <p:cNvPr id="323" name="Group 322"/>
            <p:cNvGrpSpPr/>
            <p:nvPr/>
          </p:nvGrpSpPr>
          <p:grpSpPr>
            <a:xfrm>
              <a:off x="4431903" y="1232169"/>
              <a:ext cx="2076776" cy="492108"/>
              <a:chOff x="2260934" y="1232169"/>
              <a:chExt cx="2076776" cy="492108"/>
            </a:xfrm>
          </p:grpSpPr>
          <p:sp>
            <p:nvSpPr>
              <p:cNvPr id="324" name="Rectangle 323"/>
              <p:cNvSpPr/>
              <p:nvPr/>
            </p:nvSpPr>
            <p:spPr>
              <a:xfrm>
                <a:off x="2260934" y="1232169"/>
                <a:ext cx="2076776" cy="492108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25" name="TextBox 324"/>
              <p:cNvSpPr txBox="1"/>
              <p:nvPr/>
            </p:nvSpPr>
            <p:spPr>
              <a:xfrm>
                <a:off x="2920084" y="1293443"/>
                <a:ext cx="758472" cy="184666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ea typeface="+mn-ea"/>
                    <a:cs typeface="+mn-cs"/>
                  </a:rPr>
                  <a:t>MONTH 2</a:t>
                </a:r>
              </a:p>
            </p:txBody>
          </p:sp>
          <p:grpSp>
            <p:nvGrpSpPr>
              <p:cNvPr id="326" name="Group 325"/>
              <p:cNvGrpSpPr/>
              <p:nvPr/>
            </p:nvGrpSpPr>
            <p:grpSpPr>
              <a:xfrm>
                <a:off x="2307570" y="1509115"/>
                <a:ext cx="1983504" cy="153888"/>
                <a:chOff x="2314713" y="1509115"/>
                <a:chExt cx="1983504" cy="153888"/>
              </a:xfrm>
            </p:grpSpPr>
            <p:sp>
              <p:nvSpPr>
                <p:cNvPr id="327" name="TextBox 326"/>
                <p:cNvSpPr txBox="1"/>
                <p:nvPr/>
              </p:nvSpPr>
              <p:spPr>
                <a:xfrm>
                  <a:off x="2314713" y="1509115"/>
                  <a:ext cx="441962" cy="153888"/>
                </a:xfrm>
                <a:prstGeom prst="rect">
                  <a:avLst/>
                </a:prstGeom>
                <a:noFill/>
                <a:ln w="6350">
                  <a:noFill/>
                  <a:prstDash val="dash"/>
                </a:ln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0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ea typeface="+mn-ea"/>
                      <a:cs typeface="+mn-cs"/>
                    </a:rPr>
                    <a:t>Week 1</a:t>
                  </a:r>
                </a:p>
              </p:txBody>
            </p:sp>
            <p:sp>
              <p:nvSpPr>
                <p:cNvPr id="328" name="TextBox 327"/>
                <p:cNvSpPr txBox="1"/>
                <p:nvPr/>
              </p:nvSpPr>
              <p:spPr>
                <a:xfrm>
                  <a:off x="2828561" y="1509115"/>
                  <a:ext cx="441962" cy="153888"/>
                </a:xfrm>
                <a:prstGeom prst="rect">
                  <a:avLst/>
                </a:prstGeom>
                <a:noFill/>
                <a:ln w="6350">
                  <a:noFill/>
                  <a:prstDash val="dash"/>
                </a:ln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0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ea typeface="+mn-ea"/>
                      <a:cs typeface="+mn-cs"/>
                    </a:rPr>
                    <a:t>Week 2</a:t>
                  </a:r>
                </a:p>
              </p:txBody>
            </p:sp>
            <p:sp>
              <p:nvSpPr>
                <p:cNvPr id="329" name="TextBox 328"/>
                <p:cNvSpPr txBox="1"/>
                <p:nvPr/>
              </p:nvSpPr>
              <p:spPr>
                <a:xfrm>
                  <a:off x="3342409" y="1509115"/>
                  <a:ext cx="441962" cy="153888"/>
                </a:xfrm>
                <a:prstGeom prst="rect">
                  <a:avLst/>
                </a:prstGeom>
                <a:noFill/>
                <a:ln w="6350">
                  <a:noFill/>
                  <a:prstDash val="dash"/>
                </a:ln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0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ea typeface="+mn-ea"/>
                      <a:cs typeface="+mn-cs"/>
                    </a:rPr>
                    <a:t>Week 3</a:t>
                  </a:r>
                </a:p>
              </p:txBody>
            </p:sp>
            <p:sp>
              <p:nvSpPr>
                <p:cNvPr id="330" name="TextBox 329"/>
                <p:cNvSpPr txBox="1"/>
                <p:nvPr/>
              </p:nvSpPr>
              <p:spPr>
                <a:xfrm>
                  <a:off x="3856255" y="1509115"/>
                  <a:ext cx="441962" cy="153888"/>
                </a:xfrm>
                <a:prstGeom prst="rect">
                  <a:avLst/>
                </a:prstGeom>
                <a:noFill/>
                <a:ln w="6350">
                  <a:noFill/>
                  <a:prstDash val="dash"/>
                </a:ln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0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ea typeface="+mn-ea"/>
                      <a:cs typeface="+mn-cs"/>
                    </a:rPr>
                    <a:t>Week 4</a:t>
                  </a:r>
                </a:p>
              </p:txBody>
            </p:sp>
            <p:cxnSp>
              <p:nvCxnSpPr>
                <p:cNvPr id="331" name="Straight Connector 330"/>
                <p:cNvCxnSpPr/>
                <p:nvPr/>
              </p:nvCxnSpPr>
              <p:spPr>
                <a:xfrm>
                  <a:off x="2792618" y="1522469"/>
                  <a:ext cx="0" cy="127180"/>
                </a:xfrm>
                <a:prstGeom prst="line">
                  <a:avLst/>
                </a:prstGeom>
                <a:ln w="635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2" name="Straight Connector 331"/>
                <p:cNvCxnSpPr/>
                <p:nvPr/>
              </p:nvCxnSpPr>
              <p:spPr>
                <a:xfrm>
                  <a:off x="3306466" y="1522469"/>
                  <a:ext cx="0" cy="127180"/>
                </a:xfrm>
                <a:prstGeom prst="line">
                  <a:avLst/>
                </a:prstGeom>
                <a:ln w="635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3" name="Straight Connector 332"/>
                <p:cNvCxnSpPr/>
                <p:nvPr/>
              </p:nvCxnSpPr>
              <p:spPr>
                <a:xfrm>
                  <a:off x="3820314" y="1522469"/>
                  <a:ext cx="0" cy="127180"/>
                </a:xfrm>
                <a:prstGeom prst="line">
                  <a:avLst/>
                </a:prstGeom>
                <a:ln w="635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334" name="Group 333"/>
            <p:cNvGrpSpPr/>
            <p:nvPr/>
          </p:nvGrpSpPr>
          <p:grpSpPr>
            <a:xfrm>
              <a:off x="6602871" y="1232169"/>
              <a:ext cx="2076776" cy="492108"/>
              <a:chOff x="2260934" y="1232169"/>
              <a:chExt cx="2076776" cy="492108"/>
            </a:xfrm>
          </p:grpSpPr>
          <p:sp>
            <p:nvSpPr>
              <p:cNvPr id="335" name="Rectangle 334"/>
              <p:cNvSpPr/>
              <p:nvPr/>
            </p:nvSpPr>
            <p:spPr>
              <a:xfrm>
                <a:off x="2260934" y="1232169"/>
                <a:ext cx="2076776" cy="492108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36" name="TextBox 335"/>
              <p:cNvSpPr txBox="1"/>
              <p:nvPr/>
            </p:nvSpPr>
            <p:spPr>
              <a:xfrm>
                <a:off x="2920084" y="1293443"/>
                <a:ext cx="758472" cy="184666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ea typeface="+mn-ea"/>
                    <a:cs typeface="+mn-cs"/>
                  </a:rPr>
                  <a:t>MONTH </a:t>
                </a:r>
                <a:r>
                  <a:rPr lang="en-US" sz="1200" b="1" dirty="0"/>
                  <a:t>3</a:t>
                </a:r>
                <a:endParaRPr kumimoji="0" lang="en-US" sz="12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grpSp>
            <p:nvGrpSpPr>
              <p:cNvPr id="337" name="Group 336"/>
              <p:cNvGrpSpPr/>
              <p:nvPr/>
            </p:nvGrpSpPr>
            <p:grpSpPr>
              <a:xfrm>
                <a:off x="2307570" y="1509115"/>
                <a:ext cx="1983504" cy="153888"/>
                <a:chOff x="2314713" y="1509115"/>
                <a:chExt cx="1983504" cy="153888"/>
              </a:xfrm>
            </p:grpSpPr>
            <p:sp>
              <p:nvSpPr>
                <p:cNvPr id="338" name="TextBox 337"/>
                <p:cNvSpPr txBox="1"/>
                <p:nvPr/>
              </p:nvSpPr>
              <p:spPr>
                <a:xfrm>
                  <a:off x="2314713" y="1509115"/>
                  <a:ext cx="441962" cy="153888"/>
                </a:xfrm>
                <a:prstGeom prst="rect">
                  <a:avLst/>
                </a:prstGeom>
                <a:noFill/>
                <a:ln w="6350">
                  <a:noFill/>
                  <a:prstDash val="dash"/>
                </a:ln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0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ea typeface="+mn-ea"/>
                      <a:cs typeface="+mn-cs"/>
                    </a:rPr>
                    <a:t>Week 1</a:t>
                  </a:r>
                </a:p>
              </p:txBody>
            </p:sp>
            <p:sp>
              <p:nvSpPr>
                <p:cNvPr id="339" name="TextBox 338"/>
                <p:cNvSpPr txBox="1"/>
                <p:nvPr/>
              </p:nvSpPr>
              <p:spPr>
                <a:xfrm>
                  <a:off x="2828561" y="1509115"/>
                  <a:ext cx="441962" cy="153888"/>
                </a:xfrm>
                <a:prstGeom prst="rect">
                  <a:avLst/>
                </a:prstGeom>
                <a:noFill/>
                <a:ln w="6350">
                  <a:noFill/>
                  <a:prstDash val="dash"/>
                </a:ln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0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ea typeface="+mn-ea"/>
                      <a:cs typeface="+mn-cs"/>
                    </a:rPr>
                    <a:t>Week 2</a:t>
                  </a:r>
                </a:p>
              </p:txBody>
            </p:sp>
            <p:sp>
              <p:nvSpPr>
                <p:cNvPr id="340" name="TextBox 339"/>
                <p:cNvSpPr txBox="1"/>
                <p:nvPr/>
              </p:nvSpPr>
              <p:spPr>
                <a:xfrm>
                  <a:off x="3342409" y="1509115"/>
                  <a:ext cx="441962" cy="153888"/>
                </a:xfrm>
                <a:prstGeom prst="rect">
                  <a:avLst/>
                </a:prstGeom>
                <a:noFill/>
                <a:ln w="6350">
                  <a:noFill/>
                  <a:prstDash val="dash"/>
                </a:ln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0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ea typeface="+mn-ea"/>
                      <a:cs typeface="+mn-cs"/>
                    </a:rPr>
                    <a:t>Week 3</a:t>
                  </a:r>
                </a:p>
              </p:txBody>
            </p:sp>
            <p:sp>
              <p:nvSpPr>
                <p:cNvPr id="341" name="TextBox 340"/>
                <p:cNvSpPr txBox="1"/>
                <p:nvPr/>
              </p:nvSpPr>
              <p:spPr>
                <a:xfrm>
                  <a:off x="3856255" y="1509115"/>
                  <a:ext cx="441962" cy="153888"/>
                </a:xfrm>
                <a:prstGeom prst="rect">
                  <a:avLst/>
                </a:prstGeom>
                <a:noFill/>
                <a:ln w="6350">
                  <a:noFill/>
                  <a:prstDash val="dash"/>
                </a:ln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0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ea typeface="+mn-ea"/>
                      <a:cs typeface="+mn-cs"/>
                    </a:rPr>
                    <a:t>Week 4</a:t>
                  </a:r>
                </a:p>
              </p:txBody>
            </p:sp>
            <p:cxnSp>
              <p:nvCxnSpPr>
                <p:cNvPr id="342" name="Straight Connector 341"/>
                <p:cNvCxnSpPr/>
                <p:nvPr/>
              </p:nvCxnSpPr>
              <p:spPr>
                <a:xfrm>
                  <a:off x="2792618" y="1522469"/>
                  <a:ext cx="0" cy="127180"/>
                </a:xfrm>
                <a:prstGeom prst="line">
                  <a:avLst/>
                </a:prstGeom>
                <a:ln w="635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3" name="Straight Connector 342"/>
                <p:cNvCxnSpPr/>
                <p:nvPr/>
              </p:nvCxnSpPr>
              <p:spPr>
                <a:xfrm>
                  <a:off x="3306466" y="1522469"/>
                  <a:ext cx="0" cy="127180"/>
                </a:xfrm>
                <a:prstGeom prst="line">
                  <a:avLst/>
                </a:prstGeom>
                <a:ln w="635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4" name="Straight Connector 343"/>
                <p:cNvCxnSpPr/>
                <p:nvPr/>
              </p:nvCxnSpPr>
              <p:spPr>
                <a:xfrm>
                  <a:off x="3820314" y="1522469"/>
                  <a:ext cx="0" cy="127180"/>
                </a:xfrm>
                <a:prstGeom prst="line">
                  <a:avLst/>
                </a:prstGeom>
                <a:ln w="635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</p:spTree>
    <p:extLst>
      <p:ext uri="{BB962C8B-B14F-4D97-AF65-F5344CB8AC3E}">
        <p14:creationId xmlns:p14="http://schemas.microsoft.com/office/powerpoint/2010/main" val="277344534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Rectangle 102"/>
          <p:cNvSpPr/>
          <p:nvPr/>
        </p:nvSpPr>
        <p:spPr>
          <a:xfrm>
            <a:off x="12344400" y="0"/>
            <a:ext cx="469900" cy="469900"/>
          </a:xfrm>
          <a:prstGeom prst="rect">
            <a:avLst/>
          </a:pr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4" name="Rectangle 103"/>
          <p:cNvSpPr/>
          <p:nvPr/>
        </p:nvSpPr>
        <p:spPr>
          <a:xfrm>
            <a:off x="12344400" y="649557"/>
            <a:ext cx="469900" cy="469900"/>
          </a:xfrm>
          <a:prstGeom prst="rect">
            <a:avLst/>
          </a:prstGeom>
          <a:solidFill>
            <a:srgbClr val="AFAB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5" name="Rectangle 104"/>
          <p:cNvSpPr/>
          <p:nvPr/>
        </p:nvSpPr>
        <p:spPr>
          <a:xfrm>
            <a:off x="12344400" y="1299114"/>
            <a:ext cx="469900" cy="469900"/>
          </a:xfrm>
          <a:prstGeom prst="rect">
            <a:avLst/>
          </a:prstGeom>
          <a:solidFill>
            <a:srgbClr val="7671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7" name="Rectangle 106"/>
          <p:cNvSpPr/>
          <p:nvPr/>
        </p:nvSpPr>
        <p:spPr>
          <a:xfrm>
            <a:off x="12966699" y="0"/>
            <a:ext cx="469900" cy="469900"/>
          </a:xfrm>
          <a:prstGeom prst="rect">
            <a:avLst/>
          </a:prstGeom>
          <a:solidFill>
            <a:srgbClr val="E878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8" name="Rectangle 107"/>
          <p:cNvSpPr/>
          <p:nvPr/>
        </p:nvSpPr>
        <p:spPr>
          <a:xfrm>
            <a:off x="12966699" y="649557"/>
            <a:ext cx="469900" cy="469900"/>
          </a:xfrm>
          <a:prstGeom prst="rect">
            <a:avLst/>
          </a:prstGeom>
          <a:solidFill>
            <a:srgbClr val="E258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9" name="Rectangle 108"/>
          <p:cNvSpPr/>
          <p:nvPr/>
        </p:nvSpPr>
        <p:spPr>
          <a:xfrm>
            <a:off x="12966699" y="1299114"/>
            <a:ext cx="469900" cy="469900"/>
          </a:xfrm>
          <a:prstGeom prst="rect">
            <a:avLst/>
          </a:prstGeom>
          <a:solidFill>
            <a:srgbClr val="D63E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0" name="Rectangle 109"/>
          <p:cNvSpPr/>
          <p:nvPr/>
        </p:nvSpPr>
        <p:spPr>
          <a:xfrm>
            <a:off x="13588998" y="0"/>
            <a:ext cx="469900" cy="469900"/>
          </a:xfrm>
          <a:prstGeom prst="rect">
            <a:avLst/>
          </a:prstGeom>
          <a:solidFill>
            <a:srgbClr val="8EDC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1" name="Rectangle 110"/>
          <p:cNvSpPr/>
          <p:nvPr/>
        </p:nvSpPr>
        <p:spPr>
          <a:xfrm>
            <a:off x="13588998" y="649557"/>
            <a:ext cx="469900" cy="469900"/>
          </a:xfrm>
          <a:prstGeom prst="rect">
            <a:avLst/>
          </a:prstGeom>
          <a:solidFill>
            <a:srgbClr val="78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2" name="Rectangle 111"/>
          <p:cNvSpPr/>
          <p:nvPr/>
        </p:nvSpPr>
        <p:spPr>
          <a:xfrm>
            <a:off x="13588998" y="1299114"/>
            <a:ext cx="469900" cy="469900"/>
          </a:xfrm>
          <a:prstGeom prst="rect">
            <a:avLst/>
          </a:prstGeom>
          <a:solidFill>
            <a:srgbClr val="4CC7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3" name="Rectangle 112"/>
          <p:cNvSpPr/>
          <p:nvPr/>
        </p:nvSpPr>
        <p:spPr>
          <a:xfrm>
            <a:off x="14211297" y="0"/>
            <a:ext cx="469900" cy="469900"/>
          </a:xfrm>
          <a:prstGeom prst="rect">
            <a:avLst/>
          </a:prstGeom>
          <a:solidFill>
            <a:srgbClr val="5553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4" name="Rectangle 113"/>
          <p:cNvSpPr/>
          <p:nvPr/>
        </p:nvSpPr>
        <p:spPr>
          <a:xfrm>
            <a:off x="14211297" y="649557"/>
            <a:ext cx="469900" cy="469900"/>
          </a:xfrm>
          <a:prstGeom prst="rect">
            <a:avLst/>
          </a:prstGeom>
          <a:solidFill>
            <a:srgbClr val="3B39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5" name="Rectangle 114"/>
          <p:cNvSpPr/>
          <p:nvPr/>
        </p:nvSpPr>
        <p:spPr>
          <a:xfrm>
            <a:off x="14211297" y="1299114"/>
            <a:ext cx="469900" cy="469900"/>
          </a:xfrm>
          <a:prstGeom prst="rect">
            <a:avLst/>
          </a:prstGeom>
          <a:solidFill>
            <a:srgbClr val="2523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0" name="Text Placeholder 119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3200" dirty="0"/>
              <a:t>PowerPoint Presentation</a:t>
            </a:r>
          </a:p>
        </p:txBody>
      </p:sp>
      <p:sp>
        <p:nvSpPr>
          <p:cNvPr id="116" name="Date Placeholder 11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E1B330-CB56-448E-9C70-830A2B9C05C8}" type="datetime1">
              <a:rPr lang="en-US" smtClean="0"/>
              <a:t>11/15/2018</a:t>
            </a:fld>
            <a:endParaRPr lang="en-US"/>
          </a:p>
        </p:txBody>
      </p:sp>
      <p:sp>
        <p:nvSpPr>
          <p:cNvPr id="117" name="Slide Number Placeholder 1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06E70-9524-410D-AE9B-78D656EAA14D}" type="slidenum">
              <a:rPr lang="en-US" smtClean="0"/>
              <a:pPr/>
              <a:t>18</a:t>
            </a:fld>
            <a:endParaRPr lang="en-US"/>
          </a:p>
        </p:txBody>
      </p:sp>
      <p:grpSp>
        <p:nvGrpSpPr>
          <p:cNvPr id="157" name="Group 156"/>
          <p:cNvGrpSpPr/>
          <p:nvPr/>
        </p:nvGrpSpPr>
        <p:grpSpPr>
          <a:xfrm>
            <a:off x="4349223" y="2980291"/>
            <a:ext cx="182065" cy="334998"/>
            <a:chOff x="3192684" y="2819400"/>
            <a:chExt cx="313671" cy="577151"/>
          </a:xfrm>
          <a:solidFill>
            <a:srgbClr val="3B3939"/>
          </a:solidFill>
        </p:grpSpPr>
        <p:sp>
          <p:nvSpPr>
            <p:cNvPr id="176" name="Freeform 175"/>
            <p:cNvSpPr/>
            <p:nvPr/>
          </p:nvSpPr>
          <p:spPr>
            <a:xfrm flipH="1">
              <a:off x="3237988" y="2819400"/>
              <a:ext cx="268367" cy="577151"/>
            </a:xfrm>
            <a:custGeom>
              <a:avLst/>
              <a:gdLst>
                <a:gd name="connsiteX0" fmla="*/ 477498 w 521150"/>
                <a:gd name="connsiteY0" fmla="*/ 0 h 954995"/>
                <a:gd name="connsiteX1" fmla="*/ 521150 w 521150"/>
                <a:gd name="connsiteY1" fmla="*/ 43652 h 954995"/>
                <a:gd name="connsiteX2" fmla="*/ 87303 w 521150"/>
                <a:gd name="connsiteY2" fmla="*/ 477498 h 954995"/>
                <a:gd name="connsiteX3" fmla="*/ 521150 w 521150"/>
                <a:gd name="connsiteY3" fmla="*/ 911344 h 954995"/>
                <a:gd name="connsiteX4" fmla="*/ 477498 w 521150"/>
                <a:gd name="connsiteY4" fmla="*/ 954995 h 954995"/>
                <a:gd name="connsiteX5" fmla="*/ 0 w 521150"/>
                <a:gd name="connsiteY5" fmla="*/ 477498 h 954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1150" h="954995">
                  <a:moveTo>
                    <a:pt x="477498" y="0"/>
                  </a:moveTo>
                  <a:lnTo>
                    <a:pt x="521150" y="43652"/>
                  </a:lnTo>
                  <a:lnTo>
                    <a:pt x="87303" y="477498"/>
                  </a:lnTo>
                  <a:lnTo>
                    <a:pt x="521150" y="911344"/>
                  </a:lnTo>
                  <a:lnTo>
                    <a:pt x="477498" y="954995"/>
                  </a:lnTo>
                  <a:lnTo>
                    <a:pt x="0" y="47749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7" name="Freeform 176"/>
            <p:cNvSpPr/>
            <p:nvPr/>
          </p:nvSpPr>
          <p:spPr>
            <a:xfrm flipH="1">
              <a:off x="3192684" y="2891164"/>
              <a:ext cx="201628" cy="433623"/>
            </a:xfrm>
            <a:custGeom>
              <a:avLst/>
              <a:gdLst>
                <a:gd name="connsiteX0" fmla="*/ 477498 w 521150"/>
                <a:gd name="connsiteY0" fmla="*/ 0 h 954995"/>
                <a:gd name="connsiteX1" fmla="*/ 521150 w 521150"/>
                <a:gd name="connsiteY1" fmla="*/ 43652 h 954995"/>
                <a:gd name="connsiteX2" fmla="*/ 87303 w 521150"/>
                <a:gd name="connsiteY2" fmla="*/ 477498 h 954995"/>
                <a:gd name="connsiteX3" fmla="*/ 521150 w 521150"/>
                <a:gd name="connsiteY3" fmla="*/ 911344 h 954995"/>
                <a:gd name="connsiteX4" fmla="*/ 477498 w 521150"/>
                <a:gd name="connsiteY4" fmla="*/ 954995 h 954995"/>
                <a:gd name="connsiteX5" fmla="*/ 0 w 521150"/>
                <a:gd name="connsiteY5" fmla="*/ 477498 h 954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1150" h="954995">
                  <a:moveTo>
                    <a:pt x="477498" y="0"/>
                  </a:moveTo>
                  <a:lnTo>
                    <a:pt x="521150" y="43652"/>
                  </a:lnTo>
                  <a:lnTo>
                    <a:pt x="87303" y="477498"/>
                  </a:lnTo>
                  <a:lnTo>
                    <a:pt x="521150" y="911344"/>
                  </a:lnTo>
                  <a:lnTo>
                    <a:pt x="477498" y="954995"/>
                  </a:lnTo>
                  <a:lnTo>
                    <a:pt x="0" y="47749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58" name="Group 157"/>
          <p:cNvGrpSpPr/>
          <p:nvPr/>
        </p:nvGrpSpPr>
        <p:grpSpPr>
          <a:xfrm>
            <a:off x="7808553" y="2980290"/>
            <a:ext cx="182065" cy="334998"/>
            <a:chOff x="3192684" y="2819400"/>
            <a:chExt cx="313671" cy="577151"/>
          </a:xfrm>
          <a:solidFill>
            <a:srgbClr val="3B3939"/>
          </a:solidFill>
        </p:grpSpPr>
        <p:sp>
          <p:nvSpPr>
            <p:cNvPr id="174" name="Freeform 173"/>
            <p:cNvSpPr/>
            <p:nvPr/>
          </p:nvSpPr>
          <p:spPr>
            <a:xfrm flipH="1">
              <a:off x="3237988" y="2819400"/>
              <a:ext cx="268367" cy="577151"/>
            </a:xfrm>
            <a:custGeom>
              <a:avLst/>
              <a:gdLst>
                <a:gd name="connsiteX0" fmla="*/ 477498 w 521150"/>
                <a:gd name="connsiteY0" fmla="*/ 0 h 954995"/>
                <a:gd name="connsiteX1" fmla="*/ 521150 w 521150"/>
                <a:gd name="connsiteY1" fmla="*/ 43652 h 954995"/>
                <a:gd name="connsiteX2" fmla="*/ 87303 w 521150"/>
                <a:gd name="connsiteY2" fmla="*/ 477498 h 954995"/>
                <a:gd name="connsiteX3" fmla="*/ 521150 w 521150"/>
                <a:gd name="connsiteY3" fmla="*/ 911344 h 954995"/>
                <a:gd name="connsiteX4" fmla="*/ 477498 w 521150"/>
                <a:gd name="connsiteY4" fmla="*/ 954995 h 954995"/>
                <a:gd name="connsiteX5" fmla="*/ 0 w 521150"/>
                <a:gd name="connsiteY5" fmla="*/ 477498 h 954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1150" h="954995">
                  <a:moveTo>
                    <a:pt x="477498" y="0"/>
                  </a:moveTo>
                  <a:lnTo>
                    <a:pt x="521150" y="43652"/>
                  </a:lnTo>
                  <a:lnTo>
                    <a:pt x="87303" y="477498"/>
                  </a:lnTo>
                  <a:lnTo>
                    <a:pt x="521150" y="911344"/>
                  </a:lnTo>
                  <a:lnTo>
                    <a:pt x="477498" y="954995"/>
                  </a:lnTo>
                  <a:lnTo>
                    <a:pt x="0" y="47749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5" name="Freeform 174"/>
            <p:cNvSpPr/>
            <p:nvPr/>
          </p:nvSpPr>
          <p:spPr>
            <a:xfrm flipH="1">
              <a:off x="3192684" y="2891164"/>
              <a:ext cx="201628" cy="433623"/>
            </a:xfrm>
            <a:custGeom>
              <a:avLst/>
              <a:gdLst>
                <a:gd name="connsiteX0" fmla="*/ 477498 w 521150"/>
                <a:gd name="connsiteY0" fmla="*/ 0 h 954995"/>
                <a:gd name="connsiteX1" fmla="*/ 521150 w 521150"/>
                <a:gd name="connsiteY1" fmla="*/ 43652 h 954995"/>
                <a:gd name="connsiteX2" fmla="*/ 87303 w 521150"/>
                <a:gd name="connsiteY2" fmla="*/ 477498 h 954995"/>
                <a:gd name="connsiteX3" fmla="*/ 521150 w 521150"/>
                <a:gd name="connsiteY3" fmla="*/ 911344 h 954995"/>
                <a:gd name="connsiteX4" fmla="*/ 477498 w 521150"/>
                <a:gd name="connsiteY4" fmla="*/ 954995 h 954995"/>
                <a:gd name="connsiteX5" fmla="*/ 0 w 521150"/>
                <a:gd name="connsiteY5" fmla="*/ 477498 h 954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1150" h="954995">
                  <a:moveTo>
                    <a:pt x="477498" y="0"/>
                  </a:moveTo>
                  <a:lnTo>
                    <a:pt x="521150" y="43652"/>
                  </a:lnTo>
                  <a:lnTo>
                    <a:pt x="87303" y="477498"/>
                  </a:lnTo>
                  <a:lnTo>
                    <a:pt x="521150" y="911344"/>
                  </a:lnTo>
                  <a:lnTo>
                    <a:pt x="477498" y="954995"/>
                  </a:lnTo>
                  <a:lnTo>
                    <a:pt x="0" y="47749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56" name="Group 155"/>
          <p:cNvGrpSpPr/>
          <p:nvPr/>
        </p:nvGrpSpPr>
        <p:grpSpPr>
          <a:xfrm>
            <a:off x="1669584" y="1598476"/>
            <a:ext cx="1981826" cy="3533294"/>
            <a:chOff x="974962" y="1606563"/>
            <a:chExt cx="2120072" cy="3779767"/>
          </a:xfrm>
        </p:grpSpPr>
        <p:sp>
          <p:nvSpPr>
            <p:cNvPr id="178" name="Rounded Rectangle 177"/>
            <p:cNvSpPr/>
            <p:nvPr/>
          </p:nvSpPr>
          <p:spPr>
            <a:xfrm>
              <a:off x="984668" y="1621478"/>
              <a:ext cx="2096676" cy="3755059"/>
            </a:xfrm>
            <a:prstGeom prst="roundRect">
              <a:avLst>
                <a:gd name="adj" fmla="val 14441"/>
              </a:avLst>
            </a:prstGeom>
            <a:solidFill>
              <a:schemeClr val="tx1"/>
            </a:solidFill>
            <a:ln w="38100">
              <a:gradFill flip="none" rotWithShape="1">
                <a:gsLst>
                  <a:gs pos="0">
                    <a:schemeClr val="bg1">
                      <a:lumMod val="79000"/>
                    </a:schemeClr>
                  </a:gs>
                  <a:gs pos="100000">
                    <a:schemeClr val="bg1">
                      <a:lumMod val="87000"/>
                    </a:schemeClr>
                  </a:gs>
                  <a:gs pos="51000">
                    <a:schemeClr val="bg1">
                      <a:lumMod val="95000"/>
                    </a:schemeClr>
                  </a:gs>
                </a:gsLst>
                <a:lin ang="13500000" scaled="1"/>
                <a:tileRect/>
              </a:gradFill>
            </a:ln>
            <a:effectLst>
              <a:outerShdw blurRad="25400" dist="12700" dir="2700000" algn="tl" rotWithShape="0">
                <a:prstClr val="black">
                  <a:alpha val="35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w="50800" h="50800" prst="relaxedInset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9" name="Rectangle 178"/>
            <p:cNvSpPr/>
            <p:nvPr/>
          </p:nvSpPr>
          <p:spPr>
            <a:xfrm>
              <a:off x="1151071" y="2078174"/>
              <a:ext cx="1770527" cy="2662855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lumMod val="85000"/>
                  </a:schemeClr>
                </a:gs>
                <a:gs pos="99000">
                  <a:schemeClr val="bg1">
                    <a:lumMod val="73000"/>
                  </a:schemeClr>
                </a:gs>
              </a:gsLst>
              <a:lin ang="5400000" scaled="1"/>
              <a:tileRect/>
            </a:gradFill>
            <a:ln>
              <a:noFill/>
            </a:ln>
            <a:effectLst>
              <a:innerShdw blurRad="889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0" name="Rounded Rectangle 10"/>
            <p:cNvSpPr/>
            <p:nvPr/>
          </p:nvSpPr>
          <p:spPr>
            <a:xfrm>
              <a:off x="1988080" y="1667430"/>
              <a:ext cx="1056285" cy="3718900"/>
            </a:xfrm>
            <a:custGeom>
              <a:avLst/>
              <a:gdLst>
                <a:gd name="connsiteX0" fmla="*/ 0 w 3429000"/>
                <a:gd name="connsiteY0" fmla="*/ 495182 h 5638800"/>
                <a:gd name="connsiteX1" fmla="*/ 495182 w 3429000"/>
                <a:gd name="connsiteY1" fmla="*/ 0 h 5638800"/>
                <a:gd name="connsiteX2" fmla="*/ 2933818 w 3429000"/>
                <a:gd name="connsiteY2" fmla="*/ 0 h 5638800"/>
                <a:gd name="connsiteX3" fmla="*/ 3429000 w 3429000"/>
                <a:gd name="connsiteY3" fmla="*/ 495182 h 5638800"/>
                <a:gd name="connsiteX4" fmla="*/ 3429000 w 3429000"/>
                <a:gd name="connsiteY4" fmla="*/ 5143618 h 5638800"/>
                <a:gd name="connsiteX5" fmla="*/ 2933818 w 3429000"/>
                <a:gd name="connsiteY5" fmla="*/ 5638800 h 5638800"/>
                <a:gd name="connsiteX6" fmla="*/ 495182 w 3429000"/>
                <a:gd name="connsiteY6" fmla="*/ 5638800 h 5638800"/>
                <a:gd name="connsiteX7" fmla="*/ 0 w 3429000"/>
                <a:gd name="connsiteY7" fmla="*/ 5143618 h 5638800"/>
                <a:gd name="connsiteX8" fmla="*/ 0 w 3429000"/>
                <a:gd name="connsiteY8" fmla="*/ 495182 h 5638800"/>
                <a:gd name="connsiteX0" fmla="*/ 0 w 3429000"/>
                <a:gd name="connsiteY0" fmla="*/ 495182 h 5638800"/>
                <a:gd name="connsiteX1" fmla="*/ 495182 w 3429000"/>
                <a:gd name="connsiteY1" fmla="*/ 0 h 5638800"/>
                <a:gd name="connsiteX2" fmla="*/ 2933818 w 3429000"/>
                <a:gd name="connsiteY2" fmla="*/ 0 h 5638800"/>
                <a:gd name="connsiteX3" fmla="*/ 3429000 w 3429000"/>
                <a:gd name="connsiteY3" fmla="*/ 495182 h 5638800"/>
                <a:gd name="connsiteX4" fmla="*/ 3429000 w 3429000"/>
                <a:gd name="connsiteY4" fmla="*/ 5143618 h 5638800"/>
                <a:gd name="connsiteX5" fmla="*/ 2933818 w 3429000"/>
                <a:gd name="connsiteY5" fmla="*/ 5638800 h 5638800"/>
                <a:gd name="connsiteX6" fmla="*/ 495182 w 3429000"/>
                <a:gd name="connsiteY6" fmla="*/ 5638800 h 5638800"/>
                <a:gd name="connsiteX7" fmla="*/ 0 w 3429000"/>
                <a:gd name="connsiteY7" fmla="*/ 495182 h 5638800"/>
                <a:gd name="connsiteX0" fmla="*/ 0 w 3429000"/>
                <a:gd name="connsiteY0" fmla="*/ 495182 h 5638800"/>
                <a:gd name="connsiteX1" fmla="*/ 495182 w 3429000"/>
                <a:gd name="connsiteY1" fmla="*/ 0 h 5638800"/>
                <a:gd name="connsiteX2" fmla="*/ 2933818 w 3429000"/>
                <a:gd name="connsiteY2" fmla="*/ 0 h 5638800"/>
                <a:gd name="connsiteX3" fmla="*/ 3429000 w 3429000"/>
                <a:gd name="connsiteY3" fmla="*/ 495182 h 5638800"/>
                <a:gd name="connsiteX4" fmla="*/ 3429000 w 3429000"/>
                <a:gd name="connsiteY4" fmla="*/ 5143618 h 5638800"/>
                <a:gd name="connsiteX5" fmla="*/ 2933818 w 3429000"/>
                <a:gd name="connsiteY5" fmla="*/ 5638800 h 5638800"/>
                <a:gd name="connsiteX6" fmla="*/ 0 w 3429000"/>
                <a:gd name="connsiteY6" fmla="*/ 495182 h 5638800"/>
                <a:gd name="connsiteX0" fmla="*/ 2438636 w 2933818"/>
                <a:gd name="connsiteY0" fmla="*/ 5638800 h 5638800"/>
                <a:gd name="connsiteX1" fmla="*/ 0 w 2933818"/>
                <a:gd name="connsiteY1" fmla="*/ 0 h 5638800"/>
                <a:gd name="connsiteX2" fmla="*/ 2438636 w 2933818"/>
                <a:gd name="connsiteY2" fmla="*/ 0 h 5638800"/>
                <a:gd name="connsiteX3" fmla="*/ 2933818 w 2933818"/>
                <a:gd name="connsiteY3" fmla="*/ 495182 h 5638800"/>
                <a:gd name="connsiteX4" fmla="*/ 2933818 w 2933818"/>
                <a:gd name="connsiteY4" fmla="*/ 5143618 h 5638800"/>
                <a:gd name="connsiteX5" fmla="*/ 2438636 w 2933818"/>
                <a:gd name="connsiteY5" fmla="*/ 5638800 h 5638800"/>
                <a:gd name="connsiteX0" fmla="*/ 2933818 w 2933818"/>
                <a:gd name="connsiteY0" fmla="*/ 5143618 h 5143618"/>
                <a:gd name="connsiteX1" fmla="*/ 0 w 2933818"/>
                <a:gd name="connsiteY1" fmla="*/ 0 h 5143618"/>
                <a:gd name="connsiteX2" fmla="*/ 2438636 w 2933818"/>
                <a:gd name="connsiteY2" fmla="*/ 0 h 5143618"/>
                <a:gd name="connsiteX3" fmla="*/ 2933818 w 2933818"/>
                <a:gd name="connsiteY3" fmla="*/ 495182 h 5143618"/>
                <a:gd name="connsiteX4" fmla="*/ 2933818 w 2933818"/>
                <a:gd name="connsiteY4" fmla="*/ 5143618 h 5143618"/>
                <a:gd name="connsiteX0" fmla="*/ 2933818 w 2933818"/>
                <a:gd name="connsiteY0" fmla="*/ 5143618 h 5143618"/>
                <a:gd name="connsiteX1" fmla="*/ 0 w 2933818"/>
                <a:gd name="connsiteY1" fmla="*/ 0 h 5143618"/>
                <a:gd name="connsiteX2" fmla="*/ 2438636 w 2933818"/>
                <a:gd name="connsiteY2" fmla="*/ 0 h 5143618"/>
                <a:gd name="connsiteX3" fmla="*/ 2933818 w 2933818"/>
                <a:gd name="connsiteY3" fmla="*/ 495182 h 5143618"/>
                <a:gd name="connsiteX4" fmla="*/ 2933818 w 2933818"/>
                <a:gd name="connsiteY4" fmla="*/ 5143618 h 5143618"/>
                <a:gd name="connsiteX0" fmla="*/ 2933818 w 2933818"/>
                <a:gd name="connsiteY0" fmla="*/ 5143618 h 5143618"/>
                <a:gd name="connsiteX1" fmla="*/ 0 w 2933818"/>
                <a:gd name="connsiteY1" fmla="*/ 0 h 5143618"/>
                <a:gd name="connsiteX2" fmla="*/ 2438636 w 2933818"/>
                <a:gd name="connsiteY2" fmla="*/ 0 h 5143618"/>
                <a:gd name="connsiteX3" fmla="*/ 2933818 w 2933818"/>
                <a:gd name="connsiteY3" fmla="*/ 495182 h 5143618"/>
                <a:gd name="connsiteX4" fmla="*/ 2933818 w 2933818"/>
                <a:gd name="connsiteY4" fmla="*/ 5143618 h 5143618"/>
                <a:gd name="connsiteX0" fmla="*/ 2933818 w 2933818"/>
                <a:gd name="connsiteY0" fmla="*/ 5143618 h 5143618"/>
                <a:gd name="connsiteX1" fmla="*/ 0 w 2933818"/>
                <a:gd name="connsiteY1" fmla="*/ 0 h 5143618"/>
                <a:gd name="connsiteX2" fmla="*/ 2438636 w 2933818"/>
                <a:gd name="connsiteY2" fmla="*/ 0 h 5143618"/>
                <a:gd name="connsiteX3" fmla="*/ 2933818 w 2933818"/>
                <a:gd name="connsiteY3" fmla="*/ 495182 h 5143618"/>
                <a:gd name="connsiteX4" fmla="*/ 2933818 w 2933818"/>
                <a:gd name="connsiteY4" fmla="*/ 5143618 h 5143618"/>
                <a:gd name="connsiteX0" fmla="*/ 2933818 w 2933818"/>
                <a:gd name="connsiteY0" fmla="*/ 5153143 h 5153143"/>
                <a:gd name="connsiteX1" fmla="*/ 0 w 2933818"/>
                <a:gd name="connsiteY1" fmla="*/ 9525 h 5153143"/>
                <a:gd name="connsiteX2" fmla="*/ 2324300 w 2933818"/>
                <a:gd name="connsiteY2" fmla="*/ 0 h 5153143"/>
                <a:gd name="connsiteX3" fmla="*/ 2933818 w 2933818"/>
                <a:gd name="connsiteY3" fmla="*/ 504707 h 5153143"/>
                <a:gd name="connsiteX4" fmla="*/ 2933818 w 2933818"/>
                <a:gd name="connsiteY4" fmla="*/ 5153143 h 5153143"/>
                <a:gd name="connsiteX0" fmla="*/ 2933818 w 2933818"/>
                <a:gd name="connsiteY0" fmla="*/ 5153143 h 5153143"/>
                <a:gd name="connsiteX1" fmla="*/ 0 w 2933818"/>
                <a:gd name="connsiteY1" fmla="*/ 9525 h 5153143"/>
                <a:gd name="connsiteX2" fmla="*/ 2193631 w 2933818"/>
                <a:gd name="connsiteY2" fmla="*/ 0 h 5153143"/>
                <a:gd name="connsiteX3" fmla="*/ 2933818 w 2933818"/>
                <a:gd name="connsiteY3" fmla="*/ 504707 h 5153143"/>
                <a:gd name="connsiteX4" fmla="*/ 2933818 w 2933818"/>
                <a:gd name="connsiteY4" fmla="*/ 5153143 h 5153143"/>
                <a:gd name="connsiteX0" fmla="*/ 2933818 w 2950152"/>
                <a:gd name="connsiteY0" fmla="*/ 5153143 h 5153143"/>
                <a:gd name="connsiteX1" fmla="*/ 0 w 2950152"/>
                <a:gd name="connsiteY1" fmla="*/ 9525 h 5153143"/>
                <a:gd name="connsiteX2" fmla="*/ 2193631 w 2950152"/>
                <a:gd name="connsiteY2" fmla="*/ 0 h 5153143"/>
                <a:gd name="connsiteX3" fmla="*/ 2950152 w 2950152"/>
                <a:gd name="connsiteY3" fmla="*/ 457082 h 5153143"/>
                <a:gd name="connsiteX4" fmla="*/ 2933818 w 2950152"/>
                <a:gd name="connsiteY4" fmla="*/ 5153143 h 5153143"/>
                <a:gd name="connsiteX0" fmla="*/ 2944707 w 2961041"/>
                <a:gd name="connsiteY0" fmla="*/ 5161224 h 5161224"/>
                <a:gd name="connsiteX1" fmla="*/ 0 w 2961041"/>
                <a:gd name="connsiteY1" fmla="*/ 0 h 5161224"/>
                <a:gd name="connsiteX2" fmla="*/ 2204520 w 2961041"/>
                <a:gd name="connsiteY2" fmla="*/ 8081 h 5161224"/>
                <a:gd name="connsiteX3" fmla="*/ 2961041 w 2961041"/>
                <a:gd name="connsiteY3" fmla="*/ 465163 h 5161224"/>
                <a:gd name="connsiteX4" fmla="*/ 2944707 w 2961041"/>
                <a:gd name="connsiteY4" fmla="*/ 5161224 h 5161224"/>
                <a:gd name="connsiteX0" fmla="*/ 2944707 w 2961041"/>
                <a:gd name="connsiteY0" fmla="*/ 5161224 h 5161224"/>
                <a:gd name="connsiteX1" fmla="*/ 0 w 2961041"/>
                <a:gd name="connsiteY1" fmla="*/ 0 h 5161224"/>
                <a:gd name="connsiteX2" fmla="*/ 2204520 w 2961041"/>
                <a:gd name="connsiteY2" fmla="*/ 8081 h 5161224"/>
                <a:gd name="connsiteX3" fmla="*/ 2961041 w 2961041"/>
                <a:gd name="connsiteY3" fmla="*/ 465163 h 5161224"/>
                <a:gd name="connsiteX4" fmla="*/ 2944707 w 2961041"/>
                <a:gd name="connsiteY4" fmla="*/ 5161224 h 5161224"/>
                <a:gd name="connsiteX0" fmla="*/ 2944707 w 2961041"/>
                <a:gd name="connsiteY0" fmla="*/ 5161224 h 5161224"/>
                <a:gd name="connsiteX1" fmla="*/ 0 w 2961041"/>
                <a:gd name="connsiteY1" fmla="*/ 0 h 5161224"/>
                <a:gd name="connsiteX2" fmla="*/ 2204520 w 2961041"/>
                <a:gd name="connsiteY2" fmla="*/ 8081 h 5161224"/>
                <a:gd name="connsiteX3" fmla="*/ 2961041 w 2961041"/>
                <a:gd name="connsiteY3" fmla="*/ 465163 h 5161224"/>
                <a:gd name="connsiteX4" fmla="*/ 2944707 w 2961041"/>
                <a:gd name="connsiteY4" fmla="*/ 5161224 h 5161224"/>
                <a:gd name="connsiteX0" fmla="*/ 2944707 w 2962227"/>
                <a:gd name="connsiteY0" fmla="*/ 5161224 h 5161224"/>
                <a:gd name="connsiteX1" fmla="*/ 0 w 2962227"/>
                <a:gd name="connsiteY1" fmla="*/ 0 h 5161224"/>
                <a:gd name="connsiteX2" fmla="*/ 2204520 w 2962227"/>
                <a:gd name="connsiteY2" fmla="*/ 8081 h 5161224"/>
                <a:gd name="connsiteX3" fmla="*/ 2961041 w 2962227"/>
                <a:gd name="connsiteY3" fmla="*/ 465163 h 5161224"/>
                <a:gd name="connsiteX4" fmla="*/ 2944707 w 2962227"/>
                <a:gd name="connsiteY4" fmla="*/ 5161224 h 5161224"/>
                <a:gd name="connsiteX0" fmla="*/ 2944707 w 2962340"/>
                <a:gd name="connsiteY0" fmla="*/ 5161224 h 5161224"/>
                <a:gd name="connsiteX1" fmla="*/ 0 w 2962340"/>
                <a:gd name="connsiteY1" fmla="*/ 0 h 5161224"/>
                <a:gd name="connsiteX2" fmla="*/ 2204520 w 2962340"/>
                <a:gd name="connsiteY2" fmla="*/ 8081 h 5161224"/>
                <a:gd name="connsiteX3" fmla="*/ 2961041 w 2962340"/>
                <a:gd name="connsiteY3" fmla="*/ 465163 h 5161224"/>
                <a:gd name="connsiteX4" fmla="*/ 2944707 w 2962340"/>
                <a:gd name="connsiteY4" fmla="*/ 5161224 h 51612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62340" h="5161224">
                  <a:moveTo>
                    <a:pt x="2944707" y="5161224"/>
                  </a:moveTo>
                  <a:lnTo>
                    <a:pt x="0" y="0"/>
                  </a:lnTo>
                  <a:lnTo>
                    <a:pt x="2204520" y="8081"/>
                  </a:lnTo>
                  <a:cubicBezTo>
                    <a:pt x="2594469" y="1443"/>
                    <a:pt x="2987869" y="147523"/>
                    <a:pt x="2961041" y="465163"/>
                  </a:cubicBezTo>
                  <a:cubicBezTo>
                    <a:pt x="2955596" y="2030517"/>
                    <a:pt x="2950152" y="3595870"/>
                    <a:pt x="2944707" y="5161224"/>
                  </a:cubicBezTo>
                  <a:close/>
                </a:path>
              </a:pathLst>
            </a:custGeom>
            <a:gradFill flip="none" rotWithShape="1">
              <a:gsLst>
                <a:gs pos="38000">
                  <a:schemeClr val="bg1">
                    <a:alpha val="1000"/>
                  </a:schemeClr>
                </a:gs>
                <a:gs pos="100000">
                  <a:schemeClr val="bg1">
                    <a:alpha val="32000"/>
                  </a:schemeClr>
                </a:gs>
              </a:gsLst>
              <a:lin ang="1620000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1" name="Rounded Rectangle 180"/>
            <p:cNvSpPr/>
            <p:nvPr/>
          </p:nvSpPr>
          <p:spPr>
            <a:xfrm>
              <a:off x="1805867" y="1824453"/>
              <a:ext cx="493107" cy="101488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50000"/>
              </a:schemeClr>
            </a:solidFill>
            <a:ln>
              <a:gradFill flip="none" rotWithShape="1">
                <a:gsLst>
                  <a:gs pos="0">
                    <a:schemeClr val="tx1">
                      <a:lumMod val="85000"/>
                      <a:lumOff val="15000"/>
                    </a:schemeClr>
                  </a:gs>
                  <a:gs pos="100000">
                    <a:schemeClr val="tx1">
                      <a:lumMod val="85000"/>
                      <a:lumOff val="15000"/>
                    </a:schemeClr>
                  </a:gs>
                  <a:gs pos="40000">
                    <a:srgbClr val="2D2D2D"/>
                  </a:gs>
                  <a:gs pos="51000">
                    <a:schemeClr val="tx1">
                      <a:lumMod val="65000"/>
                      <a:lumOff val="35000"/>
                    </a:schemeClr>
                  </a:gs>
                </a:gsLst>
                <a:lin ang="8100000" scaled="1"/>
                <a:tileRect/>
              </a:gradFill>
            </a:ln>
            <a:effectLst>
              <a:innerShdw blurRad="635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213" name="Straight Connector 212"/>
            <p:cNvCxnSpPr/>
            <p:nvPr/>
          </p:nvCxnSpPr>
          <p:spPr>
            <a:xfrm>
              <a:off x="1680649" y="1606563"/>
              <a:ext cx="0" cy="36160"/>
            </a:xfrm>
            <a:prstGeom prst="line">
              <a:avLst/>
            </a:prstGeom>
            <a:ln w="25400"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4" name="Straight Connector 213"/>
            <p:cNvCxnSpPr/>
            <p:nvPr/>
          </p:nvCxnSpPr>
          <p:spPr>
            <a:xfrm rot="16200000">
              <a:off x="991563" y="4903239"/>
              <a:ext cx="0" cy="33202"/>
            </a:xfrm>
            <a:prstGeom prst="line">
              <a:avLst/>
            </a:prstGeom>
            <a:ln w="25400">
              <a:solidFill>
                <a:srgbClr val="30303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5" name="Straight Connector 214"/>
            <p:cNvCxnSpPr/>
            <p:nvPr/>
          </p:nvCxnSpPr>
          <p:spPr>
            <a:xfrm rot="16200000">
              <a:off x="3078433" y="4903239"/>
              <a:ext cx="0" cy="33202"/>
            </a:xfrm>
            <a:prstGeom prst="line">
              <a:avLst/>
            </a:prstGeom>
            <a:ln w="25400">
              <a:solidFill>
                <a:srgbClr val="30303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6" name="Oval 215"/>
            <p:cNvSpPr/>
            <p:nvPr/>
          </p:nvSpPr>
          <p:spPr>
            <a:xfrm>
              <a:off x="1935469" y="4884889"/>
              <a:ext cx="333659" cy="333659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50000"/>
                  </a:schemeClr>
                </a:gs>
                <a:gs pos="56000">
                  <a:srgbClr val="333333"/>
                </a:gs>
                <a:gs pos="100000">
                  <a:schemeClr val="tx1">
                    <a:lumMod val="85000"/>
                    <a:lumOff val="15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7" name="Rounded Rectangle 216"/>
            <p:cNvSpPr/>
            <p:nvPr/>
          </p:nvSpPr>
          <p:spPr>
            <a:xfrm>
              <a:off x="2025063" y="4986840"/>
              <a:ext cx="129756" cy="129756"/>
            </a:xfrm>
            <a:prstGeom prst="roundRect">
              <a:avLst/>
            </a:prstGeom>
            <a:no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218" name="Group 217"/>
            <p:cNvGrpSpPr/>
            <p:nvPr/>
          </p:nvGrpSpPr>
          <p:grpSpPr>
            <a:xfrm>
              <a:off x="1638770" y="1828484"/>
              <a:ext cx="91367" cy="89792"/>
              <a:chOff x="3850992" y="1240759"/>
              <a:chExt cx="79021" cy="77659"/>
            </a:xfrm>
          </p:grpSpPr>
          <p:sp>
            <p:nvSpPr>
              <p:cNvPr id="219" name="Freeform 29"/>
              <p:cNvSpPr>
                <a:spLocks/>
              </p:cNvSpPr>
              <p:nvPr/>
            </p:nvSpPr>
            <p:spPr bwMode="auto">
              <a:xfrm>
                <a:off x="3850992" y="1240759"/>
                <a:ext cx="79021" cy="77659"/>
              </a:xfrm>
              <a:custGeom>
                <a:avLst/>
                <a:gdLst>
                  <a:gd name="T0" fmla="*/ 189 w 345"/>
                  <a:gd name="T1" fmla="*/ 1 h 344"/>
                  <a:gd name="T2" fmla="*/ 224 w 345"/>
                  <a:gd name="T3" fmla="*/ 8 h 344"/>
                  <a:gd name="T4" fmla="*/ 254 w 345"/>
                  <a:gd name="T5" fmla="*/ 21 h 344"/>
                  <a:gd name="T6" fmla="*/ 282 w 345"/>
                  <a:gd name="T7" fmla="*/ 39 h 344"/>
                  <a:gd name="T8" fmla="*/ 305 w 345"/>
                  <a:gd name="T9" fmla="*/ 63 h 344"/>
                  <a:gd name="T10" fmla="*/ 324 w 345"/>
                  <a:gd name="T11" fmla="*/ 90 h 344"/>
                  <a:gd name="T12" fmla="*/ 337 w 345"/>
                  <a:gd name="T13" fmla="*/ 121 h 344"/>
                  <a:gd name="T14" fmla="*/ 343 w 345"/>
                  <a:gd name="T15" fmla="*/ 154 h 344"/>
                  <a:gd name="T16" fmla="*/ 343 w 345"/>
                  <a:gd name="T17" fmla="*/ 189 h 344"/>
                  <a:gd name="T18" fmla="*/ 337 w 345"/>
                  <a:gd name="T19" fmla="*/ 224 h 344"/>
                  <a:gd name="T20" fmla="*/ 324 w 345"/>
                  <a:gd name="T21" fmla="*/ 254 h 344"/>
                  <a:gd name="T22" fmla="*/ 305 w 345"/>
                  <a:gd name="T23" fmla="*/ 282 h 344"/>
                  <a:gd name="T24" fmla="*/ 282 w 345"/>
                  <a:gd name="T25" fmla="*/ 304 h 344"/>
                  <a:gd name="T26" fmla="*/ 254 w 345"/>
                  <a:gd name="T27" fmla="*/ 324 h 344"/>
                  <a:gd name="T28" fmla="*/ 224 w 345"/>
                  <a:gd name="T29" fmla="*/ 336 h 344"/>
                  <a:gd name="T30" fmla="*/ 189 w 345"/>
                  <a:gd name="T31" fmla="*/ 343 h 344"/>
                  <a:gd name="T32" fmla="*/ 155 w 345"/>
                  <a:gd name="T33" fmla="*/ 343 h 344"/>
                  <a:gd name="T34" fmla="*/ 121 w 345"/>
                  <a:gd name="T35" fmla="*/ 336 h 344"/>
                  <a:gd name="T36" fmla="*/ 90 w 345"/>
                  <a:gd name="T37" fmla="*/ 324 h 344"/>
                  <a:gd name="T38" fmla="*/ 63 w 345"/>
                  <a:gd name="T39" fmla="*/ 304 h 344"/>
                  <a:gd name="T40" fmla="*/ 39 w 345"/>
                  <a:gd name="T41" fmla="*/ 282 h 344"/>
                  <a:gd name="T42" fmla="*/ 21 w 345"/>
                  <a:gd name="T43" fmla="*/ 254 h 344"/>
                  <a:gd name="T44" fmla="*/ 8 w 345"/>
                  <a:gd name="T45" fmla="*/ 224 h 344"/>
                  <a:gd name="T46" fmla="*/ 1 w 345"/>
                  <a:gd name="T47" fmla="*/ 189 h 344"/>
                  <a:gd name="T48" fmla="*/ 1 w 345"/>
                  <a:gd name="T49" fmla="*/ 154 h 344"/>
                  <a:gd name="T50" fmla="*/ 8 w 345"/>
                  <a:gd name="T51" fmla="*/ 121 h 344"/>
                  <a:gd name="T52" fmla="*/ 21 w 345"/>
                  <a:gd name="T53" fmla="*/ 90 h 344"/>
                  <a:gd name="T54" fmla="*/ 39 w 345"/>
                  <a:gd name="T55" fmla="*/ 63 h 344"/>
                  <a:gd name="T56" fmla="*/ 63 w 345"/>
                  <a:gd name="T57" fmla="*/ 39 h 344"/>
                  <a:gd name="T58" fmla="*/ 90 w 345"/>
                  <a:gd name="T59" fmla="*/ 21 h 344"/>
                  <a:gd name="T60" fmla="*/ 121 w 345"/>
                  <a:gd name="T61" fmla="*/ 8 h 344"/>
                  <a:gd name="T62" fmla="*/ 155 w 345"/>
                  <a:gd name="T63" fmla="*/ 1 h 3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345" h="344">
                    <a:moveTo>
                      <a:pt x="172" y="0"/>
                    </a:moveTo>
                    <a:lnTo>
                      <a:pt x="189" y="1"/>
                    </a:lnTo>
                    <a:lnTo>
                      <a:pt x="207" y="3"/>
                    </a:lnTo>
                    <a:lnTo>
                      <a:pt x="224" y="8"/>
                    </a:lnTo>
                    <a:lnTo>
                      <a:pt x="240" y="14"/>
                    </a:lnTo>
                    <a:lnTo>
                      <a:pt x="254" y="21"/>
                    </a:lnTo>
                    <a:lnTo>
                      <a:pt x="268" y="30"/>
                    </a:lnTo>
                    <a:lnTo>
                      <a:pt x="282" y="39"/>
                    </a:lnTo>
                    <a:lnTo>
                      <a:pt x="294" y="50"/>
                    </a:lnTo>
                    <a:lnTo>
                      <a:pt x="305" y="63"/>
                    </a:lnTo>
                    <a:lnTo>
                      <a:pt x="315" y="75"/>
                    </a:lnTo>
                    <a:lnTo>
                      <a:pt x="324" y="90"/>
                    </a:lnTo>
                    <a:lnTo>
                      <a:pt x="331" y="105"/>
                    </a:lnTo>
                    <a:lnTo>
                      <a:pt x="337" y="121"/>
                    </a:lnTo>
                    <a:lnTo>
                      <a:pt x="341" y="137"/>
                    </a:lnTo>
                    <a:lnTo>
                      <a:pt x="343" y="154"/>
                    </a:lnTo>
                    <a:lnTo>
                      <a:pt x="345" y="172"/>
                    </a:lnTo>
                    <a:lnTo>
                      <a:pt x="343" y="189"/>
                    </a:lnTo>
                    <a:lnTo>
                      <a:pt x="341" y="206"/>
                    </a:lnTo>
                    <a:lnTo>
                      <a:pt x="337" y="224"/>
                    </a:lnTo>
                    <a:lnTo>
                      <a:pt x="331" y="239"/>
                    </a:lnTo>
                    <a:lnTo>
                      <a:pt x="324" y="254"/>
                    </a:lnTo>
                    <a:lnTo>
                      <a:pt x="315" y="268"/>
                    </a:lnTo>
                    <a:lnTo>
                      <a:pt x="305" y="282"/>
                    </a:lnTo>
                    <a:lnTo>
                      <a:pt x="294" y="294"/>
                    </a:lnTo>
                    <a:lnTo>
                      <a:pt x="282" y="304"/>
                    </a:lnTo>
                    <a:lnTo>
                      <a:pt x="268" y="315"/>
                    </a:lnTo>
                    <a:lnTo>
                      <a:pt x="254" y="324"/>
                    </a:lnTo>
                    <a:lnTo>
                      <a:pt x="240" y="331"/>
                    </a:lnTo>
                    <a:lnTo>
                      <a:pt x="224" y="336"/>
                    </a:lnTo>
                    <a:lnTo>
                      <a:pt x="207" y="341"/>
                    </a:lnTo>
                    <a:lnTo>
                      <a:pt x="189" y="343"/>
                    </a:lnTo>
                    <a:lnTo>
                      <a:pt x="172" y="344"/>
                    </a:lnTo>
                    <a:lnTo>
                      <a:pt x="155" y="343"/>
                    </a:lnTo>
                    <a:lnTo>
                      <a:pt x="138" y="341"/>
                    </a:lnTo>
                    <a:lnTo>
                      <a:pt x="121" y="336"/>
                    </a:lnTo>
                    <a:lnTo>
                      <a:pt x="105" y="331"/>
                    </a:lnTo>
                    <a:lnTo>
                      <a:pt x="90" y="324"/>
                    </a:lnTo>
                    <a:lnTo>
                      <a:pt x="76" y="315"/>
                    </a:lnTo>
                    <a:lnTo>
                      <a:pt x="63" y="304"/>
                    </a:lnTo>
                    <a:lnTo>
                      <a:pt x="50" y="294"/>
                    </a:lnTo>
                    <a:lnTo>
                      <a:pt x="39" y="282"/>
                    </a:lnTo>
                    <a:lnTo>
                      <a:pt x="30" y="268"/>
                    </a:lnTo>
                    <a:lnTo>
                      <a:pt x="21" y="254"/>
                    </a:lnTo>
                    <a:lnTo>
                      <a:pt x="14" y="239"/>
                    </a:lnTo>
                    <a:lnTo>
                      <a:pt x="8" y="224"/>
                    </a:lnTo>
                    <a:lnTo>
                      <a:pt x="3" y="206"/>
                    </a:lnTo>
                    <a:lnTo>
                      <a:pt x="1" y="189"/>
                    </a:lnTo>
                    <a:lnTo>
                      <a:pt x="0" y="172"/>
                    </a:lnTo>
                    <a:lnTo>
                      <a:pt x="1" y="154"/>
                    </a:lnTo>
                    <a:lnTo>
                      <a:pt x="3" y="137"/>
                    </a:lnTo>
                    <a:lnTo>
                      <a:pt x="8" y="121"/>
                    </a:lnTo>
                    <a:lnTo>
                      <a:pt x="14" y="105"/>
                    </a:lnTo>
                    <a:lnTo>
                      <a:pt x="21" y="90"/>
                    </a:lnTo>
                    <a:lnTo>
                      <a:pt x="30" y="75"/>
                    </a:lnTo>
                    <a:lnTo>
                      <a:pt x="39" y="63"/>
                    </a:lnTo>
                    <a:lnTo>
                      <a:pt x="50" y="50"/>
                    </a:lnTo>
                    <a:lnTo>
                      <a:pt x="63" y="39"/>
                    </a:lnTo>
                    <a:lnTo>
                      <a:pt x="76" y="30"/>
                    </a:lnTo>
                    <a:lnTo>
                      <a:pt x="90" y="21"/>
                    </a:lnTo>
                    <a:lnTo>
                      <a:pt x="105" y="14"/>
                    </a:lnTo>
                    <a:lnTo>
                      <a:pt x="121" y="8"/>
                    </a:lnTo>
                    <a:lnTo>
                      <a:pt x="138" y="3"/>
                    </a:lnTo>
                    <a:lnTo>
                      <a:pt x="155" y="1"/>
                    </a:lnTo>
                    <a:lnTo>
                      <a:pt x="172" y="0"/>
                    </a:lnTo>
                    <a:close/>
                  </a:path>
                </a:pathLst>
              </a:custGeom>
              <a:gradFill flip="none" rotWithShape="1">
                <a:gsLst>
                  <a:gs pos="65000">
                    <a:schemeClr val="tx1">
                      <a:lumMod val="75000"/>
                      <a:lumOff val="25000"/>
                    </a:schemeClr>
                  </a:gs>
                  <a:gs pos="0">
                    <a:schemeClr val="tx1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20" name="Freeform 30"/>
              <p:cNvSpPr>
                <a:spLocks/>
              </p:cNvSpPr>
              <p:nvPr/>
            </p:nvSpPr>
            <p:spPr bwMode="auto">
              <a:xfrm>
                <a:off x="3871448" y="1259831"/>
                <a:ext cx="38148" cy="38148"/>
              </a:xfrm>
              <a:custGeom>
                <a:avLst/>
                <a:gdLst>
                  <a:gd name="T0" fmla="*/ 93 w 169"/>
                  <a:gd name="T1" fmla="*/ 0 h 169"/>
                  <a:gd name="T2" fmla="*/ 109 w 169"/>
                  <a:gd name="T3" fmla="*/ 3 h 169"/>
                  <a:gd name="T4" fmla="*/ 124 w 169"/>
                  <a:gd name="T5" fmla="*/ 10 h 169"/>
                  <a:gd name="T6" fmla="*/ 138 w 169"/>
                  <a:gd name="T7" fmla="*/ 19 h 169"/>
                  <a:gd name="T8" fmla="*/ 149 w 169"/>
                  <a:gd name="T9" fmla="*/ 31 h 169"/>
                  <a:gd name="T10" fmla="*/ 158 w 169"/>
                  <a:gd name="T11" fmla="*/ 43 h 169"/>
                  <a:gd name="T12" fmla="*/ 165 w 169"/>
                  <a:gd name="T13" fmla="*/ 59 h 169"/>
                  <a:gd name="T14" fmla="*/ 169 w 169"/>
                  <a:gd name="T15" fmla="*/ 75 h 169"/>
                  <a:gd name="T16" fmla="*/ 169 w 169"/>
                  <a:gd name="T17" fmla="*/ 92 h 169"/>
                  <a:gd name="T18" fmla="*/ 165 w 169"/>
                  <a:gd name="T19" fmla="*/ 109 h 169"/>
                  <a:gd name="T20" fmla="*/ 158 w 169"/>
                  <a:gd name="T21" fmla="*/ 124 h 169"/>
                  <a:gd name="T22" fmla="*/ 149 w 169"/>
                  <a:gd name="T23" fmla="*/ 138 h 169"/>
                  <a:gd name="T24" fmla="*/ 138 w 169"/>
                  <a:gd name="T25" fmla="*/ 149 h 169"/>
                  <a:gd name="T26" fmla="*/ 124 w 169"/>
                  <a:gd name="T27" fmla="*/ 158 h 169"/>
                  <a:gd name="T28" fmla="*/ 109 w 169"/>
                  <a:gd name="T29" fmla="*/ 165 h 169"/>
                  <a:gd name="T30" fmla="*/ 93 w 169"/>
                  <a:gd name="T31" fmla="*/ 169 h 169"/>
                  <a:gd name="T32" fmla="*/ 75 w 169"/>
                  <a:gd name="T33" fmla="*/ 169 h 169"/>
                  <a:gd name="T34" fmla="*/ 59 w 169"/>
                  <a:gd name="T35" fmla="*/ 165 h 169"/>
                  <a:gd name="T36" fmla="*/ 44 w 169"/>
                  <a:gd name="T37" fmla="*/ 158 h 169"/>
                  <a:gd name="T38" fmla="*/ 31 w 169"/>
                  <a:gd name="T39" fmla="*/ 149 h 169"/>
                  <a:gd name="T40" fmla="*/ 19 w 169"/>
                  <a:gd name="T41" fmla="*/ 138 h 169"/>
                  <a:gd name="T42" fmla="*/ 10 w 169"/>
                  <a:gd name="T43" fmla="*/ 124 h 169"/>
                  <a:gd name="T44" fmla="*/ 3 w 169"/>
                  <a:gd name="T45" fmla="*/ 109 h 169"/>
                  <a:gd name="T46" fmla="*/ 0 w 169"/>
                  <a:gd name="T47" fmla="*/ 92 h 169"/>
                  <a:gd name="T48" fmla="*/ 0 w 169"/>
                  <a:gd name="T49" fmla="*/ 75 h 169"/>
                  <a:gd name="T50" fmla="*/ 3 w 169"/>
                  <a:gd name="T51" fmla="*/ 59 h 169"/>
                  <a:gd name="T52" fmla="*/ 10 w 169"/>
                  <a:gd name="T53" fmla="*/ 43 h 169"/>
                  <a:gd name="T54" fmla="*/ 19 w 169"/>
                  <a:gd name="T55" fmla="*/ 31 h 169"/>
                  <a:gd name="T56" fmla="*/ 31 w 169"/>
                  <a:gd name="T57" fmla="*/ 19 h 169"/>
                  <a:gd name="T58" fmla="*/ 44 w 169"/>
                  <a:gd name="T59" fmla="*/ 10 h 169"/>
                  <a:gd name="T60" fmla="*/ 59 w 169"/>
                  <a:gd name="T61" fmla="*/ 3 h 169"/>
                  <a:gd name="T62" fmla="*/ 75 w 169"/>
                  <a:gd name="T63" fmla="*/ 0 h 1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69" h="169">
                    <a:moveTo>
                      <a:pt x="84" y="0"/>
                    </a:moveTo>
                    <a:lnTo>
                      <a:pt x="93" y="0"/>
                    </a:lnTo>
                    <a:lnTo>
                      <a:pt x="101" y="1"/>
                    </a:lnTo>
                    <a:lnTo>
                      <a:pt x="109" y="3"/>
                    </a:lnTo>
                    <a:lnTo>
                      <a:pt x="117" y="6"/>
                    </a:lnTo>
                    <a:lnTo>
                      <a:pt x="124" y="10"/>
                    </a:lnTo>
                    <a:lnTo>
                      <a:pt x="132" y="14"/>
                    </a:lnTo>
                    <a:lnTo>
                      <a:pt x="138" y="19"/>
                    </a:lnTo>
                    <a:lnTo>
                      <a:pt x="145" y="24"/>
                    </a:lnTo>
                    <a:lnTo>
                      <a:pt x="149" y="31"/>
                    </a:lnTo>
                    <a:lnTo>
                      <a:pt x="155" y="36"/>
                    </a:lnTo>
                    <a:lnTo>
                      <a:pt x="158" y="43"/>
                    </a:lnTo>
                    <a:lnTo>
                      <a:pt x="162" y="51"/>
                    </a:lnTo>
                    <a:lnTo>
                      <a:pt x="165" y="59"/>
                    </a:lnTo>
                    <a:lnTo>
                      <a:pt x="168" y="67"/>
                    </a:lnTo>
                    <a:lnTo>
                      <a:pt x="169" y="75"/>
                    </a:lnTo>
                    <a:lnTo>
                      <a:pt x="169" y="84"/>
                    </a:lnTo>
                    <a:lnTo>
                      <a:pt x="169" y="92"/>
                    </a:lnTo>
                    <a:lnTo>
                      <a:pt x="168" y="101"/>
                    </a:lnTo>
                    <a:lnTo>
                      <a:pt x="165" y="109"/>
                    </a:lnTo>
                    <a:lnTo>
                      <a:pt x="162" y="117"/>
                    </a:lnTo>
                    <a:lnTo>
                      <a:pt x="158" y="124"/>
                    </a:lnTo>
                    <a:lnTo>
                      <a:pt x="155" y="131"/>
                    </a:lnTo>
                    <a:lnTo>
                      <a:pt x="149" y="138"/>
                    </a:lnTo>
                    <a:lnTo>
                      <a:pt x="145" y="143"/>
                    </a:lnTo>
                    <a:lnTo>
                      <a:pt x="138" y="149"/>
                    </a:lnTo>
                    <a:lnTo>
                      <a:pt x="132" y="155"/>
                    </a:lnTo>
                    <a:lnTo>
                      <a:pt x="124" y="158"/>
                    </a:lnTo>
                    <a:lnTo>
                      <a:pt x="117" y="162"/>
                    </a:lnTo>
                    <a:lnTo>
                      <a:pt x="109" y="165"/>
                    </a:lnTo>
                    <a:lnTo>
                      <a:pt x="101" y="167"/>
                    </a:lnTo>
                    <a:lnTo>
                      <a:pt x="93" y="169"/>
                    </a:lnTo>
                    <a:lnTo>
                      <a:pt x="84" y="169"/>
                    </a:lnTo>
                    <a:lnTo>
                      <a:pt x="75" y="169"/>
                    </a:lnTo>
                    <a:lnTo>
                      <a:pt x="67" y="167"/>
                    </a:lnTo>
                    <a:lnTo>
                      <a:pt x="59" y="165"/>
                    </a:lnTo>
                    <a:lnTo>
                      <a:pt x="51" y="162"/>
                    </a:lnTo>
                    <a:lnTo>
                      <a:pt x="44" y="158"/>
                    </a:lnTo>
                    <a:lnTo>
                      <a:pt x="36" y="155"/>
                    </a:lnTo>
                    <a:lnTo>
                      <a:pt x="31" y="149"/>
                    </a:lnTo>
                    <a:lnTo>
                      <a:pt x="24" y="143"/>
                    </a:lnTo>
                    <a:lnTo>
                      <a:pt x="19" y="138"/>
                    </a:lnTo>
                    <a:lnTo>
                      <a:pt x="14" y="131"/>
                    </a:lnTo>
                    <a:lnTo>
                      <a:pt x="10" y="124"/>
                    </a:lnTo>
                    <a:lnTo>
                      <a:pt x="6" y="117"/>
                    </a:lnTo>
                    <a:lnTo>
                      <a:pt x="3" y="109"/>
                    </a:lnTo>
                    <a:lnTo>
                      <a:pt x="1" y="101"/>
                    </a:lnTo>
                    <a:lnTo>
                      <a:pt x="0" y="92"/>
                    </a:lnTo>
                    <a:lnTo>
                      <a:pt x="0" y="84"/>
                    </a:lnTo>
                    <a:lnTo>
                      <a:pt x="0" y="75"/>
                    </a:lnTo>
                    <a:lnTo>
                      <a:pt x="1" y="67"/>
                    </a:lnTo>
                    <a:lnTo>
                      <a:pt x="3" y="59"/>
                    </a:lnTo>
                    <a:lnTo>
                      <a:pt x="6" y="51"/>
                    </a:lnTo>
                    <a:lnTo>
                      <a:pt x="10" y="43"/>
                    </a:lnTo>
                    <a:lnTo>
                      <a:pt x="14" y="36"/>
                    </a:lnTo>
                    <a:lnTo>
                      <a:pt x="19" y="31"/>
                    </a:lnTo>
                    <a:lnTo>
                      <a:pt x="24" y="24"/>
                    </a:lnTo>
                    <a:lnTo>
                      <a:pt x="31" y="19"/>
                    </a:lnTo>
                    <a:lnTo>
                      <a:pt x="36" y="14"/>
                    </a:lnTo>
                    <a:lnTo>
                      <a:pt x="44" y="10"/>
                    </a:lnTo>
                    <a:lnTo>
                      <a:pt x="51" y="6"/>
                    </a:lnTo>
                    <a:lnTo>
                      <a:pt x="59" y="3"/>
                    </a:lnTo>
                    <a:lnTo>
                      <a:pt x="67" y="1"/>
                    </a:lnTo>
                    <a:lnTo>
                      <a:pt x="75" y="0"/>
                    </a:lnTo>
                    <a:lnTo>
                      <a:pt x="84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00B0F0"/>
                  </a:gs>
                  <a:gs pos="74000">
                    <a:srgbClr val="002060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21" name="Freeform 31"/>
              <p:cNvSpPr>
                <a:spLocks/>
              </p:cNvSpPr>
              <p:nvPr/>
            </p:nvSpPr>
            <p:spPr bwMode="auto">
              <a:xfrm>
                <a:off x="3876892" y="1274820"/>
                <a:ext cx="10899" cy="10899"/>
              </a:xfrm>
              <a:custGeom>
                <a:avLst/>
                <a:gdLst>
                  <a:gd name="T0" fmla="*/ 23 w 46"/>
                  <a:gd name="T1" fmla="*/ 0 h 47"/>
                  <a:gd name="T2" fmla="*/ 27 w 46"/>
                  <a:gd name="T3" fmla="*/ 1 h 47"/>
                  <a:gd name="T4" fmla="*/ 32 w 46"/>
                  <a:gd name="T5" fmla="*/ 2 h 47"/>
                  <a:gd name="T6" fmla="*/ 35 w 46"/>
                  <a:gd name="T7" fmla="*/ 5 h 47"/>
                  <a:gd name="T8" fmla="*/ 39 w 46"/>
                  <a:gd name="T9" fmla="*/ 7 h 47"/>
                  <a:gd name="T10" fmla="*/ 42 w 46"/>
                  <a:gd name="T11" fmla="*/ 10 h 47"/>
                  <a:gd name="T12" fmla="*/ 45 w 46"/>
                  <a:gd name="T13" fmla="*/ 15 h 47"/>
                  <a:gd name="T14" fmla="*/ 46 w 46"/>
                  <a:gd name="T15" fmla="*/ 18 h 47"/>
                  <a:gd name="T16" fmla="*/ 46 w 46"/>
                  <a:gd name="T17" fmla="*/ 24 h 47"/>
                  <a:gd name="T18" fmla="*/ 46 w 46"/>
                  <a:gd name="T19" fmla="*/ 28 h 47"/>
                  <a:gd name="T20" fmla="*/ 45 w 46"/>
                  <a:gd name="T21" fmla="*/ 32 h 47"/>
                  <a:gd name="T22" fmla="*/ 42 w 46"/>
                  <a:gd name="T23" fmla="*/ 36 h 47"/>
                  <a:gd name="T24" fmla="*/ 39 w 46"/>
                  <a:gd name="T25" fmla="*/ 40 h 47"/>
                  <a:gd name="T26" fmla="*/ 35 w 46"/>
                  <a:gd name="T27" fmla="*/ 42 h 47"/>
                  <a:gd name="T28" fmla="*/ 32 w 46"/>
                  <a:gd name="T29" fmla="*/ 44 h 47"/>
                  <a:gd name="T30" fmla="*/ 27 w 46"/>
                  <a:gd name="T31" fmla="*/ 46 h 47"/>
                  <a:gd name="T32" fmla="*/ 23 w 46"/>
                  <a:gd name="T33" fmla="*/ 47 h 47"/>
                  <a:gd name="T34" fmla="*/ 18 w 46"/>
                  <a:gd name="T35" fmla="*/ 46 h 47"/>
                  <a:gd name="T36" fmla="*/ 14 w 46"/>
                  <a:gd name="T37" fmla="*/ 44 h 47"/>
                  <a:gd name="T38" fmla="*/ 10 w 46"/>
                  <a:gd name="T39" fmla="*/ 42 h 47"/>
                  <a:gd name="T40" fmla="*/ 7 w 46"/>
                  <a:gd name="T41" fmla="*/ 40 h 47"/>
                  <a:gd name="T42" fmla="*/ 4 w 46"/>
                  <a:gd name="T43" fmla="*/ 36 h 47"/>
                  <a:gd name="T44" fmla="*/ 1 w 46"/>
                  <a:gd name="T45" fmla="*/ 32 h 47"/>
                  <a:gd name="T46" fmla="*/ 0 w 46"/>
                  <a:gd name="T47" fmla="*/ 28 h 47"/>
                  <a:gd name="T48" fmla="*/ 0 w 46"/>
                  <a:gd name="T49" fmla="*/ 24 h 47"/>
                  <a:gd name="T50" fmla="*/ 0 w 46"/>
                  <a:gd name="T51" fmla="*/ 18 h 47"/>
                  <a:gd name="T52" fmla="*/ 1 w 46"/>
                  <a:gd name="T53" fmla="*/ 15 h 47"/>
                  <a:gd name="T54" fmla="*/ 4 w 46"/>
                  <a:gd name="T55" fmla="*/ 10 h 47"/>
                  <a:gd name="T56" fmla="*/ 7 w 46"/>
                  <a:gd name="T57" fmla="*/ 7 h 47"/>
                  <a:gd name="T58" fmla="*/ 10 w 46"/>
                  <a:gd name="T59" fmla="*/ 5 h 47"/>
                  <a:gd name="T60" fmla="*/ 14 w 46"/>
                  <a:gd name="T61" fmla="*/ 2 h 47"/>
                  <a:gd name="T62" fmla="*/ 18 w 46"/>
                  <a:gd name="T63" fmla="*/ 1 h 47"/>
                  <a:gd name="T64" fmla="*/ 23 w 46"/>
                  <a:gd name="T65" fmla="*/ 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6" h="47">
                    <a:moveTo>
                      <a:pt x="23" y="0"/>
                    </a:moveTo>
                    <a:lnTo>
                      <a:pt x="27" y="1"/>
                    </a:lnTo>
                    <a:lnTo>
                      <a:pt x="32" y="2"/>
                    </a:lnTo>
                    <a:lnTo>
                      <a:pt x="35" y="5"/>
                    </a:lnTo>
                    <a:lnTo>
                      <a:pt x="39" y="7"/>
                    </a:lnTo>
                    <a:lnTo>
                      <a:pt x="42" y="10"/>
                    </a:lnTo>
                    <a:lnTo>
                      <a:pt x="45" y="15"/>
                    </a:lnTo>
                    <a:lnTo>
                      <a:pt x="46" y="18"/>
                    </a:lnTo>
                    <a:lnTo>
                      <a:pt x="46" y="24"/>
                    </a:lnTo>
                    <a:lnTo>
                      <a:pt x="46" y="28"/>
                    </a:lnTo>
                    <a:lnTo>
                      <a:pt x="45" y="32"/>
                    </a:lnTo>
                    <a:lnTo>
                      <a:pt x="42" y="36"/>
                    </a:lnTo>
                    <a:lnTo>
                      <a:pt x="39" y="40"/>
                    </a:lnTo>
                    <a:lnTo>
                      <a:pt x="35" y="42"/>
                    </a:lnTo>
                    <a:lnTo>
                      <a:pt x="32" y="44"/>
                    </a:lnTo>
                    <a:lnTo>
                      <a:pt x="27" y="46"/>
                    </a:lnTo>
                    <a:lnTo>
                      <a:pt x="23" y="47"/>
                    </a:lnTo>
                    <a:lnTo>
                      <a:pt x="18" y="46"/>
                    </a:lnTo>
                    <a:lnTo>
                      <a:pt x="14" y="44"/>
                    </a:lnTo>
                    <a:lnTo>
                      <a:pt x="10" y="42"/>
                    </a:lnTo>
                    <a:lnTo>
                      <a:pt x="7" y="40"/>
                    </a:lnTo>
                    <a:lnTo>
                      <a:pt x="4" y="36"/>
                    </a:lnTo>
                    <a:lnTo>
                      <a:pt x="1" y="32"/>
                    </a:lnTo>
                    <a:lnTo>
                      <a:pt x="0" y="28"/>
                    </a:lnTo>
                    <a:lnTo>
                      <a:pt x="0" y="24"/>
                    </a:lnTo>
                    <a:lnTo>
                      <a:pt x="0" y="18"/>
                    </a:lnTo>
                    <a:lnTo>
                      <a:pt x="1" y="15"/>
                    </a:lnTo>
                    <a:lnTo>
                      <a:pt x="4" y="10"/>
                    </a:lnTo>
                    <a:lnTo>
                      <a:pt x="7" y="7"/>
                    </a:lnTo>
                    <a:lnTo>
                      <a:pt x="10" y="5"/>
                    </a:lnTo>
                    <a:lnTo>
                      <a:pt x="14" y="2"/>
                    </a:lnTo>
                    <a:lnTo>
                      <a:pt x="18" y="1"/>
                    </a:lnTo>
                    <a:lnTo>
                      <a:pt x="23" y="0"/>
                    </a:lnTo>
                    <a:close/>
                  </a:path>
                </a:pathLst>
              </a:custGeom>
              <a:solidFill>
                <a:srgbClr val="E6E7E8">
                  <a:alpha val="50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22" name="Freeform 32"/>
              <p:cNvSpPr>
                <a:spLocks/>
              </p:cNvSpPr>
              <p:nvPr/>
            </p:nvSpPr>
            <p:spPr bwMode="auto">
              <a:xfrm>
                <a:off x="3894775" y="1269392"/>
                <a:ext cx="6813" cy="6813"/>
              </a:xfrm>
              <a:custGeom>
                <a:avLst/>
                <a:gdLst>
                  <a:gd name="T0" fmla="*/ 15 w 30"/>
                  <a:gd name="T1" fmla="*/ 0 h 31"/>
                  <a:gd name="T2" fmla="*/ 18 w 30"/>
                  <a:gd name="T3" fmla="*/ 0 h 31"/>
                  <a:gd name="T4" fmla="*/ 20 w 30"/>
                  <a:gd name="T5" fmla="*/ 1 h 31"/>
                  <a:gd name="T6" fmla="*/ 24 w 30"/>
                  <a:gd name="T7" fmla="*/ 2 h 31"/>
                  <a:gd name="T8" fmla="*/ 26 w 30"/>
                  <a:gd name="T9" fmla="*/ 4 h 31"/>
                  <a:gd name="T10" fmla="*/ 27 w 30"/>
                  <a:gd name="T11" fmla="*/ 7 h 31"/>
                  <a:gd name="T12" fmla="*/ 29 w 30"/>
                  <a:gd name="T13" fmla="*/ 9 h 31"/>
                  <a:gd name="T14" fmla="*/ 29 w 30"/>
                  <a:gd name="T15" fmla="*/ 11 h 31"/>
                  <a:gd name="T16" fmla="*/ 30 w 30"/>
                  <a:gd name="T17" fmla="*/ 15 h 31"/>
                  <a:gd name="T18" fmla="*/ 29 w 30"/>
                  <a:gd name="T19" fmla="*/ 18 h 31"/>
                  <a:gd name="T20" fmla="*/ 29 w 30"/>
                  <a:gd name="T21" fmla="*/ 20 h 31"/>
                  <a:gd name="T22" fmla="*/ 27 w 30"/>
                  <a:gd name="T23" fmla="*/ 24 h 31"/>
                  <a:gd name="T24" fmla="*/ 26 w 30"/>
                  <a:gd name="T25" fmla="*/ 26 h 31"/>
                  <a:gd name="T26" fmla="*/ 24 w 30"/>
                  <a:gd name="T27" fmla="*/ 27 h 31"/>
                  <a:gd name="T28" fmla="*/ 20 w 30"/>
                  <a:gd name="T29" fmla="*/ 28 h 31"/>
                  <a:gd name="T30" fmla="*/ 18 w 30"/>
                  <a:gd name="T31" fmla="*/ 30 h 31"/>
                  <a:gd name="T32" fmla="*/ 15 w 30"/>
                  <a:gd name="T33" fmla="*/ 31 h 31"/>
                  <a:gd name="T34" fmla="*/ 11 w 30"/>
                  <a:gd name="T35" fmla="*/ 30 h 31"/>
                  <a:gd name="T36" fmla="*/ 9 w 30"/>
                  <a:gd name="T37" fmla="*/ 28 h 31"/>
                  <a:gd name="T38" fmla="*/ 7 w 30"/>
                  <a:gd name="T39" fmla="*/ 27 h 31"/>
                  <a:gd name="T40" fmla="*/ 4 w 30"/>
                  <a:gd name="T41" fmla="*/ 26 h 31"/>
                  <a:gd name="T42" fmla="*/ 2 w 30"/>
                  <a:gd name="T43" fmla="*/ 24 h 31"/>
                  <a:gd name="T44" fmla="*/ 1 w 30"/>
                  <a:gd name="T45" fmla="*/ 20 h 31"/>
                  <a:gd name="T46" fmla="*/ 0 w 30"/>
                  <a:gd name="T47" fmla="*/ 18 h 31"/>
                  <a:gd name="T48" fmla="*/ 0 w 30"/>
                  <a:gd name="T49" fmla="*/ 15 h 31"/>
                  <a:gd name="T50" fmla="*/ 0 w 30"/>
                  <a:gd name="T51" fmla="*/ 11 h 31"/>
                  <a:gd name="T52" fmla="*/ 1 w 30"/>
                  <a:gd name="T53" fmla="*/ 9 h 31"/>
                  <a:gd name="T54" fmla="*/ 2 w 30"/>
                  <a:gd name="T55" fmla="*/ 7 h 31"/>
                  <a:gd name="T56" fmla="*/ 4 w 30"/>
                  <a:gd name="T57" fmla="*/ 4 h 31"/>
                  <a:gd name="T58" fmla="*/ 7 w 30"/>
                  <a:gd name="T59" fmla="*/ 2 h 31"/>
                  <a:gd name="T60" fmla="*/ 9 w 30"/>
                  <a:gd name="T61" fmla="*/ 1 h 31"/>
                  <a:gd name="T62" fmla="*/ 11 w 30"/>
                  <a:gd name="T63" fmla="*/ 0 h 31"/>
                  <a:gd name="T64" fmla="*/ 15 w 30"/>
                  <a:gd name="T65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31">
                    <a:moveTo>
                      <a:pt x="15" y="0"/>
                    </a:moveTo>
                    <a:lnTo>
                      <a:pt x="18" y="0"/>
                    </a:lnTo>
                    <a:lnTo>
                      <a:pt x="20" y="1"/>
                    </a:lnTo>
                    <a:lnTo>
                      <a:pt x="24" y="2"/>
                    </a:lnTo>
                    <a:lnTo>
                      <a:pt x="26" y="4"/>
                    </a:lnTo>
                    <a:lnTo>
                      <a:pt x="27" y="7"/>
                    </a:lnTo>
                    <a:lnTo>
                      <a:pt x="29" y="9"/>
                    </a:lnTo>
                    <a:lnTo>
                      <a:pt x="29" y="11"/>
                    </a:lnTo>
                    <a:lnTo>
                      <a:pt x="30" y="15"/>
                    </a:lnTo>
                    <a:lnTo>
                      <a:pt x="29" y="18"/>
                    </a:lnTo>
                    <a:lnTo>
                      <a:pt x="29" y="20"/>
                    </a:lnTo>
                    <a:lnTo>
                      <a:pt x="27" y="24"/>
                    </a:lnTo>
                    <a:lnTo>
                      <a:pt x="26" y="26"/>
                    </a:lnTo>
                    <a:lnTo>
                      <a:pt x="24" y="27"/>
                    </a:lnTo>
                    <a:lnTo>
                      <a:pt x="20" y="28"/>
                    </a:lnTo>
                    <a:lnTo>
                      <a:pt x="18" y="30"/>
                    </a:lnTo>
                    <a:lnTo>
                      <a:pt x="15" y="31"/>
                    </a:lnTo>
                    <a:lnTo>
                      <a:pt x="11" y="30"/>
                    </a:lnTo>
                    <a:lnTo>
                      <a:pt x="9" y="28"/>
                    </a:lnTo>
                    <a:lnTo>
                      <a:pt x="7" y="27"/>
                    </a:lnTo>
                    <a:lnTo>
                      <a:pt x="4" y="26"/>
                    </a:lnTo>
                    <a:lnTo>
                      <a:pt x="2" y="24"/>
                    </a:lnTo>
                    <a:lnTo>
                      <a:pt x="1" y="20"/>
                    </a:lnTo>
                    <a:lnTo>
                      <a:pt x="0" y="18"/>
                    </a:lnTo>
                    <a:lnTo>
                      <a:pt x="0" y="15"/>
                    </a:lnTo>
                    <a:lnTo>
                      <a:pt x="0" y="11"/>
                    </a:lnTo>
                    <a:lnTo>
                      <a:pt x="1" y="9"/>
                    </a:lnTo>
                    <a:lnTo>
                      <a:pt x="2" y="7"/>
                    </a:lnTo>
                    <a:lnTo>
                      <a:pt x="4" y="4"/>
                    </a:lnTo>
                    <a:lnTo>
                      <a:pt x="7" y="2"/>
                    </a:lnTo>
                    <a:lnTo>
                      <a:pt x="9" y="1"/>
                    </a:lnTo>
                    <a:lnTo>
                      <a:pt x="11" y="0"/>
                    </a:lnTo>
                    <a:lnTo>
                      <a:pt x="15" y="0"/>
                    </a:lnTo>
                    <a:close/>
                  </a:path>
                </a:pathLst>
              </a:custGeom>
              <a:solidFill>
                <a:srgbClr val="E6E7E8">
                  <a:alpha val="50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59" name="Group 158"/>
          <p:cNvGrpSpPr/>
          <p:nvPr/>
        </p:nvGrpSpPr>
        <p:grpSpPr>
          <a:xfrm>
            <a:off x="1859808" y="5309527"/>
            <a:ext cx="1513661" cy="822510"/>
            <a:chOff x="990251" y="5414562"/>
            <a:chExt cx="1619250" cy="879886"/>
          </a:xfrm>
        </p:grpSpPr>
        <p:cxnSp>
          <p:nvCxnSpPr>
            <p:cNvPr id="171" name="Straight Connector 170"/>
            <p:cNvCxnSpPr/>
            <p:nvPr/>
          </p:nvCxnSpPr>
          <p:spPr>
            <a:xfrm>
              <a:off x="1706415" y="5676343"/>
              <a:ext cx="186922" cy="0"/>
            </a:xfrm>
            <a:prstGeom prst="line">
              <a:avLst/>
            </a:prstGeom>
            <a:ln w="28575">
              <a:solidFill>
                <a:srgbClr val="E2583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2" name="TextBox 171"/>
            <p:cNvSpPr txBox="1"/>
            <p:nvPr/>
          </p:nvSpPr>
          <p:spPr>
            <a:xfrm>
              <a:off x="990251" y="5800578"/>
              <a:ext cx="1619250" cy="493870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Lorem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Ipsum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 is simply dummy text of the printing and typesetting industry. </a:t>
              </a:r>
            </a:p>
          </p:txBody>
        </p:sp>
        <p:sp>
          <p:nvSpPr>
            <p:cNvPr id="173" name="TextBox 172"/>
            <p:cNvSpPr txBox="1"/>
            <p:nvPr/>
          </p:nvSpPr>
          <p:spPr>
            <a:xfrm>
              <a:off x="990251" y="5414562"/>
              <a:ext cx="1619250" cy="230473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E2583D"/>
                  </a:solidFill>
                  <a:effectLst/>
                  <a:uLnTx/>
                  <a:uFillTx/>
                  <a:ea typeface="+mn-ea"/>
                  <a:cs typeface="+mn-cs"/>
                </a:rPr>
                <a:t>2009</a:t>
              </a:r>
            </a:p>
          </p:txBody>
        </p:sp>
      </p:grpSp>
      <p:sp>
        <p:nvSpPr>
          <p:cNvPr id="162" name="Rounded Rectangle 161"/>
          <p:cNvSpPr/>
          <p:nvPr/>
        </p:nvSpPr>
        <p:spPr>
          <a:xfrm>
            <a:off x="2244573" y="6191560"/>
            <a:ext cx="744131" cy="139636"/>
          </a:xfrm>
          <a:prstGeom prst="roundRect">
            <a:avLst/>
          </a:prstGeom>
          <a:solidFill>
            <a:srgbClr val="E258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tIns="46800" rIns="46800" bIns="468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AD MORE</a:t>
            </a:r>
          </a:p>
        </p:txBody>
      </p:sp>
      <p:pic>
        <p:nvPicPr>
          <p:cNvPr id="383" name="Picture Placeholder 122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842326" y="2026902"/>
            <a:ext cx="1644252" cy="2499025"/>
          </a:xfrm>
          <a:prstGeom prst="rect">
            <a:avLst/>
          </a:prstGeom>
        </p:spPr>
      </p:pic>
      <p:grpSp>
        <p:nvGrpSpPr>
          <p:cNvPr id="155" name="Group 154"/>
          <p:cNvGrpSpPr/>
          <p:nvPr/>
        </p:nvGrpSpPr>
        <p:grpSpPr>
          <a:xfrm>
            <a:off x="5229102" y="1455662"/>
            <a:ext cx="1881637" cy="3691515"/>
            <a:chOff x="3334776" y="1453789"/>
            <a:chExt cx="2012894" cy="3949026"/>
          </a:xfrm>
        </p:grpSpPr>
        <p:sp>
          <p:nvSpPr>
            <p:cNvPr id="223" name="Rounded Rectangle 222"/>
            <p:cNvSpPr/>
            <p:nvPr/>
          </p:nvSpPr>
          <p:spPr>
            <a:xfrm>
              <a:off x="3334776" y="1804788"/>
              <a:ext cx="46197" cy="179843"/>
            </a:xfrm>
            <a:prstGeom prst="roundRect">
              <a:avLst/>
            </a:prstGeom>
            <a:gradFill flip="none" rotWithShape="1">
              <a:gsLst>
                <a:gs pos="52888">
                  <a:schemeClr val="bg1">
                    <a:lumMod val="50000"/>
                  </a:schemeClr>
                </a:gs>
                <a:gs pos="4000">
                  <a:schemeClr val="bg1">
                    <a:lumMod val="75000"/>
                  </a:schemeClr>
                </a:gs>
                <a:gs pos="100000">
                  <a:schemeClr val="bg1">
                    <a:lumMod val="50000"/>
                  </a:schemeClr>
                </a:gs>
                <a:gs pos="97000">
                  <a:schemeClr val="bg1">
                    <a:lumMod val="75000"/>
                  </a:schemeClr>
                </a:gs>
                <a:gs pos="84000">
                  <a:schemeClr val="tx1">
                    <a:lumMod val="75000"/>
                    <a:lumOff val="25000"/>
                  </a:schemeClr>
                </a:gs>
                <a:gs pos="20000">
                  <a:schemeClr val="tx1">
                    <a:lumMod val="75000"/>
                    <a:lumOff val="25000"/>
                  </a:schemeClr>
                </a:gs>
                <a:gs pos="0">
                  <a:schemeClr val="bg1">
                    <a:lumMod val="50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4" name="Rounded Rectangle 223"/>
            <p:cNvSpPr/>
            <p:nvPr/>
          </p:nvSpPr>
          <p:spPr>
            <a:xfrm>
              <a:off x="3334776" y="2245086"/>
              <a:ext cx="48579" cy="130072"/>
            </a:xfrm>
            <a:prstGeom prst="roundRect">
              <a:avLst/>
            </a:prstGeom>
            <a:gradFill flip="none" rotWithShape="1">
              <a:gsLst>
                <a:gs pos="52888">
                  <a:schemeClr val="bg1">
                    <a:lumMod val="50000"/>
                  </a:schemeClr>
                </a:gs>
                <a:gs pos="4000">
                  <a:schemeClr val="bg1">
                    <a:lumMod val="75000"/>
                  </a:schemeClr>
                </a:gs>
                <a:gs pos="100000">
                  <a:schemeClr val="bg1">
                    <a:lumMod val="50000"/>
                  </a:schemeClr>
                </a:gs>
                <a:gs pos="97000">
                  <a:schemeClr val="bg1">
                    <a:lumMod val="75000"/>
                  </a:schemeClr>
                </a:gs>
                <a:gs pos="84000">
                  <a:schemeClr val="tx1">
                    <a:lumMod val="75000"/>
                    <a:lumOff val="25000"/>
                  </a:schemeClr>
                </a:gs>
                <a:gs pos="20000">
                  <a:schemeClr val="tx1">
                    <a:lumMod val="75000"/>
                    <a:lumOff val="25000"/>
                  </a:schemeClr>
                </a:gs>
                <a:gs pos="0">
                  <a:schemeClr val="bg1">
                    <a:lumMod val="50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5" name="Rounded Rectangle 224"/>
            <p:cNvSpPr/>
            <p:nvPr/>
          </p:nvSpPr>
          <p:spPr>
            <a:xfrm>
              <a:off x="3334776" y="2528506"/>
              <a:ext cx="48579" cy="130072"/>
            </a:xfrm>
            <a:prstGeom prst="roundRect">
              <a:avLst/>
            </a:prstGeom>
            <a:gradFill flip="none" rotWithShape="1">
              <a:gsLst>
                <a:gs pos="52888">
                  <a:schemeClr val="bg1">
                    <a:lumMod val="50000"/>
                  </a:schemeClr>
                </a:gs>
                <a:gs pos="4000">
                  <a:schemeClr val="bg1">
                    <a:lumMod val="75000"/>
                  </a:schemeClr>
                </a:gs>
                <a:gs pos="100000">
                  <a:schemeClr val="bg1">
                    <a:lumMod val="50000"/>
                  </a:schemeClr>
                </a:gs>
                <a:gs pos="97000">
                  <a:schemeClr val="bg1">
                    <a:lumMod val="75000"/>
                  </a:schemeClr>
                </a:gs>
                <a:gs pos="84000">
                  <a:schemeClr val="tx1">
                    <a:lumMod val="75000"/>
                    <a:lumOff val="25000"/>
                  </a:schemeClr>
                </a:gs>
                <a:gs pos="20000">
                  <a:schemeClr val="tx1">
                    <a:lumMod val="75000"/>
                    <a:lumOff val="25000"/>
                  </a:schemeClr>
                </a:gs>
                <a:gs pos="0">
                  <a:schemeClr val="bg1">
                    <a:lumMod val="50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6" name="Freeform 225"/>
            <p:cNvSpPr>
              <a:spLocks/>
            </p:cNvSpPr>
            <p:nvPr/>
          </p:nvSpPr>
          <p:spPr bwMode="auto">
            <a:xfrm rot="16200000">
              <a:off x="4785702" y="1300704"/>
              <a:ext cx="45719" cy="351890"/>
            </a:xfrm>
            <a:custGeom>
              <a:avLst/>
              <a:gdLst>
                <a:gd name="T0" fmla="*/ 28 w 106"/>
                <a:gd name="T1" fmla="*/ 0 h 1172"/>
                <a:gd name="T2" fmla="*/ 79 w 106"/>
                <a:gd name="T3" fmla="*/ 0 h 1172"/>
                <a:gd name="T4" fmla="*/ 84 w 106"/>
                <a:gd name="T5" fmla="*/ 0 h 1172"/>
                <a:gd name="T6" fmla="*/ 90 w 106"/>
                <a:gd name="T7" fmla="*/ 3 h 1172"/>
                <a:gd name="T8" fmla="*/ 94 w 106"/>
                <a:gd name="T9" fmla="*/ 5 h 1172"/>
                <a:gd name="T10" fmla="*/ 99 w 106"/>
                <a:gd name="T11" fmla="*/ 9 h 1172"/>
                <a:gd name="T12" fmla="*/ 101 w 106"/>
                <a:gd name="T13" fmla="*/ 13 h 1172"/>
                <a:gd name="T14" fmla="*/ 104 w 106"/>
                <a:gd name="T15" fmla="*/ 18 h 1172"/>
                <a:gd name="T16" fmla="*/ 106 w 106"/>
                <a:gd name="T17" fmla="*/ 22 h 1172"/>
                <a:gd name="T18" fmla="*/ 106 w 106"/>
                <a:gd name="T19" fmla="*/ 27 h 1172"/>
                <a:gd name="T20" fmla="*/ 106 w 106"/>
                <a:gd name="T21" fmla="*/ 1145 h 1172"/>
                <a:gd name="T22" fmla="*/ 106 w 106"/>
                <a:gd name="T23" fmla="*/ 1151 h 1172"/>
                <a:gd name="T24" fmla="*/ 104 w 106"/>
                <a:gd name="T25" fmla="*/ 1156 h 1172"/>
                <a:gd name="T26" fmla="*/ 101 w 106"/>
                <a:gd name="T27" fmla="*/ 1161 h 1172"/>
                <a:gd name="T28" fmla="*/ 99 w 106"/>
                <a:gd name="T29" fmla="*/ 1165 h 1172"/>
                <a:gd name="T30" fmla="*/ 94 w 106"/>
                <a:gd name="T31" fmla="*/ 1169 h 1172"/>
                <a:gd name="T32" fmla="*/ 90 w 106"/>
                <a:gd name="T33" fmla="*/ 1171 h 1172"/>
                <a:gd name="T34" fmla="*/ 84 w 106"/>
                <a:gd name="T35" fmla="*/ 1172 h 1172"/>
                <a:gd name="T36" fmla="*/ 79 w 106"/>
                <a:gd name="T37" fmla="*/ 1172 h 1172"/>
                <a:gd name="T38" fmla="*/ 28 w 106"/>
                <a:gd name="T39" fmla="*/ 1172 h 1172"/>
                <a:gd name="T40" fmla="*/ 22 w 106"/>
                <a:gd name="T41" fmla="*/ 1172 h 1172"/>
                <a:gd name="T42" fmla="*/ 17 w 106"/>
                <a:gd name="T43" fmla="*/ 1171 h 1172"/>
                <a:gd name="T44" fmla="*/ 12 w 106"/>
                <a:gd name="T45" fmla="*/ 1169 h 1172"/>
                <a:gd name="T46" fmla="*/ 9 w 106"/>
                <a:gd name="T47" fmla="*/ 1165 h 1172"/>
                <a:gd name="T48" fmla="*/ 5 w 106"/>
                <a:gd name="T49" fmla="*/ 1161 h 1172"/>
                <a:gd name="T50" fmla="*/ 3 w 106"/>
                <a:gd name="T51" fmla="*/ 1156 h 1172"/>
                <a:gd name="T52" fmla="*/ 1 w 106"/>
                <a:gd name="T53" fmla="*/ 1151 h 1172"/>
                <a:gd name="T54" fmla="*/ 0 w 106"/>
                <a:gd name="T55" fmla="*/ 1145 h 1172"/>
                <a:gd name="T56" fmla="*/ 0 w 106"/>
                <a:gd name="T57" fmla="*/ 27 h 1172"/>
                <a:gd name="T58" fmla="*/ 1 w 106"/>
                <a:gd name="T59" fmla="*/ 22 h 1172"/>
                <a:gd name="T60" fmla="*/ 3 w 106"/>
                <a:gd name="T61" fmla="*/ 18 h 1172"/>
                <a:gd name="T62" fmla="*/ 5 w 106"/>
                <a:gd name="T63" fmla="*/ 13 h 1172"/>
                <a:gd name="T64" fmla="*/ 9 w 106"/>
                <a:gd name="T65" fmla="*/ 9 h 1172"/>
                <a:gd name="T66" fmla="*/ 12 w 106"/>
                <a:gd name="T67" fmla="*/ 5 h 1172"/>
                <a:gd name="T68" fmla="*/ 17 w 106"/>
                <a:gd name="T69" fmla="*/ 3 h 1172"/>
                <a:gd name="T70" fmla="*/ 22 w 106"/>
                <a:gd name="T71" fmla="*/ 0 h 1172"/>
                <a:gd name="T72" fmla="*/ 28 w 106"/>
                <a:gd name="T73" fmla="*/ 0 h 1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06" h="1172">
                  <a:moveTo>
                    <a:pt x="28" y="0"/>
                  </a:moveTo>
                  <a:lnTo>
                    <a:pt x="79" y="0"/>
                  </a:lnTo>
                  <a:lnTo>
                    <a:pt x="84" y="0"/>
                  </a:lnTo>
                  <a:lnTo>
                    <a:pt x="90" y="3"/>
                  </a:lnTo>
                  <a:lnTo>
                    <a:pt x="94" y="5"/>
                  </a:lnTo>
                  <a:lnTo>
                    <a:pt x="99" y="9"/>
                  </a:lnTo>
                  <a:lnTo>
                    <a:pt x="101" y="13"/>
                  </a:lnTo>
                  <a:lnTo>
                    <a:pt x="104" y="18"/>
                  </a:lnTo>
                  <a:lnTo>
                    <a:pt x="106" y="22"/>
                  </a:lnTo>
                  <a:lnTo>
                    <a:pt x="106" y="27"/>
                  </a:lnTo>
                  <a:lnTo>
                    <a:pt x="106" y="1145"/>
                  </a:lnTo>
                  <a:lnTo>
                    <a:pt x="106" y="1151"/>
                  </a:lnTo>
                  <a:lnTo>
                    <a:pt x="104" y="1156"/>
                  </a:lnTo>
                  <a:lnTo>
                    <a:pt x="101" y="1161"/>
                  </a:lnTo>
                  <a:lnTo>
                    <a:pt x="99" y="1165"/>
                  </a:lnTo>
                  <a:lnTo>
                    <a:pt x="94" y="1169"/>
                  </a:lnTo>
                  <a:lnTo>
                    <a:pt x="90" y="1171"/>
                  </a:lnTo>
                  <a:lnTo>
                    <a:pt x="84" y="1172"/>
                  </a:lnTo>
                  <a:lnTo>
                    <a:pt x="79" y="1172"/>
                  </a:lnTo>
                  <a:lnTo>
                    <a:pt x="28" y="1172"/>
                  </a:lnTo>
                  <a:lnTo>
                    <a:pt x="22" y="1172"/>
                  </a:lnTo>
                  <a:lnTo>
                    <a:pt x="17" y="1171"/>
                  </a:lnTo>
                  <a:lnTo>
                    <a:pt x="12" y="1169"/>
                  </a:lnTo>
                  <a:lnTo>
                    <a:pt x="9" y="1165"/>
                  </a:lnTo>
                  <a:lnTo>
                    <a:pt x="5" y="1161"/>
                  </a:lnTo>
                  <a:lnTo>
                    <a:pt x="3" y="1156"/>
                  </a:lnTo>
                  <a:lnTo>
                    <a:pt x="1" y="1151"/>
                  </a:lnTo>
                  <a:lnTo>
                    <a:pt x="0" y="1145"/>
                  </a:lnTo>
                  <a:lnTo>
                    <a:pt x="0" y="27"/>
                  </a:lnTo>
                  <a:lnTo>
                    <a:pt x="1" y="22"/>
                  </a:lnTo>
                  <a:lnTo>
                    <a:pt x="3" y="18"/>
                  </a:lnTo>
                  <a:lnTo>
                    <a:pt x="5" y="13"/>
                  </a:lnTo>
                  <a:lnTo>
                    <a:pt x="9" y="9"/>
                  </a:lnTo>
                  <a:lnTo>
                    <a:pt x="12" y="5"/>
                  </a:lnTo>
                  <a:lnTo>
                    <a:pt x="17" y="3"/>
                  </a:lnTo>
                  <a:lnTo>
                    <a:pt x="22" y="0"/>
                  </a:lnTo>
                  <a:lnTo>
                    <a:pt x="28" y="0"/>
                  </a:lnTo>
                  <a:close/>
                </a:path>
              </a:pathLst>
            </a:custGeom>
            <a:gradFill flip="none" rotWithShape="1">
              <a:gsLst>
                <a:gs pos="52888">
                  <a:schemeClr val="bg1">
                    <a:lumMod val="50000"/>
                  </a:schemeClr>
                </a:gs>
                <a:gs pos="4000">
                  <a:schemeClr val="bg1">
                    <a:lumMod val="75000"/>
                  </a:schemeClr>
                </a:gs>
                <a:gs pos="100000">
                  <a:schemeClr val="bg1">
                    <a:lumMod val="50000"/>
                  </a:schemeClr>
                </a:gs>
                <a:gs pos="97000">
                  <a:schemeClr val="bg1">
                    <a:lumMod val="75000"/>
                  </a:schemeClr>
                </a:gs>
                <a:gs pos="84000">
                  <a:schemeClr val="tx1">
                    <a:lumMod val="75000"/>
                    <a:lumOff val="25000"/>
                  </a:schemeClr>
                </a:gs>
                <a:gs pos="20000">
                  <a:schemeClr val="tx1">
                    <a:lumMod val="75000"/>
                    <a:lumOff val="25000"/>
                  </a:schemeClr>
                </a:gs>
                <a:gs pos="0">
                  <a:schemeClr val="bg1">
                    <a:lumMod val="50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7" name="Freeform 25"/>
            <p:cNvSpPr>
              <a:spLocks/>
            </p:cNvSpPr>
            <p:nvPr/>
          </p:nvSpPr>
          <p:spPr bwMode="auto">
            <a:xfrm>
              <a:off x="3351008" y="1478743"/>
              <a:ext cx="1994281" cy="3924072"/>
            </a:xfrm>
            <a:custGeom>
              <a:avLst/>
              <a:gdLst>
                <a:gd name="T0" fmla="*/ 1358 w 1606"/>
                <a:gd name="T1" fmla="*/ 0 h 3162"/>
                <a:gd name="T2" fmla="*/ 1384 w 1606"/>
                <a:gd name="T3" fmla="*/ 1 h 3162"/>
                <a:gd name="T4" fmla="*/ 1408 w 1606"/>
                <a:gd name="T5" fmla="*/ 5 h 3162"/>
                <a:gd name="T6" fmla="*/ 1432 w 1606"/>
                <a:gd name="T7" fmla="*/ 12 h 3162"/>
                <a:gd name="T8" fmla="*/ 1454 w 1606"/>
                <a:gd name="T9" fmla="*/ 20 h 3162"/>
                <a:gd name="T10" fmla="*/ 1476 w 1606"/>
                <a:gd name="T11" fmla="*/ 30 h 3162"/>
                <a:gd name="T12" fmla="*/ 1497 w 1606"/>
                <a:gd name="T13" fmla="*/ 43 h 3162"/>
                <a:gd name="T14" fmla="*/ 1533 w 1606"/>
                <a:gd name="T15" fmla="*/ 73 h 3162"/>
                <a:gd name="T16" fmla="*/ 1563 w 1606"/>
                <a:gd name="T17" fmla="*/ 110 h 3162"/>
                <a:gd name="T18" fmla="*/ 1576 w 1606"/>
                <a:gd name="T19" fmla="*/ 130 h 3162"/>
                <a:gd name="T20" fmla="*/ 1586 w 1606"/>
                <a:gd name="T21" fmla="*/ 152 h 3162"/>
                <a:gd name="T22" fmla="*/ 1594 w 1606"/>
                <a:gd name="T23" fmla="*/ 175 h 3162"/>
                <a:gd name="T24" fmla="*/ 1601 w 1606"/>
                <a:gd name="T25" fmla="*/ 198 h 3162"/>
                <a:gd name="T26" fmla="*/ 1605 w 1606"/>
                <a:gd name="T27" fmla="*/ 223 h 3162"/>
                <a:gd name="T28" fmla="*/ 1606 w 1606"/>
                <a:gd name="T29" fmla="*/ 248 h 3162"/>
                <a:gd name="T30" fmla="*/ 1606 w 1606"/>
                <a:gd name="T31" fmla="*/ 2927 h 3162"/>
                <a:gd name="T32" fmla="*/ 1604 w 1606"/>
                <a:gd name="T33" fmla="*/ 2953 h 3162"/>
                <a:gd name="T34" fmla="*/ 1598 w 1606"/>
                <a:gd name="T35" fmla="*/ 2977 h 3162"/>
                <a:gd name="T36" fmla="*/ 1591 w 1606"/>
                <a:gd name="T37" fmla="*/ 3000 h 3162"/>
                <a:gd name="T38" fmla="*/ 1582 w 1606"/>
                <a:gd name="T39" fmla="*/ 3022 h 3162"/>
                <a:gd name="T40" fmla="*/ 1570 w 1606"/>
                <a:gd name="T41" fmla="*/ 3043 h 3162"/>
                <a:gd name="T42" fmla="*/ 1549 w 1606"/>
                <a:gd name="T43" fmla="*/ 3072 h 3162"/>
                <a:gd name="T44" fmla="*/ 1516 w 1606"/>
                <a:gd name="T45" fmla="*/ 3105 h 3162"/>
                <a:gd name="T46" fmla="*/ 1487 w 1606"/>
                <a:gd name="T47" fmla="*/ 3126 h 3162"/>
                <a:gd name="T48" fmla="*/ 1466 w 1606"/>
                <a:gd name="T49" fmla="*/ 3138 h 3162"/>
                <a:gd name="T50" fmla="*/ 1444 w 1606"/>
                <a:gd name="T51" fmla="*/ 3147 h 3162"/>
                <a:gd name="T52" fmla="*/ 1421 w 1606"/>
                <a:gd name="T53" fmla="*/ 3155 h 3162"/>
                <a:gd name="T54" fmla="*/ 1397 w 1606"/>
                <a:gd name="T55" fmla="*/ 3160 h 3162"/>
                <a:gd name="T56" fmla="*/ 1371 w 1606"/>
                <a:gd name="T57" fmla="*/ 3162 h 3162"/>
                <a:gd name="T58" fmla="*/ 248 w 1606"/>
                <a:gd name="T59" fmla="*/ 3162 h 3162"/>
                <a:gd name="T60" fmla="*/ 223 w 1606"/>
                <a:gd name="T61" fmla="*/ 3161 h 3162"/>
                <a:gd name="T62" fmla="*/ 198 w 1606"/>
                <a:gd name="T63" fmla="*/ 3158 h 3162"/>
                <a:gd name="T64" fmla="*/ 175 w 1606"/>
                <a:gd name="T65" fmla="*/ 3152 h 3162"/>
                <a:gd name="T66" fmla="*/ 152 w 1606"/>
                <a:gd name="T67" fmla="*/ 3143 h 3162"/>
                <a:gd name="T68" fmla="*/ 130 w 1606"/>
                <a:gd name="T69" fmla="*/ 3132 h 3162"/>
                <a:gd name="T70" fmla="*/ 110 w 1606"/>
                <a:gd name="T71" fmla="*/ 3121 h 3162"/>
                <a:gd name="T72" fmla="*/ 73 w 1606"/>
                <a:gd name="T73" fmla="*/ 3090 h 3162"/>
                <a:gd name="T74" fmla="*/ 43 w 1606"/>
                <a:gd name="T75" fmla="*/ 3053 h 3162"/>
                <a:gd name="T76" fmla="*/ 30 w 1606"/>
                <a:gd name="T77" fmla="*/ 3033 h 3162"/>
                <a:gd name="T78" fmla="*/ 20 w 1606"/>
                <a:gd name="T79" fmla="*/ 3012 h 3162"/>
                <a:gd name="T80" fmla="*/ 12 w 1606"/>
                <a:gd name="T81" fmla="*/ 2989 h 3162"/>
                <a:gd name="T82" fmla="*/ 5 w 1606"/>
                <a:gd name="T83" fmla="*/ 2964 h 3162"/>
                <a:gd name="T84" fmla="*/ 1 w 1606"/>
                <a:gd name="T85" fmla="*/ 2940 h 3162"/>
                <a:gd name="T86" fmla="*/ 0 w 1606"/>
                <a:gd name="T87" fmla="*/ 2914 h 3162"/>
                <a:gd name="T88" fmla="*/ 0 w 1606"/>
                <a:gd name="T89" fmla="*/ 235 h 3162"/>
                <a:gd name="T90" fmla="*/ 4 w 1606"/>
                <a:gd name="T91" fmla="*/ 210 h 3162"/>
                <a:gd name="T92" fmla="*/ 8 w 1606"/>
                <a:gd name="T93" fmla="*/ 187 h 3162"/>
                <a:gd name="T94" fmla="*/ 15 w 1606"/>
                <a:gd name="T95" fmla="*/ 164 h 3162"/>
                <a:gd name="T96" fmla="*/ 25 w 1606"/>
                <a:gd name="T97" fmla="*/ 140 h 3162"/>
                <a:gd name="T98" fmla="*/ 36 w 1606"/>
                <a:gd name="T99" fmla="*/ 120 h 3162"/>
                <a:gd name="T100" fmla="*/ 57 w 1606"/>
                <a:gd name="T101" fmla="*/ 91 h 3162"/>
                <a:gd name="T102" fmla="*/ 91 w 1606"/>
                <a:gd name="T103" fmla="*/ 57 h 3162"/>
                <a:gd name="T104" fmla="*/ 120 w 1606"/>
                <a:gd name="T105" fmla="*/ 36 h 3162"/>
                <a:gd name="T106" fmla="*/ 140 w 1606"/>
                <a:gd name="T107" fmla="*/ 25 h 3162"/>
                <a:gd name="T108" fmla="*/ 164 w 1606"/>
                <a:gd name="T109" fmla="*/ 15 h 3162"/>
                <a:gd name="T110" fmla="*/ 187 w 1606"/>
                <a:gd name="T111" fmla="*/ 8 h 3162"/>
                <a:gd name="T112" fmla="*/ 210 w 1606"/>
                <a:gd name="T113" fmla="*/ 4 h 3162"/>
                <a:gd name="T114" fmla="*/ 235 w 1606"/>
                <a:gd name="T115" fmla="*/ 0 h 3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606" h="3162">
                  <a:moveTo>
                    <a:pt x="248" y="0"/>
                  </a:moveTo>
                  <a:lnTo>
                    <a:pt x="1358" y="0"/>
                  </a:lnTo>
                  <a:lnTo>
                    <a:pt x="1371" y="0"/>
                  </a:lnTo>
                  <a:lnTo>
                    <a:pt x="1384" y="1"/>
                  </a:lnTo>
                  <a:lnTo>
                    <a:pt x="1397" y="4"/>
                  </a:lnTo>
                  <a:lnTo>
                    <a:pt x="1408" y="5"/>
                  </a:lnTo>
                  <a:lnTo>
                    <a:pt x="1421" y="8"/>
                  </a:lnTo>
                  <a:lnTo>
                    <a:pt x="1432" y="12"/>
                  </a:lnTo>
                  <a:lnTo>
                    <a:pt x="1444" y="15"/>
                  </a:lnTo>
                  <a:lnTo>
                    <a:pt x="1454" y="20"/>
                  </a:lnTo>
                  <a:lnTo>
                    <a:pt x="1466" y="25"/>
                  </a:lnTo>
                  <a:lnTo>
                    <a:pt x="1476" y="30"/>
                  </a:lnTo>
                  <a:lnTo>
                    <a:pt x="1487" y="36"/>
                  </a:lnTo>
                  <a:lnTo>
                    <a:pt x="1497" y="43"/>
                  </a:lnTo>
                  <a:lnTo>
                    <a:pt x="1516" y="57"/>
                  </a:lnTo>
                  <a:lnTo>
                    <a:pt x="1533" y="73"/>
                  </a:lnTo>
                  <a:lnTo>
                    <a:pt x="1549" y="91"/>
                  </a:lnTo>
                  <a:lnTo>
                    <a:pt x="1563" y="110"/>
                  </a:lnTo>
                  <a:lnTo>
                    <a:pt x="1570" y="120"/>
                  </a:lnTo>
                  <a:lnTo>
                    <a:pt x="1576" y="130"/>
                  </a:lnTo>
                  <a:lnTo>
                    <a:pt x="1582" y="140"/>
                  </a:lnTo>
                  <a:lnTo>
                    <a:pt x="1586" y="152"/>
                  </a:lnTo>
                  <a:lnTo>
                    <a:pt x="1591" y="164"/>
                  </a:lnTo>
                  <a:lnTo>
                    <a:pt x="1594" y="175"/>
                  </a:lnTo>
                  <a:lnTo>
                    <a:pt x="1598" y="187"/>
                  </a:lnTo>
                  <a:lnTo>
                    <a:pt x="1601" y="198"/>
                  </a:lnTo>
                  <a:lnTo>
                    <a:pt x="1604" y="210"/>
                  </a:lnTo>
                  <a:lnTo>
                    <a:pt x="1605" y="223"/>
                  </a:lnTo>
                  <a:lnTo>
                    <a:pt x="1606" y="235"/>
                  </a:lnTo>
                  <a:lnTo>
                    <a:pt x="1606" y="248"/>
                  </a:lnTo>
                  <a:lnTo>
                    <a:pt x="1606" y="2914"/>
                  </a:lnTo>
                  <a:lnTo>
                    <a:pt x="1606" y="2927"/>
                  </a:lnTo>
                  <a:lnTo>
                    <a:pt x="1605" y="2940"/>
                  </a:lnTo>
                  <a:lnTo>
                    <a:pt x="1604" y="2953"/>
                  </a:lnTo>
                  <a:lnTo>
                    <a:pt x="1601" y="2964"/>
                  </a:lnTo>
                  <a:lnTo>
                    <a:pt x="1598" y="2977"/>
                  </a:lnTo>
                  <a:lnTo>
                    <a:pt x="1594" y="2989"/>
                  </a:lnTo>
                  <a:lnTo>
                    <a:pt x="1591" y="3000"/>
                  </a:lnTo>
                  <a:lnTo>
                    <a:pt x="1586" y="3012"/>
                  </a:lnTo>
                  <a:lnTo>
                    <a:pt x="1582" y="3022"/>
                  </a:lnTo>
                  <a:lnTo>
                    <a:pt x="1576" y="3033"/>
                  </a:lnTo>
                  <a:lnTo>
                    <a:pt x="1570" y="3043"/>
                  </a:lnTo>
                  <a:lnTo>
                    <a:pt x="1563" y="3053"/>
                  </a:lnTo>
                  <a:lnTo>
                    <a:pt x="1549" y="3072"/>
                  </a:lnTo>
                  <a:lnTo>
                    <a:pt x="1533" y="3090"/>
                  </a:lnTo>
                  <a:lnTo>
                    <a:pt x="1516" y="3105"/>
                  </a:lnTo>
                  <a:lnTo>
                    <a:pt x="1497" y="3121"/>
                  </a:lnTo>
                  <a:lnTo>
                    <a:pt x="1487" y="3126"/>
                  </a:lnTo>
                  <a:lnTo>
                    <a:pt x="1476" y="3132"/>
                  </a:lnTo>
                  <a:lnTo>
                    <a:pt x="1466" y="3138"/>
                  </a:lnTo>
                  <a:lnTo>
                    <a:pt x="1454" y="3143"/>
                  </a:lnTo>
                  <a:lnTo>
                    <a:pt x="1444" y="3147"/>
                  </a:lnTo>
                  <a:lnTo>
                    <a:pt x="1432" y="3152"/>
                  </a:lnTo>
                  <a:lnTo>
                    <a:pt x="1421" y="3155"/>
                  </a:lnTo>
                  <a:lnTo>
                    <a:pt x="1408" y="3158"/>
                  </a:lnTo>
                  <a:lnTo>
                    <a:pt x="1397" y="3160"/>
                  </a:lnTo>
                  <a:lnTo>
                    <a:pt x="1384" y="3161"/>
                  </a:lnTo>
                  <a:lnTo>
                    <a:pt x="1371" y="3162"/>
                  </a:lnTo>
                  <a:lnTo>
                    <a:pt x="1358" y="3162"/>
                  </a:lnTo>
                  <a:lnTo>
                    <a:pt x="248" y="3162"/>
                  </a:lnTo>
                  <a:lnTo>
                    <a:pt x="235" y="3162"/>
                  </a:lnTo>
                  <a:lnTo>
                    <a:pt x="223" y="3161"/>
                  </a:lnTo>
                  <a:lnTo>
                    <a:pt x="210" y="3160"/>
                  </a:lnTo>
                  <a:lnTo>
                    <a:pt x="198" y="3158"/>
                  </a:lnTo>
                  <a:lnTo>
                    <a:pt x="187" y="3155"/>
                  </a:lnTo>
                  <a:lnTo>
                    <a:pt x="175" y="3152"/>
                  </a:lnTo>
                  <a:lnTo>
                    <a:pt x="164" y="3147"/>
                  </a:lnTo>
                  <a:lnTo>
                    <a:pt x="152" y="3143"/>
                  </a:lnTo>
                  <a:lnTo>
                    <a:pt x="140" y="3138"/>
                  </a:lnTo>
                  <a:lnTo>
                    <a:pt x="130" y="3132"/>
                  </a:lnTo>
                  <a:lnTo>
                    <a:pt x="120" y="3126"/>
                  </a:lnTo>
                  <a:lnTo>
                    <a:pt x="110" y="3121"/>
                  </a:lnTo>
                  <a:lnTo>
                    <a:pt x="91" y="3105"/>
                  </a:lnTo>
                  <a:lnTo>
                    <a:pt x="73" y="3090"/>
                  </a:lnTo>
                  <a:lnTo>
                    <a:pt x="57" y="3072"/>
                  </a:lnTo>
                  <a:lnTo>
                    <a:pt x="43" y="3053"/>
                  </a:lnTo>
                  <a:lnTo>
                    <a:pt x="36" y="3043"/>
                  </a:lnTo>
                  <a:lnTo>
                    <a:pt x="30" y="3033"/>
                  </a:lnTo>
                  <a:lnTo>
                    <a:pt x="25" y="3022"/>
                  </a:lnTo>
                  <a:lnTo>
                    <a:pt x="20" y="3012"/>
                  </a:lnTo>
                  <a:lnTo>
                    <a:pt x="15" y="3000"/>
                  </a:lnTo>
                  <a:lnTo>
                    <a:pt x="12" y="2989"/>
                  </a:lnTo>
                  <a:lnTo>
                    <a:pt x="8" y="2977"/>
                  </a:lnTo>
                  <a:lnTo>
                    <a:pt x="5" y="2964"/>
                  </a:lnTo>
                  <a:lnTo>
                    <a:pt x="4" y="2953"/>
                  </a:lnTo>
                  <a:lnTo>
                    <a:pt x="1" y="2940"/>
                  </a:lnTo>
                  <a:lnTo>
                    <a:pt x="0" y="2927"/>
                  </a:lnTo>
                  <a:lnTo>
                    <a:pt x="0" y="2914"/>
                  </a:lnTo>
                  <a:lnTo>
                    <a:pt x="0" y="248"/>
                  </a:lnTo>
                  <a:lnTo>
                    <a:pt x="0" y="235"/>
                  </a:lnTo>
                  <a:lnTo>
                    <a:pt x="1" y="223"/>
                  </a:lnTo>
                  <a:lnTo>
                    <a:pt x="4" y="210"/>
                  </a:lnTo>
                  <a:lnTo>
                    <a:pt x="5" y="198"/>
                  </a:lnTo>
                  <a:lnTo>
                    <a:pt x="8" y="187"/>
                  </a:lnTo>
                  <a:lnTo>
                    <a:pt x="12" y="175"/>
                  </a:lnTo>
                  <a:lnTo>
                    <a:pt x="15" y="164"/>
                  </a:lnTo>
                  <a:lnTo>
                    <a:pt x="20" y="152"/>
                  </a:lnTo>
                  <a:lnTo>
                    <a:pt x="25" y="140"/>
                  </a:lnTo>
                  <a:lnTo>
                    <a:pt x="30" y="130"/>
                  </a:lnTo>
                  <a:lnTo>
                    <a:pt x="36" y="120"/>
                  </a:lnTo>
                  <a:lnTo>
                    <a:pt x="43" y="110"/>
                  </a:lnTo>
                  <a:lnTo>
                    <a:pt x="57" y="91"/>
                  </a:lnTo>
                  <a:lnTo>
                    <a:pt x="73" y="73"/>
                  </a:lnTo>
                  <a:lnTo>
                    <a:pt x="91" y="57"/>
                  </a:lnTo>
                  <a:lnTo>
                    <a:pt x="110" y="43"/>
                  </a:lnTo>
                  <a:lnTo>
                    <a:pt x="120" y="36"/>
                  </a:lnTo>
                  <a:lnTo>
                    <a:pt x="130" y="30"/>
                  </a:lnTo>
                  <a:lnTo>
                    <a:pt x="140" y="25"/>
                  </a:lnTo>
                  <a:lnTo>
                    <a:pt x="152" y="20"/>
                  </a:lnTo>
                  <a:lnTo>
                    <a:pt x="164" y="15"/>
                  </a:lnTo>
                  <a:lnTo>
                    <a:pt x="175" y="12"/>
                  </a:lnTo>
                  <a:lnTo>
                    <a:pt x="187" y="8"/>
                  </a:lnTo>
                  <a:lnTo>
                    <a:pt x="198" y="5"/>
                  </a:lnTo>
                  <a:lnTo>
                    <a:pt x="210" y="4"/>
                  </a:lnTo>
                  <a:lnTo>
                    <a:pt x="223" y="1"/>
                  </a:lnTo>
                  <a:lnTo>
                    <a:pt x="235" y="0"/>
                  </a:lnTo>
                  <a:lnTo>
                    <a:pt x="248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9" name="Freeform 26"/>
            <p:cNvSpPr>
              <a:spLocks/>
            </p:cNvSpPr>
            <p:nvPr/>
          </p:nvSpPr>
          <p:spPr bwMode="auto">
            <a:xfrm>
              <a:off x="3370851" y="1503546"/>
              <a:ext cx="1954593" cy="3874463"/>
            </a:xfrm>
            <a:custGeom>
              <a:avLst/>
              <a:gdLst>
                <a:gd name="T0" fmla="*/ 1335 w 1578"/>
                <a:gd name="T1" fmla="*/ 0 h 3122"/>
                <a:gd name="T2" fmla="*/ 1359 w 1578"/>
                <a:gd name="T3" fmla="*/ 1 h 3122"/>
                <a:gd name="T4" fmla="*/ 1384 w 1578"/>
                <a:gd name="T5" fmla="*/ 5 h 3122"/>
                <a:gd name="T6" fmla="*/ 1407 w 1578"/>
                <a:gd name="T7" fmla="*/ 11 h 3122"/>
                <a:gd name="T8" fmla="*/ 1429 w 1578"/>
                <a:gd name="T9" fmla="*/ 19 h 3122"/>
                <a:gd name="T10" fmla="*/ 1471 w 1578"/>
                <a:gd name="T11" fmla="*/ 42 h 3122"/>
                <a:gd name="T12" fmla="*/ 1506 w 1578"/>
                <a:gd name="T13" fmla="*/ 71 h 3122"/>
                <a:gd name="T14" fmla="*/ 1536 w 1578"/>
                <a:gd name="T15" fmla="*/ 107 h 3122"/>
                <a:gd name="T16" fmla="*/ 1558 w 1578"/>
                <a:gd name="T17" fmla="*/ 148 h 3122"/>
                <a:gd name="T18" fmla="*/ 1567 w 1578"/>
                <a:gd name="T19" fmla="*/ 170 h 3122"/>
                <a:gd name="T20" fmla="*/ 1574 w 1578"/>
                <a:gd name="T21" fmla="*/ 193 h 3122"/>
                <a:gd name="T22" fmla="*/ 1577 w 1578"/>
                <a:gd name="T23" fmla="*/ 218 h 3122"/>
                <a:gd name="T24" fmla="*/ 1578 w 1578"/>
                <a:gd name="T25" fmla="*/ 243 h 3122"/>
                <a:gd name="T26" fmla="*/ 1578 w 1578"/>
                <a:gd name="T27" fmla="*/ 2891 h 3122"/>
                <a:gd name="T28" fmla="*/ 1575 w 1578"/>
                <a:gd name="T29" fmla="*/ 2915 h 3122"/>
                <a:gd name="T30" fmla="*/ 1570 w 1578"/>
                <a:gd name="T31" fmla="*/ 2939 h 3122"/>
                <a:gd name="T32" fmla="*/ 1563 w 1578"/>
                <a:gd name="T33" fmla="*/ 2962 h 3122"/>
                <a:gd name="T34" fmla="*/ 1548 w 1578"/>
                <a:gd name="T35" fmla="*/ 2994 h 3122"/>
                <a:gd name="T36" fmla="*/ 1523 w 1578"/>
                <a:gd name="T37" fmla="*/ 3032 h 3122"/>
                <a:gd name="T38" fmla="*/ 1489 w 1578"/>
                <a:gd name="T39" fmla="*/ 3066 h 3122"/>
                <a:gd name="T40" fmla="*/ 1451 w 1578"/>
                <a:gd name="T41" fmla="*/ 3091 h 3122"/>
                <a:gd name="T42" fmla="*/ 1418 w 1578"/>
                <a:gd name="T43" fmla="*/ 3106 h 3122"/>
                <a:gd name="T44" fmla="*/ 1395 w 1578"/>
                <a:gd name="T45" fmla="*/ 3113 h 3122"/>
                <a:gd name="T46" fmla="*/ 1372 w 1578"/>
                <a:gd name="T47" fmla="*/ 3118 h 3122"/>
                <a:gd name="T48" fmla="*/ 1348 w 1578"/>
                <a:gd name="T49" fmla="*/ 3122 h 3122"/>
                <a:gd name="T50" fmla="*/ 243 w 1578"/>
                <a:gd name="T51" fmla="*/ 3122 h 3122"/>
                <a:gd name="T52" fmla="*/ 219 w 1578"/>
                <a:gd name="T53" fmla="*/ 3120 h 3122"/>
                <a:gd name="T54" fmla="*/ 195 w 1578"/>
                <a:gd name="T55" fmla="*/ 3117 h 3122"/>
                <a:gd name="T56" fmla="*/ 172 w 1578"/>
                <a:gd name="T57" fmla="*/ 3110 h 3122"/>
                <a:gd name="T58" fmla="*/ 150 w 1578"/>
                <a:gd name="T59" fmla="*/ 3102 h 3122"/>
                <a:gd name="T60" fmla="*/ 108 w 1578"/>
                <a:gd name="T61" fmla="*/ 3080 h 3122"/>
                <a:gd name="T62" fmla="*/ 72 w 1578"/>
                <a:gd name="T63" fmla="*/ 3050 h 3122"/>
                <a:gd name="T64" fmla="*/ 42 w 1578"/>
                <a:gd name="T65" fmla="*/ 3014 h 3122"/>
                <a:gd name="T66" fmla="*/ 20 w 1578"/>
                <a:gd name="T67" fmla="*/ 2972 h 3122"/>
                <a:gd name="T68" fmla="*/ 12 w 1578"/>
                <a:gd name="T69" fmla="*/ 2950 h 3122"/>
                <a:gd name="T70" fmla="*/ 6 w 1578"/>
                <a:gd name="T71" fmla="*/ 2927 h 3122"/>
                <a:gd name="T72" fmla="*/ 1 w 1578"/>
                <a:gd name="T73" fmla="*/ 2903 h 3122"/>
                <a:gd name="T74" fmla="*/ 0 w 1578"/>
                <a:gd name="T75" fmla="*/ 2878 h 3122"/>
                <a:gd name="T76" fmla="*/ 1 w 1578"/>
                <a:gd name="T77" fmla="*/ 231 h 3122"/>
                <a:gd name="T78" fmla="*/ 4 w 1578"/>
                <a:gd name="T79" fmla="*/ 206 h 3122"/>
                <a:gd name="T80" fmla="*/ 8 w 1578"/>
                <a:gd name="T81" fmla="*/ 182 h 3122"/>
                <a:gd name="T82" fmla="*/ 15 w 1578"/>
                <a:gd name="T83" fmla="*/ 160 h 3122"/>
                <a:gd name="T84" fmla="*/ 30 w 1578"/>
                <a:gd name="T85" fmla="*/ 127 h 3122"/>
                <a:gd name="T86" fmla="*/ 56 w 1578"/>
                <a:gd name="T87" fmla="*/ 88 h 3122"/>
                <a:gd name="T88" fmla="*/ 89 w 1578"/>
                <a:gd name="T89" fmla="*/ 56 h 3122"/>
                <a:gd name="T90" fmla="*/ 128 w 1578"/>
                <a:gd name="T91" fmla="*/ 29 h 3122"/>
                <a:gd name="T92" fmla="*/ 160 w 1578"/>
                <a:gd name="T93" fmla="*/ 14 h 3122"/>
                <a:gd name="T94" fmla="*/ 183 w 1578"/>
                <a:gd name="T95" fmla="*/ 7 h 3122"/>
                <a:gd name="T96" fmla="*/ 206 w 1578"/>
                <a:gd name="T97" fmla="*/ 2 h 3122"/>
                <a:gd name="T98" fmla="*/ 232 w 1578"/>
                <a:gd name="T99" fmla="*/ 0 h 3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578" h="3122">
                  <a:moveTo>
                    <a:pt x="243" y="0"/>
                  </a:moveTo>
                  <a:lnTo>
                    <a:pt x="1335" y="0"/>
                  </a:lnTo>
                  <a:lnTo>
                    <a:pt x="1348" y="0"/>
                  </a:lnTo>
                  <a:lnTo>
                    <a:pt x="1359" y="1"/>
                  </a:lnTo>
                  <a:lnTo>
                    <a:pt x="1372" y="2"/>
                  </a:lnTo>
                  <a:lnTo>
                    <a:pt x="1384" y="5"/>
                  </a:lnTo>
                  <a:lnTo>
                    <a:pt x="1395" y="7"/>
                  </a:lnTo>
                  <a:lnTo>
                    <a:pt x="1407" y="11"/>
                  </a:lnTo>
                  <a:lnTo>
                    <a:pt x="1418" y="14"/>
                  </a:lnTo>
                  <a:lnTo>
                    <a:pt x="1429" y="19"/>
                  </a:lnTo>
                  <a:lnTo>
                    <a:pt x="1451" y="29"/>
                  </a:lnTo>
                  <a:lnTo>
                    <a:pt x="1471" y="42"/>
                  </a:lnTo>
                  <a:lnTo>
                    <a:pt x="1489" y="56"/>
                  </a:lnTo>
                  <a:lnTo>
                    <a:pt x="1506" y="71"/>
                  </a:lnTo>
                  <a:lnTo>
                    <a:pt x="1523" y="88"/>
                  </a:lnTo>
                  <a:lnTo>
                    <a:pt x="1536" y="107"/>
                  </a:lnTo>
                  <a:lnTo>
                    <a:pt x="1548" y="127"/>
                  </a:lnTo>
                  <a:lnTo>
                    <a:pt x="1558" y="148"/>
                  </a:lnTo>
                  <a:lnTo>
                    <a:pt x="1563" y="160"/>
                  </a:lnTo>
                  <a:lnTo>
                    <a:pt x="1567" y="170"/>
                  </a:lnTo>
                  <a:lnTo>
                    <a:pt x="1570" y="182"/>
                  </a:lnTo>
                  <a:lnTo>
                    <a:pt x="1574" y="193"/>
                  </a:lnTo>
                  <a:lnTo>
                    <a:pt x="1575" y="206"/>
                  </a:lnTo>
                  <a:lnTo>
                    <a:pt x="1577" y="218"/>
                  </a:lnTo>
                  <a:lnTo>
                    <a:pt x="1578" y="231"/>
                  </a:lnTo>
                  <a:lnTo>
                    <a:pt x="1578" y="243"/>
                  </a:lnTo>
                  <a:lnTo>
                    <a:pt x="1578" y="2878"/>
                  </a:lnTo>
                  <a:lnTo>
                    <a:pt x="1578" y="2891"/>
                  </a:lnTo>
                  <a:lnTo>
                    <a:pt x="1577" y="2903"/>
                  </a:lnTo>
                  <a:lnTo>
                    <a:pt x="1575" y="2915"/>
                  </a:lnTo>
                  <a:lnTo>
                    <a:pt x="1574" y="2927"/>
                  </a:lnTo>
                  <a:lnTo>
                    <a:pt x="1570" y="2939"/>
                  </a:lnTo>
                  <a:lnTo>
                    <a:pt x="1567" y="2950"/>
                  </a:lnTo>
                  <a:lnTo>
                    <a:pt x="1563" y="2962"/>
                  </a:lnTo>
                  <a:lnTo>
                    <a:pt x="1558" y="2972"/>
                  </a:lnTo>
                  <a:lnTo>
                    <a:pt x="1548" y="2994"/>
                  </a:lnTo>
                  <a:lnTo>
                    <a:pt x="1536" y="3014"/>
                  </a:lnTo>
                  <a:lnTo>
                    <a:pt x="1523" y="3032"/>
                  </a:lnTo>
                  <a:lnTo>
                    <a:pt x="1506" y="3050"/>
                  </a:lnTo>
                  <a:lnTo>
                    <a:pt x="1489" y="3066"/>
                  </a:lnTo>
                  <a:lnTo>
                    <a:pt x="1471" y="3080"/>
                  </a:lnTo>
                  <a:lnTo>
                    <a:pt x="1451" y="3091"/>
                  </a:lnTo>
                  <a:lnTo>
                    <a:pt x="1429" y="3102"/>
                  </a:lnTo>
                  <a:lnTo>
                    <a:pt x="1418" y="3106"/>
                  </a:lnTo>
                  <a:lnTo>
                    <a:pt x="1407" y="3110"/>
                  </a:lnTo>
                  <a:lnTo>
                    <a:pt x="1395" y="3113"/>
                  </a:lnTo>
                  <a:lnTo>
                    <a:pt x="1384" y="3117"/>
                  </a:lnTo>
                  <a:lnTo>
                    <a:pt x="1372" y="3118"/>
                  </a:lnTo>
                  <a:lnTo>
                    <a:pt x="1359" y="3120"/>
                  </a:lnTo>
                  <a:lnTo>
                    <a:pt x="1348" y="3122"/>
                  </a:lnTo>
                  <a:lnTo>
                    <a:pt x="1335" y="3122"/>
                  </a:lnTo>
                  <a:lnTo>
                    <a:pt x="243" y="3122"/>
                  </a:lnTo>
                  <a:lnTo>
                    <a:pt x="232" y="3122"/>
                  </a:lnTo>
                  <a:lnTo>
                    <a:pt x="219" y="3120"/>
                  </a:lnTo>
                  <a:lnTo>
                    <a:pt x="206" y="3118"/>
                  </a:lnTo>
                  <a:lnTo>
                    <a:pt x="195" y="3117"/>
                  </a:lnTo>
                  <a:lnTo>
                    <a:pt x="183" y="3113"/>
                  </a:lnTo>
                  <a:lnTo>
                    <a:pt x="172" y="3110"/>
                  </a:lnTo>
                  <a:lnTo>
                    <a:pt x="160" y="3106"/>
                  </a:lnTo>
                  <a:lnTo>
                    <a:pt x="150" y="3102"/>
                  </a:lnTo>
                  <a:lnTo>
                    <a:pt x="128" y="3091"/>
                  </a:lnTo>
                  <a:lnTo>
                    <a:pt x="108" y="3080"/>
                  </a:lnTo>
                  <a:lnTo>
                    <a:pt x="89" y="3066"/>
                  </a:lnTo>
                  <a:lnTo>
                    <a:pt x="72" y="3050"/>
                  </a:lnTo>
                  <a:lnTo>
                    <a:pt x="56" y="3032"/>
                  </a:lnTo>
                  <a:lnTo>
                    <a:pt x="42" y="3014"/>
                  </a:lnTo>
                  <a:lnTo>
                    <a:pt x="30" y="2994"/>
                  </a:lnTo>
                  <a:lnTo>
                    <a:pt x="20" y="2972"/>
                  </a:lnTo>
                  <a:lnTo>
                    <a:pt x="15" y="2962"/>
                  </a:lnTo>
                  <a:lnTo>
                    <a:pt x="12" y="2950"/>
                  </a:lnTo>
                  <a:lnTo>
                    <a:pt x="8" y="2939"/>
                  </a:lnTo>
                  <a:lnTo>
                    <a:pt x="6" y="2927"/>
                  </a:lnTo>
                  <a:lnTo>
                    <a:pt x="4" y="2915"/>
                  </a:lnTo>
                  <a:lnTo>
                    <a:pt x="1" y="2903"/>
                  </a:lnTo>
                  <a:lnTo>
                    <a:pt x="1" y="2891"/>
                  </a:lnTo>
                  <a:lnTo>
                    <a:pt x="0" y="2878"/>
                  </a:lnTo>
                  <a:lnTo>
                    <a:pt x="0" y="243"/>
                  </a:lnTo>
                  <a:lnTo>
                    <a:pt x="1" y="231"/>
                  </a:lnTo>
                  <a:lnTo>
                    <a:pt x="1" y="218"/>
                  </a:lnTo>
                  <a:lnTo>
                    <a:pt x="4" y="206"/>
                  </a:lnTo>
                  <a:lnTo>
                    <a:pt x="6" y="193"/>
                  </a:lnTo>
                  <a:lnTo>
                    <a:pt x="8" y="182"/>
                  </a:lnTo>
                  <a:lnTo>
                    <a:pt x="12" y="170"/>
                  </a:lnTo>
                  <a:lnTo>
                    <a:pt x="15" y="160"/>
                  </a:lnTo>
                  <a:lnTo>
                    <a:pt x="20" y="148"/>
                  </a:lnTo>
                  <a:lnTo>
                    <a:pt x="30" y="127"/>
                  </a:lnTo>
                  <a:lnTo>
                    <a:pt x="42" y="107"/>
                  </a:lnTo>
                  <a:lnTo>
                    <a:pt x="56" y="88"/>
                  </a:lnTo>
                  <a:lnTo>
                    <a:pt x="72" y="71"/>
                  </a:lnTo>
                  <a:lnTo>
                    <a:pt x="89" y="56"/>
                  </a:lnTo>
                  <a:lnTo>
                    <a:pt x="108" y="42"/>
                  </a:lnTo>
                  <a:lnTo>
                    <a:pt x="128" y="29"/>
                  </a:lnTo>
                  <a:lnTo>
                    <a:pt x="150" y="19"/>
                  </a:lnTo>
                  <a:lnTo>
                    <a:pt x="160" y="14"/>
                  </a:lnTo>
                  <a:lnTo>
                    <a:pt x="172" y="11"/>
                  </a:lnTo>
                  <a:lnTo>
                    <a:pt x="183" y="7"/>
                  </a:lnTo>
                  <a:lnTo>
                    <a:pt x="195" y="5"/>
                  </a:lnTo>
                  <a:lnTo>
                    <a:pt x="206" y="2"/>
                  </a:lnTo>
                  <a:lnTo>
                    <a:pt x="219" y="1"/>
                  </a:lnTo>
                  <a:lnTo>
                    <a:pt x="232" y="0"/>
                  </a:lnTo>
                  <a:lnTo>
                    <a:pt x="243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0" name="Rectangle 30"/>
            <p:cNvSpPr>
              <a:spLocks noChangeArrowheads="1"/>
            </p:cNvSpPr>
            <p:nvPr/>
          </p:nvSpPr>
          <p:spPr bwMode="auto">
            <a:xfrm>
              <a:off x="3499835" y="2148463"/>
              <a:ext cx="1696627" cy="2535020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lumMod val="75000"/>
                    <a:tint val="66000"/>
                    <a:satMod val="160000"/>
                  </a:schemeClr>
                </a:gs>
                <a:gs pos="50000">
                  <a:schemeClr val="bg1">
                    <a:lumMod val="75000"/>
                    <a:tint val="44500"/>
                    <a:satMod val="160000"/>
                  </a:schemeClr>
                </a:gs>
                <a:gs pos="100000">
                  <a:schemeClr val="bg1">
                    <a:lumMod val="75000"/>
                    <a:tint val="23500"/>
                    <a:satMod val="160000"/>
                  </a:schemeClr>
                </a:gs>
              </a:gsLst>
              <a:lin ang="5400000" scaled="1"/>
              <a:tileRect/>
            </a:gra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1" name="Rectangle 31"/>
            <p:cNvSpPr>
              <a:spLocks noChangeArrowheads="1"/>
            </p:cNvSpPr>
            <p:nvPr/>
          </p:nvSpPr>
          <p:spPr bwMode="auto">
            <a:xfrm>
              <a:off x="3499835" y="2148463"/>
              <a:ext cx="1696627" cy="114103"/>
            </a:xfrm>
            <a:prstGeom prst="rect">
              <a:avLst/>
            </a:prstGeom>
            <a:gradFill>
              <a:gsLst>
                <a:gs pos="100000">
                  <a:schemeClr val="tx1">
                    <a:lumMod val="65000"/>
                    <a:lumOff val="35000"/>
                  </a:schemeClr>
                </a:gs>
                <a:gs pos="0">
                  <a:schemeClr val="bg1">
                    <a:lumMod val="50000"/>
                  </a:schemeClr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2" name="Rectangle 32"/>
            <p:cNvSpPr>
              <a:spLocks noChangeArrowheads="1"/>
            </p:cNvSpPr>
            <p:nvPr/>
          </p:nvSpPr>
          <p:spPr bwMode="auto">
            <a:xfrm>
              <a:off x="3534563" y="2217915"/>
              <a:ext cx="9922" cy="19843"/>
            </a:xfrm>
            <a:prstGeom prst="rect">
              <a:avLst/>
            </a:prstGeom>
            <a:solidFill>
              <a:srgbClr val="3734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3" name="Rectangle 33"/>
            <p:cNvSpPr>
              <a:spLocks noChangeArrowheads="1"/>
            </p:cNvSpPr>
            <p:nvPr/>
          </p:nvSpPr>
          <p:spPr bwMode="auto">
            <a:xfrm>
              <a:off x="3554406" y="2207994"/>
              <a:ext cx="9922" cy="29765"/>
            </a:xfrm>
            <a:prstGeom prst="rect">
              <a:avLst/>
            </a:prstGeom>
            <a:solidFill>
              <a:srgbClr val="3734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4" name="Rectangle 34"/>
            <p:cNvSpPr>
              <a:spLocks noChangeArrowheads="1"/>
            </p:cNvSpPr>
            <p:nvPr/>
          </p:nvSpPr>
          <p:spPr bwMode="auto">
            <a:xfrm>
              <a:off x="3579209" y="2203034"/>
              <a:ext cx="9922" cy="34728"/>
            </a:xfrm>
            <a:prstGeom prst="rect">
              <a:avLst/>
            </a:prstGeom>
            <a:solidFill>
              <a:srgbClr val="3734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5" name="Rectangle 35"/>
            <p:cNvSpPr>
              <a:spLocks noChangeArrowheads="1"/>
            </p:cNvSpPr>
            <p:nvPr/>
          </p:nvSpPr>
          <p:spPr bwMode="auto">
            <a:xfrm>
              <a:off x="3599053" y="2193112"/>
              <a:ext cx="9922" cy="44650"/>
            </a:xfrm>
            <a:prstGeom prst="rect">
              <a:avLst/>
            </a:prstGeom>
            <a:solidFill>
              <a:srgbClr val="3734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6" name="Rectangle 36"/>
            <p:cNvSpPr>
              <a:spLocks noChangeArrowheads="1"/>
            </p:cNvSpPr>
            <p:nvPr/>
          </p:nvSpPr>
          <p:spPr bwMode="auto">
            <a:xfrm>
              <a:off x="3618897" y="2183190"/>
              <a:ext cx="14884" cy="54572"/>
            </a:xfrm>
            <a:prstGeom prst="rect">
              <a:avLst/>
            </a:prstGeom>
            <a:solidFill>
              <a:srgbClr val="3734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7" name="Freeform 37"/>
            <p:cNvSpPr>
              <a:spLocks/>
            </p:cNvSpPr>
            <p:nvPr/>
          </p:nvSpPr>
          <p:spPr bwMode="auto">
            <a:xfrm>
              <a:off x="5072441" y="2183190"/>
              <a:ext cx="104180" cy="54572"/>
            </a:xfrm>
            <a:custGeom>
              <a:avLst/>
              <a:gdLst>
                <a:gd name="T0" fmla="*/ 10 w 84"/>
                <a:gd name="T1" fmla="*/ 0 h 40"/>
                <a:gd name="T2" fmla="*/ 75 w 84"/>
                <a:gd name="T3" fmla="*/ 0 h 40"/>
                <a:gd name="T4" fmla="*/ 78 w 84"/>
                <a:gd name="T5" fmla="*/ 1 h 40"/>
                <a:gd name="T6" fmla="*/ 81 w 84"/>
                <a:gd name="T7" fmla="*/ 2 h 40"/>
                <a:gd name="T8" fmla="*/ 83 w 84"/>
                <a:gd name="T9" fmla="*/ 6 h 40"/>
                <a:gd name="T10" fmla="*/ 84 w 84"/>
                <a:gd name="T11" fmla="*/ 9 h 40"/>
                <a:gd name="T12" fmla="*/ 84 w 84"/>
                <a:gd name="T13" fmla="*/ 31 h 40"/>
                <a:gd name="T14" fmla="*/ 83 w 84"/>
                <a:gd name="T15" fmla="*/ 35 h 40"/>
                <a:gd name="T16" fmla="*/ 81 w 84"/>
                <a:gd name="T17" fmla="*/ 38 h 40"/>
                <a:gd name="T18" fmla="*/ 78 w 84"/>
                <a:gd name="T19" fmla="*/ 40 h 40"/>
                <a:gd name="T20" fmla="*/ 75 w 84"/>
                <a:gd name="T21" fmla="*/ 40 h 40"/>
                <a:gd name="T22" fmla="*/ 10 w 84"/>
                <a:gd name="T23" fmla="*/ 40 h 40"/>
                <a:gd name="T24" fmla="*/ 6 w 84"/>
                <a:gd name="T25" fmla="*/ 40 h 40"/>
                <a:gd name="T26" fmla="*/ 3 w 84"/>
                <a:gd name="T27" fmla="*/ 38 h 40"/>
                <a:gd name="T28" fmla="*/ 2 w 84"/>
                <a:gd name="T29" fmla="*/ 35 h 40"/>
                <a:gd name="T30" fmla="*/ 0 w 84"/>
                <a:gd name="T31" fmla="*/ 31 h 40"/>
                <a:gd name="T32" fmla="*/ 0 w 84"/>
                <a:gd name="T33" fmla="*/ 9 h 40"/>
                <a:gd name="T34" fmla="*/ 2 w 84"/>
                <a:gd name="T35" fmla="*/ 6 h 40"/>
                <a:gd name="T36" fmla="*/ 3 w 84"/>
                <a:gd name="T37" fmla="*/ 2 h 40"/>
                <a:gd name="T38" fmla="*/ 6 w 84"/>
                <a:gd name="T39" fmla="*/ 1 h 40"/>
                <a:gd name="T40" fmla="*/ 10 w 84"/>
                <a:gd name="T41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4" h="40">
                  <a:moveTo>
                    <a:pt x="10" y="0"/>
                  </a:moveTo>
                  <a:lnTo>
                    <a:pt x="75" y="0"/>
                  </a:lnTo>
                  <a:lnTo>
                    <a:pt x="78" y="1"/>
                  </a:lnTo>
                  <a:lnTo>
                    <a:pt x="81" y="2"/>
                  </a:lnTo>
                  <a:lnTo>
                    <a:pt x="83" y="6"/>
                  </a:lnTo>
                  <a:lnTo>
                    <a:pt x="84" y="9"/>
                  </a:lnTo>
                  <a:lnTo>
                    <a:pt x="84" y="31"/>
                  </a:lnTo>
                  <a:lnTo>
                    <a:pt x="83" y="35"/>
                  </a:lnTo>
                  <a:lnTo>
                    <a:pt x="81" y="38"/>
                  </a:lnTo>
                  <a:lnTo>
                    <a:pt x="78" y="40"/>
                  </a:lnTo>
                  <a:lnTo>
                    <a:pt x="75" y="40"/>
                  </a:lnTo>
                  <a:lnTo>
                    <a:pt x="10" y="40"/>
                  </a:lnTo>
                  <a:lnTo>
                    <a:pt x="6" y="40"/>
                  </a:lnTo>
                  <a:lnTo>
                    <a:pt x="3" y="38"/>
                  </a:lnTo>
                  <a:lnTo>
                    <a:pt x="2" y="35"/>
                  </a:lnTo>
                  <a:lnTo>
                    <a:pt x="0" y="31"/>
                  </a:lnTo>
                  <a:lnTo>
                    <a:pt x="0" y="9"/>
                  </a:lnTo>
                  <a:lnTo>
                    <a:pt x="2" y="6"/>
                  </a:lnTo>
                  <a:lnTo>
                    <a:pt x="3" y="2"/>
                  </a:lnTo>
                  <a:lnTo>
                    <a:pt x="6" y="1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8" name="Rectangle 38"/>
            <p:cNvSpPr>
              <a:spLocks noChangeArrowheads="1"/>
            </p:cNvSpPr>
            <p:nvPr/>
          </p:nvSpPr>
          <p:spPr bwMode="auto">
            <a:xfrm>
              <a:off x="5082363" y="2198072"/>
              <a:ext cx="84337" cy="24806"/>
            </a:xfrm>
            <a:prstGeom prst="rect">
              <a:avLst/>
            </a:prstGeom>
            <a:solidFill>
              <a:srgbClr val="8486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9" name="Rectangle 39"/>
            <p:cNvSpPr>
              <a:spLocks noChangeArrowheads="1"/>
            </p:cNvSpPr>
            <p:nvPr/>
          </p:nvSpPr>
          <p:spPr bwMode="auto">
            <a:xfrm>
              <a:off x="5176618" y="2198072"/>
              <a:ext cx="9922" cy="24806"/>
            </a:xfrm>
            <a:prstGeom prst="rect">
              <a:avLst/>
            </a:prstGeom>
            <a:solidFill>
              <a:srgbClr val="8486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0" name="Rectangle 64"/>
            <p:cNvSpPr>
              <a:spLocks noChangeArrowheads="1"/>
            </p:cNvSpPr>
            <p:nvPr/>
          </p:nvSpPr>
          <p:spPr bwMode="auto">
            <a:xfrm>
              <a:off x="5082363" y="2198072"/>
              <a:ext cx="69452" cy="24806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1" name="Freeform 65"/>
            <p:cNvSpPr>
              <a:spLocks/>
            </p:cNvSpPr>
            <p:nvPr/>
          </p:nvSpPr>
          <p:spPr bwMode="auto">
            <a:xfrm>
              <a:off x="4290921" y="1515978"/>
              <a:ext cx="1016986" cy="3113728"/>
            </a:xfrm>
            <a:custGeom>
              <a:avLst/>
              <a:gdLst>
                <a:gd name="T0" fmla="*/ 0 w 820"/>
                <a:gd name="T1" fmla="*/ 0 h 2530"/>
                <a:gd name="T2" fmla="*/ 572 w 820"/>
                <a:gd name="T3" fmla="*/ 0 h 2530"/>
                <a:gd name="T4" fmla="*/ 585 w 820"/>
                <a:gd name="T5" fmla="*/ 0 h 2530"/>
                <a:gd name="T6" fmla="*/ 598 w 820"/>
                <a:gd name="T7" fmla="*/ 1 h 2530"/>
                <a:gd name="T8" fmla="*/ 609 w 820"/>
                <a:gd name="T9" fmla="*/ 2 h 2530"/>
                <a:gd name="T10" fmla="*/ 621 w 820"/>
                <a:gd name="T11" fmla="*/ 5 h 2530"/>
                <a:gd name="T12" fmla="*/ 633 w 820"/>
                <a:gd name="T13" fmla="*/ 8 h 2530"/>
                <a:gd name="T14" fmla="*/ 645 w 820"/>
                <a:gd name="T15" fmla="*/ 12 h 2530"/>
                <a:gd name="T16" fmla="*/ 656 w 820"/>
                <a:gd name="T17" fmla="*/ 15 h 2530"/>
                <a:gd name="T18" fmla="*/ 667 w 820"/>
                <a:gd name="T19" fmla="*/ 20 h 2530"/>
                <a:gd name="T20" fmla="*/ 689 w 820"/>
                <a:gd name="T21" fmla="*/ 30 h 2530"/>
                <a:gd name="T22" fmla="*/ 709 w 820"/>
                <a:gd name="T23" fmla="*/ 43 h 2530"/>
                <a:gd name="T24" fmla="*/ 729 w 820"/>
                <a:gd name="T25" fmla="*/ 58 h 2530"/>
                <a:gd name="T26" fmla="*/ 746 w 820"/>
                <a:gd name="T27" fmla="*/ 74 h 2530"/>
                <a:gd name="T28" fmla="*/ 762 w 820"/>
                <a:gd name="T29" fmla="*/ 92 h 2530"/>
                <a:gd name="T30" fmla="*/ 777 w 820"/>
                <a:gd name="T31" fmla="*/ 111 h 2530"/>
                <a:gd name="T32" fmla="*/ 790 w 820"/>
                <a:gd name="T33" fmla="*/ 132 h 2530"/>
                <a:gd name="T34" fmla="*/ 800 w 820"/>
                <a:gd name="T35" fmla="*/ 153 h 2530"/>
                <a:gd name="T36" fmla="*/ 805 w 820"/>
                <a:gd name="T37" fmla="*/ 164 h 2530"/>
                <a:gd name="T38" fmla="*/ 808 w 820"/>
                <a:gd name="T39" fmla="*/ 176 h 2530"/>
                <a:gd name="T40" fmla="*/ 812 w 820"/>
                <a:gd name="T41" fmla="*/ 188 h 2530"/>
                <a:gd name="T42" fmla="*/ 815 w 820"/>
                <a:gd name="T43" fmla="*/ 199 h 2530"/>
                <a:gd name="T44" fmla="*/ 818 w 820"/>
                <a:gd name="T45" fmla="*/ 212 h 2530"/>
                <a:gd name="T46" fmla="*/ 819 w 820"/>
                <a:gd name="T47" fmla="*/ 224 h 2530"/>
                <a:gd name="T48" fmla="*/ 820 w 820"/>
                <a:gd name="T49" fmla="*/ 236 h 2530"/>
                <a:gd name="T50" fmla="*/ 820 w 820"/>
                <a:gd name="T51" fmla="*/ 248 h 2530"/>
                <a:gd name="T52" fmla="*/ 820 w 820"/>
                <a:gd name="T53" fmla="*/ 2530 h 2530"/>
                <a:gd name="T54" fmla="*/ 0 w 820"/>
                <a:gd name="T55" fmla="*/ 0 h 2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20" h="2530">
                  <a:moveTo>
                    <a:pt x="0" y="0"/>
                  </a:moveTo>
                  <a:lnTo>
                    <a:pt x="572" y="0"/>
                  </a:lnTo>
                  <a:lnTo>
                    <a:pt x="585" y="0"/>
                  </a:lnTo>
                  <a:lnTo>
                    <a:pt x="598" y="1"/>
                  </a:lnTo>
                  <a:lnTo>
                    <a:pt x="609" y="2"/>
                  </a:lnTo>
                  <a:lnTo>
                    <a:pt x="621" y="5"/>
                  </a:lnTo>
                  <a:lnTo>
                    <a:pt x="633" y="8"/>
                  </a:lnTo>
                  <a:lnTo>
                    <a:pt x="645" y="12"/>
                  </a:lnTo>
                  <a:lnTo>
                    <a:pt x="656" y="15"/>
                  </a:lnTo>
                  <a:lnTo>
                    <a:pt x="667" y="20"/>
                  </a:lnTo>
                  <a:lnTo>
                    <a:pt x="689" y="30"/>
                  </a:lnTo>
                  <a:lnTo>
                    <a:pt x="709" y="43"/>
                  </a:lnTo>
                  <a:lnTo>
                    <a:pt x="729" y="58"/>
                  </a:lnTo>
                  <a:lnTo>
                    <a:pt x="746" y="74"/>
                  </a:lnTo>
                  <a:lnTo>
                    <a:pt x="762" y="92"/>
                  </a:lnTo>
                  <a:lnTo>
                    <a:pt x="777" y="111"/>
                  </a:lnTo>
                  <a:lnTo>
                    <a:pt x="790" y="132"/>
                  </a:lnTo>
                  <a:lnTo>
                    <a:pt x="800" y="153"/>
                  </a:lnTo>
                  <a:lnTo>
                    <a:pt x="805" y="164"/>
                  </a:lnTo>
                  <a:lnTo>
                    <a:pt x="808" y="176"/>
                  </a:lnTo>
                  <a:lnTo>
                    <a:pt x="812" y="188"/>
                  </a:lnTo>
                  <a:lnTo>
                    <a:pt x="815" y="199"/>
                  </a:lnTo>
                  <a:lnTo>
                    <a:pt x="818" y="212"/>
                  </a:lnTo>
                  <a:lnTo>
                    <a:pt x="819" y="224"/>
                  </a:lnTo>
                  <a:lnTo>
                    <a:pt x="820" y="236"/>
                  </a:lnTo>
                  <a:lnTo>
                    <a:pt x="820" y="248"/>
                  </a:lnTo>
                  <a:lnTo>
                    <a:pt x="820" y="2530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65000">
                  <a:schemeClr val="bg1">
                    <a:alpha val="0"/>
                  </a:schemeClr>
                </a:gs>
                <a:gs pos="0">
                  <a:schemeClr val="bg1">
                    <a:alpha val="50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2" name="Freeform 27"/>
            <p:cNvSpPr>
              <a:spLocks/>
            </p:cNvSpPr>
            <p:nvPr/>
          </p:nvSpPr>
          <p:spPr bwMode="auto">
            <a:xfrm>
              <a:off x="4164595" y="1781356"/>
              <a:ext cx="367106" cy="84337"/>
            </a:xfrm>
            <a:custGeom>
              <a:avLst/>
              <a:gdLst>
                <a:gd name="T0" fmla="*/ 34 w 296"/>
                <a:gd name="T1" fmla="*/ 0 h 71"/>
                <a:gd name="T2" fmla="*/ 261 w 296"/>
                <a:gd name="T3" fmla="*/ 0 h 71"/>
                <a:gd name="T4" fmla="*/ 268 w 296"/>
                <a:gd name="T5" fmla="*/ 1 h 71"/>
                <a:gd name="T6" fmla="*/ 275 w 296"/>
                <a:gd name="T7" fmla="*/ 4 h 71"/>
                <a:gd name="T8" fmla="*/ 281 w 296"/>
                <a:gd name="T9" fmla="*/ 7 h 71"/>
                <a:gd name="T10" fmla="*/ 286 w 296"/>
                <a:gd name="T11" fmla="*/ 11 h 71"/>
                <a:gd name="T12" fmla="*/ 290 w 296"/>
                <a:gd name="T13" fmla="*/ 16 h 71"/>
                <a:gd name="T14" fmla="*/ 294 w 296"/>
                <a:gd name="T15" fmla="*/ 22 h 71"/>
                <a:gd name="T16" fmla="*/ 296 w 296"/>
                <a:gd name="T17" fmla="*/ 29 h 71"/>
                <a:gd name="T18" fmla="*/ 296 w 296"/>
                <a:gd name="T19" fmla="*/ 36 h 71"/>
                <a:gd name="T20" fmla="*/ 296 w 296"/>
                <a:gd name="T21" fmla="*/ 36 h 71"/>
                <a:gd name="T22" fmla="*/ 296 w 296"/>
                <a:gd name="T23" fmla="*/ 43 h 71"/>
                <a:gd name="T24" fmla="*/ 294 w 296"/>
                <a:gd name="T25" fmla="*/ 50 h 71"/>
                <a:gd name="T26" fmla="*/ 290 w 296"/>
                <a:gd name="T27" fmla="*/ 56 h 71"/>
                <a:gd name="T28" fmla="*/ 286 w 296"/>
                <a:gd name="T29" fmla="*/ 62 h 71"/>
                <a:gd name="T30" fmla="*/ 281 w 296"/>
                <a:gd name="T31" fmla="*/ 65 h 71"/>
                <a:gd name="T32" fmla="*/ 275 w 296"/>
                <a:gd name="T33" fmla="*/ 69 h 71"/>
                <a:gd name="T34" fmla="*/ 268 w 296"/>
                <a:gd name="T35" fmla="*/ 71 h 71"/>
                <a:gd name="T36" fmla="*/ 261 w 296"/>
                <a:gd name="T37" fmla="*/ 71 h 71"/>
                <a:gd name="T38" fmla="*/ 34 w 296"/>
                <a:gd name="T39" fmla="*/ 71 h 71"/>
                <a:gd name="T40" fmla="*/ 28 w 296"/>
                <a:gd name="T41" fmla="*/ 71 h 71"/>
                <a:gd name="T42" fmla="*/ 21 w 296"/>
                <a:gd name="T43" fmla="*/ 69 h 71"/>
                <a:gd name="T44" fmla="*/ 15 w 296"/>
                <a:gd name="T45" fmla="*/ 65 h 71"/>
                <a:gd name="T46" fmla="*/ 10 w 296"/>
                <a:gd name="T47" fmla="*/ 62 h 71"/>
                <a:gd name="T48" fmla="*/ 6 w 296"/>
                <a:gd name="T49" fmla="*/ 56 h 71"/>
                <a:gd name="T50" fmla="*/ 2 w 296"/>
                <a:gd name="T51" fmla="*/ 50 h 71"/>
                <a:gd name="T52" fmla="*/ 0 w 296"/>
                <a:gd name="T53" fmla="*/ 43 h 71"/>
                <a:gd name="T54" fmla="*/ 0 w 296"/>
                <a:gd name="T55" fmla="*/ 36 h 71"/>
                <a:gd name="T56" fmla="*/ 0 w 296"/>
                <a:gd name="T57" fmla="*/ 36 h 71"/>
                <a:gd name="T58" fmla="*/ 0 w 296"/>
                <a:gd name="T59" fmla="*/ 29 h 71"/>
                <a:gd name="T60" fmla="*/ 2 w 296"/>
                <a:gd name="T61" fmla="*/ 22 h 71"/>
                <a:gd name="T62" fmla="*/ 6 w 296"/>
                <a:gd name="T63" fmla="*/ 16 h 71"/>
                <a:gd name="T64" fmla="*/ 10 w 296"/>
                <a:gd name="T65" fmla="*/ 11 h 71"/>
                <a:gd name="T66" fmla="*/ 15 w 296"/>
                <a:gd name="T67" fmla="*/ 7 h 71"/>
                <a:gd name="T68" fmla="*/ 21 w 296"/>
                <a:gd name="T69" fmla="*/ 4 h 71"/>
                <a:gd name="T70" fmla="*/ 28 w 296"/>
                <a:gd name="T71" fmla="*/ 1 h 71"/>
                <a:gd name="T72" fmla="*/ 34 w 296"/>
                <a:gd name="T73" fmla="*/ 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96" h="71">
                  <a:moveTo>
                    <a:pt x="34" y="0"/>
                  </a:moveTo>
                  <a:lnTo>
                    <a:pt x="261" y="0"/>
                  </a:lnTo>
                  <a:lnTo>
                    <a:pt x="268" y="1"/>
                  </a:lnTo>
                  <a:lnTo>
                    <a:pt x="275" y="4"/>
                  </a:lnTo>
                  <a:lnTo>
                    <a:pt x="281" y="7"/>
                  </a:lnTo>
                  <a:lnTo>
                    <a:pt x="286" y="11"/>
                  </a:lnTo>
                  <a:lnTo>
                    <a:pt x="290" y="16"/>
                  </a:lnTo>
                  <a:lnTo>
                    <a:pt x="294" y="22"/>
                  </a:lnTo>
                  <a:lnTo>
                    <a:pt x="296" y="29"/>
                  </a:lnTo>
                  <a:lnTo>
                    <a:pt x="296" y="36"/>
                  </a:lnTo>
                  <a:lnTo>
                    <a:pt x="296" y="36"/>
                  </a:lnTo>
                  <a:lnTo>
                    <a:pt x="296" y="43"/>
                  </a:lnTo>
                  <a:lnTo>
                    <a:pt x="294" y="50"/>
                  </a:lnTo>
                  <a:lnTo>
                    <a:pt x="290" y="56"/>
                  </a:lnTo>
                  <a:lnTo>
                    <a:pt x="286" y="62"/>
                  </a:lnTo>
                  <a:lnTo>
                    <a:pt x="281" y="65"/>
                  </a:lnTo>
                  <a:lnTo>
                    <a:pt x="275" y="69"/>
                  </a:lnTo>
                  <a:lnTo>
                    <a:pt x="268" y="71"/>
                  </a:lnTo>
                  <a:lnTo>
                    <a:pt x="261" y="71"/>
                  </a:lnTo>
                  <a:lnTo>
                    <a:pt x="34" y="71"/>
                  </a:lnTo>
                  <a:lnTo>
                    <a:pt x="28" y="71"/>
                  </a:lnTo>
                  <a:lnTo>
                    <a:pt x="21" y="69"/>
                  </a:lnTo>
                  <a:lnTo>
                    <a:pt x="15" y="65"/>
                  </a:lnTo>
                  <a:lnTo>
                    <a:pt x="10" y="62"/>
                  </a:lnTo>
                  <a:lnTo>
                    <a:pt x="6" y="56"/>
                  </a:lnTo>
                  <a:lnTo>
                    <a:pt x="2" y="50"/>
                  </a:lnTo>
                  <a:lnTo>
                    <a:pt x="0" y="43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29"/>
                  </a:lnTo>
                  <a:lnTo>
                    <a:pt x="2" y="22"/>
                  </a:lnTo>
                  <a:lnTo>
                    <a:pt x="6" y="16"/>
                  </a:lnTo>
                  <a:lnTo>
                    <a:pt x="10" y="11"/>
                  </a:lnTo>
                  <a:lnTo>
                    <a:pt x="15" y="7"/>
                  </a:lnTo>
                  <a:lnTo>
                    <a:pt x="21" y="4"/>
                  </a:lnTo>
                  <a:lnTo>
                    <a:pt x="28" y="1"/>
                  </a:lnTo>
                  <a:lnTo>
                    <a:pt x="34" y="0"/>
                  </a:lnTo>
                  <a:close/>
                </a:path>
              </a:pathLst>
            </a:custGeom>
            <a:gradFill flip="none" rotWithShape="1">
              <a:gsLst>
                <a:gs pos="100000">
                  <a:srgbClr val="060606"/>
                </a:gs>
                <a:gs pos="62000">
                  <a:srgbClr val="3C3C3C"/>
                </a:gs>
                <a:gs pos="45000">
                  <a:schemeClr val="tx1">
                    <a:lumMod val="75000"/>
                    <a:lumOff val="25000"/>
                  </a:schemeClr>
                </a:gs>
                <a:gs pos="0">
                  <a:schemeClr val="tx1"/>
                </a:gs>
              </a:gsLst>
              <a:lin ang="5400000" scaled="1"/>
              <a:tileRect/>
            </a:gra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3" name="Freeform 28"/>
            <p:cNvSpPr>
              <a:spLocks/>
            </p:cNvSpPr>
            <p:nvPr/>
          </p:nvSpPr>
          <p:spPr bwMode="auto">
            <a:xfrm>
              <a:off x="4189401" y="1806163"/>
              <a:ext cx="322460" cy="34728"/>
            </a:xfrm>
            <a:custGeom>
              <a:avLst/>
              <a:gdLst>
                <a:gd name="T0" fmla="*/ 14 w 262"/>
                <a:gd name="T1" fmla="*/ 0 h 28"/>
                <a:gd name="T2" fmla="*/ 248 w 262"/>
                <a:gd name="T3" fmla="*/ 0 h 28"/>
                <a:gd name="T4" fmla="*/ 254 w 262"/>
                <a:gd name="T5" fmla="*/ 1 h 28"/>
                <a:gd name="T6" fmla="*/ 258 w 262"/>
                <a:gd name="T7" fmla="*/ 4 h 28"/>
                <a:gd name="T8" fmla="*/ 261 w 262"/>
                <a:gd name="T9" fmla="*/ 8 h 28"/>
                <a:gd name="T10" fmla="*/ 262 w 262"/>
                <a:gd name="T11" fmla="*/ 14 h 28"/>
                <a:gd name="T12" fmla="*/ 261 w 262"/>
                <a:gd name="T13" fmla="*/ 20 h 28"/>
                <a:gd name="T14" fmla="*/ 258 w 262"/>
                <a:gd name="T15" fmla="*/ 25 h 28"/>
                <a:gd name="T16" fmla="*/ 254 w 262"/>
                <a:gd name="T17" fmla="*/ 27 h 28"/>
                <a:gd name="T18" fmla="*/ 248 w 262"/>
                <a:gd name="T19" fmla="*/ 28 h 28"/>
                <a:gd name="T20" fmla="*/ 14 w 262"/>
                <a:gd name="T21" fmla="*/ 28 h 28"/>
                <a:gd name="T22" fmla="*/ 9 w 262"/>
                <a:gd name="T23" fmla="*/ 27 h 28"/>
                <a:gd name="T24" fmla="*/ 5 w 262"/>
                <a:gd name="T25" fmla="*/ 25 h 28"/>
                <a:gd name="T26" fmla="*/ 1 w 262"/>
                <a:gd name="T27" fmla="*/ 20 h 28"/>
                <a:gd name="T28" fmla="*/ 0 w 262"/>
                <a:gd name="T29" fmla="*/ 14 h 28"/>
                <a:gd name="T30" fmla="*/ 1 w 262"/>
                <a:gd name="T31" fmla="*/ 8 h 28"/>
                <a:gd name="T32" fmla="*/ 5 w 262"/>
                <a:gd name="T33" fmla="*/ 4 h 28"/>
                <a:gd name="T34" fmla="*/ 9 w 262"/>
                <a:gd name="T35" fmla="*/ 1 h 28"/>
                <a:gd name="T36" fmla="*/ 14 w 262"/>
                <a:gd name="T37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2" h="28">
                  <a:moveTo>
                    <a:pt x="14" y="0"/>
                  </a:moveTo>
                  <a:lnTo>
                    <a:pt x="248" y="0"/>
                  </a:lnTo>
                  <a:lnTo>
                    <a:pt x="254" y="1"/>
                  </a:lnTo>
                  <a:lnTo>
                    <a:pt x="258" y="4"/>
                  </a:lnTo>
                  <a:lnTo>
                    <a:pt x="261" y="8"/>
                  </a:lnTo>
                  <a:lnTo>
                    <a:pt x="262" y="14"/>
                  </a:lnTo>
                  <a:lnTo>
                    <a:pt x="261" y="20"/>
                  </a:lnTo>
                  <a:lnTo>
                    <a:pt x="258" y="25"/>
                  </a:lnTo>
                  <a:lnTo>
                    <a:pt x="254" y="27"/>
                  </a:lnTo>
                  <a:lnTo>
                    <a:pt x="248" y="28"/>
                  </a:lnTo>
                  <a:lnTo>
                    <a:pt x="14" y="28"/>
                  </a:lnTo>
                  <a:lnTo>
                    <a:pt x="9" y="27"/>
                  </a:lnTo>
                  <a:lnTo>
                    <a:pt x="5" y="25"/>
                  </a:lnTo>
                  <a:lnTo>
                    <a:pt x="1" y="20"/>
                  </a:lnTo>
                  <a:lnTo>
                    <a:pt x="0" y="14"/>
                  </a:lnTo>
                  <a:lnTo>
                    <a:pt x="1" y="8"/>
                  </a:lnTo>
                  <a:lnTo>
                    <a:pt x="5" y="4"/>
                  </a:lnTo>
                  <a:lnTo>
                    <a:pt x="9" y="1"/>
                  </a:lnTo>
                  <a:lnTo>
                    <a:pt x="14" y="0"/>
                  </a:lnTo>
                  <a:close/>
                </a:path>
              </a:pathLst>
            </a:custGeom>
            <a:pattFill prst="pct60">
              <a:fgClr>
                <a:schemeClr val="tx1">
                  <a:lumMod val="65000"/>
                  <a:lumOff val="35000"/>
                </a:schemeClr>
              </a:fgClr>
              <a:bgClr>
                <a:schemeClr val="tx1">
                  <a:lumMod val="85000"/>
                  <a:lumOff val="15000"/>
                </a:schemeClr>
              </a:bgClr>
            </a:patt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244" name="Group 243"/>
            <p:cNvGrpSpPr/>
            <p:nvPr/>
          </p:nvGrpSpPr>
          <p:grpSpPr>
            <a:xfrm>
              <a:off x="3983538" y="1774785"/>
              <a:ext cx="91367" cy="89792"/>
              <a:chOff x="3850992" y="1240759"/>
              <a:chExt cx="79021" cy="77659"/>
            </a:xfrm>
          </p:grpSpPr>
          <p:sp>
            <p:nvSpPr>
              <p:cNvPr id="252" name="Freeform 29"/>
              <p:cNvSpPr>
                <a:spLocks/>
              </p:cNvSpPr>
              <p:nvPr/>
            </p:nvSpPr>
            <p:spPr bwMode="auto">
              <a:xfrm>
                <a:off x="3850992" y="1240759"/>
                <a:ext cx="79021" cy="77659"/>
              </a:xfrm>
              <a:custGeom>
                <a:avLst/>
                <a:gdLst>
                  <a:gd name="T0" fmla="*/ 189 w 345"/>
                  <a:gd name="T1" fmla="*/ 1 h 344"/>
                  <a:gd name="T2" fmla="*/ 224 w 345"/>
                  <a:gd name="T3" fmla="*/ 8 h 344"/>
                  <a:gd name="T4" fmla="*/ 254 w 345"/>
                  <a:gd name="T5" fmla="*/ 21 h 344"/>
                  <a:gd name="T6" fmla="*/ 282 w 345"/>
                  <a:gd name="T7" fmla="*/ 39 h 344"/>
                  <a:gd name="T8" fmla="*/ 305 w 345"/>
                  <a:gd name="T9" fmla="*/ 63 h 344"/>
                  <a:gd name="T10" fmla="*/ 324 w 345"/>
                  <a:gd name="T11" fmla="*/ 90 h 344"/>
                  <a:gd name="T12" fmla="*/ 337 w 345"/>
                  <a:gd name="T13" fmla="*/ 121 h 344"/>
                  <a:gd name="T14" fmla="*/ 343 w 345"/>
                  <a:gd name="T15" fmla="*/ 154 h 344"/>
                  <a:gd name="T16" fmla="*/ 343 w 345"/>
                  <a:gd name="T17" fmla="*/ 189 h 344"/>
                  <a:gd name="T18" fmla="*/ 337 w 345"/>
                  <a:gd name="T19" fmla="*/ 224 h 344"/>
                  <a:gd name="T20" fmla="*/ 324 w 345"/>
                  <a:gd name="T21" fmla="*/ 254 h 344"/>
                  <a:gd name="T22" fmla="*/ 305 w 345"/>
                  <a:gd name="T23" fmla="*/ 282 h 344"/>
                  <a:gd name="T24" fmla="*/ 282 w 345"/>
                  <a:gd name="T25" fmla="*/ 304 h 344"/>
                  <a:gd name="T26" fmla="*/ 254 w 345"/>
                  <a:gd name="T27" fmla="*/ 324 h 344"/>
                  <a:gd name="T28" fmla="*/ 224 w 345"/>
                  <a:gd name="T29" fmla="*/ 336 h 344"/>
                  <a:gd name="T30" fmla="*/ 189 w 345"/>
                  <a:gd name="T31" fmla="*/ 343 h 344"/>
                  <a:gd name="T32" fmla="*/ 155 w 345"/>
                  <a:gd name="T33" fmla="*/ 343 h 344"/>
                  <a:gd name="T34" fmla="*/ 121 w 345"/>
                  <a:gd name="T35" fmla="*/ 336 h 344"/>
                  <a:gd name="T36" fmla="*/ 90 w 345"/>
                  <a:gd name="T37" fmla="*/ 324 h 344"/>
                  <a:gd name="T38" fmla="*/ 63 w 345"/>
                  <a:gd name="T39" fmla="*/ 304 h 344"/>
                  <a:gd name="T40" fmla="*/ 39 w 345"/>
                  <a:gd name="T41" fmla="*/ 282 h 344"/>
                  <a:gd name="T42" fmla="*/ 21 w 345"/>
                  <a:gd name="T43" fmla="*/ 254 h 344"/>
                  <a:gd name="T44" fmla="*/ 8 w 345"/>
                  <a:gd name="T45" fmla="*/ 224 h 344"/>
                  <a:gd name="T46" fmla="*/ 1 w 345"/>
                  <a:gd name="T47" fmla="*/ 189 h 344"/>
                  <a:gd name="T48" fmla="*/ 1 w 345"/>
                  <a:gd name="T49" fmla="*/ 154 h 344"/>
                  <a:gd name="T50" fmla="*/ 8 w 345"/>
                  <a:gd name="T51" fmla="*/ 121 h 344"/>
                  <a:gd name="T52" fmla="*/ 21 w 345"/>
                  <a:gd name="T53" fmla="*/ 90 h 344"/>
                  <a:gd name="T54" fmla="*/ 39 w 345"/>
                  <a:gd name="T55" fmla="*/ 63 h 344"/>
                  <a:gd name="T56" fmla="*/ 63 w 345"/>
                  <a:gd name="T57" fmla="*/ 39 h 344"/>
                  <a:gd name="T58" fmla="*/ 90 w 345"/>
                  <a:gd name="T59" fmla="*/ 21 h 344"/>
                  <a:gd name="T60" fmla="*/ 121 w 345"/>
                  <a:gd name="T61" fmla="*/ 8 h 344"/>
                  <a:gd name="T62" fmla="*/ 155 w 345"/>
                  <a:gd name="T63" fmla="*/ 1 h 3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345" h="344">
                    <a:moveTo>
                      <a:pt x="172" y="0"/>
                    </a:moveTo>
                    <a:lnTo>
                      <a:pt x="189" y="1"/>
                    </a:lnTo>
                    <a:lnTo>
                      <a:pt x="207" y="3"/>
                    </a:lnTo>
                    <a:lnTo>
                      <a:pt x="224" y="8"/>
                    </a:lnTo>
                    <a:lnTo>
                      <a:pt x="240" y="14"/>
                    </a:lnTo>
                    <a:lnTo>
                      <a:pt x="254" y="21"/>
                    </a:lnTo>
                    <a:lnTo>
                      <a:pt x="268" y="30"/>
                    </a:lnTo>
                    <a:lnTo>
                      <a:pt x="282" y="39"/>
                    </a:lnTo>
                    <a:lnTo>
                      <a:pt x="294" y="50"/>
                    </a:lnTo>
                    <a:lnTo>
                      <a:pt x="305" y="63"/>
                    </a:lnTo>
                    <a:lnTo>
                      <a:pt x="315" y="75"/>
                    </a:lnTo>
                    <a:lnTo>
                      <a:pt x="324" y="90"/>
                    </a:lnTo>
                    <a:lnTo>
                      <a:pt x="331" y="105"/>
                    </a:lnTo>
                    <a:lnTo>
                      <a:pt x="337" y="121"/>
                    </a:lnTo>
                    <a:lnTo>
                      <a:pt x="341" y="137"/>
                    </a:lnTo>
                    <a:lnTo>
                      <a:pt x="343" y="154"/>
                    </a:lnTo>
                    <a:lnTo>
                      <a:pt x="345" y="172"/>
                    </a:lnTo>
                    <a:lnTo>
                      <a:pt x="343" y="189"/>
                    </a:lnTo>
                    <a:lnTo>
                      <a:pt x="341" y="206"/>
                    </a:lnTo>
                    <a:lnTo>
                      <a:pt x="337" y="224"/>
                    </a:lnTo>
                    <a:lnTo>
                      <a:pt x="331" y="239"/>
                    </a:lnTo>
                    <a:lnTo>
                      <a:pt x="324" y="254"/>
                    </a:lnTo>
                    <a:lnTo>
                      <a:pt x="315" y="268"/>
                    </a:lnTo>
                    <a:lnTo>
                      <a:pt x="305" y="282"/>
                    </a:lnTo>
                    <a:lnTo>
                      <a:pt x="294" y="294"/>
                    </a:lnTo>
                    <a:lnTo>
                      <a:pt x="282" y="304"/>
                    </a:lnTo>
                    <a:lnTo>
                      <a:pt x="268" y="315"/>
                    </a:lnTo>
                    <a:lnTo>
                      <a:pt x="254" y="324"/>
                    </a:lnTo>
                    <a:lnTo>
                      <a:pt x="240" y="331"/>
                    </a:lnTo>
                    <a:lnTo>
                      <a:pt x="224" y="336"/>
                    </a:lnTo>
                    <a:lnTo>
                      <a:pt x="207" y="341"/>
                    </a:lnTo>
                    <a:lnTo>
                      <a:pt x="189" y="343"/>
                    </a:lnTo>
                    <a:lnTo>
                      <a:pt x="172" y="344"/>
                    </a:lnTo>
                    <a:lnTo>
                      <a:pt x="155" y="343"/>
                    </a:lnTo>
                    <a:lnTo>
                      <a:pt x="138" y="341"/>
                    </a:lnTo>
                    <a:lnTo>
                      <a:pt x="121" y="336"/>
                    </a:lnTo>
                    <a:lnTo>
                      <a:pt x="105" y="331"/>
                    </a:lnTo>
                    <a:lnTo>
                      <a:pt x="90" y="324"/>
                    </a:lnTo>
                    <a:lnTo>
                      <a:pt x="76" y="315"/>
                    </a:lnTo>
                    <a:lnTo>
                      <a:pt x="63" y="304"/>
                    </a:lnTo>
                    <a:lnTo>
                      <a:pt x="50" y="294"/>
                    </a:lnTo>
                    <a:lnTo>
                      <a:pt x="39" y="282"/>
                    </a:lnTo>
                    <a:lnTo>
                      <a:pt x="30" y="268"/>
                    </a:lnTo>
                    <a:lnTo>
                      <a:pt x="21" y="254"/>
                    </a:lnTo>
                    <a:lnTo>
                      <a:pt x="14" y="239"/>
                    </a:lnTo>
                    <a:lnTo>
                      <a:pt x="8" y="224"/>
                    </a:lnTo>
                    <a:lnTo>
                      <a:pt x="3" y="206"/>
                    </a:lnTo>
                    <a:lnTo>
                      <a:pt x="1" y="189"/>
                    </a:lnTo>
                    <a:lnTo>
                      <a:pt x="0" y="172"/>
                    </a:lnTo>
                    <a:lnTo>
                      <a:pt x="1" y="154"/>
                    </a:lnTo>
                    <a:lnTo>
                      <a:pt x="3" y="137"/>
                    </a:lnTo>
                    <a:lnTo>
                      <a:pt x="8" y="121"/>
                    </a:lnTo>
                    <a:lnTo>
                      <a:pt x="14" y="105"/>
                    </a:lnTo>
                    <a:lnTo>
                      <a:pt x="21" y="90"/>
                    </a:lnTo>
                    <a:lnTo>
                      <a:pt x="30" y="75"/>
                    </a:lnTo>
                    <a:lnTo>
                      <a:pt x="39" y="63"/>
                    </a:lnTo>
                    <a:lnTo>
                      <a:pt x="50" y="50"/>
                    </a:lnTo>
                    <a:lnTo>
                      <a:pt x="63" y="39"/>
                    </a:lnTo>
                    <a:lnTo>
                      <a:pt x="76" y="30"/>
                    </a:lnTo>
                    <a:lnTo>
                      <a:pt x="90" y="21"/>
                    </a:lnTo>
                    <a:lnTo>
                      <a:pt x="105" y="14"/>
                    </a:lnTo>
                    <a:lnTo>
                      <a:pt x="121" y="8"/>
                    </a:lnTo>
                    <a:lnTo>
                      <a:pt x="138" y="3"/>
                    </a:lnTo>
                    <a:lnTo>
                      <a:pt x="155" y="1"/>
                    </a:lnTo>
                    <a:lnTo>
                      <a:pt x="172" y="0"/>
                    </a:lnTo>
                    <a:close/>
                  </a:path>
                </a:pathLst>
              </a:custGeom>
              <a:gradFill flip="none" rotWithShape="1">
                <a:gsLst>
                  <a:gs pos="65000">
                    <a:schemeClr val="tx1">
                      <a:lumMod val="75000"/>
                      <a:lumOff val="25000"/>
                    </a:schemeClr>
                  </a:gs>
                  <a:gs pos="0">
                    <a:schemeClr val="tx1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53" name="Freeform 30"/>
              <p:cNvSpPr>
                <a:spLocks/>
              </p:cNvSpPr>
              <p:nvPr/>
            </p:nvSpPr>
            <p:spPr bwMode="auto">
              <a:xfrm>
                <a:off x="3871448" y="1259831"/>
                <a:ext cx="38148" cy="38148"/>
              </a:xfrm>
              <a:custGeom>
                <a:avLst/>
                <a:gdLst>
                  <a:gd name="T0" fmla="*/ 93 w 169"/>
                  <a:gd name="T1" fmla="*/ 0 h 169"/>
                  <a:gd name="T2" fmla="*/ 109 w 169"/>
                  <a:gd name="T3" fmla="*/ 3 h 169"/>
                  <a:gd name="T4" fmla="*/ 124 w 169"/>
                  <a:gd name="T5" fmla="*/ 10 h 169"/>
                  <a:gd name="T6" fmla="*/ 138 w 169"/>
                  <a:gd name="T7" fmla="*/ 19 h 169"/>
                  <a:gd name="T8" fmla="*/ 149 w 169"/>
                  <a:gd name="T9" fmla="*/ 31 h 169"/>
                  <a:gd name="T10" fmla="*/ 158 w 169"/>
                  <a:gd name="T11" fmla="*/ 43 h 169"/>
                  <a:gd name="T12" fmla="*/ 165 w 169"/>
                  <a:gd name="T13" fmla="*/ 59 h 169"/>
                  <a:gd name="T14" fmla="*/ 169 w 169"/>
                  <a:gd name="T15" fmla="*/ 75 h 169"/>
                  <a:gd name="T16" fmla="*/ 169 w 169"/>
                  <a:gd name="T17" fmla="*/ 92 h 169"/>
                  <a:gd name="T18" fmla="*/ 165 w 169"/>
                  <a:gd name="T19" fmla="*/ 109 h 169"/>
                  <a:gd name="T20" fmla="*/ 158 w 169"/>
                  <a:gd name="T21" fmla="*/ 124 h 169"/>
                  <a:gd name="T22" fmla="*/ 149 w 169"/>
                  <a:gd name="T23" fmla="*/ 138 h 169"/>
                  <a:gd name="T24" fmla="*/ 138 w 169"/>
                  <a:gd name="T25" fmla="*/ 149 h 169"/>
                  <a:gd name="T26" fmla="*/ 124 w 169"/>
                  <a:gd name="T27" fmla="*/ 158 h 169"/>
                  <a:gd name="T28" fmla="*/ 109 w 169"/>
                  <a:gd name="T29" fmla="*/ 165 h 169"/>
                  <a:gd name="T30" fmla="*/ 93 w 169"/>
                  <a:gd name="T31" fmla="*/ 169 h 169"/>
                  <a:gd name="T32" fmla="*/ 75 w 169"/>
                  <a:gd name="T33" fmla="*/ 169 h 169"/>
                  <a:gd name="T34" fmla="*/ 59 w 169"/>
                  <a:gd name="T35" fmla="*/ 165 h 169"/>
                  <a:gd name="T36" fmla="*/ 44 w 169"/>
                  <a:gd name="T37" fmla="*/ 158 h 169"/>
                  <a:gd name="T38" fmla="*/ 31 w 169"/>
                  <a:gd name="T39" fmla="*/ 149 h 169"/>
                  <a:gd name="T40" fmla="*/ 19 w 169"/>
                  <a:gd name="T41" fmla="*/ 138 h 169"/>
                  <a:gd name="T42" fmla="*/ 10 w 169"/>
                  <a:gd name="T43" fmla="*/ 124 h 169"/>
                  <a:gd name="T44" fmla="*/ 3 w 169"/>
                  <a:gd name="T45" fmla="*/ 109 h 169"/>
                  <a:gd name="T46" fmla="*/ 0 w 169"/>
                  <a:gd name="T47" fmla="*/ 92 h 169"/>
                  <a:gd name="T48" fmla="*/ 0 w 169"/>
                  <a:gd name="T49" fmla="*/ 75 h 169"/>
                  <a:gd name="T50" fmla="*/ 3 w 169"/>
                  <a:gd name="T51" fmla="*/ 59 h 169"/>
                  <a:gd name="T52" fmla="*/ 10 w 169"/>
                  <a:gd name="T53" fmla="*/ 43 h 169"/>
                  <a:gd name="T54" fmla="*/ 19 w 169"/>
                  <a:gd name="T55" fmla="*/ 31 h 169"/>
                  <a:gd name="T56" fmla="*/ 31 w 169"/>
                  <a:gd name="T57" fmla="*/ 19 h 169"/>
                  <a:gd name="T58" fmla="*/ 44 w 169"/>
                  <a:gd name="T59" fmla="*/ 10 h 169"/>
                  <a:gd name="T60" fmla="*/ 59 w 169"/>
                  <a:gd name="T61" fmla="*/ 3 h 169"/>
                  <a:gd name="T62" fmla="*/ 75 w 169"/>
                  <a:gd name="T63" fmla="*/ 0 h 1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69" h="169">
                    <a:moveTo>
                      <a:pt x="84" y="0"/>
                    </a:moveTo>
                    <a:lnTo>
                      <a:pt x="93" y="0"/>
                    </a:lnTo>
                    <a:lnTo>
                      <a:pt x="101" y="1"/>
                    </a:lnTo>
                    <a:lnTo>
                      <a:pt x="109" y="3"/>
                    </a:lnTo>
                    <a:lnTo>
                      <a:pt x="117" y="6"/>
                    </a:lnTo>
                    <a:lnTo>
                      <a:pt x="124" y="10"/>
                    </a:lnTo>
                    <a:lnTo>
                      <a:pt x="132" y="14"/>
                    </a:lnTo>
                    <a:lnTo>
                      <a:pt x="138" y="19"/>
                    </a:lnTo>
                    <a:lnTo>
                      <a:pt x="145" y="24"/>
                    </a:lnTo>
                    <a:lnTo>
                      <a:pt x="149" y="31"/>
                    </a:lnTo>
                    <a:lnTo>
                      <a:pt x="155" y="36"/>
                    </a:lnTo>
                    <a:lnTo>
                      <a:pt x="158" y="43"/>
                    </a:lnTo>
                    <a:lnTo>
                      <a:pt x="162" y="51"/>
                    </a:lnTo>
                    <a:lnTo>
                      <a:pt x="165" y="59"/>
                    </a:lnTo>
                    <a:lnTo>
                      <a:pt x="168" y="67"/>
                    </a:lnTo>
                    <a:lnTo>
                      <a:pt x="169" y="75"/>
                    </a:lnTo>
                    <a:lnTo>
                      <a:pt x="169" y="84"/>
                    </a:lnTo>
                    <a:lnTo>
                      <a:pt x="169" y="92"/>
                    </a:lnTo>
                    <a:lnTo>
                      <a:pt x="168" y="101"/>
                    </a:lnTo>
                    <a:lnTo>
                      <a:pt x="165" y="109"/>
                    </a:lnTo>
                    <a:lnTo>
                      <a:pt x="162" y="117"/>
                    </a:lnTo>
                    <a:lnTo>
                      <a:pt x="158" y="124"/>
                    </a:lnTo>
                    <a:lnTo>
                      <a:pt x="155" y="131"/>
                    </a:lnTo>
                    <a:lnTo>
                      <a:pt x="149" y="138"/>
                    </a:lnTo>
                    <a:lnTo>
                      <a:pt x="145" y="143"/>
                    </a:lnTo>
                    <a:lnTo>
                      <a:pt x="138" y="149"/>
                    </a:lnTo>
                    <a:lnTo>
                      <a:pt x="132" y="155"/>
                    </a:lnTo>
                    <a:lnTo>
                      <a:pt x="124" y="158"/>
                    </a:lnTo>
                    <a:lnTo>
                      <a:pt x="117" y="162"/>
                    </a:lnTo>
                    <a:lnTo>
                      <a:pt x="109" y="165"/>
                    </a:lnTo>
                    <a:lnTo>
                      <a:pt x="101" y="167"/>
                    </a:lnTo>
                    <a:lnTo>
                      <a:pt x="93" y="169"/>
                    </a:lnTo>
                    <a:lnTo>
                      <a:pt x="84" y="169"/>
                    </a:lnTo>
                    <a:lnTo>
                      <a:pt x="75" y="169"/>
                    </a:lnTo>
                    <a:lnTo>
                      <a:pt x="67" y="167"/>
                    </a:lnTo>
                    <a:lnTo>
                      <a:pt x="59" y="165"/>
                    </a:lnTo>
                    <a:lnTo>
                      <a:pt x="51" y="162"/>
                    </a:lnTo>
                    <a:lnTo>
                      <a:pt x="44" y="158"/>
                    </a:lnTo>
                    <a:lnTo>
                      <a:pt x="36" y="155"/>
                    </a:lnTo>
                    <a:lnTo>
                      <a:pt x="31" y="149"/>
                    </a:lnTo>
                    <a:lnTo>
                      <a:pt x="24" y="143"/>
                    </a:lnTo>
                    <a:lnTo>
                      <a:pt x="19" y="138"/>
                    </a:lnTo>
                    <a:lnTo>
                      <a:pt x="14" y="131"/>
                    </a:lnTo>
                    <a:lnTo>
                      <a:pt x="10" y="124"/>
                    </a:lnTo>
                    <a:lnTo>
                      <a:pt x="6" y="117"/>
                    </a:lnTo>
                    <a:lnTo>
                      <a:pt x="3" y="109"/>
                    </a:lnTo>
                    <a:lnTo>
                      <a:pt x="1" y="101"/>
                    </a:lnTo>
                    <a:lnTo>
                      <a:pt x="0" y="92"/>
                    </a:lnTo>
                    <a:lnTo>
                      <a:pt x="0" y="84"/>
                    </a:lnTo>
                    <a:lnTo>
                      <a:pt x="0" y="75"/>
                    </a:lnTo>
                    <a:lnTo>
                      <a:pt x="1" y="67"/>
                    </a:lnTo>
                    <a:lnTo>
                      <a:pt x="3" y="59"/>
                    </a:lnTo>
                    <a:lnTo>
                      <a:pt x="6" y="51"/>
                    </a:lnTo>
                    <a:lnTo>
                      <a:pt x="10" y="43"/>
                    </a:lnTo>
                    <a:lnTo>
                      <a:pt x="14" y="36"/>
                    </a:lnTo>
                    <a:lnTo>
                      <a:pt x="19" y="31"/>
                    </a:lnTo>
                    <a:lnTo>
                      <a:pt x="24" y="24"/>
                    </a:lnTo>
                    <a:lnTo>
                      <a:pt x="31" y="19"/>
                    </a:lnTo>
                    <a:lnTo>
                      <a:pt x="36" y="14"/>
                    </a:lnTo>
                    <a:lnTo>
                      <a:pt x="44" y="10"/>
                    </a:lnTo>
                    <a:lnTo>
                      <a:pt x="51" y="6"/>
                    </a:lnTo>
                    <a:lnTo>
                      <a:pt x="59" y="3"/>
                    </a:lnTo>
                    <a:lnTo>
                      <a:pt x="67" y="1"/>
                    </a:lnTo>
                    <a:lnTo>
                      <a:pt x="75" y="0"/>
                    </a:lnTo>
                    <a:lnTo>
                      <a:pt x="84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00B0F0"/>
                  </a:gs>
                  <a:gs pos="74000">
                    <a:srgbClr val="002060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55" name="Freeform 31"/>
              <p:cNvSpPr>
                <a:spLocks/>
              </p:cNvSpPr>
              <p:nvPr/>
            </p:nvSpPr>
            <p:spPr bwMode="auto">
              <a:xfrm>
                <a:off x="3876892" y="1274820"/>
                <a:ext cx="10899" cy="10899"/>
              </a:xfrm>
              <a:custGeom>
                <a:avLst/>
                <a:gdLst>
                  <a:gd name="T0" fmla="*/ 23 w 46"/>
                  <a:gd name="T1" fmla="*/ 0 h 47"/>
                  <a:gd name="T2" fmla="*/ 27 w 46"/>
                  <a:gd name="T3" fmla="*/ 1 h 47"/>
                  <a:gd name="T4" fmla="*/ 32 w 46"/>
                  <a:gd name="T5" fmla="*/ 2 h 47"/>
                  <a:gd name="T6" fmla="*/ 35 w 46"/>
                  <a:gd name="T7" fmla="*/ 5 h 47"/>
                  <a:gd name="T8" fmla="*/ 39 w 46"/>
                  <a:gd name="T9" fmla="*/ 7 h 47"/>
                  <a:gd name="T10" fmla="*/ 42 w 46"/>
                  <a:gd name="T11" fmla="*/ 10 h 47"/>
                  <a:gd name="T12" fmla="*/ 45 w 46"/>
                  <a:gd name="T13" fmla="*/ 15 h 47"/>
                  <a:gd name="T14" fmla="*/ 46 w 46"/>
                  <a:gd name="T15" fmla="*/ 18 h 47"/>
                  <a:gd name="T16" fmla="*/ 46 w 46"/>
                  <a:gd name="T17" fmla="*/ 24 h 47"/>
                  <a:gd name="T18" fmla="*/ 46 w 46"/>
                  <a:gd name="T19" fmla="*/ 28 h 47"/>
                  <a:gd name="T20" fmla="*/ 45 w 46"/>
                  <a:gd name="T21" fmla="*/ 32 h 47"/>
                  <a:gd name="T22" fmla="*/ 42 w 46"/>
                  <a:gd name="T23" fmla="*/ 36 h 47"/>
                  <a:gd name="T24" fmla="*/ 39 w 46"/>
                  <a:gd name="T25" fmla="*/ 40 h 47"/>
                  <a:gd name="T26" fmla="*/ 35 w 46"/>
                  <a:gd name="T27" fmla="*/ 42 h 47"/>
                  <a:gd name="T28" fmla="*/ 32 w 46"/>
                  <a:gd name="T29" fmla="*/ 44 h 47"/>
                  <a:gd name="T30" fmla="*/ 27 w 46"/>
                  <a:gd name="T31" fmla="*/ 46 h 47"/>
                  <a:gd name="T32" fmla="*/ 23 w 46"/>
                  <a:gd name="T33" fmla="*/ 47 h 47"/>
                  <a:gd name="T34" fmla="*/ 18 w 46"/>
                  <a:gd name="T35" fmla="*/ 46 h 47"/>
                  <a:gd name="T36" fmla="*/ 14 w 46"/>
                  <a:gd name="T37" fmla="*/ 44 h 47"/>
                  <a:gd name="T38" fmla="*/ 10 w 46"/>
                  <a:gd name="T39" fmla="*/ 42 h 47"/>
                  <a:gd name="T40" fmla="*/ 7 w 46"/>
                  <a:gd name="T41" fmla="*/ 40 h 47"/>
                  <a:gd name="T42" fmla="*/ 4 w 46"/>
                  <a:gd name="T43" fmla="*/ 36 h 47"/>
                  <a:gd name="T44" fmla="*/ 1 w 46"/>
                  <a:gd name="T45" fmla="*/ 32 h 47"/>
                  <a:gd name="T46" fmla="*/ 0 w 46"/>
                  <a:gd name="T47" fmla="*/ 28 h 47"/>
                  <a:gd name="T48" fmla="*/ 0 w 46"/>
                  <a:gd name="T49" fmla="*/ 24 h 47"/>
                  <a:gd name="T50" fmla="*/ 0 w 46"/>
                  <a:gd name="T51" fmla="*/ 18 h 47"/>
                  <a:gd name="T52" fmla="*/ 1 w 46"/>
                  <a:gd name="T53" fmla="*/ 15 h 47"/>
                  <a:gd name="T54" fmla="*/ 4 w 46"/>
                  <a:gd name="T55" fmla="*/ 10 h 47"/>
                  <a:gd name="T56" fmla="*/ 7 w 46"/>
                  <a:gd name="T57" fmla="*/ 7 h 47"/>
                  <a:gd name="T58" fmla="*/ 10 w 46"/>
                  <a:gd name="T59" fmla="*/ 5 h 47"/>
                  <a:gd name="T60" fmla="*/ 14 w 46"/>
                  <a:gd name="T61" fmla="*/ 2 h 47"/>
                  <a:gd name="T62" fmla="*/ 18 w 46"/>
                  <a:gd name="T63" fmla="*/ 1 h 47"/>
                  <a:gd name="T64" fmla="*/ 23 w 46"/>
                  <a:gd name="T65" fmla="*/ 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6" h="47">
                    <a:moveTo>
                      <a:pt x="23" y="0"/>
                    </a:moveTo>
                    <a:lnTo>
                      <a:pt x="27" y="1"/>
                    </a:lnTo>
                    <a:lnTo>
                      <a:pt x="32" y="2"/>
                    </a:lnTo>
                    <a:lnTo>
                      <a:pt x="35" y="5"/>
                    </a:lnTo>
                    <a:lnTo>
                      <a:pt x="39" y="7"/>
                    </a:lnTo>
                    <a:lnTo>
                      <a:pt x="42" y="10"/>
                    </a:lnTo>
                    <a:lnTo>
                      <a:pt x="45" y="15"/>
                    </a:lnTo>
                    <a:lnTo>
                      <a:pt x="46" y="18"/>
                    </a:lnTo>
                    <a:lnTo>
                      <a:pt x="46" y="24"/>
                    </a:lnTo>
                    <a:lnTo>
                      <a:pt x="46" y="28"/>
                    </a:lnTo>
                    <a:lnTo>
                      <a:pt x="45" y="32"/>
                    </a:lnTo>
                    <a:lnTo>
                      <a:pt x="42" y="36"/>
                    </a:lnTo>
                    <a:lnTo>
                      <a:pt x="39" y="40"/>
                    </a:lnTo>
                    <a:lnTo>
                      <a:pt x="35" y="42"/>
                    </a:lnTo>
                    <a:lnTo>
                      <a:pt x="32" y="44"/>
                    </a:lnTo>
                    <a:lnTo>
                      <a:pt x="27" y="46"/>
                    </a:lnTo>
                    <a:lnTo>
                      <a:pt x="23" y="47"/>
                    </a:lnTo>
                    <a:lnTo>
                      <a:pt x="18" y="46"/>
                    </a:lnTo>
                    <a:lnTo>
                      <a:pt x="14" y="44"/>
                    </a:lnTo>
                    <a:lnTo>
                      <a:pt x="10" y="42"/>
                    </a:lnTo>
                    <a:lnTo>
                      <a:pt x="7" y="40"/>
                    </a:lnTo>
                    <a:lnTo>
                      <a:pt x="4" y="36"/>
                    </a:lnTo>
                    <a:lnTo>
                      <a:pt x="1" y="32"/>
                    </a:lnTo>
                    <a:lnTo>
                      <a:pt x="0" y="28"/>
                    </a:lnTo>
                    <a:lnTo>
                      <a:pt x="0" y="24"/>
                    </a:lnTo>
                    <a:lnTo>
                      <a:pt x="0" y="18"/>
                    </a:lnTo>
                    <a:lnTo>
                      <a:pt x="1" y="15"/>
                    </a:lnTo>
                    <a:lnTo>
                      <a:pt x="4" y="10"/>
                    </a:lnTo>
                    <a:lnTo>
                      <a:pt x="7" y="7"/>
                    </a:lnTo>
                    <a:lnTo>
                      <a:pt x="10" y="5"/>
                    </a:lnTo>
                    <a:lnTo>
                      <a:pt x="14" y="2"/>
                    </a:lnTo>
                    <a:lnTo>
                      <a:pt x="18" y="1"/>
                    </a:lnTo>
                    <a:lnTo>
                      <a:pt x="23" y="0"/>
                    </a:lnTo>
                    <a:close/>
                  </a:path>
                </a:pathLst>
              </a:custGeom>
              <a:solidFill>
                <a:srgbClr val="E6E7E8">
                  <a:alpha val="50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56" name="Freeform 32"/>
              <p:cNvSpPr>
                <a:spLocks/>
              </p:cNvSpPr>
              <p:nvPr/>
            </p:nvSpPr>
            <p:spPr bwMode="auto">
              <a:xfrm>
                <a:off x="3894775" y="1269392"/>
                <a:ext cx="6813" cy="6813"/>
              </a:xfrm>
              <a:custGeom>
                <a:avLst/>
                <a:gdLst>
                  <a:gd name="T0" fmla="*/ 15 w 30"/>
                  <a:gd name="T1" fmla="*/ 0 h 31"/>
                  <a:gd name="T2" fmla="*/ 18 w 30"/>
                  <a:gd name="T3" fmla="*/ 0 h 31"/>
                  <a:gd name="T4" fmla="*/ 20 w 30"/>
                  <a:gd name="T5" fmla="*/ 1 h 31"/>
                  <a:gd name="T6" fmla="*/ 24 w 30"/>
                  <a:gd name="T7" fmla="*/ 2 h 31"/>
                  <a:gd name="T8" fmla="*/ 26 w 30"/>
                  <a:gd name="T9" fmla="*/ 4 h 31"/>
                  <a:gd name="T10" fmla="*/ 27 w 30"/>
                  <a:gd name="T11" fmla="*/ 7 h 31"/>
                  <a:gd name="T12" fmla="*/ 29 w 30"/>
                  <a:gd name="T13" fmla="*/ 9 h 31"/>
                  <a:gd name="T14" fmla="*/ 29 w 30"/>
                  <a:gd name="T15" fmla="*/ 11 h 31"/>
                  <a:gd name="T16" fmla="*/ 30 w 30"/>
                  <a:gd name="T17" fmla="*/ 15 h 31"/>
                  <a:gd name="T18" fmla="*/ 29 w 30"/>
                  <a:gd name="T19" fmla="*/ 18 h 31"/>
                  <a:gd name="T20" fmla="*/ 29 w 30"/>
                  <a:gd name="T21" fmla="*/ 20 h 31"/>
                  <a:gd name="T22" fmla="*/ 27 w 30"/>
                  <a:gd name="T23" fmla="*/ 24 h 31"/>
                  <a:gd name="T24" fmla="*/ 26 w 30"/>
                  <a:gd name="T25" fmla="*/ 26 h 31"/>
                  <a:gd name="T26" fmla="*/ 24 w 30"/>
                  <a:gd name="T27" fmla="*/ 27 h 31"/>
                  <a:gd name="T28" fmla="*/ 20 w 30"/>
                  <a:gd name="T29" fmla="*/ 28 h 31"/>
                  <a:gd name="T30" fmla="*/ 18 w 30"/>
                  <a:gd name="T31" fmla="*/ 30 h 31"/>
                  <a:gd name="T32" fmla="*/ 15 w 30"/>
                  <a:gd name="T33" fmla="*/ 31 h 31"/>
                  <a:gd name="T34" fmla="*/ 11 w 30"/>
                  <a:gd name="T35" fmla="*/ 30 h 31"/>
                  <a:gd name="T36" fmla="*/ 9 w 30"/>
                  <a:gd name="T37" fmla="*/ 28 h 31"/>
                  <a:gd name="T38" fmla="*/ 7 w 30"/>
                  <a:gd name="T39" fmla="*/ 27 h 31"/>
                  <a:gd name="T40" fmla="*/ 4 w 30"/>
                  <a:gd name="T41" fmla="*/ 26 h 31"/>
                  <a:gd name="T42" fmla="*/ 2 w 30"/>
                  <a:gd name="T43" fmla="*/ 24 h 31"/>
                  <a:gd name="T44" fmla="*/ 1 w 30"/>
                  <a:gd name="T45" fmla="*/ 20 h 31"/>
                  <a:gd name="T46" fmla="*/ 0 w 30"/>
                  <a:gd name="T47" fmla="*/ 18 h 31"/>
                  <a:gd name="T48" fmla="*/ 0 w 30"/>
                  <a:gd name="T49" fmla="*/ 15 h 31"/>
                  <a:gd name="T50" fmla="*/ 0 w 30"/>
                  <a:gd name="T51" fmla="*/ 11 h 31"/>
                  <a:gd name="T52" fmla="*/ 1 w 30"/>
                  <a:gd name="T53" fmla="*/ 9 h 31"/>
                  <a:gd name="T54" fmla="*/ 2 w 30"/>
                  <a:gd name="T55" fmla="*/ 7 h 31"/>
                  <a:gd name="T56" fmla="*/ 4 w 30"/>
                  <a:gd name="T57" fmla="*/ 4 h 31"/>
                  <a:gd name="T58" fmla="*/ 7 w 30"/>
                  <a:gd name="T59" fmla="*/ 2 h 31"/>
                  <a:gd name="T60" fmla="*/ 9 w 30"/>
                  <a:gd name="T61" fmla="*/ 1 h 31"/>
                  <a:gd name="T62" fmla="*/ 11 w 30"/>
                  <a:gd name="T63" fmla="*/ 0 h 31"/>
                  <a:gd name="T64" fmla="*/ 15 w 30"/>
                  <a:gd name="T65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31">
                    <a:moveTo>
                      <a:pt x="15" y="0"/>
                    </a:moveTo>
                    <a:lnTo>
                      <a:pt x="18" y="0"/>
                    </a:lnTo>
                    <a:lnTo>
                      <a:pt x="20" y="1"/>
                    </a:lnTo>
                    <a:lnTo>
                      <a:pt x="24" y="2"/>
                    </a:lnTo>
                    <a:lnTo>
                      <a:pt x="26" y="4"/>
                    </a:lnTo>
                    <a:lnTo>
                      <a:pt x="27" y="7"/>
                    </a:lnTo>
                    <a:lnTo>
                      <a:pt x="29" y="9"/>
                    </a:lnTo>
                    <a:lnTo>
                      <a:pt x="29" y="11"/>
                    </a:lnTo>
                    <a:lnTo>
                      <a:pt x="30" y="15"/>
                    </a:lnTo>
                    <a:lnTo>
                      <a:pt x="29" y="18"/>
                    </a:lnTo>
                    <a:lnTo>
                      <a:pt x="29" y="20"/>
                    </a:lnTo>
                    <a:lnTo>
                      <a:pt x="27" y="24"/>
                    </a:lnTo>
                    <a:lnTo>
                      <a:pt x="26" y="26"/>
                    </a:lnTo>
                    <a:lnTo>
                      <a:pt x="24" y="27"/>
                    </a:lnTo>
                    <a:lnTo>
                      <a:pt x="20" y="28"/>
                    </a:lnTo>
                    <a:lnTo>
                      <a:pt x="18" y="30"/>
                    </a:lnTo>
                    <a:lnTo>
                      <a:pt x="15" y="31"/>
                    </a:lnTo>
                    <a:lnTo>
                      <a:pt x="11" y="30"/>
                    </a:lnTo>
                    <a:lnTo>
                      <a:pt x="9" y="28"/>
                    </a:lnTo>
                    <a:lnTo>
                      <a:pt x="7" y="27"/>
                    </a:lnTo>
                    <a:lnTo>
                      <a:pt x="4" y="26"/>
                    </a:lnTo>
                    <a:lnTo>
                      <a:pt x="2" y="24"/>
                    </a:lnTo>
                    <a:lnTo>
                      <a:pt x="1" y="20"/>
                    </a:lnTo>
                    <a:lnTo>
                      <a:pt x="0" y="18"/>
                    </a:lnTo>
                    <a:lnTo>
                      <a:pt x="0" y="15"/>
                    </a:lnTo>
                    <a:lnTo>
                      <a:pt x="0" y="11"/>
                    </a:lnTo>
                    <a:lnTo>
                      <a:pt x="1" y="9"/>
                    </a:lnTo>
                    <a:lnTo>
                      <a:pt x="2" y="7"/>
                    </a:lnTo>
                    <a:lnTo>
                      <a:pt x="4" y="4"/>
                    </a:lnTo>
                    <a:lnTo>
                      <a:pt x="7" y="2"/>
                    </a:lnTo>
                    <a:lnTo>
                      <a:pt x="9" y="1"/>
                    </a:lnTo>
                    <a:lnTo>
                      <a:pt x="11" y="0"/>
                    </a:lnTo>
                    <a:lnTo>
                      <a:pt x="15" y="0"/>
                    </a:lnTo>
                    <a:close/>
                  </a:path>
                </a:pathLst>
              </a:custGeom>
              <a:solidFill>
                <a:srgbClr val="E6E7E8">
                  <a:alpha val="50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245" name="Group 244"/>
            <p:cNvGrpSpPr/>
            <p:nvPr/>
          </p:nvGrpSpPr>
          <p:grpSpPr>
            <a:xfrm>
              <a:off x="4169297" y="4842232"/>
              <a:ext cx="387467" cy="387467"/>
              <a:chOff x="5940539" y="5094371"/>
              <a:chExt cx="371944" cy="371944"/>
            </a:xfrm>
          </p:grpSpPr>
          <p:sp>
            <p:nvSpPr>
              <p:cNvPr id="249" name="Freeform 33"/>
              <p:cNvSpPr>
                <a:spLocks/>
              </p:cNvSpPr>
              <p:nvPr/>
            </p:nvSpPr>
            <p:spPr bwMode="auto">
              <a:xfrm>
                <a:off x="5940539" y="5094371"/>
                <a:ext cx="371944" cy="371944"/>
              </a:xfrm>
              <a:custGeom>
                <a:avLst/>
                <a:gdLst>
                  <a:gd name="T0" fmla="*/ 904 w 1639"/>
                  <a:gd name="T1" fmla="*/ 5 h 1638"/>
                  <a:gd name="T2" fmla="*/ 1025 w 1639"/>
                  <a:gd name="T3" fmla="*/ 27 h 1638"/>
                  <a:gd name="T4" fmla="*/ 1139 w 1639"/>
                  <a:gd name="T5" fmla="*/ 64 h 1638"/>
                  <a:gd name="T6" fmla="*/ 1245 w 1639"/>
                  <a:gd name="T7" fmla="*/ 119 h 1638"/>
                  <a:gd name="T8" fmla="*/ 1342 w 1639"/>
                  <a:gd name="T9" fmla="*/ 187 h 1638"/>
                  <a:gd name="T10" fmla="*/ 1427 w 1639"/>
                  <a:gd name="T11" fmla="*/ 268 h 1638"/>
                  <a:gd name="T12" fmla="*/ 1500 w 1639"/>
                  <a:gd name="T13" fmla="*/ 362 h 1638"/>
                  <a:gd name="T14" fmla="*/ 1560 w 1639"/>
                  <a:gd name="T15" fmla="*/ 464 h 1638"/>
                  <a:gd name="T16" fmla="*/ 1603 w 1639"/>
                  <a:gd name="T17" fmla="*/ 576 h 1638"/>
                  <a:gd name="T18" fmla="*/ 1630 w 1639"/>
                  <a:gd name="T19" fmla="*/ 695 h 1638"/>
                  <a:gd name="T20" fmla="*/ 1639 w 1639"/>
                  <a:gd name="T21" fmla="*/ 820 h 1638"/>
                  <a:gd name="T22" fmla="*/ 1630 w 1639"/>
                  <a:gd name="T23" fmla="*/ 944 h 1638"/>
                  <a:gd name="T24" fmla="*/ 1603 w 1639"/>
                  <a:gd name="T25" fmla="*/ 1063 h 1638"/>
                  <a:gd name="T26" fmla="*/ 1560 w 1639"/>
                  <a:gd name="T27" fmla="*/ 1174 h 1638"/>
                  <a:gd name="T28" fmla="*/ 1500 w 1639"/>
                  <a:gd name="T29" fmla="*/ 1278 h 1638"/>
                  <a:gd name="T30" fmla="*/ 1427 w 1639"/>
                  <a:gd name="T31" fmla="*/ 1371 h 1638"/>
                  <a:gd name="T32" fmla="*/ 1342 w 1639"/>
                  <a:gd name="T33" fmla="*/ 1452 h 1638"/>
                  <a:gd name="T34" fmla="*/ 1245 w 1639"/>
                  <a:gd name="T35" fmla="*/ 1520 h 1638"/>
                  <a:gd name="T36" fmla="*/ 1139 w 1639"/>
                  <a:gd name="T37" fmla="*/ 1575 h 1638"/>
                  <a:gd name="T38" fmla="*/ 1025 w 1639"/>
                  <a:gd name="T39" fmla="*/ 1613 h 1638"/>
                  <a:gd name="T40" fmla="*/ 904 w 1639"/>
                  <a:gd name="T41" fmla="*/ 1635 h 1638"/>
                  <a:gd name="T42" fmla="*/ 778 w 1639"/>
                  <a:gd name="T43" fmla="*/ 1637 h 1638"/>
                  <a:gd name="T44" fmla="*/ 655 w 1639"/>
                  <a:gd name="T45" fmla="*/ 1623 h 1638"/>
                  <a:gd name="T46" fmla="*/ 539 w 1639"/>
                  <a:gd name="T47" fmla="*/ 1589 h 1638"/>
                  <a:gd name="T48" fmla="*/ 429 w 1639"/>
                  <a:gd name="T49" fmla="*/ 1540 h 1638"/>
                  <a:gd name="T50" fmla="*/ 330 w 1639"/>
                  <a:gd name="T51" fmla="*/ 1477 h 1638"/>
                  <a:gd name="T52" fmla="*/ 241 w 1639"/>
                  <a:gd name="T53" fmla="*/ 1399 h 1638"/>
                  <a:gd name="T54" fmla="*/ 163 w 1639"/>
                  <a:gd name="T55" fmla="*/ 1310 h 1638"/>
                  <a:gd name="T56" fmla="*/ 100 w 1639"/>
                  <a:gd name="T57" fmla="*/ 1210 h 1638"/>
                  <a:gd name="T58" fmla="*/ 51 w 1639"/>
                  <a:gd name="T59" fmla="*/ 1102 h 1638"/>
                  <a:gd name="T60" fmla="*/ 17 w 1639"/>
                  <a:gd name="T61" fmla="*/ 985 h 1638"/>
                  <a:gd name="T62" fmla="*/ 1 w 1639"/>
                  <a:gd name="T63" fmla="*/ 862 h 1638"/>
                  <a:gd name="T64" fmla="*/ 5 w 1639"/>
                  <a:gd name="T65" fmla="*/ 736 h 1638"/>
                  <a:gd name="T66" fmla="*/ 27 w 1639"/>
                  <a:gd name="T67" fmla="*/ 615 h 1638"/>
                  <a:gd name="T68" fmla="*/ 65 w 1639"/>
                  <a:gd name="T69" fmla="*/ 501 h 1638"/>
                  <a:gd name="T70" fmla="*/ 119 w 1639"/>
                  <a:gd name="T71" fmla="*/ 395 h 1638"/>
                  <a:gd name="T72" fmla="*/ 187 w 1639"/>
                  <a:gd name="T73" fmla="*/ 299 h 1638"/>
                  <a:gd name="T74" fmla="*/ 270 w 1639"/>
                  <a:gd name="T75" fmla="*/ 213 h 1638"/>
                  <a:gd name="T76" fmla="*/ 362 w 1639"/>
                  <a:gd name="T77" fmla="*/ 141 h 1638"/>
                  <a:gd name="T78" fmla="*/ 465 w 1639"/>
                  <a:gd name="T79" fmla="*/ 81 h 1638"/>
                  <a:gd name="T80" fmla="*/ 576 w 1639"/>
                  <a:gd name="T81" fmla="*/ 37 h 1638"/>
                  <a:gd name="T82" fmla="*/ 695 w 1639"/>
                  <a:gd name="T83" fmla="*/ 9 h 1638"/>
                  <a:gd name="T84" fmla="*/ 820 w 1639"/>
                  <a:gd name="T85" fmla="*/ 0 h 16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639" h="1638">
                    <a:moveTo>
                      <a:pt x="820" y="0"/>
                    </a:moveTo>
                    <a:lnTo>
                      <a:pt x="863" y="1"/>
                    </a:lnTo>
                    <a:lnTo>
                      <a:pt x="904" y="5"/>
                    </a:lnTo>
                    <a:lnTo>
                      <a:pt x="945" y="9"/>
                    </a:lnTo>
                    <a:lnTo>
                      <a:pt x="986" y="17"/>
                    </a:lnTo>
                    <a:lnTo>
                      <a:pt x="1025" y="27"/>
                    </a:lnTo>
                    <a:lnTo>
                      <a:pt x="1063" y="37"/>
                    </a:lnTo>
                    <a:lnTo>
                      <a:pt x="1102" y="50"/>
                    </a:lnTo>
                    <a:lnTo>
                      <a:pt x="1139" y="64"/>
                    </a:lnTo>
                    <a:lnTo>
                      <a:pt x="1175" y="81"/>
                    </a:lnTo>
                    <a:lnTo>
                      <a:pt x="1211" y="99"/>
                    </a:lnTo>
                    <a:lnTo>
                      <a:pt x="1245" y="119"/>
                    </a:lnTo>
                    <a:lnTo>
                      <a:pt x="1279" y="141"/>
                    </a:lnTo>
                    <a:lnTo>
                      <a:pt x="1311" y="163"/>
                    </a:lnTo>
                    <a:lnTo>
                      <a:pt x="1342" y="187"/>
                    </a:lnTo>
                    <a:lnTo>
                      <a:pt x="1371" y="213"/>
                    </a:lnTo>
                    <a:lnTo>
                      <a:pt x="1400" y="240"/>
                    </a:lnTo>
                    <a:lnTo>
                      <a:pt x="1427" y="268"/>
                    </a:lnTo>
                    <a:lnTo>
                      <a:pt x="1452" y="299"/>
                    </a:lnTo>
                    <a:lnTo>
                      <a:pt x="1477" y="330"/>
                    </a:lnTo>
                    <a:lnTo>
                      <a:pt x="1500" y="362"/>
                    </a:lnTo>
                    <a:lnTo>
                      <a:pt x="1521" y="395"/>
                    </a:lnTo>
                    <a:lnTo>
                      <a:pt x="1541" y="429"/>
                    </a:lnTo>
                    <a:lnTo>
                      <a:pt x="1560" y="464"/>
                    </a:lnTo>
                    <a:lnTo>
                      <a:pt x="1576" y="501"/>
                    </a:lnTo>
                    <a:lnTo>
                      <a:pt x="1590" y="538"/>
                    </a:lnTo>
                    <a:lnTo>
                      <a:pt x="1603" y="576"/>
                    </a:lnTo>
                    <a:lnTo>
                      <a:pt x="1614" y="615"/>
                    </a:lnTo>
                    <a:lnTo>
                      <a:pt x="1623" y="655"/>
                    </a:lnTo>
                    <a:lnTo>
                      <a:pt x="1630" y="695"/>
                    </a:lnTo>
                    <a:lnTo>
                      <a:pt x="1636" y="736"/>
                    </a:lnTo>
                    <a:lnTo>
                      <a:pt x="1638" y="778"/>
                    </a:lnTo>
                    <a:lnTo>
                      <a:pt x="1639" y="820"/>
                    </a:lnTo>
                    <a:lnTo>
                      <a:pt x="1638" y="862"/>
                    </a:lnTo>
                    <a:lnTo>
                      <a:pt x="1636" y="903"/>
                    </a:lnTo>
                    <a:lnTo>
                      <a:pt x="1630" y="944"/>
                    </a:lnTo>
                    <a:lnTo>
                      <a:pt x="1623" y="985"/>
                    </a:lnTo>
                    <a:lnTo>
                      <a:pt x="1614" y="1024"/>
                    </a:lnTo>
                    <a:lnTo>
                      <a:pt x="1603" y="1063"/>
                    </a:lnTo>
                    <a:lnTo>
                      <a:pt x="1590" y="1102"/>
                    </a:lnTo>
                    <a:lnTo>
                      <a:pt x="1576" y="1138"/>
                    </a:lnTo>
                    <a:lnTo>
                      <a:pt x="1560" y="1174"/>
                    </a:lnTo>
                    <a:lnTo>
                      <a:pt x="1541" y="1210"/>
                    </a:lnTo>
                    <a:lnTo>
                      <a:pt x="1521" y="1244"/>
                    </a:lnTo>
                    <a:lnTo>
                      <a:pt x="1500" y="1278"/>
                    </a:lnTo>
                    <a:lnTo>
                      <a:pt x="1477" y="1310"/>
                    </a:lnTo>
                    <a:lnTo>
                      <a:pt x="1452" y="1341"/>
                    </a:lnTo>
                    <a:lnTo>
                      <a:pt x="1427" y="1371"/>
                    </a:lnTo>
                    <a:lnTo>
                      <a:pt x="1400" y="1399"/>
                    </a:lnTo>
                    <a:lnTo>
                      <a:pt x="1371" y="1426"/>
                    </a:lnTo>
                    <a:lnTo>
                      <a:pt x="1342" y="1452"/>
                    </a:lnTo>
                    <a:lnTo>
                      <a:pt x="1311" y="1477"/>
                    </a:lnTo>
                    <a:lnTo>
                      <a:pt x="1279" y="1499"/>
                    </a:lnTo>
                    <a:lnTo>
                      <a:pt x="1245" y="1520"/>
                    </a:lnTo>
                    <a:lnTo>
                      <a:pt x="1211" y="1540"/>
                    </a:lnTo>
                    <a:lnTo>
                      <a:pt x="1175" y="1558"/>
                    </a:lnTo>
                    <a:lnTo>
                      <a:pt x="1139" y="1575"/>
                    </a:lnTo>
                    <a:lnTo>
                      <a:pt x="1102" y="1589"/>
                    </a:lnTo>
                    <a:lnTo>
                      <a:pt x="1063" y="1602"/>
                    </a:lnTo>
                    <a:lnTo>
                      <a:pt x="1025" y="1613"/>
                    </a:lnTo>
                    <a:lnTo>
                      <a:pt x="986" y="1623"/>
                    </a:lnTo>
                    <a:lnTo>
                      <a:pt x="945" y="1629"/>
                    </a:lnTo>
                    <a:lnTo>
                      <a:pt x="904" y="1635"/>
                    </a:lnTo>
                    <a:lnTo>
                      <a:pt x="863" y="1637"/>
                    </a:lnTo>
                    <a:lnTo>
                      <a:pt x="820" y="1638"/>
                    </a:lnTo>
                    <a:lnTo>
                      <a:pt x="778" y="1637"/>
                    </a:lnTo>
                    <a:lnTo>
                      <a:pt x="736" y="1635"/>
                    </a:lnTo>
                    <a:lnTo>
                      <a:pt x="695" y="1629"/>
                    </a:lnTo>
                    <a:lnTo>
                      <a:pt x="655" y="1623"/>
                    </a:lnTo>
                    <a:lnTo>
                      <a:pt x="615" y="1613"/>
                    </a:lnTo>
                    <a:lnTo>
                      <a:pt x="576" y="1602"/>
                    </a:lnTo>
                    <a:lnTo>
                      <a:pt x="539" y="1589"/>
                    </a:lnTo>
                    <a:lnTo>
                      <a:pt x="501" y="1575"/>
                    </a:lnTo>
                    <a:lnTo>
                      <a:pt x="465" y="1558"/>
                    </a:lnTo>
                    <a:lnTo>
                      <a:pt x="429" y="1540"/>
                    </a:lnTo>
                    <a:lnTo>
                      <a:pt x="395" y="1520"/>
                    </a:lnTo>
                    <a:lnTo>
                      <a:pt x="362" y="1499"/>
                    </a:lnTo>
                    <a:lnTo>
                      <a:pt x="330" y="1477"/>
                    </a:lnTo>
                    <a:lnTo>
                      <a:pt x="299" y="1452"/>
                    </a:lnTo>
                    <a:lnTo>
                      <a:pt x="270" y="1426"/>
                    </a:lnTo>
                    <a:lnTo>
                      <a:pt x="241" y="1399"/>
                    </a:lnTo>
                    <a:lnTo>
                      <a:pt x="214" y="1371"/>
                    </a:lnTo>
                    <a:lnTo>
                      <a:pt x="187" y="1341"/>
                    </a:lnTo>
                    <a:lnTo>
                      <a:pt x="163" y="1310"/>
                    </a:lnTo>
                    <a:lnTo>
                      <a:pt x="141" y="1278"/>
                    </a:lnTo>
                    <a:lnTo>
                      <a:pt x="119" y="1244"/>
                    </a:lnTo>
                    <a:lnTo>
                      <a:pt x="100" y="1210"/>
                    </a:lnTo>
                    <a:lnTo>
                      <a:pt x="81" y="1174"/>
                    </a:lnTo>
                    <a:lnTo>
                      <a:pt x="65" y="1138"/>
                    </a:lnTo>
                    <a:lnTo>
                      <a:pt x="51" y="1102"/>
                    </a:lnTo>
                    <a:lnTo>
                      <a:pt x="37" y="1063"/>
                    </a:lnTo>
                    <a:lnTo>
                      <a:pt x="27" y="1024"/>
                    </a:lnTo>
                    <a:lnTo>
                      <a:pt x="17" y="985"/>
                    </a:lnTo>
                    <a:lnTo>
                      <a:pt x="9" y="944"/>
                    </a:lnTo>
                    <a:lnTo>
                      <a:pt x="5" y="903"/>
                    </a:lnTo>
                    <a:lnTo>
                      <a:pt x="1" y="862"/>
                    </a:lnTo>
                    <a:lnTo>
                      <a:pt x="0" y="820"/>
                    </a:lnTo>
                    <a:lnTo>
                      <a:pt x="1" y="778"/>
                    </a:lnTo>
                    <a:lnTo>
                      <a:pt x="5" y="736"/>
                    </a:lnTo>
                    <a:lnTo>
                      <a:pt x="9" y="695"/>
                    </a:lnTo>
                    <a:lnTo>
                      <a:pt x="17" y="655"/>
                    </a:lnTo>
                    <a:lnTo>
                      <a:pt x="27" y="615"/>
                    </a:lnTo>
                    <a:lnTo>
                      <a:pt x="37" y="576"/>
                    </a:lnTo>
                    <a:lnTo>
                      <a:pt x="51" y="538"/>
                    </a:lnTo>
                    <a:lnTo>
                      <a:pt x="65" y="501"/>
                    </a:lnTo>
                    <a:lnTo>
                      <a:pt x="81" y="464"/>
                    </a:lnTo>
                    <a:lnTo>
                      <a:pt x="100" y="429"/>
                    </a:lnTo>
                    <a:lnTo>
                      <a:pt x="119" y="395"/>
                    </a:lnTo>
                    <a:lnTo>
                      <a:pt x="141" y="362"/>
                    </a:lnTo>
                    <a:lnTo>
                      <a:pt x="163" y="330"/>
                    </a:lnTo>
                    <a:lnTo>
                      <a:pt x="187" y="299"/>
                    </a:lnTo>
                    <a:lnTo>
                      <a:pt x="214" y="268"/>
                    </a:lnTo>
                    <a:lnTo>
                      <a:pt x="241" y="240"/>
                    </a:lnTo>
                    <a:lnTo>
                      <a:pt x="270" y="213"/>
                    </a:lnTo>
                    <a:lnTo>
                      <a:pt x="299" y="187"/>
                    </a:lnTo>
                    <a:lnTo>
                      <a:pt x="330" y="163"/>
                    </a:lnTo>
                    <a:lnTo>
                      <a:pt x="362" y="141"/>
                    </a:lnTo>
                    <a:lnTo>
                      <a:pt x="395" y="119"/>
                    </a:lnTo>
                    <a:lnTo>
                      <a:pt x="429" y="99"/>
                    </a:lnTo>
                    <a:lnTo>
                      <a:pt x="465" y="81"/>
                    </a:lnTo>
                    <a:lnTo>
                      <a:pt x="501" y="64"/>
                    </a:lnTo>
                    <a:lnTo>
                      <a:pt x="539" y="50"/>
                    </a:lnTo>
                    <a:lnTo>
                      <a:pt x="576" y="37"/>
                    </a:lnTo>
                    <a:lnTo>
                      <a:pt x="615" y="27"/>
                    </a:lnTo>
                    <a:lnTo>
                      <a:pt x="655" y="17"/>
                    </a:lnTo>
                    <a:lnTo>
                      <a:pt x="695" y="9"/>
                    </a:lnTo>
                    <a:lnTo>
                      <a:pt x="736" y="5"/>
                    </a:lnTo>
                    <a:lnTo>
                      <a:pt x="778" y="1"/>
                    </a:lnTo>
                    <a:lnTo>
                      <a:pt x="820" y="0"/>
                    </a:lnTo>
                    <a:close/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50" name="Freeform 34"/>
              <p:cNvSpPr>
                <a:spLocks/>
              </p:cNvSpPr>
              <p:nvPr/>
            </p:nvSpPr>
            <p:spPr bwMode="auto">
              <a:xfrm>
                <a:off x="5951439" y="5105271"/>
                <a:ext cx="351507" cy="351507"/>
              </a:xfrm>
              <a:custGeom>
                <a:avLst/>
                <a:gdLst>
                  <a:gd name="T0" fmla="*/ 853 w 1548"/>
                  <a:gd name="T1" fmla="*/ 4 h 1547"/>
                  <a:gd name="T2" fmla="*/ 967 w 1548"/>
                  <a:gd name="T3" fmla="*/ 25 h 1547"/>
                  <a:gd name="T4" fmla="*/ 1076 w 1548"/>
                  <a:gd name="T5" fmla="*/ 61 h 1547"/>
                  <a:gd name="T6" fmla="*/ 1176 w 1548"/>
                  <a:gd name="T7" fmla="*/ 112 h 1547"/>
                  <a:gd name="T8" fmla="*/ 1266 w 1548"/>
                  <a:gd name="T9" fmla="*/ 177 h 1547"/>
                  <a:gd name="T10" fmla="*/ 1347 w 1548"/>
                  <a:gd name="T11" fmla="*/ 254 h 1547"/>
                  <a:gd name="T12" fmla="*/ 1415 w 1548"/>
                  <a:gd name="T13" fmla="*/ 341 h 1547"/>
                  <a:gd name="T14" fmla="*/ 1471 w 1548"/>
                  <a:gd name="T15" fmla="*/ 439 h 1547"/>
                  <a:gd name="T16" fmla="*/ 1514 w 1548"/>
                  <a:gd name="T17" fmla="*/ 544 h 1547"/>
                  <a:gd name="T18" fmla="*/ 1539 w 1548"/>
                  <a:gd name="T19" fmla="*/ 655 h 1547"/>
                  <a:gd name="T20" fmla="*/ 1548 w 1548"/>
                  <a:gd name="T21" fmla="*/ 774 h 1547"/>
                  <a:gd name="T22" fmla="*/ 1539 w 1548"/>
                  <a:gd name="T23" fmla="*/ 891 h 1547"/>
                  <a:gd name="T24" fmla="*/ 1514 w 1548"/>
                  <a:gd name="T25" fmla="*/ 1003 h 1547"/>
                  <a:gd name="T26" fmla="*/ 1471 w 1548"/>
                  <a:gd name="T27" fmla="*/ 1109 h 1547"/>
                  <a:gd name="T28" fmla="*/ 1415 w 1548"/>
                  <a:gd name="T29" fmla="*/ 1206 h 1547"/>
                  <a:gd name="T30" fmla="*/ 1347 w 1548"/>
                  <a:gd name="T31" fmla="*/ 1294 h 1547"/>
                  <a:gd name="T32" fmla="*/ 1266 w 1548"/>
                  <a:gd name="T33" fmla="*/ 1370 h 1547"/>
                  <a:gd name="T34" fmla="*/ 1176 w 1548"/>
                  <a:gd name="T35" fmla="*/ 1435 h 1547"/>
                  <a:gd name="T36" fmla="*/ 1076 w 1548"/>
                  <a:gd name="T37" fmla="*/ 1486 h 1547"/>
                  <a:gd name="T38" fmla="*/ 967 w 1548"/>
                  <a:gd name="T39" fmla="*/ 1523 h 1547"/>
                  <a:gd name="T40" fmla="*/ 853 w 1548"/>
                  <a:gd name="T41" fmla="*/ 1543 h 1547"/>
                  <a:gd name="T42" fmla="*/ 735 w 1548"/>
                  <a:gd name="T43" fmla="*/ 1546 h 1547"/>
                  <a:gd name="T44" fmla="*/ 618 w 1548"/>
                  <a:gd name="T45" fmla="*/ 1531 h 1547"/>
                  <a:gd name="T46" fmla="*/ 509 w 1548"/>
                  <a:gd name="T47" fmla="*/ 1500 h 1547"/>
                  <a:gd name="T48" fmla="*/ 405 w 1548"/>
                  <a:gd name="T49" fmla="*/ 1453 h 1547"/>
                  <a:gd name="T50" fmla="*/ 311 w 1548"/>
                  <a:gd name="T51" fmla="*/ 1393 h 1547"/>
                  <a:gd name="T52" fmla="*/ 227 w 1548"/>
                  <a:gd name="T53" fmla="*/ 1320 h 1547"/>
                  <a:gd name="T54" fmla="*/ 154 w 1548"/>
                  <a:gd name="T55" fmla="*/ 1237 h 1547"/>
                  <a:gd name="T56" fmla="*/ 94 w 1548"/>
                  <a:gd name="T57" fmla="*/ 1142 h 1547"/>
                  <a:gd name="T58" fmla="*/ 48 w 1548"/>
                  <a:gd name="T59" fmla="*/ 1040 h 1547"/>
                  <a:gd name="T60" fmla="*/ 16 w 1548"/>
                  <a:gd name="T61" fmla="*/ 929 h 1547"/>
                  <a:gd name="T62" fmla="*/ 1 w 1548"/>
                  <a:gd name="T63" fmla="*/ 814 h 1547"/>
                  <a:gd name="T64" fmla="*/ 5 w 1548"/>
                  <a:gd name="T65" fmla="*/ 694 h 1547"/>
                  <a:gd name="T66" fmla="*/ 25 w 1548"/>
                  <a:gd name="T67" fmla="*/ 580 h 1547"/>
                  <a:gd name="T68" fmla="*/ 62 w 1548"/>
                  <a:gd name="T69" fmla="*/ 473 h 1547"/>
                  <a:gd name="T70" fmla="*/ 113 w 1548"/>
                  <a:gd name="T71" fmla="*/ 373 h 1547"/>
                  <a:gd name="T72" fmla="*/ 177 w 1548"/>
                  <a:gd name="T73" fmla="*/ 281 h 1547"/>
                  <a:gd name="T74" fmla="*/ 254 w 1548"/>
                  <a:gd name="T75" fmla="*/ 202 h 1547"/>
                  <a:gd name="T76" fmla="*/ 341 w 1548"/>
                  <a:gd name="T77" fmla="*/ 132 h 1547"/>
                  <a:gd name="T78" fmla="*/ 439 w 1548"/>
                  <a:gd name="T79" fmla="*/ 76 h 1547"/>
                  <a:gd name="T80" fmla="*/ 544 w 1548"/>
                  <a:gd name="T81" fmla="*/ 35 h 1547"/>
                  <a:gd name="T82" fmla="*/ 656 w 1548"/>
                  <a:gd name="T83" fmla="*/ 9 h 1547"/>
                  <a:gd name="T84" fmla="*/ 774 w 1548"/>
                  <a:gd name="T85" fmla="*/ 0 h 15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548" h="1547">
                    <a:moveTo>
                      <a:pt x="774" y="0"/>
                    </a:moveTo>
                    <a:lnTo>
                      <a:pt x="814" y="1"/>
                    </a:lnTo>
                    <a:lnTo>
                      <a:pt x="853" y="4"/>
                    </a:lnTo>
                    <a:lnTo>
                      <a:pt x="892" y="9"/>
                    </a:lnTo>
                    <a:lnTo>
                      <a:pt x="930" y="16"/>
                    </a:lnTo>
                    <a:lnTo>
                      <a:pt x="967" y="25"/>
                    </a:lnTo>
                    <a:lnTo>
                      <a:pt x="1004" y="35"/>
                    </a:lnTo>
                    <a:lnTo>
                      <a:pt x="1040" y="47"/>
                    </a:lnTo>
                    <a:lnTo>
                      <a:pt x="1076" y="61"/>
                    </a:lnTo>
                    <a:lnTo>
                      <a:pt x="1110" y="76"/>
                    </a:lnTo>
                    <a:lnTo>
                      <a:pt x="1143" y="93"/>
                    </a:lnTo>
                    <a:lnTo>
                      <a:pt x="1176" y="112"/>
                    </a:lnTo>
                    <a:lnTo>
                      <a:pt x="1207" y="132"/>
                    </a:lnTo>
                    <a:lnTo>
                      <a:pt x="1238" y="154"/>
                    </a:lnTo>
                    <a:lnTo>
                      <a:pt x="1266" y="177"/>
                    </a:lnTo>
                    <a:lnTo>
                      <a:pt x="1295" y="202"/>
                    </a:lnTo>
                    <a:lnTo>
                      <a:pt x="1321" y="227"/>
                    </a:lnTo>
                    <a:lnTo>
                      <a:pt x="1347" y="254"/>
                    </a:lnTo>
                    <a:lnTo>
                      <a:pt x="1371" y="281"/>
                    </a:lnTo>
                    <a:lnTo>
                      <a:pt x="1394" y="311"/>
                    </a:lnTo>
                    <a:lnTo>
                      <a:pt x="1415" y="341"/>
                    </a:lnTo>
                    <a:lnTo>
                      <a:pt x="1436" y="373"/>
                    </a:lnTo>
                    <a:lnTo>
                      <a:pt x="1454" y="405"/>
                    </a:lnTo>
                    <a:lnTo>
                      <a:pt x="1471" y="439"/>
                    </a:lnTo>
                    <a:lnTo>
                      <a:pt x="1487" y="473"/>
                    </a:lnTo>
                    <a:lnTo>
                      <a:pt x="1501" y="507"/>
                    </a:lnTo>
                    <a:lnTo>
                      <a:pt x="1514" y="544"/>
                    </a:lnTo>
                    <a:lnTo>
                      <a:pt x="1524" y="580"/>
                    </a:lnTo>
                    <a:lnTo>
                      <a:pt x="1532" y="618"/>
                    </a:lnTo>
                    <a:lnTo>
                      <a:pt x="1539" y="655"/>
                    </a:lnTo>
                    <a:lnTo>
                      <a:pt x="1544" y="694"/>
                    </a:lnTo>
                    <a:lnTo>
                      <a:pt x="1547" y="734"/>
                    </a:lnTo>
                    <a:lnTo>
                      <a:pt x="1548" y="774"/>
                    </a:lnTo>
                    <a:lnTo>
                      <a:pt x="1547" y="814"/>
                    </a:lnTo>
                    <a:lnTo>
                      <a:pt x="1544" y="853"/>
                    </a:lnTo>
                    <a:lnTo>
                      <a:pt x="1539" y="891"/>
                    </a:lnTo>
                    <a:lnTo>
                      <a:pt x="1532" y="929"/>
                    </a:lnTo>
                    <a:lnTo>
                      <a:pt x="1524" y="967"/>
                    </a:lnTo>
                    <a:lnTo>
                      <a:pt x="1514" y="1003"/>
                    </a:lnTo>
                    <a:lnTo>
                      <a:pt x="1501" y="1040"/>
                    </a:lnTo>
                    <a:lnTo>
                      <a:pt x="1487" y="1075"/>
                    </a:lnTo>
                    <a:lnTo>
                      <a:pt x="1471" y="1109"/>
                    </a:lnTo>
                    <a:lnTo>
                      <a:pt x="1454" y="1142"/>
                    </a:lnTo>
                    <a:lnTo>
                      <a:pt x="1436" y="1174"/>
                    </a:lnTo>
                    <a:lnTo>
                      <a:pt x="1415" y="1206"/>
                    </a:lnTo>
                    <a:lnTo>
                      <a:pt x="1394" y="1237"/>
                    </a:lnTo>
                    <a:lnTo>
                      <a:pt x="1371" y="1265"/>
                    </a:lnTo>
                    <a:lnTo>
                      <a:pt x="1347" y="1294"/>
                    </a:lnTo>
                    <a:lnTo>
                      <a:pt x="1321" y="1320"/>
                    </a:lnTo>
                    <a:lnTo>
                      <a:pt x="1295" y="1346"/>
                    </a:lnTo>
                    <a:lnTo>
                      <a:pt x="1266" y="1370"/>
                    </a:lnTo>
                    <a:lnTo>
                      <a:pt x="1238" y="1393"/>
                    </a:lnTo>
                    <a:lnTo>
                      <a:pt x="1207" y="1415"/>
                    </a:lnTo>
                    <a:lnTo>
                      <a:pt x="1176" y="1435"/>
                    </a:lnTo>
                    <a:lnTo>
                      <a:pt x="1143" y="1453"/>
                    </a:lnTo>
                    <a:lnTo>
                      <a:pt x="1110" y="1470"/>
                    </a:lnTo>
                    <a:lnTo>
                      <a:pt x="1076" y="1486"/>
                    </a:lnTo>
                    <a:lnTo>
                      <a:pt x="1040" y="1500"/>
                    </a:lnTo>
                    <a:lnTo>
                      <a:pt x="1004" y="1513"/>
                    </a:lnTo>
                    <a:lnTo>
                      <a:pt x="967" y="1523"/>
                    </a:lnTo>
                    <a:lnTo>
                      <a:pt x="930" y="1531"/>
                    </a:lnTo>
                    <a:lnTo>
                      <a:pt x="892" y="1538"/>
                    </a:lnTo>
                    <a:lnTo>
                      <a:pt x="853" y="1543"/>
                    </a:lnTo>
                    <a:lnTo>
                      <a:pt x="814" y="1546"/>
                    </a:lnTo>
                    <a:lnTo>
                      <a:pt x="774" y="1547"/>
                    </a:lnTo>
                    <a:lnTo>
                      <a:pt x="735" y="1546"/>
                    </a:lnTo>
                    <a:lnTo>
                      <a:pt x="695" y="1543"/>
                    </a:lnTo>
                    <a:lnTo>
                      <a:pt x="656" y="1538"/>
                    </a:lnTo>
                    <a:lnTo>
                      <a:pt x="618" y="1531"/>
                    </a:lnTo>
                    <a:lnTo>
                      <a:pt x="581" y="1523"/>
                    </a:lnTo>
                    <a:lnTo>
                      <a:pt x="544" y="1513"/>
                    </a:lnTo>
                    <a:lnTo>
                      <a:pt x="509" y="1500"/>
                    </a:lnTo>
                    <a:lnTo>
                      <a:pt x="473" y="1486"/>
                    </a:lnTo>
                    <a:lnTo>
                      <a:pt x="439" y="1470"/>
                    </a:lnTo>
                    <a:lnTo>
                      <a:pt x="405" y="1453"/>
                    </a:lnTo>
                    <a:lnTo>
                      <a:pt x="373" y="1435"/>
                    </a:lnTo>
                    <a:lnTo>
                      <a:pt x="341" y="1415"/>
                    </a:lnTo>
                    <a:lnTo>
                      <a:pt x="311" y="1393"/>
                    </a:lnTo>
                    <a:lnTo>
                      <a:pt x="282" y="1370"/>
                    </a:lnTo>
                    <a:lnTo>
                      <a:pt x="254" y="1346"/>
                    </a:lnTo>
                    <a:lnTo>
                      <a:pt x="227" y="1320"/>
                    </a:lnTo>
                    <a:lnTo>
                      <a:pt x="202" y="1294"/>
                    </a:lnTo>
                    <a:lnTo>
                      <a:pt x="177" y="1265"/>
                    </a:lnTo>
                    <a:lnTo>
                      <a:pt x="154" y="1237"/>
                    </a:lnTo>
                    <a:lnTo>
                      <a:pt x="132" y="1206"/>
                    </a:lnTo>
                    <a:lnTo>
                      <a:pt x="113" y="1174"/>
                    </a:lnTo>
                    <a:lnTo>
                      <a:pt x="94" y="1142"/>
                    </a:lnTo>
                    <a:lnTo>
                      <a:pt x="76" y="1109"/>
                    </a:lnTo>
                    <a:lnTo>
                      <a:pt x="62" y="1075"/>
                    </a:lnTo>
                    <a:lnTo>
                      <a:pt x="48" y="1040"/>
                    </a:lnTo>
                    <a:lnTo>
                      <a:pt x="35" y="1003"/>
                    </a:lnTo>
                    <a:lnTo>
                      <a:pt x="25" y="967"/>
                    </a:lnTo>
                    <a:lnTo>
                      <a:pt x="16" y="929"/>
                    </a:lnTo>
                    <a:lnTo>
                      <a:pt x="9" y="891"/>
                    </a:lnTo>
                    <a:lnTo>
                      <a:pt x="5" y="853"/>
                    </a:lnTo>
                    <a:lnTo>
                      <a:pt x="1" y="814"/>
                    </a:lnTo>
                    <a:lnTo>
                      <a:pt x="0" y="774"/>
                    </a:lnTo>
                    <a:lnTo>
                      <a:pt x="1" y="734"/>
                    </a:lnTo>
                    <a:lnTo>
                      <a:pt x="5" y="694"/>
                    </a:lnTo>
                    <a:lnTo>
                      <a:pt x="9" y="655"/>
                    </a:lnTo>
                    <a:lnTo>
                      <a:pt x="16" y="618"/>
                    </a:lnTo>
                    <a:lnTo>
                      <a:pt x="25" y="580"/>
                    </a:lnTo>
                    <a:lnTo>
                      <a:pt x="35" y="544"/>
                    </a:lnTo>
                    <a:lnTo>
                      <a:pt x="48" y="507"/>
                    </a:lnTo>
                    <a:lnTo>
                      <a:pt x="62" y="473"/>
                    </a:lnTo>
                    <a:lnTo>
                      <a:pt x="76" y="439"/>
                    </a:lnTo>
                    <a:lnTo>
                      <a:pt x="94" y="405"/>
                    </a:lnTo>
                    <a:lnTo>
                      <a:pt x="113" y="373"/>
                    </a:lnTo>
                    <a:lnTo>
                      <a:pt x="132" y="341"/>
                    </a:lnTo>
                    <a:lnTo>
                      <a:pt x="154" y="311"/>
                    </a:lnTo>
                    <a:lnTo>
                      <a:pt x="177" y="281"/>
                    </a:lnTo>
                    <a:lnTo>
                      <a:pt x="202" y="254"/>
                    </a:lnTo>
                    <a:lnTo>
                      <a:pt x="227" y="227"/>
                    </a:lnTo>
                    <a:lnTo>
                      <a:pt x="254" y="202"/>
                    </a:lnTo>
                    <a:lnTo>
                      <a:pt x="282" y="177"/>
                    </a:lnTo>
                    <a:lnTo>
                      <a:pt x="311" y="154"/>
                    </a:lnTo>
                    <a:lnTo>
                      <a:pt x="341" y="132"/>
                    </a:lnTo>
                    <a:lnTo>
                      <a:pt x="373" y="112"/>
                    </a:lnTo>
                    <a:lnTo>
                      <a:pt x="405" y="93"/>
                    </a:lnTo>
                    <a:lnTo>
                      <a:pt x="439" y="76"/>
                    </a:lnTo>
                    <a:lnTo>
                      <a:pt x="473" y="61"/>
                    </a:lnTo>
                    <a:lnTo>
                      <a:pt x="509" y="47"/>
                    </a:lnTo>
                    <a:lnTo>
                      <a:pt x="544" y="35"/>
                    </a:lnTo>
                    <a:lnTo>
                      <a:pt x="581" y="25"/>
                    </a:lnTo>
                    <a:lnTo>
                      <a:pt x="618" y="16"/>
                    </a:lnTo>
                    <a:lnTo>
                      <a:pt x="656" y="9"/>
                    </a:lnTo>
                    <a:lnTo>
                      <a:pt x="695" y="4"/>
                    </a:lnTo>
                    <a:lnTo>
                      <a:pt x="735" y="1"/>
                    </a:lnTo>
                    <a:lnTo>
                      <a:pt x="774" y="0"/>
                    </a:lnTo>
                    <a:close/>
                  </a:path>
                </a:pathLst>
              </a:custGeom>
              <a:gradFill>
                <a:gsLst>
                  <a:gs pos="67000">
                    <a:schemeClr val="tx1"/>
                  </a:gs>
                  <a:gs pos="8000">
                    <a:schemeClr val="tx1">
                      <a:lumMod val="65000"/>
                      <a:lumOff val="35000"/>
                    </a:schemeClr>
                  </a:gs>
                </a:gsLst>
                <a:lin ang="0" scaled="1"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51" name="Freeform 35"/>
              <p:cNvSpPr>
                <a:spLocks noEditPoints="1"/>
              </p:cNvSpPr>
              <p:nvPr/>
            </p:nvSpPr>
            <p:spPr bwMode="auto">
              <a:xfrm>
                <a:off x="6059071" y="5211540"/>
                <a:ext cx="137606" cy="137606"/>
              </a:xfrm>
              <a:custGeom>
                <a:avLst/>
                <a:gdLst>
                  <a:gd name="T0" fmla="*/ 470 w 608"/>
                  <a:gd name="T1" fmla="*/ 1 h 609"/>
                  <a:gd name="T2" fmla="*/ 514 w 608"/>
                  <a:gd name="T3" fmla="*/ 13 h 609"/>
                  <a:gd name="T4" fmla="*/ 552 w 608"/>
                  <a:gd name="T5" fmla="*/ 36 h 609"/>
                  <a:gd name="T6" fmla="*/ 563 w 608"/>
                  <a:gd name="T7" fmla="*/ 46 h 609"/>
                  <a:gd name="T8" fmla="*/ 589 w 608"/>
                  <a:gd name="T9" fmla="*/ 81 h 609"/>
                  <a:gd name="T10" fmla="*/ 604 w 608"/>
                  <a:gd name="T11" fmla="*/ 123 h 609"/>
                  <a:gd name="T12" fmla="*/ 608 w 608"/>
                  <a:gd name="T13" fmla="*/ 455 h 609"/>
                  <a:gd name="T14" fmla="*/ 601 w 608"/>
                  <a:gd name="T15" fmla="*/ 501 h 609"/>
                  <a:gd name="T16" fmla="*/ 581 w 608"/>
                  <a:gd name="T17" fmla="*/ 541 h 609"/>
                  <a:gd name="T18" fmla="*/ 552 w 608"/>
                  <a:gd name="T19" fmla="*/ 574 h 609"/>
                  <a:gd name="T20" fmla="*/ 514 w 608"/>
                  <a:gd name="T21" fmla="*/ 597 h 609"/>
                  <a:gd name="T22" fmla="*/ 470 w 608"/>
                  <a:gd name="T23" fmla="*/ 608 h 609"/>
                  <a:gd name="T24" fmla="*/ 138 w 608"/>
                  <a:gd name="T25" fmla="*/ 608 h 609"/>
                  <a:gd name="T26" fmla="*/ 93 w 608"/>
                  <a:gd name="T27" fmla="*/ 597 h 609"/>
                  <a:gd name="T28" fmla="*/ 55 w 608"/>
                  <a:gd name="T29" fmla="*/ 574 h 609"/>
                  <a:gd name="T30" fmla="*/ 35 w 608"/>
                  <a:gd name="T31" fmla="*/ 553 h 609"/>
                  <a:gd name="T32" fmla="*/ 11 w 608"/>
                  <a:gd name="T33" fmla="*/ 514 h 609"/>
                  <a:gd name="T34" fmla="*/ 0 w 608"/>
                  <a:gd name="T35" fmla="*/ 471 h 609"/>
                  <a:gd name="T36" fmla="*/ 0 w 608"/>
                  <a:gd name="T37" fmla="*/ 138 h 609"/>
                  <a:gd name="T38" fmla="*/ 11 w 608"/>
                  <a:gd name="T39" fmla="*/ 95 h 609"/>
                  <a:gd name="T40" fmla="*/ 35 w 608"/>
                  <a:gd name="T41" fmla="*/ 57 h 609"/>
                  <a:gd name="T42" fmla="*/ 67 w 608"/>
                  <a:gd name="T43" fmla="*/ 28 h 609"/>
                  <a:gd name="T44" fmla="*/ 107 w 608"/>
                  <a:gd name="T45" fmla="*/ 8 h 609"/>
                  <a:gd name="T46" fmla="*/ 152 w 608"/>
                  <a:gd name="T47" fmla="*/ 0 h 609"/>
                  <a:gd name="T48" fmla="*/ 143 w 608"/>
                  <a:gd name="T49" fmla="*/ 61 h 609"/>
                  <a:gd name="T50" fmla="*/ 116 w 608"/>
                  <a:gd name="T51" fmla="*/ 68 h 609"/>
                  <a:gd name="T52" fmla="*/ 93 w 608"/>
                  <a:gd name="T53" fmla="*/ 81 h 609"/>
                  <a:gd name="T54" fmla="*/ 75 w 608"/>
                  <a:gd name="T55" fmla="*/ 102 h 609"/>
                  <a:gd name="T56" fmla="*/ 62 w 608"/>
                  <a:gd name="T57" fmla="*/ 127 h 609"/>
                  <a:gd name="T58" fmla="*/ 58 w 608"/>
                  <a:gd name="T59" fmla="*/ 154 h 609"/>
                  <a:gd name="T60" fmla="*/ 60 w 608"/>
                  <a:gd name="T61" fmla="*/ 475 h 609"/>
                  <a:gd name="T62" fmla="*/ 69 w 608"/>
                  <a:gd name="T63" fmla="*/ 501 h 609"/>
                  <a:gd name="T64" fmla="*/ 86 w 608"/>
                  <a:gd name="T65" fmla="*/ 522 h 609"/>
                  <a:gd name="T66" fmla="*/ 108 w 608"/>
                  <a:gd name="T67" fmla="*/ 538 h 609"/>
                  <a:gd name="T68" fmla="*/ 134 w 608"/>
                  <a:gd name="T69" fmla="*/ 547 h 609"/>
                  <a:gd name="T70" fmla="*/ 454 w 608"/>
                  <a:gd name="T71" fmla="*/ 550 h 609"/>
                  <a:gd name="T72" fmla="*/ 482 w 608"/>
                  <a:gd name="T73" fmla="*/ 545 h 609"/>
                  <a:gd name="T74" fmla="*/ 507 w 608"/>
                  <a:gd name="T75" fmla="*/ 534 h 609"/>
                  <a:gd name="T76" fmla="*/ 527 w 608"/>
                  <a:gd name="T77" fmla="*/ 516 h 609"/>
                  <a:gd name="T78" fmla="*/ 541 w 608"/>
                  <a:gd name="T79" fmla="*/ 492 h 609"/>
                  <a:gd name="T80" fmla="*/ 548 w 608"/>
                  <a:gd name="T81" fmla="*/ 465 h 609"/>
                  <a:gd name="T82" fmla="*/ 548 w 608"/>
                  <a:gd name="T83" fmla="*/ 145 h 609"/>
                  <a:gd name="T84" fmla="*/ 541 w 608"/>
                  <a:gd name="T85" fmla="*/ 118 h 609"/>
                  <a:gd name="T86" fmla="*/ 527 w 608"/>
                  <a:gd name="T87" fmla="*/ 94 h 609"/>
                  <a:gd name="T88" fmla="*/ 514 w 608"/>
                  <a:gd name="T89" fmla="*/ 81 h 609"/>
                  <a:gd name="T90" fmla="*/ 491 w 608"/>
                  <a:gd name="T91" fmla="*/ 68 h 609"/>
                  <a:gd name="T92" fmla="*/ 464 w 608"/>
                  <a:gd name="T93" fmla="*/ 61 h 6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608" h="609">
                    <a:moveTo>
                      <a:pt x="152" y="0"/>
                    </a:moveTo>
                    <a:lnTo>
                      <a:pt x="454" y="0"/>
                    </a:lnTo>
                    <a:lnTo>
                      <a:pt x="470" y="1"/>
                    </a:lnTo>
                    <a:lnTo>
                      <a:pt x="484" y="4"/>
                    </a:lnTo>
                    <a:lnTo>
                      <a:pt x="499" y="8"/>
                    </a:lnTo>
                    <a:lnTo>
                      <a:pt x="514" y="13"/>
                    </a:lnTo>
                    <a:lnTo>
                      <a:pt x="527" y="20"/>
                    </a:lnTo>
                    <a:lnTo>
                      <a:pt x="539" y="28"/>
                    </a:lnTo>
                    <a:lnTo>
                      <a:pt x="552" y="36"/>
                    </a:lnTo>
                    <a:lnTo>
                      <a:pt x="562" y="46"/>
                    </a:lnTo>
                    <a:lnTo>
                      <a:pt x="562" y="46"/>
                    </a:lnTo>
                    <a:lnTo>
                      <a:pt x="563" y="46"/>
                    </a:lnTo>
                    <a:lnTo>
                      <a:pt x="572" y="57"/>
                    </a:lnTo>
                    <a:lnTo>
                      <a:pt x="581" y="69"/>
                    </a:lnTo>
                    <a:lnTo>
                      <a:pt x="589" y="81"/>
                    </a:lnTo>
                    <a:lnTo>
                      <a:pt x="595" y="95"/>
                    </a:lnTo>
                    <a:lnTo>
                      <a:pt x="601" y="109"/>
                    </a:lnTo>
                    <a:lnTo>
                      <a:pt x="604" y="123"/>
                    </a:lnTo>
                    <a:lnTo>
                      <a:pt x="606" y="138"/>
                    </a:lnTo>
                    <a:lnTo>
                      <a:pt x="608" y="154"/>
                    </a:lnTo>
                    <a:lnTo>
                      <a:pt x="608" y="455"/>
                    </a:lnTo>
                    <a:lnTo>
                      <a:pt x="606" y="471"/>
                    </a:lnTo>
                    <a:lnTo>
                      <a:pt x="604" y="486"/>
                    </a:lnTo>
                    <a:lnTo>
                      <a:pt x="601" y="501"/>
                    </a:lnTo>
                    <a:lnTo>
                      <a:pt x="595" y="514"/>
                    </a:lnTo>
                    <a:lnTo>
                      <a:pt x="589" y="528"/>
                    </a:lnTo>
                    <a:lnTo>
                      <a:pt x="581" y="541"/>
                    </a:lnTo>
                    <a:lnTo>
                      <a:pt x="572" y="553"/>
                    </a:lnTo>
                    <a:lnTo>
                      <a:pt x="563" y="563"/>
                    </a:lnTo>
                    <a:lnTo>
                      <a:pt x="552" y="574"/>
                    </a:lnTo>
                    <a:lnTo>
                      <a:pt x="540" y="583"/>
                    </a:lnTo>
                    <a:lnTo>
                      <a:pt x="527" y="590"/>
                    </a:lnTo>
                    <a:lnTo>
                      <a:pt x="514" y="597"/>
                    </a:lnTo>
                    <a:lnTo>
                      <a:pt x="499" y="602"/>
                    </a:lnTo>
                    <a:lnTo>
                      <a:pt x="484" y="606"/>
                    </a:lnTo>
                    <a:lnTo>
                      <a:pt x="470" y="608"/>
                    </a:lnTo>
                    <a:lnTo>
                      <a:pt x="454" y="609"/>
                    </a:lnTo>
                    <a:lnTo>
                      <a:pt x="152" y="609"/>
                    </a:lnTo>
                    <a:lnTo>
                      <a:pt x="138" y="608"/>
                    </a:lnTo>
                    <a:lnTo>
                      <a:pt x="122" y="606"/>
                    </a:lnTo>
                    <a:lnTo>
                      <a:pt x="108" y="602"/>
                    </a:lnTo>
                    <a:lnTo>
                      <a:pt x="93" y="597"/>
                    </a:lnTo>
                    <a:lnTo>
                      <a:pt x="79" y="590"/>
                    </a:lnTo>
                    <a:lnTo>
                      <a:pt x="67" y="583"/>
                    </a:lnTo>
                    <a:lnTo>
                      <a:pt x="55" y="574"/>
                    </a:lnTo>
                    <a:lnTo>
                      <a:pt x="44" y="563"/>
                    </a:lnTo>
                    <a:lnTo>
                      <a:pt x="44" y="563"/>
                    </a:lnTo>
                    <a:lnTo>
                      <a:pt x="35" y="553"/>
                    </a:lnTo>
                    <a:lnTo>
                      <a:pt x="26" y="541"/>
                    </a:lnTo>
                    <a:lnTo>
                      <a:pt x="18" y="528"/>
                    </a:lnTo>
                    <a:lnTo>
                      <a:pt x="11" y="514"/>
                    </a:lnTo>
                    <a:lnTo>
                      <a:pt x="6" y="501"/>
                    </a:lnTo>
                    <a:lnTo>
                      <a:pt x="2" y="486"/>
                    </a:lnTo>
                    <a:lnTo>
                      <a:pt x="0" y="471"/>
                    </a:lnTo>
                    <a:lnTo>
                      <a:pt x="0" y="455"/>
                    </a:lnTo>
                    <a:lnTo>
                      <a:pt x="0" y="154"/>
                    </a:lnTo>
                    <a:lnTo>
                      <a:pt x="0" y="138"/>
                    </a:lnTo>
                    <a:lnTo>
                      <a:pt x="2" y="123"/>
                    </a:lnTo>
                    <a:lnTo>
                      <a:pt x="6" y="109"/>
                    </a:lnTo>
                    <a:lnTo>
                      <a:pt x="11" y="95"/>
                    </a:lnTo>
                    <a:lnTo>
                      <a:pt x="18" y="81"/>
                    </a:lnTo>
                    <a:lnTo>
                      <a:pt x="26" y="69"/>
                    </a:lnTo>
                    <a:lnTo>
                      <a:pt x="35" y="57"/>
                    </a:lnTo>
                    <a:lnTo>
                      <a:pt x="44" y="46"/>
                    </a:lnTo>
                    <a:lnTo>
                      <a:pt x="55" y="36"/>
                    </a:lnTo>
                    <a:lnTo>
                      <a:pt x="67" y="28"/>
                    </a:lnTo>
                    <a:lnTo>
                      <a:pt x="79" y="20"/>
                    </a:lnTo>
                    <a:lnTo>
                      <a:pt x="93" y="13"/>
                    </a:lnTo>
                    <a:lnTo>
                      <a:pt x="107" y="8"/>
                    </a:lnTo>
                    <a:lnTo>
                      <a:pt x="122" y="4"/>
                    </a:lnTo>
                    <a:lnTo>
                      <a:pt x="138" y="1"/>
                    </a:lnTo>
                    <a:lnTo>
                      <a:pt x="152" y="0"/>
                    </a:lnTo>
                    <a:close/>
                    <a:moveTo>
                      <a:pt x="454" y="60"/>
                    </a:moveTo>
                    <a:lnTo>
                      <a:pt x="152" y="60"/>
                    </a:lnTo>
                    <a:lnTo>
                      <a:pt x="143" y="61"/>
                    </a:lnTo>
                    <a:lnTo>
                      <a:pt x="134" y="62"/>
                    </a:lnTo>
                    <a:lnTo>
                      <a:pt x="125" y="64"/>
                    </a:lnTo>
                    <a:lnTo>
                      <a:pt x="116" y="68"/>
                    </a:lnTo>
                    <a:lnTo>
                      <a:pt x="108" y="71"/>
                    </a:lnTo>
                    <a:lnTo>
                      <a:pt x="100" y="76"/>
                    </a:lnTo>
                    <a:lnTo>
                      <a:pt x="93" y="81"/>
                    </a:lnTo>
                    <a:lnTo>
                      <a:pt x="86" y="88"/>
                    </a:lnTo>
                    <a:lnTo>
                      <a:pt x="79" y="94"/>
                    </a:lnTo>
                    <a:lnTo>
                      <a:pt x="75" y="102"/>
                    </a:lnTo>
                    <a:lnTo>
                      <a:pt x="69" y="110"/>
                    </a:lnTo>
                    <a:lnTo>
                      <a:pt x="66" y="118"/>
                    </a:lnTo>
                    <a:lnTo>
                      <a:pt x="62" y="127"/>
                    </a:lnTo>
                    <a:lnTo>
                      <a:pt x="60" y="135"/>
                    </a:lnTo>
                    <a:lnTo>
                      <a:pt x="59" y="145"/>
                    </a:lnTo>
                    <a:lnTo>
                      <a:pt x="58" y="154"/>
                    </a:lnTo>
                    <a:lnTo>
                      <a:pt x="58" y="455"/>
                    </a:lnTo>
                    <a:lnTo>
                      <a:pt x="59" y="465"/>
                    </a:lnTo>
                    <a:lnTo>
                      <a:pt x="60" y="475"/>
                    </a:lnTo>
                    <a:lnTo>
                      <a:pt x="62" y="484"/>
                    </a:lnTo>
                    <a:lnTo>
                      <a:pt x="66" y="492"/>
                    </a:lnTo>
                    <a:lnTo>
                      <a:pt x="69" y="501"/>
                    </a:lnTo>
                    <a:lnTo>
                      <a:pt x="75" y="509"/>
                    </a:lnTo>
                    <a:lnTo>
                      <a:pt x="79" y="516"/>
                    </a:lnTo>
                    <a:lnTo>
                      <a:pt x="86" y="522"/>
                    </a:lnTo>
                    <a:lnTo>
                      <a:pt x="93" y="528"/>
                    </a:lnTo>
                    <a:lnTo>
                      <a:pt x="100" y="534"/>
                    </a:lnTo>
                    <a:lnTo>
                      <a:pt x="108" y="538"/>
                    </a:lnTo>
                    <a:lnTo>
                      <a:pt x="116" y="543"/>
                    </a:lnTo>
                    <a:lnTo>
                      <a:pt x="125" y="545"/>
                    </a:lnTo>
                    <a:lnTo>
                      <a:pt x="134" y="547"/>
                    </a:lnTo>
                    <a:lnTo>
                      <a:pt x="143" y="550"/>
                    </a:lnTo>
                    <a:lnTo>
                      <a:pt x="152" y="550"/>
                    </a:lnTo>
                    <a:lnTo>
                      <a:pt x="454" y="550"/>
                    </a:lnTo>
                    <a:lnTo>
                      <a:pt x="464" y="550"/>
                    </a:lnTo>
                    <a:lnTo>
                      <a:pt x="473" y="547"/>
                    </a:lnTo>
                    <a:lnTo>
                      <a:pt x="482" y="545"/>
                    </a:lnTo>
                    <a:lnTo>
                      <a:pt x="491" y="543"/>
                    </a:lnTo>
                    <a:lnTo>
                      <a:pt x="499" y="538"/>
                    </a:lnTo>
                    <a:lnTo>
                      <a:pt x="507" y="534"/>
                    </a:lnTo>
                    <a:lnTo>
                      <a:pt x="514" y="528"/>
                    </a:lnTo>
                    <a:lnTo>
                      <a:pt x="521" y="522"/>
                    </a:lnTo>
                    <a:lnTo>
                      <a:pt x="527" y="516"/>
                    </a:lnTo>
                    <a:lnTo>
                      <a:pt x="532" y="508"/>
                    </a:lnTo>
                    <a:lnTo>
                      <a:pt x="537" y="501"/>
                    </a:lnTo>
                    <a:lnTo>
                      <a:pt x="541" y="492"/>
                    </a:lnTo>
                    <a:lnTo>
                      <a:pt x="545" y="484"/>
                    </a:lnTo>
                    <a:lnTo>
                      <a:pt x="547" y="475"/>
                    </a:lnTo>
                    <a:lnTo>
                      <a:pt x="548" y="465"/>
                    </a:lnTo>
                    <a:lnTo>
                      <a:pt x="548" y="455"/>
                    </a:lnTo>
                    <a:lnTo>
                      <a:pt x="548" y="154"/>
                    </a:lnTo>
                    <a:lnTo>
                      <a:pt x="548" y="145"/>
                    </a:lnTo>
                    <a:lnTo>
                      <a:pt x="547" y="135"/>
                    </a:lnTo>
                    <a:lnTo>
                      <a:pt x="545" y="126"/>
                    </a:lnTo>
                    <a:lnTo>
                      <a:pt x="541" y="118"/>
                    </a:lnTo>
                    <a:lnTo>
                      <a:pt x="537" y="110"/>
                    </a:lnTo>
                    <a:lnTo>
                      <a:pt x="532" y="102"/>
                    </a:lnTo>
                    <a:lnTo>
                      <a:pt x="527" y="94"/>
                    </a:lnTo>
                    <a:lnTo>
                      <a:pt x="521" y="88"/>
                    </a:lnTo>
                    <a:lnTo>
                      <a:pt x="521" y="87"/>
                    </a:lnTo>
                    <a:lnTo>
                      <a:pt x="514" y="81"/>
                    </a:lnTo>
                    <a:lnTo>
                      <a:pt x="507" y="76"/>
                    </a:lnTo>
                    <a:lnTo>
                      <a:pt x="499" y="71"/>
                    </a:lnTo>
                    <a:lnTo>
                      <a:pt x="491" y="68"/>
                    </a:lnTo>
                    <a:lnTo>
                      <a:pt x="482" y="64"/>
                    </a:lnTo>
                    <a:lnTo>
                      <a:pt x="473" y="62"/>
                    </a:lnTo>
                    <a:lnTo>
                      <a:pt x="464" y="61"/>
                    </a:lnTo>
                    <a:lnTo>
                      <a:pt x="454" y="60"/>
                    </a:lnTo>
                    <a:close/>
                  </a:path>
                </a:pathLst>
              </a:custGeom>
              <a:gradFill flip="none" rotWithShape="1">
                <a:gsLst>
                  <a:gs pos="46000">
                    <a:srgbClr val="FFFFFF"/>
                  </a:gs>
                  <a:gs pos="56000">
                    <a:schemeClr val="bg1">
                      <a:alpha val="45000"/>
                    </a:schemeClr>
                  </a:gs>
                  <a:gs pos="100000">
                    <a:srgbClr val="FFFFFF"/>
                  </a:gs>
                  <a:gs pos="0">
                    <a:schemeClr val="bg1">
                      <a:alpha val="97000"/>
                    </a:schemeClr>
                  </a:gs>
                </a:gsLst>
                <a:lin ang="1890000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246" name="Freeform 12"/>
            <p:cNvSpPr>
              <a:spLocks/>
            </p:cNvSpPr>
            <p:nvPr/>
          </p:nvSpPr>
          <p:spPr bwMode="auto">
            <a:xfrm rot="5400000">
              <a:off x="3965798" y="1513909"/>
              <a:ext cx="95372" cy="16349"/>
            </a:xfrm>
            <a:custGeom>
              <a:avLst/>
              <a:gdLst/>
              <a:ahLst/>
              <a:cxnLst/>
              <a:rect l="l" t="t" r="r" b="b"/>
              <a:pathLst>
                <a:path w="95372" h="16349">
                  <a:moveTo>
                    <a:pt x="0" y="16349"/>
                  </a:moveTo>
                  <a:lnTo>
                    <a:pt x="0" y="0"/>
                  </a:lnTo>
                  <a:lnTo>
                    <a:pt x="95372" y="0"/>
                  </a:lnTo>
                  <a:lnTo>
                    <a:pt x="95372" y="16349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7" name="Freeform 12"/>
            <p:cNvSpPr>
              <a:spLocks/>
            </p:cNvSpPr>
            <p:nvPr/>
          </p:nvSpPr>
          <p:spPr bwMode="auto">
            <a:xfrm>
              <a:off x="3347199" y="4919840"/>
              <a:ext cx="95372" cy="16349"/>
            </a:xfrm>
            <a:custGeom>
              <a:avLst/>
              <a:gdLst/>
              <a:ahLst/>
              <a:cxnLst/>
              <a:rect l="l" t="t" r="r" b="b"/>
              <a:pathLst>
                <a:path w="95372" h="16349">
                  <a:moveTo>
                    <a:pt x="0" y="16349"/>
                  </a:moveTo>
                  <a:lnTo>
                    <a:pt x="0" y="0"/>
                  </a:lnTo>
                  <a:lnTo>
                    <a:pt x="95372" y="0"/>
                  </a:lnTo>
                  <a:lnTo>
                    <a:pt x="95372" y="16349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8" name="Freeform 12"/>
            <p:cNvSpPr>
              <a:spLocks/>
            </p:cNvSpPr>
            <p:nvPr/>
          </p:nvSpPr>
          <p:spPr bwMode="auto">
            <a:xfrm>
              <a:off x="5252298" y="4919840"/>
              <a:ext cx="95372" cy="16349"/>
            </a:xfrm>
            <a:custGeom>
              <a:avLst/>
              <a:gdLst/>
              <a:ahLst/>
              <a:cxnLst/>
              <a:rect l="l" t="t" r="r" b="b"/>
              <a:pathLst>
                <a:path w="95372" h="16349">
                  <a:moveTo>
                    <a:pt x="0" y="16349"/>
                  </a:moveTo>
                  <a:lnTo>
                    <a:pt x="0" y="0"/>
                  </a:lnTo>
                  <a:lnTo>
                    <a:pt x="95372" y="0"/>
                  </a:lnTo>
                  <a:lnTo>
                    <a:pt x="95372" y="16349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60" name="Group 159"/>
          <p:cNvGrpSpPr/>
          <p:nvPr/>
        </p:nvGrpSpPr>
        <p:grpSpPr>
          <a:xfrm>
            <a:off x="5413089" y="5309528"/>
            <a:ext cx="1513661" cy="822510"/>
            <a:chOff x="990251" y="5414562"/>
            <a:chExt cx="1619250" cy="879886"/>
          </a:xfrm>
        </p:grpSpPr>
        <p:cxnSp>
          <p:nvCxnSpPr>
            <p:cNvPr id="168" name="Straight Connector 167"/>
            <p:cNvCxnSpPr/>
            <p:nvPr/>
          </p:nvCxnSpPr>
          <p:spPr>
            <a:xfrm>
              <a:off x="1706415" y="5676343"/>
              <a:ext cx="186922" cy="0"/>
            </a:xfrm>
            <a:prstGeom prst="line">
              <a:avLst/>
            </a:prstGeom>
            <a:ln w="28575">
              <a:solidFill>
                <a:srgbClr val="78D2D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9" name="TextBox 168"/>
            <p:cNvSpPr txBox="1"/>
            <p:nvPr/>
          </p:nvSpPr>
          <p:spPr>
            <a:xfrm>
              <a:off x="990251" y="5800578"/>
              <a:ext cx="1619250" cy="493870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Lorem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Ipsum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 is simply dummy text of the printing and typesetting industry. </a:t>
              </a:r>
            </a:p>
          </p:txBody>
        </p:sp>
        <p:sp>
          <p:nvSpPr>
            <p:cNvPr id="170" name="TextBox 169"/>
            <p:cNvSpPr txBox="1"/>
            <p:nvPr/>
          </p:nvSpPr>
          <p:spPr>
            <a:xfrm>
              <a:off x="990251" y="5414562"/>
              <a:ext cx="1619250" cy="230473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78D2D2"/>
                  </a:solidFill>
                  <a:effectLst/>
                  <a:uLnTx/>
                  <a:uFillTx/>
                  <a:ea typeface="+mn-ea"/>
                  <a:cs typeface="+mn-cs"/>
                </a:rPr>
                <a:t>2011</a:t>
              </a:r>
            </a:p>
          </p:txBody>
        </p:sp>
      </p:grpSp>
      <p:sp>
        <p:nvSpPr>
          <p:cNvPr id="163" name="Rounded Rectangle 162"/>
          <p:cNvSpPr/>
          <p:nvPr/>
        </p:nvSpPr>
        <p:spPr>
          <a:xfrm>
            <a:off x="5797854" y="6191560"/>
            <a:ext cx="744131" cy="139636"/>
          </a:xfrm>
          <a:prstGeom prst="roundRect">
            <a:avLst/>
          </a:prstGeom>
          <a:solidFill>
            <a:srgbClr val="78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tIns="46800" rIns="46800" bIns="468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AD MORE</a:t>
            </a:r>
          </a:p>
        </p:txBody>
      </p:sp>
      <p:pic>
        <p:nvPicPr>
          <p:cNvPr id="384" name="Picture Placeholder 123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384112" y="2206812"/>
            <a:ext cx="1585279" cy="2271714"/>
          </a:xfrm>
          <a:prstGeom prst="rect">
            <a:avLst/>
          </a:prstGeom>
        </p:spPr>
      </p:pic>
      <p:grpSp>
        <p:nvGrpSpPr>
          <p:cNvPr id="154" name="Group 153"/>
          <p:cNvGrpSpPr/>
          <p:nvPr/>
        </p:nvGrpSpPr>
        <p:grpSpPr>
          <a:xfrm>
            <a:off x="8688431" y="1211935"/>
            <a:ext cx="1833986" cy="3871706"/>
            <a:chOff x="5131235" y="1444422"/>
            <a:chExt cx="1961921" cy="4141786"/>
          </a:xfrm>
        </p:grpSpPr>
        <p:grpSp>
          <p:nvGrpSpPr>
            <p:cNvPr id="257" name="Group 256"/>
            <p:cNvGrpSpPr/>
            <p:nvPr/>
          </p:nvGrpSpPr>
          <p:grpSpPr>
            <a:xfrm>
              <a:off x="6459626" y="1444422"/>
              <a:ext cx="317447" cy="25885"/>
              <a:chOff x="3605213" y="133352"/>
              <a:chExt cx="369888" cy="30161"/>
            </a:xfrm>
          </p:grpSpPr>
          <p:sp>
            <p:nvSpPr>
              <p:cNvPr id="381" name="Freeform 12"/>
              <p:cNvSpPr>
                <a:spLocks/>
              </p:cNvSpPr>
              <p:nvPr/>
            </p:nvSpPr>
            <p:spPr bwMode="auto">
              <a:xfrm>
                <a:off x="3617912" y="133352"/>
                <a:ext cx="346075" cy="19050"/>
              </a:xfrm>
              <a:custGeom>
                <a:avLst/>
                <a:gdLst>
                  <a:gd name="T0" fmla="*/ 36 w 1309"/>
                  <a:gd name="T1" fmla="*/ 0 h 74"/>
                  <a:gd name="T2" fmla="*/ 1272 w 1309"/>
                  <a:gd name="T3" fmla="*/ 0 h 74"/>
                  <a:gd name="T4" fmla="*/ 1280 w 1309"/>
                  <a:gd name="T5" fmla="*/ 1 h 74"/>
                  <a:gd name="T6" fmla="*/ 1286 w 1309"/>
                  <a:gd name="T7" fmla="*/ 3 h 74"/>
                  <a:gd name="T8" fmla="*/ 1292 w 1309"/>
                  <a:gd name="T9" fmla="*/ 7 h 74"/>
                  <a:gd name="T10" fmla="*/ 1298 w 1309"/>
                  <a:gd name="T11" fmla="*/ 11 h 74"/>
                  <a:gd name="T12" fmla="*/ 1302 w 1309"/>
                  <a:gd name="T13" fmla="*/ 16 h 74"/>
                  <a:gd name="T14" fmla="*/ 1306 w 1309"/>
                  <a:gd name="T15" fmla="*/ 23 h 74"/>
                  <a:gd name="T16" fmla="*/ 1308 w 1309"/>
                  <a:gd name="T17" fmla="*/ 30 h 74"/>
                  <a:gd name="T18" fmla="*/ 1309 w 1309"/>
                  <a:gd name="T19" fmla="*/ 38 h 74"/>
                  <a:gd name="T20" fmla="*/ 1309 w 1309"/>
                  <a:gd name="T21" fmla="*/ 38 h 74"/>
                  <a:gd name="T22" fmla="*/ 1308 w 1309"/>
                  <a:gd name="T23" fmla="*/ 44 h 74"/>
                  <a:gd name="T24" fmla="*/ 1306 w 1309"/>
                  <a:gd name="T25" fmla="*/ 51 h 74"/>
                  <a:gd name="T26" fmla="*/ 1302 w 1309"/>
                  <a:gd name="T27" fmla="*/ 58 h 74"/>
                  <a:gd name="T28" fmla="*/ 1298 w 1309"/>
                  <a:gd name="T29" fmla="*/ 64 h 74"/>
                  <a:gd name="T30" fmla="*/ 1292 w 1309"/>
                  <a:gd name="T31" fmla="*/ 67 h 74"/>
                  <a:gd name="T32" fmla="*/ 1286 w 1309"/>
                  <a:gd name="T33" fmla="*/ 71 h 74"/>
                  <a:gd name="T34" fmla="*/ 1280 w 1309"/>
                  <a:gd name="T35" fmla="*/ 73 h 74"/>
                  <a:gd name="T36" fmla="*/ 1272 w 1309"/>
                  <a:gd name="T37" fmla="*/ 74 h 74"/>
                  <a:gd name="T38" fmla="*/ 36 w 1309"/>
                  <a:gd name="T39" fmla="*/ 74 h 74"/>
                  <a:gd name="T40" fmla="*/ 30 w 1309"/>
                  <a:gd name="T41" fmla="*/ 73 h 74"/>
                  <a:gd name="T42" fmla="*/ 23 w 1309"/>
                  <a:gd name="T43" fmla="*/ 71 h 74"/>
                  <a:gd name="T44" fmla="*/ 16 w 1309"/>
                  <a:gd name="T45" fmla="*/ 67 h 74"/>
                  <a:gd name="T46" fmla="*/ 10 w 1309"/>
                  <a:gd name="T47" fmla="*/ 64 h 74"/>
                  <a:gd name="T48" fmla="*/ 6 w 1309"/>
                  <a:gd name="T49" fmla="*/ 58 h 74"/>
                  <a:gd name="T50" fmla="*/ 2 w 1309"/>
                  <a:gd name="T51" fmla="*/ 51 h 74"/>
                  <a:gd name="T52" fmla="*/ 1 w 1309"/>
                  <a:gd name="T53" fmla="*/ 44 h 74"/>
                  <a:gd name="T54" fmla="*/ 0 w 1309"/>
                  <a:gd name="T55" fmla="*/ 38 h 74"/>
                  <a:gd name="T56" fmla="*/ 0 w 1309"/>
                  <a:gd name="T57" fmla="*/ 38 h 74"/>
                  <a:gd name="T58" fmla="*/ 1 w 1309"/>
                  <a:gd name="T59" fmla="*/ 30 h 74"/>
                  <a:gd name="T60" fmla="*/ 2 w 1309"/>
                  <a:gd name="T61" fmla="*/ 23 h 74"/>
                  <a:gd name="T62" fmla="*/ 6 w 1309"/>
                  <a:gd name="T63" fmla="*/ 16 h 74"/>
                  <a:gd name="T64" fmla="*/ 10 w 1309"/>
                  <a:gd name="T65" fmla="*/ 11 h 74"/>
                  <a:gd name="T66" fmla="*/ 16 w 1309"/>
                  <a:gd name="T67" fmla="*/ 7 h 74"/>
                  <a:gd name="T68" fmla="*/ 23 w 1309"/>
                  <a:gd name="T69" fmla="*/ 3 h 74"/>
                  <a:gd name="T70" fmla="*/ 30 w 1309"/>
                  <a:gd name="T71" fmla="*/ 1 h 74"/>
                  <a:gd name="T72" fmla="*/ 36 w 1309"/>
                  <a:gd name="T73" fmla="*/ 0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309" h="74">
                    <a:moveTo>
                      <a:pt x="36" y="0"/>
                    </a:moveTo>
                    <a:lnTo>
                      <a:pt x="1272" y="0"/>
                    </a:lnTo>
                    <a:lnTo>
                      <a:pt x="1280" y="1"/>
                    </a:lnTo>
                    <a:lnTo>
                      <a:pt x="1286" y="3"/>
                    </a:lnTo>
                    <a:lnTo>
                      <a:pt x="1292" y="7"/>
                    </a:lnTo>
                    <a:lnTo>
                      <a:pt x="1298" y="11"/>
                    </a:lnTo>
                    <a:lnTo>
                      <a:pt x="1302" y="16"/>
                    </a:lnTo>
                    <a:lnTo>
                      <a:pt x="1306" y="23"/>
                    </a:lnTo>
                    <a:lnTo>
                      <a:pt x="1308" y="30"/>
                    </a:lnTo>
                    <a:lnTo>
                      <a:pt x="1309" y="38"/>
                    </a:lnTo>
                    <a:lnTo>
                      <a:pt x="1309" y="38"/>
                    </a:lnTo>
                    <a:lnTo>
                      <a:pt x="1308" y="44"/>
                    </a:lnTo>
                    <a:lnTo>
                      <a:pt x="1306" y="51"/>
                    </a:lnTo>
                    <a:lnTo>
                      <a:pt x="1302" y="58"/>
                    </a:lnTo>
                    <a:lnTo>
                      <a:pt x="1298" y="64"/>
                    </a:lnTo>
                    <a:lnTo>
                      <a:pt x="1292" y="67"/>
                    </a:lnTo>
                    <a:lnTo>
                      <a:pt x="1286" y="71"/>
                    </a:lnTo>
                    <a:lnTo>
                      <a:pt x="1280" y="73"/>
                    </a:lnTo>
                    <a:lnTo>
                      <a:pt x="1272" y="74"/>
                    </a:lnTo>
                    <a:lnTo>
                      <a:pt x="36" y="74"/>
                    </a:lnTo>
                    <a:lnTo>
                      <a:pt x="30" y="73"/>
                    </a:lnTo>
                    <a:lnTo>
                      <a:pt x="23" y="71"/>
                    </a:lnTo>
                    <a:lnTo>
                      <a:pt x="16" y="67"/>
                    </a:lnTo>
                    <a:lnTo>
                      <a:pt x="10" y="64"/>
                    </a:lnTo>
                    <a:lnTo>
                      <a:pt x="6" y="58"/>
                    </a:lnTo>
                    <a:lnTo>
                      <a:pt x="2" y="51"/>
                    </a:lnTo>
                    <a:lnTo>
                      <a:pt x="1" y="44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1" y="30"/>
                    </a:lnTo>
                    <a:lnTo>
                      <a:pt x="2" y="23"/>
                    </a:lnTo>
                    <a:lnTo>
                      <a:pt x="6" y="16"/>
                    </a:lnTo>
                    <a:lnTo>
                      <a:pt x="10" y="11"/>
                    </a:lnTo>
                    <a:lnTo>
                      <a:pt x="16" y="7"/>
                    </a:lnTo>
                    <a:lnTo>
                      <a:pt x="23" y="3"/>
                    </a:lnTo>
                    <a:lnTo>
                      <a:pt x="30" y="1"/>
                    </a:lnTo>
                    <a:lnTo>
                      <a:pt x="36" y="0"/>
                    </a:lnTo>
                    <a:close/>
                  </a:path>
                </a:pathLst>
              </a:custGeom>
              <a:gradFill flip="none" rotWithShape="1">
                <a:gsLst>
                  <a:gs pos="28744">
                    <a:schemeClr val="bg1">
                      <a:lumMod val="75000"/>
                    </a:schemeClr>
                  </a:gs>
                  <a:gs pos="78000">
                    <a:srgbClr val="060606"/>
                  </a:gs>
                  <a:gs pos="100000">
                    <a:srgbClr val="3C3C3C"/>
                  </a:gs>
                  <a:gs pos="10000">
                    <a:schemeClr val="bg1">
                      <a:lumMod val="50000"/>
                    </a:schemeClr>
                  </a:gs>
                  <a:gs pos="54000">
                    <a:schemeClr val="tx1"/>
                  </a:gs>
                </a:gsLst>
                <a:lin ang="540000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82" name="Rectangle 13"/>
              <p:cNvSpPr>
                <a:spLocks noChangeArrowheads="1"/>
              </p:cNvSpPr>
              <p:nvPr/>
            </p:nvSpPr>
            <p:spPr bwMode="auto">
              <a:xfrm>
                <a:off x="3605213" y="142875"/>
                <a:ext cx="369888" cy="20638"/>
              </a:xfrm>
              <a:prstGeom prst="rect">
                <a:avLst/>
              </a:prstGeom>
              <a:gradFill flip="none" rotWithShape="1">
                <a:gsLst>
                  <a:gs pos="78000">
                    <a:schemeClr val="tx1">
                      <a:lumMod val="75000"/>
                      <a:lumOff val="25000"/>
                    </a:schemeClr>
                  </a:gs>
                  <a:gs pos="100000">
                    <a:srgbClr val="3C3C3C"/>
                  </a:gs>
                  <a:gs pos="0">
                    <a:schemeClr val="tx1">
                      <a:lumMod val="75000"/>
                      <a:lumOff val="25000"/>
                    </a:schemeClr>
                  </a:gs>
                  <a:gs pos="13000">
                    <a:schemeClr val="tx1">
                      <a:lumMod val="85000"/>
                      <a:lumOff val="15000"/>
                    </a:schemeClr>
                  </a:gs>
                </a:gsLst>
                <a:lin ang="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258" name="Group 257"/>
            <p:cNvGrpSpPr/>
            <p:nvPr/>
          </p:nvGrpSpPr>
          <p:grpSpPr>
            <a:xfrm>
              <a:off x="5131235" y="2035717"/>
              <a:ext cx="25874" cy="870588"/>
              <a:chOff x="2057454" y="822328"/>
              <a:chExt cx="30149" cy="1014410"/>
            </a:xfrm>
          </p:grpSpPr>
          <p:sp>
            <p:nvSpPr>
              <p:cNvPr id="375" name="Freeform 6"/>
              <p:cNvSpPr>
                <a:spLocks/>
              </p:cNvSpPr>
              <p:nvPr/>
            </p:nvSpPr>
            <p:spPr bwMode="auto">
              <a:xfrm>
                <a:off x="2057478" y="828677"/>
                <a:ext cx="19050" cy="200025"/>
              </a:xfrm>
              <a:custGeom>
                <a:avLst/>
                <a:gdLst>
                  <a:gd name="T0" fmla="*/ 0 w 74"/>
                  <a:gd name="T1" fmla="*/ 723 h 760"/>
                  <a:gd name="T2" fmla="*/ 0 w 74"/>
                  <a:gd name="T3" fmla="*/ 37 h 760"/>
                  <a:gd name="T4" fmla="*/ 1 w 74"/>
                  <a:gd name="T5" fmla="*/ 29 h 760"/>
                  <a:gd name="T6" fmla="*/ 3 w 74"/>
                  <a:gd name="T7" fmla="*/ 22 h 760"/>
                  <a:gd name="T8" fmla="*/ 7 w 74"/>
                  <a:gd name="T9" fmla="*/ 16 h 760"/>
                  <a:gd name="T10" fmla="*/ 11 w 74"/>
                  <a:gd name="T11" fmla="*/ 11 h 760"/>
                  <a:gd name="T12" fmla="*/ 16 w 74"/>
                  <a:gd name="T13" fmla="*/ 6 h 760"/>
                  <a:gd name="T14" fmla="*/ 23 w 74"/>
                  <a:gd name="T15" fmla="*/ 3 h 760"/>
                  <a:gd name="T16" fmla="*/ 30 w 74"/>
                  <a:gd name="T17" fmla="*/ 1 h 760"/>
                  <a:gd name="T18" fmla="*/ 38 w 74"/>
                  <a:gd name="T19" fmla="*/ 0 h 760"/>
                  <a:gd name="T20" fmla="*/ 38 w 74"/>
                  <a:gd name="T21" fmla="*/ 0 h 760"/>
                  <a:gd name="T22" fmla="*/ 44 w 74"/>
                  <a:gd name="T23" fmla="*/ 1 h 760"/>
                  <a:gd name="T24" fmla="*/ 51 w 74"/>
                  <a:gd name="T25" fmla="*/ 3 h 760"/>
                  <a:gd name="T26" fmla="*/ 58 w 74"/>
                  <a:gd name="T27" fmla="*/ 6 h 760"/>
                  <a:gd name="T28" fmla="*/ 63 w 74"/>
                  <a:gd name="T29" fmla="*/ 11 h 760"/>
                  <a:gd name="T30" fmla="*/ 67 w 74"/>
                  <a:gd name="T31" fmla="*/ 16 h 760"/>
                  <a:gd name="T32" fmla="*/ 71 w 74"/>
                  <a:gd name="T33" fmla="*/ 22 h 760"/>
                  <a:gd name="T34" fmla="*/ 73 w 74"/>
                  <a:gd name="T35" fmla="*/ 29 h 760"/>
                  <a:gd name="T36" fmla="*/ 74 w 74"/>
                  <a:gd name="T37" fmla="*/ 37 h 760"/>
                  <a:gd name="T38" fmla="*/ 74 w 74"/>
                  <a:gd name="T39" fmla="*/ 723 h 760"/>
                  <a:gd name="T40" fmla="*/ 73 w 74"/>
                  <a:gd name="T41" fmla="*/ 730 h 760"/>
                  <a:gd name="T42" fmla="*/ 71 w 74"/>
                  <a:gd name="T43" fmla="*/ 738 h 760"/>
                  <a:gd name="T44" fmla="*/ 67 w 74"/>
                  <a:gd name="T45" fmla="*/ 744 h 760"/>
                  <a:gd name="T46" fmla="*/ 63 w 74"/>
                  <a:gd name="T47" fmla="*/ 750 h 760"/>
                  <a:gd name="T48" fmla="*/ 58 w 74"/>
                  <a:gd name="T49" fmla="*/ 754 h 760"/>
                  <a:gd name="T50" fmla="*/ 51 w 74"/>
                  <a:gd name="T51" fmla="*/ 758 h 760"/>
                  <a:gd name="T52" fmla="*/ 44 w 74"/>
                  <a:gd name="T53" fmla="*/ 760 h 760"/>
                  <a:gd name="T54" fmla="*/ 38 w 74"/>
                  <a:gd name="T55" fmla="*/ 760 h 760"/>
                  <a:gd name="T56" fmla="*/ 38 w 74"/>
                  <a:gd name="T57" fmla="*/ 760 h 760"/>
                  <a:gd name="T58" fmla="*/ 30 w 74"/>
                  <a:gd name="T59" fmla="*/ 760 h 760"/>
                  <a:gd name="T60" fmla="*/ 23 w 74"/>
                  <a:gd name="T61" fmla="*/ 758 h 760"/>
                  <a:gd name="T62" fmla="*/ 16 w 74"/>
                  <a:gd name="T63" fmla="*/ 754 h 760"/>
                  <a:gd name="T64" fmla="*/ 11 w 74"/>
                  <a:gd name="T65" fmla="*/ 750 h 760"/>
                  <a:gd name="T66" fmla="*/ 7 w 74"/>
                  <a:gd name="T67" fmla="*/ 744 h 760"/>
                  <a:gd name="T68" fmla="*/ 3 w 74"/>
                  <a:gd name="T69" fmla="*/ 738 h 760"/>
                  <a:gd name="T70" fmla="*/ 1 w 74"/>
                  <a:gd name="T71" fmla="*/ 730 h 760"/>
                  <a:gd name="T72" fmla="*/ 0 w 74"/>
                  <a:gd name="T73" fmla="*/ 723 h 7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74" h="760">
                    <a:moveTo>
                      <a:pt x="0" y="723"/>
                    </a:moveTo>
                    <a:lnTo>
                      <a:pt x="0" y="37"/>
                    </a:lnTo>
                    <a:lnTo>
                      <a:pt x="1" y="29"/>
                    </a:lnTo>
                    <a:lnTo>
                      <a:pt x="3" y="22"/>
                    </a:lnTo>
                    <a:lnTo>
                      <a:pt x="7" y="16"/>
                    </a:lnTo>
                    <a:lnTo>
                      <a:pt x="11" y="11"/>
                    </a:lnTo>
                    <a:lnTo>
                      <a:pt x="16" y="6"/>
                    </a:lnTo>
                    <a:lnTo>
                      <a:pt x="23" y="3"/>
                    </a:lnTo>
                    <a:lnTo>
                      <a:pt x="30" y="1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4" y="1"/>
                    </a:lnTo>
                    <a:lnTo>
                      <a:pt x="51" y="3"/>
                    </a:lnTo>
                    <a:lnTo>
                      <a:pt x="58" y="6"/>
                    </a:lnTo>
                    <a:lnTo>
                      <a:pt x="63" y="11"/>
                    </a:lnTo>
                    <a:lnTo>
                      <a:pt x="67" y="16"/>
                    </a:lnTo>
                    <a:lnTo>
                      <a:pt x="71" y="22"/>
                    </a:lnTo>
                    <a:lnTo>
                      <a:pt x="73" y="29"/>
                    </a:lnTo>
                    <a:lnTo>
                      <a:pt x="74" y="37"/>
                    </a:lnTo>
                    <a:lnTo>
                      <a:pt x="74" y="723"/>
                    </a:lnTo>
                    <a:lnTo>
                      <a:pt x="73" y="730"/>
                    </a:lnTo>
                    <a:lnTo>
                      <a:pt x="71" y="738"/>
                    </a:lnTo>
                    <a:lnTo>
                      <a:pt x="67" y="744"/>
                    </a:lnTo>
                    <a:lnTo>
                      <a:pt x="63" y="750"/>
                    </a:lnTo>
                    <a:lnTo>
                      <a:pt x="58" y="754"/>
                    </a:lnTo>
                    <a:lnTo>
                      <a:pt x="51" y="758"/>
                    </a:lnTo>
                    <a:lnTo>
                      <a:pt x="44" y="760"/>
                    </a:lnTo>
                    <a:lnTo>
                      <a:pt x="38" y="760"/>
                    </a:lnTo>
                    <a:lnTo>
                      <a:pt x="38" y="760"/>
                    </a:lnTo>
                    <a:lnTo>
                      <a:pt x="30" y="760"/>
                    </a:lnTo>
                    <a:lnTo>
                      <a:pt x="23" y="758"/>
                    </a:lnTo>
                    <a:lnTo>
                      <a:pt x="16" y="754"/>
                    </a:lnTo>
                    <a:lnTo>
                      <a:pt x="11" y="750"/>
                    </a:lnTo>
                    <a:lnTo>
                      <a:pt x="7" y="744"/>
                    </a:lnTo>
                    <a:lnTo>
                      <a:pt x="3" y="738"/>
                    </a:lnTo>
                    <a:lnTo>
                      <a:pt x="1" y="730"/>
                    </a:lnTo>
                    <a:lnTo>
                      <a:pt x="0" y="723"/>
                    </a:lnTo>
                    <a:close/>
                  </a:path>
                </a:pathLst>
              </a:custGeom>
              <a:gradFill flip="none" rotWithShape="1">
                <a:gsLst>
                  <a:gs pos="28744">
                    <a:schemeClr val="bg1">
                      <a:lumMod val="75000"/>
                    </a:schemeClr>
                  </a:gs>
                  <a:gs pos="78000">
                    <a:srgbClr val="060606"/>
                  </a:gs>
                  <a:gs pos="100000">
                    <a:srgbClr val="3C3C3C"/>
                  </a:gs>
                  <a:gs pos="10000">
                    <a:schemeClr val="bg1">
                      <a:lumMod val="50000"/>
                    </a:schemeClr>
                  </a:gs>
                  <a:gs pos="54000">
                    <a:schemeClr val="tx1"/>
                  </a:gs>
                </a:gsLst>
                <a:lin ang="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76" name="Freeform 7"/>
              <p:cNvSpPr>
                <a:spLocks/>
              </p:cNvSpPr>
              <p:nvPr/>
            </p:nvSpPr>
            <p:spPr bwMode="auto">
              <a:xfrm>
                <a:off x="2057454" y="1281117"/>
                <a:ext cx="19050" cy="155575"/>
              </a:xfrm>
              <a:custGeom>
                <a:avLst/>
                <a:gdLst>
                  <a:gd name="T0" fmla="*/ 0 w 74"/>
                  <a:gd name="T1" fmla="*/ 550 h 588"/>
                  <a:gd name="T2" fmla="*/ 0 w 74"/>
                  <a:gd name="T3" fmla="*/ 37 h 588"/>
                  <a:gd name="T4" fmla="*/ 1 w 74"/>
                  <a:gd name="T5" fmla="*/ 29 h 588"/>
                  <a:gd name="T6" fmla="*/ 3 w 74"/>
                  <a:gd name="T7" fmla="*/ 22 h 588"/>
                  <a:gd name="T8" fmla="*/ 7 w 74"/>
                  <a:gd name="T9" fmla="*/ 17 h 588"/>
                  <a:gd name="T10" fmla="*/ 11 w 74"/>
                  <a:gd name="T11" fmla="*/ 11 h 588"/>
                  <a:gd name="T12" fmla="*/ 16 w 74"/>
                  <a:gd name="T13" fmla="*/ 6 h 588"/>
                  <a:gd name="T14" fmla="*/ 23 w 74"/>
                  <a:gd name="T15" fmla="*/ 3 h 588"/>
                  <a:gd name="T16" fmla="*/ 30 w 74"/>
                  <a:gd name="T17" fmla="*/ 1 h 588"/>
                  <a:gd name="T18" fmla="*/ 38 w 74"/>
                  <a:gd name="T19" fmla="*/ 0 h 588"/>
                  <a:gd name="T20" fmla="*/ 38 w 74"/>
                  <a:gd name="T21" fmla="*/ 0 h 588"/>
                  <a:gd name="T22" fmla="*/ 44 w 74"/>
                  <a:gd name="T23" fmla="*/ 1 h 588"/>
                  <a:gd name="T24" fmla="*/ 51 w 74"/>
                  <a:gd name="T25" fmla="*/ 3 h 588"/>
                  <a:gd name="T26" fmla="*/ 58 w 74"/>
                  <a:gd name="T27" fmla="*/ 6 h 588"/>
                  <a:gd name="T28" fmla="*/ 63 w 74"/>
                  <a:gd name="T29" fmla="*/ 11 h 588"/>
                  <a:gd name="T30" fmla="*/ 67 w 74"/>
                  <a:gd name="T31" fmla="*/ 17 h 588"/>
                  <a:gd name="T32" fmla="*/ 71 w 74"/>
                  <a:gd name="T33" fmla="*/ 22 h 588"/>
                  <a:gd name="T34" fmla="*/ 73 w 74"/>
                  <a:gd name="T35" fmla="*/ 29 h 588"/>
                  <a:gd name="T36" fmla="*/ 74 w 74"/>
                  <a:gd name="T37" fmla="*/ 37 h 588"/>
                  <a:gd name="T38" fmla="*/ 74 w 74"/>
                  <a:gd name="T39" fmla="*/ 550 h 588"/>
                  <a:gd name="T40" fmla="*/ 73 w 74"/>
                  <a:gd name="T41" fmla="*/ 558 h 588"/>
                  <a:gd name="T42" fmla="*/ 71 w 74"/>
                  <a:gd name="T43" fmla="*/ 565 h 588"/>
                  <a:gd name="T44" fmla="*/ 67 w 74"/>
                  <a:gd name="T45" fmla="*/ 571 h 588"/>
                  <a:gd name="T46" fmla="*/ 63 w 74"/>
                  <a:gd name="T47" fmla="*/ 576 h 588"/>
                  <a:gd name="T48" fmla="*/ 58 w 74"/>
                  <a:gd name="T49" fmla="*/ 581 h 588"/>
                  <a:gd name="T50" fmla="*/ 51 w 74"/>
                  <a:gd name="T51" fmla="*/ 584 h 588"/>
                  <a:gd name="T52" fmla="*/ 44 w 74"/>
                  <a:gd name="T53" fmla="*/ 587 h 588"/>
                  <a:gd name="T54" fmla="*/ 38 w 74"/>
                  <a:gd name="T55" fmla="*/ 588 h 588"/>
                  <a:gd name="T56" fmla="*/ 38 w 74"/>
                  <a:gd name="T57" fmla="*/ 588 h 588"/>
                  <a:gd name="T58" fmla="*/ 30 w 74"/>
                  <a:gd name="T59" fmla="*/ 587 h 588"/>
                  <a:gd name="T60" fmla="*/ 23 w 74"/>
                  <a:gd name="T61" fmla="*/ 584 h 588"/>
                  <a:gd name="T62" fmla="*/ 16 w 74"/>
                  <a:gd name="T63" fmla="*/ 581 h 588"/>
                  <a:gd name="T64" fmla="*/ 11 w 74"/>
                  <a:gd name="T65" fmla="*/ 576 h 588"/>
                  <a:gd name="T66" fmla="*/ 7 w 74"/>
                  <a:gd name="T67" fmla="*/ 571 h 588"/>
                  <a:gd name="T68" fmla="*/ 3 w 74"/>
                  <a:gd name="T69" fmla="*/ 565 h 588"/>
                  <a:gd name="T70" fmla="*/ 1 w 74"/>
                  <a:gd name="T71" fmla="*/ 558 h 588"/>
                  <a:gd name="T72" fmla="*/ 0 w 74"/>
                  <a:gd name="T73" fmla="*/ 550 h 5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74" h="588">
                    <a:moveTo>
                      <a:pt x="0" y="550"/>
                    </a:moveTo>
                    <a:lnTo>
                      <a:pt x="0" y="37"/>
                    </a:lnTo>
                    <a:lnTo>
                      <a:pt x="1" y="29"/>
                    </a:lnTo>
                    <a:lnTo>
                      <a:pt x="3" y="22"/>
                    </a:lnTo>
                    <a:lnTo>
                      <a:pt x="7" y="17"/>
                    </a:lnTo>
                    <a:lnTo>
                      <a:pt x="11" y="11"/>
                    </a:lnTo>
                    <a:lnTo>
                      <a:pt x="16" y="6"/>
                    </a:lnTo>
                    <a:lnTo>
                      <a:pt x="23" y="3"/>
                    </a:lnTo>
                    <a:lnTo>
                      <a:pt x="30" y="1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4" y="1"/>
                    </a:lnTo>
                    <a:lnTo>
                      <a:pt x="51" y="3"/>
                    </a:lnTo>
                    <a:lnTo>
                      <a:pt x="58" y="6"/>
                    </a:lnTo>
                    <a:lnTo>
                      <a:pt x="63" y="11"/>
                    </a:lnTo>
                    <a:lnTo>
                      <a:pt x="67" y="17"/>
                    </a:lnTo>
                    <a:lnTo>
                      <a:pt x="71" y="22"/>
                    </a:lnTo>
                    <a:lnTo>
                      <a:pt x="73" y="29"/>
                    </a:lnTo>
                    <a:lnTo>
                      <a:pt x="74" y="37"/>
                    </a:lnTo>
                    <a:lnTo>
                      <a:pt x="74" y="550"/>
                    </a:lnTo>
                    <a:lnTo>
                      <a:pt x="73" y="558"/>
                    </a:lnTo>
                    <a:lnTo>
                      <a:pt x="71" y="565"/>
                    </a:lnTo>
                    <a:lnTo>
                      <a:pt x="67" y="571"/>
                    </a:lnTo>
                    <a:lnTo>
                      <a:pt x="63" y="576"/>
                    </a:lnTo>
                    <a:lnTo>
                      <a:pt x="58" y="581"/>
                    </a:lnTo>
                    <a:lnTo>
                      <a:pt x="51" y="584"/>
                    </a:lnTo>
                    <a:lnTo>
                      <a:pt x="44" y="587"/>
                    </a:lnTo>
                    <a:lnTo>
                      <a:pt x="38" y="588"/>
                    </a:lnTo>
                    <a:lnTo>
                      <a:pt x="38" y="588"/>
                    </a:lnTo>
                    <a:lnTo>
                      <a:pt x="30" y="587"/>
                    </a:lnTo>
                    <a:lnTo>
                      <a:pt x="23" y="584"/>
                    </a:lnTo>
                    <a:lnTo>
                      <a:pt x="16" y="581"/>
                    </a:lnTo>
                    <a:lnTo>
                      <a:pt x="11" y="576"/>
                    </a:lnTo>
                    <a:lnTo>
                      <a:pt x="7" y="571"/>
                    </a:lnTo>
                    <a:lnTo>
                      <a:pt x="3" y="565"/>
                    </a:lnTo>
                    <a:lnTo>
                      <a:pt x="1" y="558"/>
                    </a:lnTo>
                    <a:lnTo>
                      <a:pt x="0" y="550"/>
                    </a:lnTo>
                    <a:close/>
                  </a:path>
                </a:pathLst>
              </a:custGeom>
              <a:gradFill flip="none" rotWithShape="1">
                <a:gsLst>
                  <a:gs pos="28744">
                    <a:schemeClr val="bg1">
                      <a:lumMod val="75000"/>
                    </a:schemeClr>
                  </a:gs>
                  <a:gs pos="78000">
                    <a:srgbClr val="060606"/>
                  </a:gs>
                  <a:gs pos="100000">
                    <a:srgbClr val="3C3C3C"/>
                  </a:gs>
                  <a:gs pos="10000">
                    <a:schemeClr val="bg1">
                      <a:lumMod val="50000"/>
                    </a:schemeClr>
                  </a:gs>
                  <a:gs pos="54000">
                    <a:schemeClr val="tx1"/>
                  </a:gs>
                </a:gsLst>
                <a:lin ang="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77" name="Freeform 8"/>
              <p:cNvSpPr>
                <a:spLocks/>
              </p:cNvSpPr>
              <p:nvPr/>
            </p:nvSpPr>
            <p:spPr bwMode="auto">
              <a:xfrm>
                <a:off x="2057473" y="1676404"/>
                <a:ext cx="19050" cy="155575"/>
              </a:xfrm>
              <a:custGeom>
                <a:avLst/>
                <a:gdLst>
                  <a:gd name="T0" fmla="*/ 0 w 74"/>
                  <a:gd name="T1" fmla="*/ 551 h 587"/>
                  <a:gd name="T2" fmla="*/ 0 w 74"/>
                  <a:gd name="T3" fmla="*/ 38 h 587"/>
                  <a:gd name="T4" fmla="*/ 1 w 74"/>
                  <a:gd name="T5" fmla="*/ 30 h 587"/>
                  <a:gd name="T6" fmla="*/ 3 w 74"/>
                  <a:gd name="T7" fmla="*/ 23 h 587"/>
                  <a:gd name="T8" fmla="*/ 7 w 74"/>
                  <a:gd name="T9" fmla="*/ 16 h 587"/>
                  <a:gd name="T10" fmla="*/ 11 w 74"/>
                  <a:gd name="T11" fmla="*/ 11 h 587"/>
                  <a:gd name="T12" fmla="*/ 16 w 74"/>
                  <a:gd name="T13" fmla="*/ 7 h 587"/>
                  <a:gd name="T14" fmla="*/ 23 w 74"/>
                  <a:gd name="T15" fmla="*/ 3 h 587"/>
                  <a:gd name="T16" fmla="*/ 30 w 74"/>
                  <a:gd name="T17" fmla="*/ 1 h 587"/>
                  <a:gd name="T18" fmla="*/ 38 w 74"/>
                  <a:gd name="T19" fmla="*/ 0 h 587"/>
                  <a:gd name="T20" fmla="*/ 38 w 74"/>
                  <a:gd name="T21" fmla="*/ 0 h 587"/>
                  <a:gd name="T22" fmla="*/ 44 w 74"/>
                  <a:gd name="T23" fmla="*/ 1 h 587"/>
                  <a:gd name="T24" fmla="*/ 51 w 74"/>
                  <a:gd name="T25" fmla="*/ 3 h 587"/>
                  <a:gd name="T26" fmla="*/ 58 w 74"/>
                  <a:gd name="T27" fmla="*/ 7 h 587"/>
                  <a:gd name="T28" fmla="*/ 63 w 74"/>
                  <a:gd name="T29" fmla="*/ 11 h 587"/>
                  <a:gd name="T30" fmla="*/ 67 w 74"/>
                  <a:gd name="T31" fmla="*/ 16 h 587"/>
                  <a:gd name="T32" fmla="*/ 71 w 74"/>
                  <a:gd name="T33" fmla="*/ 23 h 587"/>
                  <a:gd name="T34" fmla="*/ 73 w 74"/>
                  <a:gd name="T35" fmla="*/ 30 h 587"/>
                  <a:gd name="T36" fmla="*/ 74 w 74"/>
                  <a:gd name="T37" fmla="*/ 38 h 587"/>
                  <a:gd name="T38" fmla="*/ 74 w 74"/>
                  <a:gd name="T39" fmla="*/ 551 h 587"/>
                  <a:gd name="T40" fmla="*/ 73 w 74"/>
                  <a:gd name="T41" fmla="*/ 557 h 587"/>
                  <a:gd name="T42" fmla="*/ 71 w 74"/>
                  <a:gd name="T43" fmla="*/ 564 h 587"/>
                  <a:gd name="T44" fmla="*/ 67 w 74"/>
                  <a:gd name="T45" fmla="*/ 571 h 587"/>
                  <a:gd name="T46" fmla="*/ 63 w 74"/>
                  <a:gd name="T47" fmla="*/ 577 h 587"/>
                  <a:gd name="T48" fmla="*/ 58 w 74"/>
                  <a:gd name="T49" fmla="*/ 581 h 587"/>
                  <a:gd name="T50" fmla="*/ 51 w 74"/>
                  <a:gd name="T51" fmla="*/ 585 h 587"/>
                  <a:gd name="T52" fmla="*/ 44 w 74"/>
                  <a:gd name="T53" fmla="*/ 586 h 587"/>
                  <a:gd name="T54" fmla="*/ 38 w 74"/>
                  <a:gd name="T55" fmla="*/ 587 h 587"/>
                  <a:gd name="T56" fmla="*/ 38 w 74"/>
                  <a:gd name="T57" fmla="*/ 587 h 587"/>
                  <a:gd name="T58" fmla="*/ 30 w 74"/>
                  <a:gd name="T59" fmla="*/ 586 h 587"/>
                  <a:gd name="T60" fmla="*/ 23 w 74"/>
                  <a:gd name="T61" fmla="*/ 585 h 587"/>
                  <a:gd name="T62" fmla="*/ 16 w 74"/>
                  <a:gd name="T63" fmla="*/ 581 h 587"/>
                  <a:gd name="T64" fmla="*/ 11 w 74"/>
                  <a:gd name="T65" fmla="*/ 577 h 587"/>
                  <a:gd name="T66" fmla="*/ 7 w 74"/>
                  <a:gd name="T67" fmla="*/ 571 h 587"/>
                  <a:gd name="T68" fmla="*/ 3 w 74"/>
                  <a:gd name="T69" fmla="*/ 564 h 587"/>
                  <a:gd name="T70" fmla="*/ 1 w 74"/>
                  <a:gd name="T71" fmla="*/ 557 h 587"/>
                  <a:gd name="T72" fmla="*/ 0 w 74"/>
                  <a:gd name="T73" fmla="*/ 551 h 5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74" h="587">
                    <a:moveTo>
                      <a:pt x="0" y="551"/>
                    </a:moveTo>
                    <a:lnTo>
                      <a:pt x="0" y="38"/>
                    </a:lnTo>
                    <a:lnTo>
                      <a:pt x="1" y="30"/>
                    </a:lnTo>
                    <a:lnTo>
                      <a:pt x="3" y="23"/>
                    </a:lnTo>
                    <a:lnTo>
                      <a:pt x="7" y="16"/>
                    </a:lnTo>
                    <a:lnTo>
                      <a:pt x="11" y="11"/>
                    </a:lnTo>
                    <a:lnTo>
                      <a:pt x="16" y="7"/>
                    </a:lnTo>
                    <a:lnTo>
                      <a:pt x="23" y="3"/>
                    </a:lnTo>
                    <a:lnTo>
                      <a:pt x="30" y="1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4" y="1"/>
                    </a:lnTo>
                    <a:lnTo>
                      <a:pt x="51" y="3"/>
                    </a:lnTo>
                    <a:lnTo>
                      <a:pt x="58" y="7"/>
                    </a:lnTo>
                    <a:lnTo>
                      <a:pt x="63" y="11"/>
                    </a:lnTo>
                    <a:lnTo>
                      <a:pt x="67" y="16"/>
                    </a:lnTo>
                    <a:lnTo>
                      <a:pt x="71" y="23"/>
                    </a:lnTo>
                    <a:lnTo>
                      <a:pt x="73" y="30"/>
                    </a:lnTo>
                    <a:lnTo>
                      <a:pt x="74" y="38"/>
                    </a:lnTo>
                    <a:lnTo>
                      <a:pt x="74" y="551"/>
                    </a:lnTo>
                    <a:lnTo>
                      <a:pt x="73" y="557"/>
                    </a:lnTo>
                    <a:lnTo>
                      <a:pt x="71" y="564"/>
                    </a:lnTo>
                    <a:lnTo>
                      <a:pt x="67" y="571"/>
                    </a:lnTo>
                    <a:lnTo>
                      <a:pt x="63" y="577"/>
                    </a:lnTo>
                    <a:lnTo>
                      <a:pt x="58" y="581"/>
                    </a:lnTo>
                    <a:lnTo>
                      <a:pt x="51" y="585"/>
                    </a:lnTo>
                    <a:lnTo>
                      <a:pt x="44" y="586"/>
                    </a:lnTo>
                    <a:lnTo>
                      <a:pt x="38" y="587"/>
                    </a:lnTo>
                    <a:lnTo>
                      <a:pt x="38" y="587"/>
                    </a:lnTo>
                    <a:lnTo>
                      <a:pt x="30" y="586"/>
                    </a:lnTo>
                    <a:lnTo>
                      <a:pt x="23" y="585"/>
                    </a:lnTo>
                    <a:lnTo>
                      <a:pt x="16" y="581"/>
                    </a:lnTo>
                    <a:lnTo>
                      <a:pt x="11" y="577"/>
                    </a:lnTo>
                    <a:lnTo>
                      <a:pt x="7" y="571"/>
                    </a:lnTo>
                    <a:lnTo>
                      <a:pt x="3" y="564"/>
                    </a:lnTo>
                    <a:lnTo>
                      <a:pt x="1" y="557"/>
                    </a:lnTo>
                    <a:lnTo>
                      <a:pt x="0" y="551"/>
                    </a:lnTo>
                    <a:close/>
                  </a:path>
                </a:pathLst>
              </a:custGeom>
              <a:gradFill flip="none" rotWithShape="1">
                <a:gsLst>
                  <a:gs pos="28744">
                    <a:schemeClr val="bg1">
                      <a:lumMod val="75000"/>
                    </a:schemeClr>
                  </a:gs>
                  <a:gs pos="78000">
                    <a:srgbClr val="060606"/>
                  </a:gs>
                  <a:gs pos="100000">
                    <a:srgbClr val="3C3C3C"/>
                  </a:gs>
                  <a:gs pos="10000">
                    <a:schemeClr val="bg1">
                      <a:lumMod val="50000"/>
                    </a:schemeClr>
                  </a:gs>
                  <a:gs pos="54000">
                    <a:schemeClr val="tx1"/>
                  </a:gs>
                </a:gsLst>
                <a:lin ang="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78" name="Rectangle 9"/>
              <p:cNvSpPr>
                <a:spLocks noChangeArrowheads="1"/>
              </p:cNvSpPr>
              <p:nvPr/>
            </p:nvSpPr>
            <p:spPr bwMode="auto">
              <a:xfrm>
                <a:off x="2066965" y="822328"/>
                <a:ext cx="20638" cy="214313"/>
              </a:xfrm>
              <a:prstGeom prst="rect">
                <a:avLst/>
              </a:prstGeom>
              <a:gradFill flip="none" rotWithShape="1">
                <a:gsLst>
                  <a:gs pos="78000">
                    <a:schemeClr val="tx1">
                      <a:lumMod val="75000"/>
                      <a:lumOff val="25000"/>
                    </a:schemeClr>
                  </a:gs>
                  <a:gs pos="100000">
                    <a:srgbClr val="3C3C3C"/>
                  </a:gs>
                  <a:gs pos="0">
                    <a:schemeClr val="tx1">
                      <a:lumMod val="75000"/>
                      <a:lumOff val="25000"/>
                    </a:schemeClr>
                  </a:gs>
                  <a:gs pos="13000">
                    <a:schemeClr val="tx1">
                      <a:lumMod val="85000"/>
                      <a:lumOff val="15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79" name="Rectangle 10"/>
              <p:cNvSpPr>
                <a:spLocks noChangeArrowheads="1"/>
              </p:cNvSpPr>
              <p:nvPr/>
            </p:nvSpPr>
            <p:spPr bwMode="auto">
              <a:xfrm>
                <a:off x="2066960" y="1276353"/>
                <a:ext cx="20638" cy="165101"/>
              </a:xfrm>
              <a:prstGeom prst="rect">
                <a:avLst/>
              </a:prstGeom>
              <a:gradFill flip="none" rotWithShape="1">
                <a:gsLst>
                  <a:gs pos="78000">
                    <a:schemeClr val="tx1">
                      <a:lumMod val="75000"/>
                      <a:lumOff val="25000"/>
                    </a:schemeClr>
                  </a:gs>
                  <a:gs pos="100000">
                    <a:srgbClr val="3C3C3C"/>
                  </a:gs>
                  <a:gs pos="0">
                    <a:schemeClr val="tx1">
                      <a:lumMod val="75000"/>
                      <a:lumOff val="25000"/>
                    </a:schemeClr>
                  </a:gs>
                  <a:gs pos="13000">
                    <a:schemeClr val="tx1">
                      <a:lumMod val="85000"/>
                      <a:lumOff val="15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80" name="Rectangle 11"/>
              <p:cNvSpPr>
                <a:spLocks noChangeArrowheads="1"/>
              </p:cNvSpPr>
              <p:nvPr/>
            </p:nvSpPr>
            <p:spPr bwMode="auto">
              <a:xfrm>
                <a:off x="2066925" y="1670049"/>
                <a:ext cx="20638" cy="166689"/>
              </a:xfrm>
              <a:prstGeom prst="rect">
                <a:avLst/>
              </a:prstGeom>
              <a:gradFill flip="none" rotWithShape="1">
                <a:gsLst>
                  <a:gs pos="78000">
                    <a:schemeClr val="tx1">
                      <a:lumMod val="75000"/>
                      <a:lumOff val="25000"/>
                    </a:schemeClr>
                  </a:gs>
                  <a:gs pos="100000">
                    <a:srgbClr val="3C3C3C"/>
                  </a:gs>
                  <a:gs pos="0">
                    <a:schemeClr val="tx1">
                      <a:lumMod val="75000"/>
                      <a:lumOff val="25000"/>
                    </a:schemeClr>
                  </a:gs>
                  <a:gs pos="13000">
                    <a:schemeClr val="tx1">
                      <a:lumMod val="85000"/>
                      <a:lumOff val="15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259" name="Freeform 14"/>
            <p:cNvSpPr>
              <a:spLocks/>
            </p:cNvSpPr>
            <p:nvPr/>
          </p:nvSpPr>
          <p:spPr bwMode="auto">
            <a:xfrm>
              <a:off x="5154418" y="1466220"/>
              <a:ext cx="1938738" cy="4119988"/>
            </a:xfrm>
            <a:custGeom>
              <a:avLst/>
              <a:gdLst>
                <a:gd name="T0" fmla="*/ 7316 w 8536"/>
                <a:gd name="T1" fmla="*/ 1 h 18144"/>
                <a:gd name="T2" fmla="*/ 7508 w 8536"/>
                <a:gd name="T3" fmla="*/ 26 h 18144"/>
                <a:gd name="T4" fmla="*/ 7691 w 8536"/>
                <a:gd name="T5" fmla="*/ 77 h 18144"/>
                <a:gd name="T6" fmla="*/ 7862 w 8536"/>
                <a:gd name="T7" fmla="*/ 155 h 18144"/>
                <a:gd name="T8" fmla="*/ 8018 w 8536"/>
                <a:gd name="T9" fmla="*/ 255 h 18144"/>
                <a:gd name="T10" fmla="*/ 8158 w 8536"/>
                <a:gd name="T11" fmla="*/ 377 h 18144"/>
                <a:gd name="T12" fmla="*/ 8279 w 8536"/>
                <a:gd name="T13" fmla="*/ 517 h 18144"/>
                <a:gd name="T14" fmla="*/ 8380 w 8536"/>
                <a:gd name="T15" fmla="*/ 674 h 18144"/>
                <a:gd name="T16" fmla="*/ 8457 w 8536"/>
                <a:gd name="T17" fmla="*/ 845 h 18144"/>
                <a:gd name="T18" fmla="*/ 8510 w 8536"/>
                <a:gd name="T19" fmla="*/ 1027 h 18144"/>
                <a:gd name="T20" fmla="*/ 8535 w 8536"/>
                <a:gd name="T21" fmla="*/ 1218 h 18144"/>
                <a:gd name="T22" fmla="*/ 8535 w 8536"/>
                <a:gd name="T23" fmla="*/ 16924 h 18144"/>
                <a:gd name="T24" fmla="*/ 8510 w 8536"/>
                <a:gd name="T25" fmla="*/ 17117 h 18144"/>
                <a:gd name="T26" fmla="*/ 8457 w 8536"/>
                <a:gd name="T27" fmla="*/ 17299 h 18144"/>
                <a:gd name="T28" fmla="*/ 8380 w 8536"/>
                <a:gd name="T29" fmla="*/ 17470 h 18144"/>
                <a:gd name="T30" fmla="*/ 8279 w 8536"/>
                <a:gd name="T31" fmla="*/ 17626 h 18144"/>
                <a:gd name="T32" fmla="*/ 8158 w 8536"/>
                <a:gd name="T33" fmla="*/ 17767 h 18144"/>
                <a:gd name="T34" fmla="*/ 8018 w 8536"/>
                <a:gd name="T35" fmla="*/ 17888 h 18144"/>
                <a:gd name="T36" fmla="*/ 7862 w 8536"/>
                <a:gd name="T37" fmla="*/ 17988 h 18144"/>
                <a:gd name="T38" fmla="*/ 7691 w 8536"/>
                <a:gd name="T39" fmla="*/ 18065 h 18144"/>
                <a:gd name="T40" fmla="*/ 7508 w 8536"/>
                <a:gd name="T41" fmla="*/ 18118 h 18144"/>
                <a:gd name="T42" fmla="*/ 7316 w 8536"/>
                <a:gd name="T43" fmla="*/ 18143 h 18144"/>
                <a:gd name="T44" fmla="*/ 1220 w 8536"/>
                <a:gd name="T45" fmla="*/ 18143 h 18144"/>
                <a:gd name="T46" fmla="*/ 1027 w 8536"/>
                <a:gd name="T47" fmla="*/ 18118 h 18144"/>
                <a:gd name="T48" fmla="*/ 845 w 8536"/>
                <a:gd name="T49" fmla="*/ 18065 h 18144"/>
                <a:gd name="T50" fmla="*/ 674 w 8536"/>
                <a:gd name="T51" fmla="*/ 17988 h 18144"/>
                <a:gd name="T52" fmla="*/ 518 w 8536"/>
                <a:gd name="T53" fmla="*/ 17888 h 18144"/>
                <a:gd name="T54" fmla="*/ 377 w 8536"/>
                <a:gd name="T55" fmla="*/ 17767 h 18144"/>
                <a:gd name="T56" fmla="*/ 256 w 8536"/>
                <a:gd name="T57" fmla="*/ 17626 h 18144"/>
                <a:gd name="T58" fmla="*/ 156 w 8536"/>
                <a:gd name="T59" fmla="*/ 17470 h 18144"/>
                <a:gd name="T60" fmla="*/ 78 w 8536"/>
                <a:gd name="T61" fmla="*/ 17299 h 18144"/>
                <a:gd name="T62" fmla="*/ 26 w 8536"/>
                <a:gd name="T63" fmla="*/ 17117 h 18144"/>
                <a:gd name="T64" fmla="*/ 2 w 8536"/>
                <a:gd name="T65" fmla="*/ 16924 h 18144"/>
                <a:gd name="T66" fmla="*/ 2 w 8536"/>
                <a:gd name="T67" fmla="*/ 1218 h 18144"/>
                <a:gd name="T68" fmla="*/ 26 w 8536"/>
                <a:gd name="T69" fmla="*/ 1027 h 18144"/>
                <a:gd name="T70" fmla="*/ 78 w 8536"/>
                <a:gd name="T71" fmla="*/ 845 h 18144"/>
                <a:gd name="T72" fmla="*/ 156 w 8536"/>
                <a:gd name="T73" fmla="*/ 674 h 18144"/>
                <a:gd name="T74" fmla="*/ 256 w 8536"/>
                <a:gd name="T75" fmla="*/ 517 h 18144"/>
                <a:gd name="T76" fmla="*/ 377 w 8536"/>
                <a:gd name="T77" fmla="*/ 377 h 18144"/>
                <a:gd name="T78" fmla="*/ 518 w 8536"/>
                <a:gd name="T79" fmla="*/ 255 h 18144"/>
                <a:gd name="T80" fmla="*/ 674 w 8536"/>
                <a:gd name="T81" fmla="*/ 155 h 18144"/>
                <a:gd name="T82" fmla="*/ 845 w 8536"/>
                <a:gd name="T83" fmla="*/ 77 h 18144"/>
                <a:gd name="T84" fmla="*/ 1027 w 8536"/>
                <a:gd name="T85" fmla="*/ 26 h 18144"/>
                <a:gd name="T86" fmla="*/ 1220 w 8536"/>
                <a:gd name="T87" fmla="*/ 1 h 18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536" h="18144">
                  <a:moveTo>
                    <a:pt x="1286" y="0"/>
                  </a:moveTo>
                  <a:lnTo>
                    <a:pt x="7249" y="0"/>
                  </a:lnTo>
                  <a:lnTo>
                    <a:pt x="7316" y="1"/>
                  </a:lnTo>
                  <a:lnTo>
                    <a:pt x="7381" y="5"/>
                  </a:lnTo>
                  <a:lnTo>
                    <a:pt x="7446" y="15"/>
                  </a:lnTo>
                  <a:lnTo>
                    <a:pt x="7508" y="26"/>
                  </a:lnTo>
                  <a:lnTo>
                    <a:pt x="7570" y="40"/>
                  </a:lnTo>
                  <a:lnTo>
                    <a:pt x="7632" y="58"/>
                  </a:lnTo>
                  <a:lnTo>
                    <a:pt x="7691" y="77"/>
                  </a:lnTo>
                  <a:lnTo>
                    <a:pt x="7749" y="101"/>
                  </a:lnTo>
                  <a:lnTo>
                    <a:pt x="7806" y="126"/>
                  </a:lnTo>
                  <a:lnTo>
                    <a:pt x="7862" y="155"/>
                  </a:lnTo>
                  <a:lnTo>
                    <a:pt x="7916" y="186"/>
                  </a:lnTo>
                  <a:lnTo>
                    <a:pt x="7968" y="220"/>
                  </a:lnTo>
                  <a:lnTo>
                    <a:pt x="8018" y="255"/>
                  </a:lnTo>
                  <a:lnTo>
                    <a:pt x="8067" y="294"/>
                  </a:lnTo>
                  <a:lnTo>
                    <a:pt x="8114" y="334"/>
                  </a:lnTo>
                  <a:lnTo>
                    <a:pt x="8158" y="377"/>
                  </a:lnTo>
                  <a:lnTo>
                    <a:pt x="8201" y="422"/>
                  </a:lnTo>
                  <a:lnTo>
                    <a:pt x="8242" y="468"/>
                  </a:lnTo>
                  <a:lnTo>
                    <a:pt x="8279" y="517"/>
                  </a:lnTo>
                  <a:lnTo>
                    <a:pt x="8316" y="567"/>
                  </a:lnTo>
                  <a:lnTo>
                    <a:pt x="8349" y="620"/>
                  </a:lnTo>
                  <a:lnTo>
                    <a:pt x="8380" y="674"/>
                  </a:lnTo>
                  <a:lnTo>
                    <a:pt x="8408" y="728"/>
                  </a:lnTo>
                  <a:lnTo>
                    <a:pt x="8434" y="785"/>
                  </a:lnTo>
                  <a:lnTo>
                    <a:pt x="8457" y="845"/>
                  </a:lnTo>
                  <a:lnTo>
                    <a:pt x="8478" y="904"/>
                  </a:lnTo>
                  <a:lnTo>
                    <a:pt x="8495" y="964"/>
                  </a:lnTo>
                  <a:lnTo>
                    <a:pt x="8510" y="1027"/>
                  </a:lnTo>
                  <a:lnTo>
                    <a:pt x="8521" y="1090"/>
                  </a:lnTo>
                  <a:lnTo>
                    <a:pt x="8529" y="1153"/>
                  </a:lnTo>
                  <a:lnTo>
                    <a:pt x="8535" y="1218"/>
                  </a:lnTo>
                  <a:lnTo>
                    <a:pt x="8536" y="1285"/>
                  </a:lnTo>
                  <a:lnTo>
                    <a:pt x="8536" y="16858"/>
                  </a:lnTo>
                  <a:lnTo>
                    <a:pt x="8535" y="16924"/>
                  </a:lnTo>
                  <a:lnTo>
                    <a:pt x="8529" y="16989"/>
                  </a:lnTo>
                  <a:lnTo>
                    <a:pt x="8521" y="17054"/>
                  </a:lnTo>
                  <a:lnTo>
                    <a:pt x="8510" y="17117"/>
                  </a:lnTo>
                  <a:lnTo>
                    <a:pt x="8495" y="17178"/>
                  </a:lnTo>
                  <a:lnTo>
                    <a:pt x="8478" y="17240"/>
                  </a:lnTo>
                  <a:lnTo>
                    <a:pt x="8457" y="17299"/>
                  </a:lnTo>
                  <a:lnTo>
                    <a:pt x="8434" y="17357"/>
                  </a:lnTo>
                  <a:lnTo>
                    <a:pt x="8408" y="17414"/>
                  </a:lnTo>
                  <a:lnTo>
                    <a:pt x="8380" y="17470"/>
                  </a:lnTo>
                  <a:lnTo>
                    <a:pt x="8349" y="17524"/>
                  </a:lnTo>
                  <a:lnTo>
                    <a:pt x="8316" y="17576"/>
                  </a:lnTo>
                  <a:lnTo>
                    <a:pt x="8279" y="17626"/>
                  </a:lnTo>
                  <a:lnTo>
                    <a:pt x="8242" y="17675"/>
                  </a:lnTo>
                  <a:lnTo>
                    <a:pt x="8201" y="17722"/>
                  </a:lnTo>
                  <a:lnTo>
                    <a:pt x="8158" y="17767"/>
                  </a:lnTo>
                  <a:lnTo>
                    <a:pt x="8114" y="17809"/>
                  </a:lnTo>
                  <a:lnTo>
                    <a:pt x="8067" y="17850"/>
                  </a:lnTo>
                  <a:lnTo>
                    <a:pt x="8018" y="17888"/>
                  </a:lnTo>
                  <a:lnTo>
                    <a:pt x="7968" y="17924"/>
                  </a:lnTo>
                  <a:lnTo>
                    <a:pt x="7916" y="17957"/>
                  </a:lnTo>
                  <a:lnTo>
                    <a:pt x="7862" y="17988"/>
                  </a:lnTo>
                  <a:lnTo>
                    <a:pt x="7806" y="18016"/>
                  </a:lnTo>
                  <a:lnTo>
                    <a:pt x="7749" y="18043"/>
                  </a:lnTo>
                  <a:lnTo>
                    <a:pt x="7691" y="18065"/>
                  </a:lnTo>
                  <a:lnTo>
                    <a:pt x="7632" y="18086"/>
                  </a:lnTo>
                  <a:lnTo>
                    <a:pt x="7570" y="18103"/>
                  </a:lnTo>
                  <a:lnTo>
                    <a:pt x="7508" y="18118"/>
                  </a:lnTo>
                  <a:lnTo>
                    <a:pt x="7446" y="18129"/>
                  </a:lnTo>
                  <a:lnTo>
                    <a:pt x="7381" y="18137"/>
                  </a:lnTo>
                  <a:lnTo>
                    <a:pt x="7316" y="18143"/>
                  </a:lnTo>
                  <a:lnTo>
                    <a:pt x="7249" y="18144"/>
                  </a:lnTo>
                  <a:lnTo>
                    <a:pt x="1286" y="18144"/>
                  </a:lnTo>
                  <a:lnTo>
                    <a:pt x="1220" y="18143"/>
                  </a:lnTo>
                  <a:lnTo>
                    <a:pt x="1155" y="18137"/>
                  </a:lnTo>
                  <a:lnTo>
                    <a:pt x="1091" y="18129"/>
                  </a:lnTo>
                  <a:lnTo>
                    <a:pt x="1027" y="18118"/>
                  </a:lnTo>
                  <a:lnTo>
                    <a:pt x="966" y="18103"/>
                  </a:lnTo>
                  <a:lnTo>
                    <a:pt x="904" y="18086"/>
                  </a:lnTo>
                  <a:lnTo>
                    <a:pt x="845" y="18065"/>
                  </a:lnTo>
                  <a:lnTo>
                    <a:pt x="787" y="18043"/>
                  </a:lnTo>
                  <a:lnTo>
                    <a:pt x="730" y="18016"/>
                  </a:lnTo>
                  <a:lnTo>
                    <a:pt x="674" y="17988"/>
                  </a:lnTo>
                  <a:lnTo>
                    <a:pt x="620" y="17957"/>
                  </a:lnTo>
                  <a:lnTo>
                    <a:pt x="569" y="17924"/>
                  </a:lnTo>
                  <a:lnTo>
                    <a:pt x="518" y="17888"/>
                  </a:lnTo>
                  <a:lnTo>
                    <a:pt x="470" y="17850"/>
                  </a:lnTo>
                  <a:lnTo>
                    <a:pt x="423" y="17809"/>
                  </a:lnTo>
                  <a:lnTo>
                    <a:pt x="377" y="17767"/>
                  </a:lnTo>
                  <a:lnTo>
                    <a:pt x="335" y="17722"/>
                  </a:lnTo>
                  <a:lnTo>
                    <a:pt x="295" y="17675"/>
                  </a:lnTo>
                  <a:lnTo>
                    <a:pt x="256" y="17626"/>
                  </a:lnTo>
                  <a:lnTo>
                    <a:pt x="221" y="17576"/>
                  </a:lnTo>
                  <a:lnTo>
                    <a:pt x="187" y="17524"/>
                  </a:lnTo>
                  <a:lnTo>
                    <a:pt x="156" y="17470"/>
                  </a:lnTo>
                  <a:lnTo>
                    <a:pt x="128" y="17414"/>
                  </a:lnTo>
                  <a:lnTo>
                    <a:pt x="101" y="17357"/>
                  </a:lnTo>
                  <a:lnTo>
                    <a:pt x="78" y="17299"/>
                  </a:lnTo>
                  <a:lnTo>
                    <a:pt x="58" y="17240"/>
                  </a:lnTo>
                  <a:lnTo>
                    <a:pt x="41" y="17178"/>
                  </a:lnTo>
                  <a:lnTo>
                    <a:pt x="26" y="17117"/>
                  </a:lnTo>
                  <a:lnTo>
                    <a:pt x="15" y="17054"/>
                  </a:lnTo>
                  <a:lnTo>
                    <a:pt x="7" y="16989"/>
                  </a:lnTo>
                  <a:lnTo>
                    <a:pt x="2" y="16924"/>
                  </a:lnTo>
                  <a:lnTo>
                    <a:pt x="0" y="16858"/>
                  </a:lnTo>
                  <a:lnTo>
                    <a:pt x="0" y="1285"/>
                  </a:lnTo>
                  <a:lnTo>
                    <a:pt x="2" y="1218"/>
                  </a:lnTo>
                  <a:lnTo>
                    <a:pt x="7" y="1153"/>
                  </a:lnTo>
                  <a:lnTo>
                    <a:pt x="15" y="1090"/>
                  </a:lnTo>
                  <a:lnTo>
                    <a:pt x="26" y="1027"/>
                  </a:lnTo>
                  <a:lnTo>
                    <a:pt x="41" y="964"/>
                  </a:lnTo>
                  <a:lnTo>
                    <a:pt x="58" y="904"/>
                  </a:lnTo>
                  <a:lnTo>
                    <a:pt x="78" y="845"/>
                  </a:lnTo>
                  <a:lnTo>
                    <a:pt x="101" y="785"/>
                  </a:lnTo>
                  <a:lnTo>
                    <a:pt x="128" y="728"/>
                  </a:lnTo>
                  <a:lnTo>
                    <a:pt x="156" y="674"/>
                  </a:lnTo>
                  <a:lnTo>
                    <a:pt x="187" y="620"/>
                  </a:lnTo>
                  <a:lnTo>
                    <a:pt x="221" y="567"/>
                  </a:lnTo>
                  <a:lnTo>
                    <a:pt x="256" y="517"/>
                  </a:lnTo>
                  <a:lnTo>
                    <a:pt x="295" y="468"/>
                  </a:lnTo>
                  <a:lnTo>
                    <a:pt x="335" y="422"/>
                  </a:lnTo>
                  <a:lnTo>
                    <a:pt x="377" y="377"/>
                  </a:lnTo>
                  <a:lnTo>
                    <a:pt x="423" y="334"/>
                  </a:lnTo>
                  <a:lnTo>
                    <a:pt x="470" y="294"/>
                  </a:lnTo>
                  <a:lnTo>
                    <a:pt x="518" y="255"/>
                  </a:lnTo>
                  <a:lnTo>
                    <a:pt x="569" y="220"/>
                  </a:lnTo>
                  <a:lnTo>
                    <a:pt x="620" y="186"/>
                  </a:lnTo>
                  <a:lnTo>
                    <a:pt x="674" y="155"/>
                  </a:lnTo>
                  <a:lnTo>
                    <a:pt x="730" y="126"/>
                  </a:lnTo>
                  <a:lnTo>
                    <a:pt x="787" y="101"/>
                  </a:lnTo>
                  <a:lnTo>
                    <a:pt x="845" y="77"/>
                  </a:lnTo>
                  <a:lnTo>
                    <a:pt x="904" y="58"/>
                  </a:lnTo>
                  <a:lnTo>
                    <a:pt x="966" y="40"/>
                  </a:lnTo>
                  <a:lnTo>
                    <a:pt x="1027" y="26"/>
                  </a:lnTo>
                  <a:lnTo>
                    <a:pt x="1091" y="15"/>
                  </a:lnTo>
                  <a:lnTo>
                    <a:pt x="1155" y="5"/>
                  </a:lnTo>
                  <a:lnTo>
                    <a:pt x="1220" y="1"/>
                  </a:lnTo>
                  <a:lnTo>
                    <a:pt x="1286" y="0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0" name="Freeform 15"/>
            <p:cNvSpPr>
              <a:spLocks/>
            </p:cNvSpPr>
            <p:nvPr/>
          </p:nvSpPr>
          <p:spPr bwMode="auto">
            <a:xfrm>
              <a:off x="5173492" y="1485294"/>
              <a:ext cx="1900590" cy="4081840"/>
            </a:xfrm>
            <a:custGeom>
              <a:avLst/>
              <a:gdLst>
                <a:gd name="T0" fmla="*/ 7245 w 8370"/>
                <a:gd name="T1" fmla="*/ 2 h 17971"/>
                <a:gd name="T2" fmla="*/ 7422 w 8370"/>
                <a:gd name="T3" fmla="*/ 24 h 17971"/>
                <a:gd name="T4" fmla="*/ 7591 w 8370"/>
                <a:gd name="T5" fmla="*/ 72 h 17971"/>
                <a:gd name="T6" fmla="*/ 7748 w 8370"/>
                <a:gd name="T7" fmla="*/ 143 h 17971"/>
                <a:gd name="T8" fmla="*/ 7892 w 8370"/>
                <a:gd name="T9" fmla="*/ 236 h 17971"/>
                <a:gd name="T10" fmla="*/ 8022 w 8370"/>
                <a:gd name="T11" fmla="*/ 348 h 17971"/>
                <a:gd name="T12" fmla="*/ 8134 w 8370"/>
                <a:gd name="T13" fmla="*/ 477 h 17971"/>
                <a:gd name="T14" fmla="*/ 8226 w 8370"/>
                <a:gd name="T15" fmla="*/ 622 h 17971"/>
                <a:gd name="T16" fmla="*/ 8298 w 8370"/>
                <a:gd name="T17" fmla="*/ 779 h 17971"/>
                <a:gd name="T18" fmla="*/ 8346 w 8370"/>
                <a:gd name="T19" fmla="*/ 947 h 17971"/>
                <a:gd name="T20" fmla="*/ 8369 w 8370"/>
                <a:gd name="T21" fmla="*/ 1124 h 17971"/>
                <a:gd name="T22" fmla="*/ 8369 w 8370"/>
                <a:gd name="T23" fmla="*/ 16847 h 17971"/>
                <a:gd name="T24" fmla="*/ 8346 w 8370"/>
                <a:gd name="T25" fmla="*/ 17024 h 17971"/>
                <a:gd name="T26" fmla="*/ 8298 w 8370"/>
                <a:gd name="T27" fmla="*/ 17193 h 17971"/>
                <a:gd name="T28" fmla="*/ 8226 w 8370"/>
                <a:gd name="T29" fmla="*/ 17350 h 17971"/>
                <a:gd name="T30" fmla="*/ 8134 w 8370"/>
                <a:gd name="T31" fmla="*/ 17494 h 17971"/>
                <a:gd name="T32" fmla="*/ 8022 w 8370"/>
                <a:gd name="T33" fmla="*/ 17624 h 17971"/>
                <a:gd name="T34" fmla="*/ 7892 w 8370"/>
                <a:gd name="T35" fmla="*/ 17735 h 17971"/>
                <a:gd name="T36" fmla="*/ 7748 w 8370"/>
                <a:gd name="T37" fmla="*/ 17828 h 17971"/>
                <a:gd name="T38" fmla="*/ 7591 w 8370"/>
                <a:gd name="T39" fmla="*/ 17900 h 17971"/>
                <a:gd name="T40" fmla="*/ 7422 w 8370"/>
                <a:gd name="T41" fmla="*/ 17947 h 17971"/>
                <a:gd name="T42" fmla="*/ 7245 w 8370"/>
                <a:gd name="T43" fmla="*/ 17970 h 17971"/>
                <a:gd name="T44" fmla="*/ 1125 w 8370"/>
                <a:gd name="T45" fmla="*/ 17970 h 17971"/>
                <a:gd name="T46" fmla="*/ 948 w 8370"/>
                <a:gd name="T47" fmla="*/ 17947 h 17971"/>
                <a:gd name="T48" fmla="*/ 779 w 8370"/>
                <a:gd name="T49" fmla="*/ 17900 h 17971"/>
                <a:gd name="T50" fmla="*/ 622 w 8370"/>
                <a:gd name="T51" fmla="*/ 17828 h 17971"/>
                <a:gd name="T52" fmla="*/ 478 w 8370"/>
                <a:gd name="T53" fmla="*/ 17735 h 17971"/>
                <a:gd name="T54" fmla="*/ 349 w 8370"/>
                <a:gd name="T55" fmla="*/ 17624 h 17971"/>
                <a:gd name="T56" fmla="*/ 236 w 8370"/>
                <a:gd name="T57" fmla="*/ 17494 h 17971"/>
                <a:gd name="T58" fmla="*/ 144 w 8370"/>
                <a:gd name="T59" fmla="*/ 17350 h 17971"/>
                <a:gd name="T60" fmla="*/ 73 w 8370"/>
                <a:gd name="T61" fmla="*/ 17193 h 17971"/>
                <a:gd name="T62" fmla="*/ 24 w 8370"/>
                <a:gd name="T63" fmla="*/ 17024 h 17971"/>
                <a:gd name="T64" fmla="*/ 2 w 8370"/>
                <a:gd name="T65" fmla="*/ 16847 h 17971"/>
                <a:gd name="T66" fmla="*/ 2 w 8370"/>
                <a:gd name="T67" fmla="*/ 1124 h 17971"/>
                <a:gd name="T68" fmla="*/ 24 w 8370"/>
                <a:gd name="T69" fmla="*/ 947 h 17971"/>
                <a:gd name="T70" fmla="*/ 73 w 8370"/>
                <a:gd name="T71" fmla="*/ 779 h 17971"/>
                <a:gd name="T72" fmla="*/ 144 w 8370"/>
                <a:gd name="T73" fmla="*/ 622 h 17971"/>
                <a:gd name="T74" fmla="*/ 236 w 8370"/>
                <a:gd name="T75" fmla="*/ 477 h 17971"/>
                <a:gd name="T76" fmla="*/ 349 w 8370"/>
                <a:gd name="T77" fmla="*/ 348 h 17971"/>
                <a:gd name="T78" fmla="*/ 478 w 8370"/>
                <a:gd name="T79" fmla="*/ 236 h 17971"/>
                <a:gd name="T80" fmla="*/ 622 w 8370"/>
                <a:gd name="T81" fmla="*/ 143 h 17971"/>
                <a:gd name="T82" fmla="*/ 779 w 8370"/>
                <a:gd name="T83" fmla="*/ 72 h 17971"/>
                <a:gd name="T84" fmla="*/ 948 w 8370"/>
                <a:gd name="T85" fmla="*/ 24 h 17971"/>
                <a:gd name="T86" fmla="*/ 1125 w 8370"/>
                <a:gd name="T87" fmla="*/ 2 h 179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370" h="17971">
                  <a:moveTo>
                    <a:pt x="1186" y="0"/>
                  </a:moveTo>
                  <a:lnTo>
                    <a:pt x="7184" y="0"/>
                  </a:lnTo>
                  <a:lnTo>
                    <a:pt x="7245" y="2"/>
                  </a:lnTo>
                  <a:lnTo>
                    <a:pt x="7304" y="6"/>
                  </a:lnTo>
                  <a:lnTo>
                    <a:pt x="7364" y="14"/>
                  </a:lnTo>
                  <a:lnTo>
                    <a:pt x="7422" y="24"/>
                  </a:lnTo>
                  <a:lnTo>
                    <a:pt x="7480" y="37"/>
                  </a:lnTo>
                  <a:lnTo>
                    <a:pt x="7536" y="53"/>
                  </a:lnTo>
                  <a:lnTo>
                    <a:pt x="7591" y="72"/>
                  </a:lnTo>
                  <a:lnTo>
                    <a:pt x="7644" y="94"/>
                  </a:lnTo>
                  <a:lnTo>
                    <a:pt x="7697" y="117"/>
                  </a:lnTo>
                  <a:lnTo>
                    <a:pt x="7748" y="143"/>
                  </a:lnTo>
                  <a:lnTo>
                    <a:pt x="7798" y="173"/>
                  </a:lnTo>
                  <a:lnTo>
                    <a:pt x="7846" y="203"/>
                  </a:lnTo>
                  <a:lnTo>
                    <a:pt x="7892" y="236"/>
                  </a:lnTo>
                  <a:lnTo>
                    <a:pt x="7937" y="272"/>
                  </a:lnTo>
                  <a:lnTo>
                    <a:pt x="7981" y="308"/>
                  </a:lnTo>
                  <a:lnTo>
                    <a:pt x="8022" y="348"/>
                  </a:lnTo>
                  <a:lnTo>
                    <a:pt x="8061" y="389"/>
                  </a:lnTo>
                  <a:lnTo>
                    <a:pt x="8098" y="432"/>
                  </a:lnTo>
                  <a:lnTo>
                    <a:pt x="8134" y="477"/>
                  </a:lnTo>
                  <a:lnTo>
                    <a:pt x="8167" y="524"/>
                  </a:lnTo>
                  <a:lnTo>
                    <a:pt x="8198" y="572"/>
                  </a:lnTo>
                  <a:lnTo>
                    <a:pt x="8226" y="622"/>
                  </a:lnTo>
                  <a:lnTo>
                    <a:pt x="8252" y="673"/>
                  </a:lnTo>
                  <a:lnTo>
                    <a:pt x="8276" y="725"/>
                  </a:lnTo>
                  <a:lnTo>
                    <a:pt x="8298" y="779"/>
                  </a:lnTo>
                  <a:lnTo>
                    <a:pt x="8316" y="834"/>
                  </a:lnTo>
                  <a:lnTo>
                    <a:pt x="8332" y="890"/>
                  </a:lnTo>
                  <a:lnTo>
                    <a:pt x="8346" y="947"/>
                  </a:lnTo>
                  <a:lnTo>
                    <a:pt x="8356" y="1005"/>
                  </a:lnTo>
                  <a:lnTo>
                    <a:pt x="8364" y="1064"/>
                  </a:lnTo>
                  <a:lnTo>
                    <a:pt x="8369" y="1124"/>
                  </a:lnTo>
                  <a:lnTo>
                    <a:pt x="8370" y="1185"/>
                  </a:lnTo>
                  <a:lnTo>
                    <a:pt x="8370" y="16786"/>
                  </a:lnTo>
                  <a:lnTo>
                    <a:pt x="8369" y="16847"/>
                  </a:lnTo>
                  <a:lnTo>
                    <a:pt x="8364" y="16907"/>
                  </a:lnTo>
                  <a:lnTo>
                    <a:pt x="8356" y="16966"/>
                  </a:lnTo>
                  <a:lnTo>
                    <a:pt x="8346" y="17024"/>
                  </a:lnTo>
                  <a:lnTo>
                    <a:pt x="8332" y="17081"/>
                  </a:lnTo>
                  <a:lnTo>
                    <a:pt x="8316" y="17138"/>
                  </a:lnTo>
                  <a:lnTo>
                    <a:pt x="8298" y="17193"/>
                  </a:lnTo>
                  <a:lnTo>
                    <a:pt x="8276" y="17246"/>
                  </a:lnTo>
                  <a:lnTo>
                    <a:pt x="8252" y="17299"/>
                  </a:lnTo>
                  <a:lnTo>
                    <a:pt x="8226" y="17350"/>
                  </a:lnTo>
                  <a:lnTo>
                    <a:pt x="8198" y="17399"/>
                  </a:lnTo>
                  <a:lnTo>
                    <a:pt x="8167" y="17448"/>
                  </a:lnTo>
                  <a:lnTo>
                    <a:pt x="8134" y="17494"/>
                  </a:lnTo>
                  <a:lnTo>
                    <a:pt x="8098" y="17539"/>
                  </a:lnTo>
                  <a:lnTo>
                    <a:pt x="8061" y="17583"/>
                  </a:lnTo>
                  <a:lnTo>
                    <a:pt x="8022" y="17624"/>
                  </a:lnTo>
                  <a:lnTo>
                    <a:pt x="7981" y="17662"/>
                  </a:lnTo>
                  <a:lnTo>
                    <a:pt x="7937" y="17700"/>
                  </a:lnTo>
                  <a:lnTo>
                    <a:pt x="7892" y="17735"/>
                  </a:lnTo>
                  <a:lnTo>
                    <a:pt x="7846" y="17768"/>
                  </a:lnTo>
                  <a:lnTo>
                    <a:pt x="7798" y="17799"/>
                  </a:lnTo>
                  <a:lnTo>
                    <a:pt x="7748" y="17828"/>
                  </a:lnTo>
                  <a:lnTo>
                    <a:pt x="7697" y="17854"/>
                  </a:lnTo>
                  <a:lnTo>
                    <a:pt x="7644" y="17878"/>
                  </a:lnTo>
                  <a:lnTo>
                    <a:pt x="7591" y="17900"/>
                  </a:lnTo>
                  <a:lnTo>
                    <a:pt x="7536" y="17918"/>
                  </a:lnTo>
                  <a:lnTo>
                    <a:pt x="7480" y="17934"/>
                  </a:lnTo>
                  <a:lnTo>
                    <a:pt x="7422" y="17947"/>
                  </a:lnTo>
                  <a:lnTo>
                    <a:pt x="7364" y="17958"/>
                  </a:lnTo>
                  <a:lnTo>
                    <a:pt x="7304" y="17966"/>
                  </a:lnTo>
                  <a:lnTo>
                    <a:pt x="7245" y="17970"/>
                  </a:lnTo>
                  <a:lnTo>
                    <a:pt x="7184" y="17971"/>
                  </a:lnTo>
                  <a:lnTo>
                    <a:pt x="1186" y="17971"/>
                  </a:lnTo>
                  <a:lnTo>
                    <a:pt x="1125" y="17970"/>
                  </a:lnTo>
                  <a:lnTo>
                    <a:pt x="1065" y="17966"/>
                  </a:lnTo>
                  <a:lnTo>
                    <a:pt x="1006" y="17958"/>
                  </a:lnTo>
                  <a:lnTo>
                    <a:pt x="948" y="17947"/>
                  </a:lnTo>
                  <a:lnTo>
                    <a:pt x="891" y="17934"/>
                  </a:lnTo>
                  <a:lnTo>
                    <a:pt x="835" y="17918"/>
                  </a:lnTo>
                  <a:lnTo>
                    <a:pt x="779" y="17900"/>
                  </a:lnTo>
                  <a:lnTo>
                    <a:pt x="725" y="17878"/>
                  </a:lnTo>
                  <a:lnTo>
                    <a:pt x="673" y="17854"/>
                  </a:lnTo>
                  <a:lnTo>
                    <a:pt x="622" y="17828"/>
                  </a:lnTo>
                  <a:lnTo>
                    <a:pt x="573" y="17799"/>
                  </a:lnTo>
                  <a:lnTo>
                    <a:pt x="525" y="17768"/>
                  </a:lnTo>
                  <a:lnTo>
                    <a:pt x="478" y="17735"/>
                  </a:lnTo>
                  <a:lnTo>
                    <a:pt x="432" y="17700"/>
                  </a:lnTo>
                  <a:lnTo>
                    <a:pt x="390" y="17662"/>
                  </a:lnTo>
                  <a:lnTo>
                    <a:pt x="349" y="17624"/>
                  </a:lnTo>
                  <a:lnTo>
                    <a:pt x="309" y="17583"/>
                  </a:lnTo>
                  <a:lnTo>
                    <a:pt x="272" y="17539"/>
                  </a:lnTo>
                  <a:lnTo>
                    <a:pt x="236" y="17494"/>
                  </a:lnTo>
                  <a:lnTo>
                    <a:pt x="203" y="17448"/>
                  </a:lnTo>
                  <a:lnTo>
                    <a:pt x="172" y="17399"/>
                  </a:lnTo>
                  <a:lnTo>
                    <a:pt x="144" y="17350"/>
                  </a:lnTo>
                  <a:lnTo>
                    <a:pt x="118" y="17299"/>
                  </a:lnTo>
                  <a:lnTo>
                    <a:pt x="94" y="17246"/>
                  </a:lnTo>
                  <a:lnTo>
                    <a:pt x="73" y="17193"/>
                  </a:lnTo>
                  <a:lnTo>
                    <a:pt x="54" y="17138"/>
                  </a:lnTo>
                  <a:lnTo>
                    <a:pt x="38" y="17081"/>
                  </a:lnTo>
                  <a:lnTo>
                    <a:pt x="24" y="17024"/>
                  </a:lnTo>
                  <a:lnTo>
                    <a:pt x="14" y="16966"/>
                  </a:lnTo>
                  <a:lnTo>
                    <a:pt x="7" y="16907"/>
                  </a:lnTo>
                  <a:lnTo>
                    <a:pt x="2" y="16847"/>
                  </a:lnTo>
                  <a:lnTo>
                    <a:pt x="0" y="16786"/>
                  </a:lnTo>
                  <a:lnTo>
                    <a:pt x="0" y="1185"/>
                  </a:lnTo>
                  <a:lnTo>
                    <a:pt x="2" y="1124"/>
                  </a:lnTo>
                  <a:lnTo>
                    <a:pt x="7" y="1064"/>
                  </a:lnTo>
                  <a:lnTo>
                    <a:pt x="14" y="1005"/>
                  </a:lnTo>
                  <a:lnTo>
                    <a:pt x="24" y="947"/>
                  </a:lnTo>
                  <a:lnTo>
                    <a:pt x="38" y="890"/>
                  </a:lnTo>
                  <a:lnTo>
                    <a:pt x="54" y="834"/>
                  </a:lnTo>
                  <a:lnTo>
                    <a:pt x="73" y="779"/>
                  </a:lnTo>
                  <a:lnTo>
                    <a:pt x="94" y="725"/>
                  </a:lnTo>
                  <a:lnTo>
                    <a:pt x="118" y="673"/>
                  </a:lnTo>
                  <a:lnTo>
                    <a:pt x="144" y="622"/>
                  </a:lnTo>
                  <a:lnTo>
                    <a:pt x="172" y="572"/>
                  </a:lnTo>
                  <a:lnTo>
                    <a:pt x="203" y="524"/>
                  </a:lnTo>
                  <a:lnTo>
                    <a:pt x="236" y="477"/>
                  </a:lnTo>
                  <a:lnTo>
                    <a:pt x="272" y="432"/>
                  </a:lnTo>
                  <a:lnTo>
                    <a:pt x="309" y="389"/>
                  </a:lnTo>
                  <a:lnTo>
                    <a:pt x="349" y="348"/>
                  </a:lnTo>
                  <a:lnTo>
                    <a:pt x="390" y="308"/>
                  </a:lnTo>
                  <a:lnTo>
                    <a:pt x="432" y="272"/>
                  </a:lnTo>
                  <a:lnTo>
                    <a:pt x="478" y="236"/>
                  </a:lnTo>
                  <a:lnTo>
                    <a:pt x="525" y="203"/>
                  </a:lnTo>
                  <a:lnTo>
                    <a:pt x="573" y="173"/>
                  </a:lnTo>
                  <a:lnTo>
                    <a:pt x="622" y="143"/>
                  </a:lnTo>
                  <a:lnTo>
                    <a:pt x="673" y="117"/>
                  </a:lnTo>
                  <a:lnTo>
                    <a:pt x="725" y="94"/>
                  </a:lnTo>
                  <a:lnTo>
                    <a:pt x="779" y="72"/>
                  </a:lnTo>
                  <a:lnTo>
                    <a:pt x="835" y="53"/>
                  </a:lnTo>
                  <a:lnTo>
                    <a:pt x="891" y="37"/>
                  </a:lnTo>
                  <a:lnTo>
                    <a:pt x="948" y="24"/>
                  </a:lnTo>
                  <a:lnTo>
                    <a:pt x="1006" y="14"/>
                  </a:lnTo>
                  <a:lnTo>
                    <a:pt x="1065" y="6"/>
                  </a:lnTo>
                  <a:lnTo>
                    <a:pt x="1125" y="2"/>
                  </a:lnTo>
                  <a:lnTo>
                    <a:pt x="1186" y="0"/>
                  </a:lnTo>
                  <a:close/>
                </a:path>
              </a:pathLst>
            </a:custGeom>
            <a:solidFill>
              <a:srgbClr val="686A7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5" name="Freeform 16"/>
            <p:cNvSpPr>
              <a:spLocks/>
            </p:cNvSpPr>
            <p:nvPr/>
          </p:nvSpPr>
          <p:spPr bwMode="auto">
            <a:xfrm>
              <a:off x="5184391" y="1497556"/>
              <a:ext cx="1880153" cy="4057316"/>
            </a:xfrm>
            <a:custGeom>
              <a:avLst/>
              <a:gdLst>
                <a:gd name="T0" fmla="*/ 7193 w 8280"/>
                <a:gd name="T1" fmla="*/ 2 h 17873"/>
                <a:gd name="T2" fmla="*/ 7364 w 8280"/>
                <a:gd name="T3" fmla="*/ 23 h 17873"/>
                <a:gd name="T4" fmla="*/ 7527 w 8280"/>
                <a:gd name="T5" fmla="*/ 70 h 17873"/>
                <a:gd name="T6" fmla="*/ 7679 w 8280"/>
                <a:gd name="T7" fmla="*/ 140 h 17873"/>
                <a:gd name="T8" fmla="*/ 7819 w 8280"/>
                <a:gd name="T9" fmla="*/ 228 h 17873"/>
                <a:gd name="T10" fmla="*/ 7944 w 8280"/>
                <a:gd name="T11" fmla="*/ 337 h 17873"/>
                <a:gd name="T12" fmla="*/ 8052 w 8280"/>
                <a:gd name="T13" fmla="*/ 462 h 17873"/>
                <a:gd name="T14" fmla="*/ 8142 w 8280"/>
                <a:gd name="T15" fmla="*/ 601 h 17873"/>
                <a:gd name="T16" fmla="*/ 8211 w 8280"/>
                <a:gd name="T17" fmla="*/ 754 h 17873"/>
                <a:gd name="T18" fmla="*/ 8257 w 8280"/>
                <a:gd name="T19" fmla="*/ 916 h 17873"/>
                <a:gd name="T20" fmla="*/ 8279 w 8280"/>
                <a:gd name="T21" fmla="*/ 1088 h 17873"/>
                <a:gd name="T22" fmla="*/ 8279 w 8280"/>
                <a:gd name="T23" fmla="*/ 16786 h 17873"/>
                <a:gd name="T24" fmla="*/ 8257 w 8280"/>
                <a:gd name="T25" fmla="*/ 16957 h 17873"/>
                <a:gd name="T26" fmla="*/ 8211 w 8280"/>
                <a:gd name="T27" fmla="*/ 17120 h 17873"/>
                <a:gd name="T28" fmla="*/ 8142 w 8280"/>
                <a:gd name="T29" fmla="*/ 17273 h 17873"/>
                <a:gd name="T30" fmla="*/ 8052 w 8280"/>
                <a:gd name="T31" fmla="*/ 17412 h 17873"/>
                <a:gd name="T32" fmla="*/ 7944 w 8280"/>
                <a:gd name="T33" fmla="*/ 17536 h 17873"/>
                <a:gd name="T34" fmla="*/ 7819 w 8280"/>
                <a:gd name="T35" fmla="*/ 17644 h 17873"/>
                <a:gd name="T36" fmla="*/ 7679 w 8280"/>
                <a:gd name="T37" fmla="*/ 17734 h 17873"/>
                <a:gd name="T38" fmla="*/ 7527 w 8280"/>
                <a:gd name="T39" fmla="*/ 17803 h 17873"/>
                <a:gd name="T40" fmla="*/ 7364 w 8280"/>
                <a:gd name="T41" fmla="*/ 17849 h 17873"/>
                <a:gd name="T42" fmla="*/ 7193 w 8280"/>
                <a:gd name="T43" fmla="*/ 17871 h 17873"/>
                <a:gd name="T44" fmla="*/ 1088 w 8280"/>
                <a:gd name="T45" fmla="*/ 17871 h 17873"/>
                <a:gd name="T46" fmla="*/ 915 w 8280"/>
                <a:gd name="T47" fmla="*/ 17849 h 17873"/>
                <a:gd name="T48" fmla="*/ 752 w 8280"/>
                <a:gd name="T49" fmla="*/ 17803 h 17873"/>
                <a:gd name="T50" fmla="*/ 601 w 8280"/>
                <a:gd name="T51" fmla="*/ 17734 h 17873"/>
                <a:gd name="T52" fmla="*/ 461 w 8280"/>
                <a:gd name="T53" fmla="*/ 17644 h 17873"/>
                <a:gd name="T54" fmla="*/ 336 w 8280"/>
                <a:gd name="T55" fmla="*/ 17536 h 17873"/>
                <a:gd name="T56" fmla="*/ 228 w 8280"/>
                <a:gd name="T57" fmla="*/ 17412 h 17873"/>
                <a:gd name="T58" fmla="*/ 139 w 8280"/>
                <a:gd name="T59" fmla="*/ 17273 h 17873"/>
                <a:gd name="T60" fmla="*/ 69 w 8280"/>
                <a:gd name="T61" fmla="*/ 17120 h 17873"/>
                <a:gd name="T62" fmla="*/ 22 w 8280"/>
                <a:gd name="T63" fmla="*/ 16957 h 17873"/>
                <a:gd name="T64" fmla="*/ 1 w 8280"/>
                <a:gd name="T65" fmla="*/ 16786 h 17873"/>
                <a:gd name="T66" fmla="*/ 1 w 8280"/>
                <a:gd name="T67" fmla="*/ 1088 h 17873"/>
                <a:gd name="T68" fmla="*/ 22 w 8280"/>
                <a:gd name="T69" fmla="*/ 916 h 17873"/>
                <a:gd name="T70" fmla="*/ 69 w 8280"/>
                <a:gd name="T71" fmla="*/ 754 h 17873"/>
                <a:gd name="T72" fmla="*/ 139 w 8280"/>
                <a:gd name="T73" fmla="*/ 601 h 17873"/>
                <a:gd name="T74" fmla="*/ 228 w 8280"/>
                <a:gd name="T75" fmla="*/ 462 h 17873"/>
                <a:gd name="T76" fmla="*/ 336 w 8280"/>
                <a:gd name="T77" fmla="*/ 337 h 17873"/>
                <a:gd name="T78" fmla="*/ 461 w 8280"/>
                <a:gd name="T79" fmla="*/ 228 h 17873"/>
                <a:gd name="T80" fmla="*/ 601 w 8280"/>
                <a:gd name="T81" fmla="*/ 140 h 17873"/>
                <a:gd name="T82" fmla="*/ 752 w 8280"/>
                <a:gd name="T83" fmla="*/ 70 h 17873"/>
                <a:gd name="T84" fmla="*/ 915 w 8280"/>
                <a:gd name="T85" fmla="*/ 23 h 17873"/>
                <a:gd name="T86" fmla="*/ 1088 w 8280"/>
                <a:gd name="T87" fmla="*/ 2 h 178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280" h="17873">
                  <a:moveTo>
                    <a:pt x="1146" y="0"/>
                  </a:moveTo>
                  <a:lnTo>
                    <a:pt x="7134" y="0"/>
                  </a:lnTo>
                  <a:lnTo>
                    <a:pt x="7193" y="2"/>
                  </a:lnTo>
                  <a:lnTo>
                    <a:pt x="7250" y="6"/>
                  </a:lnTo>
                  <a:lnTo>
                    <a:pt x="7308" y="14"/>
                  </a:lnTo>
                  <a:lnTo>
                    <a:pt x="7364" y="23"/>
                  </a:lnTo>
                  <a:lnTo>
                    <a:pt x="7420" y="37"/>
                  </a:lnTo>
                  <a:lnTo>
                    <a:pt x="7474" y="52"/>
                  </a:lnTo>
                  <a:lnTo>
                    <a:pt x="7527" y="70"/>
                  </a:lnTo>
                  <a:lnTo>
                    <a:pt x="7579" y="90"/>
                  </a:lnTo>
                  <a:lnTo>
                    <a:pt x="7630" y="113"/>
                  </a:lnTo>
                  <a:lnTo>
                    <a:pt x="7679" y="140"/>
                  </a:lnTo>
                  <a:lnTo>
                    <a:pt x="7727" y="167"/>
                  </a:lnTo>
                  <a:lnTo>
                    <a:pt x="7774" y="197"/>
                  </a:lnTo>
                  <a:lnTo>
                    <a:pt x="7819" y="228"/>
                  </a:lnTo>
                  <a:lnTo>
                    <a:pt x="7863" y="263"/>
                  </a:lnTo>
                  <a:lnTo>
                    <a:pt x="7904" y="299"/>
                  </a:lnTo>
                  <a:lnTo>
                    <a:pt x="7944" y="337"/>
                  </a:lnTo>
                  <a:lnTo>
                    <a:pt x="7981" y="377"/>
                  </a:lnTo>
                  <a:lnTo>
                    <a:pt x="8018" y="419"/>
                  </a:lnTo>
                  <a:lnTo>
                    <a:pt x="8052" y="462"/>
                  </a:lnTo>
                  <a:lnTo>
                    <a:pt x="8084" y="507"/>
                  </a:lnTo>
                  <a:lnTo>
                    <a:pt x="8114" y="553"/>
                  </a:lnTo>
                  <a:lnTo>
                    <a:pt x="8142" y="601"/>
                  </a:lnTo>
                  <a:lnTo>
                    <a:pt x="8167" y="650"/>
                  </a:lnTo>
                  <a:lnTo>
                    <a:pt x="8190" y="702"/>
                  </a:lnTo>
                  <a:lnTo>
                    <a:pt x="8211" y="754"/>
                  </a:lnTo>
                  <a:lnTo>
                    <a:pt x="8229" y="806"/>
                  </a:lnTo>
                  <a:lnTo>
                    <a:pt x="8245" y="861"/>
                  </a:lnTo>
                  <a:lnTo>
                    <a:pt x="8257" y="916"/>
                  </a:lnTo>
                  <a:lnTo>
                    <a:pt x="8268" y="973"/>
                  </a:lnTo>
                  <a:lnTo>
                    <a:pt x="8275" y="1030"/>
                  </a:lnTo>
                  <a:lnTo>
                    <a:pt x="8279" y="1088"/>
                  </a:lnTo>
                  <a:lnTo>
                    <a:pt x="8280" y="1146"/>
                  </a:lnTo>
                  <a:lnTo>
                    <a:pt x="8280" y="16727"/>
                  </a:lnTo>
                  <a:lnTo>
                    <a:pt x="8279" y="16786"/>
                  </a:lnTo>
                  <a:lnTo>
                    <a:pt x="8275" y="16844"/>
                  </a:lnTo>
                  <a:lnTo>
                    <a:pt x="8268" y="16901"/>
                  </a:lnTo>
                  <a:lnTo>
                    <a:pt x="8257" y="16957"/>
                  </a:lnTo>
                  <a:lnTo>
                    <a:pt x="8245" y="17013"/>
                  </a:lnTo>
                  <a:lnTo>
                    <a:pt x="8229" y="17066"/>
                  </a:lnTo>
                  <a:lnTo>
                    <a:pt x="8211" y="17120"/>
                  </a:lnTo>
                  <a:lnTo>
                    <a:pt x="8190" y="17172"/>
                  </a:lnTo>
                  <a:lnTo>
                    <a:pt x="8167" y="17222"/>
                  </a:lnTo>
                  <a:lnTo>
                    <a:pt x="8142" y="17273"/>
                  </a:lnTo>
                  <a:lnTo>
                    <a:pt x="8114" y="17320"/>
                  </a:lnTo>
                  <a:lnTo>
                    <a:pt x="8084" y="17366"/>
                  </a:lnTo>
                  <a:lnTo>
                    <a:pt x="8052" y="17412"/>
                  </a:lnTo>
                  <a:lnTo>
                    <a:pt x="8018" y="17455"/>
                  </a:lnTo>
                  <a:lnTo>
                    <a:pt x="7981" y="17496"/>
                  </a:lnTo>
                  <a:lnTo>
                    <a:pt x="7944" y="17536"/>
                  </a:lnTo>
                  <a:lnTo>
                    <a:pt x="7904" y="17575"/>
                  </a:lnTo>
                  <a:lnTo>
                    <a:pt x="7863" y="17610"/>
                  </a:lnTo>
                  <a:lnTo>
                    <a:pt x="7819" y="17644"/>
                  </a:lnTo>
                  <a:lnTo>
                    <a:pt x="7774" y="17676"/>
                  </a:lnTo>
                  <a:lnTo>
                    <a:pt x="7727" y="17707"/>
                  </a:lnTo>
                  <a:lnTo>
                    <a:pt x="7679" y="17734"/>
                  </a:lnTo>
                  <a:lnTo>
                    <a:pt x="7630" y="17759"/>
                  </a:lnTo>
                  <a:lnTo>
                    <a:pt x="7579" y="17782"/>
                  </a:lnTo>
                  <a:lnTo>
                    <a:pt x="7527" y="17803"/>
                  </a:lnTo>
                  <a:lnTo>
                    <a:pt x="7474" y="17821"/>
                  </a:lnTo>
                  <a:lnTo>
                    <a:pt x="7420" y="17837"/>
                  </a:lnTo>
                  <a:lnTo>
                    <a:pt x="7364" y="17849"/>
                  </a:lnTo>
                  <a:lnTo>
                    <a:pt x="7308" y="17860"/>
                  </a:lnTo>
                  <a:lnTo>
                    <a:pt x="7250" y="17868"/>
                  </a:lnTo>
                  <a:lnTo>
                    <a:pt x="7193" y="17871"/>
                  </a:lnTo>
                  <a:lnTo>
                    <a:pt x="7134" y="17873"/>
                  </a:lnTo>
                  <a:lnTo>
                    <a:pt x="1146" y="17873"/>
                  </a:lnTo>
                  <a:lnTo>
                    <a:pt x="1088" y="17871"/>
                  </a:lnTo>
                  <a:lnTo>
                    <a:pt x="1029" y="17868"/>
                  </a:lnTo>
                  <a:lnTo>
                    <a:pt x="972" y="17860"/>
                  </a:lnTo>
                  <a:lnTo>
                    <a:pt x="915" y="17849"/>
                  </a:lnTo>
                  <a:lnTo>
                    <a:pt x="861" y="17837"/>
                  </a:lnTo>
                  <a:lnTo>
                    <a:pt x="806" y="17821"/>
                  </a:lnTo>
                  <a:lnTo>
                    <a:pt x="752" y="17803"/>
                  </a:lnTo>
                  <a:lnTo>
                    <a:pt x="701" y="17782"/>
                  </a:lnTo>
                  <a:lnTo>
                    <a:pt x="650" y="17759"/>
                  </a:lnTo>
                  <a:lnTo>
                    <a:pt x="601" y="17734"/>
                  </a:lnTo>
                  <a:lnTo>
                    <a:pt x="553" y="17707"/>
                  </a:lnTo>
                  <a:lnTo>
                    <a:pt x="506" y="17676"/>
                  </a:lnTo>
                  <a:lnTo>
                    <a:pt x="461" y="17644"/>
                  </a:lnTo>
                  <a:lnTo>
                    <a:pt x="418" y="17610"/>
                  </a:lnTo>
                  <a:lnTo>
                    <a:pt x="376" y="17575"/>
                  </a:lnTo>
                  <a:lnTo>
                    <a:pt x="336" y="17536"/>
                  </a:lnTo>
                  <a:lnTo>
                    <a:pt x="298" y="17496"/>
                  </a:lnTo>
                  <a:lnTo>
                    <a:pt x="262" y="17455"/>
                  </a:lnTo>
                  <a:lnTo>
                    <a:pt x="228" y="17412"/>
                  </a:lnTo>
                  <a:lnTo>
                    <a:pt x="196" y="17366"/>
                  </a:lnTo>
                  <a:lnTo>
                    <a:pt x="166" y="17320"/>
                  </a:lnTo>
                  <a:lnTo>
                    <a:pt x="139" y="17273"/>
                  </a:lnTo>
                  <a:lnTo>
                    <a:pt x="112" y="17222"/>
                  </a:lnTo>
                  <a:lnTo>
                    <a:pt x="90" y="17172"/>
                  </a:lnTo>
                  <a:lnTo>
                    <a:pt x="69" y="17120"/>
                  </a:lnTo>
                  <a:lnTo>
                    <a:pt x="51" y="17066"/>
                  </a:lnTo>
                  <a:lnTo>
                    <a:pt x="36" y="17013"/>
                  </a:lnTo>
                  <a:lnTo>
                    <a:pt x="22" y="16957"/>
                  </a:lnTo>
                  <a:lnTo>
                    <a:pt x="13" y="16901"/>
                  </a:lnTo>
                  <a:lnTo>
                    <a:pt x="5" y="16844"/>
                  </a:lnTo>
                  <a:lnTo>
                    <a:pt x="1" y="16786"/>
                  </a:lnTo>
                  <a:lnTo>
                    <a:pt x="0" y="16727"/>
                  </a:lnTo>
                  <a:lnTo>
                    <a:pt x="0" y="1146"/>
                  </a:lnTo>
                  <a:lnTo>
                    <a:pt x="1" y="1088"/>
                  </a:lnTo>
                  <a:lnTo>
                    <a:pt x="5" y="1030"/>
                  </a:lnTo>
                  <a:lnTo>
                    <a:pt x="13" y="973"/>
                  </a:lnTo>
                  <a:lnTo>
                    <a:pt x="22" y="916"/>
                  </a:lnTo>
                  <a:lnTo>
                    <a:pt x="36" y="861"/>
                  </a:lnTo>
                  <a:lnTo>
                    <a:pt x="51" y="806"/>
                  </a:lnTo>
                  <a:lnTo>
                    <a:pt x="69" y="754"/>
                  </a:lnTo>
                  <a:lnTo>
                    <a:pt x="90" y="702"/>
                  </a:lnTo>
                  <a:lnTo>
                    <a:pt x="112" y="650"/>
                  </a:lnTo>
                  <a:lnTo>
                    <a:pt x="139" y="601"/>
                  </a:lnTo>
                  <a:lnTo>
                    <a:pt x="166" y="553"/>
                  </a:lnTo>
                  <a:lnTo>
                    <a:pt x="196" y="507"/>
                  </a:lnTo>
                  <a:lnTo>
                    <a:pt x="228" y="462"/>
                  </a:lnTo>
                  <a:lnTo>
                    <a:pt x="262" y="419"/>
                  </a:lnTo>
                  <a:lnTo>
                    <a:pt x="298" y="377"/>
                  </a:lnTo>
                  <a:lnTo>
                    <a:pt x="336" y="337"/>
                  </a:lnTo>
                  <a:lnTo>
                    <a:pt x="376" y="299"/>
                  </a:lnTo>
                  <a:lnTo>
                    <a:pt x="418" y="263"/>
                  </a:lnTo>
                  <a:lnTo>
                    <a:pt x="461" y="228"/>
                  </a:lnTo>
                  <a:lnTo>
                    <a:pt x="506" y="197"/>
                  </a:lnTo>
                  <a:lnTo>
                    <a:pt x="553" y="167"/>
                  </a:lnTo>
                  <a:lnTo>
                    <a:pt x="601" y="140"/>
                  </a:lnTo>
                  <a:lnTo>
                    <a:pt x="650" y="113"/>
                  </a:lnTo>
                  <a:lnTo>
                    <a:pt x="701" y="90"/>
                  </a:lnTo>
                  <a:lnTo>
                    <a:pt x="752" y="70"/>
                  </a:lnTo>
                  <a:lnTo>
                    <a:pt x="806" y="52"/>
                  </a:lnTo>
                  <a:lnTo>
                    <a:pt x="861" y="37"/>
                  </a:lnTo>
                  <a:lnTo>
                    <a:pt x="915" y="23"/>
                  </a:lnTo>
                  <a:lnTo>
                    <a:pt x="972" y="14"/>
                  </a:lnTo>
                  <a:lnTo>
                    <a:pt x="1029" y="6"/>
                  </a:lnTo>
                  <a:lnTo>
                    <a:pt x="1088" y="2"/>
                  </a:lnTo>
                  <a:lnTo>
                    <a:pt x="1146" y="0"/>
                  </a:lnTo>
                  <a:close/>
                </a:path>
              </a:pathLst>
            </a:custGeom>
            <a:solidFill>
              <a:srgbClr val="999BA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6" name="Freeform 17"/>
            <p:cNvSpPr>
              <a:spLocks/>
            </p:cNvSpPr>
            <p:nvPr/>
          </p:nvSpPr>
          <p:spPr bwMode="auto">
            <a:xfrm>
              <a:off x="5198015" y="1511180"/>
              <a:ext cx="1851543" cy="4030068"/>
            </a:xfrm>
            <a:custGeom>
              <a:avLst/>
              <a:gdLst>
                <a:gd name="T0" fmla="*/ 7129 w 8158"/>
                <a:gd name="T1" fmla="*/ 1 h 17752"/>
                <a:gd name="T2" fmla="*/ 7291 w 8158"/>
                <a:gd name="T3" fmla="*/ 22 h 17752"/>
                <a:gd name="T4" fmla="*/ 7445 w 8158"/>
                <a:gd name="T5" fmla="*/ 66 h 17752"/>
                <a:gd name="T6" fmla="*/ 7589 w 8158"/>
                <a:gd name="T7" fmla="*/ 131 h 17752"/>
                <a:gd name="T8" fmla="*/ 7721 w 8158"/>
                <a:gd name="T9" fmla="*/ 215 h 17752"/>
                <a:gd name="T10" fmla="*/ 7839 w 8158"/>
                <a:gd name="T11" fmla="*/ 318 h 17752"/>
                <a:gd name="T12" fmla="*/ 7942 w 8158"/>
                <a:gd name="T13" fmla="*/ 436 h 17752"/>
                <a:gd name="T14" fmla="*/ 8026 w 8158"/>
                <a:gd name="T15" fmla="*/ 568 h 17752"/>
                <a:gd name="T16" fmla="*/ 8092 w 8158"/>
                <a:gd name="T17" fmla="*/ 712 h 17752"/>
                <a:gd name="T18" fmla="*/ 8136 w 8158"/>
                <a:gd name="T19" fmla="*/ 866 h 17752"/>
                <a:gd name="T20" fmla="*/ 8157 w 8158"/>
                <a:gd name="T21" fmla="*/ 1028 h 17752"/>
                <a:gd name="T22" fmla="*/ 8157 w 8158"/>
                <a:gd name="T23" fmla="*/ 16724 h 17752"/>
                <a:gd name="T24" fmla="*/ 8136 w 8158"/>
                <a:gd name="T25" fmla="*/ 16886 h 17752"/>
                <a:gd name="T26" fmla="*/ 8092 w 8158"/>
                <a:gd name="T27" fmla="*/ 17039 h 17752"/>
                <a:gd name="T28" fmla="*/ 8026 w 8158"/>
                <a:gd name="T29" fmla="*/ 17183 h 17752"/>
                <a:gd name="T30" fmla="*/ 7942 w 8158"/>
                <a:gd name="T31" fmla="*/ 17315 h 17752"/>
                <a:gd name="T32" fmla="*/ 7839 w 8158"/>
                <a:gd name="T33" fmla="*/ 17434 h 17752"/>
                <a:gd name="T34" fmla="*/ 7721 w 8158"/>
                <a:gd name="T35" fmla="*/ 17535 h 17752"/>
                <a:gd name="T36" fmla="*/ 7589 w 8158"/>
                <a:gd name="T37" fmla="*/ 17621 h 17752"/>
                <a:gd name="T38" fmla="*/ 7445 w 8158"/>
                <a:gd name="T39" fmla="*/ 17686 h 17752"/>
                <a:gd name="T40" fmla="*/ 7291 w 8158"/>
                <a:gd name="T41" fmla="*/ 17730 h 17752"/>
                <a:gd name="T42" fmla="*/ 7129 w 8158"/>
                <a:gd name="T43" fmla="*/ 17751 h 17752"/>
                <a:gd name="T44" fmla="*/ 1030 w 8158"/>
                <a:gd name="T45" fmla="*/ 17751 h 17752"/>
                <a:gd name="T46" fmla="*/ 867 w 8158"/>
                <a:gd name="T47" fmla="*/ 17730 h 17752"/>
                <a:gd name="T48" fmla="*/ 713 w 8158"/>
                <a:gd name="T49" fmla="*/ 17686 h 17752"/>
                <a:gd name="T50" fmla="*/ 569 w 8158"/>
                <a:gd name="T51" fmla="*/ 17621 h 17752"/>
                <a:gd name="T52" fmla="*/ 437 w 8158"/>
                <a:gd name="T53" fmla="*/ 17535 h 17752"/>
                <a:gd name="T54" fmla="*/ 319 w 8158"/>
                <a:gd name="T55" fmla="*/ 17434 h 17752"/>
                <a:gd name="T56" fmla="*/ 217 w 8158"/>
                <a:gd name="T57" fmla="*/ 17315 h 17752"/>
                <a:gd name="T58" fmla="*/ 131 w 8158"/>
                <a:gd name="T59" fmla="*/ 17183 h 17752"/>
                <a:gd name="T60" fmla="*/ 66 w 8158"/>
                <a:gd name="T61" fmla="*/ 17039 h 17752"/>
                <a:gd name="T62" fmla="*/ 22 w 8158"/>
                <a:gd name="T63" fmla="*/ 16886 h 17752"/>
                <a:gd name="T64" fmla="*/ 1 w 8158"/>
                <a:gd name="T65" fmla="*/ 16724 h 17752"/>
                <a:gd name="T66" fmla="*/ 1 w 8158"/>
                <a:gd name="T67" fmla="*/ 1028 h 17752"/>
                <a:gd name="T68" fmla="*/ 22 w 8158"/>
                <a:gd name="T69" fmla="*/ 866 h 17752"/>
                <a:gd name="T70" fmla="*/ 66 w 8158"/>
                <a:gd name="T71" fmla="*/ 712 h 17752"/>
                <a:gd name="T72" fmla="*/ 131 w 8158"/>
                <a:gd name="T73" fmla="*/ 568 h 17752"/>
                <a:gd name="T74" fmla="*/ 217 w 8158"/>
                <a:gd name="T75" fmla="*/ 436 h 17752"/>
                <a:gd name="T76" fmla="*/ 319 w 8158"/>
                <a:gd name="T77" fmla="*/ 318 h 17752"/>
                <a:gd name="T78" fmla="*/ 437 w 8158"/>
                <a:gd name="T79" fmla="*/ 215 h 17752"/>
                <a:gd name="T80" fmla="*/ 569 w 8158"/>
                <a:gd name="T81" fmla="*/ 131 h 17752"/>
                <a:gd name="T82" fmla="*/ 713 w 8158"/>
                <a:gd name="T83" fmla="*/ 66 h 17752"/>
                <a:gd name="T84" fmla="*/ 867 w 8158"/>
                <a:gd name="T85" fmla="*/ 22 h 17752"/>
                <a:gd name="T86" fmla="*/ 1030 w 8158"/>
                <a:gd name="T87" fmla="*/ 1 h 177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158" h="17752">
                  <a:moveTo>
                    <a:pt x="1085" y="0"/>
                  </a:moveTo>
                  <a:lnTo>
                    <a:pt x="7073" y="0"/>
                  </a:lnTo>
                  <a:lnTo>
                    <a:pt x="7129" y="1"/>
                  </a:lnTo>
                  <a:lnTo>
                    <a:pt x="7184" y="4"/>
                  </a:lnTo>
                  <a:lnTo>
                    <a:pt x="7237" y="12"/>
                  </a:lnTo>
                  <a:lnTo>
                    <a:pt x="7291" y="22"/>
                  </a:lnTo>
                  <a:lnTo>
                    <a:pt x="7343" y="34"/>
                  </a:lnTo>
                  <a:lnTo>
                    <a:pt x="7395" y="49"/>
                  </a:lnTo>
                  <a:lnTo>
                    <a:pt x="7445" y="66"/>
                  </a:lnTo>
                  <a:lnTo>
                    <a:pt x="7494" y="85"/>
                  </a:lnTo>
                  <a:lnTo>
                    <a:pt x="7542" y="107"/>
                  </a:lnTo>
                  <a:lnTo>
                    <a:pt x="7589" y="131"/>
                  </a:lnTo>
                  <a:lnTo>
                    <a:pt x="7634" y="157"/>
                  </a:lnTo>
                  <a:lnTo>
                    <a:pt x="7679" y="186"/>
                  </a:lnTo>
                  <a:lnTo>
                    <a:pt x="7721" y="215"/>
                  </a:lnTo>
                  <a:lnTo>
                    <a:pt x="7762" y="247"/>
                  </a:lnTo>
                  <a:lnTo>
                    <a:pt x="7802" y="281"/>
                  </a:lnTo>
                  <a:lnTo>
                    <a:pt x="7839" y="318"/>
                  </a:lnTo>
                  <a:lnTo>
                    <a:pt x="7875" y="356"/>
                  </a:lnTo>
                  <a:lnTo>
                    <a:pt x="7909" y="395"/>
                  </a:lnTo>
                  <a:lnTo>
                    <a:pt x="7942" y="436"/>
                  </a:lnTo>
                  <a:lnTo>
                    <a:pt x="7972" y="479"/>
                  </a:lnTo>
                  <a:lnTo>
                    <a:pt x="8000" y="523"/>
                  </a:lnTo>
                  <a:lnTo>
                    <a:pt x="8026" y="568"/>
                  </a:lnTo>
                  <a:lnTo>
                    <a:pt x="8050" y="614"/>
                  </a:lnTo>
                  <a:lnTo>
                    <a:pt x="8072" y="662"/>
                  </a:lnTo>
                  <a:lnTo>
                    <a:pt x="8092" y="712"/>
                  </a:lnTo>
                  <a:lnTo>
                    <a:pt x="8109" y="763"/>
                  </a:lnTo>
                  <a:lnTo>
                    <a:pt x="8123" y="814"/>
                  </a:lnTo>
                  <a:lnTo>
                    <a:pt x="8136" y="866"/>
                  </a:lnTo>
                  <a:lnTo>
                    <a:pt x="8145" y="919"/>
                  </a:lnTo>
                  <a:lnTo>
                    <a:pt x="8152" y="973"/>
                  </a:lnTo>
                  <a:lnTo>
                    <a:pt x="8157" y="1028"/>
                  </a:lnTo>
                  <a:lnTo>
                    <a:pt x="8158" y="1084"/>
                  </a:lnTo>
                  <a:lnTo>
                    <a:pt x="8158" y="16668"/>
                  </a:lnTo>
                  <a:lnTo>
                    <a:pt x="8157" y="16724"/>
                  </a:lnTo>
                  <a:lnTo>
                    <a:pt x="8152" y="16778"/>
                  </a:lnTo>
                  <a:lnTo>
                    <a:pt x="8145" y="16832"/>
                  </a:lnTo>
                  <a:lnTo>
                    <a:pt x="8136" y="16886"/>
                  </a:lnTo>
                  <a:lnTo>
                    <a:pt x="8123" y="16938"/>
                  </a:lnTo>
                  <a:lnTo>
                    <a:pt x="8109" y="16989"/>
                  </a:lnTo>
                  <a:lnTo>
                    <a:pt x="8092" y="17039"/>
                  </a:lnTo>
                  <a:lnTo>
                    <a:pt x="8072" y="17088"/>
                  </a:lnTo>
                  <a:lnTo>
                    <a:pt x="8050" y="17136"/>
                  </a:lnTo>
                  <a:lnTo>
                    <a:pt x="8026" y="17183"/>
                  </a:lnTo>
                  <a:lnTo>
                    <a:pt x="8000" y="17229"/>
                  </a:lnTo>
                  <a:lnTo>
                    <a:pt x="7972" y="17273"/>
                  </a:lnTo>
                  <a:lnTo>
                    <a:pt x="7942" y="17315"/>
                  </a:lnTo>
                  <a:lnTo>
                    <a:pt x="7909" y="17356"/>
                  </a:lnTo>
                  <a:lnTo>
                    <a:pt x="7875" y="17396"/>
                  </a:lnTo>
                  <a:lnTo>
                    <a:pt x="7839" y="17434"/>
                  </a:lnTo>
                  <a:lnTo>
                    <a:pt x="7802" y="17469"/>
                  </a:lnTo>
                  <a:lnTo>
                    <a:pt x="7762" y="17503"/>
                  </a:lnTo>
                  <a:lnTo>
                    <a:pt x="7721" y="17535"/>
                  </a:lnTo>
                  <a:lnTo>
                    <a:pt x="7679" y="17566"/>
                  </a:lnTo>
                  <a:lnTo>
                    <a:pt x="7634" y="17595"/>
                  </a:lnTo>
                  <a:lnTo>
                    <a:pt x="7589" y="17621"/>
                  </a:lnTo>
                  <a:lnTo>
                    <a:pt x="7542" y="17645"/>
                  </a:lnTo>
                  <a:lnTo>
                    <a:pt x="7494" y="17666"/>
                  </a:lnTo>
                  <a:lnTo>
                    <a:pt x="7445" y="17686"/>
                  </a:lnTo>
                  <a:lnTo>
                    <a:pt x="7395" y="17703"/>
                  </a:lnTo>
                  <a:lnTo>
                    <a:pt x="7343" y="17718"/>
                  </a:lnTo>
                  <a:lnTo>
                    <a:pt x="7291" y="17730"/>
                  </a:lnTo>
                  <a:lnTo>
                    <a:pt x="7237" y="17739"/>
                  </a:lnTo>
                  <a:lnTo>
                    <a:pt x="7184" y="17746"/>
                  </a:lnTo>
                  <a:lnTo>
                    <a:pt x="7129" y="17751"/>
                  </a:lnTo>
                  <a:lnTo>
                    <a:pt x="7073" y="17752"/>
                  </a:lnTo>
                  <a:lnTo>
                    <a:pt x="1085" y="17752"/>
                  </a:lnTo>
                  <a:lnTo>
                    <a:pt x="1030" y="17751"/>
                  </a:lnTo>
                  <a:lnTo>
                    <a:pt x="974" y="17746"/>
                  </a:lnTo>
                  <a:lnTo>
                    <a:pt x="921" y="17739"/>
                  </a:lnTo>
                  <a:lnTo>
                    <a:pt x="867" y="17730"/>
                  </a:lnTo>
                  <a:lnTo>
                    <a:pt x="815" y="17718"/>
                  </a:lnTo>
                  <a:lnTo>
                    <a:pt x="763" y="17703"/>
                  </a:lnTo>
                  <a:lnTo>
                    <a:pt x="713" y="17686"/>
                  </a:lnTo>
                  <a:lnTo>
                    <a:pt x="664" y="17666"/>
                  </a:lnTo>
                  <a:lnTo>
                    <a:pt x="616" y="17645"/>
                  </a:lnTo>
                  <a:lnTo>
                    <a:pt x="569" y="17621"/>
                  </a:lnTo>
                  <a:lnTo>
                    <a:pt x="524" y="17595"/>
                  </a:lnTo>
                  <a:lnTo>
                    <a:pt x="479" y="17566"/>
                  </a:lnTo>
                  <a:lnTo>
                    <a:pt x="437" y="17535"/>
                  </a:lnTo>
                  <a:lnTo>
                    <a:pt x="396" y="17503"/>
                  </a:lnTo>
                  <a:lnTo>
                    <a:pt x="357" y="17469"/>
                  </a:lnTo>
                  <a:lnTo>
                    <a:pt x="319" y="17434"/>
                  </a:lnTo>
                  <a:lnTo>
                    <a:pt x="283" y="17396"/>
                  </a:lnTo>
                  <a:lnTo>
                    <a:pt x="249" y="17356"/>
                  </a:lnTo>
                  <a:lnTo>
                    <a:pt x="217" y="17315"/>
                  </a:lnTo>
                  <a:lnTo>
                    <a:pt x="186" y="17273"/>
                  </a:lnTo>
                  <a:lnTo>
                    <a:pt x="158" y="17229"/>
                  </a:lnTo>
                  <a:lnTo>
                    <a:pt x="131" y="17183"/>
                  </a:lnTo>
                  <a:lnTo>
                    <a:pt x="107" y="17136"/>
                  </a:lnTo>
                  <a:lnTo>
                    <a:pt x="86" y="17088"/>
                  </a:lnTo>
                  <a:lnTo>
                    <a:pt x="66" y="17039"/>
                  </a:lnTo>
                  <a:lnTo>
                    <a:pt x="49" y="16989"/>
                  </a:lnTo>
                  <a:lnTo>
                    <a:pt x="34" y="16938"/>
                  </a:lnTo>
                  <a:lnTo>
                    <a:pt x="22" y="16886"/>
                  </a:lnTo>
                  <a:lnTo>
                    <a:pt x="13" y="16832"/>
                  </a:lnTo>
                  <a:lnTo>
                    <a:pt x="6" y="16778"/>
                  </a:lnTo>
                  <a:lnTo>
                    <a:pt x="1" y="16724"/>
                  </a:lnTo>
                  <a:lnTo>
                    <a:pt x="0" y="16668"/>
                  </a:lnTo>
                  <a:lnTo>
                    <a:pt x="0" y="1084"/>
                  </a:lnTo>
                  <a:lnTo>
                    <a:pt x="1" y="1028"/>
                  </a:lnTo>
                  <a:lnTo>
                    <a:pt x="6" y="973"/>
                  </a:lnTo>
                  <a:lnTo>
                    <a:pt x="13" y="919"/>
                  </a:lnTo>
                  <a:lnTo>
                    <a:pt x="22" y="866"/>
                  </a:lnTo>
                  <a:lnTo>
                    <a:pt x="34" y="814"/>
                  </a:lnTo>
                  <a:lnTo>
                    <a:pt x="49" y="763"/>
                  </a:lnTo>
                  <a:lnTo>
                    <a:pt x="66" y="712"/>
                  </a:lnTo>
                  <a:lnTo>
                    <a:pt x="86" y="662"/>
                  </a:lnTo>
                  <a:lnTo>
                    <a:pt x="107" y="614"/>
                  </a:lnTo>
                  <a:lnTo>
                    <a:pt x="131" y="568"/>
                  </a:lnTo>
                  <a:lnTo>
                    <a:pt x="158" y="523"/>
                  </a:lnTo>
                  <a:lnTo>
                    <a:pt x="186" y="479"/>
                  </a:lnTo>
                  <a:lnTo>
                    <a:pt x="217" y="436"/>
                  </a:lnTo>
                  <a:lnTo>
                    <a:pt x="249" y="395"/>
                  </a:lnTo>
                  <a:lnTo>
                    <a:pt x="283" y="356"/>
                  </a:lnTo>
                  <a:lnTo>
                    <a:pt x="319" y="318"/>
                  </a:lnTo>
                  <a:lnTo>
                    <a:pt x="357" y="281"/>
                  </a:lnTo>
                  <a:lnTo>
                    <a:pt x="396" y="247"/>
                  </a:lnTo>
                  <a:lnTo>
                    <a:pt x="437" y="215"/>
                  </a:lnTo>
                  <a:lnTo>
                    <a:pt x="479" y="186"/>
                  </a:lnTo>
                  <a:lnTo>
                    <a:pt x="524" y="157"/>
                  </a:lnTo>
                  <a:lnTo>
                    <a:pt x="569" y="131"/>
                  </a:lnTo>
                  <a:lnTo>
                    <a:pt x="616" y="107"/>
                  </a:lnTo>
                  <a:lnTo>
                    <a:pt x="664" y="85"/>
                  </a:lnTo>
                  <a:lnTo>
                    <a:pt x="713" y="66"/>
                  </a:lnTo>
                  <a:lnTo>
                    <a:pt x="763" y="49"/>
                  </a:lnTo>
                  <a:lnTo>
                    <a:pt x="815" y="34"/>
                  </a:lnTo>
                  <a:lnTo>
                    <a:pt x="867" y="22"/>
                  </a:lnTo>
                  <a:lnTo>
                    <a:pt x="921" y="12"/>
                  </a:lnTo>
                  <a:lnTo>
                    <a:pt x="974" y="4"/>
                  </a:lnTo>
                  <a:lnTo>
                    <a:pt x="1030" y="1"/>
                  </a:lnTo>
                  <a:lnTo>
                    <a:pt x="1085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7" name="Freeform 18"/>
            <p:cNvSpPr>
              <a:spLocks/>
            </p:cNvSpPr>
            <p:nvPr/>
          </p:nvSpPr>
          <p:spPr bwMode="auto">
            <a:xfrm>
              <a:off x="5275674" y="2031629"/>
              <a:ext cx="1704400" cy="3002796"/>
            </a:xfrm>
            <a:custGeom>
              <a:avLst/>
              <a:gdLst>
                <a:gd name="T0" fmla="*/ 60 w 7504"/>
                <a:gd name="T1" fmla="*/ 0 h 13222"/>
                <a:gd name="T2" fmla="*/ 7444 w 7504"/>
                <a:gd name="T3" fmla="*/ 0 h 13222"/>
                <a:gd name="T4" fmla="*/ 7451 w 7504"/>
                <a:gd name="T5" fmla="*/ 0 h 13222"/>
                <a:gd name="T6" fmla="*/ 7457 w 7504"/>
                <a:gd name="T7" fmla="*/ 1 h 13222"/>
                <a:gd name="T8" fmla="*/ 7462 w 7504"/>
                <a:gd name="T9" fmla="*/ 2 h 13222"/>
                <a:gd name="T10" fmla="*/ 7468 w 7504"/>
                <a:gd name="T11" fmla="*/ 5 h 13222"/>
                <a:gd name="T12" fmla="*/ 7478 w 7504"/>
                <a:gd name="T13" fmla="*/ 10 h 13222"/>
                <a:gd name="T14" fmla="*/ 7486 w 7504"/>
                <a:gd name="T15" fmla="*/ 17 h 13222"/>
                <a:gd name="T16" fmla="*/ 7494 w 7504"/>
                <a:gd name="T17" fmla="*/ 26 h 13222"/>
                <a:gd name="T18" fmla="*/ 7500 w 7504"/>
                <a:gd name="T19" fmla="*/ 36 h 13222"/>
                <a:gd name="T20" fmla="*/ 7501 w 7504"/>
                <a:gd name="T21" fmla="*/ 42 h 13222"/>
                <a:gd name="T22" fmla="*/ 7503 w 7504"/>
                <a:gd name="T23" fmla="*/ 48 h 13222"/>
                <a:gd name="T24" fmla="*/ 7504 w 7504"/>
                <a:gd name="T25" fmla="*/ 54 h 13222"/>
                <a:gd name="T26" fmla="*/ 7504 w 7504"/>
                <a:gd name="T27" fmla="*/ 59 h 13222"/>
                <a:gd name="T28" fmla="*/ 7504 w 7504"/>
                <a:gd name="T29" fmla="*/ 13161 h 13222"/>
                <a:gd name="T30" fmla="*/ 7504 w 7504"/>
                <a:gd name="T31" fmla="*/ 13167 h 13222"/>
                <a:gd name="T32" fmla="*/ 7503 w 7504"/>
                <a:gd name="T33" fmla="*/ 13174 h 13222"/>
                <a:gd name="T34" fmla="*/ 7501 w 7504"/>
                <a:gd name="T35" fmla="*/ 13179 h 13222"/>
                <a:gd name="T36" fmla="*/ 7500 w 7504"/>
                <a:gd name="T37" fmla="*/ 13185 h 13222"/>
                <a:gd name="T38" fmla="*/ 7494 w 7504"/>
                <a:gd name="T39" fmla="*/ 13195 h 13222"/>
                <a:gd name="T40" fmla="*/ 7486 w 7504"/>
                <a:gd name="T41" fmla="*/ 13203 h 13222"/>
                <a:gd name="T42" fmla="*/ 7478 w 7504"/>
                <a:gd name="T43" fmla="*/ 13211 h 13222"/>
                <a:gd name="T44" fmla="*/ 7468 w 7504"/>
                <a:gd name="T45" fmla="*/ 13217 h 13222"/>
                <a:gd name="T46" fmla="*/ 7462 w 7504"/>
                <a:gd name="T47" fmla="*/ 13218 h 13222"/>
                <a:gd name="T48" fmla="*/ 7457 w 7504"/>
                <a:gd name="T49" fmla="*/ 13221 h 13222"/>
                <a:gd name="T50" fmla="*/ 7451 w 7504"/>
                <a:gd name="T51" fmla="*/ 13222 h 13222"/>
                <a:gd name="T52" fmla="*/ 7444 w 7504"/>
                <a:gd name="T53" fmla="*/ 13222 h 13222"/>
                <a:gd name="T54" fmla="*/ 60 w 7504"/>
                <a:gd name="T55" fmla="*/ 13222 h 13222"/>
                <a:gd name="T56" fmla="*/ 54 w 7504"/>
                <a:gd name="T57" fmla="*/ 13222 h 13222"/>
                <a:gd name="T58" fmla="*/ 48 w 7504"/>
                <a:gd name="T59" fmla="*/ 13221 h 13222"/>
                <a:gd name="T60" fmla="*/ 43 w 7504"/>
                <a:gd name="T61" fmla="*/ 13218 h 13222"/>
                <a:gd name="T62" fmla="*/ 37 w 7504"/>
                <a:gd name="T63" fmla="*/ 13217 h 13222"/>
                <a:gd name="T64" fmla="*/ 27 w 7504"/>
                <a:gd name="T65" fmla="*/ 13211 h 13222"/>
                <a:gd name="T66" fmla="*/ 18 w 7504"/>
                <a:gd name="T67" fmla="*/ 13203 h 13222"/>
                <a:gd name="T68" fmla="*/ 11 w 7504"/>
                <a:gd name="T69" fmla="*/ 13195 h 13222"/>
                <a:gd name="T70" fmla="*/ 5 w 7504"/>
                <a:gd name="T71" fmla="*/ 13185 h 13222"/>
                <a:gd name="T72" fmla="*/ 3 w 7504"/>
                <a:gd name="T73" fmla="*/ 13179 h 13222"/>
                <a:gd name="T74" fmla="*/ 2 w 7504"/>
                <a:gd name="T75" fmla="*/ 13174 h 13222"/>
                <a:gd name="T76" fmla="*/ 0 w 7504"/>
                <a:gd name="T77" fmla="*/ 13167 h 13222"/>
                <a:gd name="T78" fmla="*/ 0 w 7504"/>
                <a:gd name="T79" fmla="*/ 13161 h 13222"/>
                <a:gd name="T80" fmla="*/ 0 w 7504"/>
                <a:gd name="T81" fmla="*/ 59 h 13222"/>
                <a:gd name="T82" fmla="*/ 0 w 7504"/>
                <a:gd name="T83" fmla="*/ 54 h 13222"/>
                <a:gd name="T84" fmla="*/ 2 w 7504"/>
                <a:gd name="T85" fmla="*/ 48 h 13222"/>
                <a:gd name="T86" fmla="*/ 3 w 7504"/>
                <a:gd name="T87" fmla="*/ 42 h 13222"/>
                <a:gd name="T88" fmla="*/ 5 w 7504"/>
                <a:gd name="T89" fmla="*/ 36 h 13222"/>
                <a:gd name="T90" fmla="*/ 11 w 7504"/>
                <a:gd name="T91" fmla="*/ 26 h 13222"/>
                <a:gd name="T92" fmla="*/ 18 w 7504"/>
                <a:gd name="T93" fmla="*/ 17 h 13222"/>
                <a:gd name="T94" fmla="*/ 27 w 7504"/>
                <a:gd name="T95" fmla="*/ 10 h 13222"/>
                <a:gd name="T96" fmla="*/ 37 w 7504"/>
                <a:gd name="T97" fmla="*/ 5 h 13222"/>
                <a:gd name="T98" fmla="*/ 43 w 7504"/>
                <a:gd name="T99" fmla="*/ 2 h 13222"/>
                <a:gd name="T100" fmla="*/ 48 w 7504"/>
                <a:gd name="T101" fmla="*/ 1 h 13222"/>
                <a:gd name="T102" fmla="*/ 54 w 7504"/>
                <a:gd name="T103" fmla="*/ 0 h 13222"/>
                <a:gd name="T104" fmla="*/ 60 w 7504"/>
                <a:gd name="T105" fmla="*/ 0 h 13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7504" h="13222">
                  <a:moveTo>
                    <a:pt x="60" y="0"/>
                  </a:moveTo>
                  <a:lnTo>
                    <a:pt x="7444" y="0"/>
                  </a:lnTo>
                  <a:lnTo>
                    <a:pt x="7451" y="0"/>
                  </a:lnTo>
                  <a:lnTo>
                    <a:pt x="7457" y="1"/>
                  </a:lnTo>
                  <a:lnTo>
                    <a:pt x="7462" y="2"/>
                  </a:lnTo>
                  <a:lnTo>
                    <a:pt x="7468" y="5"/>
                  </a:lnTo>
                  <a:lnTo>
                    <a:pt x="7478" y="10"/>
                  </a:lnTo>
                  <a:lnTo>
                    <a:pt x="7486" y="17"/>
                  </a:lnTo>
                  <a:lnTo>
                    <a:pt x="7494" y="26"/>
                  </a:lnTo>
                  <a:lnTo>
                    <a:pt x="7500" y="36"/>
                  </a:lnTo>
                  <a:lnTo>
                    <a:pt x="7501" y="42"/>
                  </a:lnTo>
                  <a:lnTo>
                    <a:pt x="7503" y="48"/>
                  </a:lnTo>
                  <a:lnTo>
                    <a:pt x="7504" y="54"/>
                  </a:lnTo>
                  <a:lnTo>
                    <a:pt x="7504" y="59"/>
                  </a:lnTo>
                  <a:lnTo>
                    <a:pt x="7504" y="13161"/>
                  </a:lnTo>
                  <a:lnTo>
                    <a:pt x="7504" y="13167"/>
                  </a:lnTo>
                  <a:lnTo>
                    <a:pt x="7503" y="13174"/>
                  </a:lnTo>
                  <a:lnTo>
                    <a:pt x="7501" y="13179"/>
                  </a:lnTo>
                  <a:lnTo>
                    <a:pt x="7500" y="13185"/>
                  </a:lnTo>
                  <a:lnTo>
                    <a:pt x="7494" y="13195"/>
                  </a:lnTo>
                  <a:lnTo>
                    <a:pt x="7486" y="13203"/>
                  </a:lnTo>
                  <a:lnTo>
                    <a:pt x="7478" y="13211"/>
                  </a:lnTo>
                  <a:lnTo>
                    <a:pt x="7468" y="13217"/>
                  </a:lnTo>
                  <a:lnTo>
                    <a:pt x="7462" y="13218"/>
                  </a:lnTo>
                  <a:lnTo>
                    <a:pt x="7457" y="13221"/>
                  </a:lnTo>
                  <a:lnTo>
                    <a:pt x="7451" y="13222"/>
                  </a:lnTo>
                  <a:lnTo>
                    <a:pt x="7444" y="13222"/>
                  </a:lnTo>
                  <a:lnTo>
                    <a:pt x="60" y="13222"/>
                  </a:lnTo>
                  <a:lnTo>
                    <a:pt x="54" y="13222"/>
                  </a:lnTo>
                  <a:lnTo>
                    <a:pt x="48" y="13221"/>
                  </a:lnTo>
                  <a:lnTo>
                    <a:pt x="43" y="13218"/>
                  </a:lnTo>
                  <a:lnTo>
                    <a:pt x="37" y="13217"/>
                  </a:lnTo>
                  <a:lnTo>
                    <a:pt x="27" y="13211"/>
                  </a:lnTo>
                  <a:lnTo>
                    <a:pt x="18" y="13203"/>
                  </a:lnTo>
                  <a:lnTo>
                    <a:pt x="11" y="13195"/>
                  </a:lnTo>
                  <a:lnTo>
                    <a:pt x="5" y="13185"/>
                  </a:lnTo>
                  <a:lnTo>
                    <a:pt x="3" y="13179"/>
                  </a:lnTo>
                  <a:lnTo>
                    <a:pt x="2" y="13174"/>
                  </a:lnTo>
                  <a:lnTo>
                    <a:pt x="0" y="13167"/>
                  </a:lnTo>
                  <a:lnTo>
                    <a:pt x="0" y="13161"/>
                  </a:lnTo>
                  <a:lnTo>
                    <a:pt x="0" y="59"/>
                  </a:lnTo>
                  <a:lnTo>
                    <a:pt x="0" y="54"/>
                  </a:lnTo>
                  <a:lnTo>
                    <a:pt x="2" y="48"/>
                  </a:lnTo>
                  <a:lnTo>
                    <a:pt x="3" y="42"/>
                  </a:lnTo>
                  <a:lnTo>
                    <a:pt x="5" y="36"/>
                  </a:lnTo>
                  <a:lnTo>
                    <a:pt x="11" y="26"/>
                  </a:lnTo>
                  <a:lnTo>
                    <a:pt x="18" y="17"/>
                  </a:lnTo>
                  <a:lnTo>
                    <a:pt x="27" y="10"/>
                  </a:lnTo>
                  <a:lnTo>
                    <a:pt x="37" y="5"/>
                  </a:lnTo>
                  <a:lnTo>
                    <a:pt x="43" y="2"/>
                  </a:lnTo>
                  <a:lnTo>
                    <a:pt x="48" y="1"/>
                  </a:lnTo>
                  <a:lnTo>
                    <a:pt x="54" y="0"/>
                  </a:lnTo>
                  <a:lnTo>
                    <a:pt x="60" y="0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8" name="Rectangle 19"/>
            <p:cNvSpPr>
              <a:spLocks noChangeArrowheads="1"/>
            </p:cNvSpPr>
            <p:nvPr/>
          </p:nvSpPr>
          <p:spPr bwMode="auto">
            <a:xfrm>
              <a:off x="5298835" y="2056152"/>
              <a:ext cx="1656715" cy="2953748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lumMod val="75000"/>
                    <a:tint val="66000"/>
                    <a:satMod val="160000"/>
                  </a:schemeClr>
                </a:gs>
                <a:gs pos="50000">
                  <a:schemeClr val="bg1">
                    <a:lumMod val="75000"/>
                    <a:tint val="44500"/>
                    <a:satMod val="160000"/>
                  </a:schemeClr>
                </a:gs>
                <a:gs pos="100000">
                  <a:schemeClr val="bg1">
                    <a:lumMod val="75000"/>
                    <a:tint val="23500"/>
                    <a:satMod val="160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349" name="Group 348"/>
            <p:cNvGrpSpPr/>
            <p:nvPr/>
          </p:nvGrpSpPr>
          <p:grpSpPr>
            <a:xfrm>
              <a:off x="5298835" y="2056150"/>
              <a:ext cx="1656715" cy="108994"/>
              <a:chOff x="2252642" y="846142"/>
              <a:chExt cx="1930382" cy="127001"/>
            </a:xfrm>
          </p:grpSpPr>
          <p:sp>
            <p:nvSpPr>
              <p:cNvPr id="363" name="Rectangle 20"/>
              <p:cNvSpPr>
                <a:spLocks noChangeArrowheads="1"/>
              </p:cNvSpPr>
              <p:nvPr/>
            </p:nvSpPr>
            <p:spPr bwMode="auto">
              <a:xfrm>
                <a:off x="2252642" y="846142"/>
                <a:ext cx="1930382" cy="127001"/>
              </a:xfrm>
              <a:prstGeom prst="rect">
                <a:avLst/>
              </a:prstGeom>
              <a:gradFill>
                <a:gsLst>
                  <a:gs pos="100000">
                    <a:schemeClr val="tx1">
                      <a:lumMod val="65000"/>
                      <a:lumOff val="35000"/>
                    </a:schemeClr>
                  </a:gs>
                  <a:gs pos="0">
                    <a:schemeClr val="bg1">
                      <a:lumMod val="50000"/>
                    </a:schemeClr>
                  </a:gs>
                </a:gsLst>
                <a:lin ang="5400000" scaled="1"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64" name="Rectangle 21"/>
              <p:cNvSpPr>
                <a:spLocks noChangeArrowheads="1"/>
              </p:cNvSpPr>
              <p:nvPr/>
            </p:nvSpPr>
            <p:spPr bwMode="auto">
              <a:xfrm>
                <a:off x="2278042" y="912817"/>
                <a:ext cx="19050" cy="254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65" name="Rectangle 22"/>
              <p:cNvSpPr>
                <a:spLocks noChangeArrowheads="1"/>
              </p:cNvSpPr>
              <p:nvPr/>
            </p:nvSpPr>
            <p:spPr bwMode="auto">
              <a:xfrm>
                <a:off x="2301854" y="908054"/>
                <a:ext cx="19050" cy="30164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66" name="Rectangle 23"/>
              <p:cNvSpPr>
                <a:spLocks noChangeArrowheads="1"/>
              </p:cNvSpPr>
              <p:nvPr/>
            </p:nvSpPr>
            <p:spPr bwMode="auto">
              <a:xfrm>
                <a:off x="2327254" y="898529"/>
                <a:ext cx="17463" cy="39688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67" name="Rectangle 24"/>
              <p:cNvSpPr>
                <a:spLocks noChangeArrowheads="1"/>
              </p:cNvSpPr>
              <p:nvPr/>
            </p:nvSpPr>
            <p:spPr bwMode="auto">
              <a:xfrm>
                <a:off x="2351066" y="890592"/>
                <a:ext cx="17463" cy="47625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68" name="Rectangle 25"/>
              <p:cNvSpPr>
                <a:spLocks noChangeArrowheads="1"/>
              </p:cNvSpPr>
              <p:nvPr/>
            </p:nvSpPr>
            <p:spPr bwMode="auto">
              <a:xfrm>
                <a:off x="2374878" y="877891"/>
                <a:ext cx="17463" cy="60325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69" name="Freeform 36"/>
              <p:cNvSpPr>
                <a:spLocks/>
              </p:cNvSpPr>
              <p:nvPr/>
            </p:nvSpPr>
            <p:spPr bwMode="auto">
              <a:xfrm>
                <a:off x="2432028" y="873129"/>
                <a:ext cx="96837" cy="34925"/>
              </a:xfrm>
              <a:custGeom>
                <a:avLst/>
                <a:gdLst>
                  <a:gd name="T0" fmla="*/ 195 w 362"/>
                  <a:gd name="T1" fmla="*/ 0 h 133"/>
                  <a:gd name="T2" fmla="*/ 222 w 362"/>
                  <a:gd name="T3" fmla="*/ 3 h 133"/>
                  <a:gd name="T4" fmla="*/ 248 w 362"/>
                  <a:gd name="T5" fmla="*/ 10 h 133"/>
                  <a:gd name="T6" fmla="*/ 274 w 362"/>
                  <a:gd name="T7" fmla="*/ 19 h 133"/>
                  <a:gd name="T8" fmla="*/ 296 w 362"/>
                  <a:gd name="T9" fmla="*/ 31 h 133"/>
                  <a:gd name="T10" fmla="*/ 318 w 362"/>
                  <a:gd name="T11" fmla="*/ 46 h 133"/>
                  <a:gd name="T12" fmla="*/ 337 w 362"/>
                  <a:gd name="T13" fmla="*/ 63 h 133"/>
                  <a:gd name="T14" fmla="*/ 356 w 362"/>
                  <a:gd name="T15" fmla="*/ 83 h 133"/>
                  <a:gd name="T16" fmla="*/ 321 w 362"/>
                  <a:gd name="T17" fmla="*/ 133 h 133"/>
                  <a:gd name="T18" fmla="*/ 309 w 362"/>
                  <a:gd name="T19" fmla="*/ 116 h 133"/>
                  <a:gd name="T20" fmla="*/ 295 w 362"/>
                  <a:gd name="T21" fmla="*/ 101 h 133"/>
                  <a:gd name="T22" fmla="*/ 279 w 362"/>
                  <a:gd name="T23" fmla="*/ 87 h 133"/>
                  <a:gd name="T24" fmla="*/ 262 w 362"/>
                  <a:gd name="T25" fmla="*/ 77 h 133"/>
                  <a:gd name="T26" fmla="*/ 244 w 362"/>
                  <a:gd name="T27" fmla="*/ 68 h 133"/>
                  <a:gd name="T28" fmla="*/ 223 w 362"/>
                  <a:gd name="T29" fmla="*/ 61 h 133"/>
                  <a:gd name="T30" fmla="*/ 203 w 362"/>
                  <a:gd name="T31" fmla="*/ 57 h 133"/>
                  <a:gd name="T32" fmla="*/ 181 w 362"/>
                  <a:gd name="T33" fmla="*/ 55 h 133"/>
                  <a:gd name="T34" fmla="*/ 159 w 362"/>
                  <a:gd name="T35" fmla="*/ 57 h 133"/>
                  <a:gd name="T36" fmla="*/ 139 w 362"/>
                  <a:gd name="T37" fmla="*/ 61 h 133"/>
                  <a:gd name="T38" fmla="*/ 118 w 362"/>
                  <a:gd name="T39" fmla="*/ 68 h 133"/>
                  <a:gd name="T40" fmla="*/ 100 w 362"/>
                  <a:gd name="T41" fmla="*/ 77 h 133"/>
                  <a:gd name="T42" fmla="*/ 83 w 362"/>
                  <a:gd name="T43" fmla="*/ 87 h 133"/>
                  <a:gd name="T44" fmla="*/ 67 w 362"/>
                  <a:gd name="T45" fmla="*/ 101 h 133"/>
                  <a:gd name="T46" fmla="*/ 53 w 362"/>
                  <a:gd name="T47" fmla="*/ 116 h 133"/>
                  <a:gd name="T48" fmla="*/ 41 w 362"/>
                  <a:gd name="T49" fmla="*/ 133 h 133"/>
                  <a:gd name="T50" fmla="*/ 7 w 362"/>
                  <a:gd name="T51" fmla="*/ 83 h 133"/>
                  <a:gd name="T52" fmla="*/ 25 w 362"/>
                  <a:gd name="T53" fmla="*/ 63 h 133"/>
                  <a:gd name="T54" fmla="*/ 44 w 362"/>
                  <a:gd name="T55" fmla="*/ 46 h 133"/>
                  <a:gd name="T56" fmla="*/ 66 w 362"/>
                  <a:gd name="T57" fmla="*/ 31 h 133"/>
                  <a:gd name="T58" fmla="*/ 89 w 362"/>
                  <a:gd name="T59" fmla="*/ 19 h 133"/>
                  <a:gd name="T60" fmla="*/ 114 w 362"/>
                  <a:gd name="T61" fmla="*/ 10 h 133"/>
                  <a:gd name="T62" fmla="*/ 140 w 362"/>
                  <a:gd name="T63" fmla="*/ 3 h 133"/>
                  <a:gd name="T64" fmla="*/ 167 w 362"/>
                  <a:gd name="T65" fmla="*/ 0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62" h="133">
                    <a:moveTo>
                      <a:pt x="181" y="0"/>
                    </a:moveTo>
                    <a:lnTo>
                      <a:pt x="195" y="0"/>
                    </a:lnTo>
                    <a:lnTo>
                      <a:pt x="208" y="1"/>
                    </a:lnTo>
                    <a:lnTo>
                      <a:pt x="222" y="3"/>
                    </a:lnTo>
                    <a:lnTo>
                      <a:pt x="236" y="5"/>
                    </a:lnTo>
                    <a:lnTo>
                      <a:pt x="248" y="10"/>
                    </a:lnTo>
                    <a:lnTo>
                      <a:pt x="261" y="14"/>
                    </a:lnTo>
                    <a:lnTo>
                      <a:pt x="274" y="19"/>
                    </a:lnTo>
                    <a:lnTo>
                      <a:pt x="285" y="25"/>
                    </a:lnTo>
                    <a:lnTo>
                      <a:pt x="296" y="31"/>
                    </a:lnTo>
                    <a:lnTo>
                      <a:pt x="308" y="38"/>
                    </a:lnTo>
                    <a:lnTo>
                      <a:pt x="318" y="46"/>
                    </a:lnTo>
                    <a:lnTo>
                      <a:pt x="328" y="54"/>
                    </a:lnTo>
                    <a:lnTo>
                      <a:pt x="337" y="63"/>
                    </a:lnTo>
                    <a:lnTo>
                      <a:pt x="346" y="73"/>
                    </a:lnTo>
                    <a:lnTo>
                      <a:pt x="356" y="83"/>
                    </a:lnTo>
                    <a:lnTo>
                      <a:pt x="362" y="93"/>
                    </a:lnTo>
                    <a:lnTo>
                      <a:pt x="321" y="133"/>
                    </a:lnTo>
                    <a:lnTo>
                      <a:pt x="316" y="124"/>
                    </a:lnTo>
                    <a:lnTo>
                      <a:pt x="309" y="116"/>
                    </a:lnTo>
                    <a:lnTo>
                      <a:pt x="302" y="108"/>
                    </a:lnTo>
                    <a:lnTo>
                      <a:pt x="295" y="101"/>
                    </a:lnTo>
                    <a:lnTo>
                      <a:pt x="287" y="94"/>
                    </a:lnTo>
                    <a:lnTo>
                      <a:pt x="279" y="87"/>
                    </a:lnTo>
                    <a:lnTo>
                      <a:pt x="271" y="82"/>
                    </a:lnTo>
                    <a:lnTo>
                      <a:pt x="262" y="77"/>
                    </a:lnTo>
                    <a:lnTo>
                      <a:pt x="253" y="71"/>
                    </a:lnTo>
                    <a:lnTo>
                      <a:pt x="244" y="68"/>
                    </a:lnTo>
                    <a:lnTo>
                      <a:pt x="234" y="65"/>
                    </a:lnTo>
                    <a:lnTo>
                      <a:pt x="223" y="61"/>
                    </a:lnTo>
                    <a:lnTo>
                      <a:pt x="213" y="59"/>
                    </a:lnTo>
                    <a:lnTo>
                      <a:pt x="203" y="57"/>
                    </a:lnTo>
                    <a:lnTo>
                      <a:pt x="193" y="55"/>
                    </a:lnTo>
                    <a:lnTo>
                      <a:pt x="181" y="55"/>
                    </a:lnTo>
                    <a:lnTo>
                      <a:pt x="170" y="55"/>
                    </a:lnTo>
                    <a:lnTo>
                      <a:pt x="159" y="57"/>
                    </a:lnTo>
                    <a:lnTo>
                      <a:pt x="149" y="59"/>
                    </a:lnTo>
                    <a:lnTo>
                      <a:pt x="139" y="61"/>
                    </a:lnTo>
                    <a:lnTo>
                      <a:pt x="129" y="65"/>
                    </a:lnTo>
                    <a:lnTo>
                      <a:pt x="118" y="68"/>
                    </a:lnTo>
                    <a:lnTo>
                      <a:pt x="109" y="71"/>
                    </a:lnTo>
                    <a:lnTo>
                      <a:pt x="100" y="77"/>
                    </a:lnTo>
                    <a:lnTo>
                      <a:pt x="91" y="82"/>
                    </a:lnTo>
                    <a:lnTo>
                      <a:pt x="83" y="87"/>
                    </a:lnTo>
                    <a:lnTo>
                      <a:pt x="75" y="94"/>
                    </a:lnTo>
                    <a:lnTo>
                      <a:pt x="67" y="101"/>
                    </a:lnTo>
                    <a:lnTo>
                      <a:pt x="60" y="108"/>
                    </a:lnTo>
                    <a:lnTo>
                      <a:pt x="53" y="116"/>
                    </a:lnTo>
                    <a:lnTo>
                      <a:pt x="47" y="124"/>
                    </a:lnTo>
                    <a:lnTo>
                      <a:pt x="41" y="133"/>
                    </a:lnTo>
                    <a:lnTo>
                      <a:pt x="0" y="93"/>
                    </a:lnTo>
                    <a:lnTo>
                      <a:pt x="7" y="83"/>
                    </a:lnTo>
                    <a:lnTo>
                      <a:pt x="16" y="73"/>
                    </a:lnTo>
                    <a:lnTo>
                      <a:pt x="25" y="63"/>
                    </a:lnTo>
                    <a:lnTo>
                      <a:pt x="34" y="54"/>
                    </a:lnTo>
                    <a:lnTo>
                      <a:pt x="44" y="46"/>
                    </a:lnTo>
                    <a:lnTo>
                      <a:pt x="55" y="38"/>
                    </a:lnTo>
                    <a:lnTo>
                      <a:pt x="66" y="31"/>
                    </a:lnTo>
                    <a:lnTo>
                      <a:pt x="77" y="25"/>
                    </a:lnTo>
                    <a:lnTo>
                      <a:pt x="89" y="19"/>
                    </a:lnTo>
                    <a:lnTo>
                      <a:pt x="101" y="14"/>
                    </a:lnTo>
                    <a:lnTo>
                      <a:pt x="114" y="10"/>
                    </a:lnTo>
                    <a:lnTo>
                      <a:pt x="126" y="5"/>
                    </a:lnTo>
                    <a:lnTo>
                      <a:pt x="140" y="3"/>
                    </a:lnTo>
                    <a:lnTo>
                      <a:pt x="154" y="1"/>
                    </a:lnTo>
                    <a:lnTo>
                      <a:pt x="167" y="0"/>
                    </a:lnTo>
                    <a:lnTo>
                      <a:pt x="181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70" name="Freeform 37"/>
              <p:cNvSpPr>
                <a:spLocks/>
              </p:cNvSpPr>
              <p:nvPr/>
            </p:nvSpPr>
            <p:spPr bwMode="auto">
              <a:xfrm>
                <a:off x="2449489" y="896942"/>
                <a:ext cx="61912" cy="28576"/>
              </a:xfrm>
              <a:custGeom>
                <a:avLst/>
                <a:gdLst>
                  <a:gd name="T0" fmla="*/ 117 w 235"/>
                  <a:gd name="T1" fmla="*/ 0 h 111"/>
                  <a:gd name="T2" fmla="*/ 126 w 235"/>
                  <a:gd name="T3" fmla="*/ 1 h 111"/>
                  <a:gd name="T4" fmla="*/ 135 w 235"/>
                  <a:gd name="T5" fmla="*/ 2 h 111"/>
                  <a:gd name="T6" fmla="*/ 144 w 235"/>
                  <a:gd name="T7" fmla="*/ 3 h 111"/>
                  <a:gd name="T8" fmla="*/ 154 w 235"/>
                  <a:gd name="T9" fmla="*/ 6 h 111"/>
                  <a:gd name="T10" fmla="*/ 162 w 235"/>
                  <a:gd name="T11" fmla="*/ 8 h 111"/>
                  <a:gd name="T12" fmla="*/ 171 w 235"/>
                  <a:gd name="T13" fmla="*/ 11 h 111"/>
                  <a:gd name="T14" fmla="*/ 179 w 235"/>
                  <a:gd name="T15" fmla="*/ 15 h 111"/>
                  <a:gd name="T16" fmla="*/ 186 w 235"/>
                  <a:gd name="T17" fmla="*/ 19 h 111"/>
                  <a:gd name="T18" fmla="*/ 200 w 235"/>
                  <a:gd name="T19" fmla="*/ 30 h 111"/>
                  <a:gd name="T20" fmla="*/ 214 w 235"/>
                  <a:gd name="T21" fmla="*/ 41 h 111"/>
                  <a:gd name="T22" fmla="*/ 225 w 235"/>
                  <a:gd name="T23" fmla="*/ 54 h 111"/>
                  <a:gd name="T24" fmla="*/ 235 w 235"/>
                  <a:gd name="T25" fmla="*/ 68 h 111"/>
                  <a:gd name="T26" fmla="*/ 190 w 235"/>
                  <a:gd name="T27" fmla="*/ 111 h 111"/>
                  <a:gd name="T28" fmla="*/ 186 w 235"/>
                  <a:gd name="T29" fmla="*/ 99 h 111"/>
                  <a:gd name="T30" fmla="*/ 179 w 235"/>
                  <a:gd name="T31" fmla="*/ 90 h 111"/>
                  <a:gd name="T32" fmla="*/ 172 w 235"/>
                  <a:gd name="T33" fmla="*/ 81 h 111"/>
                  <a:gd name="T34" fmla="*/ 163 w 235"/>
                  <a:gd name="T35" fmla="*/ 73 h 111"/>
                  <a:gd name="T36" fmla="*/ 152 w 235"/>
                  <a:gd name="T37" fmla="*/ 67 h 111"/>
                  <a:gd name="T38" fmla="*/ 141 w 235"/>
                  <a:gd name="T39" fmla="*/ 63 h 111"/>
                  <a:gd name="T40" fmla="*/ 130 w 235"/>
                  <a:gd name="T41" fmla="*/ 59 h 111"/>
                  <a:gd name="T42" fmla="*/ 117 w 235"/>
                  <a:gd name="T43" fmla="*/ 59 h 111"/>
                  <a:gd name="T44" fmla="*/ 105 w 235"/>
                  <a:gd name="T45" fmla="*/ 59 h 111"/>
                  <a:gd name="T46" fmla="*/ 93 w 235"/>
                  <a:gd name="T47" fmla="*/ 63 h 111"/>
                  <a:gd name="T48" fmla="*/ 82 w 235"/>
                  <a:gd name="T49" fmla="*/ 67 h 111"/>
                  <a:gd name="T50" fmla="*/ 71 w 235"/>
                  <a:gd name="T51" fmla="*/ 73 h 111"/>
                  <a:gd name="T52" fmla="*/ 64 w 235"/>
                  <a:gd name="T53" fmla="*/ 81 h 111"/>
                  <a:gd name="T54" fmla="*/ 56 w 235"/>
                  <a:gd name="T55" fmla="*/ 90 h 111"/>
                  <a:gd name="T56" fmla="*/ 49 w 235"/>
                  <a:gd name="T57" fmla="*/ 99 h 111"/>
                  <a:gd name="T58" fmla="*/ 44 w 235"/>
                  <a:gd name="T59" fmla="*/ 111 h 111"/>
                  <a:gd name="T60" fmla="*/ 0 w 235"/>
                  <a:gd name="T61" fmla="*/ 68 h 111"/>
                  <a:gd name="T62" fmla="*/ 9 w 235"/>
                  <a:gd name="T63" fmla="*/ 54 h 111"/>
                  <a:gd name="T64" fmla="*/ 20 w 235"/>
                  <a:gd name="T65" fmla="*/ 41 h 111"/>
                  <a:gd name="T66" fmla="*/ 34 w 235"/>
                  <a:gd name="T67" fmla="*/ 30 h 111"/>
                  <a:gd name="T68" fmla="*/ 49 w 235"/>
                  <a:gd name="T69" fmla="*/ 19 h 111"/>
                  <a:gd name="T70" fmla="*/ 56 w 235"/>
                  <a:gd name="T71" fmla="*/ 15 h 111"/>
                  <a:gd name="T72" fmla="*/ 64 w 235"/>
                  <a:gd name="T73" fmla="*/ 11 h 111"/>
                  <a:gd name="T74" fmla="*/ 73 w 235"/>
                  <a:gd name="T75" fmla="*/ 8 h 111"/>
                  <a:gd name="T76" fmla="*/ 81 w 235"/>
                  <a:gd name="T77" fmla="*/ 6 h 111"/>
                  <a:gd name="T78" fmla="*/ 90 w 235"/>
                  <a:gd name="T79" fmla="*/ 3 h 111"/>
                  <a:gd name="T80" fmla="*/ 99 w 235"/>
                  <a:gd name="T81" fmla="*/ 2 h 111"/>
                  <a:gd name="T82" fmla="*/ 108 w 235"/>
                  <a:gd name="T83" fmla="*/ 1 h 111"/>
                  <a:gd name="T84" fmla="*/ 117 w 235"/>
                  <a:gd name="T85" fmla="*/ 0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35" h="111">
                    <a:moveTo>
                      <a:pt x="117" y="0"/>
                    </a:moveTo>
                    <a:lnTo>
                      <a:pt x="126" y="1"/>
                    </a:lnTo>
                    <a:lnTo>
                      <a:pt x="135" y="2"/>
                    </a:lnTo>
                    <a:lnTo>
                      <a:pt x="144" y="3"/>
                    </a:lnTo>
                    <a:lnTo>
                      <a:pt x="154" y="6"/>
                    </a:lnTo>
                    <a:lnTo>
                      <a:pt x="162" y="8"/>
                    </a:lnTo>
                    <a:lnTo>
                      <a:pt x="171" y="11"/>
                    </a:lnTo>
                    <a:lnTo>
                      <a:pt x="179" y="15"/>
                    </a:lnTo>
                    <a:lnTo>
                      <a:pt x="186" y="19"/>
                    </a:lnTo>
                    <a:lnTo>
                      <a:pt x="200" y="30"/>
                    </a:lnTo>
                    <a:lnTo>
                      <a:pt x="214" y="41"/>
                    </a:lnTo>
                    <a:lnTo>
                      <a:pt x="225" y="54"/>
                    </a:lnTo>
                    <a:lnTo>
                      <a:pt x="235" y="68"/>
                    </a:lnTo>
                    <a:lnTo>
                      <a:pt x="190" y="111"/>
                    </a:lnTo>
                    <a:lnTo>
                      <a:pt x="186" y="99"/>
                    </a:lnTo>
                    <a:lnTo>
                      <a:pt x="179" y="90"/>
                    </a:lnTo>
                    <a:lnTo>
                      <a:pt x="172" y="81"/>
                    </a:lnTo>
                    <a:lnTo>
                      <a:pt x="163" y="73"/>
                    </a:lnTo>
                    <a:lnTo>
                      <a:pt x="152" y="67"/>
                    </a:lnTo>
                    <a:lnTo>
                      <a:pt x="141" y="63"/>
                    </a:lnTo>
                    <a:lnTo>
                      <a:pt x="130" y="59"/>
                    </a:lnTo>
                    <a:lnTo>
                      <a:pt x="117" y="59"/>
                    </a:lnTo>
                    <a:lnTo>
                      <a:pt x="105" y="59"/>
                    </a:lnTo>
                    <a:lnTo>
                      <a:pt x="93" y="63"/>
                    </a:lnTo>
                    <a:lnTo>
                      <a:pt x="82" y="67"/>
                    </a:lnTo>
                    <a:lnTo>
                      <a:pt x="71" y="73"/>
                    </a:lnTo>
                    <a:lnTo>
                      <a:pt x="64" y="81"/>
                    </a:lnTo>
                    <a:lnTo>
                      <a:pt x="56" y="90"/>
                    </a:lnTo>
                    <a:lnTo>
                      <a:pt x="49" y="99"/>
                    </a:lnTo>
                    <a:lnTo>
                      <a:pt x="44" y="111"/>
                    </a:lnTo>
                    <a:lnTo>
                      <a:pt x="0" y="68"/>
                    </a:lnTo>
                    <a:lnTo>
                      <a:pt x="9" y="54"/>
                    </a:lnTo>
                    <a:lnTo>
                      <a:pt x="20" y="41"/>
                    </a:lnTo>
                    <a:lnTo>
                      <a:pt x="34" y="30"/>
                    </a:lnTo>
                    <a:lnTo>
                      <a:pt x="49" y="19"/>
                    </a:lnTo>
                    <a:lnTo>
                      <a:pt x="56" y="15"/>
                    </a:lnTo>
                    <a:lnTo>
                      <a:pt x="64" y="11"/>
                    </a:lnTo>
                    <a:lnTo>
                      <a:pt x="73" y="8"/>
                    </a:lnTo>
                    <a:lnTo>
                      <a:pt x="81" y="6"/>
                    </a:lnTo>
                    <a:lnTo>
                      <a:pt x="90" y="3"/>
                    </a:lnTo>
                    <a:lnTo>
                      <a:pt x="99" y="2"/>
                    </a:lnTo>
                    <a:lnTo>
                      <a:pt x="108" y="1"/>
                    </a:lnTo>
                    <a:lnTo>
                      <a:pt x="11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71" name="Freeform 38"/>
              <p:cNvSpPr>
                <a:spLocks/>
              </p:cNvSpPr>
              <p:nvPr/>
            </p:nvSpPr>
            <p:spPr bwMode="auto">
              <a:xfrm>
                <a:off x="2468539" y="920755"/>
                <a:ext cx="23813" cy="22225"/>
              </a:xfrm>
              <a:custGeom>
                <a:avLst/>
                <a:gdLst>
                  <a:gd name="T0" fmla="*/ 42 w 84"/>
                  <a:gd name="T1" fmla="*/ 0 h 84"/>
                  <a:gd name="T2" fmla="*/ 51 w 84"/>
                  <a:gd name="T3" fmla="*/ 0 h 84"/>
                  <a:gd name="T4" fmla="*/ 59 w 84"/>
                  <a:gd name="T5" fmla="*/ 2 h 84"/>
                  <a:gd name="T6" fmla="*/ 66 w 84"/>
                  <a:gd name="T7" fmla="*/ 7 h 84"/>
                  <a:gd name="T8" fmla="*/ 72 w 84"/>
                  <a:gd name="T9" fmla="*/ 11 h 84"/>
                  <a:gd name="T10" fmla="*/ 77 w 84"/>
                  <a:gd name="T11" fmla="*/ 18 h 84"/>
                  <a:gd name="T12" fmla="*/ 81 w 84"/>
                  <a:gd name="T13" fmla="*/ 25 h 84"/>
                  <a:gd name="T14" fmla="*/ 83 w 84"/>
                  <a:gd name="T15" fmla="*/ 33 h 84"/>
                  <a:gd name="T16" fmla="*/ 84 w 84"/>
                  <a:gd name="T17" fmla="*/ 42 h 84"/>
                  <a:gd name="T18" fmla="*/ 84 w 84"/>
                  <a:gd name="T19" fmla="*/ 43 h 84"/>
                  <a:gd name="T20" fmla="*/ 84 w 84"/>
                  <a:gd name="T21" fmla="*/ 44 h 84"/>
                  <a:gd name="T22" fmla="*/ 42 w 84"/>
                  <a:gd name="T23" fmla="*/ 84 h 84"/>
                  <a:gd name="T24" fmla="*/ 0 w 84"/>
                  <a:gd name="T25" fmla="*/ 44 h 84"/>
                  <a:gd name="T26" fmla="*/ 0 w 84"/>
                  <a:gd name="T27" fmla="*/ 43 h 84"/>
                  <a:gd name="T28" fmla="*/ 0 w 84"/>
                  <a:gd name="T29" fmla="*/ 42 h 84"/>
                  <a:gd name="T30" fmla="*/ 1 w 84"/>
                  <a:gd name="T31" fmla="*/ 33 h 84"/>
                  <a:gd name="T32" fmla="*/ 3 w 84"/>
                  <a:gd name="T33" fmla="*/ 25 h 84"/>
                  <a:gd name="T34" fmla="*/ 7 w 84"/>
                  <a:gd name="T35" fmla="*/ 18 h 84"/>
                  <a:gd name="T36" fmla="*/ 12 w 84"/>
                  <a:gd name="T37" fmla="*/ 11 h 84"/>
                  <a:gd name="T38" fmla="*/ 18 w 84"/>
                  <a:gd name="T39" fmla="*/ 7 h 84"/>
                  <a:gd name="T40" fmla="*/ 26 w 84"/>
                  <a:gd name="T41" fmla="*/ 2 h 84"/>
                  <a:gd name="T42" fmla="*/ 34 w 84"/>
                  <a:gd name="T43" fmla="*/ 0 h 84"/>
                  <a:gd name="T44" fmla="*/ 42 w 84"/>
                  <a:gd name="T45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84" h="84">
                    <a:moveTo>
                      <a:pt x="42" y="0"/>
                    </a:moveTo>
                    <a:lnTo>
                      <a:pt x="51" y="0"/>
                    </a:lnTo>
                    <a:lnTo>
                      <a:pt x="59" y="2"/>
                    </a:lnTo>
                    <a:lnTo>
                      <a:pt x="66" y="7"/>
                    </a:lnTo>
                    <a:lnTo>
                      <a:pt x="72" y="11"/>
                    </a:lnTo>
                    <a:lnTo>
                      <a:pt x="77" y="18"/>
                    </a:lnTo>
                    <a:lnTo>
                      <a:pt x="81" y="25"/>
                    </a:lnTo>
                    <a:lnTo>
                      <a:pt x="83" y="33"/>
                    </a:lnTo>
                    <a:lnTo>
                      <a:pt x="84" y="42"/>
                    </a:lnTo>
                    <a:lnTo>
                      <a:pt x="84" y="43"/>
                    </a:lnTo>
                    <a:lnTo>
                      <a:pt x="84" y="44"/>
                    </a:lnTo>
                    <a:lnTo>
                      <a:pt x="42" y="84"/>
                    </a:lnTo>
                    <a:lnTo>
                      <a:pt x="0" y="44"/>
                    </a:lnTo>
                    <a:lnTo>
                      <a:pt x="0" y="43"/>
                    </a:lnTo>
                    <a:lnTo>
                      <a:pt x="0" y="42"/>
                    </a:lnTo>
                    <a:lnTo>
                      <a:pt x="1" y="33"/>
                    </a:lnTo>
                    <a:lnTo>
                      <a:pt x="3" y="25"/>
                    </a:lnTo>
                    <a:lnTo>
                      <a:pt x="7" y="18"/>
                    </a:lnTo>
                    <a:lnTo>
                      <a:pt x="12" y="11"/>
                    </a:lnTo>
                    <a:lnTo>
                      <a:pt x="18" y="7"/>
                    </a:lnTo>
                    <a:lnTo>
                      <a:pt x="26" y="2"/>
                    </a:lnTo>
                    <a:lnTo>
                      <a:pt x="34" y="0"/>
                    </a:lnTo>
                    <a:lnTo>
                      <a:pt x="42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72" name="Freeform 39"/>
              <p:cNvSpPr>
                <a:spLocks noEditPoints="1"/>
              </p:cNvSpPr>
              <p:nvPr/>
            </p:nvSpPr>
            <p:spPr bwMode="auto">
              <a:xfrm>
                <a:off x="4035385" y="876304"/>
                <a:ext cx="130173" cy="61913"/>
              </a:xfrm>
              <a:custGeom>
                <a:avLst/>
                <a:gdLst>
                  <a:gd name="T0" fmla="*/ 418 w 492"/>
                  <a:gd name="T1" fmla="*/ 0 h 235"/>
                  <a:gd name="T2" fmla="*/ 430 w 492"/>
                  <a:gd name="T3" fmla="*/ 2 h 235"/>
                  <a:gd name="T4" fmla="*/ 440 w 492"/>
                  <a:gd name="T5" fmla="*/ 9 h 235"/>
                  <a:gd name="T6" fmla="*/ 446 w 492"/>
                  <a:gd name="T7" fmla="*/ 19 h 235"/>
                  <a:gd name="T8" fmla="*/ 448 w 492"/>
                  <a:gd name="T9" fmla="*/ 31 h 235"/>
                  <a:gd name="T10" fmla="*/ 470 w 492"/>
                  <a:gd name="T11" fmla="*/ 58 h 235"/>
                  <a:gd name="T12" fmla="*/ 479 w 492"/>
                  <a:gd name="T13" fmla="*/ 60 h 235"/>
                  <a:gd name="T14" fmla="*/ 487 w 492"/>
                  <a:gd name="T15" fmla="*/ 65 h 235"/>
                  <a:gd name="T16" fmla="*/ 491 w 492"/>
                  <a:gd name="T17" fmla="*/ 73 h 235"/>
                  <a:gd name="T18" fmla="*/ 492 w 492"/>
                  <a:gd name="T19" fmla="*/ 82 h 235"/>
                  <a:gd name="T20" fmla="*/ 492 w 492"/>
                  <a:gd name="T21" fmla="*/ 158 h 235"/>
                  <a:gd name="T22" fmla="*/ 489 w 492"/>
                  <a:gd name="T23" fmla="*/ 166 h 235"/>
                  <a:gd name="T24" fmla="*/ 483 w 492"/>
                  <a:gd name="T25" fmla="*/ 173 h 235"/>
                  <a:gd name="T26" fmla="*/ 474 w 492"/>
                  <a:gd name="T27" fmla="*/ 177 h 235"/>
                  <a:gd name="T28" fmla="*/ 448 w 492"/>
                  <a:gd name="T29" fmla="*/ 177 h 235"/>
                  <a:gd name="T30" fmla="*/ 448 w 492"/>
                  <a:gd name="T31" fmla="*/ 211 h 235"/>
                  <a:gd name="T32" fmla="*/ 443 w 492"/>
                  <a:gd name="T33" fmla="*/ 222 h 235"/>
                  <a:gd name="T34" fmla="*/ 435 w 492"/>
                  <a:gd name="T35" fmla="*/ 230 h 235"/>
                  <a:gd name="T36" fmla="*/ 424 w 492"/>
                  <a:gd name="T37" fmla="*/ 235 h 235"/>
                  <a:gd name="T38" fmla="*/ 29 w 492"/>
                  <a:gd name="T39" fmla="*/ 235 h 235"/>
                  <a:gd name="T40" fmla="*/ 18 w 492"/>
                  <a:gd name="T41" fmla="*/ 233 h 235"/>
                  <a:gd name="T42" fmla="*/ 9 w 492"/>
                  <a:gd name="T43" fmla="*/ 227 h 235"/>
                  <a:gd name="T44" fmla="*/ 2 w 492"/>
                  <a:gd name="T45" fmla="*/ 217 h 235"/>
                  <a:gd name="T46" fmla="*/ 0 w 492"/>
                  <a:gd name="T47" fmla="*/ 205 h 235"/>
                  <a:gd name="T48" fmla="*/ 1 w 492"/>
                  <a:gd name="T49" fmla="*/ 24 h 235"/>
                  <a:gd name="T50" fmla="*/ 5 w 492"/>
                  <a:gd name="T51" fmla="*/ 14 h 235"/>
                  <a:gd name="T52" fmla="*/ 13 w 492"/>
                  <a:gd name="T53" fmla="*/ 6 h 235"/>
                  <a:gd name="T54" fmla="*/ 24 w 492"/>
                  <a:gd name="T55" fmla="*/ 1 h 235"/>
                  <a:gd name="T56" fmla="*/ 448 w 492"/>
                  <a:gd name="T57" fmla="*/ 93 h 235"/>
                  <a:gd name="T58" fmla="*/ 457 w 492"/>
                  <a:gd name="T59" fmla="*/ 141 h 235"/>
                  <a:gd name="T60" fmla="*/ 448 w 492"/>
                  <a:gd name="T61" fmla="*/ 93 h 235"/>
                  <a:gd name="T62" fmla="*/ 35 w 492"/>
                  <a:gd name="T63" fmla="*/ 35 h 235"/>
                  <a:gd name="T64" fmla="*/ 413 w 492"/>
                  <a:gd name="T65" fmla="*/ 199 h 2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92" h="235">
                    <a:moveTo>
                      <a:pt x="29" y="0"/>
                    </a:moveTo>
                    <a:lnTo>
                      <a:pt x="418" y="0"/>
                    </a:lnTo>
                    <a:lnTo>
                      <a:pt x="424" y="1"/>
                    </a:lnTo>
                    <a:lnTo>
                      <a:pt x="430" y="2"/>
                    </a:lnTo>
                    <a:lnTo>
                      <a:pt x="435" y="6"/>
                    </a:lnTo>
                    <a:lnTo>
                      <a:pt x="440" y="9"/>
                    </a:lnTo>
                    <a:lnTo>
                      <a:pt x="443" y="14"/>
                    </a:lnTo>
                    <a:lnTo>
                      <a:pt x="446" y="19"/>
                    </a:lnTo>
                    <a:lnTo>
                      <a:pt x="448" y="24"/>
                    </a:lnTo>
                    <a:lnTo>
                      <a:pt x="448" y="31"/>
                    </a:lnTo>
                    <a:lnTo>
                      <a:pt x="448" y="58"/>
                    </a:lnTo>
                    <a:lnTo>
                      <a:pt x="470" y="58"/>
                    </a:lnTo>
                    <a:lnTo>
                      <a:pt x="474" y="59"/>
                    </a:lnTo>
                    <a:lnTo>
                      <a:pt x="479" y="60"/>
                    </a:lnTo>
                    <a:lnTo>
                      <a:pt x="483" y="63"/>
                    </a:lnTo>
                    <a:lnTo>
                      <a:pt x="487" y="65"/>
                    </a:lnTo>
                    <a:lnTo>
                      <a:pt x="489" y="68"/>
                    </a:lnTo>
                    <a:lnTo>
                      <a:pt x="491" y="73"/>
                    </a:lnTo>
                    <a:lnTo>
                      <a:pt x="492" y="76"/>
                    </a:lnTo>
                    <a:lnTo>
                      <a:pt x="492" y="82"/>
                    </a:lnTo>
                    <a:lnTo>
                      <a:pt x="492" y="154"/>
                    </a:lnTo>
                    <a:lnTo>
                      <a:pt x="492" y="158"/>
                    </a:lnTo>
                    <a:lnTo>
                      <a:pt x="491" y="163"/>
                    </a:lnTo>
                    <a:lnTo>
                      <a:pt x="489" y="166"/>
                    </a:lnTo>
                    <a:lnTo>
                      <a:pt x="487" y="170"/>
                    </a:lnTo>
                    <a:lnTo>
                      <a:pt x="483" y="173"/>
                    </a:lnTo>
                    <a:lnTo>
                      <a:pt x="479" y="176"/>
                    </a:lnTo>
                    <a:lnTo>
                      <a:pt x="474" y="177"/>
                    </a:lnTo>
                    <a:lnTo>
                      <a:pt x="470" y="177"/>
                    </a:lnTo>
                    <a:lnTo>
                      <a:pt x="448" y="177"/>
                    </a:lnTo>
                    <a:lnTo>
                      <a:pt x="448" y="205"/>
                    </a:lnTo>
                    <a:lnTo>
                      <a:pt x="448" y="211"/>
                    </a:lnTo>
                    <a:lnTo>
                      <a:pt x="446" y="217"/>
                    </a:lnTo>
                    <a:lnTo>
                      <a:pt x="443" y="222"/>
                    </a:lnTo>
                    <a:lnTo>
                      <a:pt x="440" y="227"/>
                    </a:lnTo>
                    <a:lnTo>
                      <a:pt x="435" y="230"/>
                    </a:lnTo>
                    <a:lnTo>
                      <a:pt x="430" y="233"/>
                    </a:lnTo>
                    <a:lnTo>
                      <a:pt x="424" y="235"/>
                    </a:lnTo>
                    <a:lnTo>
                      <a:pt x="418" y="235"/>
                    </a:lnTo>
                    <a:lnTo>
                      <a:pt x="29" y="235"/>
                    </a:lnTo>
                    <a:lnTo>
                      <a:pt x="24" y="235"/>
                    </a:lnTo>
                    <a:lnTo>
                      <a:pt x="18" y="233"/>
                    </a:lnTo>
                    <a:lnTo>
                      <a:pt x="13" y="230"/>
                    </a:lnTo>
                    <a:lnTo>
                      <a:pt x="9" y="227"/>
                    </a:lnTo>
                    <a:lnTo>
                      <a:pt x="5" y="222"/>
                    </a:lnTo>
                    <a:lnTo>
                      <a:pt x="2" y="217"/>
                    </a:lnTo>
                    <a:lnTo>
                      <a:pt x="1" y="211"/>
                    </a:lnTo>
                    <a:lnTo>
                      <a:pt x="0" y="205"/>
                    </a:lnTo>
                    <a:lnTo>
                      <a:pt x="0" y="31"/>
                    </a:lnTo>
                    <a:lnTo>
                      <a:pt x="1" y="24"/>
                    </a:lnTo>
                    <a:lnTo>
                      <a:pt x="2" y="19"/>
                    </a:lnTo>
                    <a:lnTo>
                      <a:pt x="5" y="14"/>
                    </a:lnTo>
                    <a:lnTo>
                      <a:pt x="9" y="9"/>
                    </a:lnTo>
                    <a:lnTo>
                      <a:pt x="13" y="6"/>
                    </a:lnTo>
                    <a:lnTo>
                      <a:pt x="18" y="2"/>
                    </a:lnTo>
                    <a:lnTo>
                      <a:pt x="24" y="1"/>
                    </a:lnTo>
                    <a:lnTo>
                      <a:pt x="29" y="0"/>
                    </a:lnTo>
                    <a:close/>
                    <a:moveTo>
                      <a:pt x="448" y="93"/>
                    </a:moveTo>
                    <a:lnTo>
                      <a:pt x="448" y="141"/>
                    </a:lnTo>
                    <a:lnTo>
                      <a:pt x="457" y="141"/>
                    </a:lnTo>
                    <a:lnTo>
                      <a:pt x="457" y="93"/>
                    </a:lnTo>
                    <a:lnTo>
                      <a:pt x="448" y="93"/>
                    </a:lnTo>
                    <a:close/>
                    <a:moveTo>
                      <a:pt x="413" y="35"/>
                    </a:moveTo>
                    <a:lnTo>
                      <a:pt x="35" y="35"/>
                    </a:lnTo>
                    <a:lnTo>
                      <a:pt x="35" y="199"/>
                    </a:lnTo>
                    <a:lnTo>
                      <a:pt x="413" y="199"/>
                    </a:lnTo>
                    <a:lnTo>
                      <a:pt x="413" y="35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73" name="Rectangle 40"/>
              <p:cNvSpPr>
                <a:spLocks noChangeArrowheads="1"/>
              </p:cNvSpPr>
              <p:nvPr/>
            </p:nvSpPr>
            <p:spPr bwMode="auto">
              <a:xfrm>
                <a:off x="4051266" y="890592"/>
                <a:ext cx="87312" cy="34925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74" name="Freeform 41"/>
              <p:cNvSpPr>
                <a:spLocks noEditPoints="1"/>
              </p:cNvSpPr>
              <p:nvPr/>
            </p:nvSpPr>
            <p:spPr bwMode="auto">
              <a:xfrm>
                <a:off x="3944937" y="862013"/>
                <a:ext cx="52388" cy="96838"/>
              </a:xfrm>
              <a:custGeom>
                <a:avLst/>
                <a:gdLst>
                  <a:gd name="T0" fmla="*/ 25 w 200"/>
                  <a:gd name="T1" fmla="*/ 73 h 367"/>
                  <a:gd name="T2" fmla="*/ 79 w 200"/>
                  <a:gd name="T3" fmla="*/ 127 h 367"/>
                  <a:gd name="T4" fmla="*/ 80 w 200"/>
                  <a:gd name="T5" fmla="*/ 0 h 367"/>
                  <a:gd name="T6" fmla="*/ 184 w 200"/>
                  <a:gd name="T7" fmla="*/ 102 h 367"/>
                  <a:gd name="T8" fmla="*/ 196 w 200"/>
                  <a:gd name="T9" fmla="*/ 114 h 367"/>
                  <a:gd name="T10" fmla="*/ 184 w 200"/>
                  <a:gd name="T11" fmla="*/ 127 h 367"/>
                  <a:gd name="T12" fmla="*/ 131 w 200"/>
                  <a:gd name="T13" fmla="*/ 179 h 367"/>
                  <a:gd name="T14" fmla="*/ 187 w 200"/>
                  <a:gd name="T15" fmla="*/ 235 h 367"/>
                  <a:gd name="T16" fmla="*/ 200 w 200"/>
                  <a:gd name="T17" fmla="*/ 246 h 367"/>
                  <a:gd name="T18" fmla="*/ 187 w 200"/>
                  <a:gd name="T19" fmla="*/ 259 h 367"/>
                  <a:gd name="T20" fmla="*/ 110 w 200"/>
                  <a:gd name="T21" fmla="*/ 338 h 367"/>
                  <a:gd name="T22" fmla="*/ 79 w 200"/>
                  <a:gd name="T23" fmla="*/ 367 h 367"/>
                  <a:gd name="T24" fmla="*/ 79 w 200"/>
                  <a:gd name="T25" fmla="*/ 325 h 367"/>
                  <a:gd name="T26" fmla="*/ 79 w 200"/>
                  <a:gd name="T27" fmla="*/ 232 h 367"/>
                  <a:gd name="T28" fmla="*/ 29 w 200"/>
                  <a:gd name="T29" fmla="*/ 283 h 367"/>
                  <a:gd name="T30" fmla="*/ 4 w 200"/>
                  <a:gd name="T31" fmla="*/ 258 h 367"/>
                  <a:gd name="T32" fmla="*/ 79 w 200"/>
                  <a:gd name="T33" fmla="*/ 182 h 367"/>
                  <a:gd name="T34" fmla="*/ 79 w 200"/>
                  <a:gd name="T35" fmla="*/ 177 h 367"/>
                  <a:gd name="T36" fmla="*/ 0 w 200"/>
                  <a:gd name="T37" fmla="*/ 98 h 367"/>
                  <a:gd name="T38" fmla="*/ 25 w 200"/>
                  <a:gd name="T39" fmla="*/ 73 h 367"/>
                  <a:gd name="T40" fmla="*/ 150 w 200"/>
                  <a:gd name="T41" fmla="*/ 246 h 367"/>
                  <a:gd name="T42" fmla="*/ 114 w 200"/>
                  <a:gd name="T43" fmla="*/ 212 h 367"/>
                  <a:gd name="T44" fmla="*/ 114 w 200"/>
                  <a:gd name="T45" fmla="*/ 282 h 367"/>
                  <a:gd name="T46" fmla="*/ 150 w 200"/>
                  <a:gd name="T47" fmla="*/ 246 h 367"/>
                  <a:gd name="T48" fmla="*/ 114 w 200"/>
                  <a:gd name="T49" fmla="*/ 82 h 367"/>
                  <a:gd name="T50" fmla="*/ 114 w 200"/>
                  <a:gd name="T51" fmla="*/ 146 h 367"/>
                  <a:gd name="T52" fmla="*/ 146 w 200"/>
                  <a:gd name="T53" fmla="*/ 114 h 367"/>
                  <a:gd name="T54" fmla="*/ 114 w 200"/>
                  <a:gd name="T55" fmla="*/ 82 h 3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00" h="367">
                    <a:moveTo>
                      <a:pt x="25" y="73"/>
                    </a:moveTo>
                    <a:lnTo>
                      <a:pt x="79" y="127"/>
                    </a:lnTo>
                    <a:lnTo>
                      <a:pt x="80" y="0"/>
                    </a:lnTo>
                    <a:lnTo>
                      <a:pt x="184" y="102"/>
                    </a:lnTo>
                    <a:lnTo>
                      <a:pt x="196" y="114"/>
                    </a:lnTo>
                    <a:lnTo>
                      <a:pt x="184" y="127"/>
                    </a:lnTo>
                    <a:lnTo>
                      <a:pt x="131" y="179"/>
                    </a:lnTo>
                    <a:lnTo>
                      <a:pt x="187" y="235"/>
                    </a:lnTo>
                    <a:lnTo>
                      <a:pt x="200" y="246"/>
                    </a:lnTo>
                    <a:lnTo>
                      <a:pt x="187" y="259"/>
                    </a:lnTo>
                    <a:lnTo>
                      <a:pt x="110" y="338"/>
                    </a:lnTo>
                    <a:lnTo>
                      <a:pt x="79" y="367"/>
                    </a:lnTo>
                    <a:lnTo>
                      <a:pt x="79" y="325"/>
                    </a:lnTo>
                    <a:lnTo>
                      <a:pt x="79" y="232"/>
                    </a:lnTo>
                    <a:lnTo>
                      <a:pt x="29" y="283"/>
                    </a:lnTo>
                    <a:lnTo>
                      <a:pt x="4" y="258"/>
                    </a:lnTo>
                    <a:lnTo>
                      <a:pt x="79" y="182"/>
                    </a:lnTo>
                    <a:lnTo>
                      <a:pt x="79" y="177"/>
                    </a:lnTo>
                    <a:lnTo>
                      <a:pt x="0" y="98"/>
                    </a:lnTo>
                    <a:lnTo>
                      <a:pt x="25" y="73"/>
                    </a:lnTo>
                    <a:close/>
                    <a:moveTo>
                      <a:pt x="150" y="246"/>
                    </a:moveTo>
                    <a:lnTo>
                      <a:pt x="114" y="212"/>
                    </a:lnTo>
                    <a:lnTo>
                      <a:pt x="114" y="282"/>
                    </a:lnTo>
                    <a:lnTo>
                      <a:pt x="150" y="246"/>
                    </a:lnTo>
                    <a:close/>
                    <a:moveTo>
                      <a:pt x="114" y="82"/>
                    </a:moveTo>
                    <a:lnTo>
                      <a:pt x="114" y="146"/>
                    </a:lnTo>
                    <a:lnTo>
                      <a:pt x="146" y="114"/>
                    </a:lnTo>
                    <a:lnTo>
                      <a:pt x="114" y="82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350" name="Group 349"/>
            <p:cNvGrpSpPr/>
            <p:nvPr/>
          </p:nvGrpSpPr>
          <p:grpSpPr>
            <a:xfrm>
              <a:off x="5940539" y="5094371"/>
              <a:ext cx="371944" cy="371944"/>
              <a:chOff x="5940539" y="5094371"/>
              <a:chExt cx="371944" cy="371944"/>
            </a:xfrm>
          </p:grpSpPr>
          <p:sp>
            <p:nvSpPr>
              <p:cNvPr id="359" name="Freeform 33"/>
              <p:cNvSpPr>
                <a:spLocks/>
              </p:cNvSpPr>
              <p:nvPr/>
            </p:nvSpPr>
            <p:spPr bwMode="auto">
              <a:xfrm>
                <a:off x="5940539" y="5094371"/>
                <a:ext cx="371944" cy="371944"/>
              </a:xfrm>
              <a:custGeom>
                <a:avLst/>
                <a:gdLst>
                  <a:gd name="T0" fmla="*/ 904 w 1639"/>
                  <a:gd name="T1" fmla="*/ 5 h 1638"/>
                  <a:gd name="T2" fmla="*/ 1025 w 1639"/>
                  <a:gd name="T3" fmla="*/ 27 h 1638"/>
                  <a:gd name="T4" fmla="*/ 1139 w 1639"/>
                  <a:gd name="T5" fmla="*/ 64 h 1638"/>
                  <a:gd name="T6" fmla="*/ 1245 w 1639"/>
                  <a:gd name="T7" fmla="*/ 119 h 1638"/>
                  <a:gd name="T8" fmla="*/ 1342 w 1639"/>
                  <a:gd name="T9" fmla="*/ 187 h 1638"/>
                  <a:gd name="T10" fmla="*/ 1427 w 1639"/>
                  <a:gd name="T11" fmla="*/ 268 h 1638"/>
                  <a:gd name="T12" fmla="*/ 1500 w 1639"/>
                  <a:gd name="T13" fmla="*/ 362 h 1638"/>
                  <a:gd name="T14" fmla="*/ 1560 w 1639"/>
                  <a:gd name="T15" fmla="*/ 464 h 1638"/>
                  <a:gd name="T16" fmla="*/ 1603 w 1639"/>
                  <a:gd name="T17" fmla="*/ 576 h 1638"/>
                  <a:gd name="T18" fmla="*/ 1630 w 1639"/>
                  <a:gd name="T19" fmla="*/ 695 h 1638"/>
                  <a:gd name="T20" fmla="*/ 1639 w 1639"/>
                  <a:gd name="T21" fmla="*/ 820 h 1638"/>
                  <a:gd name="T22" fmla="*/ 1630 w 1639"/>
                  <a:gd name="T23" fmla="*/ 944 h 1638"/>
                  <a:gd name="T24" fmla="*/ 1603 w 1639"/>
                  <a:gd name="T25" fmla="*/ 1063 h 1638"/>
                  <a:gd name="T26" fmla="*/ 1560 w 1639"/>
                  <a:gd name="T27" fmla="*/ 1174 h 1638"/>
                  <a:gd name="T28" fmla="*/ 1500 w 1639"/>
                  <a:gd name="T29" fmla="*/ 1278 h 1638"/>
                  <a:gd name="T30" fmla="*/ 1427 w 1639"/>
                  <a:gd name="T31" fmla="*/ 1371 h 1638"/>
                  <a:gd name="T32" fmla="*/ 1342 w 1639"/>
                  <a:gd name="T33" fmla="*/ 1452 h 1638"/>
                  <a:gd name="T34" fmla="*/ 1245 w 1639"/>
                  <a:gd name="T35" fmla="*/ 1520 h 1638"/>
                  <a:gd name="T36" fmla="*/ 1139 w 1639"/>
                  <a:gd name="T37" fmla="*/ 1575 h 1638"/>
                  <a:gd name="T38" fmla="*/ 1025 w 1639"/>
                  <a:gd name="T39" fmla="*/ 1613 h 1638"/>
                  <a:gd name="T40" fmla="*/ 904 w 1639"/>
                  <a:gd name="T41" fmla="*/ 1635 h 1638"/>
                  <a:gd name="T42" fmla="*/ 778 w 1639"/>
                  <a:gd name="T43" fmla="*/ 1637 h 1638"/>
                  <a:gd name="T44" fmla="*/ 655 w 1639"/>
                  <a:gd name="T45" fmla="*/ 1623 h 1638"/>
                  <a:gd name="T46" fmla="*/ 539 w 1639"/>
                  <a:gd name="T47" fmla="*/ 1589 h 1638"/>
                  <a:gd name="T48" fmla="*/ 429 w 1639"/>
                  <a:gd name="T49" fmla="*/ 1540 h 1638"/>
                  <a:gd name="T50" fmla="*/ 330 w 1639"/>
                  <a:gd name="T51" fmla="*/ 1477 h 1638"/>
                  <a:gd name="T52" fmla="*/ 241 w 1639"/>
                  <a:gd name="T53" fmla="*/ 1399 h 1638"/>
                  <a:gd name="T54" fmla="*/ 163 w 1639"/>
                  <a:gd name="T55" fmla="*/ 1310 h 1638"/>
                  <a:gd name="T56" fmla="*/ 100 w 1639"/>
                  <a:gd name="T57" fmla="*/ 1210 h 1638"/>
                  <a:gd name="T58" fmla="*/ 51 w 1639"/>
                  <a:gd name="T59" fmla="*/ 1102 h 1638"/>
                  <a:gd name="T60" fmla="*/ 17 w 1639"/>
                  <a:gd name="T61" fmla="*/ 985 h 1638"/>
                  <a:gd name="T62" fmla="*/ 1 w 1639"/>
                  <a:gd name="T63" fmla="*/ 862 h 1638"/>
                  <a:gd name="T64" fmla="*/ 5 w 1639"/>
                  <a:gd name="T65" fmla="*/ 736 h 1638"/>
                  <a:gd name="T66" fmla="*/ 27 w 1639"/>
                  <a:gd name="T67" fmla="*/ 615 h 1638"/>
                  <a:gd name="T68" fmla="*/ 65 w 1639"/>
                  <a:gd name="T69" fmla="*/ 501 h 1638"/>
                  <a:gd name="T70" fmla="*/ 119 w 1639"/>
                  <a:gd name="T71" fmla="*/ 395 h 1638"/>
                  <a:gd name="T72" fmla="*/ 187 w 1639"/>
                  <a:gd name="T73" fmla="*/ 299 h 1638"/>
                  <a:gd name="T74" fmla="*/ 270 w 1639"/>
                  <a:gd name="T75" fmla="*/ 213 h 1638"/>
                  <a:gd name="T76" fmla="*/ 362 w 1639"/>
                  <a:gd name="T77" fmla="*/ 141 h 1638"/>
                  <a:gd name="T78" fmla="*/ 465 w 1639"/>
                  <a:gd name="T79" fmla="*/ 81 h 1638"/>
                  <a:gd name="T80" fmla="*/ 576 w 1639"/>
                  <a:gd name="T81" fmla="*/ 37 h 1638"/>
                  <a:gd name="T82" fmla="*/ 695 w 1639"/>
                  <a:gd name="T83" fmla="*/ 9 h 1638"/>
                  <a:gd name="T84" fmla="*/ 820 w 1639"/>
                  <a:gd name="T85" fmla="*/ 0 h 16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639" h="1638">
                    <a:moveTo>
                      <a:pt x="820" y="0"/>
                    </a:moveTo>
                    <a:lnTo>
                      <a:pt x="863" y="1"/>
                    </a:lnTo>
                    <a:lnTo>
                      <a:pt x="904" y="5"/>
                    </a:lnTo>
                    <a:lnTo>
                      <a:pt x="945" y="9"/>
                    </a:lnTo>
                    <a:lnTo>
                      <a:pt x="986" y="17"/>
                    </a:lnTo>
                    <a:lnTo>
                      <a:pt x="1025" y="27"/>
                    </a:lnTo>
                    <a:lnTo>
                      <a:pt x="1063" y="37"/>
                    </a:lnTo>
                    <a:lnTo>
                      <a:pt x="1102" y="50"/>
                    </a:lnTo>
                    <a:lnTo>
                      <a:pt x="1139" y="64"/>
                    </a:lnTo>
                    <a:lnTo>
                      <a:pt x="1175" y="81"/>
                    </a:lnTo>
                    <a:lnTo>
                      <a:pt x="1211" y="99"/>
                    </a:lnTo>
                    <a:lnTo>
                      <a:pt x="1245" y="119"/>
                    </a:lnTo>
                    <a:lnTo>
                      <a:pt x="1279" y="141"/>
                    </a:lnTo>
                    <a:lnTo>
                      <a:pt x="1311" y="163"/>
                    </a:lnTo>
                    <a:lnTo>
                      <a:pt x="1342" y="187"/>
                    </a:lnTo>
                    <a:lnTo>
                      <a:pt x="1371" y="213"/>
                    </a:lnTo>
                    <a:lnTo>
                      <a:pt x="1400" y="240"/>
                    </a:lnTo>
                    <a:lnTo>
                      <a:pt x="1427" y="268"/>
                    </a:lnTo>
                    <a:lnTo>
                      <a:pt x="1452" y="299"/>
                    </a:lnTo>
                    <a:lnTo>
                      <a:pt x="1477" y="330"/>
                    </a:lnTo>
                    <a:lnTo>
                      <a:pt x="1500" y="362"/>
                    </a:lnTo>
                    <a:lnTo>
                      <a:pt x="1521" y="395"/>
                    </a:lnTo>
                    <a:lnTo>
                      <a:pt x="1541" y="429"/>
                    </a:lnTo>
                    <a:lnTo>
                      <a:pt x="1560" y="464"/>
                    </a:lnTo>
                    <a:lnTo>
                      <a:pt x="1576" y="501"/>
                    </a:lnTo>
                    <a:lnTo>
                      <a:pt x="1590" y="538"/>
                    </a:lnTo>
                    <a:lnTo>
                      <a:pt x="1603" y="576"/>
                    </a:lnTo>
                    <a:lnTo>
                      <a:pt x="1614" y="615"/>
                    </a:lnTo>
                    <a:lnTo>
                      <a:pt x="1623" y="655"/>
                    </a:lnTo>
                    <a:lnTo>
                      <a:pt x="1630" y="695"/>
                    </a:lnTo>
                    <a:lnTo>
                      <a:pt x="1636" y="736"/>
                    </a:lnTo>
                    <a:lnTo>
                      <a:pt x="1638" y="778"/>
                    </a:lnTo>
                    <a:lnTo>
                      <a:pt x="1639" y="820"/>
                    </a:lnTo>
                    <a:lnTo>
                      <a:pt x="1638" y="862"/>
                    </a:lnTo>
                    <a:lnTo>
                      <a:pt x="1636" y="903"/>
                    </a:lnTo>
                    <a:lnTo>
                      <a:pt x="1630" y="944"/>
                    </a:lnTo>
                    <a:lnTo>
                      <a:pt x="1623" y="985"/>
                    </a:lnTo>
                    <a:lnTo>
                      <a:pt x="1614" y="1024"/>
                    </a:lnTo>
                    <a:lnTo>
                      <a:pt x="1603" y="1063"/>
                    </a:lnTo>
                    <a:lnTo>
                      <a:pt x="1590" y="1102"/>
                    </a:lnTo>
                    <a:lnTo>
                      <a:pt x="1576" y="1138"/>
                    </a:lnTo>
                    <a:lnTo>
                      <a:pt x="1560" y="1174"/>
                    </a:lnTo>
                    <a:lnTo>
                      <a:pt x="1541" y="1210"/>
                    </a:lnTo>
                    <a:lnTo>
                      <a:pt x="1521" y="1244"/>
                    </a:lnTo>
                    <a:lnTo>
                      <a:pt x="1500" y="1278"/>
                    </a:lnTo>
                    <a:lnTo>
                      <a:pt x="1477" y="1310"/>
                    </a:lnTo>
                    <a:lnTo>
                      <a:pt x="1452" y="1341"/>
                    </a:lnTo>
                    <a:lnTo>
                      <a:pt x="1427" y="1371"/>
                    </a:lnTo>
                    <a:lnTo>
                      <a:pt x="1400" y="1399"/>
                    </a:lnTo>
                    <a:lnTo>
                      <a:pt x="1371" y="1426"/>
                    </a:lnTo>
                    <a:lnTo>
                      <a:pt x="1342" y="1452"/>
                    </a:lnTo>
                    <a:lnTo>
                      <a:pt x="1311" y="1477"/>
                    </a:lnTo>
                    <a:lnTo>
                      <a:pt x="1279" y="1499"/>
                    </a:lnTo>
                    <a:lnTo>
                      <a:pt x="1245" y="1520"/>
                    </a:lnTo>
                    <a:lnTo>
                      <a:pt x="1211" y="1540"/>
                    </a:lnTo>
                    <a:lnTo>
                      <a:pt x="1175" y="1558"/>
                    </a:lnTo>
                    <a:lnTo>
                      <a:pt x="1139" y="1575"/>
                    </a:lnTo>
                    <a:lnTo>
                      <a:pt x="1102" y="1589"/>
                    </a:lnTo>
                    <a:lnTo>
                      <a:pt x="1063" y="1602"/>
                    </a:lnTo>
                    <a:lnTo>
                      <a:pt x="1025" y="1613"/>
                    </a:lnTo>
                    <a:lnTo>
                      <a:pt x="986" y="1623"/>
                    </a:lnTo>
                    <a:lnTo>
                      <a:pt x="945" y="1629"/>
                    </a:lnTo>
                    <a:lnTo>
                      <a:pt x="904" y="1635"/>
                    </a:lnTo>
                    <a:lnTo>
                      <a:pt x="863" y="1637"/>
                    </a:lnTo>
                    <a:lnTo>
                      <a:pt x="820" y="1638"/>
                    </a:lnTo>
                    <a:lnTo>
                      <a:pt x="778" y="1637"/>
                    </a:lnTo>
                    <a:lnTo>
                      <a:pt x="736" y="1635"/>
                    </a:lnTo>
                    <a:lnTo>
                      <a:pt x="695" y="1629"/>
                    </a:lnTo>
                    <a:lnTo>
                      <a:pt x="655" y="1623"/>
                    </a:lnTo>
                    <a:lnTo>
                      <a:pt x="615" y="1613"/>
                    </a:lnTo>
                    <a:lnTo>
                      <a:pt x="576" y="1602"/>
                    </a:lnTo>
                    <a:lnTo>
                      <a:pt x="539" y="1589"/>
                    </a:lnTo>
                    <a:lnTo>
                      <a:pt x="501" y="1575"/>
                    </a:lnTo>
                    <a:lnTo>
                      <a:pt x="465" y="1558"/>
                    </a:lnTo>
                    <a:lnTo>
                      <a:pt x="429" y="1540"/>
                    </a:lnTo>
                    <a:lnTo>
                      <a:pt x="395" y="1520"/>
                    </a:lnTo>
                    <a:lnTo>
                      <a:pt x="362" y="1499"/>
                    </a:lnTo>
                    <a:lnTo>
                      <a:pt x="330" y="1477"/>
                    </a:lnTo>
                    <a:lnTo>
                      <a:pt x="299" y="1452"/>
                    </a:lnTo>
                    <a:lnTo>
                      <a:pt x="270" y="1426"/>
                    </a:lnTo>
                    <a:lnTo>
                      <a:pt x="241" y="1399"/>
                    </a:lnTo>
                    <a:lnTo>
                      <a:pt x="214" y="1371"/>
                    </a:lnTo>
                    <a:lnTo>
                      <a:pt x="187" y="1341"/>
                    </a:lnTo>
                    <a:lnTo>
                      <a:pt x="163" y="1310"/>
                    </a:lnTo>
                    <a:lnTo>
                      <a:pt x="141" y="1278"/>
                    </a:lnTo>
                    <a:lnTo>
                      <a:pt x="119" y="1244"/>
                    </a:lnTo>
                    <a:lnTo>
                      <a:pt x="100" y="1210"/>
                    </a:lnTo>
                    <a:lnTo>
                      <a:pt x="81" y="1174"/>
                    </a:lnTo>
                    <a:lnTo>
                      <a:pt x="65" y="1138"/>
                    </a:lnTo>
                    <a:lnTo>
                      <a:pt x="51" y="1102"/>
                    </a:lnTo>
                    <a:lnTo>
                      <a:pt x="37" y="1063"/>
                    </a:lnTo>
                    <a:lnTo>
                      <a:pt x="27" y="1024"/>
                    </a:lnTo>
                    <a:lnTo>
                      <a:pt x="17" y="985"/>
                    </a:lnTo>
                    <a:lnTo>
                      <a:pt x="9" y="944"/>
                    </a:lnTo>
                    <a:lnTo>
                      <a:pt x="5" y="903"/>
                    </a:lnTo>
                    <a:lnTo>
                      <a:pt x="1" y="862"/>
                    </a:lnTo>
                    <a:lnTo>
                      <a:pt x="0" y="820"/>
                    </a:lnTo>
                    <a:lnTo>
                      <a:pt x="1" y="778"/>
                    </a:lnTo>
                    <a:lnTo>
                      <a:pt x="5" y="736"/>
                    </a:lnTo>
                    <a:lnTo>
                      <a:pt x="9" y="695"/>
                    </a:lnTo>
                    <a:lnTo>
                      <a:pt x="17" y="655"/>
                    </a:lnTo>
                    <a:lnTo>
                      <a:pt x="27" y="615"/>
                    </a:lnTo>
                    <a:lnTo>
                      <a:pt x="37" y="576"/>
                    </a:lnTo>
                    <a:lnTo>
                      <a:pt x="51" y="538"/>
                    </a:lnTo>
                    <a:lnTo>
                      <a:pt x="65" y="501"/>
                    </a:lnTo>
                    <a:lnTo>
                      <a:pt x="81" y="464"/>
                    </a:lnTo>
                    <a:lnTo>
                      <a:pt x="100" y="429"/>
                    </a:lnTo>
                    <a:lnTo>
                      <a:pt x="119" y="395"/>
                    </a:lnTo>
                    <a:lnTo>
                      <a:pt x="141" y="362"/>
                    </a:lnTo>
                    <a:lnTo>
                      <a:pt x="163" y="330"/>
                    </a:lnTo>
                    <a:lnTo>
                      <a:pt x="187" y="299"/>
                    </a:lnTo>
                    <a:lnTo>
                      <a:pt x="214" y="268"/>
                    </a:lnTo>
                    <a:lnTo>
                      <a:pt x="241" y="240"/>
                    </a:lnTo>
                    <a:lnTo>
                      <a:pt x="270" y="213"/>
                    </a:lnTo>
                    <a:lnTo>
                      <a:pt x="299" y="187"/>
                    </a:lnTo>
                    <a:lnTo>
                      <a:pt x="330" y="163"/>
                    </a:lnTo>
                    <a:lnTo>
                      <a:pt x="362" y="141"/>
                    </a:lnTo>
                    <a:lnTo>
                      <a:pt x="395" y="119"/>
                    </a:lnTo>
                    <a:lnTo>
                      <a:pt x="429" y="99"/>
                    </a:lnTo>
                    <a:lnTo>
                      <a:pt x="465" y="81"/>
                    </a:lnTo>
                    <a:lnTo>
                      <a:pt x="501" y="64"/>
                    </a:lnTo>
                    <a:lnTo>
                      <a:pt x="539" y="50"/>
                    </a:lnTo>
                    <a:lnTo>
                      <a:pt x="576" y="37"/>
                    </a:lnTo>
                    <a:lnTo>
                      <a:pt x="615" y="27"/>
                    </a:lnTo>
                    <a:lnTo>
                      <a:pt x="655" y="17"/>
                    </a:lnTo>
                    <a:lnTo>
                      <a:pt x="695" y="9"/>
                    </a:lnTo>
                    <a:lnTo>
                      <a:pt x="736" y="5"/>
                    </a:lnTo>
                    <a:lnTo>
                      <a:pt x="778" y="1"/>
                    </a:lnTo>
                    <a:lnTo>
                      <a:pt x="820" y="0"/>
                    </a:lnTo>
                    <a:close/>
                  </a:path>
                </a:pathLst>
              </a:custGeom>
              <a:gradFill flip="none" rotWithShape="1">
                <a:gsLst>
                  <a:gs pos="100000">
                    <a:schemeClr val="bg1">
                      <a:alpha val="0"/>
                    </a:schemeClr>
                  </a:gs>
                  <a:gs pos="0">
                    <a:schemeClr val="bg1">
                      <a:alpha val="46000"/>
                    </a:schemeClr>
                  </a:gs>
                </a:gsLst>
                <a:lin ang="540000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60" name="Freeform 34"/>
              <p:cNvSpPr>
                <a:spLocks/>
              </p:cNvSpPr>
              <p:nvPr/>
            </p:nvSpPr>
            <p:spPr bwMode="auto">
              <a:xfrm>
                <a:off x="5951439" y="5105271"/>
                <a:ext cx="351507" cy="351507"/>
              </a:xfrm>
              <a:custGeom>
                <a:avLst/>
                <a:gdLst>
                  <a:gd name="T0" fmla="*/ 853 w 1548"/>
                  <a:gd name="T1" fmla="*/ 4 h 1547"/>
                  <a:gd name="T2" fmla="*/ 967 w 1548"/>
                  <a:gd name="T3" fmla="*/ 25 h 1547"/>
                  <a:gd name="T4" fmla="*/ 1076 w 1548"/>
                  <a:gd name="T5" fmla="*/ 61 h 1547"/>
                  <a:gd name="T6" fmla="*/ 1176 w 1548"/>
                  <a:gd name="T7" fmla="*/ 112 h 1547"/>
                  <a:gd name="T8" fmla="*/ 1266 w 1548"/>
                  <a:gd name="T9" fmla="*/ 177 h 1547"/>
                  <a:gd name="T10" fmla="*/ 1347 w 1548"/>
                  <a:gd name="T11" fmla="*/ 254 h 1547"/>
                  <a:gd name="T12" fmla="*/ 1415 w 1548"/>
                  <a:gd name="T13" fmla="*/ 341 h 1547"/>
                  <a:gd name="T14" fmla="*/ 1471 w 1548"/>
                  <a:gd name="T15" fmla="*/ 439 h 1547"/>
                  <a:gd name="T16" fmla="*/ 1514 w 1548"/>
                  <a:gd name="T17" fmla="*/ 544 h 1547"/>
                  <a:gd name="T18" fmla="*/ 1539 w 1548"/>
                  <a:gd name="T19" fmla="*/ 655 h 1547"/>
                  <a:gd name="T20" fmla="*/ 1548 w 1548"/>
                  <a:gd name="T21" fmla="*/ 774 h 1547"/>
                  <a:gd name="T22" fmla="*/ 1539 w 1548"/>
                  <a:gd name="T23" fmla="*/ 891 h 1547"/>
                  <a:gd name="T24" fmla="*/ 1514 w 1548"/>
                  <a:gd name="T25" fmla="*/ 1003 h 1547"/>
                  <a:gd name="T26" fmla="*/ 1471 w 1548"/>
                  <a:gd name="T27" fmla="*/ 1109 h 1547"/>
                  <a:gd name="T28" fmla="*/ 1415 w 1548"/>
                  <a:gd name="T29" fmla="*/ 1206 h 1547"/>
                  <a:gd name="T30" fmla="*/ 1347 w 1548"/>
                  <a:gd name="T31" fmla="*/ 1294 h 1547"/>
                  <a:gd name="T32" fmla="*/ 1266 w 1548"/>
                  <a:gd name="T33" fmla="*/ 1370 h 1547"/>
                  <a:gd name="T34" fmla="*/ 1176 w 1548"/>
                  <a:gd name="T35" fmla="*/ 1435 h 1547"/>
                  <a:gd name="T36" fmla="*/ 1076 w 1548"/>
                  <a:gd name="T37" fmla="*/ 1486 h 1547"/>
                  <a:gd name="T38" fmla="*/ 967 w 1548"/>
                  <a:gd name="T39" fmla="*/ 1523 h 1547"/>
                  <a:gd name="T40" fmla="*/ 853 w 1548"/>
                  <a:gd name="T41" fmla="*/ 1543 h 1547"/>
                  <a:gd name="T42" fmla="*/ 735 w 1548"/>
                  <a:gd name="T43" fmla="*/ 1546 h 1547"/>
                  <a:gd name="T44" fmla="*/ 618 w 1548"/>
                  <a:gd name="T45" fmla="*/ 1531 h 1547"/>
                  <a:gd name="T46" fmla="*/ 509 w 1548"/>
                  <a:gd name="T47" fmla="*/ 1500 h 1547"/>
                  <a:gd name="T48" fmla="*/ 405 w 1548"/>
                  <a:gd name="T49" fmla="*/ 1453 h 1547"/>
                  <a:gd name="T50" fmla="*/ 311 w 1548"/>
                  <a:gd name="T51" fmla="*/ 1393 h 1547"/>
                  <a:gd name="T52" fmla="*/ 227 w 1548"/>
                  <a:gd name="T53" fmla="*/ 1320 h 1547"/>
                  <a:gd name="T54" fmla="*/ 154 w 1548"/>
                  <a:gd name="T55" fmla="*/ 1237 h 1547"/>
                  <a:gd name="T56" fmla="*/ 94 w 1548"/>
                  <a:gd name="T57" fmla="*/ 1142 h 1547"/>
                  <a:gd name="T58" fmla="*/ 48 w 1548"/>
                  <a:gd name="T59" fmla="*/ 1040 h 1547"/>
                  <a:gd name="T60" fmla="*/ 16 w 1548"/>
                  <a:gd name="T61" fmla="*/ 929 h 1547"/>
                  <a:gd name="T62" fmla="*/ 1 w 1548"/>
                  <a:gd name="T63" fmla="*/ 814 h 1547"/>
                  <a:gd name="T64" fmla="*/ 5 w 1548"/>
                  <a:gd name="T65" fmla="*/ 694 h 1547"/>
                  <a:gd name="T66" fmla="*/ 25 w 1548"/>
                  <a:gd name="T67" fmla="*/ 580 h 1547"/>
                  <a:gd name="T68" fmla="*/ 62 w 1548"/>
                  <a:gd name="T69" fmla="*/ 473 h 1547"/>
                  <a:gd name="T70" fmla="*/ 113 w 1548"/>
                  <a:gd name="T71" fmla="*/ 373 h 1547"/>
                  <a:gd name="T72" fmla="*/ 177 w 1548"/>
                  <a:gd name="T73" fmla="*/ 281 h 1547"/>
                  <a:gd name="T74" fmla="*/ 254 w 1548"/>
                  <a:gd name="T75" fmla="*/ 202 h 1547"/>
                  <a:gd name="T76" fmla="*/ 341 w 1548"/>
                  <a:gd name="T77" fmla="*/ 132 h 1547"/>
                  <a:gd name="T78" fmla="*/ 439 w 1548"/>
                  <a:gd name="T79" fmla="*/ 76 h 1547"/>
                  <a:gd name="T80" fmla="*/ 544 w 1548"/>
                  <a:gd name="T81" fmla="*/ 35 h 1547"/>
                  <a:gd name="T82" fmla="*/ 656 w 1548"/>
                  <a:gd name="T83" fmla="*/ 9 h 1547"/>
                  <a:gd name="T84" fmla="*/ 774 w 1548"/>
                  <a:gd name="T85" fmla="*/ 0 h 15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548" h="1547">
                    <a:moveTo>
                      <a:pt x="774" y="0"/>
                    </a:moveTo>
                    <a:lnTo>
                      <a:pt x="814" y="1"/>
                    </a:lnTo>
                    <a:lnTo>
                      <a:pt x="853" y="4"/>
                    </a:lnTo>
                    <a:lnTo>
                      <a:pt x="892" y="9"/>
                    </a:lnTo>
                    <a:lnTo>
                      <a:pt x="930" y="16"/>
                    </a:lnTo>
                    <a:lnTo>
                      <a:pt x="967" y="25"/>
                    </a:lnTo>
                    <a:lnTo>
                      <a:pt x="1004" y="35"/>
                    </a:lnTo>
                    <a:lnTo>
                      <a:pt x="1040" y="47"/>
                    </a:lnTo>
                    <a:lnTo>
                      <a:pt x="1076" y="61"/>
                    </a:lnTo>
                    <a:lnTo>
                      <a:pt x="1110" y="76"/>
                    </a:lnTo>
                    <a:lnTo>
                      <a:pt x="1143" y="93"/>
                    </a:lnTo>
                    <a:lnTo>
                      <a:pt x="1176" y="112"/>
                    </a:lnTo>
                    <a:lnTo>
                      <a:pt x="1207" y="132"/>
                    </a:lnTo>
                    <a:lnTo>
                      <a:pt x="1238" y="154"/>
                    </a:lnTo>
                    <a:lnTo>
                      <a:pt x="1266" y="177"/>
                    </a:lnTo>
                    <a:lnTo>
                      <a:pt x="1295" y="202"/>
                    </a:lnTo>
                    <a:lnTo>
                      <a:pt x="1321" y="227"/>
                    </a:lnTo>
                    <a:lnTo>
                      <a:pt x="1347" y="254"/>
                    </a:lnTo>
                    <a:lnTo>
                      <a:pt x="1371" y="281"/>
                    </a:lnTo>
                    <a:lnTo>
                      <a:pt x="1394" y="311"/>
                    </a:lnTo>
                    <a:lnTo>
                      <a:pt x="1415" y="341"/>
                    </a:lnTo>
                    <a:lnTo>
                      <a:pt x="1436" y="373"/>
                    </a:lnTo>
                    <a:lnTo>
                      <a:pt x="1454" y="405"/>
                    </a:lnTo>
                    <a:lnTo>
                      <a:pt x="1471" y="439"/>
                    </a:lnTo>
                    <a:lnTo>
                      <a:pt x="1487" y="473"/>
                    </a:lnTo>
                    <a:lnTo>
                      <a:pt x="1501" y="507"/>
                    </a:lnTo>
                    <a:lnTo>
                      <a:pt x="1514" y="544"/>
                    </a:lnTo>
                    <a:lnTo>
                      <a:pt x="1524" y="580"/>
                    </a:lnTo>
                    <a:lnTo>
                      <a:pt x="1532" y="618"/>
                    </a:lnTo>
                    <a:lnTo>
                      <a:pt x="1539" y="655"/>
                    </a:lnTo>
                    <a:lnTo>
                      <a:pt x="1544" y="694"/>
                    </a:lnTo>
                    <a:lnTo>
                      <a:pt x="1547" y="734"/>
                    </a:lnTo>
                    <a:lnTo>
                      <a:pt x="1548" y="774"/>
                    </a:lnTo>
                    <a:lnTo>
                      <a:pt x="1547" y="814"/>
                    </a:lnTo>
                    <a:lnTo>
                      <a:pt x="1544" y="853"/>
                    </a:lnTo>
                    <a:lnTo>
                      <a:pt x="1539" y="891"/>
                    </a:lnTo>
                    <a:lnTo>
                      <a:pt x="1532" y="929"/>
                    </a:lnTo>
                    <a:lnTo>
                      <a:pt x="1524" y="967"/>
                    </a:lnTo>
                    <a:lnTo>
                      <a:pt x="1514" y="1003"/>
                    </a:lnTo>
                    <a:lnTo>
                      <a:pt x="1501" y="1040"/>
                    </a:lnTo>
                    <a:lnTo>
                      <a:pt x="1487" y="1075"/>
                    </a:lnTo>
                    <a:lnTo>
                      <a:pt x="1471" y="1109"/>
                    </a:lnTo>
                    <a:lnTo>
                      <a:pt x="1454" y="1142"/>
                    </a:lnTo>
                    <a:lnTo>
                      <a:pt x="1436" y="1174"/>
                    </a:lnTo>
                    <a:lnTo>
                      <a:pt x="1415" y="1206"/>
                    </a:lnTo>
                    <a:lnTo>
                      <a:pt x="1394" y="1237"/>
                    </a:lnTo>
                    <a:lnTo>
                      <a:pt x="1371" y="1265"/>
                    </a:lnTo>
                    <a:lnTo>
                      <a:pt x="1347" y="1294"/>
                    </a:lnTo>
                    <a:lnTo>
                      <a:pt x="1321" y="1320"/>
                    </a:lnTo>
                    <a:lnTo>
                      <a:pt x="1295" y="1346"/>
                    </a:lnTo>
                    <a:lnTo>
                      <a:pt x="1266" y="1370"/>
                    </a:lnTo>
                    <a:lnTo>
                      <a:pt x="1238" y="1393"/>
                    </a:lnTo>
                    <a:lnTo>
                      <a:pt x="1207" y="1415"/>
                    </a:lnTo>
                    <a:lnTo>
                      <a:pt x="1176" y="1435"/>
                    </a:lnTo>
                    <a:lnTo>
                      <a:pt x="1143" y="1453"/>
                    </a:lnTo>
                    <a:lnTo>
                      <a:pt x="1110" y="1470"/>
                    </a:lnTo>
                    <a:lnTo>
                      <a:pt x="1076" y="1486"/>
                    </a:lnTo>
                    <a:lnTo>
                      <a:pt x="1040" y="1500"/>
                    </a:lnTo>
                    <a:lnTo>
                      <a:pt x="1004" y="1513"/>
                    </a:lnTo>
                    <a:lnTo>
                      <a:pt x="967" y="1523"/>
                    </a:lnTo>
                    <a:lnTo>
                      <a:pt x="930" y="1531"/>
                    </a:lnTo>
                    <a:lnTo>
                      <a:pt x="892" y="1538"/>
                    </a:lnTo>
                    <a:lnTo>
                      <a:pt x="853" y="1543"/>
                    </a:lnTo>
                    <a:lnTo>
                      <a:pt x="814" y="1546"/>
                    </a:lnTo>
                    <a:lnTo>
                      <a:pt x="774" y="1547"/>
                    </a:lnTo>
                    <a:lnTo>
                      <a:pt x="735" y="1546"/>
                    </a:lnTo>
                    <a:lnTo>
                      <a:pt x="695" y="1543"/>
                    </a:lnTo>
                    <a:lnTo>
                      <a:pt x="656" y="1538"/>
                    </a:lnTo>
                    <a:lnTo>
                      <a:pt x="618" y="1531"/>
                    </a:lnTo>
                    <a:lnTo>
                      <a:pt x="581" y="1523"/>
                    </a:lnTo>
                    <a:lnTo>
                      <a:pt x="544" y="1513"/>
                    </a:lnTo>
                    <a:lnTo>
                      <a:pt x="509" y="1500"/>
                    </a:lnTo>
                    <a:lnTo>
                      <a:pt x="473" y="1486"/>
                    </a:lnTo>
                    <a:lnTo>
                      <a:pt x="439" y="1470"/>
                    </a:lnTo>
                    <a:lnTo>
                      <a:pt x="405" y="1453"/>
                    </a:lnTo>
                    <a:lnTo>
                      <a:pt x="373" y="1435"/>
                    </a:lnTo>
                    <a:lnTo>
                      <a:pt x="341" y="1415"/>
                    </a:lnTo>
                    <a:lnTo>
                      <a:pt x="311" y="1393"/>
                    </a:lnTo>
                    <a:lnTo>
                      <a:pt x="282" y="1370"/>
                    </a:lnTo>
                    <a:lnTo>
                      <a:pt x="254" y="1346"/>
                    </a:lnTo>
                    <a:lnTo>
                      <a:pt x="227" y="1320"/>
                    </a:lnTo>
                    <a:lnTo>
                      <a:pt x="202" y="1294"/>
                    </a:lnTo>
                    <a:lnTo>
                      <a:pt x="177" y="1265"/>
                    </a:lnTo>
                    <a:lnTo>
                      <a:pt x="154" y="1237"/>
                    </a:lnTo>
                    <a:lnTo>
                      <a:pt x="132" y="1206"/>
                    </a:lnTo>
                    <a:lnTo>
                      <a:pt x="113" y="1174"/>
                    </a:lnTo>
                    <a:lnTo>
                      <a:pt x="94" y="1142"/>
                    </a:lnTo>
                    <a:lnTo>
                      <a:pt x="76" y="1109"/>
                    </a:lnTo>
                    <a:lnTo>
                      <a:pt x="62" y="1075"/>
                    </a:lnTo>
                    <a:lnTo>
                      <a:pt x="48" y="1040"/>
                    </a:lnTo>
                    <a:lnTo>
                      <a:pt x="35" y="1003"/>
                    </a:lnTo>
                    <a:lnTo>
                      <a:pt x="25" y="967"/>
                    </a:lnTo>
                    <a:lnTo>
                      <a:pt x="16" y="929"/>
                    </a:lnTo>
                    <a:lnTo>
                      <a:pt x="9" y="891"/>
                    </a:lnTo>
                    <a:lnTo>
                      <a:pt x="5" y="853"/>
                    </a:lnTo>
                    <a:lnTo>
                      <a:pt x="1" y="814"/>
                    </a:lnTo>
                    <a:lnTo>
                      <a:pt x="0" y="774"/>
                    </a:lnTo>
                    <a:lnTo>
                      <a:pt x="1" y="734"/>
                    </a:lnTo>
                    <a:lnTo>
                      <a:pt x="5" y="694"/>
                    </a:lnTo>
                    <a:lnTo>
                      <a:pt x="9" y="655"/>
                    </a:lnTo>
                    <a:lnTo>
                      <a:pt x="16" y="618"/>
                    </a:lnTo>
                    <a:lnTo>
                      <a:pt x="25" y="580"/>
                    </a:lnTo>
                    <a:lnTo>
                      <a:pt x="35" y="544"/>
                    </a:lnTo>
                    <a:lnTo>
                      <a:pt x="48" y="507"/>
                    </a:lnTo>
                    <a:lnTo>
                      <a:pt x="62" y="473"/>
                    </a:lnTo>
                    <a:lnTo>
                      <a:pt x="76" y="439"/>
                    </a:lnTo>
                    <a:lnTo>
                      <a:pt x="94" y="405"/>
                    </a:lnTo>
                    <a:lnTo>
                      <a:pt x="113" y="373"/>
                    </a:lnTo>
                    <a:lnTo>
                      <a:pt x="132" y="341"/>
                    </a:lnTo>
                    <a:lnTo>
                      <a:pt x="154" y="311"/>
                    </a:lnTo>
                    <a:lnTo>
                      <a:pt x="177" y="281"/>
                    </a:lnTo>
                    <a:lnTo>
                      <a:pt x="202" y="254"/>
                    </a:lnTo>
                    <a:lnTo>
                      <a:pt x="227" y="227"/>
                    </a:lnTo>
                    <a:lnTo>
                      <a:pt x="254" y="202"/>
                    </a:lnTo>
                    <a:lnTo>
                      <a:pt x="282" y="177"/>
                    </a:lnTo>
                    <a:lnTo>
                      <a:pt x="311" y="154"/>
                    </a:lnTo>
                    <a:lnTo>
                      <a:pt x="341" y="132"/>
                    </a:lnTo>
                    <a:lnTo>
                      <a:pt x="373" y="112"/>
                    </a:lnTo>
                    <a:lnTo>
                      <a:pt x="405" y="93"/>
                    </a:lnTo>
                    <a:lnTo>
                      <a:pt x="439" y="76"/>
                    </a:lnTo>
                    <a:lnTo>
                      <a:pt x="473" y="61"/>
                    </a:lnTo>
                    <a:lnTo>
                      <a:pt x="509" y="47"/>
                    </a:lnTo>
                    <a:lnTo>
                      <a:pt x="544" y="35"/>
                    </a:lnTo>
                    <a:lnTo>
                      <a:pt x="581" y="25"/>
                    </a:lnTo>
                    <a:lnTo>
                      <a:pt x="618" y="16"/>
                    </a:lnTo>
                    <a:lnTo>
                      <a:pt x="656" y="9"/>
                    </a:lnTo>
                    <a:lnTo>
                      <a:pt x="695" y="4"/>
                    </a:lnTo>
                    <a:lnTo>
                      <a:pt x="735" y="1"/>
                    </a:lnTo>
                    <a:lnTo>
                      <a:pt x="774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61" name="Freeform 35"/>
              <p:cNvSpPr>
                <a:spLocks noEditPoints="1"/>
              </p:cNvSpPr>
              <p:nvPr/>
            </p:nvSpPr>
            <p:spPr bwMode="auto">
              <a:xfrm>
                <a:off x="6059071" y="5211540"/>
                <a:ext cx="137606" cy="137606"/>
              </a:xfrm>
              <a:custGeom>
                <a:avLst/>
                <a:gdLst>
                  <a:gd name="T0" fmla="*/ 470 w 608"/>
                  <a:gd name="T1" fmla="*/ 1 h 609"/>
                  <a:gd name="T2" fmla="*/ 514 w 608"/>
                  <a:gd name="T3" fmla="*/ 13 h 609"/>
                  <a:gd name="T4" fmla="*/ 552 w 608"/>
                  <a:gd name="T5" fmla="*/ 36 h 609"/>
                  <a:gd name="T6" fmla="*/ 563 w 608"/>
                  <a:gd name="T7" fmla="*/ 46 h 609"/>
                  <a:gd name="T8" fmla="*/ 589 w 608"/>
                  <a:gd name="T9" fmla="*/ 81 h 609"/>
                  <a:gd name="T10" fmla="*/ 604 w 608"/>
                  <a:gd name="T11" fmla="*/ 123 h 609"/>
                  <a:gd name="T12" fmla="*/ 608 w 608"/>
                  <a:gd name="T13" fmla="*/ 455 h 609"/>
                  <a:gd name="T14" fmla="*/ 601 w 608"/>
                  <a:gd name="T15" fmla="*/ 501 h 609"/>
                  <a:gd name="T16" fmla="*/ 581 w 608"/>
                  <a:gd name="T17" fmla="*/ 541 h 609"/>
                  <a:gd name="T18" fmla="*/ 552 w 608"/>
                  <a:gd name="T19" fmla="*/ 574 h 609"/>
                  <a:gd name="T20" fmla="*/ 514 w 608"/>
                  <a:gd name="T21" fmla="*/ 597 h 609"/>
                  <a:gd name="T22" fmla="*/ 470 w 608"/>
                  <a:gd name="T23" fmla="*/ 608 h 609"/>
                  <a:gd name="T24" fmla="*/ 138 w 608"/>
                  <a:gd name="T25" fmla="*/ 608 h 609"/>
                  <a:gd name="T26" fmla="*/ 93 w 608"/>
                  <a:gd name="T27" fmla="*/ 597 h 609"/>
                  <a:gd name="T28" fmla="*/ 55 w 608"/>
                  <a:gd name="T29" fmla="*/ 574 h 609"/>
                  <a:gd name="T30" fmla="*/ 35 w 608"/>
                  <a:gd name="T31" fmla="*/ 553 h 609"/>
                  <a:gd name="T32" fmla="*/ 11 w 608"/>
                  <a:gd name="T33" fmla="*/ 514 h 609"/>
                  <a:gd name="T34" fmla="*/ 0 w 608"/>
                  <a:gd name="T35" fmla="*/ 471 h 609"/>
                  <a:gd name="T36" fmla="*/ 0 w 608"/>
                  <a:gd name="T37" fmla="*/ 138 h 609"/>
                  <a:gd name="T38" fmla="*/ 11 w 608"/>
                  <a:gd name="T39" fmla="*/ 95 h 609"/>
                  <a:gd name="T40" fmla="*/ 35 w 608"/>
                  <a:gd name="T41" fmla="*/ 57 h 609"/>
                  <a:gd name="T42" fmla="*/ 67 w 608"/>
                  <a:gd name="T43" fmla="*/ 28 h 609"/>
                  <a:gd name="T44" fmla="*/ 107 w 608"/>
                  <a:gd name="T45" fmla="*/ 8 h 609"/>
                  <a:gd name="T46" fmla="*/ 152 w 608"/>
                  <a:gd name="T47" fmla="*/ 0 h 609"/>
                  <a:gd name="T48" fmla="*/ 143 w 608"/>
                  <a:gd name="T49" fmla="*/ 61 h 609"/>
                  <a:gd name="T50" fmla="*/ 116 w 608"/>
                  <a:gd name="T51" fmla="*/ 68 h 609"/>
                  <a:gd name="T52" fmla="*/ 93 w 608"/>
                  <a:gd name="T53" fmla="*/ 81 h 609"/>
                  <a:gd name="T54" fmla="*/ 75 w 608"/>
                  <a:gd name="T55" fmla="*/ 102 h 609"/>
                  <a:gd name="T56" fmla="*/ 62 w 608"/>
                  <a:gd name="T57" fmla="*/ 127 h 609"/>
                  <a:gd name="T58" fmla="*/ 58 w 608"/>
                  <a:gd name="T59" fmla="*/ 154 h 609"/>
                  <a:gd name="T60" fmla="*/ 60 w 608"/>
                  <a:gd name="T61" fmla="*/ 475 h 609"/>
                  <a:gd name="T62" fmla="*/ 69 w 608"/>
                  <a:gd name="T63" fmla="*/ 501 h 609"/>
                  <a:gd name="T64" fmla="*/ 86 w 608"/>
                  <a:gd name="T65" fmla="*/ 522 h 609"/>
                  <a:gd name="T66" fmla="*/ 108 w 608"/>
                  <a:gd name="T67" fmla="*/ 538 h 609"/>
                  <a:gd name="T68" fmla="*/ 134 w 608"/>
                  <a:gd name="T69" fmla="*/ 547 h 609"/>
                  <a:gd name="T70" fmla="*/ 454 w 608"/>
                  <a:gd name="T71" fmla="*/ 550 h 609"/>
                  <a:gd name="T72" fmla="*/ 482 w 608"/>
                  <a:gd name="T73" fmla="*/ 545 h 609"/>
                  <a:gd name="T74" fmla="*/ 507 w 608"/>
                  <a:gd name="T75" fmla="*/ 534 h 609"/>
                  <a:gd name="T76" fmla="*/ 527 w 608"/>
                  <a:gd name="T77" fmla="*/ 516 h 609"/>
                  <a:gd name="T78" fmla="*/ 541 w 608"/>
                  <a:gd name="T79" fmla="*/ 492 h 609"/>
                  <a:gd name="T80" fmla="*/ 548 w 608"/>
                  <a:gd name="T81" fmla="*/ 465 h 609"/>
                  <a:gd name="T82" fmla="*/ 548 w 608"/>
                  <a:gd name="T83" fmla="*/ 145 h 609"/>
                  <a:gd name="T84" fmla="*/ 541 w 608"/>
                  <a:gd name="T85" fmla="*/ 118 h 609"/>
                  <a:gd name="T86" fmla="*/ 527 w 608"/>
                  <a:gd name="T87" fmla="*/ 94 h 609"/>
                  <a:gd name="T88" fmla="*/ 514 w 608"/>
                  <a:gd name="T89" fmla="*/ 81 h 609"/>
                  <a:gd name="T90" fmla="*/ 491 w 608"/>
                  <a:gd name="T91" fmla="*/ 68 h 609"/>
                  <a:gd name="T92" fmla="*/ 464 w 608"/>
                  <a:gd name="T93" fmla="*/ 61 h 6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608" h="609">
                    <a:moveTo>
                      <a:pt x="152" y="0"/>
                    </a:moveTo>
                    <a:lnTo>
                      <a:pt x="454" y="0"/>
                    </a:lnTo>
                    <a:lnTo>
                      <a:pt x="470" y="1"/>
                    </a:lnTo>
                    <a:lnTo>
                      <a:pt x="484" y="4"/>
                    </a:lnTo>
                    <a:lnTo>
                      <a:pt x="499" y="8"/>
                    </a:lnTo>
                    <a:lnTo>
                      <a:pt x="514" y="13"/>
                    </a:lnTo>
                    <a:lnTo>
                      <a:pt x="527" y="20"/>
                    </a:lnTo>
                    <a:lnTo>
                      <a:pt x="539" y="28"/>
                    </a:lnTo>
                    <a:lnTo>
                      <a:pt x="552" y="36"/>
                    </a:lnTo>
                    <a:lnTo>
                      <a:pt x="562" y="46"/>
                    </a:lnTo>
                    <a:lnTo>
                      <a:pt x="562" y="46"/>
                    </a:lnTo>
                    <a:lnTo>
                      <a:pt x="563" y="46"/>
                    </a:lnTo>
                    <a:lnTo>
                      <a:pt x="572" y="57"/>
                    </a:lnTo>
                    <a:lnTo>
                      <a:pt x="581" y="69"/>
                    </a:lnTo>
                    <a:lnTo>
                      <a:pt x="589" y="81"/>
                    </a:lnTo>
                    <a:lnTo>
                      <a:pt x="595" y="95"/>
                    </a:lnTo>
                    <a:lnTo>
                      <a:pt x="601" y="109"/>
                    </a:lnTo>
                    <a:lnTo>
                      <a:pt x="604" y="123"/>
                    </a:lnTo>
                    <a:lnTo>
                      <a:pt x="606" y="138"/>
                    </a:lnTo>
                    <a:lnTo>
                      <a:pt x="608" y="154"/>
                    </a:lnTo>
                    <a:lnTo>
                      <a:pt x="608" y="455"/>
                    </a:lnTo>
                    <a:lnTo>
                      <a:pt x="606" y="471"/>
                    </a:lnTo>
                    <a:lnTo>
                      <a:pt x="604" y="486"/>
                    </a:lnTo>
                    <a:lnTo>
                      <a:pt x="601" y="501"/>
                    </a:lnTo>
                    <a:lnTo>
                      <a:pt x="595" y="514"/>
                    </a:lnTo>
                    <a:lnTo>
                      <a:pt x="589" y="528"/>
                    </a:lnTo>
                    <a:lnTo>
                      <a:pt x="581" y="541"/>
                    </a:lnTo>
                    <a:lnTo>
                      <a:pt x="572" y="553"/>
                    </a:lnTo>
                    <a:lnTo>
                      <a:pt x="563" y="563"/>
                    </a:lnTo>
                    <a:lnTo>
                      <a:pt x="552" y="574"/>
                    </a:lnTo>
                    <a:lnTo>
                      <a:pt x="540" y="583"/>
                    </a:lnTo>
                    <a:lnTo>
                      <a:pt x="527" y="590"/>
                    </a:lnTo>
                    <a:lnTo>
                      <a:pt x="514" y="597"/>
                    </a:lnTo>
                    <a:lnTo>
                      <a:pt x="499" y="602"/>
                    </a:lnTo>
                    <a:lnTo>
                      <a:pt x="484" y="606"/>
                    </a:lnTo>
                    <a:lnTo>
                      <a:pt x="470" y="608"/>
                    </a:lnTo>
                    <a:lnTo>
                      <a:pt x="454" y="609"/>
                    </a:lnTo>
                    <a:lnTo>
                      <a:pt x="152" y="609"/>
                    </a:lnTo>
                    <a:lnTo>
                      <a:pt x="138" y="608"/>
                    </a:lnTo>
                    <a:lnTo>
                      <a:pt x="122" y="606"/>
                    </a:lnTo>
                    <a:lnTo>
                      <a:pt x="108" y="602"/>
                    </a:lnTo>
                    <a:lnTo>
                      <a:pt x="93" y="597"/>
                    </a:lnTo>
                    <a:lnTo>
                      <a:pt x="79" y="590"/>
                    </a:lnTo>
                    <a:lnTo>
                      <a:pt x="67" y="583"/>
                    </a:lnTo>
                    <a:lnTo>
                      <a:pt x="55" y="574"/>
                    </a:lnTo>
                    <a:lnTo>
                      <a:pt x="44" y="563"/>
                    </a:lnTo>
                    <a:lnTo>
                      <a:pt x="44" y="563"/>
                    </a:lnTo>
                    <a:lnTo>
                      <a:pt x="35" y="553"/>
                    </a:lnTo>
                    <a:lnTo>
                      <a:pt x="26" y="541"/>
                    </a:lnTo>
                    <a:lnTo>
                      <a:pt x="18" y="528"/>
                    </a:lnTo>
                    <a:lnTo>
                      <a:pt x="11" y="514"/>
                    </a:lnTo>
                    <a:lnTo>
                      <a:pt x="6" y="501"/>
                    </a:lnTo>
                    <a:lnTo>
                      <a:pt x="2" y="486"/>
                    </a:lnTo>
                    <a:lnTo>
                      <a:pt x="0" y="471"/>
                    </a:lnTo>
                    <a:lnTo>
                      <a:pt x="0" y="455"/>
                    </a:lnTo>
                    <a:lnTo>
                      <a:pt x="0" y="154"/>
                    </a:lnTo>
                    <a:lnTo>
                      <a:pt x="0" y="138"/>
                    </a:lnTo>
                    <a:lnTo>
                      <a:pt x="2" y="123"/>
                    </a:lnTo>
                    <a:lnTo>
                      <a:pt x="6" y="109"/>
                    </a:lnTo>
                    <a:lnTo>
                      <a:pt x="11" y="95"/>
                    </a:lnTo>
                    <a:lnTo>
                      <a:pt x="18" y="81"/>
                    </a:lnTo>
                    <a:lnTo>
                      <a:pt x="26" y="69"/>
                    </a:lnTo>
                    <a:lnTo>
                      <a:pt x="35" y="57"/>
                    </a:lnTo>
                    <a:lnTo>
                      <a:pt x="44" y="46"/>
                    </a:lnTo>
                    <a:lnTo>
                      <a:pt x="55" y="36"/>
                    </a:lnTo>
                    <a:lnTo>
                      <a:pt x="67" y="28"/>
                    </a:lnTo>
                    <a:lnTo>
                      <a:pt x="79" y="20"/>
                    </a:lnTo>
                    <a:lnTo>
                      <a:pt x="93" y="13"/>
                    </a:lnTo>
                    <a:lnTo>
                      <a:pt x="107" y="8"/>
                    </a:lnTo>
                    <a:lnTo>
                      <a:pt x="122" y="4"/>
                    </a:lnTo>
                    <a:lnTo>
                      <a:pt x="138" y="1"/>
                    </a:lnTo>
                    <a:lnTo>
                      <a:pt x="152" y="0"/>
                    </a:lnTo>
                    <a:close/>
                    <a:moveTo>
                      <a:pt x="454" y="60"/>
                    </a:moveTo>
                    <a:lnTo>
                      <a:pt x="152" y="60"/>
                    </a:lnTo>
                    <a:lnTo>
                      <a:pt x="143" y="61"/>
                    </a:lnTo>
                    <a:lnTo>
                      <a:pt x="134" y="62"/>
                    </a:lnTo>
                    <a:lnTo>
                      <a:pt x="125" y="64"/>
                    </a:lnTo>
                    <a:lnTo>
                      <a:pt x="116" y="68"/>
                    </a:lnTo>
                    <a:lnTo>
                      <a:pt x="108" y="71"/>
                    </a:lnTo>
                    <a:lnTo>
                      <a:pt x="100" y="76"/>
                    </a:lnTo>
                    <a:lnTo>
                      <a:pt x="93" y="81"/>
                    </a:lnTo>
                    <a:lnTo>
                      <a:pt x="86" y="88"/>
                    </a:lnTo>
                    <a:lnTo>
                      <a:pt x="79" y="94"/>
                    </a:lnTo>
                    <a:lnTo>
                      <a:pt x="75" y="102"/>
                    </a:lnTo>
                    <a:lnTo>
                      <a:pt x="69" y="110"/>
                    </a:lnTo>
                    <a:lnTo>
                      <a:pt x="66" y="118"/>
                    </a:lnTo>
                    <a:lnTo>
                      <a:pt x="62" y="127"/>
                    </a:lnTo>
                    <a:lnTo>
                      <a:pt x="60" y="135"/>
                    </a:lnTo>
                    <a:lnTo>
                      <a:pt x="59" y="145"/>
                    </a:lnTo>
                    <a:lnTo>
                      <a:pt x="58" y="154"/>
                    </a:lnTo>
                    <a:lnTo>
                      <a:pt x="58" y="455"/>
                    </a:lnTo>
                    <a:lnTo>
                      <a:pt x="59" y="465"/>
                    </a:lnTo>
                    <a:lnTo>
                      <a:pt x="60" y="475"/>
                    </a:lnTo>
                    <a:lnTo>
                      <a:pt x="62" y="484"/>
                    </a:lnTo>
                    <a:lnTo>
                      <a:pt x="66" y="492"/>
                    </a:lnTo>
                    <a:lnTo>
                      <a:pt x="69" y="501"/>
                    </a:lnTo>
                    <a:lnTo>
                      <a:pt x="75" y="509"/>
                    </a:lnTo>
                    <a:lnTo>
                      <a:pt x="79" y="516"/>
                    </a:lnTo>
                    <a:lnTo>
                      <a:pt x="86" y="522"/>
                    </a:lnTo>
                    <a:lnTo>
                      <a:pt x="93" y="528"/>
                    </a:lnTo>
                    <a:lnTo>
                      <a:pt x="100" y="534"/>
                    </a:lnTo>
                    <a:lnTo>
                      <a:pt x="108" y="538"/>
                    </a:lnTo>
                    <a:lnTo>
                      <a:pt x="116" y="543"/>
                    </a:lnTo>
                    <a:lnTo>
                      <a:pt x="125" y="545"/>
                    </a:lnTo>
                    <a:lnTo>
                      <a:pt x="134" y="547"/>
                    </a:lnTo>
                    <a:lnTo>
                      <a:pt x="143" y="550"/>
                    </a:lnTo>
                    <a:lnTo>
                      <a:pt x="152" y="550"/>
                    </a:lnTo>
                    <a:lnTo>
                      <a:pt x="454" y="550"/>
                    </a:lnTo>
                    <a:lnTo>
                      <a:pt x="464" y="550"/>
                    </a:lnTo>
                    <a:lnTo>
                      <a:pt x="473" y="547"/>
                    </a:lnTo>
                    <a:lnTo>
                      <a:pt x="482" y="545"/>
                    </a:lnTo>
                    <a:lnTo>
                      <a:pt x="491" y="543"/>
                    </a:lnTo>
                    <a:lnTo>
                      <a:pt x="499" y="538"/>
                    </a:lnTo>
                    <a:lnTo>
                      <a:pt x="507" y="534"/>
                    </a:lnTo>
                    <a:lnTo>
                      <a:pt x="514" y="528"/>
                    </a:lnTo>
                    <a:lnTo>
                      <a:pt x="521" y="522"/>
                    </a:lnTo>
                    <a:lnTo>
                      <a:pt x="527" y="516"/>
                    </a:lnTo>
                    <a:lnTo>
                      <a:pt x="532" y="508"/>
                    </a:lnTo>
                    <a:lnTo>
                      <a:pt x="537" y="501"/>
                    </a:lnTo>
                    <a:lnTo>
                      <a:pt x="541" y="492"/>
                    </a:lnTo>
                    <a:lnTo>
                      <a:pt x="545" y="484"/>
                    </a:lnTo>
                    <a:lnTo>
                      <a:pt x="547" y="475"/>
                    </a:lnTo>
                    <a:lnTo>
                      <a:pt x="548" y="465"/>
                    </a:lnTo>
                    <a:lnTo>
                      <a:pt x="548" y="455"/>
                    </a:lnTo>
                    <a:lnTo>
                      <a:pt x="548" y="154"/>
                    </a:lnTo>
                    <a:lnTo>
                      <a:pt x="548" y="145"/>
                    </a:lnTo>
                    <a:lnTo>
                      <a:pt x="547" y="135"/>
                    </a:lnTo>
                    <a:lnTo>
                      <a:pt x="545" y="126"/>
                    </a:lnTo>
                    <a:lnTo>
                      <a:pt x="541" y="118"/>
                    </a:lnTo>
                    <a:lnTo>
                      <a:pt x="537" y="110"/>
                    </a:lnTo>
                    <a:lnTo>
                      <a:pt x="532" y="102"/>
                    </a:lnTo>
                    <a:lnTo>
                      <a:pt x="527" y="94"/>
                    </a:lnTo>
                    <a:lnTo>
                      <a:pt x="521" y="88"/>
                    </a:lnTo>
                    <a:lnTo>
                      <a:pt x="521" y="87"/>
                    </a:lnTo>
                    <a:lnTo>
                      <a:pt x="514" y="81"/>
                    </a:lnTo>
                    <a:lnTo>
                      <a:pt x="507" y="76"/>
                    </a:lnTo>
                    <a:lnTo>
                      <a:pt x="499" y="71"/>
                    </a:lnTo>
                    <a:lnTo>
                      <a:pt x="491" y="68"/>
                    </a:lnTo>
                    <a:lnTo>
                      <a:pt x="482" y="64"/>
                    </a:lnTo>
                    <a:lnTo>
                      <a:pt x="473" y="62"/>
                    </a:lnTo>
                    <a:lnTo>
                      <a:pt x="464" y="61"/>
                    </a:lnTo>
                    <a:lnTo>
                      <a:pt x="454" y="60"/>
                    </a:lnTo>
                    <a:close/>
                  </a:path>
                </a:pathLst>
              </a:custGeom>
              <a:gradFill flip="none" rotWithShape="1">
                <a:gsLst>
                  <a:gs pos="46000">
                    <a:srgbClr val="FFFFFF"/>
                  </a:gs>
                  <a:gs pos="56000">
                    <a:schemeClr val="bg1">
                      <a:alpha val="45000"/>
                    </a:schemeClr>
                  </a:gs>
                  <a:gs pos="100000">
                    <a:srgbClr val="FFFFFF"/>
                  </a:gs>
                  <a:gs pos="0">
                    <a:schemeClr val="bg1">
                      <a:alpha val="97000"/>
                    </a:schemeClr>
                  </a:gs>
                </a:gsLst>
                <a:lin ang="1890000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62" name="Freeform 42"/>
              <p:cNvSpPr>
                <a:spLocks/>
              </p:cNvSpPr>
              <p:nvPr/>
            </p:nvSpPr>
            <p:spPr bwMode="auto">
              <a:xfrm>
                <a:off x="5940539" y="5287836"/>
                <a:ext cx="371944" cy="178479"/>
              </a:xfrm>
              <a:custGeom>
                <a:avLst/>
                <a:gdLst>
                  <a:gd name="T0" fmla="*/ 1635 w 1638"/>
                  <a:gd name="T1" fmla="*/ 43 h 786"/>
                  <a:gd name="T2" fmla="*/ 1625 w 1638"/>
                  <a:gd name="T3" fmla="*/ 122 h 786"/>
                  <a:gd name="T4" fmla="*/ 1605 w 1638"/>
                  <a:gd name="T5" fmla="*/ 199 h 786"/>
                  <a:gd name="T6" fmla="*/ 1580 w 1638"/>
                  <a:gd name="T7" fmla="*/ 273 h 786"/>
                  <a:gd name="T8" fmla="*/ 1547 w 1638"/>
                  <a:gd name="T9" fmla="*/ 344 h 786"/>
                  <a:gd name="T10" fmla="*/ 1508 w 1638"/>
                  <a:gd name="T11" fmla="*/ 410 h 786"/>
                  <a:gd name="T12" fmla="*/ 1464 w 1638"/>
                  <a:gd name="T13" fmla="*/ 473 h 786"/>
                  <a:gd name="T14" fmla="*/ 1414 w 1638"/>
                  <a:gd name="T15" fmla="*/ 531 h 786"/>
                  <a:gd name="T16" fmla="*/ 1359 w 1638"/>
                  <a:gd name="T17" fmla="*/ 584 h 786"/>
                  <a:gd name="T18" fmla="*/ 1298 w 1638"/>
                  <a:gd name="T19" fmla="*/ 631 h 786"/>
                  <a:gd name="T20" fmla="*/ 1235 w 1638"/>
                  <a:gd name="T21" fmla="*/ 674 h 786"/>
                  <a:gd name="T22" fmla="*/ 1166 w 1638"/>
                  <a:gd name="T23" fmla="*/ 710 h 786"/>
                  <a:gd name="T24" fmla="*/ 1094 w 1638"/>
                  <a:gd name="T25" fmla="*/ 740 h 786"/>
                  <a:gd name="T26" fmla="*/ 1019 w 1638"/>
                  <a:gd name="T27" fmla="*/ 763 h 786"/>
                  <a:gd name="T28" fmla="*/ 940 w 1638"/>
                  <a:gd name="T29" fmla="*/ 777 h 786"/>
                  <a:gd name="T30" fmla="*/ 861 w 1638"/>
                  <a:gd name="T31" fmla="*/ 785 h 786"/>
                  <a:gd name="T32" fmla="*/ 778 w 1638"/>
                  <a:gd name="T33" fmla="*/ 785 h 786"/>
                  <a:gd name="T34" fmla="*/ 697 w 1638"/>
                  <a:gd name="T35" fmla="*/ 777 h 786"/>
                  <a:gd name="T36" fmla="*/ 619 w 1638"/>
                  <a:gd name="T37" fmla="*/ 763 h 786"/>
                  <a:gd name="T38" fmla="*/ 543 w 1638"/>
                  <a:gd name="T39" fmla="*/ 740 h 786"/>
                  <a:gd name="T40" fmla="*/ 472 w 1638"/>
                  <a:gd name="T41" fmla="*/ 710 h 786"/>
                  <a:gd name="T42" fmla="*/ 403 w 1638"/>
                  <a:gd name="T43" fmla="*/ 674 h 786"/>
                  <a:gd name="T44" fmla="*/ 338 w 1638"/>
                  <a:gd name="T45" fmla="*/ 631 h 786"/>
                  <a:gd name="T46" fmla="*/ 279 w 1638"/>
                  <a:gd name="T47" fmla="*/ 584 h 786"/>
                  <a:gd name="T48" fmla="*/ 223 w 1638"/>
                  <a:gd name="T49" fmla="*/ 530 h 786"/>
                  <a:gd name="T50" fmla="*/ 173 w 1638"/>
                  <a:gd name="T51" fmla="*/ 472 h 786"/>
                  <a:gd name="T52" fmla="*/ 128 w 1638"/>
                  <a:gd name="T53" fmla="*/ 409 h 786"/>
                  <a:gd name="T54" fmla="*/ 89 w 1638"/>
                  <a:gd name="T55" fmla="*/ 342 h 786"/>
                  <a:gd name="T56" fmla="*/ 58 w 1638"/>
                  <a:gd name="T57" fmla="*/ 271 h 786"/>
                  <a:gd name="T58" fmla="*/ 32 w 1638"/>
                  <a:gd name="T59" fmla="*/ 197 h 786"/>
                  <a:gd name="T60" fmla="*/ 14 w 1638"/>
                  <a:gd name="T61" fmla="*/ 120 h 786"/>
                  <a:gd name="T62" fmla="*/ 3 w 1638"/>
                  <a:gd name="T63" fmla="*/ 40 h 786"/>
                  <a:gd name="T64" fmla="*/ 48 w 1638"/>
                  <a:gd name="T65" fmla="*/ 6 h 786"/>
                  <a:gd name="T66" fmla="*/ 146 w 1638"/>
                  <a:gd name="T67" fmla="*/ 18 h 786"/>
                  <a:gd name="T68" fmla="*/ 246 w 1638"/>
                  <a:gd name="T69" fmla="*/ 28 h 786"/>
                  <a:gd name="T70" fmla="*/ 348 w 1638"/>
                  <a:gd name="T71" fmla="*/ 37 h 786"/>
                  <a:gd name="T72" fmla="*/ 452 w 1638"/>
                  <a:gd name="T73" fmla="*/ 44 h 786"/>
                  <a:gd name="T74" fmla="*/ 557 w 1638"/>
                  <a:gd name="T75" fmla="*/ 50 h 786"/>
                  <a:gd name="T76" fmla="*/ 664 w 1638"/>
                  <a:gd name="T77" fmla="*/ 53 h 786"/>
                  <a:gd name="T78" fmla="*/ 774 w 1638"/>
                  <a:gd name="T79" fmla="*/ 56 h 786"/>
                  <a:gd name="T80" fmla="*/ 882 w 1638"/>
                  <a:gd name="T81" fmla="*/ 56 h 786"/>
                  <a:gd name="T82" fmla="*/ 988 w 1638"/>
                  <a:gd name="T83" fmla="*/ 53 h 786"/>
                  <a:gd name="T84" fmla="*/ 1093 w 1638"/>
                  <a:gd name="T85" fmla="*/ 50 h 786"/>
                  <a:gd name="T86" fmla="*/ 1196 w 1638"/>
                  <a:gd name="T87" fmla="*/ 45 h 786"/>
                  <a:gd name="T88" fmla="*/ 1297 w 1638"/>
                  <a:gd name="T89" fmla="*/ 39 h 786"/>
                  <a:gd name="T90" fmla="*/ 1398 w 1638"/>
                  <a:gd name="T91" fmla="*/ 30 h 786"/>
                  <a:gd name="T92" fmla="*/ 1495 w 1638"/>
                  <a:gd name="T93" fmla="*/ 20 h 786"/>
                  <a:gd name="T94" fmla="*/ 1590 w 1638"/>
                  <a:gd name="T95" fmla="*/ 9 h 7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638" h="786">
                    <a:moveTo>
                      <a:pt x="1638" y="2"/>
                    </a:moveTo>
                    <a:lnTo>
                      <a:pt x="1635" y="43"/>
                    </a:lnTo>
                    <a:lnTo>
                      <a:pt x="1630" y="83"/>
                    </a:lnTo>
                    <a:lnTo>
                      <a:pt x="1625" y="122"/>
                    </a:lnTo>
                    <a:lnTo>
                      <a:pt x="1616" y="161"/>
                    </a:lnTo>
                    <a:lnTo>
                      <a:pt x="1605" y="199"/>
                    </a:lnTo>
                    <a:lnTo>
                      <a:pt x="1594" y="237"/>
                    </a:lnTo>
                    <a:lnTo>
                      <a:pt x="1580" y="273"/>
                    </a:lnTo>
                    <a:lnTo>
                      <a:pt x="1564" y="309"/>
                    </a:lnTo>
                    <a:lnTo>
                      <a:pt x="1547" y="344"/>
                    </a:lnTo>
                    <a:lnTo>
                      <a:pt x="1529" y="377"/>
                    </a:lnTo>
                    <a:lnTo>
                      <a:pt x="1508" y="410"/>
                    </a:lnTo>
                    <a:lnTo>
                      <a:pt x="1488" y="442"/>
                    </a:lnTo>
                    <a:lnTo>
                      <a:pt x="1464" y="473"/>
                    </a:lnTo>
                    <a:lnTo>
                      <a:pt x="1440" y="503"/>
                    </a:lnTo>
                    <a:lnTo>
                      <a:pt x="1414" y="531"/>
                    </a:lnTo>
                    <a:lnTo>
                      <a:pt x="1387" y="558"/>
                    </a:lnTo>
                    <a:lnTo>
                      <a:pt x="1359" y="584"/>
                    </a:lnTo>
                    <a:lnTo>
                      <a:pt x="1329" y="609"/>
                    </a:lnTo>
                    <a:lnTo>
                      <a:pt x="1298" y="631"/>
                    </a:lnTo>
                    <a:lnTo>
                      <a:pt x="1268" y="654"/>
                    </a:lnTo>
                    <a:lnTo>
                      <a:pt x="1235" y="674"/>
                    </a:lnTo>
                    <a:lnTo>
                      <a:pt x="1200" y="693"/>
                    </a:lnTo>
                    <a:lnTo>
                      <a:pt x="1166" y="710"/>
                    </a:lnTo>
                    <a:lnTo>
                      <a:pt x="1131" y="726"/>
                    </a:lnTo>
                    <a:lnTo>
                      <a:pt x="1094" y="740"/>
                    </a:lnTo>
                    <a:lnTo>
                      <a:pt x="1057" y="752"/>
                    </a:lnTo>
                    <a:lnTo>
                      <a:pt x="1019" y="763"/>
                    </a:lnTo>
                    <a:lnTo>
                      <a:pt x="980" y="771"/>
                    </a:lnTo>
                    <a:lnTo>
                      <a:pt x="940" y="777"/>
                    </a:lnTo>
                    <a:lnTo>
                      <a:pt x="900" y="783"/>
                    </a:lnTo>
                    <a:lnTo>
                      <a:pt x="861" y="785"/>
                    </a:lnTo>
                    <a:lnTo>
                      <a:pt x="819" y="786"/>
                    </a:lnTo>
                    <a:lnTo>
                      <a:pt x="778" y="785"/>
                    </a:lnTo>
                    <a:lnTo>
                      <a:pt x="737" y="783"/>
                    </a:lnTo>
                    <a:lnTo>
                      <a:pt x="697" y="777"/>
                    </a:lnTo>
                    <a:lnTo>
                      <a:pt x="657" y="771"/>
                    </a:lnTo>
                    <a:lnTo>
                      <a:pt x="619" y="763"/>
                    </a:lnTo>
                    <a:lnTo>
                      <a:pt x="581" y="752"/>
                    </a:lnTo>
                    <a:lnTo>
                      <a:pt x="543" y="740"/>
                    </a:lnTo>
                    <a:lnTo>
                      <a:pt x="507" y="725"/>
                    </a:lnTo>
                    <a:lnTo>
                      <a:pt x="472" y="710"/>
                    </a:lnTo>
                    <a:lnTo>
                      <a:pt x="436" y="693"/>
                    </a:lnTo>
                    <a:lnTo>
                      <a:pt x="403" y="674"/>
                    </a:lnTo>
                    <a:lnTo>
                      <a:pt x="370" y="653"/>
                    </a:lnTo>
                    <a:lnTo>
                      <a:pt x="338" y="631"/>
                    </a:lnTo>
                    <a:lnTo>
                      <a:pt x="308" y="607"/>
                    </a:lnTo>
                    <a:lnTo>
                      <a:pt x="279" y="584"/>
                    </a:lnTo>
                    <a:lnTo>
                      <a:pt x="250" y="557"/>
                    </a:lnTo>
                    <a:lnTo>
                      <a:pt x="223" y="530"/>
                    </a:lnTo>
                    <a:lnTo>
                      <a:pt x="198" y="501"/>
                    </a:lnTo>
                    <a:lnTo>
                      <a:pt x="173" y="472"/>
                    </a:lnTo>
                    <a:lnTo>
                      <a:pt x="150" y="441"/>
                    </a:lnTo>
                    <a:lnTo>
                      <a:pt x="128" y="409"/>
                    </a:lnTo>
                    <a:lnTo>
                      <a:pt x="109" y="376"/>
                    </a:lnTo>
                    <a:lnTo>
                      <a:pt x="89" y="342"/>
                    </a:lnTo>
                    <a:lnTo>
                      <a:pt x="73" y="308"/>
                    </a:lnTo>
                    <a:lnTo>
                      <a:pt x="58" y="271"/>
                    </a:lnTo>
                    <a:lnTo>
                      <a:pt x="44" y="235"/>
                    </a:lnTo>
                    <a:lnTo>
                      <a:pt x="32" y="197"/>
                    </a:lnTo>
                    <a:lnTo>
                      <a:pt x="22" y="159"/>
                    </a:lnTo>
                    <a:lnTo>
                      <a:pt x="14" y="120"/>
                    </a:lnTo>
                    <a:lnTo>
                      <a:pt x="7" y="81"/>
                    </a:lnTo>
                    <a:lnTo>
                      <a:pt x="3" y="40"/>
                    </a:lnTo>
                    <a:lnTo>
                      <a:pt x="0" y="0"/>
                    </a:lnTo>
                    <a:lnTo>
                      <a:pt x="48" y="6"/>
                    </a:lnTo>
                    <a:lnTo>
                      <a:pt x="96" y="12"/>
                    </a:lnTo>
                    <a:lnTo>
                      <a:pt x="146" y="18"/>
                    </a:lnTo>
                    <a:lnTo>
                      <a:pt x="196" y="24"/>
                    </a:lnTo>
                    <a:lnTo>
                      <a:pt x="246" y="28"/>
                    </a:lnTo>
                    <a:lnTo>
                      <a:pt x="297" y="33"/>
                    </a:lnTo>
                    <a:lnTo>
                      <a:pt x="348" y="37"/>
                    </a:lnTo>
                    <a:lnTo>
                      <a:pt x="400" y="41"/>
                    </a:lnTo>
                    <a:lnTo>
                      <a:pt x="452" y="44"/>
                    </a:lnTo>
                    <a:lnTo>
                      <a:pt x="505" y="48"/>
                    </a:lnTo>
                    <a:lnTo>
                      <a:pt x="557" y="50"/>
                    </a:lnTo>
                    <a:lnTo>
                      <a:pt x="611" y="52"/>
                    </a:lnTo>
                    <a:lnTo>
                      <a:pt x="664" y="53"/>
                    </a:lnTo>
                    <a:lnTo>
                      <a:pt x="719" y="55"/>
                    </a:lnTo>
                    <a:lnTo>
                      <a:pt x="774" y="56"/>
                    </a:lnTo>
                    <a:lnTo>
                      <a:pt x="829" y="56"/>
                    </a:lnTo>
                    <a:lnTo>
                      <a:pt x="882" y="56"/>
                    </a:lnTo>
                    <a:lnTo>
                      <a:pt x="936" y="55"/>
                    </a:lnTo>
                    <a:lnTo>
                      <a:pt x="988" y="53"/>
                    </a:lnTo>
                    <a:lnTo>
                      <a:pt x="1041" y="52"/>
                    </a:lnTo>
                    <a:lnTo>
                      <a:pt x="1093" y="50"/>
                    </a:lnTo>
                    <a:lnTo>
                      <a:pt x="1145" y="48"/>
                    </a:lnTo>
                    <a:lnTo>
                      <a:pt x="1196" y="45"/>
                    </a:lnTo>
                    <a:lnTo>
                      <a:pt x="1247" y="42"/>
                    </a:lnTo>
                    <a:lnTo>
                      <a:pt x="1297" y="39"/>
                    </a:lnTo>
                    <a:lnTo>
                      <a:pt x="1348" y="34"/>
                    </a:lnTo>
                    <a:lnTo>
                      <a:pt x="1398" y="30"/>
                    </a:lnTo>
                    <a:lnTo>
                      <a:pt x="1447" y="25"/>
                    </a:lnTo>
                    <a:lnTo>
                      <a:pt x="1495" y="20"/>
                    </a:lnTo>
                    <a:lnTo>
                      <a:pt x="1544" y="15"/>
                    </a:lnTo>
                    <a:lnTo>
                      <a:pt x="1590" y="9"/>
                    </a:lnTo>
                    <a:lnTo>
                      <a:pt x="1638" y="2"/>
                    </a:lnTo>
                    <a:close/>
                  </a:path>
                </a:pathLst>
              </a:custGeom>
              <a:gradFill>
                <a:gsLst>
                  <a:gs pos="100000">
                    <a:schemeClr val="bg1">
                      <a:alpha val="45000"/>
                    </a:schemeClr>
                  </a:gs>
                  <a:gs pos="0">
                    <a:schemeClr val="bg1">
                      <a:alpha val="20000"/>
                    </a:schemeClr>
                  </a:gs>
                </a:gsLst>
                <a:lin ang="5400000" scaled="1"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351" name="Group 350"/>
            <p:cNvGrpSpPr/>
            <p:nvPr/>
          </p:nvGrpSpPr>
          <p:grpSpPr>
            <a:xfrm>
              <a:off x="5940538" y="1511180"/>
              <a:ext cx="1109018" cy="3192174"/>
              <a:chOff x="3000179" y="211125"/>
              <a:chExt cx="1292141" cy="3719266"/>
            </a:xfrm>
          </p:grpSpPr>
          <p:sp>
            <p:nvSpPr>
              <p:cNvPr id="352" name="Freeform 26"/>
              <p:cNvSpPr>
                <a:spLocks/>
              </p:cNvSpPr>
              <p:nvPr/>
            </p:nvSpPr>
            <p:spPr bwMode="auto">
              <a:xfrm>
                <a:off x="3038276" y="211125"/>
                <a:ext cx="1254044" cy="3719266"/>
              </a:xfrm>
              <a:custGeom>
                <a:avLst/>
                <a:gdLst>
                  <a:gd name="T0" fmla="*/ 0 w 4741"/>
                  <a:gd name="T1" fmla="*/ 0 h 14059"/>
                  <a:gd name="T2" fmla="*/ 3656 w 4741"/>
                  <a:gd name="T3" fmla="*/ 0 h 14059"/>
                  <a:gd name="T4" fmla="*/ 3712 w 4741"/>
                  <a:gd name="T5" fmla="*/ 1 h 14059"/>
                  <a:gd name="T6" fmla="*/ 3767 w 4741"/>
                  <a:gd name="T7" fmla="*/ 4 h 14059"/>
                  <a:gd name="T8" fmla="*/ 3820 w 4741"/>
                  <a:gd name="T9" fmla="*/ 12 h 14059"/>
                  <a:gd name="T10" fmla="*/ 3874 w 4741"/>
                  <a:gd name="T11" fmla="*/ 22 h 14059"/>
                  <a:gd name="T12" fmla="*/ 3926 w 4741"/>
                  <a:gd name="T13" fmla="*/ 34 h 14059"/>
                  <a:gd name="T14" fmla="*/ 3978 w 4741"/>
                  <a:gd name="T15" fmla="*/ 49 h 14059"/>
                  <a:gd name="T16" fmla="*/ 4028 w 4741"/>
                  <a:gd name="T17" fmla="*/ 66 h 14059"/>
                  <a:gd name="T18" fmla="*/ 4077 w 4741"/>
                  <a:gd name="T19" fmla="*/ 85 h 14059"/>
                  <a:gd name="T20" fmla="*/ 4125 w 4741"/>
                  <a:gd name="T21" fmla="*/ 107 h 14059"/>
                  <a:gd name="T22" fmla="*/ 4172 w 4741"/>
                  <a:gd name="T23" fmla="*/ 131 h 14059"/>
                  <a:gd name="T24" fmla="*/ 4217 w 4741"/>
                  <a:gd name="T25" fmla="*/ 157 h 14059"/>
                  <a:gd name="T26" fmla="*/ 4262 w 4741"/>
                  <a:gd name="T27" fmla="*/ 186 h 14059"/>
                  <a:gd name="T28" fmla="*/ 4304 w 4741"/>
                  <a:gd name="T29" fmla="*/ 215 h 14059"/>
                  <a:gd name="T30" fmla="*/ 4345 w 4741"/>
                  <a:gd name="T31" fmla="*/ 247 h 14059"/>
                  <a:gd name="T32" fmla="*/ 4385 w 4741"/>
                  <a:gd name="T33" fmla="*/ 281 h 14059"/>
                  <a:gd name="T34" fmla="*/ 4422 w 4741"/>
                  <a:gd name="T35" fmla="*/ 318 h 14059"/>
                  <a:gd name="T36" fmla="*/ 4458 w 4741"/>
                  <a:gd name="T37" fmla="*/ 356 h 14059"/>
                  <a:gd name="T38" fmla="*/ 4492 w 4741"/>
                  <a:gd name="T39" fmla="*/ 395 h 14059"/>
                  <a:gd name="T40" fmla="*/ 4525 w 4741"/>
                  <a:gd name="T41" fmla="*/ 436 h 14059"/>
                  <a:gd name="T42" fmla="*/ 4555 w 4741"/>
                  <a:gd name="T43" fmla="*/ 479 h 14059"/>
                  <a:gd name="T44" fmla="*/ 4583 w 4741"/>
                  <a:gd name="T45" fmla="*/ 523 h 14059"/>
                  <a:gd name="T46" fmla="*/ 4609 w 4741"/>
                  <a:gd name="T47" fmla="*/ 568 h 14059"/>
                  <a:gd name="T48" fmla="*/ 4633 w 4741"/>
                  <a:gd name="T49" fmla="*/ 614 h 14059"/>
                  <a:gd name="T50" fmla="*/ 4655 w 4741"/>
                  <a:gd name="T51" fmla="*/ 662 h 14059"/>
                  <a:gd name="T52" fmla="*/ 4675 w 4741"/>
                  <a:gd name="T53" fmla="*/ 712 h 14059"/>
                  <a:gd name="T54" fmla="*/ 4692 w 4741"/>
                  <a:gd name="T55" fmla="*/ 763 h 14059"/>
                  <a:gd name="T56" fmla="*/ 4706 w 4741"/>
                  <a:gd name="T57" fmla="*/ 814 h 14059"/>
                  <a:gd name="T58" fmla="*/ 4719 w 4741"/>
                  <a:gd name="T59" fmla="*/ 866 h 14059"/>
                  <a:gd name="T60" fmla="*/ 4728 w 4741"/>
                  <a:gd name="T61" fmla="*/ 919 h 14059"/>
                  <a:gd name="T62" fmla="*/ 4735 w 4741"/>
                  <a:gd name="T63" fmla="*/ 973 h 14059"/>
                  <a:gd name="T64" fmla="*/ 4740 w 4741"/>
                  <a:gd name="T65" fmla="*/ 1028 h 14059"/>
                  <a:gd name="T66" fmla="*/ 4741 w 4741"/>
                  <a:gd name="T67" fmla="*/ 1084 h 14059"/>
                  <a:gd name="T68" fmla="*/ 4741 w 4741"/>
                  <a:gd name="T69" fmla="*/ 14059 h 14059"/>
                  <a:gd name="T70" fmla="*/ 0 w 4741"/>
                  <a:gd name="T71" fmla="*/ 0 h 140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741" h="14059">
                    <a:moveTo>
                      <a:pt x="0" y="0"/>
                    </a:moveTo>
                    <a:lnTo>
                      <a:pt x="3656" y="0"/>
                    </a:lnTo>
                    <a:lnTo>
                      <a:pt x="3712" y="1"/>
                    </a:lnTo>
                    <a:lnTo>
                      <a:pt x="3767" y="4"/>
                    </a:lnTo>
                    <a:lnTo>
                      <a:pt x="3820" y="12"/>
                    </a:lnTo>
                    <a:lnTo>
                      <a:pt x="3874" y="22"/>
                    </a:lnTo>
                    <a:lnTo>
                      <a:pt x="3926" y="34"/>
                    </a:lnTo>
                    <a:lnTo>
                      <a:pt x="3978" y="49"/>
                    </a:lnTo>
                    <a:lnTo>
                      <a:pt x="4028" y="66"/>
                    </a:lnTo>
                    <a:lnTo>
                      <a:pt x="4077" y="85"/>
                    </a:lnTo>
                    <a:lnTo>
                      <a:pt x="4125" y="107"/>
                    </a:lnTo>
                    <a:lnTo>
                      <a:pt x="4172" y="131"/>
                    </a:lnTo>
                    <a:lnTo>
                      <a:pt x="4217" y="157"/>
                    </a:lnTo>
                    <a:lnTo>
                      <a:pt x="4262" y="186"/>
                    </a:lnTo>
                    <a:lnTo>
                      <a:pt x="4304" y="215"/>
                    </a:lnTo>
                    <a:lnTo>
                      <a:pt x="4345" y="247"/>
                    </a:lnTo>
                    <a:lnTo>
                      <a:pt x="4385" y="281"/>
                    </a:lnTo>
                    <a:lnTo>
                      <a:pt x="4422" y="318"/>
                    </a:lnTo>
                    <a:lnTo>
                      <a:pt x="4458" y="356"/>
                    </a:lnTo>
                    <a:lnTo>
                      <a:pt x="4492" y="395"/>
                    </a:lnTo>
                    <a:lnTo>
                      <a:pt x="4525" y="436"/>
                    </a:lnTo>
                    <a:lnTo>
                      <a:pt x="4555" y="479"/>
                    </a:lnTo>
                    <a:lnTo>
                      <a:pt x="4583" y="523"/>
                    </a:lnTo>
                    <a:lnTo>
                      <a:pt x="4609" y="568"/>
                    </a:lnTo>
                    <a:lnTo>
                      <a:pt x="4633" y="614"/>
                    </a:lnTo>
                    <a:lnTo>
                      <a:pt x="4655" y="662"/>
                    </a:lnTo>
                    <a:lnTo>
                      <a:pt x="4675" y="712"/>
                    </a:lnTo>
                    <a:lnTo>
                      <a:pt x="4692" y="763"/>
                    </a:lnTo>
                    <a:lnTo>
                      <a:pt x="4706" y="814"/>
                    </a:lnTo>
                    <a:lnTo>
                      <a:pt x="4719" y="866"/>
                    </a:lnTo>
                    <a:lnTo>
                      <a:pt x="4728" y="919"/>
                    </a:lnTo>
                    <a:lnTo>
                      <a:pt x="4735" y="973"/>
                    </a:lnTo>
                    <a:lnTo>
                      <a:pt x="4740" y="1028"/>
                    </a:lnTo>
                    <a:lnTo>
                      <a:pt x="4741" y="1084"/>
                    </a:lnTo>
                    <a:lnTo>
                      <a:pt x="4741" y="14059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65000">
                    <a:schemeClr val="bg1">
                      <a:alpha val="0"/>
                    </a:schemeClr>
                  </a:gs>
                  <a:gs pos="0">
                    <a:schemeClr val="bg1">
                      <a:alpha val="50000"/>
                    </a:schemeClr>
                  </a:gs>
                </a:gsLst>
                <a:lin ang="540000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53" name="Freeform 27"/>
              <p:cNvSpPr>
                <a:spLocks/>
              </p:cNvSpPr>
              <p:nvPr/>
            </p:nvSpPr>
            <p:spPr bwMode="auto">
              <a:xfrm>
                <a:off x="3000179" y="531778"/>
                <a:ext cx="430185" cy="88894"/>
              </a:xfrm>
              <a:custGeom>
                <a:avLst/>
                <a:gdLst>
                  <a:gd name="T0" fmla="*/ 1456 w 1626"/>
                  <a:gd name="T1" fmla="*/ 0 h 338"/>
                  <a:gd name="T2" fmla="*/ 1490 w 1626"/>
                  <a:gd name="T3" fmla="*/ 3 h 338"/>
                  <a:gd name="T4" fmla="*/ 1522 w 1626"/>
                  <a:gd name="T5" fmla="*/ 12 h 338"/>
                  <a:gd name="T6" fmla="*/ 1550 w 1626"/>
                  <a:gd name="T7" fmla="*/ 28 h 338"/>
                  <a:gd name="T8" fmla="*/ 1576 w 1626"/>
                  <a:gd name="T9" fmla="*/ 49 h 338"/>
                  <a:gd name="T10" fmla="*/ 1597 w 1626"/>
                  <a:gd name="T11" fmla="*/ 74 h 338"/>
                  <a:gd name="T12" fmla="*/ 1612 w 1626"/>
                  <a:gd name="T13" fmla="*/ 104 h 338"/>
                  <a:gd name="T14" fmla="*/ 1622 w 1626"/>
                  <a:gd name="T15" fmla="*/ 135 h 338"/>
                  <a:gd name="T16" fmla="*/ 1626 w 1626"/>
                  <a:gd name="T17" fmla="*/ 169 h 338"/>
                  <a:gd name="T18" fmla="*/ 1625 w 1626"/>
                  <a:gd name="T19" fmla="*/ 187 h 338"/>
                  <a:gd name="T20" fmla="*/ 1618 w 1626"/>
                  <a:gd name="T21" fmla="*/ 220 h 338"/>
                  <a:gd name="T22" fmla="*/ 1605 w 1626"/>
                  <a:gd name="T23" fmla="*/ 249 h 338"/>
                  <a:gd name="T24" fmla="*/ 1587 w 1626"/>
                  <a:gd name="T25" fmla="*/ 277 h 338"/>
                  <a:gd name="T26" fmla="*/ 1564 w 1626"/>
                  <a:gd name="T27" fmla="*/ 300 h 338"/>
                  <a:gd name="T28" fmla="*/ 1537 w 1626"/>
                  <a:gd name="T29" fmla="*/ 318 h 338"/>
                  <a:gd name="T30" fmla="*/ 1506 w 1626"/>
                  <a:gd name="T31" fmla="*/ 330 h 338"/>
                  <a:gd name="T32" fmla="*/ 1474 w 1626"/>
                  <a:gd name="T33" fmla="*/ 337 h 338"/>
                  <a:gd name="T34" fmla="*/ 170 w 1626"/>
                  <a:gd name="T35" fmla="*/ 338 h 338"/>
                  <a:gd name="T36" fmla="*/ 136 w 1626"/>
                  <a:gd name="T37" fmla="*/ 335 h 338"/>
                  <a:gd name="T38" fmla="*/ 104 w 1626"/>
                  <a:gd name="T39" fmla="*/ 325 h 338"/>
                  <a:gd name="T40" fmla="*/ 76 w 1626"/>
                  <a:gd name="T41" fmla="*/ 310 h 338"/>
                  <a:gd name="T42" fmla="*/ 51 w 1626"/>
                  <a:gd name="T43" fmla="*/ 288 h 338"/>
                  <a:gd name="T44" fmla="*/ 30 w 1626"/>
                  <a:gd name="T45" fmla="*/ 263 h 338"/>
                  <a:gd name="T46" fmla="*/ 14 w 1626"/>
                  <a:gd name="T47" fmla="*/ 235 h 338"/>
                  <a:gd name="T48" fmla="*/ 4 w 1626"/>
                  <a:gd name="T49" fmla="*/ 203 h 338"/>
                  <a:gd name="T50" fmla="*/ 0 w 1626"/>
                  <a:gd name="T51" fmla="*/ 169 h 338"/>
                  <a:gd name="T52" fmla="*/ 1 w 1626"/>
                  <a:gd name="T53" fmla="*/ 151 h 338"/>
                  <a:gd name="T54" fmla="*/ 8 w 1626"/>
                  <a:gd name="T55" fmla="*/ 118 h 338"/>
                  <a:gd name="T56" fmla="*/ 21 w 1626"/>
                  <a:gd name="T57" fmla="*/ 89 h 338"/>
                  <a:gd name="T58" fmla="*/ 39 w 1626"/>
                  <a:gd name="T59" fmla="*/ 61 h 338"/>
                  <a:gd name="T60" fmla="*/ 62 w 1626"/>
                  <a:gd name="T61" fmla="*/ 39 h 338"/>
                  <a:gd name="T62" fmla="*/ 89 w 1626"/>
                  <a:gd name="T63" fmla="*/ 20 h 338"/>
                  <a:gd name="T64" fmla="*/ 120 w 1626"/>
                  <a:gd name="T65" fmla="*/ 7 h 338"/>
                  <a:gd name="T66" fmla="*/ 153 w 1626"/>
                  <a:gd name="T67" fmla="*/ 1 h 3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626" h="338">
                    <a:moveTo>
                      <a:pt x="170" y="0"/>
                    </a:moveTo>
                    <a:lnTo>
                      <a:pt x="1456" y="0"/>
                    </a:lnTo>
                    <a:lnTo>
                      <a:pt x="1474" y="1"/>
                    </a:lnTo>
                    <a:lnTo>
                      <a:pt x="1490" y="3"/>
                    </a:lnTo>
                    <a:lnTo>
                      <a:pt x="1506" y="7"/>
                    </a:lnTo>
                    <a:lnTo>
                      <a:pt x="1522" y="12"/>
                    </a:lnTo>
                    <a:lnTo>
                      <a:pt x="1537" y="20"/>
                    </a:lnTo>
                    <a:lnTo>
                      <a:pt x="1550" y="28"/>
                    </a:lnTo>
                    <a:lnTo>
                      <a:pt x="1564" y="39"/>
                    </a:lnTo>
                    <a:lnTo>
                      <a:pt x="1576" y="49"/>
                    </a:lnTo>
                    <a:lnTo>
                      <a:pt x="1587" y="61"/>
                    </a:lnTo>
                    <a:lnTo>
                      <a:pt x="1597" y="74"/>
                    </a:lnTo>
                    <a:lnTo>
                      <a:pt x="1605" y="89"/>
                    </a:lnTo>
                    <a:lnTo>
                      <a:pt x="1612" y="104"/>
                    </a:lnTo>
                    <a:lnTo>
                      <a:pt x="1618" y="118"/>
                    </a:lnTo>
                    <a:lnTo>
                      <a:pt x="1622" y="135"/>
                    </a:lnTo>
                    <a:lnTo>
                      <a:pt x="1625" y="151"/>
                    </a:lnTo>
                    <a:lnTo>
                      <a:pt x="1626" y="169"/>
                    </a:lnTo>
                    <a:lnTo>
                      <a:pt x="1626" y="169"/>
                    </a:lnTo>
                    <a:lnTo>
                      <a:pt x="1625" y="187"/>
                    </a:lnTo>
                    <a:lnTo>
                      <a:pt x="1622" y="203"/>
                    </a:lnTo>
                    <a:lnTo>
                      <a:pt x="1618" y="220"/>
                    </a:lnTo>
                    <a:lnTo>
                      <a:pt x="1612" y="235"/>
                    </a:lnTo>
                    <a:lnTo>
                      <a:pt x="1605" y="249"/>
                    </a:lnTo>
                    <a:lnTo>
                      <a:pt x="1597" y="263"/>
                    </a:lnTo>
                    <a:lnTo>
                      <a:pt x="1587" y="277"/>
                    </a:lnTo>
                    <a:lnTo>
                      <a:pt x="1576" y="288"/>
                    </a:lnTo>
                    <a:lnTo>
                      <a:pt x="1564" y="300"/>
                    </a:lnTo>
                    <a:lnTo>
                      <a:pt x="1550" y="310"/>
                    </a:lnTo>
                    <a:lnTo>
                      <a:pt x="1537" y="318"/>
                    </a:lnTo>
                    <a:lnTo>
                      <a:pt x="1522" y="325"/>
                    </a:lnTo>
                    <a:lnTo>
                      <a:pt x="1506" y="330"/>
                    </a:lnTo>
                    <a:lnTo>
                      <a:pt x="1490" y="335"/>
                    </a:lnTo>
                    <a:lnTo>
                      <a:pt x="1474" y="337"/>
                    </a:lnTo>
                    <a:lnTo>
                      <a:pt x="1456" y="338"/>
                    </a:lnTo>
                    <a:lnTo>
                      <a:pt x="170" y="338"/>
                    </a:lnTo>
                    <a:lnTo>
                      <a:pt x="153" y="337"/>
                    </a:lnTo>
                    <a:lnTo>
                      <a:pt x="136" y="335"/>
                    </a:lnTo>
                    <a:lnTo>
                      <a:pt x="120" y="330"/>
                    </a:lnTo>
                    <a:lnTo>
                      <a:pt x="104" y="325"/>
                    </a:lnTo>
                    <a:lnTo>
                      <a:pt x="89" y="318"/>
                    </a:lnTo>
                    <a:lnTo>
                      <a:pt x="76" y="310"/>
                    </a:lnTo>
                    <a:lnTo>
                      <a:pt x="62" y="300"/>
                    </a:lnTo>
                    <a:lnTo>
                      <a:pt x="51" y="288"/>
                    </a:lnTo>
                    <a:lnTo>
                      <a:pt x="39" y="277"/>
                    </a:lnTo>
                    <a:lnTo>
                      <a:pt x="30" y="263"/>
                    </a:lnTo>
                    <a:lnTo>
                      <a:pt x="21" y="249"/>
                    </a:lnTo>
                    <a:lnTo>
                      <a:pt x="14" y="235"/>
                    </a:lnTo>
                    <a:lnTo>
                      <a:pt x="8" y="220"/>
                    </a:lnTo>
                    <a:lnTo>
                      <a:pt x="4" y="203"/>
                    </a:lnTo>
                    <a:lnTo>
                      <a:pt x="1" y="187"/>
                    </a:lnTo>
                    <a:lnTo>
                      <a:pt x="0" y="169"/>
                    </a:lnTo>
                    <a:lnTo>
                      <a:pt x="0" y="169"/>
                    </a:lnTo>
                    <a:lnTo>
                      <a:pt x="1" y="151"/>
                    </a:lnTo>
                    <a:lnTo>
                      <a:pt x="4" y="135"/>
                    </a:lnTo>
                    <a:lnTo>
                      <a:pt x="8" y="118"/>
                    </a:lnTo>
                    <a:lnTo>
                      <a:pt x="14" y="104"/>
                    </a:lnTo>
                    <a:lnTo>
                      <a:pt x="21" y="89"/>
                    </a:lnTo>
                    <a:lnTo>
                      <a:pt x="30" y="74"/>
                    </a:lnTo>
                    <a:lnTo>
                      <a:pt x="39" y="61"/>
                    </a:lnTo>
                    <a:lnTo>
                      <a:pt x="51" y="49"/>
                    </a:lnTo>
                    <a:lnTo>
                      <a:pt x="62" y="39"/>
                    </a:lnTo>
                    <a:lnTo>
                      <a:pt x="76" y="28"/>
                    </a:lnTo>
                    <a:lnTo>
                      <a:pt x="89" y="20"/>
                    </a:lnTo>
                    <a:lnTo>
                      <a:pt x="104" y="12"/>
                    </a:lnTo>
                    <a:lnTo>
                      <a:pt x="120" y="7"/>
                    </a:lnTo>
                    <a:lnTo>
                      <a:pt x="136" y="3"/>
                    </a:lnTo>
                    <a:lnTo>
                      <a:pt x="153" y="1"/>
                    </a:lnTo>
                    <a:lnTo>
                      <a:pt x="170" y="0"/>
                    </a:lnTo>
                    <a:close/>
                  </a:path>
                </a:pathLst>
              </a:custGeom>
              <a:gradFill flip="none" rotWithShape="1">
                <a:gsLst>
                  <a:gs pos="100000">
                    <a:srgbClr val="060606"/>
                  </a:gs>
                  <a:gs pos="62000">
                    <a:srgbClr val="3C3C3C"/>
                  </a:gs>
                  <a:gs pos="45000">
                    <a:schemeClr val="tx1">
                      <a:lumMod val="75000"/>
                      <a:lumOff val="25000"/>
                    </a:schemeClr>
                  </a:gs>
                  <a:gs pos="0">
                    <a:schemeClr val="tx1"/>
                  </a:gs>
                </a:gsLst>
                <a:lin ang="540000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54" name="Freeform 28"/>
              <p:cNvSpPr>
                <a:spLocks/>
              </p:cNvSpPr>
              <p:nvPr/>
            </p:nvSpPr>
            <p:spPr bwMode="auto">
              <a:xfrm>
                <a:off x="3025576" y="546063"/>
                <a:ext cx="379388" cy="52385"/>
              </a:xfrm>
              <a:custGeom>
                <a:avLst/>
                <a:gdLst>
                  <a:gd name="T0" fmla="*/ 1360 w 1434"/>
                  <a:gd name="T1" fmla="*/ 0 h 200"/>
                  <a:gd name="T2" fmla="*/ 1375 w 1434"/>
                  <a:gd name="T3" fmla="*/ 3 h 200"/>
                  <a:gd name="T4" fmla="*/ 1388 w 1434"/>
                  <a:gd name="T5" fmla="*/ 6 h 200"/>
                  <a:gd name="T6" fmla="*/ 1401 w 1434"/>
                  <a:gd name="T7" fmla="*/ 13 h 200"/>
                  <a:gd name="T8" fmla="*/ 1412 w 1434"/>
                  <a:gd name="T9" fmla="*/ 22 h 200"/>
                  <a:gd name="T10" fmla="*/ 1421 w 1434"/>
                  <a:gd name="T11" fmla="*/ 33 h 200"/>
                  <a:gd name="T12" fmla="*/ 1428 w 1434"/>
                  <a:gd name="T13" fmla="*/ 46 h 200"/>
                  <a:gd name="T14" fmla="*/ 1433 w 1434"/>
                  <a:gd name="T15" fmla="*/ 60 h 200"/>
                  <a:gd name="T16" fmla="*/ 1434 w 1434"/>
                  <a:gd name="T17" fmla="*/ 75 h 200"/>
                  <a:gd name="T18" fmla="*/ 1434 w 1434"/>
                  <a:gd name="T19" fmla="*/ 134 h 200"/>
                  <a:gd name="T20" fmla="*/ 1430 w 1434"/>
                  <a:gd name="T21" fmla="*/ 147 h 200"/>
                  <a:gd name="T22" fmla="*/ 1425 w 1434"/>
                  <a:gd name="T23" fmla="*/ 161 h 200"/>
                  <a:gd name="T24" fmla="*/ 1417 w 1434"/>
                  <a:gd name="T25" fmla="*/ 172 h 200"/>
                  <a:gd name="T26" fmla="*/ 1407 w 1434"/>
                  <a:gd name="T27" fmla="*/ 183 h 200"/>
                  <a:gd name="T28" fmla="*/ 1395 w 1434"/>
                  <a:gd name="T29" fmla="*/ 191 h 200"/>
                  <a:gd name="T30" fmla="*/ 1381 w 1434"/>
                  <a:gd name="T31" fmla="*/ 196 h 200"/>
                  <a:gd name="T32" fmla="*/ 1367 w 1434"/>
                  <a:gd name="T33" fmla="*/ 200 h 200"/>
                  <a:gd name="T34" fmla="*/ 75 w 1434"/>
                  <a:gd name="T35" fmla="*/ 200 h 200"/>
                  <a:gd name="T36" fmla="*/ 59 w 1434"/>
                  <a:gd name="T37" fmla="*/ 199 h 200"/>
                  <a:gd name="T38" fmla="*/ 46 w 1434"/>
                  <a:gd name="T39" fmla="*/ 194 h 200"/>
                  <a:gd name="T40" fmla="*/ 33 w 1434"/>
                  <a:gd name="T41" fmla="*/ 187 h 200"/>
                  <a:gd name="T42" fmla="*/ 22 w 1434"/>
                  <a:gd name="T43" fmla="*/ 178 h 200"/>
                  <a:gd name="T44" fmla="*/ 13 w 1434"/>
                  <a:gd name="T45" fmla="*/ 167 h 200"/>
                  <a:gd name="T46" fmla="*/ 6 w 1434"/>
                  <a:gd name="T47" fmla="*/ 154 h 200"/>
                  <a:gd name="T48" fmla="*/ 2 w 1434"/>
                  <a:gd name="T49" fmla="*/ 140 h 200"/>
                  <a:gd name="T50" fmla="*/ 0 w 1434"/>
                  <a:gd name="T51" fmla="*/ 126 h 200"/>
                  <a:gd name="T52" fmla="*/ 1 w 1434"/>
                  <a:gd name="T53" fmla="*/ 68 h 200"/>
                  <a:gd name="T54" fmla="*/ 4 w 1434"/>
                  <a:gd name="T55" fmla="*/ 53 h 200"/>
                  <a:gd name="T56" fmla="*/ 9 w 1434"/>
                  <a:gd name="T57" fmla="*/ 39 h 200"/>
                  <a:gd name="T58" fmla="*/ 17 w 1434"/>
                  <a:gd name="T59" fmla="*/ 28 h 200"/>
                  <a:gd name="T60" fmla="*/ 28 w 1434"/>
                  <a:gd name="T61" fmla="*/ 17 h 200"/>
                  <a:gd name="T62" fmla="*/ 40 w 1434"/>
                  <a:gd name="T63" fmla="*/ 9 h 200"/>
                  <a:gd name="T64" fmla="*/ 53 w 1434"/>
                  <a:gd name="T65" fmla="*/ 4 h 200"/>
                  <a:gd name="T66" fmla="*/ 67 w 1434"/>
                  <a:gd name="T67" fmla="*/ 1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434" h="200">
                    <a:moveTo>
                      <a:pt x="75" y="0"/>
                    </a:moveTo>
                    <a:lnTo>
                      <a:pt x="1360" y="0"/>
                    </a:lnTo>
                    <a:lnTo>
                      <a:pt x="1367" y="1"/>
                    </a:lnTo>
                    <a:lnTo>
                      <a:pt x="1375" y="3"/>
                    </a:lnTo>
                    <a:lnTo>
                      <a:pt x="1381" y="4"/>
                    </a:lnTo>
                    <a:lnTo>
                      <a:pt x="1388" y="6"/>
                    </a:lnTo>
                    <a:lnTo>
                      <a:pt x="1395" y="9"/>
                    </a:lnTo>
                    <a:lnTo>
                      <a:pt x="1401" y="13"/>
                    </a:lnTo>
                    <a:lnTo>
                      <a:pt x="1407" y="17"/>
                    </a:lnTo>
                    <a:lnTo>
                      <a:pt x="1412" y="22"/>
                    </a:lnTo>
                    <a:lnTo>
                      <a:pt x="1417" y="28"/>
                    </a:lnTo>
                    <a:lnTo>
                      <a:pt x="1421" y="33"/>
                    </a:lnTo>
                    <a:lnTo>
                      <a:pt x="1425" y="39"/>
                    </a:lnTo>
                    <a:lnTo>
                      <a:pt x="1428" y="46"/>
                    </a:lnTo>
                    <a:lnTo>
                      <a:pt x="1430" y="53"/>
                    </a:lnTo>
                    <a:lnTo>
                      <a:pt x="1433" y="60"/>
                    </a:lnTo>
                    <a:lnTo>
                      <a:pt x="1434" y="68"/>
                    </a:lnTo>
                    <a:lnTo>
                      <a:pt x="1434" y="75"/>
                    </a:lnTo>
                    <a:lnTo>
                      <a:pt x="1434" y="126"/>
                    </a:lnTo>
                    <a:lnTo>
                      <a:pt x="1434" y="134"/>
                    </a:lnTo>
                    <a:lnTo>
                      <a:pt x="1433" y="140"/>
                    </a:lnTo>
                    <a:lnTo>
                      <a:pt x="1430" y="147"/>
                    </a:lnTo>
                    <a:lnTo>
                      <a:pt x="1428" y="154"/>
                    </a:lnTo>
                    <a:lnTo>
                      <a:pt x="1425" y="161"/>
                    </a:lnTo>
                    <a:lnTo>
                      <a:pt x="1421" y="167"/>
                    </a:lnTo>
                    <a:lnTo>
                      <a:pt x="1417" y="172"/>
                    </a:lnTo>
                    <a:lnTo>
                      <a:pt x="1412" y="178"/>
                    </a:lnTo>
                    <a:lnTo>
                      <a:pt x="1407" y="183"/>
                    </a:lnTo>
                    <a:lnTo>
                      <a:pt x="1401" y="187"/>
                    </a:lnTo>
                    <a:lnTo>
                      <a:pt x="1395" y="191"/>
                    </a:lnTo>
                    <a:lnTo>
                      <a:pt x="1388" y="194"/>
                    </a:lnTo>
                    <a:lnTo>
                      <a:pt x="1381" y="196"/>
                    </a:lnTo>
                    <a:lnTo>
                      <a:pt x="1375" y="199"/>
                    </a:lnTo>
                    <a:lnTo>
                      <a:pt x="1367" y="200"/>
                    </a:lnTo>
                    <a:lnTo>
                      <a:pt x="1360" y="200"/>
                    </a:lnTo>
                    <a:lnTo>
                      <a:pt x="75" y="200"/>
                    </a:lnTo>
                    <a:lnTo>
                      <a:pt x="67" y="200"/>
                    </a:lnTo>
                    <a:lnTo>
                      <a:pt x="59" y="199"/>
                    </a:lnTo>
                    <a:lnTo>
                      <a:pt x="53" y="196"/>
                    </a:lnTo>
                    <a:lnTo>
                      <a:pt x="46" y="194"/>
                    </a:lnTo>
                    <a:lnTo>
                      <a:pt x="40" y="191"/>
                    </a:lnTo>
                    <a:lnTo>
                      <a:pt x="33" y="187"/>
                    </a:lnTo>
                    <a:lnTo>
                      <a:pt x="28" y="183"/>
                    </a:lnTo>
                    <a:lnTo>
                      <a:pt x="22" y="178"/>
                    </a:lnTo>
                    <a:lnTo>
                      <a:pt x="17" y="172"/>
                    </a:lnTo>
                    <a:lnTo>
                      <a:pt x="13" y="167"/>
                    </a:lnTo>
                    <a:lnTo>
                      <a:pt x="9" y="161"/>
                    </a:lnTo>
                    <a:lnTo>
                      <a:pt x="6" y="154"/>
                    </a:lnTo>
                    <a:lnTo>
                      <a:pt x="4" y="147"/>
                    </a:lnTo>
                    <a:lnTo>
                      <a:pt x="2" y="140"/>
                    </a:lnTo>
                    <a:lnTo>
                      <a:pt x="1" y="134"/>
                    </a:lnTo>
                    <a:lnTo>
                      <a:pt x="0" y="126"/>
                    </a:lnTo>
                    <a:lnTo>
                      <a:pt x="0" y="75"/>
                    </a:lnTo>
                    <a:lnTo>
                      <a:pt x="1" y="68"/>
                    </a:lnTo>
                    <a:lnTo>
                      <a:pt x="2" y="60"/>
                    </a:lnTo>
                    <a:lnTo>
                      <a:pt x="4" y="53"/>
                    </a:lnTo>
                    <a:lnTo>
                      <a:pt x="6" y="46"/>
                    </a:lnTo>
                    <a:lnTo>
                      <a:pt x="9" y="39"/>
                    </a:lnTo>
                    <a:lnTo>
                      <a:pt x="13" y="33"/>
                    </a:lnTo>
                    <a:lnTo>
                      <a:pt x="17" y="28"/>
                    </a:lnTo>
                    <a:lnTo>
                      <a:pt x="22" y="22"/>
                    </a:lnTo>
                    <a:lnTo>
                      <a:pt x="28" y="17"/>
                    </a:lnTo>
                    <a:lnTo>
                      <a:pt x="33" y="13"/>
                    </a:lnTo>
                    <a:lnTo>
                      <a:pt x="40" y="9"/>
                    </a:lnTo>
                    <a:lnTo>
                      <a:pt x="46" y="6"/>
                    </a:lnTo>
                    <a:lnTo>
                      <a:pt x="53" y="4"/>
                    </a:lnTo>
                    <a:lnTo>
                      <a:pt x="59" y="3"/>
                    </a:lnTo>
                    <a:lnTo>
                      <a:pt x="67" y="1"/>
                    </a:lnTo>
                    <a:lnTo>
                      <a:pt x="75" y="0"/>
                    </a:lnTo>
                    <a:close/>
                  </a:path>
                </a:pathLst>
              </a:custGeom>
              <a:pattFill prst="pct60">
                <a:fgClr>
                  <a:schemeClr val="tx1">
                    <a:lumMod val="65000"/>
                    <a:lumOff val="35000"/>
                  </a:schemeClr>
                </a:fgClr>
                <a:bgClr>
                  <a:schemeClr val="tx1">
                    <a:lumMod val="85000"/>
                    <a:lumOff val="15000"/>
                  </a:schemeClr>
                </a:bgClr>
              </a:patt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55" name="Freeform 29"/>
              <p:cNvSpPr>
                <a:spLocks/>
              </p:cNvSpPr>
              <p:nvPr/>
            </p:nvSpPr>
            <p:spPr bwMode="auto">
              <a:xfrm>
                <a:off x="3173201" y="353990"/>
                <a:ext cx="92069" cy="90482"/>
              </a:xfrm>
              <a:custGeom>
                <a:avLst/>
                <a:gdLst>
                  <a:gd name="T0" fmla="*/ 189 w 345"/>
                  <a:gd name="T1" fmla="*/ 1 h 344"/>
                  <a:gd name="T2" fmla="*/ 224 w 345"/>
                  <a:gd name="T3" fmla="*/ 8 h 344"/>
                  <a:gd name="T4" fmla="*/ 254 w 345"/>
                  <a:gd name="T5" fmla="*/ 21 h 344"/>
                  <a:gd name="T6" fmla="*/ 282 w 345"/>
                  <a:gd name="T7" fmla="*/ 39 h 344"/>
                  <a:gd name="T8" fmla="*/ 305 w 345"/>
                  <a:gd name="T9" fmla="*/ 63 h 344"/>
                  <a:gd name="T10" fmla="*/ 324 w 345"/>
                  <a:gd name="T11" fmla="*/ 90 h 344"/>
                  <a:gd name="T12" fmla="*/ 337 w 345"/>
                  <a:gd name="T13" fmla="*/ 121 h 344"/>
                  <a:gd name="T14" fmla="*/ 343 w 345"/>
                  <a:gd name="T15" fmla="*/ 154 h 344"/>
                  <a:gd name="T16" fmla="*/ 343 w 345"/>
                  <a:gd name="T17" fmla="*/ 189 h 344"/>
                  <a:gd name="T18" fmla="*/ 337 w 345"/>
                  <a:gd name="T19" fmla="*/ 224 h 344"/>
                  <a:gd name="T20" fmla="*/ 324 w 345"/>
                  <a:gd name="T21" fmla="*/ 254 h 344"/>
                  <a:gd name="T22" fmla="*/ 305 w 345"/>
                  <a:gd name="T23" fmla="*/ 282 h 344"/>
                  <a:gd name="T24" fmla="*/ 282 w 345"/>
                  <a:gd name="T25" fmla="*/ 304 h 344"/>
                  <a:gd name="T26" fmla="*/ 254 w 345"/>
                  <a:gd name="T27" fmla="*/ 324 h 344"/>
                  <a:gd name="T28" fmla="*/ 224 w 345"/>
                  <a:gd name="T29" fmla="*/ 336 h 344"/>
                  <a:gd name="T30" fmla="*/ 189 w 345"/>
                  <a:gd name="T31" fmla="*/ 343 h 344"/>
                  <a:gd name="T32" fmla="*/ 155 w 345"/>
                  <a:gd name="T33" fmla="*/ 343 h 344"/>
                  <a:gd name="T34" fmla="*/ 121 w 345"/>
                  <a:gd name="T35" fmla="*/ 336 h 344"/>
                  <a:gd name="T36" fmla="*/ 90 w 345"/>
                  <a:gd name="T37" fmla="*/ 324 h 344"/>
                  <a:gd name="T38" fmla="*/ 63 w 345"/>
                  <a:gd name="T39" fmla="*/ 304 h 344"/>
                  <a:gd name="T40" fmla="*/ 39 w 345"/>
                  <a:gd name="T41" fmla="*/ 282 h 344"/>
                  <a:gd name="T42" fmla="*/ 21 w 345"/>
                  <a:gd name="T43" fmla="*/ 254 h 344"/>
                  <a:gd name="T44" fmla="*/ 8 w 345"/>
                  <a:gd name="T45" fmla="*/ 224 h 344"/>
                  <a:gd name="T46" fmla="*/ 1 w 345"/>
                  <a:gd name="T47" fmla="*/ 189 h 344"/>
                  <a:gd name="T48" fmla="*/ 1 w 345"/>
                  <a:gd name="T49" fmla="*/ 154 h 344"/>
                  <a:gd name="T50" fmla="*/ 8 w 345"/>
                  <a:gd name="T51" fmla="*/ 121 h 344"/>
                  <a:gd name="T52" fmla="*/ 21 w 345"/>
                  <a:gd name="T53" fmla="*/ 90 h 344"/>
                  <a:gd name="T54" fmla="*/ 39 w 345"/>
                  <a:gd name="T55" fmla="*/ 63 h 344"/>
                  <a:gd name="T56" fmla="*/ 63 w 345"/>
                  <a:gd name="T57" fmla="*/ 39 h 344"/>
                  <a:gd name="T58" fmla="*/ 90 w 345"/>
                  <a:gd name="T59" fmla="*/ 21 h 344"/>
                  <a:gd name="T60" fmla="*/ 121 w 345"/>
                  <a:gd name="T61" fmla="*/ 8 h 344"/>
                  <a:gd name="T62" fmla="*/ 155 w 345"/>
                  <a:gd name="T63" fmla="*/ 1 h 3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345" h="344">
                    <a:moveTo>
                      <a:pt x="172" y="0"/>
                    </a:moveTo>
                    <a:lnTo>
                      <a:pt x="189" y="1"/>
                    </a:lnTo>
                    <a:lnTo>
                      <a:pt x="207" y="3"/>
                    </a:lnTo>
                    <a:lnTo>
                      <a:pt x="224" y="8"/>
                    </a:lnTo>
                    <a:lnTo>
                      <a:pt x="240" y="14"/>
                    </a:lnTo>
                    <a:lnTo>
                      <a:pt x="254" y="21"/>
                    </a:lnTo>
                    <a:lnTo>
                      <a:pt x="268" y="30"/>
                    </a:lnTo>
                    <a:lnTo>
                      <a:pt x="282" y="39"/>
                    </a:lnTo>
                    <a:lnTo>
                      <a:pt x="294" y="50"/>
                    </a:lnTo>
                    <a:lnTo>
                      <a:pt x="305" y="63"/>
                    </a:lnTo>
                    <a:lnTo>
                      <a:pt x="315" y="75"/>
                    </a:lnTo>
                    <a:lnTo>
                      <a:pt x="324" y="90"/>
                    </a:lnTo>
                    <a:lnTo>
                      <a:pt x="331" y="105"/>
                    </a:lnTo>
                    <a:lnTo>
                      <a:pt x="337" y="121"/>
                    </a:lnTo>
                    <a:lnTo>
                      <a:pt x="341" y="137"/>
                    </a:lnTo>
                    <a:lnTo>
                      <a:pt x="343" y="154"/>
                    </a:lnTo>
                    <a:lnTo>
                      <a:pt x="345" y="172"/>
                    </a:lnTo>
                    <a:lnTo>
                      <a:pt x="343" y="189"/>
                    </a:lnTo>
                    <a:lnTo>
                      <a:pt x="341" y="206"/>
                    </a:lnTo>
                    <a:lnTo>
                      <a:pt x="337" y="224"/>
                    </a:lnTo>
                    <a:lnTo>
                      <a:pt x="331" y="239"/>
                    </a:lnTo>
                    <a:lnTo>
                      <a:pt x="324" y="254"/>
                    </a:lnTo>
                    <a:lnTo>
                      <a:pt x="315" y="268"/>
                    </a:lnTo>
                    <a:lnTo>
                      <a:pt x="305" y="282"/>
                    </a:lnTo>
                    <a:lnTo>
                      <a:pt x="294" y="294"/>
                    </a:lnTo>
                    <a:lnTo>
                      <a:pt x="282" y="304"/>
                    </a:lnTo>
                    <a:lnTo>
                      <a:pt x="268" y="315"/>
                    </a:lnTo>
                    <a:lnTo>
                      <a:pt x="254" y="324"/>
                    </a:lnTo>
                    <a:lnTo>
                      <a:pt x="240" y="331"/>
                    </a:lnTo>
                    <a:lnTo>
                      <a:pt x="224" y="336"/>
                    </a:lnTo>
                    <a:lnTo>
                      <a:pt x="207" y="341"/>
                    </a:lnTo>
                    <a:lnTo>
                      <a:pt x="189" y="343"/>
                    </a:lnTo>
                    <a:lnTo>
                      <a:pt x="172" y="344"/>
                    </a:lnTo>
                    <a:lnTo>
                      <a:pt x="155" y="343"/>
                    </a:lnTo>
                    <a:lnTo>
                      <a:pt x="138" y="341"/>
                    </a:lnTo>
                    <a:lnTo>
                      <a:pt x="121" y="336"/>
                    </a:lnTo>
                    <a:lnTo>
                      <a:pt x="105" y="331"/>
                    </a:lnTo>
                    <a:lnTo>
                      <a:pt x="90" y="324"/>
                    </a:lnTo>
                    <a:lnTo>
                      <a:pt x="76" y="315"/>
                    </a:lnTo>
                    <a:lnTo>
                      <a:pt x="63" y="304"/>
                    </a:lnTo>
                    <a:lnTo>
                      <a:pt x="50" y="294"/>
                    </a:lnTo>
                    <a:lnTo>
                      <a:pt x="39" y="282"/>
                    </a:lnTo>
                    <a:lnTo>
                      <a:pt x="30" y="268"/>
                    </a:lnTo>
                    <a:lnTo>
                      <a:pt x="21" y="254"/>
                    </a:lnTo>
                    <a:lnTo>
                      <a:pt x="14" y="239"/>
                    </a:lnTo>
                    <a:lnTo>
                      <a:pt x="8" y="224"/>
                    </a:lnTo>
                    <a:lnTo>
                      <a:pt x="3" y="206"/>
                    </a:lnTo>
                    <a:lnTo>
                      <a:pt x="1" y="189"/>
                    </a:lnTo>
                    <a:lnTo>
                      <a:pt x="0" y="172"/>
                    </a:lnTo>
                    <a:lnTo>
                      <a:pt x="1" y="154"/>
                    </a:lnTo>
                    <a:lnTo>
                      <a:pt x="3" y="137"/>
                    </a:lnTo>
                    <a:lnTo>
                      <a:pt x="8" y="121"/>
                    </a:lnTo>
                    <a:lnTo>
                      <a:pt x="14" y="105"/>
                    </a:lnTo>
                    <a:lnTo>
                      <a:pt x="21" y="90"/>
                    </a:lnTo>
                    <a:lnTo>
                      <a:pt x="30" y="75"/>
                    </a:lnTo>
                    <a:lnTo>
                      <a:pt x="39" y="63"/>
                    </a:lnTo>
                    <a:lnTo>
                      <a:pt x="50" y="50"/>
                    </a:lnTo>
                    <a:lnTo>
                      <a:pt x="63" y="39"/>
                    </a:lnTo>
                    <a:lnTo>
                      <a:pt x="76" y="30"/>
                    </a:lnTo>
                    <a:lnTo>
                      <a:pt x="90" y="21"/>
                    </a:lnTo>
                    <a:lnTo>
                      <a:pt x="105" y="14"/>
                    </a:lnTo>
                    <a:lnTo>
                      <a:pt x="121" y="8"/>
                    </a:lnTo>
                    <a:lnTo>
                      <a:pt x="138" y="3"/>
                    </a:lnTo>
                    <a:lnTo>
                      <a:pt x="155" y="1"/>
                    </a:lnTo>
                    <a:lnTo>
                      <a:pt x="172" y="0"/>
                    </a:lnTo>
                    <a:close/>
                  </a:path>
                </a:pathLst>
              </a:custGeom>
              <a:gradFill flip="none" rotWithShape="1">
                <a:gsLst>
                  <a:gs pos="65000">
                    <a:schemeClr val="tx1">
                      <a:lumMod val="75000"/>
                      <a:lumOff val="25000"/>
                    </a:schemeClr>
                  </a:gs>
                  <a:gs pos="0">
                    <a:schemeClr val="tx1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56" name="Freeform 30"/>
              <p:cNvSpPr>
                <a:spLocks/>
              </p:cNvSpPr>
              <p:nvPr/>
            </p:nvSpPr>
            <p:spPr bwMode="auto">
              <a:xfrm>
                <a:off x="3197034" y="376211"/>
                <a:ext cx="44447" cy="44447"/>
              </a:xfrm>
              <a:custGeom>
                <a:avLst/>
                <a:gdLst>
                  <a:gd name="T0" fmla="*/ 93 w 169"/>
                  <a:gd name="T1" fmla="*/ 0 h 169"/>
                  <a:gd name="T2" fmla="*/ 109 w 169"/>
                  <a:gd name="T3" fmla="*/ 3 h 169"/>
                  <a:gd name="T4" fmla="*/ 124 w 169"/>
                  <a:gd name="T5" fmla="*/ 10 h 169"/>
                  <a:gd name="T6" fmla="*/ 138 w 169"/>
                  <a:gd name="T7" fmla="*/ 19 h 169"/>
                  <a:gd name="T8" fmla="*/ 149 w 169"/>
                  <a:gd name="T9" fmla="*/ 31 h 169"/>
                  <a:gd name="T10" fmla="*/ 158 w 169"/>
                  <a:gd name="T11" fmla="*/ 43 h 169"/>
                  <a:gd name="T12" fmla="*/ 165 w 169"/>
                  <a:gd name="T13" fmla="*/ 59 h 169"/>
                  <a:gd name="T14" fmla="*/ 169 w 169"/>
                  <a:gd name="T15" fmla="*/ 75 h 169"/>
                  <a:gd name="T16" fmla="*/ 169 w 169"/>
                  <a:gd name="T17" fmla="*/ 92 h 169"/>
                  <a:gd name="T18" fmla="*/ 165 w 169"/>
                  <a:gd name="T19" fmla="*/ 109 h 169"/>
                  <a:gd name="T20" fmla="*/ 158 w 169"/>
                  <a:gd name="T21" fmla="*/ 124 h 169"/>
                  <a:gd name="T22" fmla="*/ 149 w 169"/>
                  <a:gd name="T23" fmla="*/ 138 h 169"/>
                  <a:gd name="T24" fmla="*/ 138 w 169"/>
                  <a:gd name="T25" fmla="*/ 149 h 169"/>
                  <a:gd name="T26" fmla="*/ 124 w 169"/>
                  <a:gd name="T27" fmla="*/ 158 h 169"/>
                  <a:gd name="T28" fmla="*/ 109 w 169"/>
                  <a:gd name="T29" fmla="*/ 165 h 169"/>
                  <a:gd name="T30" fmla="*/ 93 w 169"/>
                  <a:gd name="T31" fmla="*/ 169 h 169"/>
                  <a:gd name="T32" fmla="*/ 75 w 169"/>
                  <a:gd name="T33" fmla="*/ 169 h 169"/>
                  <a:gd name="T34" fmla="*/ 59 w 169"/>
                  <a:gd name="T35" fmla="*/ 165 h 169"/>
                  <a:gd name="T36" fmla="*/ 44 w 169"/>
                  <a:gd name="T37" fmla="*/ 158 h 169"/>
                  <a:gd name="T38" fmla="*/ 31 w 169"/>
                  <a:gd name="T39" fmla="*/ 149 h 169"/>
                  <a:gd name="T40" fmla="*/ 19 w 169"/>
                  <a:gd name="T41" fmla="*/ 138 h 169"/>
                  <a:gd name="T42" fmla="*/ 10 w 169"/>
                  <a:gd name="T43" fmla="*/ 124 h 169"/>
                  <a:gd name="T44" fmla="*/ 3 w 169"/>
                  <a:gd name="T45" fmla="*/ 109 h 169"/>
                  <a:gd name="T46" fmla="*/ 0 w 169"/>
                  <a:gd name="T47" fmla="*/ 92 h 169"/>
                  <a:gd name="T48" fmla="*/ 0 w 169"/>
                  <a:gd name="T49" fmla="*/ 75 h 169"/>
                  <a:gd name="T50" fmla="*/ 3 w 169"/>
                  <a:gd name="T51" fmla="*/ 59 h 169"/>
                  <a:gd name="T52" fmla="*/ 10 w 169"/>
                  <a:gd name="T53" fmla="*/ 43 h 169"/>
                  <a:gd name="T54" fmla="*/ 19 w 169"/>
                  <a:gd name="T55" fmla="*/ 31 h 169"/>
                  <a:gd name="T56" fmla="*/ 31 w 169"/>
                  <a:gd name="T57" fmla="*/ 19 h 169"/>
                  <a:gd name="T58" fmla="*/ 44 w 169"/>
                  <a:gd name="T59" fmla="*/ 10 h 169"/>
                  <a:gd name="T60" fmla="*/ 59 w 169"/>
                  <a:gd name="T61" fmla="*/ 3 h 169"/>
                  <a:gd name="T62" fmla="*/ 75 w 169"/>
                  <a:gd name="T63" fmla="*/ 0 h 1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69" h="169">
                    <a:moveTo>
                      <a:pt x="84" y="0"/>
                    </a:moveTo>
                    <a:lnTo>
                      <a:pt x="93" y="0"/>
                    </a:lnTo>
                    <a:lnTo>
                      <a:pt x="101" y="1"/>
                    </a:lnTo>
                    <a:lnTo>
                      <a:pt x="109" y="3"/>
                    </a:lnTo>
                    <a:lnTo>
                      <a:pt x="117" y="6"/>
                    </a:lnTo>
                    <a:lnTo>
                      <a:pt x="124" y="10"/>
                    </a:lnTo>
                    <a:lnTo>
                      <a:pt x="132" y="14"/>
                    </a:lnTo>
                    <a:lnTo>
                      <a:pt x="138" y="19"/>
                    </a:lnTo>
                    <a:lnTo>
                      <a:pt x="145" y="24"/>
                    </a:lnTo>
                    <a:lnTo>
                      <a:pt x="149" y="31"/>
                    </a:lnTo>
                    <a:lnTo>
                      <a:pt x="155" y="36"/>
                    </a:lnTo>
                    <a:lnTo>
                      <a:pt x="158" y="43"/>
                    </a:lnTo>
                    <a:lnTo>
                      <a:pt x="162" y="51"/>
                    </a:lnTo>
                    <a:lnTo>
                      <a:pt x="165" y="59"/>
                    </a:lnTo>
                    <a:lnTo>
                      <a:pt x="168" y="67"/>
                    </a:lnTo>
                    <a:lnTo>
                      <a:pt x="169" y="75"/>
                    </a:lnTo>
                    <a:lnTo>
                      <a:pt x="169" y="84"/>
                    </a:lnTo>
                    <a:lnTo>
                      <a:pt x="169" y="92"/>
                    </a:lnTo>
                    <a:lnTo>
                      <a:pt x="168" y="101"/>
                    </a:lnTo>
                    <a:lnTo>
                      <a:pt x="165" y="109"/>
                    </a:lnTo>
                    <a:lnTo>
                      <a:pt x="162" y="117"/>
                    </a:lnTo>
                    <a:lnTo>
                      <a:pt x="158" y="124"/>
                    </a:lnTo>
                    <a:lnTo>
                      <a:pt x="155" y="131"/>
                    </a:lnTo>
                    <a:lnTo>
                      <a:pt x="149" y="138"/>
                    </a:lnTo>
                    <a:lnTo>
                      <a:pt x="145" y="143"/>
                    </a:lnTo>
                    <a:lnTo>
                      <a:pt x="138" y="149"/>
                    </a:lnTo>
                    <a:lnTo>
                      <a:pt x="132" y="155"/>
                    </a:lnTo>
                    <a:lnTo>
                      <a:pt x="124" y="158"/>
                    </a:lnTo>
                    <a:lnTo>
                      <a:pt x="117" y="162"/>
                    </a:lnTo>
                    <a:lnTo>
                      <a:pt x="109" y="165"/>
                    </a:lnTo>
                    <a:lnTo>
                      <a:pt x="101" y="167"/>
                    </a:lnTo>
                    <a:lnTo>
                      <a:pt x="93" y="169"/>
                    </a:lnTo>
                    <a:lnTo>
                      <a:pt x="84" y="169"/>
                    </a:lnTo>
                    <a:lnTo>
                      <a:pt x="75" y="169"/>
                    </a:lnTo>
                    <a:lnTo>
                      <a:pt x="67" y="167"/>
                    </a:lnTo>
                    <a:lnTo>
                      <a:pt x="59" y="165"/>
                    </a:lnTo>
                    <a:lnTo>
                      <a:pt x="51" y="162"/>
                    </a:lnTo>
                    <a:lnTo>
                      <a:pt x="44" y="158"/>
                    </a:lnTo>
                    <a:lnTo>
                      <a:pt x="36" y="155"/>
                    </a:lnTo>
                    <a:lnTo>
                      <a:pt x="31" y="149"/>
                    </a:lnTo>
                    <a:lnTo>
                      <a:pt x="24" y="143"/>
                    </a:lnTo>
                    <a:lnTo>
                      <a:pt x="19" y="138"/>
                    </a:lnTo>
                    <a:lnTo>
                      <a:pt x="14" y="131"/>
                    </a:lnTo>
                    <a:lnTo>
                      <a:pt x="10" y="124"/>
                    </a:lnTo>
                    <a:lnTo>
                      <a:pt x="6" y="117"/>
                    </a:lnTo>
                    <a:lnTo>
                      <a:pt x="3" y="109"/>
                    </a:lnTo>
                    <a:lnTo>
                      <a:pt x="1" y="101"/>
                    </a:lnTo>
                    <a:lnTo>
                      <a:pt x="0" y="92"/>
                    </a:lnTo>
                    <a:lnTo>
                      <a:pt x="0" y="84"/>
                    </a:lnTo>
                    <a:lnTo>
                      <a:pt x="0" y="75"/>
                    </a:lnTo>
                    <a:lnTo>
                      <a:pt x="1" y="67"/>
                    </a:lnTo>
                    <a:lnTo>
                      <a:pt x="3" y="59"/>
                    </a:lnTo>
                    <a:lnTo>
                      <a:pt x="6" y="51"/>
                    </a:lnTo>
                    <a:lnTo>
                      <a:pt x="10" y="43"/>
                    </a:lnTo>
                    <a:lnTo>
                      <a:pt x="14" y="36"/>
                    </a:lnTo>
                    <a:lnTo>
                      <a:pt x="19" y="31"/>
                    </a:lnTo>
                    <a:lnTo>
                      <a:pt x="24" y="24"/>
                    </a:lnTo>
                    <a:lnTo>
                      <a:pt x="31" y="19"/>
                    </a:lnTo>
                    <a:lnTo>
                      <a:pt x="36" y="14"/>
                    </a:lnTo>
                    <a:lnTo>
                      <a:pt x="44" y="10"/>
                    </a:lnTo>
                    <a:lnTo>
                      <a:pt x="51" y="6"/>
                    </a:lnTo>
                    <a:lnTo>
                      <a:pt x="59" y="3"/>
                    </a:lnTo>
                    <a:lnTo>
                      <a:pt x="67" y="1"/>
                    </a:lnTo>
                    <a:lnTo>
                      <a:pt x="75" y="0"/>
                    </a:lnTo>
                    <a:lnTo>
                      <a:pt x="84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00B0F0"/>
                  </a:gs>
                  <a:gs pos="74000">
                    <a:srgbClr val="002060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57" name="Freeform 31"/>
              <p:cNvSpPr>
                <a:spLocks/>
              </p:cNvSpPr>
              <p:nvPr/>
            </p:nvSpPr>
            <p:spPr bwMode="auto">
              <a:xfrm>
                <a:off x="3203377" y="393675"/>
                <a:ext cx="12699" cy="12699"/>
              </a:xfrm>
              <a:custGeom>
                <a:avLst/>
                <a:gdLst>
                  <a:gd name="T0" fmla="*/ 23 w 46"/>
                  <a:gd name="T1" fmla="*/ 0 h 47"/>
                  <a:gd name="T2" fmla="*/ 27 w 46"/>
                  <a:gd name="T3" fmla="*/ 1 h 47"/>
                  <a:gd name="T4" fmla="*/ 32 w 46"/>
                  <a:gd name="T5" fmla="*/ 2 h 47"/>
                  <a:gd name="T6" fmla="*/ 35 w 46"/>
                  <a:gd name="T7" fmla="*/ 5 h 47"/>
                  <a:gd name="T8" fmla="*/ 39 w 46"/>
                  <a:gd name="T9" fmla="*/ 7 h 47"/>
                  <a:gd name="T10" fmla="*/ 42 w 46"/>
                  <a:gd name="T11" fmla="*/ 10 h 47"/>
                  <a:gd name="T12" fmla="*/ 45 w 46"/>
                  <a:gd name="T13" fmla="*/ 15 h 47"/>
                  <a:gd name="T14" fmla="*/ 46 w 46"/>
                  <a:gd name="T15" fmla="*/ 18 h 47"/>
                  <a:gd name="T16" fmla="*/ 46 w 46"/>
                  <a:gd name="T17" fmla="*/ 24 h 47"/>
                  <a:gd name="T18" fmla="*/ 46 w 46"/>
                  <a:gd name="T19" fmla="*/ 28 h 47"/>
                  <a:gd name="T20" fmla="*/ 45 w 46"/>
                  <a:gd name="T21" fmla="*/ 32 h 47"/>
                  <a:gd name="T22" fmla="*/ 42 w 46"/>
                  <a:gd name="T23" fmla="*/ 36 h 47"/>
                  <a:gd name="T24" fmla="*/ 39 w 46"/>
                  <a:gd name="T25" fmla="*/ 40 h 47"/>
                  <a:gd name="T26" fmla="*/ 35 w 46"/>
                  <a:gd name="T27" fmla="*/ 42 h 47"/>
                  <a:gd name="T28" fmla="*/ 32 w 46"/>
                  <a:gd name="T29" fmla="*/ 44 h 47"/>
                  <a:gd name="T30" fmla="*/ 27 w 46"/>
                  <a:gd name="T31" fmla="*/ 46 h 47"/>
                  <a:gd name="T32" fmla="*/ 23 w 46"/>
                  <a:gd name="T33" fmla="*/ 47 h 47"/>
                  <a:gd name="T34" fmla="*/ 18 w 46"/>
                  <a:gd name="T35" fmla="*/ 46 h 47"/>
                  <a:gd name="T36" fmla="*/ 14 w 46"/>
                  <a:gd name="T37" fmla="*/ 44 h 47"/>
                  <a:gd name="T38" fmla="*/ 10 w 46"/>
                  <a:gd name="T39" fmla="*/ 42 h 47"/>
                  <a:gd name="T40" fmla="*/ 7 w 46"/>
                  <a:gd name="T41" fmla="*/ 40 h 47"/>
                  <a:gd name="T42" fmla="*/ 4 w 46"/>
                  <a:gd name="T43" fmla="*/ 36 h 47"/>
                  <a:gd name="T44" fmla="*/ 1 w 46"/>
                  <a:gd name="T45" fmla="*/ 32 h 47"/>
                  <a:gd name="T46" fmla="*/ 0 w 46"/>
                  <a:gd name="T47" fmla="*/ 28 h 47"/>
                  <a:gd name="T48" fmla="*/ 0 w 46"/>
                  <a:gd name="T49" fmla="*/ 24 h 47"/>
                  <a:gd name="T50" fmla="*/ 0 w 46"/>
                  <a:gd name="T51" fmla="*/ 18 h 47"/>
                  <a:gd name="T52" fmla="*/ 1 w 46"/>
                  <a:gd name="T53" fmla="*/ 15 h 47"/>
                  <a:gd name="T54" fmla="*/ 4 w 46"/>
                  <a:gd name="T55" fmla="*/ 10 h 47"/>
                  <a:gd name="T56" fmla="*/ 7 w 46"/>
                  <a:gd name="T57" fmla="*/ 7 h 47"/>
                  <a:gd name="T58" fmla="*/ 10 w 46"/>
                  <a:gd name="T59" fmla="*/ 5 h 47"/>
                  <a:gd name="T60" fmla="*/ 14 w 46"/>
                  <a:gd name="T61" fmla="*/ 2 h 47"/>
                  <a:gd name="T62" fmla="*/ 18 w 46"/>
                  <a:gd name="T63" fmla="*/ 1 h 47"/>
                  <a:gd name="T64" fmla="*/ 23 w 46"/>
                  <a:gd name="T65" fmla="*/ 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6" h="47">
                    <a:moveTo>
                      <a:pt x="23" y="0"/>
                    </a:moveTo>
                    <a:lnTo>
                      <a:pt x="27" y="1"/>
                    </a:lnTo>
                    <a:lnTo>
                      <a:pt x="32" y="2"/>
                    </a:lnTo>
                    <a:lnTo>
                      <a:pt x="35" y="5"/>
                    </a:lnTo>
                    <a:lnTo>
                      <a:pt x="39" y="7"/>
                    </a:lnTo>
                    <a:lnTo>
                      <a:pt x="42" y="10"/>
                    </a:lnTo>
                    <a:lnTo>
                      <a:pt x="45" y="15"/>
                    </a:lnTo>
                    <a:lnTo>
                      <a:pt x="46" y="18"/>
                    </a:lnTo>
                    <a:lnTo>
                      <a:pt x="46" y="24"/>
                    </a:lnTo>
                    <a:lnTo>
                      <a:pt x="46" y="28"/>
                    </a:lnTo>
                    <a:lnTo>
                      <a:pt x="45" y="32"/>
                    </a:lnTo>
                    <a:lnTo>
                      <a:pt x="42" y="36"/>
                    </a:lnTo>
                    <a:lnTo>
                      <a:pt x="39" y="40"/>
                    </a:lnTo>
                    <a:lnTo>
                      <a:pt x="35" y="42"/>
                    </a:lnTo>
                    <a:lnTo>
                      <a:pt x="32" y="44"/>
                    </a:lnTo>
                    <a:lnTo>
                      <a:pt x="27" y="46"/>
                    </a:lnTo>
                    <a:lnTo>
                      <a:pt x="23" y="47"/>
                    </a:lnTo>
                    <a:lnTo>
                      <a:pt x="18" y="46"/>
                    </a:lnTo>
                    <a:lnTo>
                      <a:pt x="14" y="44"/>
                    </a:lnTo>
                    <a:lnTo>
                      <a:pt x="10" y="42"/>
                    </a:lnTo>
                    <a:lnTo>
                      <a:pt x="7" y="40"/>
                    </a:lnTo>
                    <a:lnTo>
                      <a:pt x="4" y="36"/>
                    </a:lnTo>
                    <a:lnTo>
                      <a:pt x="1" y="32"/>
                    </a:lnTo>
                    <a:lnTo>
                      <a:pt x="0" y="28"/>
                    </a:lnTo>
                    <a:lnTo>
                      <a:pt x="0" y="24"/>
                    </a:lnTo>
                    <a:lnTo>
                      <a:pt x="0" y="18"/>
                    </a:lnTo>
                    <a:lnTo>
                      <a:pt x="1" y="15"/>
                    </a:lnTo>
                    <a:lnTo>
                      <a:pt x="4" y="10"/>
                    </a:lnTo>
                    <a:lnTo>
                      <a:pt x="7" y="7"/>
                    </a:lnTo>
                    <a:lnTo>
                      <a:pt x="10" y="5"/>
                    </a:lnTo>
                    <a:lnTo>
                      <a:pt x="14" y="2"/>
                    </a:lnTo>
                    <a:lnTo>
                      <a:pt x="18" y="1"/>
                    </a:lnTo>
                    <a:lnTo>
                      <a:pt x="23" y="0"/>
                    </a:lnTo>
                    <a:close/>
                  </a:path>
                </a:pathLst>
              </a:custGeom>
              <a:solidFill>
                <a:srgbClr val="E6E7E8">
                  <a:alpha val="50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58" name="Freeform 32"/>
              <p:cNvSpPr>
                <a:spLocks/>
              </p:cNvSpPr>
              <p:nvPr/>
            </p:nvSpPr>
            <p:spPr bwMode="auto">
              <a:xfrm>
                <a:off x="3224213" y="387350"/>
                <a:ext cx="7938" cy="7938"/>
              </a:xfrm>
              <a:custGeom>
                <a:avLst/>
                <a:gdLst>
                  <a:gd name="T0" fmla="*/ 15 w 30"/>
                  <a:gd name="T1" fmla="*/ 0 h 31"/>
                  <a:gd name="T2" fmla="*/ 18 w 30"/>
                  <a:gd name="T3" fmla="*/ 0 h 31"/>
                  <a:gd name="T4" fmla="*/ 20 w 30"/>
                  <a:gd name="T5" fmla="*/ 1 h 31"/>
                  <a:gd name="T6" fmla="*/ 24 w 30"/>
                  <a:gd name="T7" fmla="*/ 2 h 31"/>
                  <a:gd name="T8" fmla="*/ 26 w 30"/>
                  <a:gd name="T9" fmla="*/ 4 h 31"/>
                  <a:gd name="T10" fmla="*/ 27 w 30"/>
                  <a:gd name="T11" fmla="*/ 7 h 31"/>
                  <a:gd name="T12" fmla="*/ 29 w 30"/>
                  <a:gd name="T13" fmla="*/ 9 h 31"/>
                  <a:gd name="T14" fmla="*/ 29 w 30"/>
                  <a:gd name="T15" fmla="*/ 11 h 31"/>
                  <a:gd name="T16" fmla="*/ 30 w 30"/>
                  <a:gd name="T17" fmla="*/ 15 h 31"/>
                  <a:gd name="T18" fmla="*/ 29 w 30"/>
                  <a:gd name="T19" fmla="*/ 18 h 31"/>
                  <a:gd name="T20" fmla="*/ 29 w 30"/>
                  <a:gd name="T21" fmla="*/ 20 h 31"/>
                  <a:gd name="T22" fmla="*/ 27 w 30"/>
                  <a:gd name="T23" fmla="*/ 24 h 31"/>
                  <a:gd name="T24" fmla="*/ 26 w 30"/>
                  <a:gd name="T25" fmla="*/ 26 h 31"/>
                  <a:gd name="T26" fmla="*/ 24 w 30"/>
                  <a:gd name="T27" fmla="*/ 27 h 31"/>
                  <a:gd name="T28" fmla="*/ 20 w 30"/>
                  <a:gd name="T29" fmla="*/ 28 h 31"/>
                  <a:gd name="T30" fmla="*/ 18 w 30"/>
                  <a:gd name="T31" fmla="*/ 30 h 31"/>
                  <a:gd name="T32" fmla="*/ 15 w 30"/>
                  <a:gd name="T33" fmla="*/ 31 h 31"/>
                  <a:gd name="T34" fmla="*/ 11 w 30"/>
                  <a:gd name="T35" fmla="*/ 30 h 31"/>
                  <a:gd name="T36" fmla="*/ 9 w 30"/>
                  <a:gd name="T37" fmla="*/ 28 h 31"/>
                  <a:gd name="T38" fmla="*/ 7 w 30"/>
                  <a:gd name="T39" fmla="*/ 27 h 31"/>
                  <a:gd name="T40" fmla="*/ 4 w 30"/>
                  <a:gd name="T41" fmla="*/ 26 h 31"/>
                  <a:gd name="T42" fmla="*/ 2 w 30"/>
                  <a:gd name="T43" fmla="*/ 24 h 31"/>
                  <a:gd name="T44" fmla="*/ 1 w 30"/>
                  <a:gd name="T45" fmla="*/ 20 h 31"/>
                  <a:gd name="T46" fmla="*/ 0 w 30"/>
                  <a:gd name="T47" fmla="*/ 18 h 31"/>
                  <a:gd name="T48" fmla="*/ 0 w 30"/>
                  <a:gd name="T49" fmla="*/ 15 h 31"/>
                  <a:gd name="T50" fmla="*/ 0 w 30"/>
                  <a:gd name="T51" fmla="*/ 11 h 31"/>
                  <a:gd name="T52" fmla="*/ 1 w 30"/>
                  <a:gd name="T53" fmla="*/ 9 h 31"/>
                  <a:gd name="T54" fmla="*/ 2 w 30"/>
                  <a:gd name="T55" fmla="*/ 7 h 31"/>
                  <a:gd name="T56" fmla="*/ 4 w 30"/>
                  <a:gd name="T57" fmla="*/ 4 h 31"/>
                  <a:gd name="T58" fmla="*/ 7 w 30"/>
                  <a:gd name="T59" fmla="*/ 2 h 31"/>
                  <a:gd name="T60" fmla="*/ 9 w 30"/>
                  <a:gd name="T61" fmla="*/ 1 h 31"/>
                  <a:gd name="T62" fmla="*/ 11 w 30"/>
                  <a:gd name="T63" fmla="*/ 0 h 31"/>
                  <a:gd name="T64" fmla="*/ 15 w 30"/>
                  <a:gd name="T65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31">
                    <a:moveTo>
                      <a:pt x="15" y="0"/>
                    </a:moveTo>
                    <a:lnTo>
                      <a:pt x="18" y="0"/>
                    </a:lnTo>
                    <a:lnTo>
                      <a:pt x="20" y="1"/>
                    </a:lnTo>
                    <a:lnTo>
                      <a:pt x="24" y="2"/>
                    </a:lnTo>
                    <a:lnTo>
                      <a:pt x="26" y="4"/>
                    </a:lnTo>
                    <a:lnTo>
                      <a:pt x="27" y="7"/>
                    </a:lnTo>
                    <a:lnTo>
                      <a:pt x="29" y="9"/>
                    </a:lnTo>
                    <a:lnTo>
                      <a:pt x="29" y="11"/>
                    </a:lnTo>
                    <a:lnTo>
                      <a:pt x="30" y="15"/>
                    </a:lnTo>
                    <a:lnTo>
                      <a:pt x="29" y="18"/>
                    </a:lnTo>
                    <a:lnTo>
                      <a:pt x="29" y="20"/>
                    </a:lnTo>
                    <a:lnTo>
                      <a:pt x="27" y="24"/>
                    </a:lnTo>
                    <a:lnTo>
                      <a:pt x="26" y="26"/>
                    </a:lnTo>
                    <a:lnTo>
                      <a:pt x="24" y="27"/>
                    </a:lnTo>
                    <a:lnTo>
                      <a:pt x="20" y="28"/>
                    </a:lnTo>
                    <a:lnTo>
                      <a:pt x="18" y="30"/>
                    </a:lnTo>
                    <a:lnTo>
                      <a:pt x="15" y="31"/>
                    </a:lnTo>
                    <a:lnTo>
                      <a:pt x="11" y="30"/>
                    </a:lnTo>
                    <a:lnTo>
                      <a:pt x="9" y="28"/>
                    </a:lnTo>
                    <a:lnTo>
                      <a:pt x="7" y="27"/>
                    </a:lnTo>
                    <a:lnTo>
                      <a:pt x="4" y="26"/>
                    </a:lnTo>
                    <a:lnTo>
                      <a:pt x="2" y="24"/>
                    </a:lnTo>
                    <a:lnTo>
                      <a:pt x="1" y="20"/>
                    </a:lnTo>
                    <a:lnTo>
                      <a:pt x="0" y="18"/>
                    </a:lnTo>
                    <a:lnTo>
                      <a:pt x="0" y="15"/>
                    </a:lnTo>
                    <a:lnTo>
                      <a:pt x="0" y="11"/>
                    </a:lnTo>
                    <a:lnTo>
                      <a:pt x="1" y="9"/>
                    </a:lnTo>
                    <a:lnTo>
                      <a:pt x="2" y="7"/>
                    </a:lnTo>
                    <a:lnTo>
                      <a:pt x="4" y="4"/>
                    </a:lnTo>
                    <a:lnTo>
                      <a:pt x="7" y="2"/>
                    </a:lnTo>
                    <a:lnTo>
                      <a:pt x="9" y="1"/>
                    </a:lnTo>
                    <a:lnTo>
                      <a:pt x="11" y="0"/>
                    </a:lnTo>
                    <a:lnTo>
                      <a:pt x="15" y="0"/>
                    </a:lnTo>
                    <a:close/>
                  </a:path>
                </a:pathLst>
              </a:custGeom>
              <a:solidFill>
                <a:srgbClr val="E6E7E8">
                  <a:alpha val="50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61" name="Group 160"/>
          <p:cNvGrpSpPr/>
          <p:nvPr/>
        </p:nvGrpSpPr>
        <p:grpSpPr>
          <a:xfrm>
            <a:off x="8848589" y="5309526"/>
            <a:ext cx="1513661" cy="822510"/>
            <a:chOff x="990251" y="5414562"/>
            <a:chExt cx="1619250" cy="879886"/>
          </a:xfrm>
        </p:grpSpPr>
        <p:cxnSp>
          <p:nvCxnSpPr>
            <p:cNvPr id="165" name="Straight Connector 164"/>
            <p:cNvCxnSpPr/>
            <p:nvPr/>
          </p:nvCxnSpPr>
          <p:spPr>
            <a:xfrm>
              <a:off x="1706415" y="5676343"/>
              <a:ext cx="186922" cy="0"/>
            </a:xfrm>
            <a:prstGeom prst="line">
              <a:avLst/>
            </a:prstGeom>
            <a:ln w="28575">
              <a:solidFill>
                <a:srgbClr val="3B393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6" name="TextBox 165"/>
            <p:cNvSpPr txBox="1"/>
            <p:nvPr/>
          </p:nvSpPr>
          <p:spPr>
            <a:xfrm>
              <a:off x="990251" y="5800578"/>
              <a:ext cx="1619250" cy="493870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Lorem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Ipsum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 is simply dummy text of the printing and typesetting industry. </a:t>
              </a:r>
            </a:p>
          </p:txBody>
        </p:sp>
        <p:sp>
          <p:nvSpPr>
            <p:cNvPr id="167" name="TextBox 166"/>
            <p:cNvSpPr txBox="1"/>
            <p:nvPr/>
          </p:nvSpPr>
          <p:spPr>
            <a:xfrm>
              <a:off x="990251" y="5414562"/>
              <a:ext cx="1619250" cy="230473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3B3939"/>
                  </a:solidFill>
                  <a:effectLst/>
                  <a:uLnTx/>
                  <a:uFillTx/>
                  <a:ea typeface="+mn-ea"/>
                  <a:cs typeface="+mn-cs"/>
                </a:rPr>
                <a:t>2012</a:t>
              </a:r>
            </a:p>
          </p:txBody>
        </p:sp>
      </p:grpSp>
      <p:sp>
        <p:nvSpPr>
          <p:cNvPr id="164" name="Rounded Rectangle 163"/>
          <p:cNvSpPr/>
          <p:nvPr/>
        </p:nvSpPr>
        <p:spPr>
          <a:xfrm>
            <a:off x="9233355" y="6191560"/>
            <a:ext cx="744131" cy="139636"/>
          </a:xfrm>
          <a:prstGeom prst="roundRect">
            <a:avLst/>
          </a:prstGeom>
          <a:solidFill>
            <a:srgbClr val="3B39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tIns="46800" rIns="46800" bIns="468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AD MORE</a:t>
            </a:r>
          </a:p>
        </p:txBody>
      </p:sp>
      <p:pic>
        <p:nvPicPr>
          <p:cNvPr id="385" name="Picture Placeholder 124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8844166" y="1881122"/>
            <a:ext cx="1549618" cy="26589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993996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ID" dirty="0"/>
              <a:t>PowerPoint Templates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852138-FCC6-44DD-9FFC-1C789392E7AA}" type="datetime1">
              <a:rPr lang="en-US" smtClean="0"/>
              <a:t>11/15/2018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06E70-9524-410D-AE9B-78D656EAA14D}" type="slidenum">
              <a:rPr lang="en-US" smtClean="0"/>
              <a:pPr/>
              <a:t>19</a:t>
            </a:fld>
            <a:endParaRPr lang="en-US"/>
          </a:p>
        </p:txBody>
      </p:sp>
      <p:grpSp>
        <p:nvGrpSpPr>
          <p:cNvPr id="30" name="Group 29"/>
          <p:cNvGrpSpPr/>
          <p:nvPr/>
        </p:nvGrpSpPr>
        <p:grpSpPr>
          <a:xfrm>
            <a:off x="609601" y="1335315"/>
            <a:ext cx="11582399" cy="4826918"/>
            <a:chOff x="-14513" y="1790845"/>
            <a:chExt cx="10489333" cy="4371387"/>
          </a:xfrm>
        </p:grpSpPr>
        <p:sp>
          <p:nvSpPr>
            <p:cNvPr id="5" name="Rectangle 4"/>
            <p:cNvSpPr/>
            <p:nvPr/>
          </p:nvSpPr>
          <p:spPr>
            <a:xfrm>
              <a:off x="2586038" y="3176048"/>
              <a:ext cx="7888782" cy="131149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6" name="Rectangle 5"/>
            <p:cNvSpPr/>
            <p:nvPr/>
          </p:nvSpPr>
          <p:spPr>
            <a:xfrm>
              <a:off x="4064000" y="1790845"/>
              <a:ext cx="6410820" cy="1311490"/>
            </a:xfrm>
            <a:prstGeom prst="rect">
              <a:avLst/>
            </a:prstGeom>
            <a:solidFill>
              <a:srgbClr val="D63E2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7" name="Rectangle 6"/>
            <p:cNvSpPr/>
            <p:nvPr/>
          </p:nvSpPr>
          <p:spPr>
            <a:xfrm>
              <a:off x="1149349" y="4552718"/>
              <a:ext cx="9325470" cy="131149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8" name="Freeform 7"/>
            <p:cNvSpPr>
              <a:spLocks/>
            </p:cNvSpPr>
            <p:nvPr/>
          </p:nvSpPr>
          <p:spPr bwMode="auto">
            <a:xfrm>
              <a:off x="1125841" y="1790845"/>
              <a:ext cx="5886880" cy="4371387"/>
            </a:xfrm>
            <a:custGeom>
              <a:avLst/>
              <a:gdLst>
                <a:gd name="T0" fmla="*/ 835 w 1670"/>
                <a:gd name="T1" fmla="*/ 0 h 1106"/>
                <a:gd name="T2" fmla="*/ 1670 w 1670"/>
                <a:gd name="T3" fmla="*/ 1106 h 1106"/>
                <a:gd name="T4" fmla="*/ 835 w 1670"/>
                <a:gd name="T5" fmla="*/ 1106 h 1106"/>
                <a:gd name="T6" fmla="*/ 835 w 1670"/>
                <a:gd name="T7" fmla="*/ 1106 h 1106"/>
                <a:gd name="T8" fmla="*/ 0 w 1670"/>
                <a:gd name="T9" fmla="*/ 1106 h 1106"/>
                <a:gd name="T10" fmla="*/ 835 w 1670"/>
                <a:gd name="T11" fmla="*/ 0 h 1106"/>
                <a:gd name="T12" fmla="*/ 835 w 1670"/>
                <a:gd name="T13" fmla="*/ 0 h 1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70" h="1106">
                  <a:moveTo>
                    <a:pt x="835" y="0"/>
                  </a:moveTo>
                  <a:lnTo>
                    <a:pt x="1670" y="1106"/>
                  </a:lnTo>
                  <a:lnTo>
                    <a:pt x="835" y="1106"/>
                  </a:lnTo>
                  <a:lnTo>
                    <a:pt x="835" y="1106"/>
                  </a:lnTo>
                  <a:lnTo>
                    <a:pt x="0" y="1106"/>
                  </a:lnTo>
                  <a:lnTo>
                    <a:pt x="835" y="0"/>
                  </a:lnTo>
                  <a:lnTo>
                    <a:pt x="835" y="0"/>
                  </a:lnTo>
                  <a:close/>
                </a:path>
              </a:pathLst>
            </a:custGeom>
            <a:solidFill>
              <a:srgbClr val="E2583D"/>
            </a:solidFill>
            <a:ln>
              <a:noFill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9" name="Isosceles Triangle 8"/>
            <p:cNvSpPr/>
            <p:nvPr/>
          </p:nvSpPr>
          <p:spPr>
            <a:xfrm>
              <a:off x="463713" y="3176048"/>
              <a:ext cx="4244629" cy="2986184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-14513" y="4552718"/>
              <a:ext cx="2325914" cy="1609514"/>
            </a:xfrm>
            <a:custGeom>
              <a:avLst/>
              <a:gdLst>
                <a:gd name="T0" fmla="*/ 835 w 1670"/>
                <a:gd name="T1" fmla="*/ 0 h 1106"/>
                <a:gd name="T2" fmla="*/ 1670 w 1670"/>
                <a:gd name="T3" fmla="*/ 1106 h 1106"/>
                <a:gd name="T4" fmla="*/ 835 w 1670"/>
                <a:gd name="T5" fmla="*/ 1106 h 1106"/>
                <a:gd name="T6" fmla="*/ 835 w 1670"/>
                <a:gd name="T7" fmla="*/ 1106 h 1106"/>
                <a:gd name="T8" fmla="*/ 0 w 1670"/>
                <a:gd name="T9" fmla="*/ 1106 h 1106"/>
                <a:gd name="T10" fmla="*/ 835 w 1670"/>
                <a:gd name="T11" fmla="*/ 0 h 1106"/>
                <a:gd name="T12" fmla="*/ 835 w 1670"/>
                <a:gd name="T13" fmla="*/ 0 h 1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70" h="1106">
                  <a:moveTo>
                    <a:pt x="835" y="0"/>
                  </a:moveTo>
                  <a:lnTo>
                    <a:pt x="1670" y="1106"/>
                  </a:lnTo>
                  <a:lnTo>
                    <a:pt x="835" y="1106"/>
                  </a:lnTo>
                  <a:lnTo>
                    <a:pt x="835" y="1106"/>
                  </a:lnTo>
                  <a:lnTo>
                    <a:pt x="0" y="1106"/>
                  </a:lnTo>
                  <a:lnTo>
                    <a:pt x="835" y="0"/>
                  </a:lnTo>
                  <a:lnTo>
                    <a:pt x="83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grpSp>
          <p:nvGrpSpPr>
            <p:cNvPr id="11" name="Group 10"/>
            <p:cNvGrpSpPr/>
            <p:nvPr/>
          </p:nvGrpSpPr>
          <p:grpSpPr>
            <a:xfrm>
              <a:off x="2444028" y="3770954"/>
              <a:ext cx="283999" cy="285493"/>
              <a:chOff x="1547813" y="3240088"/>
              <a:chExt cx="301626" cy="303213"/>
            </a:xfrm>
            <a:solidFill>
              <a:schemeClr val="bg1"/>
            </a:solidFill>
          </p:grpSpPr>
          <p:sp>
            <p:nvSpPr>
              <p:cNvPr id="12" name="Freeform 61"/>
              <p:cNvSpPr>
                <a:spLocks noEditPoints="1"/>
              </p:cNvSpPr>
              <p:nvPr/>
            </p:nvSpPr>
            <p:spPr bwMode="auto">
              <a:xfrm>
                <a:off x="1611313" y="3392488"/>
                <a:ext cx="85725" cy="87313"/>
              </a:xfrm>
              <a:custGeom>
                <a:avLst/>
                <a:gdLst>
                  <a:gd name="T0" fmla="*/ 92 w 218"/>
                  <a:gd name="T1" fmla="*/ 191 h 219"/>
                  <a:gd name="T2" fmla="*/ 70 w 218"/>
                  <a:gd name="T3" fmla="*/ 183 h 219"/>
                  <a:gd name="T4" fmla="*/ 50 w 218"/>
                  <a:gd name="T5" fmla="*/ 168 h 219"/>
                  <a:gd name="T6" fmla="*/ 35 w 218"/>
                  <a:gd name="T7" fmla="*/ 149 h 219"/>
                  <a:gd name="T8" fmla="*/ 27 w 218"/>
                  <a:gd name="T9" fmla="*/ 125 h 219"/>
                  <a:gd name="T10" fmla="*/ 26 w 218"/>
                  <a:gd name="T11" fmla="*/ 101 h 219"/>
                  <a:gd name="T12" fmla="*/ 32 w 218"/>
                  <a:gd name="T13" fmla="*/ 77 h 219"/>
                  <a:gd name="T14" fmla="*/ 45 w 218"/>
                  <a:gd name="T15" fmla="*/ 56 h 219"/>
                  <a:gd name="T16" fmla="*/ 62 w 218"/>
                  <a:gd name="T17" fmla="*/ 40 h 219"/>
                  <a:gd name="T18" fmla="*/ 85 w 218"/>
                  <a:gd name="T19" fmla="*/ 29 h 219"/>
                  <a:gd name="T20" fmla="*/ 109 w 218"/>
                  <a:gd name="T21" fmla="*/ 26 h 219"/>
                  <a:gd name="T22" fmla="*/ 134 w 218"/>
                  <a:gd name="T23" fmla="*/ 29 h 219"/>
                  <a:gd name="T24" fmla="*/ 155 w 218"/>
                  <a:gd name="T25" fmla="*/ 40 h 219"/>
                  <a:gd name="T26" fmla="*/ 174 w 218"/>
                  <a:gd name="T27" fmla="*/ 56 h 219"/>
                  <a:gd name="T28" fmla="*/ 186 w 218"/>
                  <a:gd name="T29" fmla="*/ 77 h 219"/>
                  <a:gd name="T30" fmla="*/ 192 w 218"/>
                  <a:gd name="T31" fmla="*/ 101 h 219"/>
                  <a:gd name="T32" fmla="*/ 191 w 218"/>
                  <a:gd name="T33" fmla="*/ 125 h 219"/>
                  <a:gd name="T34" fmla="*/ 182 w 218"/>
                  <a:gd name="T35" fmla="*/ 149 h 219"/>
                  <a:gd name="T36" fmla="*/ 168 w 218"/>
                  <a:gd name="T37" fmla="*/ 168 h 219"/>
                  <a:gd name="T38" fmla="*/ 149 w 218"/>
                  <a:gd name="T39" fmla="*/ 183 h 219"/>
                  <a:gd name="T40" fmla="*/ 125 w 218"/>
                  <a:gd name="T41" fmla="*/ 191 h 219"/>
                  <a:gd name="T42" fmla="*/ 109 w 218"/>
                  <a:gd name="T43" fmla="*/ 0 h 219"/>
                  <a:gd name="T44" fmla="*/ 77 w 218"/>
                  <a:gd name="T45" fmla="*/ 4 h 219"/>
                  <a:gd name="T46" fmla="*/ 48 w 218"/>
                  <a:gd name="T47" fmla="*/ 18 h 219"/>
                  <a:gd name="T48" fmla="*/ 25 w 218"/>
                  <a:gd name="T49" fmla="*/ 40 h 219"/>
                  <a:gd name="T50" fmla="*/ 8 w 218"/>
                  <a:gd name="T51" fmla="*/ 66 h 219"/>
                  <a:gd name="T52" fmla="*/ 1 w 218"/>
                  <a:gd name="T53" fmla="*/ 98 h 219"/>
                  <a:gd name="T54" fmla="*/ 2 w 218"/>
                  <a:gd name="T55" fmla="*/ 131 h 219"/>
                  <a:gd name="T56" fmla="*/ 13 w 218"/>
                  <a:gd name="T57" fmla="*/ 161 h 219"/>
                  <a:gd name="T58" fmla="*/ 32 w 218"/>
                  <a:gd name="T59" fmla="*/ 187 h 219"/>
                  <a:gd name="T60" fmla="*/ 57 w 218"/>
                  <a:gd name="T61" fmla="*/ 205 h 219"/>
                  <a:gd name="T62" fmla="*/ 87 w 218"/>
                  <a:gd name="T63" fmla="*/ 217 h 219"/>
                  <a:gd name="T64" fmla="*/ 120 w 218"/>
                  <a:gd name="T65" fmla="*/ 218 h 219"/>
                  <a:gd name="T66" fmla="*/ 151 w 218"/>
                  <a:gd name="T67" fmla="*/ 210 h 219"/>
                  <a:gd name="T68" fmla="*/ 178 w 218"/>
                  <a:gd name="T69" fmla="*/ 193 h 219"/>
                  <a:gd name="T70" fmla="*/ 200 w 218"/>
                  <a:gd name="T71" fmla="*/ 171 h 219"/>
                  <a:gd name="T72" fmla="*/ 213 w 218"/>
                  <a:gd name="T73" fmla="*/ 142 h 219"/>
                  <a:gd name="T74" fmla="*/ 218 w 218"/>
                  <a:gd name="T75" fmla="*/ 109 h 219"/>
                  <a:gd name="T76" fmla="*/ 213 w 218"/>
                  <a:gd name="T77" fmla="*/ 77 h 219"/>
                  <a:gd name="T78" fmla="*/ 200 w 218"/>
                  <a:gd name="T79" fmla="*/ 48 h 219"/>
                  <a:gd name="T80" fmla="*/ 178 w 218"/>
                  <a:gd name="T81" fmla="*/ 25 h 219"/>
                  <a:gd name="T82" fmla="*/ 151 w 218"/>
                  <a:gd name="T83" fmla="*/ 8 h 219"/>
                  <a:gd name="T84" fmla="*/ 120 w 218"/>
                  <a:gd name="T85" fmla="*/ 0 h 2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18" h="219">
                    <a:moveTo>
                      <a:pt x="109" y="193"/>
                    </a:moveTo>
                    <a:lnTo>
                      <a:pt x="101" y="193"/>
                    </a:lnTo>
                    <a:lnTo>
                      <a:pt x="92" y="191"/>
                    </a:lnTo>
                    <a:lnTo>
                      <a:pt x="85" y="190"/>
                    </a:lnTo>
                    <a:lnTo>
                      <a:pt x="76" y="187"/>
                    </a:lnTo>
                    <a:lnTo>
                      <a:pt x="70" y="183"/>
                    </a:lnTo>
                    <a:lnTo>
                      <a:pt x="62" y="179"/>
                    </a:lnTo>
                    <a:lnTo>
                      <a:pt x="56" y="174"/>
                    </a:lnTo>
                    <a:lnTo>
                      <a:pt x="50" y="168"/>
                    </a:lnTo>
                    <a:lnTo>
                      <a:pt x="45" y="162"/>
                    </a:lnTo>
                    <a:lnTo>
                      <a:pt x="40" y="156"/>
                    </a:lnTo>
                    <a:lnTo>
                      <a:pt x="35" y="149"/>
                    </a:lnTo>
                    <a:lnTo>
                      <a:pt x="32" y="142"/>
                    </a:lnTo>
                    <a:lnTo>
                      <a:pt x="29" y="134"/>
                    </a:lnTo>
                    <a:lnTo>
                      <a:pt x="27" y="125"/>
                    </a:lnTo>
                    <a:lnTo>
                      <a:pt x="26" y="118"/>
                    </a:lnTo>
                    <a:lnTo>
                      <a:pt x="26" y="109"/>
                    </a:lnTo>
                    <a:lnTo>
                      <a:pt x="26" y="101"/>
                    </a:lnTo>
                    <a:lnTo>
                      <a:pt x="27" y="92"/>
                    </a:lnTo>
                    <a:lnTo>
                      <a:pt x="29" y="85"/>
                    </a:lnTo>
                    <a:lnTo>
                      <a:pt x="32" y="77"/>
                    </a:lnTo>
                    <a:lnTo>
                      <a:pt x="35" y="70"/>
                    </a:lnTo>
                    <a:lnTo>
                      <a:pt x="40" y="62"/>
                    </a:lnTo>
                    <a:lnTo>
                      <a:pt x="45" y="56"/>
                    </a:lnTo>
                    <a:lnTo>
                      <a:pt x="50" y="50"/>
                    </a:lnTo>
                    <a:lnTo>
                      <a:pt x="56" y="45"/>
                    </a:lnTo>
                    <a:lnTo>
                      <a:pt x="62" y="40"/>
                    </a:lnTo>
                    <a:lnTo>
                      <a:pt x="70" y="35"/>
                    </a:lnTo>
                    <a:lnTo>
                      <a:pt x="76" y="32"/>
                    </a:lnTo>
                    <a:lnTo>
                      <a:pt x="85" y="29"/>
                    </a:lnTo>
                    <a:lnTo>
                      <a:pt x="92" y="27"/>
                    </a:lnTo>
                    <a:lnTo>
                      <a:pt x="101" y="26"/>
                    </a:lnTo>
                    <a:lnTo>
                      <a:pt x="109" y="26"/>
                    </a:lnTo>
                    <a:lnTo>
                      <a:pt x="118" y="26"/>
                    </a:lnTo>
                    <a:lnTo>
                      <a:pt x="125" y="27"/>
                    </a:lnTo>
                    <a:lnTo>
                      <a:pt x="134" y="29"/>
                    </a:lnTo>
                    <a:lnTo>
                      <a:pt x="142" y="32"/>
                    </a:lnTo>
                    <a:lnTo>
                      <a:pt x="149" y="35"/>
                    </a:lnTo>
                    <a:lnTo>
                      <a:pt x="155" y="40"/>
                    </a:lnTo>
                    <a:lnTo>
                      <a:pt x="162" y="45"/>
                    </a:lnTo>
                    <a:lnTo>
                      <a:pt x="168" y="50"/>
                    </a:lnTo>
                    <a:lnTo>
                      <a:pt x="174" y="56"/>
                    </a:lnTo>
                    <a:lnTo>
                      <a:pt x="178" y="62"/>
                    </a:lnTo>
                    <a:lnTo>
                      <a:pt x="182" y="70"/>
                    </a:lnTo>
                    <a:lnTo>
                      <a:pt x="186" y="77"/>
                    </a:lnTo>
                    <a:lnTo>
                      <a:pt x="189" y="85"/>
                    </a:lnTo>
                    <a:lnTo>
                      <a:pt x="191" y="92"/>
                    </a:lnTo>
                    <a:lnTo>
                      <a:pt x="192" y="101"/>
                    </a:lnTo>
                    <a:lnTo>
                      <a:pt x="193" y="109"/>
                    </a:lnTo>
                    <a:lnTo>
                      <a:pt x="192" y="118"/>
                    </a:lnTo>
                    <a:lnTo>
                      <a:pt x="191" y="125"/>
                    </a:lnTo>
                    <a:lnTo>
                      <a:pt x="189" y="134"/>
                    </a:lnTo>
                    <a:lnTo>
                      <a:pt x="186" y="142"/>
                    </a:lnTo>
                    <a:lnTo>
                      <a:pt x="182" y="149"/>
                    </a:lnTo>
                    <a:lnTo>
                      <a:pt x="178" y="156"/>
                    </a:lnTo>
                    <a:lnTo>
                      <a:pt x="174" y="162"/>
                    </a:lnTo>
                    <a:lnTo>
                      <a:pt x="168" y="168"/>
                    </a:lnTo>
                    <a:lnTo>
                      <a:pt x="162" y="174"/>
                    </a:lnTo>
                    <a:lnTo>
                      <a:pt x="155" y="179"/>
                    </a:lnTo>
                    <a:lnTo>
                      <a:pt x="149" y="183"/>
                    </a:lnTo>
                    <a:lnTo>
                      <a:pt x="142" y="187"/>
                    </a:lnTo>
                    <a:lnTo>
                      <a:pt x="134" y="190"/>
                    </a:lnTo>
                    <a:lnTo>
                      <a:pt x="125" y="191"/>
                    </a:lnTo>
                    <a:lnTo>
                      <a:pt x="118" y="193"/>
                    </a:lnTo>
                    <a:lnTo>
                      <a:pt x="109" y="193"/>
                    </a:lnTo>
                    <a:close/>
                    <a:moveTo>
                      <a:pt x="109" y="0"/>
                    </a:moveTo>
                    <a:lnTo>
                      <a:pt x="98" y="0"/>
                    </a:lnTo>
                    <a:lnTo>
                      <a:pt x="87" y="2"/>
                    </a:lnTo>
                    <a:lnTo>
                      <a:pt x="77" y="4"/>
                    </a:lnTo>
                    <a:lnTo>
                      <a:pt x="66" y="8"/>
                    </a:lnTo>
                    <a:lnTo>
                      <a:pt x="57" y="13"/>
                    </a:lnTo>
                    <a:lnTo>
                      <a:pt x="48" y="18"/>
                    </a:lnTo>
                    <a:lnTo>
                      <a:pt x="40" y="25"/>
                    </a:lnTo>
                    <a:lnTo>
                      <a:pt x="32" y="32"/>
                    </a:lnTo>
                    <a:lnTo>
                      <a:pt x="25" y="40"/>
                    </a:lnTo>
                    <a:lnTo>
                      <a:pt x="19" y="48"/>
                    </a:lnTo>
                    <a:lnTo>
                      <a:pt x="13" y="57"/>
                    </a:lnTo>
                    <a:lnTo>
                      <a:pt x="8" y="66"/>
                    </a:lnTo>
                    <a:lnTo>
                      <a:pt x="5" y="77"/>
                    </a:lnTo>
                    <a:lnTo>
                      <a:pt x="2" y="87"/>
                    </a:lnTo>
                    <a:lnTo>
                      <a:pt x="1" y="98"/>
                    </a:lnTo>
                    <a:lnTo>
                      <a:pt x="0" y="109"/>
                    </a:lnTo>
                    <a:lnTo>
                      <a:pt x="1" y="120"/>
                    </a:lnTo>
                    <a:lnTo>
                      <a:pt x="2" y="131"/>
                    </a:lnTo>
                    <a:lnTo>
                      <a:pt x="5" y="142"/>
                    </a:lnTo>
                    <a:lnTo>
                      <a:pt x="8" y="151"/>
                    </a:lnTo>
                    <a:lnTo>
                      <a:pt x="13" y="161"/>
                    </a:lnTo>
                    <a:lnTo>
                      <a:pt x="19" y="171"/>
                    </a:lnTo>
                    <a:lnTo>
                      <a:pt x="25" y="178"/>
                    </a:lnTo>
                    <a:lnTo>
                      <a:pt x="32" y="187"/>
                    </a:lnTo>
                    <a:lnTo>
                      <a:pt x="40" y="193"/>
                    </a:lnTo>
                    <a:lnTo>
                      <a:pt x="48" y="200"/>
                    </a:lnTo>
                    <a:lnTo>
                      <a:pt x="57" y="205"/>
                    </a:lnTo>
                    <a:lnTo>
                      <a:pt x="66" y="210"/>
                    </a:lnTo>
                    <a:lnTo>
                      <a:pt x="77" y="214"/>
                    </a:lnTo>
                    <a:lnTo>
                      <a:pt x="87" y="217"/>
                    </a:lnTo>
                    <a:lnTo>
                      <a:pt x="98" y="218"/>
                    </a:lnTo>
                    <a:lnTo>
                      <a:pt x="109" y="219"/>
                    </a:lnTo>
                    <a:lnTo>
                      <a:pt x="120" y="218"/>
                    </a:lnTo>
                    <a:lnTo>
                      <a:pt x="131" y="217"/>
                    </a:lnTo>
                    <a:lnTo>
                      <a:pt x="142" y="214"/>
                    </a:lnTo>
                    <a:lnTo>
                      <a:pt x="151" y="210"/>
                    </a:lnTo>
                    <a:lnTo>
                      <a:pt x="161" y="205"/>
                    </a:lnTo>
                    <a:lnTo>
                      <a:pt x="169" y="200"/>
                    </a:lnTo>
                    <a:lnTo>
                      <a:pt x="178" y="193"/>
                    </a:lnTo>
                    <a:lnTo>
                      <a:pt x="187" y="187"/>
                    </a:lnTo>
                    <a:lnTo>
                      <a:pt x="193" y="178"/>
                    </a:lnTo>
                    <a:lnTo>
                      <a:pt x="200" y="171"/>
                    </a:lnTo>
                    <a:lnTo>
                      <a:pt x="205" y="161"/>
                    </a:lnTo>
                    <a:lnTo>
                      <a:pt x="209" y="151"/>
                    </a:lnTo>
                    <a:lnTo>
                      <a:pt x="213" y="142"/>
                    </a:lnTo>
                    <a:lnTo>
                      <a:pt x="216" y="131"/>
                    </a:lnTo>
                    <a:lnTo>
                      <a:pt x="218" y="120"/>
                    </a:lnTo>
                    <a:lnTo>
                      <a:pt x="218" y="109"/>
                    </a:lnTo>
                    <a:lnTo>
                      <a:pt x="218" y="98"/>
                    </a:lnTo>
                    <a:lnTo>
                      <a:pt x="216" y="87"/>
                    </a:lnTo>
                    <a:lnTo>
                      <a:pt x="213" y="77"/>
                    </a:lnTo>
                    <a:lnTo>
                      <a:pt x="209" y="66"/>
                    </a:lnTo>
                    <a:lnTo>
                      <a:pt x="205" y="57"/>
                    </a:lnTo>
                    <a:lnTo>
                      <a:pt x="200" y="48"/>
                    </a:lnTo>
                    <a:lnTo>
                      <a:pt x="193" y="40"/>
                    </a:lnTo>
                    <a:lnTo>
                      <a:pt x="187" y="32"/>
                    </a:lnTo>
                    <a:lnTo>
                      <a:pt x="178" y="25"/>
                    </a:lnTo>
                    <a:lnTo>
                      <a:pt x="169" y="18"/>
                    </a:lnTo>
                    <a:lnTo>
                      <a:pt x="161" y="13"/>
                    </a:lnTo>
                    <a:lnTo>
                      <a:pt x="151" y="8"/>
                    </a:lnTo>
                    <a:lnTo>
                      <a:pt x="142" y="4"/>
                    </a:lnTo>
                    <a:lnTo>
                      <a:pt x="131" y="2"/>
                    </a:lnTo>
                    <a:lnTo>
                      <a:pt x="120" y="0"/>
                    </a:lnTo>
                    <a:lnTo>
                      <a:pt x="109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13" name="Freeform 62"/>
              <p:cNvSpPr>
                <a:spLocks noEditPoints="1"/>
              </p:cNvSpPr>
              <p:nvPr/>
            </p:nvSpPr>
            <p:spPr bwMode="auto">
              <a:xfrm>
                <a:off x="1763713" y="3278188"/>
                <a:ext cx="49213" cy="47625"/>
              </a:xfrm>
              <a:custGeom>
                <a:avLst/>
                <a:gdLst>
                  <a:gd name="T0" fmla="*/ 54 w 122"/>
                  <a:gd name="T1" fmla="*/ 96 h 121"/>
                  <a:gd name="T2" fmla="*/ 41 w 122"/>
                  <a:gd name="T3" fmla="*/ 90 h 121"/>
                  <a:gd name="T4" fmla="*/ 31 w 122"/>
                  <a:gd name="T5" fmla="*/ 81 h 121"/>
                  <a:gd name="T6" fmla="*/ 26 w 122"/>
                  <a:gd name="T7" fmla="*/ 68 h 121"/>
                  <a:gd name="T8" fmla="*/ 26 w 122"/>
                  <a:gd name="T9" fmla="*/ 54 h 121"/>
                  <a:gd name="T10" fmla="*/ 31 w 122"/>
                  <a:gd name="T11" fmla="*/ 41 h 121"/>
                  <a:gd name="T12" fmla="*/ 41 w 122"/>
                  <a:gd name="T13" fmla="*/ 31 h 121"/>
                  <a:gd name="T14" fmla="*/ 54 w 122"/>
                  <a:gd name="T15" fmla="*/ 26 h 121"/>
                  <a:gd name="T16" fmla="*/ 68 w 122"/>
                  <a:gd name="T17" fmla="*/ 26 h 121"/>
                  <a:gd name="T18" fmla="*/ 81 w 122"/>
                  <a:gd name="T19" fmla="*/ 31 h 121"/>
                  <a:gd name="T20" fmla="*/ 90 w 122"/>
                  <a:gd name="T21" fmla="*/ 41 h 121"/>
                  <a:gd name="T22" fmla="*/ 96 w 122"/>
                  <a:gd name="T23" fmla="*/ 54 h 121"/>
                  <a:gd name="T24" fmla="*/ 96 w 122"/>
                  <a:gd name="T25" fmla="*/ 68 h 121"/>
                  <a:gd name="T26" fmla="*/ 90 w 122"/>
                  <a:gd name="T27" fmla="*/ 81 h 121"/>
                  <a:gd name="T28" fmla="*/ 81 w 122"/>
                  <a:gd name="T29" fmla="*/ 90 h 121"/>
                  <a:gd name="T30" fmla="*/ 68 w 122"/>
                  <a:gd name="T31" fmla="*/ 96 h 121"/>
                  <a:gd name="T32" fmla="*/ 61 w 122"/>
                  <a:gd name="T33" fmla="*/ 0 h 121"/>
                  <a:gd name="T34" fmla="*/ 49 w 122"/>
                  <a:gd name="T35" fmla="*/ 1 h 121"/>
                  <a:gd name="T36" fmla="*/ 38 w 122"/>
                  <a:gd name="T37" fmla="*/ 4 h 121"/>
                  <a:gd name="T38" fmla="*/ 27 w 122"/>
                  <a:gd name="T39" fmla="*/ 11 h 121"/>
                  <a:gd name="T40" fmla="*/ 19 w 122"/>
                  <a:gd name="T41" fmla="*/ 18 h 121"/>
                  <a:gd name="T42" fmla="*/ 11 w 122"/>
                  <a:gd name="T43" fmla="*/ 27 h 121"/>
                  <a:gd name="T44" fmla="*/ 5 w 122"/>
                  <a:gd name="T45" fmla="*/ 38 h 121"/>
                  <a:gd name="T46" fmla="*/ 1 w 122"/>
                  <a:gd name="T47" fmla="*/ 48 h 121"/>
                  <a:gd name="T48" fmla="*/ 0 w 122"/>
                  <a:gd name="T49" fmla="*/ 61 h 121"/>
                  <a:gd name="T50" fmla="*/ 1 w 122"/>
                  <a:gd name="T51" fmla="*/ 73 h 121"/>
                  <a:gd name="T52" fmla="*/ 5 w 122"/>
                  <a:gd name="T53" fmla="*/ 85 h 121"/>
                  <a:gd name="T54" fmla="*/ 11 w 122"/>
                  <a:gd name="T55" fmla="*/ 96 h 121"/>
                  <a:gd name="T56" fmla="*/ 19 w 122"/>
                  <a:gd name="T57" fmla="*/ 104 h 121"/>
                  <a:gd name="T58" fmla="*/ 27 w 122"/>
                  <a:gd name="T59" fmla="*/ 112 h 121"/>
                  <a:gd name="T60" fmla="*/ 38 w 122"/>
                  <a:gd name="T61" fmla="*/ 117 h 121"/>
                  <a:gd name="T62" fmla="*/ 49 w 122"/>
                  <a:gd name="T63" fmla="*/ 120 h 121"/>
                  <a:gd name="T64" fmla="*/ 61 w 122"/>
                  <a:gd name="T65" fmla="*/ 121 h 121"/>
                  <a:gd name="T66" fmla="*/ 73 w 122"/>
                  <a:gd name="T67" fmla="*/ 120 h 121"/>
                  <a:gd name="T68" fmla="*/ 85 w 122"/>
                  <a:gd name="T69" fmla="*/ 117 h 121"/>
                  <a:gd name="T70" fmla="*/ 95 w 122"/>
                  <a:gd name="T71" fmla="*/ 112 h 121"/>
                  <a:gd name="T72" fmla="*/ 104 w 122"/>
                  <a:gd name="T73" fmla="*/ 104 h 121"/>
                  <a:gd name="T74" fmla="*/ 112 w 122"/>
                  <a:gd name="T75" fmla="*/ 96 h 121"/>
                  <a:gd name="T76" fmla="*/ 117 w 122"/>
                  <a:gd name="T77" fmla="*/ 85 h 121"/>
                  <a:gd name="T78" fmla="*/ 121 w 122"/>
                  <a:gd name="T79" fmla="*/ 73 h 121"/>
                  <a:gd name="T80" fmla="*/ 122 w 122"/>
                  <a:gd name="T81" fmla="*/ 61 h 121"/>
                  <a:gd name="T82" fmla="*/ 121 w 122"/>
                  <a:gd name="T83" fmla="*/ 48 h 121"/>
                  <a:gd name="T84" fmla="*/ 117 w 122"/>
                  <a:gd name="T85" fmla="*/ 38 h 121"/>
                  <a:gd name="T86" fmla="*/ 112 w 122"/>
                  <a:gd name="T87" fmla="*/ 27 h 121"/>
                  <a:gd name="T88" fmla="*/ 104 w 122"/>
                  <a:gd name="T89" fmla="*/ 18 h 121"/>
                  <a:gd name="T90" fmla="*/ 95 w 122"/>
                  <a:gd name="T91" fmla="*/ 11 h 121"/>
                  <a:gd name="T92" fmla="*/ 85 w 122"/>
                  <a:gd name="T93" fmla="*/ 4 h 121"/>
                  <a:gd name="T94" fmla="*/ 73 w 122"/>
                  <a:gd name="T95" fmla="*/ 1 h 121"/>
                  <a:gd name="T96" fmla="*/ 61 w 122"/>
                  <a:gd name="T97" fmla="*/ 0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22" h="121">
                    <a:moveTo>
                      <a:pt x="61" y="97"/>
                    </a:moveTo>
                    <a:lnTo>
                      <a:pt x="54" y="96"/>
                    </a:lnTo>
                    <a:lnTo>
                      <a:pt x="47" y="93"/>
                    </a:lnTo>
                    <a:lnTo>
                      <a:pt x="41" y="90"/>
                    </a:lnTo>
                    <a:lnTo>
                      <a:pt x="36" y="86"/>
                    </a:lnTo>
                    <a:lnTo>
                      <a:pt x="31" y="81"/>
                    </a:lnTo>
                    <a:lnTo>
                      <a:pt x="28" y="75"/>
                    </a:lnTo>
                    <a:lnTo>
                      <a:pt x="26" y="68"/>
                    </a:lnTo>
                    <a:lnTo>
                      <a:pt x="26" y="61"/>
                    </a:lnTo>
                    <a:lnTo>
                      <a:pt x="26" y="54"/>
                    </a:lnTo>
                    <a:lnTo>
                      <a:pt x="28" y="47"/>
                    </a:lnTo>
                    <a:lnTo>
                      <a:pt x="31" y="41"/>
                    </a:lnTo>
                    <a:lnTo>
                      <a:pt x="36" y="35"/>
                    </a:lnTo>
                    <a:lnTo>
                      <a:pt x="41" y="31"/>
                    </a:lnTo>
                    <a:lnTo>
                      <a:pt x="47" y="28"/>
                    </a:lnTo>
                    <a:lnTo>
                      <a:pt x="54" y="26"/>
                    </a:lnTo>
                    <a:lnTo>
                      <a:pt x="61" y="25"/>
                    </a:lnTo>
                    <a:lnTo>
                      <a:pt x="68" y="26"/>
                    </a:lnTo>
                    <a:lnTo>
                      <a:pt x="75" y="28"/>
                    </a:lnTo>
                    <a:lnTo>
                      <a:pt x="81" y="31"/>
                    </a:lnTo>
                    <a:lnTo>
                      <a:pt x="86" y="35"/>
                    </a:lnTo>
                    <a:lnTo>
                      <a:pt x="90" y="41"/>
                    </a:lnTo>
                    <a:lnTo>
                      <a:pt x="94" y="47"/>
                    </a:lnTo>
                    <a:lnTo>
                      <a:pt x="96" y="54"/>
                    </a:lnTo>
                    <a:lnTo>
                      <a:pt x="97" y="61"/>
                    </a:lnTo>
                    <a:lnTo>
                      <a:pt x="96" y="68"/>
                    </a:lnTo>
                    <a:lnTo>
                      <a:pt x="94" y="75"/>
                    </a:lnTo>
                    <a:lnTo>
                      <a:pt x="90" y="81"/>
                    </a:lnTo>
                    <a:lnTo>
                      <a:pt x="86" y="86"/>
                    </a:lnTo>
                    <a:lnTo>
                      <a:pt x="81" y="90"/>
                    </a:lnTo>
                    <a:lnTo>
                      <a:pt x="75" y="93"/>
                    </a:lnTo>
                    <a:lnTo>
                      <a:pt x="68" y="96"/>
                    </a:lnTo>
                    <a:lnTo>
                      <a:pt x="61" y="97"/>
                    </a:lnTo>
                    <a:close/>
                    <a:moveTo>
                      <a:pt x="61" y="0"/>
                    </a:moveTo>
                    <a:lnTo>
                      <a:pt x="55" y="0"/>
                    </a:lnTo>
                    <a:lnTo>
                      <a:pt x="49" y="1"/>
                    </a:lnTo>
                    <a:lnTo>
                      <a:pt x="43" y="2"/>
                    </a:lnTo>
                    <a:lnTo>
                      <a:pt x="38" y="4"/>
                    </a:lnTo>
                    <a:lnTo>
                      <a:pt x="32" y="8"/>
                    </a:lnTo>
                    <a:lnTo>
                      <a:pt x="27" y="11"/>
                    </a:lnTo>
                    <a:lnTo>
                      <a:pt x="23" y="14"/>
                    </a:lnTo>
                    <a:lnTo>
                      <a:pt x="19" y="18"/>
                    </a:lnTo>
                    <a:lnTo>
                      <a:pt x="14" y="23"/>
                    </a:lnTo>
                    <a:lnTo>
                      <a:pt x="11" y="27"/>
                    </a:lnTo>
                    <a:lnTo>
                      <a:pt x="8" y="32"/>
                    </a:lnTo>
                    <a:lnTo>
                      <a:pt x="5" y="38"/>
                    </a:lnTo>
                    <a:lnTo>
                      <a:pt x="3" y="43"/>
                    </a:lnTo>
                    <a:lnTo>
                      <a:pt x="1" y="48"/>
                    </a:lnTo>
                    <a:lnTo>
                      <a:pt x="0" y="55"/>
                    </a:lnTo>
                    <a:lnTo>
                      <a:pt x="0" y="61"/>
                    </a:lnTo>
                    <a:lnTo>
                      <a:pt x="0" y="67"/>
                    </a:lnTo>
                    <a:lnTo>
                      <a:pt x="1" y="73"/>
                    </a:lnTo>
                    <a:lnTo>
                      <a:pt x="3" y="79"/>
                    </a:lnTo>
                    <a:lnTo>
                      <a:pt x="5" y="85"/>
                    </a:lnTo>
                    <a:lnTo>
                      <a:pt x="8" y="90"/>
                    </a:lnTo>
                    <a:lnTo>
                      <a:pt x="11" y="96"/>
                    </a:lnTo>
                    <a:lnTo>
                      <a:pt x="14" y="100"/>
                    </a:lnTo>
                    <a:lnTo>
                      <a:pt x="19" y="104"/>
                    </a:lnTo>
                    <a:lnTo>
                      <a:pt x="23" y="108"/>
                    </a:lnTo>
                    <a:lnTo>
                      <a:pt x="27" y="112"/>
                    </a:lnTo>
                    <a:lnTo>
                      <a:pt x="32" y="115"/>
                    </a:lnTo>
                    <a:lnTo>
                      <a:pt x="38" y="117"/>
                    </a:lnTo>
                    <a:lnTo>
                      <a:pt x="43" y="119"/>
                    </a:lnTo>
                    <a:lnTo>
                      <a:pt x="49" y="120"/>
                    </a:lnTo>
                    <a:lnTo>
                      <a:pt x="55" y="121"/>
                    </a:lnTo>
                    <a:lnTo>
                      <a:pt x="61" y="121"/>
                    </a:lnTo>
                    <a:lnTo>
                      <a:pt x="68" y="121"/>
                    </a:lnTo>
                    <a:lnTo>
                      <a:pt x="73" y="120"/>
                    </a:lnTo>
                    <a:lnTo>
                      <a:pt x="80" y="119"/>
                    </a:lnTo>
                    <a:lnTo>
                      <a:pt x="85" y="117"/>
                    </a:lnTo>
                    <a:lnTo>
                      <a:pt x="90" y="115"/>
                    </a:lnTo>
                    <a:lnTo>
                      <a:pt x="95" y="112"/>
                    </a:lnTo>
                    <a:lnTo>
                      <a:pt x="100" y="108"/>
                    </a:lnTo>
                    <a:lnTo>
                      <a:pt x="104" y="104"/>
                    </a:lnTo>
                    <a:lnTo>
                      <a:pt x="108" y="100"/>
                    </a:lnTo>
                    <a:lnTo>
                      <a:pt x="112" y="96"/>
                    </a:lnTo>
                    <a:lnTo>
                      <a:pt x="115" y="90"/>
                    </a:lnTo>
                    <a:lnTo>
                      <a:pt x="117" y="85"/>
                    </a:lnTo>
                    <a:lnTo>
                      <a:pt x="119" y="79"/>
                    </a:lnTo>
                    <a:lnTo>
                      <a:pt x="121" y="73"/>
                    </a:lnTo>
                    <a:lnTo>
                      <a:pt x="122" y="67"/>
                    </a:lnTo>
                    <a:lnTo>
                      <a:pt x="122" y="61"/>
                    </a:lnTo>
                    <a:lnTo>
                      <a:pt x="122" y="55"/>
                    </a:lnTo>
                    <a:lnTo>
                      <a:pt x="121" y="48"/>
                    </a:lnTo>
                    <a:lnTo>
                      <a:pt x="119" y="43"/>
                    </a:lnTo>
                    <a:lnTo>
                      <a:pt x="117" y="38"/>
                    </a:lnTo>
                    <a:lnTo>
                      <a:pt x="115" y="32"/>
                    </a:lnTo>
                    <a:lnTo>
                      <a:pt x="112" y="27"/>
                    </a:lnTo>
                    <a:lnTo>
                      <a:pt x="108" y="23"/>
                    </a:lnTo>
                    <a:lnTo>
                      <a:pt x="104" y="18"/>
                    </a:lnTo>
                    <a:lnTo>
                      <a:pt x="100" y="14"/>
                    </a:lnTo>
                    <a:lnTo>
                      <a:pt x="95" y="11"/>
                    </a:lnTo>
                    <a:lnTo>
                      <a:pt x="90" y="8"/>
                    </a:lnTo>
                    <a:lnTo>
                      <a:pt x="85" y="4"/>
                    </a:lnTo>
                    <a:lnTo>
                      <a:pt x="80" y="2"/>
                    </a:lnTo>
                    <a:lnTo>
                      <a:pt x="73" y="1"/>
                    </a:lnTo>
                    <a:lnTo>
                      <a:pt x="68" y="0"/>
                    </a:lnTo>
                    <a:lnTo>
                      <a:pt x="6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14" name="Freeform 63"/>
              <p:cNvSpPr>
                <a:spLocks noEditPoints="1"/>
              </p:cNvSpPr>
              <p:nvPr/>
            </p:nvSpPr>
            <p:spPr bwMode="auto">
              <a:xfrm>
                <a:off x="1547813" y="3330576"/>
                <a:ext cx="212725" cy="212725"/>
              </a:xfrm>
              <a:custGeom>
                <a:avLst/>
                <a:gdLst>
                  <a:gd name="T0" fmla="*/ 407 w 535"/>
                  <a:gd name="T1" fmla="*/ 408 h 536"/>
                  <a:gd name="T2" fmla="*/ 367 w 535"/>
                  <a:gd name="T3" fmla="*/ 436 h 536"/>
                  <a:gd name="T4" fmla="*/ 330 w 535"/>
                  <a:gd name="T5" fmla="*/ 452 h 536"/>
                  <a:gd name="T6" fmla="*/ 321 w 535"/>
                  <a:gd name="T7" fmla="*/ 465 h 536"/>
                  <a:gd name="T8" fmla="*/ 217 w 535"/>
                  <a:gd name="T9" fmla="*/ 461 h 536"/>
                  <a:gd name="T10" fmla="*/ 199 w 535"/>
                  <a:gd name="T11" fmla="*/ 449 h 536"/>
                  <a:gd name="T12" fmla="*/ 163 w 535"/>
                  <a:gd name="T13" fmla="*/ 432 h 536"/>
                  <a:gd name="T14" fmla="*/ 134 w 535"/>
                  <a:gd name="T15" fmla="*/ 409 h 536"/>
                  <a:gd name="T16" fmla="*/ 82 w 535"/>
                  <a:gd name="T17" fmla="*/ 433 h 536"/>
                  <a:gd name="T18" fmla="*/ 75 w 535"/>
                  <a:gd name="T19" fmla="*/ 316 h 536"/>
                  <a:gd name="T20" fmla="*/ 72 w 535"/>
                  <a:gd name="T21" fmla="*/ 287 h 536"/>
                  <a:gd name="T22" fmla="*/ 72 w 535"/>
                  <a:gd name="T23" fmla="*/ 246 h 536"/>
                  <a:gd name="T24" fmla="*/ 75 w 535"/>
                  <a:gd name="T25" fmla="*/ 217 h 536"/>
                  <a:gd name="T26" fmla="*/ 82 w 535"/>
                  <a:gd name="T27" fmla="*/ 99 h 536"/>
                  <a:gd name="T28" fmla="*/ 134 w 535"/>
                  <a:gd name="T29" fmla="*/ 124 h 536"/>
                  <a:gd name="T30" fmla="*/ 163 w 535"/>
                  <a:gd name="T31" fmla="*/ 101 h 536"/>
                  <a:gd name="T32" fmla="*/ 199 w 535"/>
                  <a:gd name="T33" fmla="*/ 84 h 536"/>
                  <a:gd name="T34" fmla="*/ 217 w 535"/>
                  <a:gd name="T35" fmla="*/ 72 h 536"/>
                  <a:gd name="T36" fmla="*/ 321 w 535"/>
                  <a:gd name="T37" fmla="*/ 68 h 536"/>
                  <a:gd name="T38" fmla="*/ 330 w 535"/>
                  <a:gd name="T39" fmla="*/ 81 h 536"/>
                  <a:gd name="T40" fmla="*/ 367 w 535"/>
                  <a:gd name="T41" fmla="*/ 97 h 536"/>
                  <a:gd name="T42" fmla="*/ 407 w 535"/>
                  <a:gd name="T43" fmla="*/ 124 h 536"/>
                  <a:gd name="T44" fmla="*/ 505 w 535"/>
                  <a:gd name="T45" fmla="*/ 188 h 536"/>
                  <a:gd name="T46" fmla="*/ 458 w 535"/>
                  <a:gd name="T47" fmla="*/ 221 h 536"/>
                  <a:gd name="T48" fmla="*/ 463 w 535"/>
                  <a:gd name="T49" fmla="*/ 256 h 536"/>
                  <a:gd name="T50" fmla="*/ 461 w 535"/>
                  <a:gd name="T51" fmla="*/ 297 h 536"/>
                  <a:gd name="T52" fmla="*/ 462 w 535"/>
                  <a:gd name="T53" fmla="*/ 319 h 536"/>
                  <a:gd name="T54" fmla="*/ 528 w 535"/>
                  <a:gd name="T55" fmla="*/ 329 h 536"/>
                  <a:gd name="T56" fmla="*/ 489 w 535"/>
                  <a:gd name="T57" fmla="*/ 276 h 536"/>
                  <a:gd name="T58" fmla="*/ 486 w 535"/>
                  <a:gd name="T59" fmla="*/ 238 h 536"/>
                  <a:gd name="T60" fmla="*/ 534 w 535"/>
                  <a:gd name="T61" fmla="*/ 197 h 536"/>
                  <a:gd name="T62" fmla="*/ 467 w 535"/>
                  <a:gd name="T63" fmla="*/ 74 h 536"/>
                  <a:gd name="T64" fmla="*/ 455 w 535"/>
                  <a:gd name="T65" fmla="*/ 70 h 536"/>
                  <a:gd name="T66" fmla="*/ 380 w 535"/>
                  <a:gd name="T67" fmla="*/ 74 h 536"/>
                  <a:gd name="T68" fmla="*/ 346 w 535"/>
                  <a:gd name="T69" fmla="*/ 8 h 536"/>
                  <a:gd name="T70" fmla="*/ 205 w 535"/>
                  <a:gd name="T71" fmla="*/ 0 h 536"/>
                  <a:gd name="T72" fmla="*/ 192 w 535"/>
                  <a:gd name="T73" fmla="*/ 13 h 536"/>
                  <a:gd name="T74" fmla="*/ 143 w 535"/>
                  <a:gd name="T75" fmla="*/ 84 h 536"/>
                  <a:gd name="T76" fmla="*/ 74 w 535"/>
                  <a:gd name="T77" fmla="*/ 70 h 536"/>
                  <a:gd name="T78" fmla="*/ 0 w 535"/>
                  <a:gd name="T79" fmla="*/ 191 h 536"/>
                  <a:gd name="T80" fmla="*/ 49 w 535"/>
                  <a:gd name="T81" fmla="*/ 229 h 536"/>
                  <a:gd name="T82" fmla="*/ 46 w 535"/>
                  <a:gd name="T83" fmla="*/ 266 h 536"/>
                  <a:gd name="T84" fmla="*/ 48 w 535"/>
                  <a:gd name="T85" fmla="*/ 303 h 536"/>
                  <a:gd name="T86" fmla="*/ 0 w 535"/>
                  <a:gd name="T87" fmla="*/ 340 h 536"/>
                  <a:gd name="T88" fmla="*/ 73 w 535"/>
                  <a:gd name="T89" fmla="*/ 463 h 536"/>
                  <a:gd name="T90" fmla="*/ 143 w 535"/>
                  <a:gd name="T91" fmla="*/ 449 h 536"/>
                  <a:gd name="T92" fmla="*/ 192 w 535"/>
                  <a:gd name="T93" fmla="*/ 523 h 536"/>
                  <a:gd name="T94" fmla="*/ 205 w 535"/>
                  <a:gd name="T95" fmla="*/ 536 h 536"/>
                  <a:gd name="T96" fmla="*/ 346 w 535"/>
                  <a:gd name="T97" fmla="*/ 528 h 536"/>
                  <a:gd name="T98" fmla="*/ 364 w 535"/>
                  <a:gd name="T99" fmla="*/ 467 h 536"/>
                  <a:gd name="T100" fmla="*/ 409 w 535"/>
                  <a:gd name="T101" fmla="*/ 437 h 536"/>
                  <a:gd name="T102" fmla="*/ 458 w 535"/>
                  <a:gd name="T103" fmla="*/ 463 h 536"/>
                  <a:gd name="T104" fmla="*/ 467 w 535"/>
                  <a:gd name="T105" fmla="*/ 459 h 536"/>
                  <a:gd name="T106" fmla="*/ 535 w 535"/>
                  <a:gd name="T107" fmla="*/ 335 h 5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535" h="536">
                    <a:moveTo>
                      <a:pt x="453" y="433"/>
                    </a:moveTo>
                    <a:lnTo>
                      <a:pt x="414" y="410"/>
                    </a:lnTo>
                    <a:lnTo>
                      <a:pt x="410" y="409"/>
                    </a:lnTo>
                    <a:lnTo>
                      <a:pt x="407" y="408"/>
                    </a:lnTo>
                    <a:lnTo>
                      <a:pt x="403" y="409"/>
                    </a:lnTo>
                    <a:lnTo>
                      <a:pt x="399" y="411"/>
                    </a:lnTo>
                    <a:lnTo>
                      <a:pt x="383" y="424"/>
                    </a:lnTo>
                    <a:lnTo>
                      <a:pt x="367" y="436"/>
                    </a:lnTo>
                    <a:lnTo>
                      <a:pt x="359" y="441"/>
                    </a:lnTo>
                    <a:lnTo>
                      <a:pt x="350" y="446"/>
                    </a:lnTo>
                    <a:lnTo>
                      <a:pt x="340" y="449"/>
                    </a:lnTo>
                    <a:lnTo>
                      <a:pt x="330" y="452"/>
                    </a:lnTo>
                    <a:lnTo>
                      <a:pt x="326" y="454"/>
                    </a:lnTo>
                    <a:lnTo>
                      <a:pt x="323" y="457"/>
                    </a:lnTo>
                    <a:lnTo>
                      <a:pt x="321" y="461"/>
                    </a:lnTo>
                    <a:lnTo>
                      <a:pt x="321" y="465"/>
                    </a:lnTo>
                    <a:lnTo>
                      <a:pt x="321" y="511"/>
                    </a:lnTo>
                    <a:lnTo>
                      <a:pt x="218" y="511"/>
                    </a:lnTo>
                    <a:lnTo>
                      <a:pt x="218" y="465"/>
                    </a:lnTo>
                    <a:lnTo>
                      <a:pt x="217" y="461"/>
                    </a:lnTo>
                    <a:lnTo>
                      <a:pt x="216" y="457"/>
                    </a:lnTo>
                    <a:lnTo>
                      <a:pt x="213" y="454"/>
                    </a:lnTo>
                    <a:lnTo>
                      <a:pt x="208" y="452"/>
                    </a:lnTo>
                    <a:lnTo>
                      <a:pt x="199" y="449"/>
                    </a:lnTo>
                    <a:lnTo>
                      <a:pt x="189" y="446"/>
                    </a:lnTo>
                    <a:lnTo>
                      <a:pt x="180" y="441"/>
                    </a:lnTo>
                    <a:lnTo>
                      <a:pt x="172" y="437"/>
                    </a:lnTo>
                    <a:lnTo>
                      <a:pt x="163" y="432"/>
                    </a:lnTo>
                    <a:lnTo>
                      <a:pt x="155" y="425"/>
                    </a:lnTo>
                    <a:lnTo>
                      <a:pt x="146" y="419"/>
                    </a:lnTo>
                    <a:lnTo>
                      <a:pt x="137" y="411"/>
                    </a:lnTo>
                    <a:lnTo>
                      <a:pt x="134" y="409"/>
                    </a:lnTo>
                    <a:lnTo>
                      <a:pt x="130" y="408"/>
                    </a:lnTo>
                    <a:lnTo>
                      <a:pt x="126" y="409"/>
                    </a:lnTo>
                    <a:lnTo>
                      <a:pt x="122" y="410"/>
                    </a:lnTo>
                    <a:lnTo>
                      <a:pt x="82" y="433"/>
                    </a:lnTo>
                    <a:lnTo>
                      <a:pt x="30" y="344"/>
                    </a:lnTo>
                    <a:lnTo>
                      <a:pt x="70" y="321"/>
                    </a:lnTo>
                    <a:lnTo>
                      <a:pt x="73" y="319"/>
                    </a:lnTo>
                    <a:lnTo>
                      <a:pt x="75" y="316"/>
                    </a:lnTo>
                    <a:lnTo>
                      <a:pt x="75" y="311"/>
                    </a:lnTo>
                    <a:lnTo>
                      <a:pt x="75" y="307"/>
                    </a:lnTo>
                    <a:lnTo>
                      <a:pt x="74" y="297"/>
                    </a:lnTo>
                    <a:lnTo>
                      <a:pt x="72" y="287"/>
                    </a:lnTo>
                    <a:lnTo>
                      <a:pt x="72" y="277"/>
                    </a:lnTo>
                    <a:lnTo>
                      <a:pt x="71" y="266"/>
                    </a:lnTo>
                    <a:lnTo>
                      <a:pt x="72" y="257"/>
                    </a:lnTo>
                    <a:lnTo>
                      <a:pt x="72" y="246"/>
                    </a:lnTo>
                    <a:lnTo>
                      <a:pt x="74" y="236"/>
                    </a:lnTo>
                    <a:lnTo>
                      <a:pt x="75" y="226"/>
                    </a:lnTo>
                    <a:lnTo>
                      <a:pt x="76" y="221"/>
                    </a:lnTo>
                    <a:lnTo>
                      <a:pt x="75" y="217"/>
                    </a:lnTo>
                    <a:lnTo>
                      <a:pt x="73" y="214"/>
                    </a:lnTo>
                    <a:lnTo>
                      <a:pt x="70" y="212"/>
                    </a:lnTo>
                    <a:lnTo>
                      <a:pt x="30" y="188"/>
                    </a:lnTo>
                    <a:lnTo>
                      <a:pt x="82" y="99"/>
                    </a:lnTo>
                    <a:lnTo>
                      <a:pt x="122" y="122"/>
                    </a:lnTo>
                    <a:lnTo>
                      <a:pt x="126" y="124"/>
                    </a:lnTo>
                    <a:lnTo>
                      <a:pt x="130" y="124"/>
                    </a:lnTo>
                    <a:lnTo>
                      <a:pt x="134" y="124"/>
                    </a:lnTo>
                    <a:lnTo>
                      <a:pt x="137" y="121"/>
                    </a:lnTo>
                    <a:lnTo>
                      <a:pt x="146" y="114"/>
                    </a:lnTo>
                    <a:lnTo>
                      <a:pt x="155" y="106"/>
                    </a:lnTo>
                    <a:lnTo>
                      <a:pt x="163" y="101"/>
                    </a:lnTo>
                    <a:lnTo>
                      <a:pt x="172" y="96"/>
                    </a:lnTo>
                    <a:lnTo>
                      <a:pt x="180" y="91"/>
                    </a:lnTo>
                    <a:lnTo>
                      <a:pt x="189" y="87"/>
                    </a:lnTo>
                    <a:lnTo>
                      <a:pt x="199" y="84"/>
                    </a:lnTo>
                    <a:lnTo>
                      <a:pt x="208" y="81"/>
                    </a:lnTo>
                    <a:lnTo>
                      <a:pt x="213" y="78"/>
                    </a:lnTo>
                    <a:lnTo>
                      <a:pt x="215" y="76"/>
                    </a:lnTo>
                    <a:lnTo>
                      <a:pt x="217" y="72"/>
                    </a:lnTo>
                    <a:lnTo>
                      <a:pt x="218" y="68"/>
                    </a:lnTo>
                    <a:lnTo>
                      <a:pt x="218" y="26"/>
                    </a:lnTo>
                    <a:lnTo>
                      <a:pt x="321" y="26"/>
                    </a:lnTo>
                    <a:lnTo>
                      <a:pt x="321" y="68"/>
                    </a:lnTo>
                    <a:lnTo>
                      <a:pt x="321" y="72"/>
                    </a:lnTo>
                    <a:lnTo>
                      <a:pt x="323" y="76"/>
                    </a:lnTo>
                    <a:lnTo>
                      <a:pt x="326" y="78"/>
                    </a:lnTo>
                    <a:lnTo>
                      <a:pt x="330" y="81"/>
                    </a:lnTo>
                    <a:lnTo>
                      <a:pt x="340" y="84"/>
                    </a:lnTo>
                    <a:lnTo>
                      <a:pt x="350" y="87"/>
                    </a:lnTo>
                    <a:lnTo>
                      <a:pt x="360" y="91"/>
                    </a:lnTo>
                    <a:lnTo>
                      <a:pt x="367" y="97"/>
                    </a:lnTo>
                    <a:lnTo>
                      <a:pt x="383" y="107"/>
                    </a:lnTo>
                    <a:lnTo>
                      <a:pt x="399" y="121"/>
                    </a:lnTo>
                    <a:lnTo>
                      <a:pt x="403" y="124"/>
                    </a:lnTo>
                    <a:lnTo>
                      <a:pt x="407" y="124"/>
                    </a:lnTo>
                    <a:lnTo>
                      <a:pt x="410" y="124"/>
                    </a:lnTo>
                    <a:lnTo>
                      <a:pt x="414" y="122"/>
                    </a:lnTo>
                    <a:lnTo>
                      <a:pt x="453" y="99"/>
                    </a:lnTo>
                    <a:lnTo>
                      <a:pt x="505" y="188"/>
                    </a:lnTo>
                    <a:lnTo>
                      <a:pt x="465" y="212"/>
                    </a:lnTo>
                    <a:lnTo>
                      <a:pt x="462" y="214"/>
                    </a:lnTo>
                    <a:lnTo>
                      <a:pt x="460" y="217"/>
                    </a:lnTo>
                    <a:lnTo>
                      <a:pt x="458" y="221"/>
                    </a:lnTo>
                    <a:lnTo>
                      <a:pt x="458" y="226"/>
                    </a:lnTo>
                    <a:lnTo>
                      <a:pt x="461" y="235"/>
                    </a:lnTo>
                    <a:lnTo>
                      <a:pt x="462" y="246"/>
                    </a:lnTo>
                    <a:lnTo>
                      <a:pt x="463" y="256"/>
                    </a:lnTo>
                    <a:lnTo>
                      <a:pt x="463" y="266"/>
                    </a:lnTo>
                    <a:lnTo>
                      <a:pt x="463" y="277"/>
                    </a:lnTo>
                    <a:lnTo>
                      <a:pt x="462" y="287"/>
                    </a:lnTo>
                    <a:lnTo>
                      <a:pt x="461" y="297"/>
                    </a:lnTo>
                    <a:lnTo>
                      <a:pt x="458" y="307"/>
                    </a:lnTo>
                    <a:lnTo>
                      <a:pt x="458" y="311"/>
                    </a:lnTo>
                    <a:lnTo>
                      <a:pt x="460" y="316"/>
                    </a:lnTo>
                    <a:lnTo>
                      <a:pt x="462" y="319"/>
                    </a:lnTo>
                    <a:lnTo>
                      <a:pt x="465" y="321"/>
                    </a:lnTo>
                    <a:lnTo>
                      <a:pt x="505" y="344"/>
                    </a:lnTo>
                    <a:lnTo>
                      <a:pt x="453" y="433"/>
                    </a:lnTo>
                    <a:close/>
                    <a:moveTo>
                      <a:pt x="528" y="329"/>
                    </a:moveTo>
                    <a:lnTo>
                      <a:pt x="485" y="303"/>
                    </a:lnTo>
                    <a:lnTo>
                      <a:pt x="486" y="294"/>
                    </a:lnTo>
                    <a:lnTo>
                      <a:pt x="487" y="285"/>
                    </a:lnTo>
                    <a:lnTo>
                      <a:pt x="489" y="276"/>
                    </a:lnTo>
                    <a:lnTo>
                      <a:pt x="489" y="266"/>
                    </a:lnTo>
                    <a:lnTo>
                      <a:pt x="489" y="257"/>
                    </a:lnTo>
                    <a:lnTo>
                      <a:pt x="487" y="248"/>
                    </a:lnTo>
                    <a:lnTo>
                      <a:pt x="486" y="238"/>
                    </a:lnTo>
                    <a:lnTo>
                      <a:pt x="485" y="229"/>
                    </a:lnTo>
                    <a:lnTo>
                      <a:pt x="528" y="205"/>
                    </a:lnTo>
                    <a:lnTo>
                      <a:pt x="531" y="202"/>
                    </a:lnTo>
                    <a:lnTo>
                      <a:pt x="534" y="197"/>
                    </a:lnTo>
                    <a:lnTo>
                      <a:pt x="535" y="192"/>
                    </a:lnTo>
                    <a:lnTo>
                      <a:pt x="533" y="187"/>
                    </a:lnTo>
                    <a:lnTo>
                      <a:pt x="468" y="76"/>
                    </a:lnTo>
                    <a:lnTo>
                      <a:pt x="467" y="74"/>
                    </a:lnTo>
                    <a:lnTo>
                      <a:pt x="465" y="72"/>
                    </a:lnTo>
                    <a:lnTo>
                      <a:pt x="463" y="71"/>
                    </a:lnTo>
                    <a:lnTo>
                      <a:pt x="461" y="70"/>
                    </a:lnTo>
                    <a:lnTo>
                      <a:pt x="455" y="70"/>
                    </a:lnTo>
                    <a:lnTo>
                      <a:pt x="451" y="71"/>
                    </a:lnTo>
                    <a:lnTo>
                      <a:pt x="409" y="96"/>
                    </a:lnTo>
                    <a:lnTo>
                      <a:pt x="395" y="85"/>
                    </a:lnTo>
                    <a:lnTo>
                      <a:pt x="380" y="74"/>
                    </a:lnTo>
                    <a:lnTo>
                      <a:pt x="364" y="66"/>
                    </a:lnTo>
                    <a:lnTo>
                      <a:pt x="347" y="59"/>
                    </a:lnTo>
                    <a:lnTo>
                      <a:pt x="347" y="13"/>
                    </a:lnTo>
                    <a:lnTo>
                      <a:pt x="346" y="8"/>
                    </a:lnTo>
                    <a:lnTo>
                      <a:pt x="342" y="4"/>
                    </a:lnTo>
                    <a:lnTo>
                      <a:pt x="338" y="1"/>
                    </a:lnTo>
                    <a:lnTo>
                      <a:pt x="334" y="0"/>
                    </a:lnTo>
                    <a:lnTo>
                      <a:pt x="205" y="0"/>
                    </a:lnTo>
                    <a:lnTo>
                      <a:pt x="200" y="1"/>
                    </a:lnTo>
                    <a:lnTo>
                      <a:pt x="196" y="4"/>
                    </a:lnTo>
                    <a:lnTo>
                      <a:pt x="193" y="8"/>
                    </a:lnTo>
                    <a:lnTo>
                      <a:pt x="192" y="13"/>
                    </a:lnTo>
                    <a:lnTo>
                      <a:pt x="192" y="59"/>
                    </a:lnTo>
                    <a:lnTo>
                      <a:pt x="175" y="66"/>
                    </a:lnTo>
                    <a:lnTo>
                      <a:pt x="159" y="73"/>
                    </a:lnTo>
                    <a:lnTo>
                      <a:pt x="143" y="84"/>
                    </a:lnTo>
                    <a:lnTo>
                      <a:pt x="127" y="96"/>
                    </a:lnTo>
                    <a:lnTo>
                      <a:pt x="84" y="71"/>
                    </a:lnTo>
                    <a:lnTo>
                      <a:pt x="78" y="70"/>
                    </a:lnTo>
                    <a:lnTo>
                      <a:pt x="74" y="70"/>
                    </a:lnTo>
                    <a:lnTo>
                      <a:pt x="70" y="72"/>
                    </a:lnTo>
                    <a:lnTo>
                      <a:pt x="67" y="76"/>
                    </a:lnTo>
                    <a:lnTo>
                      <a:pt x="2" y="187"/>
                    </a:lnTo>
                    <a:lnTo>
                      <a:pt x="0" y="191"/>
                    </a:lnTo>
                    <a:lnTo>
                      <a:pt x="0" y="197"/>
                    </a:lnTo>
                    <a:lnTo>
                      <a:pt x="2" y="201"/>
                    </a:lnTo>
                    <a:lnTo>
                      <a:pt x="6" y="205"/>
                    </a:lnTo>
                    <a:lnTo>
                      <a:pt x="49" y="229"/>
                    </a:lnTo>
                    <a:lnTo>
                      <a:pt x="47" y="238"/>
                    </a:lnTo>
                    <a:lnTo>
                      <a:pt x="46" y="248"/>
                    </a:lnTo>
                    <a:lnTo>
                      <a:pt x="46" y="257"/>
                    </a:lnTo>
                    <a:lnTo>
                      <a:pt x="46" y="266"/>
                    </a:lnTo>
                    <a:lnTo>
                      <a:pt x="46" y="276"/>
                    </a:lnTo>
                    <a:lnTo>
                      <a:pt x="46" y="285"/>
                    </a:lnTo>
                    <a:lnTo>
                      <a:pt x="47" y="294"/>
                    </a:lnTo>
                    <a:lnTo>
                      <a:pt x="48" y="303"/>
                    </a:lnTo>
                    <a:lnTo>
                      <a:pt x="6" y="329"/>
                    </a:lnTo>
                    <a:lnTo>
                      <a:pt x="2" y="332"/>
                    </a:lnTo>
                    <a:lnTo>
                      <a:pt x="0" y="335"/>
                    </a:lnTo>
                    <a:lnTo>
                      <a:pt x="0" y="340"/>
                    </a:lnTo>
                    <a:lnTo>
                      <a:pt x="1" y="345"/>
                    </a:lnTo>
                    <a:lnTo>
                      <a:pt x="65" y="457"/>
                    </a:lnTo>
                    <a:lnTo>
                      <a:pt x="69" y="461"/>
                    </a:lnTo>
                    <a:lnTo>
                      <a:pt x="73" y="463"/>
                    </a:lnTo>
                    <a:lnTo>
                      <a:pt x="78" y="463"/>
                    </a:lnTo>
                    <a:lnTo>
                      <a:pt x="83" y="461"/>
                    </a:lnTo>
                    <a:lnTo>
                      <a:pt x="127" y="437"/>
                    </a:lnTo>
                    <a:lnTo>
                      <a:pt x="143" y="449"/>
                    </a:lnTo>
                    <a:lnTo>
                      <a:pt x="159" y="459"/>
                    </a:lnTo>
                    <a:lnTo>
                      <a:pt x="175" y="467"/>
                    </a:lnTo>
                    <a:lnTo>
                      <a:pt x="192" y="474"/>
                    </a:lnTo>
                    <a:lnTo>
                      <a:pt x="192" y="523"/>
                    </a:lnTo>
                    <a:lnTo>
                      <a:pt x="193" y="528"/>
                    </a:lnTo>
                    <a:lnTo>
                      <a:pt x="196" y="533"/>
                    </a:lnTo>
                    <a:lnTo>
                      <a:pt x="200" y="535"/>
                    </a:lnTo>
                    <a:lnTo>
                      <a:pt x="205" y="536"/>
                    </a:lnTo>
                    <a:lnTo>
                      <a:pt x="334" y="536"/>
                    </a:lnTo>
                    <a:lnTo>
                      <a:pt x="338" y="535"/>
                    </a:lnTo>
                    <a:lnTo>
                      <a:pt x="342" y="533"/>
                    </a:lnTo>
                    <a:lnTo>
                      <a:pt x="346" y="528"/>
                    </a:lnTo>
                    <a:lnTo>
                      <a:pt x="347" y="523"/>
                    </a:lnTo>
                    <a:lnTo>
                      <a:pt x="347" y="474"/>
                    </a:lnTo>
                    <a:lnTo>
                      <a:pt x="355" y="470"/>
                    </a:lnTo>
                    <a:lnTo>
                      <a:pt x="364" y="467"/>
                    </a:lnTo>
                    <a:lnTo>
                      <a:pt x="373" y="463"/>
                    </a:lnTo>
                    <a:lnTo>
                      <a:pt x="380" y="459"/>
                    </a:lnTo>
                    <a:lnTo>
                      <a:pt x="395" y="449"/>
                    </a:lnTo>
                    <a:lnTo>
                      <a:pt x="409" y="437"/>
                    </a:lnTo>
                    <a:lnTo>
                      <a:pt x="452" y="461"/>
                    </a:lnTo>
                    <a:lnTo>
                      <a:pt x="454" y="463"/>
                    </a:lnTo>
                    <a:lnTo>
                      <a:pt x="456" y="463"/>
                    </a:lnTo>
                    <a:lnTo>
                      <a:pt x="458" y="463"/>
                    </a:lnTo>
                    <a:lnTo>
                      <a:pt x="462" y="462"/>
                    </a:lnTo>
                    <a:lnTo>
                      <a:pt x="464" y="462"/>
                    </a:lnTo>
                    <a:lnTo>
                      <a:pt x="466" y="461"/>
                    </a:lnTo>
                    <a:lnTo>
                      <a:pt x="467" y="459"/>
                    </a:lnTo>
                    <a:lnTo>
                      <a:pt x="469" y="457"/>
                    </a:lnTo>
                    <a:lnTo>
                      <a:pt x="533" y="345"/>
                    </a:lnTo>
                    <a:lnTo>
                      <a:pt x="535" y="340"/>
                    </a:lnTo>
                    <a:lnTo>
                      <a:pt x="535" y="335"/>
                    </a:lnTo>
                    <a:lnTo>
                      <a:pt x="533" y="332"/>
                    </a:lnTo>
                    <a:lnTo>
                      <a:pt x="528" y="32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15" name="Freeform 64"/>
              <p:cNvSpPr>
                <a:spLocks noEditPoints="1"/>
              </p:cNvSpPr>
              <p:nvPr/>
            </p:nvSpPr>
            <p:spPr bwMode="auto">
              <a:xfrm>
                <a:off x="1727201" y="3240088"/>
                <a:ext cx="122238" cy="125413"/>
              </a:xfrm>
              <a:custGeom>
                <a:avLst/>
                <a:gdLst>
                  <a:gd name="T0" fmla="*/ 235 w 308"/>
                  <a:gd name="T1" fmla="*/ 227 h 315"/>
                  <a:gd name="T2" fmla="*/ 223 w 308"/>
                  <a:gd name="T3" fmla="*/ 229 h 315"/>
                  <a:gd name="T4" fmla="*/ 195 w 308"/>
                  <a:gd name="T5" fmla="*/ 248 h 315"/>
                  <a:gd name="T6" fmla="*/ 178 w 308"/>
                  <a:gd name="T7" fmla="*/ 257 h 315"/>
                  <a:gd name="T8" fmla="*/ 176 w 308"/>
                  <a:gd name="T9" fmla="*/ 289 h 315"/>
                  <a:gd name="T10" fmla="*/ 136 w 308"/>
                  <a:gd name="T11" fmla="*/ 260 h 315"/>
                  <a:gd name="T12" fmla="*/ 129 w 308"/>
                  <a:gd name="T13" fmla="*/ 253 h 315"/>
                  <a:gd name="T14" fmla="*/ 95 w 308"/>
                  <a:gd name="T15" fmla="*/ 237 h 315"/>
                  <a:gd name="T16" fmla="*/ 79 w 308"/>
                  <a:gd name="T17" fmla="*/ 226 h 315"/>
                  <a:gd name="T18" fmla="*/ 50 w 308"/>
                  <a:gd name="T19" fmla="*/ 240 h 315"/>
                  <a:gd name="T20" fmla="*/ 55 w 308"/>
                  <a:gd name="T21" fmla="*/ 192 h 315"/>
                  <a:gd name="T22" fmla="*/ 58 w 308"/>
                  <a:gd name="T23" fmla="*/ 180 h 315"/>
                  <a:gd name="T24" fmla="*/ 56 w 308"/>
                  <a:gd name="T25" fmla="*/ 145 h 315"/>
                  <a:gd name="T26" fmla="*/ 57 w 308"/>
                  <a:gd name="T27" fmla="*/ 126 h 315"/>
                  <a:gd name="T28" fmla="*/ 31 w 308"/>
                  <a:gd name="T29" fmla="*/ 108 h 315"/>
                  <a:gd name="T30" fmla="*/ 76 w 308"/>
                  <a:gd name="T31" fmla="*/ 87 h 315"/>
                  <a:gd name="T32" fmla="*/ 87 w 308"/>
                  <a:gd name="T33" fmla="*/ 84 h 315"/>
                  <a:gd name="T34" fmla="*/ 117 w 308"/>
                  <a:gd name="T35" fmla="*/ 66 h 315"/>
                  <a:gd name="T36" fmla="*/ 135 w 308"/>
                  <a:gd name="T37" fmla="*/ 57 h 315"/>
                  <a:gd name="T38" fmla="*/ 137 w 308"/>
                  <a:gd name="T39" fmla="*/ 25 h 315"/>
                  <a:gd name="T40" fmla="*/ 176 w 308"/>
                  <a:gd name="T41" fmla="*/ 53 h 315"/>
                  <a:gd name="T42" fmla="*/ 185 w 308"/>
                  <a:gd name="T43" fmla="*/ 62 h 315"/>
                  <a:gd name="T44" fmla="*/ 215 w 308"/>
                  <a:gd name="T45" fmla="*/ 77 h 315"/>
                  <a:gd name="T46" fmla="*/ 231 w 308"/>
                  <a:gd name="T47" fmla="*/ 88 h 315"/>
                  <a:gd name="T48" fmla="*/ 259 w 308"/>
                  <a:gd name="T49" fmla="*/ 76 h 315"/>
                  <a:gd name="T50" fmla="*/ 254 w 308"/>
                  <a:gd name="T51" fmla="*/ 123 h 315"/>
                  <a:gd name="T52" fmla="*/ 251 w 308"/>
                  <a:gd name="T53" fmla="*/ 134 h 315"/>
                  <a:gd name="T54" fmla="*/ 253 w 308"/>
                  <a:gd name="T55" fmla="*/ 169 h 315"/>
                  <a:gd name="T56" fmla="*/ 252 w 308"/>
                  <a:gd name="T57" fmla="*/ 188 h 315"/>
                  <a:gd name="T58" fmla="*/ 278 w 308"/>
                  <a:gd name="T59" fmla="*/ 207 h 315"/>
                  <a:gd name="T60" fmla="*/ 278 w 308"/>
                  <a:gd name="T61" fmla="*/ 178 h 315"/>
                  <a:gd name="T62" fmla="*/ 279 w 308"/>
                  <a:gd name="T63" fmla="*/ 148 h 315"/>
                  <a:gd name="T64" fmla="*/ 304 w 308"/>
                  <a:gd name="T65" fmla="*/ 123 h 315"/>
                  <a:gd name="T66" fmla="*/ 308 w 308"/>
                  <a:gd name="T67" fmla="*/ 116 h 315"/>
                  <a:gd name="T68" fmla="*/ 275 w 308"/>
                  <a:gd name="T69" fmla="*/ 51 h 315"/>
                  <a:gd name="T70" fmla="*/ 269 w 308"/>
                  <a:gd name="T71" fmla="*/ 46 h 315"/>
                  <a:gd name="T72" fmla="*/ 256 w 308"/>
                  <a:gd name="T73" fmla="*/ 46 h 315"/>
                  <a:gd name="T74" fmla="*/ 218 w 308"/>
                  <a:gd name="T75" fmla="*/ 49 h 315"/>
                  <a:gd name="T76" fmla="*/ 202 w 308"/>
                  <a:gd name="T77" fmla="*/ 13 h 315"/>
                  <a:gd name="T78" fmla="*/ 193 w 308"/>
                  <a:gd name="T79" fmla="*/ 2 h 315"/>
                  <a:gd name="T80" fmla="*/ 119 w 308"/>
                  <a:gd name="T81" fmla="*/ 2 h 315"/>
                  <a:gd name="T82" fmla="*/ 112 w 308"/>
                  <a:gd name="T83" fmla="*/ 13 h 315"/>
                  <a:gd name="T84" fmla="*/ 93 w 308"/>
                  <a:gd name="T85" fmla="*/ 50 h 315"/>
                  <a:gd name="T86" fmla="*/ 52 w 308"/>
                  <a:gd name="T87" fmla="*/ 46 h 315"/>
                  <a:gd name="T88" fmla="*/ 37 w 308"/>
                  <a:gd name="T89" fmla="*/ 47 h 315"/>
                  <a:gd name="T90" fmla="*/ 1 w 308"/>
                  <a:gd name="T91" fmla="*/ 111 h 315"/>
                  <a:gd name="T92" fmla="*/ 3 w 308"/>
                  <a:gd name="T93" fmla="*/ 121 h 315"/>
                  <a:gd name="T94" fmla="*/ 31 w 308"/>
                  <a:gd name="T95" fmla="*/ 138 h 315"/>
                  <a:gd name="T96" fmla="*/ 30 w 308"/>
                  <a:gd name="T97" fmla="*/ 167 h 315"/>
                  <a:gd name="T98" fmla="*/ 4 w 308"/>
                  <a:gd name="T99" fmla="*/ 193 h 315"/>
                  <a:gd name="T100" fmla="*/ 1 w 308"/>
                  <a:gd name="T101" fmla="*/ 199 h 315"/>
                  <a:gd name="T102" fmla="*/ 34 w 308"/>
                  <a:gd name="T103" fmla="*/ 263 h 315"/>
                  <a:gd name="T104" fmla="*/ 46 w 308"/>
                  <a:gd name="T105" fmla="*/ 270 h 315"/>
                  <a:gd name="T106" fmla="*/ 85 w 308"/>
                  <a:gd name="T107" fmla="*/ 259 h 315"/>
                  <a:gd name="T108" fmla="*/ 112 w 308"/>
                  <a:gd name="T109" fmla="*/ 274 h 315"/>
                  <a:gd name="T110" fmla="*/ 116 w 308"/>
                  <a:gd name="T111" fmla="*/ 311 h 315"/>
                  <a:gd name="T112" fmla="*/ 189 w 308"/>
                  <a:gd name="T113" fmla="*/ 315 h 315"/>
                  <a:gd name="T114" fmla="*/ 201 w 308"/>
                  <a:gd name="T115" fmla="*/ 306 h 315"/>
                  <a:gd name="T116" fmla="*/ 210 w 308"/>
                  <a:gd name="T117" fmla="*/ 270 h 315"/>
                  <a:gd name="T118" fmla="*/ 234 w 308"/>
                  <a:gd name="T119" fmla="*/ 255 h 315"/>
                  <a:gd name="T120" fmla="*/ 267 w 308"/>
                  <a:gd name="T121" fmla="*/ 270 h 315"/>
                  <a:gd name="T122" fmla="*/ 307 w 308"/>
                  <a:gd name="T123" fmla="*/ 208 h 315"/>
                  <a:gd name="T124" fmla="*/ 306 w 308"/>
                  <a:gd name="T125" fmla="*/ 194 h 3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08" h="315">
                    <a:moveTo>
                      <a:pt x="260" y="240"/>
                    </a:moveTo>
                    <a:lnTo>
                      <a:pt x="239" y="228"/>
                    </a:lnTo>
                    <a:lnTo>
                      <a:pt x="235" y="227"/>
                    </a:lnTo>
                    <a:lnTo>
                      <a:pt x="231" y="226"/>
                    </a:lnTo>
                    <a:lnTo>
                      <a:pt x="227" y="227"/>
                    </a:lnTo>
                    <a:lnTo>
                      <a:pt x="223" y="229"/>
                    </a:lnTo>
                    <a:lnTo>
                      <a:pt x="215" y="237"/>
                    </a:lnTo>
                    <a:lnTo>
                      <a:pt x="205" y="243"/>
                    </a:lnTo>
                    <a:lnTo>
                      <a:pt x="195" y="248"/>
                    </a:lnTo>
                    <a:lnTo>
                      <a:pt x="185" y="253"/>
                    </a:lnTo>
                    <a:lnTo>
                      <a:pt x="181" y="255"/>
                    </a:lnTo>
                    <a:lnTo>
                      <a:pt x="178" y="257"/>
                    </a:lnTo>
                    <a:lnTo>
                      <a:pt x="177" y="260"/>
                    </a:lnTo>
                    <a:lnTo>
                      <a:pt x="176" y="265"/>
                    </a:lnTo>
                    <a:lnTo>
                      <a:pt x="176" y="289"/>
                    </a:lnTo>
                    <a:lnTo>
                      <a:pt x="137" y="289"/>
                    </a:lnTo>
                    <a:lnTo>
                      <a:pt x="137" y="265"/>
                    </a:lnTo>
                    <a:lnTo>
                      <a:pt x="136" y="260"/>
                    </a:lnTo>
                    <a:lnTo>
                      <a:pt x="135" y="257"/>
                    </a:lnTo>
                    <a:lnTo>
                      <a:pt x="132" y="255"/>
                    </a:lnTo>
                    <a:lnTo>
                      <a:pt x="129" y="253"/>
                    </a:lnTo>
                    <a:lnTo>
                      <a:pt x="117" y="248"/>
                    </a:lnTo>
                    <a:lnTo>
                      <a:pt x="105" y="243"/>
                    </a:lnTo>
                    <a:lnTo>
                      <a:pt x="95" y="237"/>
                    </a:lnTo>
                    <a:lnTo>
                      <a:pt x="87" y="229"/>
                    </a:lnTo>
                    <a:lnTo>
                      <a:pt x="84" y="227"/>
                    </a:lnTo>
                    <a:lnTo>
                      <a:pt x="79" y="226"/>
                    </a:lnTo>
                    <a:lnTo>
                      <a:pt x="76" y="227"/>
                    </a:lnTo>
                    <a:lnTo>
                      <a:pt x="72" y="228"/>
                    </a:lnTo>
                    <a:lnTo>
                      <a:pt x="50" y="240"/>
                    </a:lnTo>
                    <a:lnTo>
                      <a:pt x="30" y="207"/>
                    </a:lnTo>
                    <a:lnTo>
                      <a:pt x="51" y="194"/>
                    </a:lnTo>
                    <a:lnTo>
                      <a:pt x="55" y="192"/>
                    </a:lnTo>
                    <a:lnTo>
                      <a:pt x="57" y="188"/>
                    </a:lnTo>
                    <a:lnTo>
                      <a:pt x="58" y="184"/>
                    </a:lnTo>
                    <a:lnTo>
                      <a:pt x="58" y="180"/>
                    </a:lnTo>
                    <a:lnTo>
                      <a:pt x="56" y="168"/>
                    </a:lnTo>
                    <a:lnTo>
                      <a:pt x="55" y="157"/>
                    </a:lnTo>
                    <a:lnTo>
                      <a:pt x="56" y="145"/>
                    </a:lnTo>
                    <a:lnTo>
                      <a:pt x="58" y="134"/>
                    </a:lnTo>
                    <a:lnTo>
                      <a:pt x="58" y="130"/>
                    </a:lnTo>
                    <a:lnTo>
                      <a:pt x="57" y="126"/>
                    </a:lnTo>
                    <a:lnTo>
                      <a:pt x="55" y="123"/>
                    </a:lnTo>
                    <a:lnTo>
                      <a:pt x="51" y="120"/>
                    </a:lnTo>
                    <a:lnTo>
                      <a:pt x="31" y="108"/>
                    </a:lnTo>
                    <a:lnTo>
                      <a:pt x="50" y="73"/>
                    </a:lnTo>
                    <a:lnTo>
                      <a:pt x="72" y="86"/>
                    </a:lnTo>
                    <a:lnTo>
                      <a:pt x="76" y="87"/>
                    </a:lnTo>
                    <a:lnTo>
                      <a:pt x="79" y="87"/>
                    </a:lnTo>
                    <a:lnTo>
                      <a:pt x="84" y="86"/>
                    </a:lnTo>
                    <a:lnTo>
                      <a:pt x="87" y="84"/>
                    </a:lnTo>
                    <a:lnTo>
                      <a:pt x="95" y="78"/>
                    </a:lnTo>
                    <a:lnTo>
                      <a:pt x="105" y="71"/>
                    </a:lnTo>
                    <a:lnTo>
                      <a:pt x="117" y="66"/>
                    </a:lnTo>
                    <a:lnTo>
                      <a:pt x="129" y="62"/>
                    </a:lnTo>
                    <a:lnTo>
                      <a:pt x="132" y="59"/>
                    </a:lnTo>
                    <a:lnTo>
                      <a:pt x="135" y="57"/>
                    </a:lnTo>
                    <a:lnTo>
                      <a:pt x="136" y="53"/>
                    </a:lnTo>
                    <a:lnTo>
                      <a:pt x="137" y="50"/>
                    </a:lnTo>
                    <a:lnTo>
                      <a:pt x="137" y="25"/>
                    </a:lnTo>
                    <a:lnTo>
                      <a:pt x="176" y="25"/>
                    </a:lnTo>
                    <a:lnTo>
                      <a:pt x="176" y="50"/>
                    </a:lnTo>
                    <a:lnTo>
                      <a:pt x="176" y="53"/>
                    </a:lnTo>
                    <a:lnTo>
                      <a:pt x="178" y="57"/>
                    </a:lnTo>
                    <a:lnTo>
                      <a:pt x="181" y="59"/>
                    </a:lnTo>
                    <a:lnTo>
                      <a:pt x="185" y="62"/>
                    </a:lnTo>
                    <a:lnTo>
                      <a:pt x="195" y="66"/>
                    </a:lnTo>
                    <a:lnTo>
                      <a:pt x="205" y="71"/>
                    </a:lnTo>
                    <a:lnTo>
                      <a:pt x="215" y="77"/>
                    </a:lnTo>
                    <a:lnTo>
                      <a:pt x="223" y="84"/>
                    </a:lnTo>
                    <a:lnTo>
                      <a:pt x="227" y="87"/>
                    </a:lnTo>
                    <a:lnTo>
                      <a:pt x="231" y="88"/>
                    </a:lnTo>
                    <a:lnTo>
                      <a:pt x="235" y="88"/>
                    </a:lnTo>
                    <a:lnTo>
                      <a:pt x="239" y="86"/>
                    </a:lnTo>
                    <a:lnTo>
                      <a:pt x="259" y="76"/>
                    </a:lnTo>
                    <a:lnTo>
                      <a:pt x="278" y="108"/>
                    </a:lnTo>
                    <a:lnTo>
                      <a:pt x="258" y="120"/>
                    </a:lnTo>
                    <a:lnTo>
                      <a:pt x="254" y="123"/>
                    </a:lnTo>
                    <a:lnTo>
                      <a:pt x="252" y="126"/>
                    </a:lnTo>
                    <a:lnTo>
                      <a:pt x="251" y="130"/>
                    </a:lnTo>
                    <a:lnTo>
                      <a:pt x="251" y="134"/>
                    </a:lnTo>
                    <a:lnTo>
                      <a:pt x="253" y="145"/>
                    </a:lnTo>
                    <a:lnTo>
                      <a:pt x="254" y="157"/>
                    </a:lnTo>
                    <a:lnTo>
                      <a:pt x="253" y="169"/>
                    </a:lnTo>
                    <a:lnTo>
                      <a:pt x="251" y="180"/>
                    </a:lnTo>
                    <a:lnTo>
                      <a:pt x="251" y="184"/>
                    </a:lnTo>
                    <a:lnTo>
                      <a:pt x="252" y="188"/>
                    </a:lnTo>
                    <a:lnTo>
                      <a:pt x="254" y="192"/>
                    </a:lnTo>
                    <a:lnTo>
                      <a:pt x="258" y="194"/>
                    </a:lnTo>
                    <a:lnTo>
                      <a:pt x="278" y="207"/>
                    </a:lnTo>
                    <a:lnTo>
                      <a:pt x="260" y="240"/>
                    </a:lnTo>
                    <a:close/>
                    <a:moveTo>
                      <a:pt x="302" y="192"/>
                    </a:moveTo>
                    <a:lnTo>
                      <a:pt x="278" y="178"/>
                    </a:lnTo>
                    <a:lnTo>
                      <a:pt x="279" y="167"/>
                    </a:lnTo>
                    <a:lnTo>
                      <a:pt x="279" y="157"/>
                    </a:lnTo>
                    <a:lnTo>
                      <a:pt x="279" y="148"/>
                    </a:lnTo>
                    <a:lnTo>
                      <a:pt x="278" y="138"/>
                    </a:lnTo>
                    <a:lnTo>
                      <a:pt x="302" y="124"/>
                    </a:lnTo>
                    <a:lnTo>
                      <a:pt x="304" y="123"/>
                    </a:lnTo>
                    <a:lnTo>
                      <a:pt x="306" y="121"/>
                    </a:lnTo>
                    <a:lnTo>
                      <a:pt x="307" y="119"/>
                    </a:lnTo>
                    <a:lnTo>
                      <a:pt x="308" y="116"/>
                    </a:lnTo>
                    <a:lnTo>
                      <a:pt x="308" y="111"/>
                    </a:lnTo>
                    <a:lnTo>
                      <a:pt x="306" y="106"/>
                    </a:lnTo>
                    <a:lnTo>
                      <a:pt x="275" y="51"/>
                    </a:lnTo>
                    <a:lnTo>
                      <a:pt x="273" y="49"/>
                    </a:lnTo>
                    <a:lnTo>
                      <a:pt x="271" y="47"/>
                    </a:lnTo>
                    <a:lnTo>
                      <a:pt x="269" y="46"/>
                    </a:lnTo>
                    <a:lnTo>
                      <a:pt x="266" y="44"/>
                    </a:lnTo>
                    <a:lnTo>
                      <a:pt x="262" y="44"/>
                    </a:lnTo>
                    <a:lnTo>
                      <a:pt x="256" y="46"/>
                    </a:lnTo>
                    <a:lnTo>
                      <a:pt x="234" y="59"/>
                    </a:lnTo>
                    <a:lnTo>
                      <a:pt x="226" y="54"/>
                    </a:lnTo>
                    <a:lnTo>
                      <a:pt x="218" y="49"/>
                    </a:lnTo>
                    <a:lnTo>
                      <a:pt x="210" y="44"/>
                    </a:lnTo>
                    <a:lnTo>
                      <a:pt x="202" y="41"/>
                    </a:lnTo>
                    <a:lnTo>
                      <a:pt x="202" y="13"/>
                    </a:lnTo>
                    <a:lnTo>
                      <a:pt x="201" y="8"/>
                    </a:lnTo>
                    <a:lnTo>
                      <a:pt x="197" y="4"/>
                    </a:lnTo>
                    <a:lnTo>
                      <a:pt x="193" y="2"/>
                    </a:lnTo>
                    <a:lnTo>
                      <a:pt x="189" y="0"/>
                    </a:lnTo>
                    <a:lnTo>
                      <a:pt x="124" y="0"/>
                    </a:lnTo>
                    <a:lnTo>
                      <a:pt x="119" y="2"/>
                    </a:lnTo>
                    <a:lnTo>
                      <a:pt x="116" y="4"/>
                    </a:lnTo>
                    <a:lnTo>
                      <a:pt x="113" y="8"/>
                    </a:lnTo>
                    <a:lnTo>
                      <a:pt x="112" y="13"/>
                    </a:lnTo>
                    <a:lnTo>
                      <a:pt x="112" y="41"/>
                    </a:lnTo>
                    <a:lnTo>
                      <a:pt x="102" y="44"/>
                    </a:lnTo>
                    <a:lnTo>
                      <a:pt x="93" y="50"/>
                    </a:lnTo>
                    <a:lnTo>
                      <a:pt x="85" y="54"/>
                    </a:lnTo>
                    <a:lnTo>
                      <a:pt x="77" y="59"/>
                    </a:lnTo>
                    <a:lnTo>
                      <a:pt x="52" y="46"/>
                    </a:lnTo>
                    <a:lnTo>
                      <a:pt x="47" y="44"/>
                    </a:lnTo>
                    <a:lnTo>
                      <a:pt x="43" y="44"/>
                    </a:lnTo>
                    <a:lnTo>
                      <a:pt x="37" y="47"/>
                    </a:lnTo>
                    <a:lnTo>
                      <a:pt x="34" y="51"/>
                    </a:lnTo>
                    <a:lnTo>
                      <a:pt x="2" y="106"/>
                    </a:lnTo>
                    <a:lnTo>
                      <a:pt x="1" y="111"/>
                    </a:lnTo>
                    <a:lnTo>
                      <a:pt x="1" y="116"/>
                    </a:lnTo>
                    <a:lnTo>
                      <a:pt x="2" y="119"/>
                    </a:lnTo>
                    <a:lnTo>
                      <a:pt x="3" y="121"/>
                    </a:lnTo>
                    <a:lnTo>
                      <a:pt x="5" y="123"/>
                    </a:lnTo>
                    <a:lnTo>
                      <a:pt x="7" y="124"/>
                    </a:lnTo>
                    <a:lnTo>
                      <a:pt x="31" y="138"/>
                    </a:lnTo>
                    <a:lnTo>
                      <a:pt x="30" y="148"/>
                    </a:lnTo>
                    <a:lnTo>
                      <a:pt x="29" y="157"/>
                    </a:lnTo>
                    <a:lnTo>
                      <a:pt x="30" y="167"/>
                    </a:lnTo>
                    <a:lnTo>
                      <a:pt x="31" y="178"/>
                    </a:lnTo>
                    <a:lnTo>
                      <a:pt x="6" y="192"/>
                    </a:lnTo>
                    <a:lnTo>
                      <a:pt x="4" y="193"/>
                    </a:lnTo>
                    <a:lnTo>
                      <a:pt x="3" y="194"/>
                    </a:lnTo>
                    <a:lnTo>
                      <a:pt x="2" y="196"/>
                    </a:lnTo>
                    <a:lnTo>
                      <a:pt x="1" y="199"/>
                    </a:lnTo>
                    <a:lnTo>
                      <a:pt x="0" y="203"/>
                    </a:lnTo>
                    <a:lnTo>
                      <a:pt x="2" y="208"/>
                    </a:lnTo>
                    <a:lnTo>
                      <a:pt x="34" y="263"/>
                    </a:lnTo>
                    <a:lnTo>
                      <a:pt x="37" y="268"/>
                    </a:lnTo>
                    <a:lnTo>
                      <a:pt x="42" y="270"/>
                    </a:lnTo>
                    <a:lnTo>
                      <a:pt x="46" y="270"/>
                    </a:lnTo>
                    <a:lnTo>
                      <a:pt x="51" y="269"/>
                    </a:lnTo>
                    <a:lnTo>
                      <a:pt x="77" y="254"/>
                    </a:lnTo>
                    <a:lnTo>
                      <a:pt x="85" y="259"/>
                    </a:lnTo>
                    <a:lnTo>
                      <a:pt x="93" y="266"/>
                    </a:lnTo>
                    <a:lnTo>
                      <a:pt x="102" y="270"/>
                    </a:lnTo>
                    <a:lnTo>
                      <a:pt x="112" y="274"/>
                    </a:lnTo>
                    <a:lnTo>
                      <a:pt x="112" y="302"/>
                    </a:lnTo>
                    <a:lnTo>
                      <a:pt x="113" y="306"/>
                    </a:lnTo>
                    <a:lnTo>
                      <a:pt x="116" y="311"/>
                    </a:lnTo>
                    <a:lnTo>
                      <a:pt x="119" y="314"/>
                    </a:lnTo>
                    <a:lnTo>
                      <a:pt x="124" y="315"/>
                    </a:lnTo>
                    <a:lnTo>
                      <a:pt x="189" y="315"/>
                    </a:lnTo>
                    <a:lnTo>
                      <a:pt x="193" y="314"/>
                    </a:lnTo>
                    <a:lnTo>
                      <a:pt x="197" y="311"/>
                    </a:lnTo>
                    <a:lnTo>
                      <a:pt x="201" y="306"/>
                    </a:lnTo>
                    <a:lnTo>
                      <a:pt x="202" y="302"/>
                    </a:lnTo>
                    <a:lnTo>
                      <a:pt x="202" y="274"/>
                    </a:lnTo>
                    <a:lnTo>
                      <a:pt x="210" y="270"/>
                    </a:lnTo>
                    <a:lnTo>
                      <a:pt x="218" y="266"/>
                    </a:lnTo>
                    <a:lnTo>
                      <a:pt x="226" y="260"/>
                    </a:lnTo>
                    <a:lnTo>
                      <a:pt x="234" y="255"/>
                    </a:lnTo>
                    <a:lnTo>
                      <a:pt x="258" y="268"/>
                    </a:lnTo>
                    <a:lnTo>
                      <a:pt x="262" y="270"/>
                    </a:lnTo>
                    <a:lnTo>
                      <a:pt x="267" y="270"/>
                    </a:lnTo>
                    <a:lnTo>
                      <a:pt x="271" y="268"/>
                    </a:lnTo>
                    <a:lnTo>
                      <a:pt x="275" y="263"/>
                    </a:lnTo>
                    <a:lnTo>
                      <a:pt x="307" y="208"/>
                    </a:lnTo>
                    <a:lnTo>
                      <a:pt x="308" y="202"/>
                    </a:lnTo>
                    <a:lnTo>
                      <a:pt x="308" y="198"/>
                    </a:lnTo>
                    <a:lnTo>
                      <a:pt x="306" y="194"/>
                    </a:lnTo>
                    <a:lnTo>
                      <a:pt x="302" y="19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</p:grpSp>
        <p:grpSp>
          <p:nvGrpSpPr>
            <p:cNvPr id="16" name="Group 15"/>
            <p:cNvGrpSpPr/>
            <p:nvPr/>
          </p:nvGrpSpPr>
          <p:grpSpPr>
            <a:xfrm>
              <a:off x="1048431" y="4921125"/>
              <a:ext cx="200025" cy="287338"/>
              <a:chOff x="10501313" y="2228850"/>
              <a:chExt cx="200025" cy="287338"/>
            </a:xfrm>
            <a:solidFill>
              <a:schemeClr val="bg1"/>
            </a:solidFill>
          </p:grpSpPr>
          <p:sp>
            <p:nvSpPr>
              <p:cNvPr id="17" name="Freeform 203"/>
              <p:cNvSpPr>
                <a:spLocks noEditPoints="1"/>
              </p:cNvSpPr>
              <p:nvPr/>
            </p:nvSpPr>
            <p:spPr bwMode="auto">
              <a:xfrm>
                <a:off x="10501313" y="2228850"/>
                <a:ext cx="200025" cy="201613"/>
              </a:xfrm>
              <a:custGeom>
                <a:avLst/>
                <a:gdLst>
                  <a:gd name="T0" fmla="*/ 373 w 632"/>
                  <a:gd name="T1" fmla="*/ 511 h 631"/>
                  <a:gd name="T2" fmla="*/ 447 w 632"/>
                  <a:gd name="T3" fmla="*/ 447 h 631"/>
                  <a:gd name="T4" fmla="*/ 450 w 632"/>
                  <a:gd name="T5" fmla="*/ 431 h 631"/>
                  <a:gd name="T6" fmla="*/ 436 w 632"/>
                  <a:gd name="T7" fmla="*/ 421 h 631"/>
                  <a:gd name="T8" fmla="*/ 327 w 632"/>
                  <a:gd name="T9" fmla="*/ 426 h 631"/>
                  <a:gd name="T10" fmla="*/ 310 w 632"/>
                  <a:gd name="T11" fmla="*/ 422 h 631"/>
                  <a:gd name="T12" fmla="*/ 202 w 632"/>
                  <a:gd name="T13" fmla="*/ 422 h 631"/>
                  <a:gd name="T14" fmla="*/ 184 w 632"/>
                  <a:gd name="T15" fmla="*/ 426 h 631"/>
                  <a:gd name="T16" fmla="*/ 181 w 632"/>
                  <a:gd name="T17" fmla="*/ 442 h 631"/>
                  <a:gd name="T18" fmla="*/ 253 w 632"/>
                  <a:gd name="T19" fmla="*/ 511 h 631"/>
                  <a:gd name="T20" fmla="*/ 301 w 632"/>
                  <a:gd name="T21" fmla="*/ 473 h 631"/>
                  <a:gd name="T22" fmla="*/ 233 w 632"/>
                  <a:gd name="T23" fmla="*/ 589 h 631"/>
                  <a:gd name="T24" fmla="*/ 160 w 632"/>
                  <a:gd name="T25" fmla="*/ 555 h 631"/>
                  <a:gd name="T26" fmla="*/ 100 w 632"/>
                  <a:gd name="T27" fmla="*/ 503 h 631"/>
                  <a:gd name="T28" fmla="*/ 57 w 632"/>
                  <a:gd name="T29" fmla="*/ 436 h 631"/>
                  <a:gd name="T30" fmla="*/ 33 w 632"/>
                  <a:gd name="T31" fmla="*/ 358 h 631"/>
                  <a:gd name="T32" fmla="*/ 33 w 632"/>
                  <a:gd name="T33" fmla="*/ 272 h 631"/>
                  <a:gd name="T34" fmla="*/ 58 w 632"/>
                  <a:gd name="T35" fmla="*/ 192 h 631"/>
                  <a:gd name="T36" fmla="*/ 104 w 632"/>
                  <a:gd name="T37" fmla="*/ 123 h 631"/>
                  <a:gd name="T38" fmla="*/ 167 w 632"/>
                  <a:gd name="T39" fmla="*/ 72 h 631"/>
                  <a:gd name="T40" fmla="*/ 244 w 632"/>
                  <a:gd name="T41" fmla="*/ 38 h 631"/>
                  <a:gd name="T42" fmla="*/ 330 w 632"/>
                  <a:gd name="T43" fmla="*/ 30 h 631"/>
                  <a:gd name="T44" fmla="*/ 414 w 632"/>
                  <a:gd name="T45" fmla="*/ 47 h 631"/>
                  <a:gd name="T46" fmla="*/ 487 w 632"/>
                  <a:gd name="T47" fmla="*/ 87 h 631"/>
                  <a:gd name="T48" fmla="*/ 545 w 632"/>
                  <a:gd name="T49" fmla="*/ 145 h 631"/>
                  <a:gd name="T50" fmla="*/ 584 w 632"/>
                  <a:gd name="T51" fmla="*/ 218 h 631"/>
                  <a:gd name="T52" fmla="*/ 602 w 632"/>
                  <a:gd name="T53" fmla="*/ 301 h 631"/>
                  <a:gd name="T54" fmla="*/ 593 w 632"/>
                  <a:gd name="T55" fmla="*/ 385 h 631"/>
                  <a:gd name="T56" fmla="*/ 563 w 632"/>
                  <a:gd name="T57" fmla="*/ 460 h 631"/>
                  <a:gd name="T58" fmla="*/ 514 w 632"/>
                  <a:gd name="T59" fmla="*/ 522 h 631"/>
                  <a:gd name="T60" fmla="*/ 449 w 632"/>
                  <a:gd name="T61" fmla="*/ 568 h 631"/>
                  <a:gd name="T62" fmla="*/ 372 w 632"/>
                  <a:gd name="T63" fmla="*/ 596 h 631"/>
                  <a:gd name="T64" fmla="*/ 283 w 632"/>
                  <a:gd name="T65" fmla="*/ 1 h 631"/>
                  <a:gd name="T66" fmla="*/ 193 w 632"/>
                  <a:gd name="T67" fmla="*/ 25 h 631"/>
                  <a:gd name="T68" fmla="*/ 115 w 632"/>
                  <a:gd name="T69" fmla="*/ 72 h 631"/>
                  <a:gd name="T70" fmla="*/ 54 w 632"/>
                  <a:gd name="T71" fmla="*/ 139 h 631"/>
                  <a:gd name="T72" fmla="*/ 14 w 632"/>
                  <a:gd name="T73" fmla="*/ 222 h 631"/>
                  <a:gd name="T74" fmla="*/ 0 w 632"/>
                  <a:gd name="T75" fmla="*/ 316 h 631"/>
                  <a:gd name="T76" fmla="*/ 14 w 632"/>
                  <a:gd name="T77" fmla="*/ 410 h 631"/>
                  <a:gd name="T78" fmla="*/ 54 w 632"/>
                  <a:gd name="T79" fmla="*/ 492 h 631"/>
                  <a:gd name="T80" fmla="*/ 115 w 632"/>
                  <a:gd name="T81" fmla="*/ 560 h 631"/>
                  <a:gd name="T82" fmla="*/ 193 w 632"/>
                  <a:gd name="T83" fmla="*/ 607 h 631"/>
                  <a:gd name="T84" fmla="*/ 283 w 632"/>
                  <a:gd name="T85" fmla="*/ 630 h 631"/>
                  <a:gd name="T86" fmla="*/ 380 w 632"/>
                  <a:gd name="T87" fmla="*/ 625 h 631"/>
                  <a:gd name="T88" fmla="*/ 466 w 632"/>
                  <a:gd name="T89" fmla="*/ 594 h 631"/>
                  <a:gd name="T90" fmla="*/ 539 w 632"/>
                  <a:gd name="T91" fmla="*/ 539 h 631"/>
                  <a:gd name="T92" fmla="*/ 594 w 632"/>
                  <a:gd name="T93" fmla="*/ 466 h 631"/>
                  <a:gd name="T94" fmla="*/ 625 w 632"/>
                  <a:gd name="T95" fmla="*/ 379 h 631"/>
                  <a:gd name="T96" fmla="*/ 631 w 632"/>
                  <a:gd name="T97" fmla="*/ 284 h 631"/>
                  <a:gd name="T98" fmla="*/ 607 w 632"/>
                  <a:gd name="T99" fmla="*/ 193 h 631"/>
                  <a:gd name="T100" fmla="*/ 560 w 632"/>
                  <a:gd name="T101" fmla="*/ 115 h 631"/>
                  <a:gd name="T102" fmla="*/ 492 w 632"/>
                  <a:gd name="T103" fmla="*/ 53 h 631"/>
                  <a:gd name="T104" fmla="*/ 410 w 632"/>
                  <a:gd name="T105" fmla="*/ 14 h 631"/>
                  <a:gd name="T106" fmla="*/ 316 w 632"/>
                  <a:gd name="T107" fmla="*/ 0 h 6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632" h="631">
                    <a:moveTo>
                      <a:pt x="331" y="601"/>
                    </a:moveTo>
                    <a:lnTo>
                      <a:pt x="331" y="473"/>
                    </a:lnTo>
                    <a:lnTo>
                      <a:pt x="366" y="507"/>
                    </a:lnTo>
                    <a:lnTo>
                      <a:pt x="368" y="509"/>
                    </a:lnTo>
                    <a:lnTo>
                      <a:pt x="370" y="510"/>
                    </a:lnTo>
                    <a:lnTo>
                      <a:pt x="373" y="511"/>
                    </a:lnTo>
                    <a:lnTo>
                      <a:pt x="376" y="511"/>
                    </a:lnTo>
                    <a:lnTo>
                      <a:pt x="379" y="511"/>
                    </a:lnTo>
                    <a:lnTo>
                      <a:pt x="382" y="510"/>
                    </a:lnTo>
                    <a:lnTo>
                      <a:pt x="384" y="509"/>
                    </a:lnTo>
                    <a:lnTo>
                      <a:pt x="387" y="507"/>
                    </a:lnTo>
                    <a:lnTo>
                      <a:pt x="447" y="447"/>
                    </a:lnTo>
                    <a:lnTo>
                      <a:pt x="449" y="445"/>
                    </a:lnTo>
                    <a:lnTo>
                      <a:pt x="450" y="442"/>
                    </a:lnTo>
                    <a:lnTo>
                      <a:pt x="451" y="440"/>
                    </a:lnTo>
                    <a:lnTo>
                      <a:pt x="451" y="436"/>
                    </a:lnTo>
                    <a:lnTo>
                      <a:pt x="451" y="433"/>
                    </a:lnTo>
                    <a:lnTo>
                      <a:pt x="450" y="431"/>
                    </a:lnTo>
                    <a:lnTo>
                      <a:pt x="449" y="428"/>
                    </a:lnTo>
                    <a:lnTo>
                      <a:pt x="447" y="426"/>
                    </a:lnTo>
                    <a:lnTo>
                      <a:pt x="445" y="423"/>
                    </a:lnTo>
                    <a:lnTo>
                      <a:pt x="442" y="422"/>
                    </a:lnTo>
                    <a:lnTo>
                      <a:pt x="440" y="421"/>
                    </a:lnTo>
                    <a:lnTo>
                      <a:pt x="436" y="421"/>
                    </a:lnTo>
                    <a:lnTo>
                      <a:pt x="433" y="421"/>
                    </a:lnTo>
                    <a:lnTo>
                      <a:pt x="431" y="422"/>
                    </a:lnTo>
                    <a:lnTo>
                      <a:pt x="428" y="423"/>
                    </a:lnTo>
                    <a:lnTo>
                      <a:pt x="426" y="426"/>
                    </a:lnTo>
                    <a:lnTo>
                      <a:pt x="376" y="475"/>
                    </a:lnTo>
                    <a:lnTo>
                      <a:pt x="327" y="426"/>
                    </a:lnTo>
                    <a:lnTo>
                      <a:pt x="324" y="423"/>
                    </a:lnTo>
                    <a:lnTo>
                      <a:pt x="322" y="422"/>
                    </a:lnTo>
                    <a:lnTo>
                      <a:pt x="318" y="421"/>
                    </a:lnTo>
                    <a:lnTo>
                      <a:pt x="316" y="421"/>
                    </a:lnTo>
                    <a:lnTo>
                      <a:pt x="313" y="421"/>
                    </a:lnTo>
                    <a:lnTo>
                      <a:pt x="310" y="422"/>
                    </a:lnTo>
                    <a:lnTo>
                      <a:pt x="308" y="423"/>
                    </a:lnTo>
                    <a:lnTo>
                      <a:pt x="306" y="426"/>
                    </a:lnTo>
                    <a:lnTo>
                      <a:pt x="255" y="475"/>
                    </a:lnTo>
                    <a:lnTo>
                      <a:pt x="206" y="426"/>
                    </a:lnTo>
                    <a:lnTo>
                      <a:pt x="204" y="423"/>
                    </a:lnTo>
                    <a:lnTo>
                      <a:pt x="202" y="422"/>
                    </a:lnTo>
                    <a:lnTo>
                      <a:pt x="198" y="421"/>
                    </a:lnTo>
                    <a:lnTo>
                      <a:pt x="195" y="421"/>
                    </a:lnTo>
                    <a:lnTo>
                      <a:pt x="193" y="421"/>
                    </a:lnTo>
                    <a:lnTo>
                      <a:pt x="190" y="422"/>
                    </a:lnTo>
                    <a:lnTo>
                      <a:pt x="188" y="423"/>
                    </a:lnTo>
                    <a:lnTo>
                      <a:pt x="184" y="426"/>
                    </a:lnTo>
                    <a:lnTo>
                      <a:pt x="183" y="428"/>
                    </a:lnTo>
                    <a:lnTo>
                      <a:pt x="181" y="431"/>
                    </a:lnTo>
                    <a:lnTo>
                      <a:pt x="180" y="433"/>
                    </a:lnTo>
                    <a:lnTo>
                      <a:pt x="180" y="436"/>
                    </a:lnTo>
                    <a:lnTo>
                      <a:pt x="180" y="440"/>
                    </a:lnTo>
                    <a:lnTo>
                      <a:pt x="181" y="442"/>
                    </a:lnTo>
                    <a:lnTo>
                      <a:pt x="183" y="445"/>
                    </a:lnTo>
                    <a:lnTo>
                      <a:pt x="184" y="447"/>
                    </a:lnTo>
                    <a:lnTo>
                      <a:pt x="244" y="507"/>
                    </a:lnTo>
                    <a:lnTo>
                      <a:pt x="248" y="509"/>
                    </a:lnTo>
                    <a:lnTo>
                      <a:pt x="250" y="510"/>
                    </a:lnTo>
                    <a:lnTo>
                      <a:pt x="253" y="511"/>
                    </a:lnTo>
                    <a:lnTo>
                      <a:pt x="255" y="511"/>
                    </a:lnTo>
                    <a:lnTo>
                      <a:pt x="258" y="511"/>
                    </a:lnTo>
                    <a:lnTo>
                      <a:pt x="262" y="510"/>
                    </a:lnTo>
                    <a:lnTo>
                      <a:pt x="264" y="509"/>
                    </a:lnTo>
                    <a:lnTo>
                      <a:pt x="266" y="507"/>
                    </a:lnTo>
                    <a:lnTo>
                      <a:pt x="301" y="473"/>
                    </a:lnTo>
                    <a:lnTo>
                      <a:pt x="301" y="601"/>
                    </a:lnTo>
                    <a:lnTo>
                      <a:pt x="286" y="600"/>
                    </a:lnTo>
                    <a:lnTo>
                      <a:pt x="273" y="598"/>
                    </a:lnTo>
                    <a:lnTo>
                      <a:pt x="259" y="596"/>
                    </a:lnTo>
                    <a:lnTo>
                      <a:pt x="246" y="593"/>
                    </a:lnTo>
                    <a:lnTo>
                      <a:pt x="233" y="589"/>
                    </a:lnTo>
                    <a:lnTo>
                      <a:pt x="220" y="584"/>
                    </a:lnTo>
                    <a:lnTo>
                      <a:pt x="207" y="580"/>
                    </a:lnTo>
                    <a:lnTo>
                      <a:pt x="195" y="575"/>
                    </a:lnTo>
                    <a:lnTo>
                      <a:pt x="183" y="568"/>
                    </a:lnTo>
                    <a:lnTo>
                      <a:pt x="172" y="562"/>
                    </a:lnTo>
                    <a:lnTo>
                      <a:pt x="160" y="555"/>
                    </a:lnTo>
                    <a:lnTo>
                      <a:pt x="149" y="548"/>
                    </a:lnTo>
                    <a:lnTo>
                      <a:pt x="138" y="539"/>
                    </a:lnTo>
                    <a:lnTo>
                      <a:pt x="128" y="531"/>
                    </a:lnTo>
                    <a:lnTo>
                      <a:pt x="118" y="522"/>
                    </a:lnTo>
                    <a:lnTo>
                      <a:pt x="109" y="512"/>
                    </a:lnTo>
                    <a:lnTo>
                      <a:pt x="100" y="503"/>
                    </a:lnTo>
                    <a:lnTo>
                      <a:pt x="91" y="492"/>
                    </a:lnTo>
                    <a:lnTo>
                      <a:pt x="84" y="482"/>
                    </a:lnTo>
                    <a:lnTo>
                      <a:pt x="76" y="471"/>
                    </a:lnTo>
                    <a:lnTo>
                      <a:pt x="69" y="460"/>
                    </a:lnTo>
                    <a:lnTo>
                      <a:pt x="62" y="448"/>
                    </a:lnTo>
                    <a:lnTo>
                      <a:pt x="57" y="436"/>
                    </a:lnTo>
                    <a:lnTo>
                      <a:pt x="51" y="423"/>
                    </a:lnTo>
                    <a:lnTo>
                      <a:pt x="46" y="411"/>
                    </a:lnTo>
                    <a:lnTo>
                      <a:pt x="42" y="398"/>
                    </a:lnTo>
                    <a:lnTo>
                      <a:pt x="39" y="385"/>
                    </a:lnTo>
                    <a:lnTo>
                      <a:pt x="35" y="372"/>
                    </a:lnTo>
                    <a:lnTo>
                      <a:pt x="33" y="358"/>
                    </a:lnTo>
                    <a:lnTo>
                      <a:pt x="31" y="344"/>
                    </a:lnTo>
                    <a:lnTo>
                      <a:pt x="30" y="330"/>
                    </a:lnTo>
                    <a:lnTo>
                      <a:pt x="30" y="316"/>
                    </a:lnTo>
                    <a:lnTo>
                      <a:pt x="30" y="301"/>
                    </a:lnTo>
                    <a:lnTo>
                      <a:pt x="31" y="286"/>
                    </a:lnTo>
                    <a:lnTo>
                      <a:pt x="33" y="272"/>
                    </a:lnTo>
                    <a:lnTo>
                      <a:pt x="35" y="258"/>
                    </a:lnTo>
                    <a:lnTo>
                      <a:pt x="39" y="244"/>
                    </a:lnTo>
                    <a:lnTo>
                      <a:pt x="43" y="230"/>
                    </a:lnTo>
                    <a:lnTo>
                      <a:pt x="47" y="218"/>
                    </a:lnTo>
                    <a:lnTo>
                      <a:pt x="52" y="205"/>
                    </a:lnTo>
                    <a:lnTo>
                      <a:pt x="58" y="192"/>
                    </a:lnTo>
                    <a:lnTo>
                      <a:pt x="64" y="180"/>
                    </a:lnTo>
                    <a:lnTo>
                      <a:pt x="72" y="167"/>
                    </a:lnTo>
                    <a:lnTo>
                      <a:pt x="78" y="156"/>
                    </a:lnTo>
                    <a:lnTo>
                      <a:pt x="87" y="145"/>
                    </a:lnTo>
                    <a:lnTo>
                      <a:pt x="95" y="134"/>
                    </a:lnTo>
                    <a:lnTo>
                      <a:pt x="104" y="123"/>
                    </a:lnTo>
                    <a:lnTo>
                      <a:pt x="114" y="114"/>
                    </a:lnTo>
                    <a:lnTo>
                      <a:pt x="123" y="104"/>
                    </a:lnTo>
                    <a:lnTo>
                      <a:pt x="134" y="95"/>
                    </a:lnTo>
                    <a:lnTo>
                      <a:pt x="145" y="87"/>
                    </a:lnTo>
                    <a:lnTo>
                      <a:pt x="157" y="79"/>
                    </a:lnTo>
                    <a:lnTo>
                      <a:pt x="167" y="72"/>
                    </a:lnTo>
                    <a:lnTo>
                      <a:pt x="180" y="64"/>
                    </a:lnTo>
                    <a:lnTo>
                      <a:pt x="192" y="58"/>
                    </a:lnTo>
                    <a:lnTo>
                      <a:pt x="205" y="52"/>
                    </a:lnTo>
                    <a:lnTo>
                      <a:pt x="218" y="47"/>
                    </a:lnTo>
                    <a:lnTo>
                      <a:pt x="231" y="43"/>
                    </a:lnTo>
                    <a:lnTo>
                      <a:pt x="244" y="38"/>
                    </a:lnTo>
                    <a:lnTo>
                      <a:pt x="258" y="35"/>
                    </a:lnTo>
                    <a:lnTo>
                      <a:pt x="272" y="33"/>
                    </a:lnTo>
                    <a:lnTo>
                      <a:pt x="286" y="31"/>
                    </a:lnTo>
                    <a:lnTo>
                      <a:pt x="301" y="30"/>
                    </a:lnTo>
                    <a:lnTo>
                      <a:pt x="316" y="30"/>
                    </a:lnTo>
                    <a:lnTo>
                      <a:pt x="330" y="30"/>
                    </a:lnTo>
                    <a:lnTo>
                      <a:pt x="345" y="31"/>
                    </a:lnTo>
                    <a:lnTo>
                      <a:pt x="359" y="33"/>
                    </a:lnTo>
                    <a:lnTo>
                      <a:pt x="373" y="35"/>
                    </a:lnTo>
                    <a:lnTo>
                      <a:pt x="387" y="38"/>
                    </a:lnTo>
                    <a:lnTo>
                      <a:pt x="401" y="43"/>
                    </a:lnTo>
                    <a:lnTo>
                      <a:pt x="414" y="47"/>
                    </a:lnTo>
                    <a:lnTo>
                      <a:pt x="427" y="52"/>
                    </a:lnTo>
                    <a:lnTo>
                      <a:pt x="440" y="58"/>
                    </a:lnTo>
                    <a:lnTo>
                      <a:pt x="453" y="64"/>
                    </a:lnTo>
                    <a:lnTo>
                      <a:pt x="464" y="72"/>
                    </a:lnTo>
                    <a:lnTo>
                      <a:pt x="476" y="79"/>
                    </a:lnTo>
                    <a:lnTo>
                      <a:pt x="487" y="87"/>
                    </a:lnTo>
                    <a:lnTo>
                      <a:pt x="498" y="95"/>
                    </a:lnTo>
                    <a:lnTo>
                      <a:pt x="508" y="104"/>
                    </a:lnTo>
                    <a:lnTo>
                      <a:pt x="518" y="114"/>
                    </a:lnTo>
                    <a:lnTo>
                      <a:pt x="528" y="123"/>
                    </a:lnTo>
                    <a:lnTo>
                      <a:pt x="536" y="134"/>
                    </a:lnTo>
                    <a:lnTo>
                      <a:pt x="545" y="145"/>
                    </a:lnTo>
                    <a:lnTo>
                      <a:pt x="553" y="156"/>
                    </a:lnTo>
                    <a:lnTo>
                      <a:pt x="561" y="167"/>
                    </a:lnTo>
                    <a:lnTo>
                      <a:pt x="567" y="180"/>
                    </a:lnTo>
                    <a:lnTo>
                      <a:pt x="574" y="192"/>
                    </a:lnTo>
                    <a:lnTo>
                      <a:pt x="579" y="205"/>
                    </a:lnTo>
                    <a:lnTo>
                      <a:pt x="584" y="218"/>
                    </a:lnTo>
                    <a:lnTo>
                      <a:pt x="589" y="230"/>
                    </a:lnTo>
                    <a:lnTo>
                      <a:pt x="593" y="244"/>
                    </a:lnTo>
                    <a:lnTo>
                      <a:pt x="596" y="258"/>
                    </a:lnTo>
                    <a:lnTo>
                      <a:pt x="598" y="272"/>
                    </a:lnTo>
                    <a:lnTo>
                      <a:pt x="601" y="286"/>
                    </a:lnTo>
                    <a:lnTo>
                      <a:pt x="602" y="301"/>
                    </a:lnTo>
                    <a:lnTo>
                      <a:pt x="602" y="316"/>
                    </a:lnTo>
                    <a:lnTo>
                      <a:pt x="602" y="330"/>
                    </a:lnTo>
                    <a:lnTo>
                      <a:pt x="601" y="344"/>
                    </a:lnTo>
                    <a:lnTo>
                      <a:pt x="598" y="358"/>
                    </a:lnTo>
                    <a:lnTo>
                      <a:pt x="596" y="372"/>
                    </a:lnTo>
                    <a:lnTo>
                      <a:pt x="593" y="385"/>
                    </a:lnTo>
                    <a:lnTo>
                      <a:pt x="590" y="398"/>
                    </a:lnTo>
                    <a:lnTo>
                      <a:pt x="586" y="411"/>
                    </a:lnTo>
                    <a:lnTo>
                      <a:pt x="581" y="423"/>
                    </a:lnTo>
                    <a:lnTo>
                      <a:pt x="575" y="436"/>
                    </a:lnTo>
                    <a:lnTo>
                      <a:pt x="569" y="448"/>
                    </a:lnTo>
                    <a:lnTo>
                      <a:pt x="563" y="460"/>
                    </a:lnTo>
                    <a:lnTo>
                      <a:pt x="555" y="471"/>
                    </a:lnTo>
                    <a:lnTo>
                      <a:pt x="548" y="482"/>
                    </a:lnTo>
                    <a:lnTo>
                      <a:pt x="540" y="492"/>
                    </a:lnTo>
                    <a:lnTo>
                      <a:pt x="532" y="503"/>
                    </a:lnTo>
                    <a:lnTo>
                      <a:pt x="523" y="512"/>
                    </a:lnTo>
                    <a:lnTo>
                      <a:pt x="514" y="522"/>
                    </a:lnTo>
                    <a:lnTo>
                      <a:pt x="504" y="531"/>
                    </a:lnTo>
                    <a:lnTo>
                      <a:pt x="493" y="539"/>
                    </a:lnTo>
                    <a:lnTo>
                      <a:pt x="483" y="548"/>
                    </a:lnTo>
                    <a:lnTo>
                      <a:pt x="472" y="555"/>
                    </a:lnTo>
                    <a:lnTo>
                      <a:pt x="460" y="562"/>
                    </a:lnTo>
                    <a:lnTo>
                      <a:pt x="449" y="568"/>
                    </a:lnTo>
                    <a:lnTo>
                      <a:pt x="436" y="575"/>
                    </a:lnTo>
                    <a:lnTo>
                      <a:pt x="425" y="580"/>
                    </a:lnTo>
                    <a:lnTo>
                      <a:pt x="412" y="584"/>
                    </a:lnTo>
                    <a:lnTo>
                      <a:pt x="399" y="589"/>
                    </a:lnTo>
                    <a:lnTo>
                      <a:pt x="386" y="593"/>
                    </a:lnTo>
                    <a:lnTo>
                      <a:pt x="372" y="596"/>
                    </a:lnTo>
                    <a:lnTo>
                      <a:pt x="359" y="598"/>
                    </a:lnTo>
                    <a:lnTo>
                      <a:pt x="345" y="600"/>
                    </a:lnTo>
                    <a:lnTo>
                      <a:pt x="331" y="601"/>
                    </a:lnTo>
                    <a:close/>
                    <a:moveTo>
                      <a:pt x="316" y="0"/>
                    </a:moveTo>
                    <a:lnTo>
                      <a:pt x="299" y="0"/>
                    </a:lnTo>
                    <a:lnTo>
                      <a:pt x="283" y="1"/>
                    </a:lnTo>
                    <a:lnTo>
                      <a:pt x="268" y="3"/>
                    </a:lnTo>
                    <a:lnTo>
                      <a:pt x="252" y="6"/>
                    </a:lnTo>
                    <a:lnTo>
                      <a:pt x="237" y="10"/>
                    </a:lnTo>
                    <a:lnTo>
                      <a:pt x="222" y="14"/>
                    </a:lnTo>
                    <a:lnTo>
                      <a:pt x="207" y="19"/>
                    </a:lnTo>
                    <a:lnTo>
                      <a:pt x="193" y="25"/>
                    </a:lnTo>
                    <a:lnTo>
                      <a:pt x="179" y="31"/>
                    </a:lnTo>
                    <a:lnTo>
                      <a:pt x="165" y="38"/>
                    </a:lnTo>
                    <a:lnTo>
                      <a:pt x="152" y="46"/>
                    </a:lnTo>
                    <a:lnTo>
                      <a:pt x="139" y="53"/>
                    </a:lnTo>
                    <a:lnTo>
                      <a:pt x="126" y="63"/>
                    </a:lnTo>
                    <a:lnTo>
                      <a:pt x="115" y="72"/>
                    </a:lnTo>
                    <a:lnTo>
                      <a:pt x="103" y="82"/>
                    </a:lnTo>
                    <a:lnTo>
                      <a:pt x="92" y="92"/>
                    </a:lnTo>
                    <a:lnTo>
                      <a:pt x="81" y="104"/>
                    </a:lnTo>
                    <a:lnTo>
                      <a:pt x="72" y="115"/>
                    </a:lnTo>
                    <a:lnTo>
                      <a:pt x="62" y="126"/>
                    </a:lnTo>
                    <a:lnTo>
                      <a:pt x="54" y="139"/>
                    </a:lnTo>
                    <a:lnTo>
                      <a:pt x="46" y="152"/>
                    </a:lnTo>
                    <a:lnTo>
                      <a:pt x="37" y="165"/>
                    </a:lnTo>
                    <a:lnTo>
                      <a:pt x="31" y="179"/>
                    </a:lnTo>
                    <a:lnTo>
                      <a:pt x="25" y="193"/>
                    </a:lnTo>
                    <a:lnTo>
                      <a:pt x="19" y="207"/>
                    </a:lnTo>
                    <a:lnTo>
                      <a:pt x="14" y="222"/>
                    </a:lnTo>
                    <a:lnTo>
                      <a:pt x="10" y="237"/>
                    </a:lnTo>
                    <a:lnTo>
                      <a:pt x="6" y="252"/>
                    </a:lnTo>
                    <a:lnTo>
                      <a:pt x="3" y="268"/>
                    </a:lnTo>
                    <a:lnTo>
                      <a:pt x="1" y="284"/>
                    </a:lnTo>
                    <a:lnTo>
                      <a:pt x="0" y="299"/>
                    </a:lnTo>
                    <a:lnTo>
                      <a:pt x="0" y="316"/>
                    </a:lnTo>
                    <a:lnTo>
                      <a:pt x="0" y="332"/>
                    </a:lnTo>
                    <a:lnTo>
                      <a:pt x="1" y="348"/>
                    </a:lnTo>
                    <a:lnTo>
                      <a:pt x="3" y="363"/>
                    </a:lnTo>
                    <a:lnTo>
                      <a:pt x="6" y="379"/>
                    </a:lnTo>
                    <a:lnTo>
                      <a:pt x="10" y="394"/>
                    </a:lnTo>
                    <a:lnTo>
                      <a:pt x="14" y="410"/>
                    </a:lnTo>
                    <a:lnTo>
                      <a:pt x="19" y="425"/>
                    </a:lnTo>
                    <a:lnTo>
                      <a:pt x="25" y="438"/>
                    </a:lnTo>
                    <a:lnTo>
                      <a:pt x="31" y="452"/>
                    </a:lnTo>
                    <a:lnTo>
                      <a:pt x="37" y="466"/>
                    </a:lnTo>
                    <a:lnTo>
                      <a:pt x="46" y="479"/>
                    </a:lnTo>
                    <a:lnTo>
                      <a:pt x="54" y="492"/>
                    </a:lnTo>
                    <a:lnTo>
                      <a:pt x="62" y="505"/>
                    </a:lnTo>
                    <a:lnTo>
                      <a:pt x="72" y="517"/>
                    </a:lnTo>
                    <a:lnTo>
                      <a:pt x="81" y="529"/>
                    </a:lnTo>
                    <a:lnTo>
                      <a:pt x="92" y="539"/>
                    </a:lnTo>
                    <a:lnTo>
                      <a:pt x="103" y="550"/>
                    </a:lnTo>
                    <a:lnTo>
                      <a:pt x="115" y="560"/>
                    </a:lnTo>
                    <a:lnTo>
                      <a:pt x="126" y="569"/>
                    </a:lnTo>
                    <a:lnTo>
                      <a:pt x="139" y="578"/>
                    </a:lnTo>
                    <a:lnTo>
                      <a:pt x="152" y="586"/>
                    </a:lnTo>
                    <a:lnTo>
                      <a:pt x="165" y="594"/>
                    </a:lnTo>
                    <a:lnTo>
                      <a:pt x="179" y="600"/>
                    </a:lnTo>
                    <a:lnTo>
                      <a:pt x="193" y="607"/>
                    </a:lnTo>
                    <a:lnTo>
                      <a:pt x="207" y="612"/>
                    </a:lnTo>
                    <a:lnTo>
                      <a:pt x="222" y="618"/>
                    </a:lnTo>
                    <a:lnTo>
                      <a:pt x="237" y="622"/>
                    </a:lnTo>
                    <a:lnTo>
                      <a:pt x="252" y="625"/>
                    </a:lnTo>
                    <a:lnTo>
                      <a:pt x="268" y="628"/>
                    </a:lnTo>
                    <a:lnTo>
                      <a:pt x="283" y="630"/>
                    </a:lnTo>
                    <a:lnTo>
                      <a:pt x="299" y="631"/>
                    </a:lnTo>
                    <a:lnTo>
                      <a:pt x="316" y="631"/>
                    </a:lnTo>
                    <a:lnTo>
                      <a:pt x="332" y="631"/>
                    </a:lnTo>
                    <a:lnTo>
                      <a:pt x="348" y="630"/>
                    </a:lnTo>
                    <a:lnTo>
                      <a:pt x="364" y="628"/>
                    </a:lnTo>
                    <a:lnTo>
                      <a:pt x="380" y="625"/>
                    </a:lnTo>
                    <a:lnTo>
                      <a:pt x="395" y="622"/>
                    </a:lnTo>
                    <a:lnTo>
                      <a:pt x="410" y="618"/>
                    </a:lnTo>
                    <a:lnTo>
                      <a:pt x="425" y="612"/>
                    </a:lnTo>
                    <a:lnTo>
                      <a:pt x="439" y="607"/>
                    </a:lnTo>
                    <a:lnTo>
                      <a:pt x="453" y="600"/>
                    </a:lnTo>
                    <a:lnTo>
                      <a:pt x="466" y="594"/>
                    </a:lnTo>
                    <a:lnTo>
                      <a:pt x="479" y="586"/>
                    </a:lnTo>
                    <a:lnTo>
                      <a:pt x="492" y="578"/>
                    </a:lnTo>
                    <a:lnTo>
                      <a:pt x="505" y="569"/>
                    </a:lnTo>
                    <a:lnTo>
                      <a:pt x="517" y="560"/>
                    </a:lnTo>
                    <a:lnTo>
                      <a:pt x="529" y="550"/>
                    </a:lnTo>
                    <a:lnTo>
                      <a:pt x="539" y="539"/>
                    </a:lnTo>
                    <a:lnTo>
                      <a:pt x="550" y="529"/>
                    </a:lnTo>
                    <a:lnTo>
                      <a:pt x="560" y="517"/>
                    </a:lnTo>
                    <a:lnTo>
                      <a:pt x="569" y="505"/>
                    </a:lnTo>
                    <a:lnTo>
                      <a:pt x="578" y="492"/>
                    </a:lnTo>
                    <a:lnTo>
                      <a:pt x="587" y="479"/>
                    </a:lnTo>
                    <a:lnTo>
                      <a:pt x="594" y="466"/>
                    </a:lnTo>
                    <a:lnTo>
                      <a:pt x="601" y="452"/>
                    </a:lnTo>
                    <a:lnTo>
                      <a:pt x="607" y="438"/>
                    </a:lnTo>
                    <a:lnTo>
                      <a:pt x="612" y="425"/>
                    </a:lnTo>
                    <a:lnTo>
                      <a:pt x="618" y="410"/>
                    </a:lnTo>
                    <a:lnTo>
                      <a:pt x="622" y="394"/>
                    </a:lnTo>
                    <a:lnTo>
                      <a:pt x="625" y="379"/>
                    </a:lnTo>
                    <a:lnTo>
                      <a:pt x="628" y="363"/>
                    </a:lnTo>
                    <a:lnTo>
                      <a:pt x="631" y="348"/>
                    </a:lnTo>
                    <a:lnTo>
                      <a:pt x="632" y="332"/>
                    </a:lnTo>
                    <a:lnTo>
                      <a:pt x="632" y="316"/>
                    </a:lnTo>
                    <a:lnTo>
                      <a:pt x="632" y="299"/>
                    </a:lnTo>
                    <a:lnTo>
                      <a:pt x="631" y="284"/>
                    </a:lnTo>
                    <a:lnTo>
                      <a:pt x="628" y="268"/>
                    </a:lnTo>
                    <a:lnTo>
                      <a:pt x="625" y="252"/>
                    </a:lnTo>
                    <a:lnTo>
                      <a:pt x="622" y="237"/>
                    </a:lnTo>
                    <a:lnTo>
                      <a:pt x="618" y="222"/>
                    </a:lnTo>
                    <a:lnTo>
                      <a:pt x="612" y="207"/>
                    </a:lnTo>
                    <a:lnTo>
                      <a:pt x="607" y="193"/>
                    </a:lnTo>
                    <a:lnTo>
                      <a:pt x="601" y="179"/>
                    </a:lnTo>
                    <a:lnTo>
                      <a:pt x="594" y="165"/>
                    </a:lnTo>
                    <a:lnTo>
                      <a:pt x="587" y="152"/>
                    </a:lnTo>
                    <a:lnTo>
                      <a:pt x="578" y="139"/>
                    </a:lnTo>
                    <a:lnTo>
                      <a:pt x="569" y="126"/>
                    </a:lnTo>
                    <a:lnTo>
                      <a:pt x="560" y="115"/>
                    </a:lnTo>
                    <a:lnTo>
                      <a:pt x="550" y="104"/>
                    </a:lnTo>
                    <a:lnTo>
                      <a:pt x="539" y="92"/>
                    </a:lnTo>
                    <a:lnTo>
                      <a:pt x="529" y="82"/>
                    </a:lnTo>
                    <a:lnTo>
                      <a:pt x="517" y="72"/>
                    </a:lnTo>
                    <a:lnTo>
                      <a:pt x="505" y="63"/>
                    </a:lnTo>
                    <a:lnTo>
                      <a:pt x="492" y="53"/>
                    </a:lnTo>
                    <a:lnTo>
                      <a:pt x="479" y="46"/>
                    </a:lnTo>
                    <a:lnTo>
                      <a:pt x="466" y="38"/>
                    </a:lnTo>
                    <a:lnTo>
                      <a:pt x="453" y="31"/>
                    </a:lnTo>
                    <a:lnTo>
                      <a:pt x="439" y="25"/>
                    </a:lnTo>
                    <a:lnTo>
                      <a:pt x="425" y="19"/>
                    </a:lnTo>
                    <a:lnTo>
                      <a:pt x="410" y="14"/>
                    </a:lnTo>
                    <a:lnTo>
                      <a:pt x="395" y="10"/>
                    </a:lnTo>
                    <a:lnTo>
                      <a:pt x="380" y="6"/>
                    </a:lnTo>
                    <a:lnTo>
                      <a:pt x="364" y="3"/>
                    </a:lnTo>
                    <a:lnTo>
                      <a:pt x="348" y="1"/>
                    </a:lnTo>
                    <a:lnTo>
                      <a:pt x="332" y="0"/>
                    </a:lnTo>
                    <a:lnTo>
                      <a:pt x="31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18" name="Freeform 204"/>
              <p:cNvSpPr>
                <a:spLocks/>
              </p:cNvSpPr>
              <p:nvPr/>
            </p:nvSpPr>
            <p:spPr bwMode="auto">
              <a:xfrm>
                <a:off x="10567988" y="2449513"/>
                <a:ext cx="66675" cy="9525"/>
              </a:xfrm>
              <a:custGeom>
                <a:avLst/>
                <a:gdLst>
                  <a:gd name="T0" fmla="*/ 196 w 211"/>
                  <a:gd name="T1" fmla="*/ 0 h 31"/>
                  <a:gd name="T2" fmla="*/ 15 w 211"/>
                  <a:gd name="T3" fmla="*/ 0 h 31"/>
                  <a:gd name="T4" fmla="*/ 13 w 211"/>
                  <a:gd name="T5" fmla="*/ 1 h 31"/>
                  <a:gd name="T6" fmla="*/ 10 w 211"/>
                  <a:gd name="T7" fmla="*/ 2 h 31"/>
                  <a:gd name="T8" fmla="*/ 8 w 211"/>
                  <a:gd name="T9" fmla="*/ 3 h 31"/>
                  <a:gd name="T10" fmla="*/ 4 w 211"/>
                  <a:gd name="T11" fmla="*/ 5 h 31"/>
                  <a:gd name="T12" fmla="*/ 3 w 211"/>
                  <a:gd name="T13" fmla="*/ 7 h 31"/>
                  <a:gd name="T14" fmla="*/ 1 w 211"/>
                  <a:gd name="T15" fmla="*/ 9 h 31"/>
                  <a:gd name="T16" fmla="*/ 1 w 211"/>
                  <a:gd name="T17" fmla="*/ 12 h 31"/>
                  <a:gd name="T18" fmla="*/ 0 w 211"/>
                  <a:gd name="T19" fmla="*/ 16 h 31"/>
                  <a:gd name="T20" fmla="*/ 1 w 211"/>
                  <a:gd name="T21" fmla="*/ 18 h 31"/>
                  <a:gd name="T22" fmla="*/ 1 w 211"/>
                  <a:gd name="T23" fmla="*/ 21 h 31"/>
                  <a:gd name="T24" fmla="*/ 3 w 211"/>
                  <a:gd name="T25" fmla="*/ 23 h 31"/>
                  <a:gd name="T26" fmla="*/ 4 w 211"/>
                  <a:gd name="T27" fmla="*/ 25 h 31"/>
                  <a:gd name="T28" fmla="*/ 8 w 211"/>
                  <a:gd name="T29" fmla="*/ 27 h 31"/>
                  <a:gd name="T30" fmla="*/ 10 w 211"/>
                  <a:gd name="T31" fmla="*/ 28 h 31"/>
                  <a:gd name="T32" fmla="*/ 13 w 211"/>
                  <a:gd name="T33" fmla="*/ 30 h 31"/>
                  <a:gd name="T34" fmla="*/ 15 w 211"/>
                  <a:gd name="T35" fmla="*/ 31 h 31"/>
                  <a:gd name="T36" fmla="*/ 196 w 211"/>
                  <a:gd name="T37" fmla="*/ 31 h 31"/>
                  <a:gd name="T38" fmla="*/ 200 w 211"/>
                  <a:gd name="T39" fmla="*/ 30 h 31"/>
                  <a:gd name="T40" fmla="*/ 202 w 211"/>
                  <a:gd name="T41" fmla="*/ 28 h 31"/>
                  <a:gd name="T42" fmla="*/ 205 w 211"/>
                  <a:gd name="T43" fmla="*/ 27 h 31"/>
                  <a:gd name="T44" fmla="*/ 207 w 211"/>
                  <a:gd name="T45" fmla="*/ 25 h 31"/>
                  <a:gd name="T46" fmla="*/ 208 w 211"/>
                  <a:gd name="T47" fmla="*/ 23 h 31"/>
                  <a:gd name="T48" fmla="*/ 210 w 211"/>
                  <a:gd name="T49" fmla="*/ 21 h 31"/>
                  <a:gd name="T50" fmla="*/ 211 w 211"/>
                  <a:gd name="T51" fmla="*/ 18 h 31"/>
                  <a:gd name="T52" fmla="*/ 211 w 211"/>
                  <a:gd name="T53" fmla="*/ 16 h 31"/>
                  <a:gd name="T54" fmla="*/ 211 w 211"/>
                  <a:gd name="T55" fmla="*/ 12 h 31"/>
                  <a:gd name="T56" fmla="*/ 210 w 211"/>
                  <a:gd name="T57" fmla="*/ 9 h 31"/>
                  <a:gd name="T58" fmla="*/ 208 w 211"/>
                  <a:gd name="T59" fmla="*/ 7 h 31"/>
                  <a:gd name="T60" fmla="*/ 207 w 211"/>
                  <a:gd name="T61" fmla="*/ 5 h 31"/>
                  <a:gd name="T62" fmla="*/ 205 w 211"/>
                  <a:gd name="T63" fmla="*/ 3 h 31"/>
                  <a:gd name="T64" fmla="*/ 202 w 211"/>
                  <a:gd name="T65" fmla="*/ 2 h 31"/>
                  <a:gd name="T66" fmla="*/ 200 w 211"/>
                  <a:gd name="T67" fmla="*/ 1 h 31"/>
                  <a:gd name="T68" fmla="*/ 196 w 211"/>
                  <a:gd name="T69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11" h="31">
                    <a:moveTo>
                      <a:pt x="196" y="0"/>
                    </a:moveTo>
                    <a:lnTo>
                      <a:pt x="15" y="0"/>
                    </a:lnTo>
                    <a:lnTo>
                      <a:pt x="13" y="1"/>
                    </a:lnTo>
                    <a:lnTo>
                      <a:pt x="10" y="2"/>
                    </a:lnTo>
                    <a:lnTo>
                      <a:pt x="8" y="3"/>
                    </a:lnTo>
                    <a:lnTo>
                      <a:pt x="4" y="5"/>
                    </a:lnTo>
                    <a:lnTo>
                      <a:pt x="3" y="7"/>
                    </a:lnTo>
                    <a:lnTo>
                      <a:pt x="1" y="9"/>
                    </a:lnTo>
                    <a:lnTo>
                      <a:pt x="1" y="12"/>
                    </a:lnTo>
                    <a:lnTo>
                      <a:pt x="0" y="16"/>
                    </a:lnTo>
                    <a:lnTo>
                      <a:pt x="1" y="18"/>
                    </a:lnTo>
                    <a:lnTo>
                      <a:pt x="1" y="21"/>
                    </a:lnTo>
                    <a:lnTo>
                      <a:pt x="3" y="23"/>
                    </a:lnTo>
                    <a:lnTo>
                      <a:pt x="4" y="25"/>
                    </a:lnTo>
                    <a:lnTo>
                      <a:pt x="8" y="27"/>
                    </a:lnTo>
                    <a:lnTo>
                      <a:pt x="10" y="28"/>
                    </a:lnTo>
                    <a:lnTo>
                      <a:pt x="13" y="30"/>
                    </a:lnTo>
                    <a:lnTo>
                      <a:pt x="15" y="31"/>
                    </a:lnTo>
                    <a:lnTo>
                      <a:pt x="196" y="31"/>
                    </a:lnTo>
                    <a:lnTo>
                      <a:pt x="200" y="30"/>
                    </a:lnTo>
                    <a:lnTo>
                      <a:pt x="202" y="28"/>
                    </a:lnTo>
                    <a:lnTo>
                      <a:pt x="205" y="27"/>
                    </a:lnTo>
                    <a:lnTo>
                      <a:pt x="207" y="25"/>
                    </a:lnTo>
                    <a:lnTo>
                      <a:pt x="208" y="23"/>
                    </a:lnTo>
                    <a:lnTo>
                      <a:pt x="210" y="21"/>
                    </a:lnTo>
                    <a:lnTo>
                      <a:pt x="211" y="18"/>
                    </a:lnTo>
                    <a:lnTo>
                      <a:pt x="211" y="16"/>
                    </a:lnTo>
                    <a:lnTo>
                      <a:pt x="211" y="12"/>
                    </a:lnTo>
                    <a:lnTo>
                      <a:pt x="210" y="9"/>
                    </a:lnTo>
                    <a:lnTo>
                      <a:pt x="208" y="7"/>
                    </a:lnTo>
                    <a:lnTo>
                      <a:pt x="207" y="5"/>
                    </a:lnTo>
                    <a:lnTo>
                      <a:pt x="205" y="3"/>
                    </a:lnTo>
                    <a:lnTo>
                      <a:pt x="202" y="2"/>
                    </a:lnTo>
                    <a:lnTo>
                      <a:pt x="200" y="1"/>
                    </a:lnTo>
                    <a:lnTo>
                      <a:pt x="19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19" name="Freeform 205"/>
              <p:cNvSpPr>
                <a:spLocks/>
              </p:cNvSpPr>
              <p:nvPr/>
            </p:nvSpPr>
            <p:spPr bwMode="auto">
              <a:xfrm>
                <a:off x="10567988" y="2468563"/>
                <a:ext cx="66675" cy="9525"/>
              </a:xfrm>
              <a:custGeom>
                <a:avLst/>
                <a:gdLst>
                  <a:gd name="T0" fmla="*/ 196 w 211"/>
                  <a:gd name="T1" fmla="*/ 0 h 30"/>
                  <a:gd name="T2" fmla="*/ 15 w 211"/>
                  <a:gd name="T3" fmla="*/ 0 h 30"/>
                  <a:gd name="T4" fmla="*/ 13 w 211"/>
                  <a:gd name="T5" fmla="*/ 0 h 30"/>
                  <a:gd name="T6" fmla="*/ 10 w 211"/>
                  <a:gd name="T7" fmla="*/ 1 h 30"/>
                  <a:gd name="T8" fmla="*/ 8 w 211"/>
                  <a:gd name="T9" fmla="*/ 2 h 30"/>
                  <a:gd name="T10" fmla="*/ 4 w 211"/>
                  <a:gd name="T11" fmla="*/ 4 h 30"/>
                  <a:gd name="T12" fmla="*/ 3 w 211"/>
                  <a:gd name="T13" fmla="*/ 6 h 30"/>
                  <a:gd name="T14" fmla="*/ 1 w 211"/>
                  <a:gd name="T15" fmla="*/ 8 h 30"/>
                  <a:gd name="T16" fmla="*/ 1 w 211"/>
                  <a:gd name="T17" fmla="*/ 11 h 30"/>
                  <a:gd name="T18" fmla="*/ 0 w 211"/>
                  <a:gd name="T19" fmla="*/ 15 h 30"/>
                  <a:gd name="T20" fmla="*/ 1 w 211"/>
                  <a:gd name="T21" fmla="*/ 17 h 30"/>
                  <a:gd name="T22" fmla="*/ 1 w 211"/>
                  <a:gd name="T23" fmla="*/ 20 h 30"/>
                  <a:gd name="T24" fmla="*/ 3 w 211"/>
                  <a:gd name="T25" fmla="*/ 22 h 30"/>
                  <a:gd name="T26" fmla="*/ 4 w 211"/>
                  <a:gd name="T27" fmla="*/ 25 h 30"/>
                  <a:gd name="T28" fmla="*/ 8 w 211"/>
                  <a:gd name="T29" fmla="*/ 26 h 30"/>
                  <a:gd name="T30" fmla="*/ 10 w 211"/>
                  <a:gd name="T31" fmla="*/ 29 h 30"/>
                  <a:gd name="T32" fmla="*/ 13 w 211"/>
                  <a:gd name="T33" fmla="*/ 29 h 30"/>
                  <a:gd name="T34" fmla="*/ 15 w 211"/>
                  <a:gd name="T35" fmla="*/ 30 h 30"/>
                  <a:gd name="T36" fmla="*/ 196 w 211"/>
                  <a:gd name="T37" fmla="*/ 30 h 30"/>
                  <a:gd name="T38" fmla="*/ 200 w 211"/>
                  <a:gd name="T39" fmla="*/ 29 h 30"/>
                  <a:gd name="T40" fmla="*/ 202 w 211"/>
                  <a:gd name="T41" fmla="*/ 29 h 30"/>
                  <a:gd name="T42" fmla="*/ 205 w 211"/>
                  <a:gd name="T43" fmla="*/ 26 h 30"/>
                  <a:gd name="T44" fmla="*/ 207 w 211"/>
                  <a:gd name="T45" fmla="*/ 25 h 30"/>
                  <a:gd name="T46" fmla="*/ 208 w 211"/>
                  <a:gd name="T47" fmla="*/ 22 h 30"/>
                  <a:gd name="T48" fmla="*/ 210 w 211"/>
                  <a:gd name="T49" fmla="*/ 20 h 30"/>
                  <a:gd name="T50" fmla="*/ 211 w 211"/>
                  <a:gd name="T51" fmla="*/ 17 h 30"/>
                  <a:gd name="T52" fmla="*/ 211 w 211"/>
                  <a:gd name="T53" fmla="*/ 15 h 30"/>
                  <a:gd name="T54" fmla="*/ 211 w 211"/>
                  <a:gd name="T55" fmla="*/ 11 h 30"/>
                  <a:gd name="T56" fmla="*/ 210 w 211"/>
                  <a:gd name="T57" fmla="*/ 8 h 30"/>
                  <a:gd name="T58" fmla="*/ 208 w 211"/>
                  <a:gd name="T59" fmla="*/ 6 h 30"/>
                  <a:gd name="T60" fmla="*/ 207 w 211"/>
                  <a:gd name="T61" fmla="*/ 4 h 30"/>
                  <a:gd name="T62" fmla="*/ 205 w 211"/>
                  <a:gd name="T63" fmla="*/ 2 h 30"/>
                  <a:gd name="T64" fmla="*/ 202 w 211"/>
                  <a:gd name="T65" fmla="*/ 1 h 30"/>
                  <a:gd name="T66" fmla="*/ 200 w 211"/>
                  <a:gd name="T67" fmla="*/ 0 h 30"/>
                  <a:gd name="T68" fmla="*/ 196 w 211"/>
                  <a:gd name="T69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11" h="30">
                    <a:moveTo>
                      <a:pt x="196" y="0"/>
                    </a:moveTo>
                    <a:lnTo>
                      <a:pt x="15" y="0"/>
                    </a:lnTo>
                    <a:lnTo>
                      <a:pt x="13" y="0"/>
                    </a:lnTo>
                    <a:lnTo>
                      <a:pt x="10" y="1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3" y="6"/>
                    </a:lnTo>
                    <a:lnTo>
                      <a:pt x="1" y="8"/>
                    </a:lnTo>
                    <a:lnTo>
                      <a:pt x="1" y="11"/>
                    </a:lnTo>
                    <a:lnTo>
                      <a:pt x="0" y="15"/>
                    </a:lnTo>
                    <a:lnTo>
                      <a:pt x="1" y="17"/>
                    </a:lnTo>
                    <a:lnTo>
                      <a:pt x="1" y="20"/>
                    </a:lnTo>
                    <a:lnTo>
                      <a:pt x="3" y="22"/>
                    </a:lnTo>
                    <a:lnTo>
                      <a:pt x="4" y="25"/>
                    </a:lnTo>
                    <a:lnTo>
                      <a:pt x="8" y="26"/>
                    </a:lnTo>
                    <a:lnTo>
                      <a:pt x="10" y="29"/>
                    </a:lnTo>
                    <a:lnTo>
                      <a:pt x="13" y="29"/>
                    </a:lnTo>
                    <a:lnTo>
                      <a:pt x="15" y="30"/>
                    </a:lnTo>
                    <a:lnTo>
                      <a:pt x="196" y="30"/>
                    </a:lnTo>
                    <a:lnTo>
                      <a:pt x="200" y="29"/>
                    </a:lnTo>
                    <a:lnTo>
                      <a:pt x="202" y="29"/>
                    </a:lnTo>
                    <a:lnTo>
                      <a:pt x="205" y="26"/>
                    </a:lnTo>
                    <a:lnTo>
                      <a:pt x="207" y="25"/>
                    </a:lnTo>
                    <a:lnTo>
                      <a:pt x="208" y="22"/>
                    </a:lnTo>
                    <a:lnTo>
                      <a:pt x="210" y="20"/>
                    </a:lnTo>
                    <a:lnTo>
                      <a:pt x="211" y="17"/>
                    </a:lnTo>
                    <a:lnTo>
                      <a:pt x="211" y="15"/>
                    </a:lnTo>
                    <a:lnTo>
                      <a:pt x="211" y="11"/>
                    </a:lnTo>
                    <a:lnTo>
                      <a:pt x="210" y="8"/>
                    </a:lnTo>
                    <a:lnTo>
                      <a:pt x="208" y="6"/>
                    </a:lnTo>
                    <a:lnTo>
                      <a:pt x="207" y="4"/>
                    </a:lnTo>
                    <a:lnTo>
                      <a:pt x="205" y="2"/>
                    </a:lnTo>
                    <a:lnTo>
                      <a:pt x="202" y="1"/>
                    </a:lnTo>
                    <a:lnTo>
                      <a:pt x="200" y="0"/>
                    </a:lnTo>
                    <a:lnTo>
                      <a:pt x="19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20" name="Freeform 206"/>
              <p:cNvSpPr>
                <a:spLocks/>
              </p:cNvSpPr>
              <p:nvPr/>
            </p:nvSpPr>
            <p:spPr bwMode="auto">
              <a:xfrm>
                <a:off x="10567988" y="2487613"/>
                <a:ext cx="66675" cy="28575"/>
              </a:xfrm>
              <a:custGeom>
                <a:avLst/>
                <a:gdLst>
                  <a:gd name="T0" fmla="*/ 196 w 211"/>
                  <a:gd name="T1" fmla="*/ 0 h 90"/>
                  <a:gd name="T2" fmla="*/ 15 w 211"/>
                  <a:gd name="T3" fmla="*/ 0 h 90"/>
                  <a:gd name="T4" fmla="*/ 13 w 211"/>
                  <a:gd name="T5" fmla="*/ 0 h 90"/>
                  <a:gd name="T6" fmla="*/ 10 w 211"/>
                  <a:gd name="T7" fmla="*/ 1 h 90"/>
                  <a:gd name="T8" fmla="*/ 8 w 211"/>
                  <a:gd name="T9" fmla="*/ 2 h 90"/>
                  <a:gd name="T10" fmla="*/ 4 w 211"/>
                  <a:gd name="T11" fmla="*/ 4 h 90"/>
                  <a:gd name="T12" fmla="*/ 3 w 211"/>
                  <a:gd name="T13" fmla="*/ 6 h 90"/>
                  <a:gd name="T14" fmla="*/ 1 w 211"/>
                  <a:gd name="T15" fmla="*/ 8 h 90"/>
                  <a:gd name="T16" fmla="*/ 1 w 211"/>
                  <a:gd name="T17" fmla="*/ 11 h 90"/>
                  <a:gd name="T18" fmla="*/ 0 w 211"/>
                  <a:gd name="T19" fmla="*/ 15 h 90"/>
                  <a:gd name="T20" fmla="*/ 1 w 211"/>
                  <a:gd name="T21" fmla="*/ 18 h 90"/>
                  <a:gd name="T22" fmla="*/ 1 w 211"/>
                  <a:gd name="T23" fmla="*/ 20 h 90"/>
                  <a:gd name="T24" fmla="*/ 3 w 211"/>
                  <a:gd name="T25" fmla="*/ 23 h 90"/>
                  <a:gd name="T26" fmla="*/ 4 w 211"/>
                  <a:gd name="T27" fmla="*/ 25 h 90"/>
                  <a:gd name="T28" fmla="*/ 8 w 211"/>
                  <a:gd name="T29" fmla="*/ 27 h 90"/>
                  <a:gd name="T30" fmla="*/ 10 w 211"/>
                  <a:gd name="T31" fmla="*/ 29 h 90"/>
                  <a:gd name="T32" fmla="*/ 13 w 211"/>
                  <a:gd name="T33" fmla="*/ 30 h 90"/>
                  <a:gd name="T34" fmla="*/ 15 w 211"/>
                  <a:gd name="T35" fmla="*/ 30 h 90"/>
                  <a:gd name="T36" fmla="*/ 91 w 211"/>
                  <a:gd name="T37" fmla="*/ 30 h 90"/>
                  <a:gd name="T38" fmla="*/ 91 w 211"/>
                  <a:gd name="T39" fmla="*/ 75 h 90"/>
                  <a:gd name="T40" fmla="*/ 91 w 211"/>
                  <a:gd name="T41" fmla="*/ 78 h 90"/>
                  <a:gd name="T42" fmla="*/ 92 w 211"/>
                  <a:gd name="T43" fmla="*/ 80 h 90"/>
                  <a:gd name="T44" fmla="*/ 93 w 211"/>
                  <a:gd name="T45" fmla="*/ 83 h 90"/>
                  <a:gd name="T46" fmla="*/ 96 w 211"/>
                  <a:gd name="T47" fmla="*/ 85 h 90"/>
                  <a:gd name="T48" fmla="*/ 98 w 211"/>
                  <a:gd name="T49" fmla="*/ 88 h 90"/>
                  <a:gd name="T50" fmla="*/ 100 w 211"/>
                  <a:gd name="T51" fmla="*/ 89 h 90"/>
                  <a:gd name="T52" fmla="*/ 103 w 211"/>
                  <a:gd name="T53" fmla="*/ 90 h 90"/>
                  <a:gd name="T54" fmla="*/ 106 w 211"/>
                  <a:gd name="T55" fmla="*/ 90 h 90"/>
                  <a:gd name="T56" fmla="*/ 108 w 211"/>
                  <a:gd name="T57" fmla="*/ 90 h 90"/>
                  <a:gd name="T58" fmla="*/ 112 w 211"/>
                  <a:gd name="T59" fmla="*/ 89 h 90"/>
                  <a:gd name="T60" fmla="*/ 114 w 211"/>
                  <a:gd name="T61" fmla="*/ 88 h 90"/>
                  <a:gd name="T62" fmla="*/ 116 w 211"/>
                  <a:gd name="T63" fmla="*/ 85 h 90"/>
                  <a:gd name="T64" fmla="*/ 118 w 211"/>
                  <a:gd name="T65" fmla="*/ 83 h 90"/>
                  <a:gd name="T66" fmla="*/ 119 w 211"/>
                  <a:gd name="T67" fmla="*/ 80 h 90"/>
                  <a:gd name="T68" fmla="*/ 120 w 211"/>
                  <a:gd name="T69" fmla="*/ 78 h 90"/>
                  <a:gd name="T70" fmla="*/ 121 w 211"/>
                  <a:gd name="T71" fmla="*/ 75 h 90"/>
                  <a:gd name="T72" fmla="*/ 121 w 211"/>
                  <a:gd name="T73" fmla="*/ 30 h 90"/>
                  <a:gd name="T74" fmla="*/ 196 w 211"/>
                  <a:gd name="T75" fmla="*/ 30 h 90"/>
                  <a:gd name="T76" fmla="*/ 200 w 211"/>
                  <a:gd name="T77" fmla="*/ 30 h 90"/>
                  <a:gd name="T78" fmla="*/ 202 w 211"/>
                  <a:gd name="T79" fmla="*/ 29 h 90"/>
                  <a:gd name="T80" fmla="*/ 205 w 211"/>
                  <a:gd name="T81" fmla="*/ 27 h 90"/>
                  <a:gd name="T82" fmla="*/ 207 w 211"/>
                  <a:gd name="T83" fmla="*/ 25 h 90"/>
                  <a:gd name="T84" fmla="*/ 208 w 211"/>
                  <a:gd name="T85" fmla="*/ 23 h 90"/>
                  <a:gd name="T86" fmla="*/ 210 w 211"/>
                  <a:gd name="T87" fmla="*/ 20 h 90"/>
                  <a:gd name="T88" fmla="*/ 211 w 211"/>
                  <a:gd name="T89" fmla="*/ 18 h 90"/>
                  <a:gd name="T90" fmla="*/ 211 w 211"/>
                  <a:gd name="T91" fmla="*/ 15 h 90"/>
                  <a:gd name="T92" fmla="*/ 211 w 211"/>
                  <a:gd name="T93" fmla="*/ 11 h 90"/>
                  <a:gd name="T94" fmla="*/ 210 w 211"/>
                  <a:gd name="T95" fmla="*/ 8 h 90"/>
                  <a:gd name="T96" fmla="*/ 208 w 211"/>
                  <a:gd name="T97" fmla="*/ 6 h 90"/>
                  <a:gd name="T98" fmla="*/ 207 w 211"/>
                  <a:gd name="T99" fmla="*/ 4 h 90"/>
                  <a:gd name="T100" fmla="*/ 205 w 211"/>
                  <a:gd name="T101" fmla="*/ 2 h 90"/>
                  <a:gd name="T102" fmla="*/ 202 w 211"/>
                  <a:gd name="T103" fmla="*/ 1 h 90"/>
                  <a:gd name="T104" fmla="*/ 200 w 211"/>
                  <a:gd name="T105" fmla="*/ 0 h 90"/>
                  <a:gd name="T106" fmla="*/ 196 w 211"/>
                  <a:gd name="T107" fmla="*/ 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11" h="90">
                    <a:moveTo>
                      <a:pt x="196" y="0"/>
                    </a:moveTo>
                    <a:lnTo>
                      <a:pt x="15" y="0"/>
                    </a:lnTo>
                    <a:lnTo>
                      <a:pt x="13" y="0"/>
                    </a:lnTo>
                    <a:lnTo>
                      <a:pt x="10" y="1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3" y="6"/>
                    </a:lnTo>
                    <a:lnTo>
                      <a:pt x="1" y="8"/>
                    </a:lnTo>
                    <a:lnTo>
                      <a:pt x="1" y="11"/>
                    </a:lnTo>
                    <a:lnTo>
                      <a:pt x="0" y="15"/>
                    </a:lnTo>
                    <a:lnTo>
                      <a:pt x="1" y="18"/>
                    </a:lnTo>
                    <a:lnTo>
                      <a:pt x="1" y="20"/>
                    </a:lnTo>
                    <a:lnTo>
                      <a:pt x="3" y="23"/>
                    </a:lnTo>
                    <a:lnTo>
                      <a:pt x="4" y="25"/>
                    </a:lnTo>
                    <a:lnTo>
                      <a:pt x="8" y="27"/>
                    </a:lnTo>
                    <a:lnTo>
                      <a:pt x="10" y="29"/>
                    </a:lnTo>
                    <a:lnTo>
                      <a:pt x="13" y="30"/>
                    </a:lnTo>
                    <a:lnTo>
                      <a:pt x="15" y="30"/>
                    </a:lnTo>
                    <a:lnTo>
                      <a:pt x="91" y="30"/>
                    </a:lnTo>
                    <a:lnTo>
                      <a:pt x="91" y="75"/>
                    </a:lnTo>
                    <a:lnTo>
                      <a:pt x="91" y="78"/>
                    </a:lnTo>
                    <a:lnTo>
                      <a:pt x="92" y="80"/>
                    </a:lnTo>
                    <a:lnTo>
                      <a:pt x="93" y="83"/>
                    </a:lnTo>
                    <a:lnTo>
                      <a:pt x="96" y="85"/>
                    </a:lnTo>
                    <a:lnTo>
                      <a:pt x="98" y="88"/>
                    </a:lnTo>
                    <a:lnTo>
                      <a:pt x="100" y="89"/>
                    </a:lnTo>
                    <a:lnTo>
                      <a:pt x="103" y="90"/>
                    </a:lnTo>
                    <a:lnTo>
                      <a:pt x="106" y="90"/>
                    </a:lnTo>
                    <a:lnTo>
                      <a:pt x="108" y="90"/>
                    </a:lnTo>
                    <a:lnTo>
                      <a:pt x="112" y="89"/>
                    </a:lnTo>
                    <a:lnTo>
                      <a:pt x="114" y="88"/>
                    </a:lnTo>
                    <a:lnTo>
                      <a:pt x="116" y="85"/>
                    </a:lnTo>
                    <a:lnTo>
                      <a:pt x="118" y="83"/>
                    </a:lnTo>
                    <a:lnTo>
                      <a:pt x="119" y="80"/>
                    </a:lnTo>
                    <a:lnTo>
                      <a:pt x="120" y="78"/>
                    </a:lnTo>
                    <a:lnTo>
                      <a:pt x="121" y="75"/>
                    </a:lnTo>
                    <a:lnTo>
                      <a:pt x="121" y="30"/>
                    </a:lnTo>
                    <a:lnTo>
                      <a:pt x="196" y="30"/>
                    </a:lnTo>
                    <a:lnTo>
                      <a:pt x="200" y="30"/>
                    </a:lnTo>
                    <a:lnTo>
                      <a:pt x="202" y="29"/>
                    </a:lnTo>
                    <a:lnTo>
                      <a:pt x="205" y="27"/>
                    </a:lnTo>
                    <a:lnTo>
                      <a:pt x="207" y="25"/>
                    </a:lnTo>
                    <a:lnTo>
                      <a:pt x="208" y="23"/>
                    </a:lnTo>
                    <a:lnTo>
                      <a:pt x="210" y="20"/>
                    </a:lnTo>
                    <a:lnTo>
                      <a:pt x="211" y="18"/>
                    </a:lnTo>
                    <a:lnTo>
                      <a:pt x="211" y="15"/>
                    </a:lnTo>
                    <a:lnTo>
                      <a:pt x="211" y="11"/>
                    </a:lnTo>
                    <a:lnTo>
                      <a:pt x="210" y="8"/>
                    </a:lnTo>
                    <a:lnTo>
                      <a:pt x="208" y="6"/>
                    </a:lnTo>
                    <a:lnTo>
                      <a:pt x="207" y="4"/>
                    </a:lnTo>
                    <a:lnTo>
                      <a:pt x="205" y="2"/>
                    </a:lnTo>
                    <a:lnTo>
                      <a:pt x="202" y="1"/>
                    </a:lnTo>
                    <a:lnTo>
                      <a:pt x="200" y="0"/>
                    </a:lnTo>
                    <a:lnTo>
                      <a:pt x="19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</p:grpSp>
        <p:grpSp>
          <p:nvGrpSpPr>
            <p:cNvPr id="21" name="Group 20"/>
            <p:cNvGrpSpPr/>
            <p:nvPr/>
          </p:nvGrpSpPr>
          <p:grpSpPr>
            <a:xfrm>
              <a:off x="3927200" y="2304509"/>
              <a:ext cx="284163" cy="284162"/>
              <a:chOff x="11033125" y="1349375"/>
              <a:chExt cx="284163" cy="284162"/>
            </a:xfrm>
            <a:solidFill>
              <a:schemeClr val="bg1"/>
            </a:solidFill>
          </p:grpSpPr>
          <p:sp>
            <p:nvSpPr>
              <p:cNvPr id="22" name="Freeform 331"/>
              <p:cNvSpPr>
                <a:spLocks noEditPoints="1"/>
              </p:cNvSpPr>
              <p:nvPr/>
            </p:nvSpPr>
            <p:spPr bwMode="auto">
              <a:xfrm>
                <a:off x="11133138" y="1385888"/>
                <a:ext cx="84138" cy="77787"/>
              </a:xfrm>
              <a:custGeom>
                <a:avLst/>
                <a:gdLst>
                  <a:gd name="T0" fmla="*/ 167 w 268"/>
                  <a:gd name="T1" fmla="*/ 133 h 246"/>
                  <a:gd name="T2" fmla="*/ 164 w 268"/>
                  <a:gd name="T3" fmla="*/ 142 h 246"/>
                  <a:gd name="T4" fmla="*/ 178 w 268"/>
                  <a:gd name="T5" fmla="*/ 188 h 246"/>
                  <a:gd name="T6" fmla="*/ 139 w 268"/>
                  <a:gd name="T7" fmla="*/ 157 h 246"/>
                  <a:gd name="T8" fmla="*/ 129 w 268"/>
                  <a:gd name="T9" fmla="*/ 157 h 246"/>
                  <a:gd name="T10" fmla="*/ 90 w 268"/>
                  <a:gd name="T11" fmla="*/ 188 h 246"/>
                  <a:gd name="T12" fmla="*/ 105 w 268"/>
                  <a:gd name="T13" fmla="*/ 142 h 246"/>
                  <a:gd name="T14" fmla="*/ 101 w 268"/>
                  <a:gd name="T15" fmla="*/ 133 h 246"/>
                  <a:gd name="T16" fmla="*/ 58 w 268"/>
                  <a:gd name="T17" fmla="*/ 97 h 246"/>
                  <a:gd name="T18" fmla="*/ 109 w 268"/>
                  <a:gd name="T19" fmla="*/ 96 h 246"/>
                  <a:gd name="T20" fmla="*/ 115 w 268"/>
                  <a:gd name="T21" fmla="*/ 91 h 246"/>
                  <a:gd name="T22" fmla="*/ 133 w 268"/>
                  <a:gd name="T23" fmla="*/ 52 h 246"/>
                  <a:gd name="T24" fmla="*/ 153 w 268"/>
                  <a:gd name="T25" fmla="*/ 91 h 246"/>
                  <a:gd name="T26" fmla="*/ 160 w 268"/>
                  <a:gd name="T27" fmla="*/ 96 h 246"/>
                  <a:gd name="T28" fmla="*/ 212 w 268"/>
                  <a:gd name="T29" fmla="*/ 97 h 246"/>
                  <a:gd name="T30" fmla="*/ 254 w 268"/>
                  <a:gd name="T31" fmla="*/ 67 h 246"/>
                  <a:gd name="T32" fmla="*/ 146 w 268"/>
                  <a:gd name="T33" fmla="*/ 9 h 246"/>
                  <a:gd name="T34" fmla="*/ 141 w 268"/>
                  <a:gd name="T35" fmla="*/ 3 h 246"/>
                  <a:gd name="T36" fmla="*/ 132 w 268"/>
                  <a:gd name="T37" fmla="*/ 0 h 246"/>
                  <a:gd name="T38" fmla="*/ 125 w 268"/>
                  <a:gd name="T39" fmla="*/ 3 h 246"/>
                  <a:gd name="T40" fmla="*/ 120 w 268"/>
                  <a:gd name="T41" fmla="*/ 9 h 246"/>
                  <a:gd name="T42" fmla="*/ 15 w 268"/>
                  <a:gd name="T43" fmla="*/ 67 h 246"/>
                  <a:gd name="T44" fmla="*/ 6 w 268"/>
                  <a:gd name="T45" fmla="*/ 69 h 246"/>
                  <a:gd name="T46" fmla="*/ 1 w 268"/>
                  <a:gd name="T47" fmla="*/ 76 h 246"/>
                  <a:gd name="T48" fmla="*/ 0 w 268"/>
                  <a:gd name="T49" fmla="*/ 86 h 246"/>
                  <a:gd name="T50" fmla="*/ 5 w 268"/>
                  <a:gd name="T51" fmla="*/ 93 h 246"/>
                  <a:gd name="T52" fmla="*/ 46 w 268"/>
                  <a:gd name="T53" fmla="*/ 226 h 246"/>
                  <a:gd name="T54" fmla="*/ 46 w 268"/>
                  <a:gd name="T55" fmla="*/ 236 h 246"/>
                  <a:gd name="T56" fmla="*/ 51 w 268"/>
                  <a:gd name="T57" fmla="*/ 243 h 246"/>
                  <a:gd name="T58" fmla="*/ 60 w 268"/>
                  <a:gd name="T59" fmla="*/ 246 h 246"/>
                  <a:gd name="T60" fmla="*/ 69 w 268"/>
                  <a:gd name="T61" fmla="*/ 242 h 246"/>
                  <a:gd name="T62" fmla="*/ 200 w 268"/>
                  <a:gd name="T63" fmla="*/ 242 h 246"/>
                  <a:gd name="T64" fmla="*/ 209 w 268"/>
                  <a:gd name="T65" fmla="*/ 246 h 246"/>
                  <a:gd name="T66" fmla="*/ 218 w 268"/>
                  <a:gd name="T67" fmla="*/ 243 h 246"/>
                  <a:gd name="T68" fmla="*/ 223 w 268"/>
                  <a:gd name="T69" fmla="*/ 236 h 246"/>
                  <a:gd name="T70" fmla="*/ 223 w 268"/>
                  <a:gd name="T71" fmla="*/ 226 h 246"/>
                  <a:gd name="T72" fmla="*/ 263 w 268"/>
                  <a:gd name="T73" fmla="*/ 93 h 246"/>
                  <a:gd name="T74" fmla="*/ 268 w 268"/>
                  <a:gd name="T75" fmla="*/ 86 h 246"/>
                  <a:gd name="T76" fmla="*/ 268 w 268"/>
                  <a:gd name="T77" fmla="*/ 76 h 246"/>
                  <a:gd name="T78" fmla="*/ 263 w 268"/>
                  <a:gd name="T79" fmla="*/ 69 h 246"/>
                  <a:gd name="T80" fmla="*/ 254 w 268"/>
                  <a:gd name="T81" fmla="*/ 67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68" h="246">
                    <a:moveTo>
                      <a:pt x="170" y="130"/>
                    </a:moveTo>
                    <a:lnTo>
                      <a:pt x="167" y="133"/>
                    </a:lnTo>
                    <a:lnTo>
                      <a:pt x="164" y="137"/>
                    </a:lnTo>
                    <a:lnTo>
                      <a:pt x="164" y="142"/>
                    </a:lnTo>
                    <a:lnTo>
                      <a:pt x="164" y="146"/>
                    </a:lnTo>
                    <a:lnTo>
                      <a:pt x="178" y="188"/>
                    </a:lnTo>
                    <a:lnTo>
                      <a:pt x="143" y="160"/>
                    </a:lnTo>
                    <a:lnTo>
                      <a:pt x="139" y="157"/>
                    </a:lnTo>
                    <a:lnTo>
                      <a:pt x="135" y="157"/>
                    </a:lnTo>
                    <a:lnTo>
                      <a:pt x="129" y="157"/>
                    </a:lnTo>
                    <a:lnTo>
                      <a:pt x="125" y="160"/>
                    </a:lnTo>
                    <a:lnTo>
                      <a:pt x="90" y="188"/>
                    </a:lnTo>
                    <a:lnTo>
                      <a:pt x="104" y="146"/>
                    </a:lnTo>
                    <a:lnTo>
                      <a:pt x="105" y="142"/>
                    </a:lnTo>
                    <a:lnTo>
                      <a:pt x="104" y="137"/>
                    </a:lnTo>
                    <a:lnTo>
                      <a:pt x="101" y="133"/>
                    </a:lnTo>
                    <a:lnTo>
                      <a:pt x="98" y="130"/>
                    </a:lnTo>
                    <a:lnTo>
                      <a:pt x="58" y="97"/>
                    </a:lnTo>
                    <a:lnTo>
                      <a:pt x="105" y="97"/>
                    </a:lnTo>
                    <a:lnTo>
                      <a:pt x="109" y="96"/>
                    </a:lnTo>
                    <a:lnTo>
                      <a:pt x="112" y="93"/>
                    </a:lnTo>
                    <a:lnTo>
                      <a:pt x="115" y="91"/>
                    </a:lnTo>
                    <a:lnTo>
                      <a:pt x="118" y="87"/>
                    </a:lnTo>
                    <a:lnTo>
                      <a:pt x="133" y="52"/>
                    </a:lnTo>
                    <a:lnTo>
                      <a:pt x="151" y="88"/>
                    </a:lnTo>
                    <a:lnTo>
                      <a:pt x="153" y="91"/>
                    </a:lnTo>
                    <a:lnTo>
                      <a:pt x="156" y="94"/>
                    </a:lnTo>
                    <a:lnTo>
                      <a:pt x="160" y="96"/>
                    </a:lnTo>
                    <a:lnTo>
                      <a:pt x="164" y="97"/>
                    </a:lnTo>
                    <a:lnTo>
                      <a:pt x="212" y="97"/>
                    </a:lnTo>
                    <a:lnTo>
                      <a:pt x="170" y="130"/>
                    </a:lnTo>
                    <a:close/>
                    <a:moveTo>
                      <a:pt x="254" y="67"/>
                    </a:moveTo>
                    <a:lnTo>
                      <a:pt x="174" y="67"/>
                    </a:lnTo>
                    <a:lnTo>
                      <a:pt x="146" y="9"/>
                    </a:lnTo>
                    <a:lnTo>
                      <a:pt x="144" y="5"/>
                    </a:lnTo>
                    <a:lnTo>
                      <a:pt x="141" y="3"/>
                    </a:lnTo>
                    <a:lnTo>
                      <a:pt x="138" y="0"/>
                    </a:lnTo>
                    <a:lnTo>
                      <a:pt x="132" y="0"/>
                    </a:lnTo>
                    <a:lnTo>
                      <a:pt x="129" y="0"/>
                    </a:lnTo>
                    <a:lnTo>
                      <a:pt x="125" y="3"/>
                    </a:lnTo>
                    <a:lnTo>
                      <a:pt x="122" y="6"/>
                    </a:lnTo>
                    <a:lnTo>
                      <a:pt x="120" y="9"/>
                    </a:lnTo>
                    <a:lnTo>
                      <a:pt x="95" y="67"/>
                    </a:lnTo>
                    <a:lnTo>
                      <a:pt x="15" y="67"/>
                    </a:lnTo>
                    <a:lnTo>
                      <a:pt x="10" y="67"/>
                    </a:lnTo>
                    <a:lnTo>
                      <a:pt x="6" y="69"/>
                    </a:lnTo>
                    <a:lnTo>
                      <a:pt x="3" y="72"/>
                    </a:lnTo>
                    <a:lnTo>
                      <a:pt x="1" y="76"/>
                    </a:lnTo>
                    <a:lnTo>
                      <a:pt x="0" y="81"/>
                    </a:lnTo>
                    <a:lnTo>
                      <a:pt x="0" y="86"/>
                    </a:lnTo>
                    <a:lnTo>
                      <a:pt x="2" y="89"/>
                    </a:lnTo>
                    <a:lnTo>
                      <a:pt x="5" y="93"/>
                    </a:lnTo>
                    <a:lnTo>
                      <a:pt x="71" y="146"/>
                    </a:lnTo>
                    <a:lnTo>
                      <a:pt x="46" y="226"/>
                    </a:lnTo>
                    <a:lnTo>
                      <a:pt x="45" y="231"/>
                    </a:lnTo>
                    <a:lnTo>
                      <a:pt x="46" y="236"/>
                    </a:lnTo>
                    <a:lnTo>
                      <a:pt x="48" y="240"/>
                    </a:lnTo>
                    <a:lnTo>
                      <a:pt x="51" y="243"/>
                    </a:lnTo>
                    <a:lnTo>
                      <a:pt x="55" y="245"/>
                    </a:lnTo>
                    <a:lnTo>
                      <a:pt x="60" y="246"/>
                    </a:lnTo>
                    <a:lnTo>
                      <a:pt x="65" y="245"/>
                    </a:lnTo>
                    <a:lnTo>
                      <a:pt x="69" y="242"/>
                    </a:lnTo>
                    <a:lnTo>
                      <a:pt x="135" y="190"/>
                    </a:lnTo>
                    <a:lnTo>
                      <a:pt x="200" y="242"/>
                    </a:lnTo>
                    <a:lnTo>
                      <a:pt x="204" y="245"/>
                    </a:lnTo>
                    <a:lnTo>
                      <a:pt x="209" y="246"/>
                    </a:lnTo>
                    <a:lnTo>
                      <a:pt x="214" y="245"/>
                    </a:lnTo>
                    <a:lnTo>
                      <a:pt x="218" y="243"/>
                    </a:lnTo>
                    <a:lnTo>
                      <a:pt x="221" y="240"/>
                    </a:lnTo>
                    <a:lnTo>
                      <a:pt x="223" y="236"/>
                    </a:lnTo>
                    <a:lnTo>
                      <a:pt x="224" y="231"/>
                    </a:lnTo>
                    <a:lnTo>
                      <a:pt x="223" y="226"/>
                    </a:lnTo>
                    <a:lnTo>
                      <a:pt x="197" y="146"/>
                    </a:lnTo>
                    <a:lnTo>
                      <a:pt x="263" y="93"/>
                    </a:lnTo>
                    <a:lnTo>
                      <a:pt x="266" y="89"/>
                    </a:lnTo>
                    <a:lnTo>
                      <a:pt x="268" y="86"/>
                    </a:lnTo>
                    <a:lnTo>
                      <a:pt x="268" y="81"/>
                    </a:lnTo>
                    <a:lnTo>
                      <a:pt x="268" y="76"/>
                    </a:lnTo>
                    <a:lnTo>
                      <a:pt x="266" y="72"/>
                    </a:lnTo>
                    <a:lnTo>
                      <a:pt x="263" y="69"/>
                    </a:lnTo>
                    <a:lnTo>
                      <a:pt x="259" y="67"/>
                    </a:lnTo>
                    <a:lnTo>
                      <a:pt x="254" y="67"/>
                    </a:lnTo>
                    <a:lnTo>
                      <a:pt x="254" y="6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23" name="Freeform 332"/>
              <p:cNvSpPr>
                <a:spLocks noEditPoints="1"/>
              </p:cNvSpPr>
              <p:nvPr/>
            </p:nvSpPr>
            <p:spPr bwMode="auto">
              <a:xfrm>
                <a:off x="11033125" y="1349375"/>
                <a:ext cx="284163" cy="284162"/>
              </a:xfrm>
              <a:custGeom>
                <a:avLst/>
                <a:gdLst>
                  <a:gd name="T0" fmla="*/ 794 w 898"/>
                  <a:gd name="T1" fmla="*/ 181 h 897"/>
                  <a:gd name="T2" fmla="*/ 861 w 898"/>
                  <a:gd name="T3" fmla="*/ 209 h 897"/>
                  <a:gd name="T4" fmla="*/ 817 w 898"/>
                  <a:gd name="T5" fmla="*/ 324 h 897"/>
                  <a:gd name="T6" fmla="*/ 756 w 898"/>
                  <a:gd name="T7" fmla="*/ 367 h 897"/>
                  <a:gd name="T8" fmla="*/ 527 w 898"/>
                  <a:gd name="T9" fmla="*/ 521 h 897"/>
                  <a:gd name="T10" fmla="*/ 479 w 898"/>
                  <a:gd name="T11" fmla="*/ 583 h 897"/>
                  <a:gd name="T12" fmla="*/ 476 w 898"/>
                  <a:gd name="T13" fmla="*/ 697 h 897"/>
                  <a:gd name="T14" fmla="*/ 533 w 898"/>
                  <a:gd name="T15" fmla="*/ 793 h 897"/>
                  <a:gd name="T16" fmla="*/ 628 w 898"/>
                  <a:gd name="T17" fmla="*/ 867 h 897"/>
                  <a:gd name="T18" fmla="*/ 354 w 898"/>
                  <a:gd name="T19" fmla="*/ 803 h 897"/>
                  <a:gd name="T20" fmla="*/ 415 w 898"/>
                  <a:gd name="T21" fmla="*/ 720 h 897"/>
                  <a:gd name="T22" fmla="*/ 421 w 898"/>
                  <a:gd name="T23" fmla="*/ 595 h 897"/>
                  <a:gd name="T24" fmla="*/ 379 w 898"/>
                  <a:gd name="T25" fmla="*/ 528 h 897"/>
                  <a:gd name="T26" fmla="*/ 275 w 898"/>
                  <a:gd name="T27" fmla="*/ 460 h 897"/>
                  <a:gd name="T28" fmla="*/ 195 w 898"/>
                  <a:gd name="T29" fmla="*/ 371 h 897"/>
                  <a:gd name="T30" fmla="*/ 151 w 898"/>
                  <a:gd name="T31" fmla="*/ 260 h 897"/>
                  <a:gd name="T32" fmla="*/ 127 w 898"/>
                  <a:gd name="T33" fmla="*/ 91 h 897"/>
                  <a:gd name="T34" fmla="*/ 767 w 898"/>
                  <a:gd name="T35" fmla="*/ 145 h 897"/>
                  <a:gd name="T36" fmla="*/ 737 w 898"/>
                  <a:gd name="T37" fmla="*/ 296 h 897"/>
                  <a:gd name="T38" fmla="*/ 688 w 898"/>
                  <a:gd name="T39" fmla="*/ 393 h 897"/>
                  <a:gd name="T40" fmla="*/ 590 w 898"/>
                  <a:gd name="T41" fmla="*/ 480 h 897"/>
                  <a:gd name="T42" fmla="*/ 54 w 898"/>
                  <a:gd name="T43" fmla="*/ 280 h 897"/>
                  <a:gd name="T44" fmla="*/ 30 w 898"/>
                  <a:gd name="T45" fmla="*/ 116 h 897"/>
                  <a:gd name="T46" fmla="*/ 112 w 898"/>
                  <a:gd name="T47" fmla="*/ 221 h 897"/>
                  <a:gd name="T48" fmla="*/ 140 w 898"/>
                  <a:gd name="T49" fmla="*/ 367 h 897"/>
                  <a:gd name="T50" fmla="*/ 89 w 898"/>
                  <a:gd name="T51" fmla="*/ 336 h 897"/>
                  <a:gd name="T52" fmla="*/ 893 w 898"/>
                  <a:gd name="T53" fmla="*/ 64 h 897"/>
                  <a:gd name="T54" fmla="*/ 803 w 898"/>
                  <a:gd name="T55" fmla="*/ 37 h 897"/>
                  <a:gd name="T56" fmla="*/ 797 w 898"/>
                  <a:gd name="T57" fmla="*/ 2 h 897"/>
                  <a:gd name="T58" fmla="*/ 102 w 898"/>
                  <a:gd name="T59" fmla="*/ 2 h 897"/>
                  <a:gd name="T60" fmla="*/ 96 w 898"/>
                  <a:gd name="T61" fmla="*/ 37 h 897"/>
                  <a:gd name="T62" fmla="*/ 5 w 898"/>
                  <a:gd name="T63" fmla="*/ 64 h 897"/>
                  <a:gd name="T64" fmla="*/ 0 w 898"/>
                  <a:gd name="T65" fmla="*/ 117 h 897"/>
                  <a:gd name="T66" fmla="*/ 15 w 898"/>
                  <a:gd name="T67" fmla="*/ 258 h 897"/>
                  <a:gd name="T68" fmla="*/ 80 w 898"/>
                  <a:gd name="T69" fmla="*/ 368 h 897"/>
                  <a:gd name="T70" fmla="*/ 179 w 898"/>
                  <a:gd name="T71" fmla="*/ 403 h 897"/>
                  <a:gd name="T72" fmla="*/ 293 w 898"/>
                  <a:gd name="T73" fmla="*/ 507 h 897"/>
                  <a:gd name="T74" fmla="*/ 371 w 898"/>
                  <a:gd name="T75" fmla="*/ 564 h 897"/>
                  <a:gd name="T76" fmla="*/ 395 w 898"/>
                  <a:gd name="T77" fmla="*/ 625 h 897"/>
                  <a:gd name="T78" fmla="*/ 374 w 898"/>
                  <a:gd name="T79" fmla="*/ 743 h 897"/>
                  <a:gd name="T80" fmla="*/ 301 w 898"/>
                  <a:gd name="T81" fmla="*/ 789 h 897"/>
                  <a:gd name="T82" fmla="*/ 244 w 898"/>
                  <a:gd name="T83" fmla="*/ 797 h 897"/>
                  <a:gd name="T84" fmla="*/ 241 w 898"/>
                  <a:gd name="T85" fmla="*/ 888 h 897"/>
                  <a:gd name="T86" fmla="*/ 643 w 898"/>
                  <a:gd name="T87" fmla="*/ 897 h 897"/>
                  <a:gd name="T88" fmla="*/ 658 w 898"/>
                  <a:gd name="T89" fmla="*/ 886 h 897"/>
                  <a:gd name="T90" fmla="*/ 652 w 898"/>
                  <a:gd name="T91" fmla="*/ 795 h 897"/>
                  <a:gd name="T92" fmla="*/ 580 w 898"/>
                  <a:gd name="T93" fmla="*/ 783 h 897"/>
                  <a:gd name="T94" fmla="*/ 515 w 898"/>
                  <a:gd name="T95" fmla="*/ 720 h 897"/>
                  <a:gd name="T96" fmla="*/ 502 w 898"/>
                  <a:gd name="T97" fmla="*/ 614 h 897"/>
                  <a:gd name="T98" fmla="*/ 531 w 898"/>
                  <a:gd name="T99" fmla="*/ 556 h 897"/>
                  <a:gd name="T100" fmla="*/ 621 w 898"/>
                  <a:gd name="T101" fmla="*/ 496 h 897"/>
                  <a:gd name="T102" fmla="*/ 734 w 898"/>
                  <a:gd name="T103" fmla="*/ 402 h 897"/>
                  <a:gd name="T104" fmla="*/ 827 w 898"/>
                  <a:gd name="T105" fmla="*/ 357 h 897"/>
                  <a:gd name="T106" fmla="*/ 876 w 898"/>
                  <a:gd name="T107" fmla="*/ 272 h 897"/>
                  <a:gd name="T108" fmla="*/ 898 w 898"/>
                  <a:gd name="T109" fmla="*/ 140 h 8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898" h="897">
                    <a:moveTo>
                      <a:pt x="737" y="371"/>
                    </a:moveTo>
                    <a:lnTo>
                      <a:pt x="749" y="348"/>
                    </a:lnTo>
                    <a:lnTo>
                      <a:pt x="761" y="320"/>
                    </a:lnTo>
                    <a:lnTo>
                      <a:pt x="770" y="290"/>
                    </a:lnTo>
                    <a:lnTo>
                      <a:pt x="779" y="258"/>
                    </a:lnTo>
                    <a:lnTo>
                      <a:pt x="787" y="221"/>
                    </a:lnTo>
                    <a:lnTo>
                      <a:pt x="794" y="181"/>
                    </a:lnTo>
                    <a:lnTo>
                      <a:pt x="798" y="137"/>
                    </a:lnTo>
                    <a:lnTo>
                      <a:pt x="801" y="90"/>
                    </a:lnTo>
                    <a:lnTo>
                      <a:pt x="868" y="90"/>
                    </a:lnTo>
                    <a:lnTo>
                      <a:pt x="868" y="113"/>
                    </a:lnTo>
                    <a:lnTo>
                      <a:pt x="868" y="141"/>
                    </a:lnTo>
                    <a:lnTo>
                      <a:pt x="866" y="174"/>
                    </a:lnTo>
                    <a:lnTo>
                      <a:pt x="861" y="209"/>
                    </a:lnTo>
                    <a:lnTo>
                      <a:pt x="858" y="227"/>
                    </a:lnTo>
                    <a:lnTo>
                      <a:pt x="854" y="244"/>
                    </a:lnTo>
                    <a:lnTo>
                      <a:pt x="848" y="261"/>
                    </a:lnTo>
                    <a:lnTo>
                      <a:pt x="842" y="278"/>
                    </a:lnTo>
                    <a:lnTo>
                      <a:pt x="836" y="294"/>
                    </a:lnTo>
                    <a:lnTo>
                      <a:pt x="827" y="309"/>
                    </a:lnTo>
                    <a:lnTo>
                      <a:pt x="817" y="324"/>
                    </a:lnTo>
                    <a:lnTo>
                      <a:pt x="806" y="337"/>
                    </a:lnTo>
                    <a:lnTo>
                      <a:pt x="798" y="343"/>
                    </a:lnTo>
                    <a:lnTo>
                      <a:pt x="791" y="350"/>
                    </a:lnTo>
                    <a:lnTo>
                      <a:pt x="783" y="355"/>
                    </a:lnTo>
                    <a:lnTo>
                      <a:pt x="775" y="359"/>
                    </a:lnTo>
                    <a:lnTo>
                      <a:pt x="766" y="364"/>
                    </a:lnTo>
                    <a:lnTo>
                      <a:pt x="756" y="367"/>
                    </a:lnTo>
                    <a:lnTo>
                      <a:pt x="747" y="370"/>
                    </a:lnTo>
                    <a:lnTo>
                      <a:pt x="737" y="371"/>
                    </a:lnTo>
                    <a:lnTo>
                      <a:pt x="737" y="371"/>
                    </a:lnTo>
                    <a:close/>
                    <a:moveTo>
                      <a:pt x="574" y="490"/>
                    </a:moveTo>
                    <a:lnTo>
                      <a:pt x="553" y="503"/>
                    </a:lnTo>
                    <a:lnTo>
                      <a:pt x="535" y="514"/>
                    </a:lnTo>
                    <a:lnTo>
                      <a:pt x="527" y="521"/>
                    </a:lnTo>
                    <a:lnTo>
                      <a:pt x="518" y="528"/>
                    </a:lnTo>
                    <a:lnTo>
                      <a:pt x="509" y="536"/>
                    </a:lnTo>
                    <a:lnTo>
                      <a:pt x="502" y="543"/>
                    </a:lnTo>
                    <a:lnTo>
                      <a:pt x="496" y="552"/>
                    </a:lnTo>
                    <a:lnTo>
                      <a:pt x="489" y="561"/>
                    </a:lnTo>
                    <a:lnTo>
                      <a:pt x="484" y="572"/>
                    </a:lnTo>
                    <a:lnTo>
                      <a:pt x="479" y="583"/>
                    </a:lnTo>
                    <a:lnTo>
                      <a:pt x="476" y="595"/>
                    </a:lnTo>
                    <a:lnTo>
                      <a:pt x="473" y="607"/>
                    </a:lnTo>
                    <a:lnTo>
                      <a:pt x="471" y="621"/>
                    </a:lnTo>
                    <a:lnTo>
                      <a:pt x="471" y="637"/>
                    </a:lnTo>
                    <a:lnTo>
                      <a:pt x="472" y="659"/>
                    </a:lnTo>
                    <a:lnTo>
                      <a:pt x="473" y="678"/>
                    </a:lnTo>
                    <a:lnTo>
                      <a:pt x="476" y="697"/>
                    </a:lnTo>
                    <a:lnTo>
                      <a:pt x="481" y="714"/>
                    </a:lnTo>
                    <a:lnTo>
                      <a:pt x="486" y="730"/>
                    </a:lnTo>
                    <a:lnTo>
                      <a:pt x="493" y="745"/>
                    </a:lnTo>
                    <a:lnTo>
                      <a:pt x="501" y="759"/>
                    </a:lnTo>
                    <a:lnTo>
                      <a:pt x="510" y="771"/>
                    </a:lnTo>
                    <a:lnTo>
                      <a:pt x="521" y="783"/>
                    </a:lnTo>
                    <a:lnTo>
                      <a:pt x="533" y="793"/>
                    </a:lnTo>
                    <a:lnTo>
                      <a:pt x="546" y="800"/>
                    </a:lnTo>
                    <a:lnTo>
                      <a:pt x="560" y="807"/>
                    </a:lnTo>
                    <a:lnTo>
                      <a:pt x="576" y="813"/>
                    </a:lnTo>
                    <a:lnTo>
                      <a:pt x="592" y="817"/>
                    </a:lnTo>
                    <a:lnTo>
                      <a:pt x="610" y="820"/>
                    </a:lnTo>
                    <a:lnTo>
                      <a:pt x="628" y="822"/>
                    </a:lnTo>
                    <a:lnTo>
                      <a:pt x="628" y="867"/>
                    </a:lnTo>
                    <a:lnTo>
                      <a:pt x="270" y="867"/>
                    </a:lnTo>
                    <a:lnTo>
                      <a:pt x="270" y="822"/>
                    </a:lnTo>
                    <a:lnTo>
                      <a:pt x="289" y="820"/>
                    </a:lnTo>
                    <a:lnTo>
                      <a:pt x="307" y="818"/>
                    </a:lnTo>
                    <a:lnTo>
                      <a:pt x="324" y="814"/>
                    </a:lnTo>
                    <a:lnTo>
                      <a:pt x="340" y="810"/>
                    </a:lnTo>
                    <a:lnTo>
                      <a:pt x="354" y="803"/>
                    </a:lnTo>
                    <a:lnTo>
                      <a:pt x="366" y="796"/>
                    </a:lnTo>
                    <a:lnTo>
                      <a:pt x="378" y="786"/>
                    </a:lnTo>
                    <a:lnTo>
                      <a:pt x="387" y="775"/>
                    </a:lnTo>
                    <a:lnTo>
                      <a:pt x="396" y="764"/>
                    </a:lnTo>
                    <a:lnTo>
                      <a:pt x="404" y="751"/>
                    </a:lnTo>
                    <a:lnTo>
                      <a:pt x="410" y="736"/>
                    </a:lnTo>
                    <a:lnTo>
                      <a:pt x="415" y="720"/>
                    </a:lnTo>
                    <a:lnTo>
                      <a:pt x="420" y="702"/>
                    </a:lnTo>
                    <a:lnTo>
                      <a:pt x="423" y="681"/>
                    </a:lnTo>
                    <a:lnTo>
                      <a:pt x="425" y="660"/>
                    </a:lnTo>
                    <a:lnTo>
                      <a:pt x="425" y="637"/>
                    </a:lnTo>
                    <a:lnTo>
                      <a:pt x="425" y="621"/>
                    </a:lnTo>
                    <a:lnTo>
                      <a:pt x="423" y="607"/>
                    </a:lnTo>
                    <a:lnTo>
                      <a:pt x="421" y="595"/>
                    </a:lnTo>
                    <a:lnTo>
                      <a:pt x="416" y="583"/>
                    </a:lnTo>
                    <a:lnTo>
                      <a:pt x="412" y="572"/>
                    </a:lnTo>
                    <a:lnTo>
                      <a:pt x="407" y="561"/>
                    </a:lnTo>
                    <a:lnTo>
                      <a:pt x="401" y="553"/>
                    </a:lnTo>
                    <a:lnTo>
                      <a:pt x="394" y="544"/>
                    </a:lnTo>
                    <a:lnTo>
                      <a:pt x="386" y="536"/>
                    </a:lnTo>
                    <a:lnTo>
                      <a:pt x="379" y="528"/>
                    </a:lnTo>
                    <a:lnTo>
                      <a:pt x="370" y="522"/>
                    </a:lnTo>
                    <a:lnTo>
                      <a:pt x="362" y="516"/>
                    </a:lnTo>
                    <a:lnTo>
                      <a:pt x="344" y="503"/>
                    </a:lnTo>
                    <a:lnTo>
                      <a:pt x="324" y="491"/>
                    </a:lnTo>
                    <a:lnTo>
                      <a:pt x="308" y="481"/>
                    </a:lnTo>
                    <a:lnTo>
                      <a:pt x="292" y="472"/>
                    </a:lnTo>
                    <a:lnTo>
                      <a:pt x="275" y="460"/>
                    </a:lnTo>
                    <a:lnTo>
                      <a:pt x="258" y="446"/>
                    </a:lnTo>
                    <a:lnTo>
                      <a:pt x="242" y="431"/>
                    </a:lnTo>
                    <a:lnTo>
                      <a:pt x="226" y="414"/>
                    </a:lnTo>
                    <a:lnTo>
                      <a:pt x="217" y="404"/>
                    </a:lnTo>
                    <a:lnTo>
                      <a:pt x="210" y="394"/>
                    </a:lnTo>
                    <a:lnTo>
                      <a:pt x="202" y="383"/>
                    </a:lnTo>
                    <a:lnTo>
                      <a:pt x="195" y="371"/>
                    </a:lnTo>
                    <a:lnTo>
                      <a:pt x="188" y="358"/>
                    </a:lnTo>
                    <a:lnTo>
                      <a:pt x="181" y="344"/>
                    </a:lnTo>
                    <a:lnTo>
                      <a:pt x="174" y="329"/>
                    </a:lnTo>
                    <a:lnTo>
                      <a:pt x="167" y="313"/>
                    </a:lnTo>
                    <a:lnTo>
                      <a:pt x="162" y="297"/>
                    </a:lnTo>
                    <a:lnTo>
                      <a:pt x="157" y="279"/>
                    </a:lnTo>
                    <a:lnTo>
                      <a:pt x="151" y="260"/>
                    </a:lnTo>
                    <a:lnTo>
                      <a:pt x="146" y="240"/>
                    </a:lnTo>
                    <a:lnTo>
                      <a:pt x="142" y="218"/>
                    </a:lnTo>
                    <a:lnTo>
                      <a:pt x="137" y="196"/>
                    </a:lnTo>
                    <a:lnTo>
                      <a:pt x="134" y="172"/>
                    </a:lnTo>
                    <a:lnTo>
                      <a:pt x="131" y="147"/>
                    </a:lnTo>
                    <a:lnTo>
                      <a:pt x="129" y="120"/>
                    </a:lnTo>
                    <a:lnTo>
                      <a:pt x="127" y="91"/>
                    </a:lnTo>
                    <a:lnTo>
                      <a:pt x="126" y="61"/>
                    </a:lnTo>
                    <a:lnTo>
                      <a:pt x="126" y="30"/>
                    </a:lnTo>
                    <a:lnTo>
                      <a:pt x="774" y="30"/>
                    </a:lnTo>
                    <a:lnTo>
                      <a:pt x="774" y="61"/>
                    </a:lnTo>
                    <a:lnTo>
                      <a:pt x="771" y="91"/>
                    </a:lnTo>
                    <a:lnTo>
                      <a:pt x="770" y="119"/>
                    </a:lnTo>
                    <a:lnTo>
                      <a:pt x="767" y="145"/>
                    </a:lnTo>
                    <a:lnTo>
                      <a:pt x="765" y="171"/>
                    </a:lnTo>
                    <a:lnTo>
                      <a:pt x="761" y="195"/>
                    </a:lnTo>
                    <a:lnTo>
                      <a:pt x="758" y="217"/>
                    </a:lnTo>
                    <a:lnTo>
                      <a:pt x="753" y="239"/>
                    </a:lnTo>
                    <a:lnTo>
                      <a:pt x="748" y="259"/>
                    </a:lnTo>
                    <a:lnTo>
                      <a:pt x="743" y="278"/>
                    </a:lnTo>
                    <a:lnTo>
                      <a:pt x="737" y="296"/>
                    </a:lnTo>
                    <a:lnTo>
                      <a:pt x="731" y="312"/>
                    </a:lnTo>
                    <a:lnTo>
                      <a:pt x="724" y="328"/>
                    </a:lnTo>
                    <a:lnTo>
                      <a:pt x="718" y="343"/>
                    </a:lnTo>
                    <a:lnTo>
                      <a:pt x="710" y="356"/>
                    </a:lnTo>
                    <a:lnTo>
                      <a:pt x="704" y="369"/>
                    </a:lnTo>
                    <a:lnTo>
                      <a:pt x="697" y="382"/>
                    </a:lnTo>
                    <a:lnTo>
                      <a:pt x="688" y="393"/>
                    </a:lnTo>
                    <a:lnTo>
                      <a:pt x="681" y="403"/>
                    </a:lnTo>
                    <a:lnTo>
                      <a:pt x="673" y="413"/>
                    </a:lnTo>
                    <a:lnTo>
                      <a:pt x="656" y="430"/>
                    </a:lnTo>
                    <a:lnTo>
                      <a:pt x="640" y="445"/>
                    </a:lnTo>
                    <a:lnTo>
                      <a:pt x="623" y="459"/>
                    </a:lnTo>
                    <a:lnTo>
                      <a:pt x="606" y="471"/>
                    </a:lnTo>
                    <a:lnTo>
                      <a:pt x="590" y="480"/>
                    </a:lnTo>
                    <a:lnTo>
                      <a:pt x="574" y="490"/>
                    </a:lnTo>
                    <a:lnTo>
                      <a:pt x="574" y="490"/>
                    </a:lnTo>
                    <a:close/>
                    <a:moveTo>
                      <a:pt x="89" y="336"/>
                    </a:moveTo>
                    <a:lnTo>
                      <a:pt x="78" y="324"/>
                    </a:lnTo>
                    <a:lnTo>
                      <a:pt x="69" y="310"/>
                    </a:lnTo>
                    <a:lnTo>
                      <a:pt x="61" y="295"/>
                    </a:lnTo>
                    <a:lnTo>
                      <a:pt x="54" y="280"/>
                    </a:lnTo>
                    <a:lnTo>
                      <a:pt x="49" y="264"/>
                    </a:lnTo>
                    <a:lnTo>
                      <a:pt x="43" y="247"/>
                    </a:lnTo>
                    <a:lnTo>
                      <a:pt x="40" y="230"/>
                    </a:lnTo>
                    <a:lnTo>
                      <a:pt x="37" y="213"/>
                    </a:lnTo>
                    <a:lnTo>
                      <a:pt x="32" y="178"/>
                    </a:lnTo>
                    <a:lnTo>
                      <a:pt x="30" y="145"/>
                    </a:lnTo>
                    <a:lnTo>
                      <a:pt x="30" y="116"/>
                    </a:lnTo>
                    <a:lnTo>
                      <a:pt x="30" y="90"/>
                    </a:lnTo>
                    <a:lnTo>
                      <a:pt x="30" y="90"/>
                    </a:lnTo>
                    <a:lnTo>
                      <a:pt x="30" y="90"/>
                    </a:lnTo>
                    <a:lnTo>
                      <a:pt x="97" y="90"/>
                    </a:lnTo>
                    <a:lnTo>
                      <a:pt x="100" y="137"/>
                    </a:lnTo>
                    <a:lnTo>
                      <a:pt x="105" y="181"/>
                    </a:lnTo>
                    <a:lnTo>
                      <a:pt x="112" y="221"/>
                    </a:lnTo>
                    <a:lnTo>
                      <a:pt x="119" y="258"/>
                    </a:lnTo>
                    <a:lnTo>
                      <a:pt x="128" y="291"/>
                    </a:lnTo>
                    <a:lnTo>
                      <a:pt x="137" y="321"/>
                    </a:lnTo>
                    <a:lnTo>
                      <a:pt x="149" y="348"/>
                    </a:lnTo>
                    <a:lnTo>
                      <a:pt x="161" y="372"/>
                    </a:lnTo>
                    <a:lnTo>
                      <a:pt x="150" y="370"/>
                    </a:lnTo>
                    <a:lnTo>
                      <a:pt x="140" y="367"/>
                    </a:lnTo>
                    <a:lnTo>
                      <a:pt x="131" y="364"/>
                    </a:lnTo>
                    <a:lnTo>
                      <a:pt x="121" y="359"/>
                    </a:lnTo>
                    <a:lnTo>
                      <a:pt x="113" y="355"/>
                    </a:lnTo>
                    <a:lnTo>
                      <a:pt x="105" y="350"/>
                    </a:lnTo>
                    <a:lnTo>
                      <a:pt x="97" y="343"/>
                    </a:lnTo>
                    <a:lnTo>
                      <a:pt x="89" y="336"/>
                    </a:lnTo>
                    <a:lnTo>
                      <a:pt x="89" y="336"/>
                    </a:lnTo>
                    <a:close/>
                    <a:moveTo>
                      <a:pt x="898" y="86"/>
                    </a:moveTo>
                    <a:lnTo>
                      <a:pt x="898" y="80"/>
                    </a:lnTo>
                    <a:lnTo>
                      <a:pt x="898" y="75"/>
                    </a:lnTo>
                    <a:lnTo>
                      <a:pt x="898" y="72"/>
                    </a:lnTo>
                    <a:lnTo>
                      <a:pt x="897" y="70"/>
                    </a:lnTo>
                    <a:lnTo>
                      <a:pt x="895" y="66"/>
                    </a:lnTo>
                    <a:lnTo>
                      <a:pt x="893" y="64"/>
                    </a:lnTo>
                    <a:lnTo>
                      <a:pt x="891" y="62"/>
                    </a:lnTo>
                    <a:lnTo>
                      <a:pt x="889" y="61"/>
                    </a:lnTo>
                    <a:lnTo>
                      <a:pt x="886" y="60"/>
                    </a:lnTo>
                    <a:lnTo>
                      <a:pt x="883" y="60"/>
                    </a:lnTo>
                    <a:lnTo>
                      <a:pt x="802" y="60"/>
                    </a:lnTo>
                    <a:lnTo>
                      <a:pt x="803" y="49"/>
                    </a:lnTo>
                    <a:lnTo>
                      <a:pt x="803" y="37"/>
                    </a:lnTo>
                    <a:lnTo>
                      <a:pt x="803" y="27"/>
                    </a:lnTo>
                    <a:lnTo>
                      <a:pt x="803" y="15"/>
                    </a:lnTo>
                    <a:lnTo>
                      <a:pt x="803" y="12"/>
                    </a:lnTo>
                    <a:lnTo>
                      <a:pt x="802" y="10"/>
                    </a:lnTo>
                    <a:lnTo>
                      <a:pt x="801" y="6"/>
                    </a:lnTo>
                    <a:lnTo>
                      <a:pt x="799" y="4"/>
                    </a:lnTo>
                    <a:lnTo>
                      <a:pt x="797" y="2"/>
                    </a:lnTo>
                    <a:lnTo>
                      <a:pt x="795" y="1"/>
                    </a:lnTo>
                    <a:lnTo>
                      <a:pt x="792" y="0"/>
                    </a:lnTo>
                    <a:lnTo>
                      <a:pt x="789" y="0"/>
                    </a:lnTo>
                    <a:lnTo>
                      <a:pt x="111" y="0"/>
                    </a:lnTo>
                    <a:lnTo>
                      <a:pt x="107" y="0"/>
                    </a:lnTo>
                    <a:lnTo>
                      <a:pt x="104" y="1"/>
                    </a:lnTo>
                    <a:lnTo>
                      <a:pt x="102" y="2"/>
                    </a:lnTo>
                    <a:lnTo>
                      <a:pt x="100" y="4"/>
                    </a:lnTo>
                    <a:lnTo>
                      <a:pt x="98" y="6"/>
                    </a:lnTo>
                    <a:lnTo>
                      <a:pt x="97" y="10"/>
                    </a:lnTo>
                    <a:lnTo>
                      <a:pt x="96" y="12"/>
                    </a:lnTo>
                    <a:lnTo>
                      <a:pt x="96" y="15"/>
                    </a:lnTo>
                    <a:lnTo>
                      <a:pt x="96" y="27"/>
                    </a:lnTo>
                    <a:lnTo>
                      <a:pt x="96" y="37"/>
                    </a:lnTo>
                    <a:lnTo>
                      <a:pt x="96" y="49"/>
                    </a:lnTo>
                    <a:lnTo>
                      <a:pt x="96" y="60"/>
                    </a:lnTo>
                    <a:lnTo>
                      <a:pt x="15" y="60"/>
                    </a:lnTo>
                    <a:lnTo>
                      <a:pt x="12" y="60"/>
                    </a:lnTo>
                    <a:lnTo>
                      <a:pt x="10" y="61"/>
                    </a:lnTo>
                    <a:lnTo>
                      <a:pt x="7" y="62"/>
                    </a:lnTo>
                    <a:lnTo>
                      <a:pt x="5" y="64"/>
                    </a:lnTo>
                    <a:lnTo>
                      <a:pt x="4" y="66"/>
                    </a:lnTo>
                    <a:lnTo>
                      <a:pt x="1" y="70"/>
                    </a:lnTo>
                    <a:lnTo>
                      <a:pt x="1" y="72"/>
                    </a:lnTo>
                    <a:lnTo>
                      <a:pt x="0" y="75"/>
                    </a:lnTo>
                    <a:lnTo>
                      <a:pt x="0" y="82"/>
                    </a:lnTo>
                    <a:lnTo>
                      <a:pt x="0" y="90"/>
                    </a:lnTo>
                    <a:lnTo>
                      <a:pt x="0" y="117"/>
                    </a:lnTo>
                    <a:lnTo>
                      <a:pt x="0" y="149"/>
                    </a:lnTo>
                    <a:lnTo>
                      <a:pt x="1" y="166"/>
                    </a:lnTo>
                    <a:lnTo>
                      <a:pt x="3" y="184"/>
                    </a:lnTo>
                    <a:lnTo>
                      <a:pt x="5" y="202"/>
                    </a:lnTo>
                    <a:lnTo>
                      <a:pt x="8" y="220"/>
                    </a:lnTo>
                    <a:lnTo>
                      <a:pt x="11" y="240"/>
                    </a:lnTo>
                    <a:lnTo>
                      <a:pt x="15" y="258"/>
                    </a:lnTo>
                    <a:lnTo>
                      <a:pt x="21" y="277"/>
                    </a:lnTo>
                    <a:lnTo>
                      <a:pt x="28" y="294"/>
                    </a:lnTo>
                    <a:lnTo>
                      <a:pt x="36" y="311"/>
                    </a:lnTo>
                    <a:lnTo>
                      <a:pt x="45" y="328"/>
                    </a:lnTo>
                    <a:lnTo>
                      <a:pt x="56" y="343"/>
                    </a:lnTo>
                    <a:lnTo>
                      <a:pt x="68" y="357"/>
                    </a:lnTo>
                    <a:lnTo>
                      <a:pt x="80" y="368"/>
                    </a:lnTo>
                    <a:lnTo>
                      <a:pt x="91" y="376"/>
                    </a:lnTo>
                    <a:lnTo>
                      <a:pt x="104" y="384"/>
                    </a:lnTo>
                    <a:lnTo>
                      <a:pt x="118" y="390"/>
                    </a:lnTo>
                    <a:lnTo>
                      <a:pt x="132" y="396"/>
                    </a:lnTo>
                    <a:lnTo>
                      <a:pt x="147" y="400"/>
                    </a:lnTo>
                    <a:lnTo>
                      <a:pt x="163" y="402"/>
                    </a:lnTo>
                    <a:lnTo>
                      <a:pt x="179" y="403"/>
                    </a:lnTo>
                    <a:lnTo>
                      <a:pt x="195" y="425"/>
                    </a:lnTo>
                    <a:lnTo>
                      <a:pt x="211" y="443"/>
                    </a:lnTo>
                    <a:lnTo>
                      <a:pt x="227" y="459"/>
                    </a:lnTo>
                    <a:lnTo>
                      <a:pt x="243" y="473"/>
                    </a:lnTo>
                    <a:lnTo>
                      <a:pt x="260" y="486"/>
                    </a:lnTo>
                    <a:lnTo>
                      <a:pt x="276" y="497"/>
                    </a:lnTo>
                    <a:lnTo>
                      <a:pt x="293" y="507"/>
                    </a:lnTo>
                    <a:lnTo>
                      <a:pt x="308" y="517"/>
                    </a:lnTo>
                    <a:lnTo>
                      <a:pt x="328" y="528"/>
                    </a:lnTo>
                    <a:lnTo>
                      <a:pt x="345" y="539"/>
                    </a:lnTo>
                    <a:lnTo>
                      <a:pt x="352" y="545"/>
                    </a:lnTo>
                    <a:lnTo>
                      <a:pt x="359" y="551"/>
                    </a:lnTo>
                    <a:lnTo>
                      <a:pt x="366" y="557"/>
                    </a:lnTo>
                    <a:lnTo>
                      <a:pt x="371" y="564"/>
                    </a:lnTo>
                    <a:lnTo>
                      <a:pt x="377" y="570"/>
                    </a:lnTo>
                    <a:lnTo>
                      <a:pt x="382" y="578"/>
                    </a:lnTo>
                    <a:lnTo>
                      <a:pt x="385" y="585"/>
                    </a:lnTo>
                    <a:lnTo>
                      <a:pt x="390" y="594"/>
                    </a:lnTo>
                    <a:lnTo>
                      <a:pt x="392" y="603"/>
                    </a:lnTo>
                    <a:lnTo>
                      <a:pt x="394" y="614"/>
                    </a:lnTo>
                    <a:lnTo>
                      <a:pt x="395" y="625"/>
                    </a:lnTo>
                    <a:lnTo>
                      <a:pt x="395" y="636"/>
                    </a:lnTo>
                    <a:lnTo>
                      <a:pt x="395" y="660"/>
                    </a:lnTo>
                    <a:lnTo>
                      <a:pt x="393" y="681"/>
                    </a:lnTo>
                    <a:lnTo>
                      <a:pt x="390" y="699"/>
                    </a:lnTo>
                    <a:lnTo>
                      <a:pt x="385" y="717"/>
                    </a:lnTo>
                    <a:lnTo>
                      <a:pt x="380" y="730"/>
                    </a:lnTo>
                    <a:lnTo>
                      <a:pt x="374" y="743"/>
                    </a:lnTo>
                    <a:lnTo>
                      <a:pt x="366" y="754"/>
                    </a:lnTo>
                    <a:lnTo>
                      <a:pt x="358" y="764"/>
                    </a:lnTo>
                    <a:lnTo>
                      <a:pt x="348" y="771"/>
                    </a:lnTo>
                    <a:lnTo>
                      <a:pt x="338" y="778"/>
                    </a:lnTo>
                    <a:lnTo>
                      <a:pt x="327" y="783"/>
                    </a:lnTo>
                    <a:lnTo>
                      <a:pt x="314" y="786"/>
                    </a:lnTo>
                    <a:lnTo>
                      <a:pt x="301" y="789"/>
                    </a:lnTo>
                    <a:lnTo>
                      <a:pt x="287" y="791"/>
                    </a:lnTo>
                    <a:lnTo>
                      <a:pt x="271" y="793"/>
                    </a:lnTo>
                    <a:lnTo>
                      <a:pt x="255" y="793"/>
                    </a:lnTo>
                    <a:lnTo>
                      <a:pt x="252" y="793"/>
                    </a:lnTo>
                    <a:lnTo>
                      <a:pt x="250" y="794"/>
                    </a:lnTo>
                    <a:lnTo>
                      <a:pt x="246" y="795"/>
                    </a:lnTo>
                    <a:lnTo>
                      <a:pt x="244" y="797"/>
                    </a:lnTo>
                    <a:lnTo>
                      <a:pt x="242" y="799"/>
                    </a:lnTo>
                    <a:lnTo>
                      <a:pt x="241" y="802"/>
                    </a:lnTo>
                    <a:lnTo>
                      <a:pt x="240" y="804"/>
                    </a:lnTo>
                    <a:lnTo>
                      <a:pt x="240" y="807"/>
                    </a:lnTo>
                    <a:lnTo>
                      <a:pt x="240" y="882"/>
                    </a:lnTo>
                    <a:lnTo>
                      <a:pt x="240" y="886"/>
                    </a:lnTo>
                    <a:lnTo>
                      <a:pt x="241" y="888"/>
                    </a:lnTo>
                    <a:lnTo>
                      <a:pt x="242" y="891"/>
                    </a:lnTo>
                    <a:lnTo>
                      <a:pt x="244" y="893"/>
                    </a:lnTo>
                    <a:lnTo>
                      <a:pt x="246" y="894"/>
                    </a:lnTo>
                    <a:lnTo>
                      <a:pt x="250" y="896"/>
                    </a:lnTo>
                    <a:lnTo>
                      <a:pt x="252" y="897"/>
                    </a:lnTo>
                    <a:lnTo>
                      <a:pt x="255" y="897"/>
                    </a:lnTo>
                    <a:lnTo>
                      <a:pt x="643" y="897"/>
                    </a:lnTo>
                    <a:lnTo>
                      <a:pt x="646" y="897"/>
                    </a:lnTo>
                    <a:lnTo>
                      <a:pt x="649" y="896"/>
                    </a:lnTo>
                    <a:lnTo>
                      <a:pt x="652" y="894"/>
                    </a:lnTo>
                    <a:lnTo>
                      <a:pt x="654" y="893"/>
                    </a:lnTo>
                    <a:lnTo>
                      <a:pt x="656" y="891"/>
                    </a:lnTo>
                    <a:lnTo>
                      <a:pt x="657" y="888"/>
                    </a:lnTo>
                    <a:lnTo>
                      <a:pt x="658" y="886"/>
                    </a:lnTo>
                    <a:lnTo>
                      <a:pt x="658" y="882"/>
                    </a:lnTo>
                    <a:lnTo>
                      <a:pt x="658" y="807"/>
                    </a:lnTo>
                    <a:lnTo>
                      <a:pt x="658" y="804"/>
                    </a:lnTo>
                    <a:lnTo>
                      <a:pt x="657" y="802"/>
                    </a:lnTo>
                    <a:lnTo>
                      <a:pt x="656" y="799"/>
                    </a:lnTo>
                    <a:lnTo>
                      <a:pt x="654" y="797"/>
                    </a:lnTo>
                    <a:lnTo>
                      <a:pt x="652" y="795"/>
                    </a:lnTo>
                    <a:lnTo>
                      <a:pt x="649" y="794"/>
                    </a:lnTo>
                    <a:lnTo>
                      <a:pt x="646" y="793"/>
                    </a:lnTo>
                    <a:lnTo>
                      <a:pt x="643" y="793"/>
                    </a:lnTo>
                    <a:lnTo>
                      <a:pt x="626" y="791"/>
                    </a:lnTo>
                    <a:lnTo>
                      <a:pt x="610" y="790"/>
                    </a:lnTo>
                    <a:lnTo>
                      <a:pt x="594" y="787"/>
                    </a:lnTo>
                    <a:lnTo>
                      <a:pt x="580" y="783"/>
                    </a:lnTo>
                    <a:lnTo>
                      <a:pt x="567" y="778"/>
                    </a:lnTo>
                    <a:lnTo>
                      <a:pt x="555" y="771"/>
                    </a:lnTo>
                    <a:lnTo>
                      <a:pt x="545" y="764"/>
                    </a:lnTo>
                    <a:lnTo>
                      <a:pt x="535" y="755"/>
                    </a:lnTo>
                    <a:lnTo>
                      <a:pt x="528" y="744"/>
                    </a:lnTo>
                    <a:lnTo>
                      <a:pt x="520" y="733"/>
                    </a:lnTo>
                    <a:lnTo>
                      <a:pt x="515" y="720"/>
                    </a:lnTo>
                    <a:lnTo>
                      <a:pt x="509" y="706"/>
                    </a:lnTo>
                    <a:lnTo>
                      <a:pt x="505" y="691"/>
                    </a:lnTo>
                    <a:lnTo>
                      <a:pt x="503" y="674"/>
                    </a:lnTo>
                    <a:lnTo>
                      <a:pt x="501" y="657"/>
                    </a:lnTo>
                    <a:lnTo>
                      <a:pt x="501" y="637"/>
                    </a:lnTo>
                    <a:lnTo>
                      <a:pt x="501" y="625"/>
                    </a:lnTo>
                    <a:lnTo>
                      <a:pt x="502" y="614"/>
                    </a:lnTo>
                    <a:lnTo>
                      <a:pt x="504" y="603"/>
                    </a:lnTo>
                    <a:lnTo>
                      <a:pt x="507" y="594"/>
                    </a:lnTo>
                    <a:lnTo>
                      <a:pt x="510" y="585"/>
                    </a:lnTo>
                    <a:lnTo>
                      <a:pt x="515" y="578"/>
                    </a:lnTo>
                    <a:lnTo>
                      <a:pt x="519" y="570"/>
                    </a:lnTo>
                    <a:lnTo>
                      <a:pt x="524" y="563"/>
                    </a:lnTo>
                    <a:lnTo>
                      <a:pt x="531" y="556"/>
                    </a:lnTo>
                    <a:lnTo>
                      <a:pt x="537" y="550"/>
                    </a:lnTo>
                    <a:lnTo>
                      <a:pt x="545" y="544"/>
                    </a:lnTo>
                    <a:lnTo>
                      <a:pt x="552" y="539"/>
                    </a:lnTo>
                    <a:lnTo>
                      <a:pt x="569" y="527"/>
                    </a:lnTo>
                    <a:lnTo>
                      <a:pt x="589" y="516"/>
                    </a:lnTo>
                    <a:lnTo>
                      <a:pt x="605" y="506"/>
                    </a:lnTo>
                    <a:lnTo>
                      <a:pt x="621" y="496"/>
                    </a:lnTo>
                    <a:lnTo>
                      <a:pt x="637" y="484"/>
                    </a:lnTo>
                    <a:lnTo>
                      <a:pt x="654" y="473"/>
                    </a:lnTo>
                    <a:lnTo>
                      <a:pt x="670" y="459"/>
                    </a:lnTo>
                    <a:lnTo>
                      <a:pt x="687" y="443"/>
                    </a:lnTo>
                    <a:lnTo>
                      <a:pt x="703" y="425"/>
                    </a:lnTo>
                    <a:lnTo>
                      <a:pt x="718" y="403"/>
                    </a:lnTo>
                    <a:lnTo>
                      <a:pt x="734" y="402"/>
                    </a:lnTo>
                    <a:lnTo>
                      <a:pt x="750" y="400"/>
                    </a:lnTo>
                    <a:lnTo>
                      <a:pt x="764" y="396"/>
                    </a:lnTo>
                    <a:lnTo>
                      <a:pt x="778" y="390"/>
                    </a:lnTo>
                    <a:lnTo>
                      <a:pt x="792" y="384"/>
                    </a:lnTo>
                    <a:lnTo>
                      <a:pt x="805" y="376"/>
                    </a:lnTo>
                    <a:lnTo>
                      <a:pt x="816" y="368"/>
                    </a:lnTo>
                    <a:lnTo>
                      <a:pt x="827" y="357"/>
                    </a:lnTo>
                    <a:lnTo>
                      <a:pt x="833" y="350"/>
                    </a:lnTo>
                    <a:lnTo>
                      <a:pt x="840" y="342"/>
                    </a:lnTo>
                    <a:lnTo>
                      <a:pt x="846" y="335"/>
                    </a:lnTo>
                    <a:lnTo>
                      <a:pt x="852" y="326"/>
                    </a:lnTo>
                    <a:lnTo>
                      <a:pt x="861" y="309"/>
                    </a:lnTo>
                    <a:lnTo>
                      <a:pt x="869" y="291"/>
                    </a:lnTo>
                    <a:lnTo>
                      <a:pt x="876" y="272"/>
                    </a:lnTo>
                    <a:lnTo>
                      <a:pt x="882" y="252"/>
                    </a:lnTo>
                    <a:lnTo>
                      <a:pt x="887" y="233"/>
                    </a:lnTo>
                    <a:lnTo>
                      <a:pt x="890" y="214"/>
                    </a:lnTo>
                    <a:lnTo>
                      <a:pt x="893" y="195"/>
                    </a:lnTo>
                    <a:lnTo>
                      <a:pt x="895" y="175"/>
                    </a:lnTo>
                    <a:lnTo>
                      <a:pt x="897" y="157"/>
                    </a:lnTo>
                    <a:lnTo>
                      <a:pt x="898" y="140"/>
                    </a:lnTo>
                    <a:lnTo>
                      <a:pt x="898" y="110"/>
                    </a:lnTo>
                    <a:lnTo>
                      <a:pt x="898" y="8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</p:grpSp>
        <p:sp>
          <p:nvSpPr>
            <p:cNvPr id="24" name="TextBox 23"/>
            <p:cNvSpPr txBox="1"/>
            <p:nvPr/>
          </p:nvSpPr>
          <p:spPr>
            <a:xfrm>
              <a:off x="5007444" y="2293289"/>
              <a:ext cx="4497229" cy="306604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Lorem</a:t>
              </a: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 </a:t>
              </a:r>
              <a:r>
                <a:rPr kumimoji="0" lang="en-US" sz="11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Ipsum</a:t>
              </a: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 is simply dummy text of the printing and typesetting industry. Lorem Ipsum has been the industry's standard dummy text ever since the 1500s.</a:t>
              </a: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524198" y="5420293"/>
              <a:ext cx="1248492" cy="195112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IDEA</a:t>
              </a: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1961781" y="4258243"/>
              <a:ext cx="1248492" cy="195112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PROCESS</a:t>
              </a: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3445035" y="2756890"/>
              <a:ext cx="1248492" cy="195112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SUCCESS</a:t>
              </a: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5819775" y="3599295"/>
              <a:ext cx="3550619" cy="459905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Lorem</a:t>
              </a: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 </a:t>
              </a:r>
              <a:r>
                <a:rPr kumimoji="0" lang="en-US" sz="11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Ipsum</a:t>
              </a: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 is simply dummy text of the printing and typesetting industry. Lorem Ipsum has been the industry's standard dummy text ever since the 1500s.</a:t>
              </a: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6772274" y="4899314"/>
              <a:ext cx="2440671" cy="613207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Lorem</a:t>
              </a: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 </a:t>
              </a:r>
              <a:r>
                <a:rPr kumimoji="0" lang="en-US" sz="11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Ipsum</a:t>
              </a: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 is simply dummy text of the printing and typesetting industry. Lorem Ipsum has been the industry's standard dummy text ever since the 1500s.</a:t>
              </a:r>
            </a:p>
          </p:txBody>
        </p:sp>
      </p:grpSp>
      <p:sp>
        <p:nvSpPr>
          <p:cNvPr id="31" name="Rectangle 30"/>
          <p:cNvSpPr/>
          <p:nvPr/>
        </p:nvSpPr>
        <p:spPr>
          <a:xfrm>
            <a:off x="12344400" y="0"/>
            <a:ext cx="469900" cy="469900"/>
          </a:xfrm>
          <a:prstGeom prst="rect">
            <a:avLst/>
          </a:pr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/>
          <p:cNvSpPr/>
          <p:nvPr/>
        </p:nvSpPr>
        <p:spPr>
          <a:xfrm>
            <a:off x="12344400" y="649557"/>
            <a:ext cx="469900" cy="469900"/>
          </a:xfrm>
          <a:prstGeom prst="rect">
            <a:avLst/>
          </a:prstGeom>
          <a:solidFill>
            <a:srgbClr val="AFAB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ectangle 32"/>
          <p:cNvSpPr/>
          <p:nvPr/>
        </p:nvSpPr>
        <p:spPr>
          <a:xfrm>
            <a:off x="12344400" y="1299114"/>
            <a:ext cx="469900" cy="469900"/>
          </a:xfrm>
          <a:prstGeom prst="rect">
            <a:avLst/>
          </a:prstGeom>
          <a:solidFill>
            <a:srgbClr val="7671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Rectangle 33"/>
          <p:cNvSpPr/>
          <p:nvPr/>
        </p:nvSpPr>
        <p:spPr>
          <a:xfrm>
            <a:off x="12966699" y="0"/>
            <a:ext cx="469900" cy="469900"/>
          </a:xfrm>
          <a:prstGeom prst="rect">
            <a:avLst/>
          </a:prstGeom>
          <a:solidFill>
            <a:srgbClr val="E878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/>
          <p:cNvSpPr/>
          <p:nvPr/>
        </p:nvSpPr>
        <p:spPr>
          <a:xfrm>
            <a:off x="12966699" y="649557"/>
            <a:ext cx="469900" cy="469900"/>
          </a:xfrm>
          <a:prstGeom prst="rect">
            <a:avLst/>
          </a:prstGeom>
          <a:solidFill>
            <a:srgbClr val="E258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Rectangle 35"/>
          <p:cNvSpPr/>
          <p:nvPr/>
        </p:nvSpPr>
        <p:spPr>
          <a:xfrm>
            <a:off x="12966699" y="1299114"/>
            <a:ext cx="469900" cy="469900"/>
          </a:xfrm>
          <a:prstGeom prst="rect">
            <a:avLst/>
          </a:prstGeom>
          <a:solidFill>
            <a:srgbClr val="D63E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/>
          <p:cNvSpPr/>
          <p:nvPr/>
        </p:nvSpPr>
        <p:spPr>
          <a:xfrm>
            <a:off x="13588998" y="0"/>
            <a:ext cx="469900" cy="469900"/>
          </a:xfrm>
          <a:prstGeom prst="rect">
            <a:avLst/>
          </a:prstGeom>
          <a:solidFill>
            <a:srgbClr val="8EDC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Rectangle 37"/>
          <p:cNvSpPr/>
          <p:nvPr/>
        </p:nvSpPr>
        <p:spPr>
          <a:xfrm>
            <a:off x="13588998" y="649557"/>
            <a:ext cx="469900" cy="469900"/>
          </a:xfrm>
          <a:prstGeom prst="rect">
            <a:avLst/>
          </a:prstGeom>
          <a:solidFill>
            <a:srgbClr val="78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 38"/>
          <p:cNvSpPr/>
          <p:nvPr/>
        </p:nvSpPr>
        <p:spPr>
          <a:xfrm>
            <a:off x="13588998" y="1299114"/>
            <a:ext cx="469900" cy="469900"/>
          </a:xfrm>
          <a:prstGeom prst="rect">
            <a:avLst/>
          </a:prstGeom>
          <a:solidFill>
            <a:srgbClr val="4CC7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 39"/>
          <p:cNvSpPr/>
          <p:nvPr/>
        </p:nvSpPr>
        <p:spPr>
          <a:xfrm>
            <a:off x="14211297" y="0"/>
            <a:ext cx="469900" cy="469900"/>
          </a:xfrm>
          <a:prstGeom prst="rect">
            <a:avLst/>
          </a:prstGeom>
          <a:solidFill>
            <a:srgbClr val="5553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 40"/>
          <p:cNvSpPr/>
          <p:nvPr/>
        </p:nvSpPr>
        <p:spPr>
          <a:xfrm>
            <a:off x="14211297" y="649557"/>
            <a:ext cx="469900" cy="469900"/>
          </a:xfrm>
          <a:prstGeom prst="rect">
            <a:avLst/>
          </a:prstGeom>
          <a:solidFill>
            <a:srgbClr val="3B39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 41"/>
          <p:cNvSpPr/>
          <p:nvPr/>
        </p:nvSpPr>
        <p:spPr>
          <a:xfrm>
            <a:off x="14211297" y="1299114"/>
            <a:ext cx="469900" cy="469900"/>
          </a:xfrm>
          <a:prstGeom prst="rect">
            <a:avLst/>
          </a:prstGeom>
          <a:solidFill>
            <a:srgbClr val="2523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039558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2" name="Group 81">
            <a:extLst>
              <a:ext uri="{FF2B5EF4-FFF2-40B4-BE49-F238E27FC236}">
                <a16:creationId xmlns:a16="http://schemas.microsoft.com/office/drawing/2014/main" id="{714A87C3-3EFB-4722-BF0D-17138DEB6B2B}"/>
              </a:ext>
            </a:extLst>
          </p:cNvPr>
          <p:cNvGrpSpPr/>
          <p:nvPr/>
        </p:nvGrpSpPr>
        <p:grpSpPr>
          <a:xfrm>
            <a:off x="0" y="4954136"/>
            <a:ext cx="12192000" cy="1909138"/>
            <a:chOff x="0" y="4948862"/>
            <a:chExt cx="12192000" cy="1909138"/>
          </a:xfrm>
        </p:grpSpPr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EC99197A-1F6B-4498-BD1A-1E735D7E4EB6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F9C80C8E-5A49-482B-8FB1-2FEACFCA5ACA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47" name="Picture 4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0891" y="1262987"/>
            <a:ext cx="3058784" cy="2160836"/>
          </a:xfrm>
          <a:prstGeom prst="rect">
            <a:avLst/>
          </a:prstGeom>
          <a:effectLst>
            <a:outerShdw blurRad="381000" dist="190500" dir="5400000" algn="tl" rotWithShape="0">
              <a:prstClr val="black">
                <a:alpha val="12000"/>
              </a:prstClr>
            </a:outerShdw>
          </a:effectLst>
        </p:spPr>
      </p:pic>
      <p:pic>
        <p:nvPicPr>
          <p:cNvPr id="48" name="Picture 4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0764" y="3615314"/>
            <a:ext cx="3808453" cy="2142255"/>
          </a:xfrm>
          <a:prstGeom prst="rect">
            <a:avLst/>
          </a:prstGeom>
          <a:effectLst>
            <a:outerShdw blurRad="381000" dist="190500" dir="5400000" algn="tl" rotWithShape="0">
              <a:prstClr val="black">
                <a:alpha val="20000"/>
              </a:prstClr>
            </a:outerShdw>
          </a:effectLst>
        </p:spPr>
      </p:pic>
      <p:pic>
        <p:nvPicPr>
          <p:cNvPr id="65" name="Shape 131"/>
          <p:cNvPicPr preferRelativeResize="0"/>
          <p:nvPr/>
        </p:nvPicPr>
        <p:blipFill rotWithShape="1">
          <a:blip r:embed="rId5">
            <a:alphaModFix/>
          </a:blip>
          <a:srcRect t="18724" b="13617"/>
          <a:stretch/>
        </p:blipFill>
        <p:spPr>
          <a:xfrm>
            <a:off x="4118669" y="1283427"/>
            <a:ext cx="3195798" cy="2162276"/>
          </a:xfrm>
          <a:prstGeom prst="rect">
            <a:avLst/>
          </a:prstGeom>
          <a:noFill/>
          <a:ln>
            <a:noFill/>
          </a:ln>
          <a:effectLst>
            <a:outerShdw blurRad="381000" dist="190500" dir="5400000" algn="tl" rotWithShape="0">
              <a:prstClr val="black">
                <a:alpha val="13000"/>
              </a:prstClr>
            </a:outerShdw>
          </a:effectLst>
        </p:spPr>
      </p:pic>
      <p:pic>
        <p:nvPicPr>
          <p:cNvPr id="50" name="Picture 4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1253" y="3418413"/>
            <a:ext cx="4559527" cy="2913376"/>
          </a:xfrm>
          <a:prstGeom prst="rect">
            <a:avLst/>
          </a:prstGeom>
        </p:spPr>
      </p:pic>
      <p:grpSp>
        <p:nvGrpSpPr>
          <p:cNvPr id="34" name="Group 33">
            <a:extLst>
              <a:ext uri="{FF2B5EF4-FFF2-40B4-BE49-F238E27FC236}">
                <a16:creationId xmlns:a16="http://schemas.microsoft.com/office/drawing/2014/main" id="{7CF34645-10AF-4AB4-83EA-BF059F6BEB4D}"/>
              </a:ext>
            </a:extLst>
          </p:cNvPr>
          <p:cNvGrpSpPr/>
          <p:nvPr/>
        </p:nvGrpSpPr>
        <p:grpSpPr>
          <a:xfrm>
            <a:off x="10928712" y="6378850"/>
            <a:ext cx="947290" cy="270982"/>
            <a:chOff x="4103688" y="-2378075"/>
            <a:chExt cx="1309687" cy="374650"/>
          </a:xfrm>
          <a:solidFill>
            <a:srgbClr val="468DC3"/>
          </a:solidFill>
        </p:grpSpPr>
        <p:sp>
          <p:nvSpPr>
            <p:cNvPr id="35" name="Freeform 254">
              <a:extLst>
                <a:ext uri="{FF2B5EF4-FFF2-40B4-BE49-F238E27FC236}">
                  <a16:creationId xmlns:a16="http://schemas.microsoft.com/office/drawing/2014/main" id="{3BD74B41-BA0A-4A11-9DA4-8621503651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3688" y="-2374900"/>
              <a:ext cx="182562" cy="288925"/>
            </a:xfrm>
            <a:custGeom>
              <a:avLst/>
              <a:gdLst>
                <a:gd name="T0" fmla="*/ 43 w 61"/>
                <a:gd name="T1" fmla="*/ 47 h 95"/>
                <a:gd name="T2" fmla="*/ 30 w 61"/>
                <a:gd name="T3" fmla="*/ 55 h 95"/>
                <a:gd name="T4" fmla="*/ 11 w 61"/>
                <a:gd name="T5" fmla="*/ 83 h 95"/>
                <a:gd name="T6" fmla="*/ 11 w 61"/>
                <a:gd name="T7" fmla="*/ 85 h 95"/>
                <a:gd name="T8" fmla="*/ 57 w 61"/>
                <a:gd name="T9" fmla="*/ 85 h 95"/>
                <a:gd name="T10" fmla="*/ 60 w 61"/>
                <a:gd name="T11" fmla="*/ 88 h 95"/>
                <a:gd name="T12" fmla="*/ 60 w 61"/>
                <a:gd name="T13" fmla="*/ 93 h 95"/>
                <a:gd name="T14" fmla="*/ 57 w 61"/>
                <a:gd name="T15" fmla="*/ 95 h 95"/>
                <a:gd name="T16" fmla="*/ 3 w 61"/>
                <a:gd name="T17" fmla="*/ 95 h 95"/>
                <a:gd name="T18" fmla="*/ 0 w 61"/>
                <a:gd name="T19" fmla="*/ 93 h 95"/>
                <a:gd name="T20" fmla="*/ 0 w 61"/>
                <a:gd name="T21" fmla="*/ 83 h 95"/>
                <a:gd name="T22" fmla="*/ 21 w 61"/>
                <a:gd name="T23" fmla="*/ 49 h 95"/>
                <a:gd name="T24" fmla="*/ 35 w 61"/>
                <a:gd name="T25" fmla="*/ 40 h 95"/>
                <a:gd name="T26" fmla="*/ 49 w 61"/>
                <a:gd name="T27" fmla="*/ 22 h 95"/>
                <a:gd name="T28" fmla="*/ 28 w 61"/>
                <a:gd name="T29" fmla="*/ 9 h 95"/>
                <a:gd name="T30" fmla="*/ 4 w 61"/>
                <a:gd name="T31" fmla="*/ 11 h 95"/>
                <a:gd name="T32" fmla="*/ 3 w 61"/>
                <a:gd name="T33" fmla="*/ 11 h 95"/>
                <a:gd name="T34" fmla="*/ 1 w 61"/>
                <a:gd name="T35" fmla="*/ 9 h 95"/>
                <a:gd name="T36" fmla="*/ 1 w 61"/>
                <a:gd name="T37" fmla="*/ 4 h 95"/>
                <a:gd name="T38" fmla="*/ 4 w 61"/>
                <a:gd name="T39" fmla="*/ 2 h 95"/>
                <a:gd name="T40" fmla="*/ 28 w 61"/>
                <a:gd name="T41" fmla="*/ 0 h 95"/>
                <a:gd name="T42" fmla="*/ 61 w 61"/>
                <a:gd name="T43" fmla="*/ 22 h 95"/>
                <a:gd name="T44" fmla="*/ 43 w 61"/>
                <a:gd name="T45" fmla="*/ 47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1" h="95">
                  <a:moveTo>
                    <a:pt x="43" y="47"/>
                  </a:moveTo>
                  <a:cubicBezTo>
                    <a:pt x="30" y="55"/>
                    <a:pt x="30" y="55"/>
                    <a:pt x="30" y="55"/>
                  </a:cubicBezTo>
                  <a:cubicBezTo>
                    <a:pt x="15" y="65"/>
                    <a:pt x="11" y="72"/>
                    <a:pt x="11" y="83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59" y="85"/>
                    <a:pt x="60" y="86"/>
                    <a:pt x="60" y="88"/>
                  </a:cubicBezTo>
                  <a:cubicBezTo>
                    <a:pt x="60" y="93"/>
                    <a:pt x="60" y="93"/>
                    <a:pt x="60" y="93"/>
                  </a:cubicBezTo>
                  <a:cubicBezTo>
                    <a:pt x="60" y="95"/>
                    <a:pt x="59" y="95"/>
                    <a:pt x="57" y="95"/>
                  </a:cubicBezTo>
                  <a:cubicBezTo>
                    <a:pt x="3" y="95"/>
                    <a:pt x="3" y="95"/>
                    <a:pt x="3" y="95"/>
                  </a:cubicBezTo>
                  <a:cubicBezTo>
                    <a:pt x="1" y="95"/>
                    <a:pt x="0" y="94"/>
                    <a:pt x="0" y="93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69"/>
                    <a:pt x="6" y="58"/>
                    <a:pt x="21" y="49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46" y="33"/>
                    <a:pt x="49" y="30"/>
                    <a:pt x="49" y="22"/>
                  </a:cubicBezTo>
                  <a:cubicBezTo>
                    <a:pt x="49" y="13"/>
                    <a:pt x="43" y="9"/>
                    <a:pt x="28" y="9"/>
                  </a:cubicBezTo>
                  <a:cubicBezTo>
                    <a:pt x="21" y="9"/>
                    <a:pt x="12" y="10"/>
                    <a:pt x="4" y="11"/>
                  </a:cubicBezTo>
                  <a:cubicBezTo>
                    <a:pt x="4" y="11"/>
                    <a:pt x="4" y="11"/>
                    <a:pt x="3" y="11"/>
                  </a:cubicBezTo>
                  <a:cubicBezTo>
                    <a:pt x="2" y="11"/>
                    <a:pt x="1" y="10"/>
                    <a:pt x="1" y="9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3"/>
                    <a:pt x="3" y="2"/>
                    <a:pt x="4" y="2"/>
                  </a:cubicBezTo>
                  <a:cubicBezTo>
                    <a:pt x="11" y="0"/>
                    <a:pt x="20" y="0"/>
                    <a:pt x="28" y="0"/>
                  </a:cubicBezTo>
                  <a:cubicBezTo>
                    <a:pt x="51" y="0"/>
                    <a:pt x="61" y="7"/>
                    <a:pt x="61" y="22"/>
                  </a:cubicBezTo>
                  <a:cubicBezTo>
                    <a:pt x="61" y="33"/>
                    <a:pt x="56" y="39"/>
                    <a:pt x="43" y="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Freeform 255">
              <a:extLst>
                <a:ext uri="{FF2B5EF4-FFF2-40B4-BE49-F238E27FC236}">
                  <a16:creationId xmlns:a16="http://schemas.microsoft.com/office/drawing/2014/main" id="{70015F1F-F2D6-4D60-A53E-7C7EDFAFDF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08463" y="-2308225"/>
              <a:ext cx="211137" cy="304800"/>
            </a:xfrm>
            <a:custGeom>
              <a:avLst/>
              <a:gdLst>
                <a:gd name="T0" fmla="*/ 68 w 70"/>
                <a:gd name="T1" fmla="*/ 74 h 100"/>
                <a:gd name="T2" fmla="*/ 56 w 70"/>
                <a:gd name="T3" fmla="*/ 74 h 100"/>
                <a:gd name="T4" fmla="*/ 56 w 70"/>
                <a:gd name="T5" fmla="*/ 98 h 100"/>
                <a:gd name="T6" fmla="*/ 54 w 70"/>
                <a:gd name="T7" fmla="*/ 100 h 100"/>
                <a:gd name="T8" fmla="*/ 46 w 70"/>
                <a:gd name="T9" fmla="*/ 100 h 100"/>
                <a:gd name="T10" fmla="*/ 44 w 70"/>
                <a:gd name="T11" fmla="*/ 98 h 100"/>
                <a:gd name="T12" fmla="*/ 44 w 70"/>
                <a:gd name="T13" fmla="*/ 74 h 100"/>
                <a:gd name="T14" fmla="*/ 5 w 70"/>
                <a:gd name="T15" fmla="*/ 74 h 100"/>
                <a:gd name="T16" fmla="*/ 0 w 70"/>
                <a:gd name="T17" fmla="*/ 68 h 100"/>
                <a:gd name="T18" fmla="*/ 0 w 70"/>
                <a:gd name="T19" fmla="*/ 63 h 100"/>
                <a:gd name="T20" fmla="*/ 1 w 70"/>
                <a:gd name="T21" fmla="*/ 58 h 100"/>
                <a:gd name="T22" fmla="*/ 41 w 70"/>
                <a:gd name="T23" fmla="*/ 2 h 100"/>
                <a:gd name="T24" fmla="*/ 45 w 70"/>
                <a:gd name="T25" fmla="*/ 0 h 100"/>
                <a:gd name="T26" fmla="*/ 52 w 70"/>
                <a:gd name="T27" fmla="*/ 0 h 100"/>
                <a:gd name="T28" fmla="*/ 56 w 70"/>
                <a:gd name="T29" fmla="*/ 3 h 100"/>
                <a:gd name="T30" fmla="*/ 56 w 70"/>
                <a:gd name="T31" fmla="*/ 63 h 100"/>
                <a:gd name="T32" fmla="*/ 68 w 70"/>
                <a:gd name="T33" fmla="*/ 63 h 100"/>
                <a:gd name="T34" fmla="*/ 70 w 70"/>
                <a:gd name="T35" fmla="*/ 66 h 100"/>
                <a:gd name="T36" fmla="*/ 70 w 70"/>
                <a:gd name="T37" fmla="*/ 71 h 100"/>
                <a:gd name="T38" fmla="*/ 68 w 70"/>
                <a:gd name="T39" fmla="*/ 74 h 100"/>
                <a:gd name="T40" fmla="*/ 44 w 70"/>
                <a:gd name="T41" fmla="*/ 17 h 100"/>
                <a:gd name="T42" fmla="*/ 43 w 70"/>
                <a:gd name="T43" fmla="*/ 17 h 100"/>
                <a:gd name="T44" fmla="*/ 43 w 70"/>
                <a:gd name="T45" fmla="*/ 17 h 100"/>
                <a:gd name="T46" fmla="*/ 42 w 70"/>
                <a:gd name="T47" fmla="*/ 17 h 100"/>
                <a:gd name="T48" fmla="*/ 11 w 70"/>
                <a:gd name="T49" fmla="*/ 61 h 100"/>
                <a:gd name="T50" fmla="*/ 11 w 70"/>
                <a:gd name="T51" fmla="*/ 63 h 100"/>
                <a:gd name="T52" fmla="*/ 12 w 70"/>
                <a:gd name="T53" fmla="*/ 63 h 100"/>
                <a:gd name="T54" fmla="*/ 44 w 70"/>
                <a:gd name="T55" fmla="*/ 63 h 100"/>
                <a:gd name="T56" fmla="*/ 44 w 70"/>
                <a:gd name="T57" fmla="*/ 17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0" h="100">
                  <a:moveTo>
                    <a:pt x="68" y="74"/>
                  </a:moveTo>
                  <a:cubicBezTo>
                    <a:pt x="56" y="74"/>
                    <a:pt x="56" y="74"/>
                    <a:pt x="56" y="74"/>
                  </a:cubicBezTo>
                  <a:cubicBezTo>
                    <a:pt x="56" y="98"/>
                    <a:pt x="56" y="98"/>
                    <a:pt x="56" y="98"/>
                  </a:cubicBezTo>
                  <a:cubicBezTo>
                    <a:pt x="56" y="99"/>
                    <a:pt x="55" y="100"/>
                    <a:pt x="54" y="100"/>
                  </a:cubicBezTo>
                  <a:cubicBezTo>
                    <a:pt x="46" y="100"/>
                    <a:pt x="46" y="100"/>
                    <a:pt x="46" y="100"/>
                  </a:cubicBezTo>
                  <a:cubicBezTo>
                    <a:pt x="44" y="100"/>
                    <a:pt x="44" y="99"/>
                    <a:pt x="44" y="98"/>
                  </a:cubicBezTo>
                  <a:cubicBezTo>
                    <a:pt x="44" y="74"/>
                    <a:pt x="44" y="74"/>
                    <a:pt x="44" y="74"/>
                  </a:cubicBezTo>
                  <a:cubicBezTo>
                    <a:pt x="5" y="74"/>
                    <a:pt x="5" y="74"/>
                    <a:pt x="5" y="74"/>
                  </a:cubicBezTo>
                  <a:cubicBezTo>
                    <a:pt x="1" y="74"/>
                    <a:pt x="0" y="72"/>
                    <a:pt x="0" y="68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1"/>
                    <a:pt x="0" y="60"/>
                    <a:pt x="1" y="58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41" y="1"/>
                    <a:pt x="42" y="0"/>
                    <a:pt x="45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5" y="0"/>
                    <a:pt x="56" y="1"/>
                    <a:pt x="56" y="3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68" y="63"/>
                    <a:pt x="68" y="63"/>
                    <a:pt x="68" y="63"/>
                  </a:cubicBezTo>
                  <a:cubicBezTo>
                    <a:pt x="69" y="63"/>
                    <a:pt x="70" y="64"/>
                    <a:pt x="70" y="66"/>
                  </a:cubicBezTo>
                  <a:cubicBezTo>
                    <a:pt x="70" y="71"/>
                    <a:pt x="70" y="71"/>
                    <a:pt x="70" y="71"/>
                  </a:cubicBezTo>
                  <a:cubicBezTo>
                    <a:pt x="70" y="73"/>
                    <a:pt x="69" y="74"/>
                    <a:pt x="68" y="74"/>
                  </a:cubicBezTo>
                  <a:close/>
                  <a:moveTo>
                    <a:pt x="44" y="17"/>
                  </a:moveTo>
                  <a:cubicBezTo>
                    <a:pt x="44" y="17"/>
                    <a:pt x="44" y="17"/>
                    <a:pt x="43" y="17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3" y="17"/>
                    <a:pt x="42" y="17"/>
                    <a:pt x="42" y="17"/>
                  </a:cubicBezTo>
                  <a:cubicBezTo>
                    <a:pt x="11" y="61"/>
                    <a:pt x="11" y="61"/>
                    <a:pt x="11" y="61"/>
                  </a:cubicBezTo>
                  <a:cubicBezTo>
                    <a:pt x="11" y="62"/>
                    <a:pt x="11" y="62"/>
                    <a:pt x="11" y="63"/>
                  </a:cubicBezTo>
                  <a:cubicBezTo>
                    <a:pt x="11" y="63"/>
                    <a:pt x="11" y="63"/>
                    <a:pt x="12" y="63"/>
                  </a:cubicBezTo>
                  <a:cubicBezTo>
                    <a:pt x="44" y="63"/>
                    <a:pt x="44" y="63"/>
                    <a:pt x="44" y="63"/>
                  </a:cubicBezTo>
                  <a:lnTo>
                    <a:pt x="44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" name="Freeform 256">
              <a:extLst>
                <a:ext uri="{FF2B5EF4-FFF2-40B4-BE49-F238E27FC236}">
                  <a16:creationId xmlns:a16="http://schemas.microsoft.com/office/drawing/2014/main" id="{C4CE39B4-6254-4FFC-BA20-495537310D7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5025" y="-2374900"/>
              <a:ext cx="34925" cy="292100"/>
            </a:xfrm>
            <a:custGeom>
              <a:avLst/>
              <a:gdLst>
                <a:gd name="T0" fmla="*/ 11 w 12"/>
                <a:gd name="T1" fmla="*/ 95 h 96"/>
                <a:gd name="T2" fmla="*/ 10 w 12"/>
                <a:gd name="T3" fmla="*/ 96 h 96"/>
                <a:gd name="T4" fmla="*/ 3 w 12"/>
                <a:gd name="T5" fmla="*/ 96 h 96"/>
                <a:gd name="T6" fmla="*/ 1 w 12"/>
                <a:gd name="T7" fmla="*/ 95 h 96"/>
                <a:gd name="T8" fmla="*/ 0 w 12"/>
                <a:gd name="T9" fmla="*/ 93 h 96"/>
                <a:gd name="T10" fmla="*/ 0 w 12"/>
                <a:gd name="T11" fmla="*/ 2 h 96"/>
                <a:gd name="T12" fmla="*/ 1 w 12"/>
                <a:gd name="T13" fmla="*/ 1 h 96"/>
                <a:gd name="T14" fmla="*/ 3 w 12"/>
                <a:gd name="T15" fmla="*/ 0 h 96"/>
                <a:gd name="T16" fmla="*/ 10 w 12"/>
                <a:gd name="T17" fmla="*/ 0 h 96"/>
                <a:gd name="T18" fmla="*/ 11 w 12"/>
                <a:gd name="T19" fmla="*/ 1 h 96"/>
                <a:gd name="T20" fmla="*/ 12 w 12"/>
                <a:gd name="T21" fmla="*/ 2 h 96"/>
                <a:gd name="T22" fmla="*/ 12 w 12"/>
                <a:gd name="T23" fmla="*/ 93 h 96"/>
                <a:gd name="T24" fmla="*/ 11 w 12"/>
                <a:gd name="T25" fmla="*/ 9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96">
                  <a:moveTo>
                    <a:pt x="11" y="95"/>
                  </a:moveTo>
                  <a:cubicBezTo>
                    <a:pt x="11" y="95"/>
                    <a:pt x="10" y="96"/>
                    <a:pt x="10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2" y="96"/>
                    <a:pt x="1" y="95"/>
                    <a:pt x="1" y="95"/>
                  </a:cubicBezTo>
                  <a:cubicBezTo>
                    <a:pt x="0" y="94"/>
                    <a:pt x="0" y="94"/>
                    <a:pt x="0" y="9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1" y="0"/>
                    <a:pt x="11" y="1"/>
                  </a:cubicBezTo>
                  <a:cubicBezTo>
                    <a:pt x="12" y="1"/>
                    <a:pt x="12" y="2"/>
                    <a:pt x="12" y="2"/>
                  </a:cubicBezTo>
                  <a:cubicBezTo>
                    <a:pt x="12" y="93"/>
                    <a:pt x="12" y="93"/>
                    <a:pt x="12" y="93"/>
                  </a:cubicBezTo>
                  <a:cubicBezTo>
                    <a:pt x="12" y="94"/>
                    <a:pt x="12" y="94"/>
                    <a:pt x="11" y="9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Freeform 257">
              <a:extLst>
                <a:ext uri="{FF2B5EF4-FFF2-40B4-BE49-F238E27FC236}">
                  <a16:creationId xmlns:a16="http://schemas.microsoft.com/office/drawing/2014/main" id="{39F9AD79-BD1F-4A45-B55C-3517BA91B7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43450" y="-2378075"/>
              <a:ext cx="36512" cy="295275"/>
            </a:xfrm>
            <a:custGeom>
              <a:avLst/>
              <a:gdLst>
                <a:gd name="T0" fmla="*/ 11 w 12"/>
                <a:gd name="T1" fmla="*/ 15 h 97"/>
                <a:gd name="T2" fmla="*/ 9 w 12"/>
                <a:gd name="T3" fmla="*/ 15 h 97"/>
                <a:gd name="T4" fmla="*/ 3 w 12"/>
                <a:gd name="T5" fmla="*/ 15 h 97"/>
                <a:gd name="T6" fmla="*/ 1 w 12"/>
                <a:gd name="T7" fmla="*/ 15 h 97"/>
                <a:gd name="T8" fmla="*/ 0 w 12"/>
                <a:gd name="T9" fmla="*/ 13 h 97"/>
                <a:gd name="T10" fmla="*/ 0 w 12"/>
                <a:gd name="T11" fmla="*/ 3 h 97"/>
                <a:gd name="T12" fmla="*/ 1 w 12"/>
                <a:gd name="T13" fmla="*/ 1 h 97"/>
                <a:gd name="T14" fmla="*/ 3 w 12"/>
                <a:gd name="T15" fmla="*/ 0 h 97"/>
                <a:gd name="T16" fmla="*/ 9 w 12"/>
                <a:gd name="T17" fmla="*/ 0 h 97"/>
                <a:gd name="T18" fmla="*/ 11 w 12"/>
                <a:gd name="T19" fmla="*/ 1 h 97"/>
                <a:gd name="T20" fmla="*/ 12 w 12"/>
                <a:gd name="T21" fmla="*/ 3 h 97"/>
                <a:gd name="T22" fmla="*/ 12 w 12"/>
                <a:gd name="T23" fmla="*/ 13 h 97"/>
                <a:gd name="T24" fmla="*/ 11 w 12"/>
                <a:gd name="T25" fmla="*/ 15 h 97"/>
                <a:gd name="T26" fmla="*/ 11 w 12"/>
                <a:gd name="T27" fmla="*/ 96 h 97"/>
                <a:gd name="T28" fmla="*/ 9 w 12"/>
                <a:gd name="T29" fmla="*/ 97 h 97"/>
                <a:gd name="T30" fmla="*/ 3 w 12"/>
                <a:gd name="T31" fmla="*/ 97 h 97"/>
                <a:gd name="T32" fmla="*/ 1 w 12"/>
                <a:gd name="T33" fmla="*/ 96 h 97"/>
                <a:gd name="T34" fmla="*/ 0 w 12"/>
                <a:gd name="T35" fmla="*/ 94 h 97"/>
                <a:gd name="T36" fmla="*/ 0 w 12"/>
                <a:gd name="T37" fmla="*/ 29 h 97"/>
                <a:gd name="T38" fmla="*/ 1 w 12"/>
                <a:gd name="T39" fmla="*/ 27 h 97"/>
                <a:gd name="T40" fmla="*/ 3 w 12"/>
                <a:gd name="T41" fmla="*/ 27 h 97"/>
                <a:gd name="T42" fmla="*/ 9 w 12"/>
                <a:gd name="T43" fmla="*/ 27 h 97"/>
                <a:gd name="T44" fmla="*/ 11 w 12"/>
                <a:gd name="T45" fmla="*/ 27 h 97"/>
                <a:gd name="T46" fmla="*/ 12 w 12"/>
                <a:gd name="T47" fmla="*/ 29 h 97"/>
                <a:gd name="T48" fmla="*/ 12 w 12"/>
                <a:gd name="T49" fmla="*/ 94 h 97"/>
                <a:gd name="T50" fmla="*/ 11 w 12"/>
                <a:gd name="T51" fmla="*/ 96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" h="97">
                  <a:moveTo>
                    <a:pt x="11" y="15"/>
                  </a:moveTo>
                  <a:cubicBezTo>
                    <a:pt x="11" y="15"/>
                    <a:pt x="10" y="15"/>
                    <a:pt x="9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2" y="15"/>
                    <a:pt x="1" y="15"/>
                    <a:pt x="1" y="15"/>
                  </a:cubicBezTo>
                  <a:cubicBezTo>
                    <a:pt x="0" y="14"/>
                    <a:pt x="0" y="14"/>
                    <a:pt x="0" y="1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0"/>
                    <a:pt x="11" y="0"/>
                    <a:pt x="11" y="1"/>
                  </a:cubicBezTo>
                  <a:cubicBezTo>
                    <a:pt x="12" y="1"/>
                    <a:pt x="12" y="2"/>
                    <a:pt x="12" y="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4"/>
                    <a:pt x="12" y="14"/>
                    <a:pt x="11" y="15"/>
                  </a:cubicBezTo>
                  <a:close/>
                  <a:moveTo>
                    <a:pt x="11" y="96"/>
                  </a:moveTo>
                  <a:cubicBezTo>
                    <a:pt x="10" y="96"/>
                    <a:pt x="10" y="97"/>
                    <a:pt x="9" y="97"/>
                  </a:cubicBezTo>
                  <a:cubicBezTo>
                    <a:pt x="3" y="97"/>
                    <a:pt x="3" y="97"/>
                    <a:pt x="3" y="97"/>
                  </a:cubicBezTo>
                  <a:cubicBezTo>
                    <a:pt x="2" y="97"/>
                    <a:pt x="1" y="96"/>
                    <a:pt x="1" y="96"/>
                  </a:cubicBezTo>
                  <a:cubicBezTo>
                    <a:pt x="0" y="95"/>
                    <a:pt x="0" y="95"/>
                    <a:pt x="0" y="94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8"/>
                    <a:pt x="0" y="28"/>
                    <a:pt x="1" y="27"/>
                  </a:cubicBezTo>
                  <a:cubicBezTo>
                    <a:pt x="1" y="27"/>
                    <a:pt x="2" y="27"/>
                    <a:pt x="3" y="27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10" y="27"/>
                    <a:pt x="10" y="27"/>
                    <a:pt x="11" y="27"/>
                  </a:cubicBezTo>
                  <a:cubicBezTo>
                    <a:pt x="11" y="28"/>
                    <a:pt x="12" y="28"/>
                    <a:pt x="12" y="29"/>
                  </a:cubicBezTo>
                  <a:cubicBezTo>
                    <a:pt x="12" y="94"/>
                    <a:pt x="12" y="94"/>
                    <a:pt x="12" y="94"/>
                  </a:cubicBezTo>
                  <a:cubicBezTo>
                    <a:pt x="12" y="95"/>
                    <a:pt x="11" y="95"/>
                    <a:pt x="11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Freeform 258">
              <a:extLst>
                <a:ext uri="{FF2B5EF4-FFF2-40B4-BE49-F238E27FC236}">
                  <a16:creationId xmlns:a16="http://schemas.microsoft.com/office/drawing/2014/main" id="{5796D783-CBD6-4483-9C65-B66A3B5093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30763" y="-2374900"/>
              <a:ext cx="171450" cy="295275"/>
            </a:xfrm>
            <a:custGeom>
              <a:avLst/>
              <a:gdLst>
                <a:gd name="T0" fmla="*/ 56 w 57"/>
                <a:gd name="T1" fmla="*/ 93 h 97"/>
                <a:gd name="T2" fmla="*/ 54 w 57"/>
                <a:gd name="T3" fmla="*/ 94 h 97"/>
                <a:gd name="T4" fmla="*/ 41 w 57"/>
                <a:gd name="T5" fmla="*/ 96 h 97"/>
                <a:gd name="T6" fmla="*/ 29 w 57"/>
                <a:gd name="T7" fmla="*/ 97 h 97"/>
                <a:gd name="T8" fmla="*/ 16 w 57"/>
                <a:gd name="T9" fmla="*/ 94 h 97"/>
                <a:gd name="T10" fmla="*/ 7 w 57"/>
                <a:gd name="T11" fmla="*/ 88 h 97"/>
                <a:gd name="T12" fmla="*/ 2 w 57"/>
                <a:gd name="T13" fmla="*/ 78 h 97"/>
                <a:gd name="T14" fmla="*/ 0 w 57"/>
                <a:gd name="T15" fmla="*/ 65 h 97"/>
                <a:gd name="T16" fmla="*/ 0 w 57"/>
                <a:gd name="T17" fmla="*/ 56 h 97"/>
                <a:gd name="T18" fmla="*/ 7 w 57"/>
                <a:gd name="T19" fmla="*/ 33 h 97"/>
                <a:gd name="T20" fmla="*/ 29 w 57"/>
                <a:gd name="T21" fmla="*/ 25 h 97"/>
                <a:gd name="T22" fmla="*/ 37 w 57"/>
                <a:gd name="T23" fmla="*/ 25 h 97"/>
                <a:gd name="T24" fmla="*/ 45 w 57"/>
                <a:gd name="T25" fmla="*/ 26 h 97"/>
                <a:gd name="T26" fmla="*/ 45 w 57"/>
                <a:gd name="T27" fmla="*/ 2 h 97"/>
                <a:gd name="T28" fmla="*/ 46 w 57"/>
                <a:gd name="T29" fmla="*/ 1 h 97"/>
                <a:gd name="T30" fmla="*/ 47 w 57"/>
                <a:gd name="T31" fmla="*/ 0 h 97"/>
                <a:gd name="T32" fmla="*/ 54 w 57"/>
                <a:gd name="T33" fmla="*/ 0 h 97"/>
                <a:gd name="T34" fmla="*/ 56 w 57"/>
                <a:gd name="T35" fmla="*/ 1 h 97"/>
                <a:gd name="T36" fmla="*/ 57 w 57"/>
                <a:gd name="T37" fmla="*/ 2 h 97"/>
                <a:gd name="T38" fmla="*/ 57 w 57"/>
                <a:gd name="T39" fmla="*/ 91 h 97"/>
                <a:gd name="T40" fmla="*/ 56 w 57"/>
                <a:gd name="T41" fmla="*/ 93 h 97"/>
                <a:gd name="T42" fmla="*/ 45 w 57"/>
                <a:gd name="T43" fmla="*/ 35 h 97"/>
                <a:gd name="T44" fmla="*/ 37 w 57"/>
                <a:gd name="T45" fmla="*/ 35 h 97"/>
                <a:gd name="T46" fmla="*/ 29 w 57"/>
                <a:gd name="T47" fmla="*/ 35 h 97"/>
                <a:gd name="T48" fmla="*/ 16 w 57"/>
                <a:gd name="T49" fmla="*/ 40 h 97"/>
                <a:gd name="T50" fmla="*/ 12 w 57"/>
                <a:gd name="T51" fmla="*/ 56 h 97"/>
                <a:gd name="T52" fmla="*/ 12 w 57"/>
                <a:gd name="T53" fmla="*/ 65 h 97"/>
                <a:gd name="T54" fmla="*/ 16 w 57"/>
                <a:gd name="T55" fmla="*/ 81 h 97"/>
                <a:gd name="T56" fmla="*/ 29 w 57"/>
                <a:gd name="T57" fmla="*/ 87 h 97"/>
                <a:gd name="T58" fmla="*/ 37 w 57"/>
                <a:gd name="T59" fmla="*/ 86 h 97"/>
                <a:gd name="T60" fmla="*/ 45 w 57"/>
                <a:gd name="T61" fmla="*/ 86 h 97"/>
                <a:gd name="T62" fmla="*/ 45 w 57"/>
                <a:gd name="T63" fmla="*/ 35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7" h="97">
                  <a:moveTo>
                    <a:pt x="56" y="93"/>
                  </a:moveTo>
                  <a:cubicBezTo>
                    <a:pt x="56" y="94"/>
                    <a:pt x="55" y="94"/>
                    <a:pt x="54" y="94"/>
                  </a:cubicBezTo>
                  <a:cubicBezTo>
                    <a:pt x="50" y="95"/>
                    <a:pt x="46" y="96"/>
                    <a:pt x="41" y="96"/>
                  </a:cubicBezTo>
                  <a:cubicBezTo>
                    <a:pt x="37" y="96"/>
                    <a:pt x="33" y="97"/>
                    <a:pt x="29" y="97"/>
                  </a:cubicBezTo>
                  <a:cubicBezTo>
                    <a:pt x="24" y="97"/>
                    <a:pt x="20" y="96"/>
                    <a:pt x="16" y="94"/>
                  </a:cubicBezTo>
                  <a:cubicBezTo>
                    <a:pt x="13" y="93"/>
                    <a:pt x="10" y="91"/>
                    <a:pt x="7" y="88"/>
                  </a:cubicBezTo>
                  <a:cubicBezTo>
                    <a:pt x="5" y="85"/>
                    <a:pt x="3" y="82"/>
                    <a:pt x="2" y="78"/>
                  </a:cubicBezTo>
                  <a:cubicBezTo>
                    <a:pt x="1" y="74"/>
                    <a:pt x="0" y="70"/>
                    <a:pt x="0" y="6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46"/>
                    <a:pt x="3" y="38"/>
                    <a:pt x="7" y="33"/>
                  </a:cubicBezTo>
                  <a:cubicBezTo>
                    <a:pt x="12" y="27"/>
                    <a:pt x="19" y="25"/>
                    <a:pt x="29" y="25"/>
                  </a:cubicBezTo>
                  <a:cubicBezTo>
                    <a:pt x="31" y="25"/>
                    <a:pt x="34" y="25"/>
                    <a:pt x="37" y="25"/>
                  </a:cubicBezTo>
                  <a:cubicBezTo>
                    <a:pt x="40" y="25"/>
                    <a:pt x="42" y="26"/>
                    <a:pt x="45" y="26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5" y="2"/>
                    <a:pt x="45" y="1"/>
                    <a:pt x="46" y="1"/>
                  </a:cubicBezTo>
                  <a:cubicBezTo>
                    <a:pt x="46" y="0"/>
                    <a:pt x="47" y="0"/>
                    <a:pt x="47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5" y="0"/>
                    <a:pt x="56" y="0"/>
                    <a:pt x="56" y="1"/>
                  </a:cubicBezTo>
                  <a:cubicBezTo>
                    <a:pt x="56" y="1"/>
                    <a:pt x="57" y="2"/>
                    <a:pt x="57" y="2"/>
                  </a:cubicBezTo>
                  <a:cubicBezTo>
                    <a:pt x="57" y="91"/>
                    <a:pt x="57" y="91"/>
                    <a:pt x="57" y="91"/>
                  </a:cubicBezTo>
                  <a:cubicBezTo>
                    <a:pt x="57" y="92"/>
                    <a:pt x="57" y="93"/>
                    <a:pt x="56" y="93"/>
                  </a:cubicBezTo>
                  <a:close/>
                  <a:moveTo>
                    <a:pt x="45" y="35"/>
                  </a:moveTo>
                  <a:cubicBezTo>
                    <a:pt x="43" y="35"/>
                    <a:pt x="40" y="35"/>
                    <a:pt x="37" y="35"/>
                  </a:cubicBezTo>
                  <a:cubicBezTo>
                    <a:pt x="34" y="35"/>
                    <a:pt x="31" y="35"/>
                    <a:pt x="29" y="35"/>
                  </a:cubicBezTo>
                  <a:cubicBezTo>
                    <a:pt x="23" y="35"/>
                    <a:pt x="18" y="36"/>
                    <a:pt x="16" y="40"/>
                  </a:cubicBezTo>
                  <a:cubicBezTo>
                    <a:pt x="13" y="44"/>
                    <a:pt x="12" y="49"/>
                    <a:pt x="12" y="56"/>
                  </a:cubicBezTo>
                  <a:cubicBezTo>
                    <a:pt x="12" y="65"/>
                    <a:pt x="12" y="65"/>
                    <a:pt x="12" y="65"/>
                  </a:cubicBezTo>
                  <a:cubicBezTo>
                    <a:pt x="12" y="72"/>
                    <a:pt x="13" y="77"/>
                    <a:pt x="16" y="81"/>
                  </a:cubicBezTo>
                  <a:cubicBezTo>
                    <a:pt x="18" y="85"/>
                    <a:pt x="23" y="87"/>
                    <a:pt x="29" y="87"/>
                  </a:cubicBezTo>
                  <a:cubicBezTo>
                    <a:pt x="32" y="87"/>
                    <a:pt x="34" y="87"/>
                    <a:pt x="37" y="86"/>
                  </a:cubicBezTo>
                  <a:cubicBezTo>
                    <a:pt x="40" y="86"/>
                    <a:pt x="43" y="86"/>
                    <a:pt x="45" y="86"/>
                  </a:cubicBezTo>
                  <a:lnTo>
                    <a:pt x="45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Freeform 259">
              <a:extLst>
                <a:ext uri="{FF2B5EF4-FFF2-40B4-BE49-F238E27FC236}">
                  <a16:creationId xmlns:a16="http://schemas.microsoft.com/office/drawing/2014/main" id="{342D576C-DA7D-44C2-935C-E04E0014EC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46663" y="-2298700"/>
              <a:ext cx="180975" cy="219075"/>
            </a:xfrm>
            <a:custGeom>
              <a:avLst/>
              <a:gdLst>
                <a:gd name="T0" fmla="*/ 57 w 60"/>
                <a:gd name="T1" fmla="*/ 39 h 72"/>
                <a:gd name="T2" fmla="*/ 12 w 60"/>
                <a:gd name="T3" fmla="*/ 39 h 72"/>
                <a:gd name="T4" fmla="*/ 12 w 60"/>
                <a:gd name="T5" fmla="*/ 41 h 72"/>
                <a:gd name="T6" fmla="*/ 17 w 60"/>
                <a:gd name="T7" fmla="*/ 57 h 72"/>
                <a:gd name="T8" fmla="*/ 31 w 60"/>
                <a:gd name="T9" fmla="*/ 62 h 72"/>
                <a:gd name="T10" fmla="*/ 43 w 60"/>
                <a:gd name="T11" fmla="*/ 61 h 72"/>
                <a:gd name="T12" fmla="*/ 55 w 60"/>
                <a:gd name="T13" fmla="*/ 60 h 72"/>
                <a:gd name="T14" fmla="*/ 55 w 60"/>
                <a:gd name="T15" fmla="*/ 60 h 72"/>
                <a:gd name="T16" fmla="*/ 57 w 60"/>
                <a:gd name="T17" fmla="*/ 61 h 72"/>
                <a:gd name="T18" fmla="*/ 57 w 60"/>
                <a:gd name="T19" fmla="*/ 62 h 72"/>
                <a:gd name="T20" fmla="*/ 57 w 60"/>
                <a:gd name="T21" fmla="*/ 66 h 72"/>
                <a:gd name="T22" fmla="*/ 57 w 60"/>
                <a:gd name="T23" fmla="*/ 68 h 72"/>
                <a:gd name="T24" fmla="*/ 55 w 60"/>
                <a:gd name="T25" fmla="*/ 69 h 72"/>
                <a:gd name="T26" fmla="*/ 43 w 60"/>
                <a:gd name="T27" fmla="*/ 71 h 72"/>
                <a:gd name="T28" fmla="*/ 31 w 60"/>
                <a:gd name="T29" fmla="*/ 72 h 72"/>
                <a:gd name="T30" fmla="*/ 20 w 60"/>
                <a:gd name="T31" fmla="*/ 70 h 72"/>
                <a:gd name="T32" fmla="*/ 10 w 60"/>
                <a:gd name="T33" fmla="*/ 65 h 72"/>
                <a:gd name="T34" fmla="*/ 3 w 60"/>
                <a:gd name="T35" fmla="*/ 56 h 72"/>
                <a:gd name="T36" fmla="*/ 0 w 60"/>
                <a:gd name="T37" fmla="*/ 41 h 72"/>
                <a:gd name="T38" fmla="*/ 0 w 60"/>
                <a:gd name="T39" fmla="*/ 29 h 72"/>
                <a:gd name="T40" fmla="*/ 8 w 60"/>
                <a:gd name="T41" fmla="*/ 8 h 72"/>
                <a:gd name="T42" fmla="*/ 30 w 60"/>
                <a:gd name="T43" fmla="*/ 0 h 72"/>
                <a:gd name="T44" fmla="*/ 43 w 60"/>
                <a:gd name="T45" fmla="*/ 2 h 72"/>
                <a:gd name="T46" fmla="*/ 52 w 60"/>
                <a:gd name="T47" fmla="*/ 8 h 72"/>
                <a:gd name="T48" fmla="*/ 58 w 60"/>
                <a:gd name="T49" fmla="*/ 17 h 72"/>
                <a:gd name="T50" fmla="*/ 60 w 60"/>
                <a:gd name="T51" fmla="*/ 29 h 72"/>
                <a:gd name="T52" fmla="*/ 60 w 60"/>
                <a:gd name="T53" fmla="*/ 36 h 72"/>
                <a:gd name="T54" fmla="*/ 57 w 60"/>
                <a:gd name="T55" fmla="*/ 39 h 72"/>
                <a:gd name="T56" fmla="*/ 48 w 60"/>
                <a:gd name="T57" fmla="*/ 29 h 72"/>
                <a:gd name="T58" fmla="*/ 43 w 60"/>
                <a:gd name="T59" fmla="*/ 14 h 72"/>
                <a:gd name="T60" fmla="*/ 30 w 60"/>
                <a:gd name="T61" fmla="*/ 10 h 72"/>
                <a:gd name="T62" fmla="*/ 17 w 60"/>
                <a:gd name="T63" fmla="*/ 14 h 72"/>
                <a:gd name="T64" fmla="*/ 12 w 60"/>
                <a:gd name="T65" fmla="*/ 29 h 72"/>
                <a:gd name="T66" fmla="*/ 12 w 60"/>
                <a:gd name="T67" fmla="*/ 31 h 72"/>
                <a:gd name="T68" fmla="*/ 48 w 60"/>
                <a:gd name="T69" fmla="*/ 31 h 72"/>
                <a:gd name="T70" fmla="*/ 48 w 60"/>
                <a:gd name="T71" fmla="*/ 29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0" h="72">
                  <a:moveTo>
                    <a:pt x="57" y="39"/>
                  </a:moveTo>
                  <a:cubicBezTo>
                    <a:pt x="12" y="39"/>
                    <a:pt x="12" y="39"/>
                    <a:pt x="12" y="39"/>
                  </a:cubicBezTo>
                  <a:cubicBezTo>
                    <a:pt x="12" y="41"/>
                    <a:pt x="12" y="41"/>
                    <a:pt x="12" y="41"/>
                  </a:cubicBezTo>
                  <a:cubicBezTo>
                    <a:pt x="12" y="49"/>
                    <a:pt x="14" y="54"/>
                    <a:pt x="17" y="57"/>
                  </a:cubicBezTo>
                  <a:cubicBezTo>
                    <a:pt x="20" y="60"/>
                    <a:pt x="25" y="62"/>
                    <a:pt x="31" y="62"/>
                  </a:cubicBezTo>
                  <a:cubicBezTo>
                    <a:pt x="35" y="62"/>
                    <a:pt x="39" y="62"/>
                    <a:pt x="43" y="61"/>
                  </a:cubicBezTo>
                  <a:cubicBezTo>
                    <a:pt x="48" y="61"/>
                    <a:pt x="51" y="61"/>
                    <a:pt x="55" y="60"/>
                  </a:cubicBezTo>
                  <a:cubicBezTo>
                    <a:pt x="55" y="60"/>
                    <a:pt x="55" y="60"/>
                    <a:pt x="55" y="60"/>
                  </a:cubicBezTo>
                  <a:cubicBezTo>
                    <a:pt x="56" y="60"/>
                    <a:pt x="56" y="60"/>
                    <a:pt x="57" y="61"/>
                  </a:cubicBezTo>
                  <a:cubicBezTo>
                    <a:pt x="57" y="61"/>
                    <a:pt x="57" y="61"/>
                    <a:pt x="57" y="62"/>
                  </a:cubicBezTo>
                  <a:cubicBezTo>
                    <a:pt x="57" y="66"/>
                    <a:pt x="57" y="66"/>
                    <a:pt x="57" y="66"/>
                  </a:cubicBezTo>
                  <a:cubicBezTo>
                    <a:pt x="57" y="67"/>
                    <a:pt x="57" y="68"/>
                    <a:pt x="57" y="68"/>
                  </a:cubicBezTo>
                  <a:cubicBezTo>
                    <a:pt x="56" y="69"/>
                    <a:pt x="56" y="69"/>
                    <a:pt x="55" y="69"/>
                  </a:cubicBezTo>
                  <a:cubicBezTo>
                    <a:pt x="51" y="70"/>
                    <a:pt x="47" y="71"/>
                    <a:pt x="43" y="71"/>
                  </a:cubicBezTo>
                  <a:cubicBezTo>
                    <a:pt x="39" y="71"/>
                    <a:pt x="35" y="72"/>
                    <a:pt x="31" y="72"/>
                  </a:cubicBezTo>
                  <a:cubicBezTo>
                    <a:pt x="27" y="72"/>
                    <a:pt x="23" y="71"/>
                    <a:pt x="20" y="70"/>
                  </a:cubicBezTo>
                  <a:cubicBezTo>
                    <a:pt x="16" y="69"/>
                    <a:pt x="13" y="67"/>
                    <a:pt x="10" y="65"/>
                  </a:cubicBezTo>
                  <a:cubicBezTo>
                    <a:pt x="7" y="63"/>
                    <a:pt x="5" y="60"/>
                    <a:pt x="3" y="56"/>
                  </a:cubicBezTo>
                  <a:cubicBezTo>
                    <a:pt x="1" y="52"/>
                    <a:pt x="0" y="47"/>
                    <a:pt x="0" y="41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3" y="13"/>
                    <a:pt x="8" y="8"/>
                  </a:cubicBezTo>
                  <a:cubicBezTo>
                    <a:pt x="13" y="2"/>
                    <a:pt x="20" y="0"/>
                    <a:pt x="30" y="0"/>
                  </a:cubicBezTo>
                  <a:cubicBezTo>
                    <a:pt x="35" y="0"/>
                    <a:pt x="39" y="0"/>
                    <a:pt x="43" y="2"/>
                  </a:cubicBezTo>
                  <a:cubicBezTo>
                    <a:pt x="47" y="3"/>
                    <a:pt x="50" y="5"/>
                    <a:pt x="52" y="8"/>
                  </a:cubicBezTo>
                  <a:cubicBezTo>
                    <a:pt x="55" y="10"/>
                    <a:pt x="56" y="14"/>
                    <a:pt x="58" y="17"/>
                  </a:cubicBezTo>
                  <a:cubicBezTo>
                    <a:pt x="59" y="21"/>
                    <a:pt x="60" y="25"/>
                    <a:pt x="60" y="29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60" y="38"/>
                    <a:pt x="59" y="39"/>
                    <a:pt x="57" y="39"/>
                  </a:cubicBezTo>
                  <a:close/>
                  <a:moveTo>
                    <a:pt x="48" y="29"/>
                  </a:moveTo>
                  <a:cubicBezTo>
                    <a:pt x="48" y="22"/>
                    <a:pt x="46" y="17"/>
                    <a:pt x="43" y="14"/>
                  </a:cubicBezTo>
                  <a:cubicBezTo>
                    <a:pt x="40" y="11"/>
                    <a:pt x="36" y="10"/>
                    <a:pt x="30" y="10"/>
                  </a:cubicBezTo>
                  <a:cubicBezTo>
                    <a:pt x="24" y="10"/>
                    <a:pt x="20" y="11"/>
                    <a:pt x="17" y="14"/>
                  </a:cubicBezTo>
                  <a:cubicBezTo>
                    <a:pt x="14" y="18"/>
                    <a:pt x="12" y="23"/>
                    <a:pt x="12" y="29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48" y="31"/>
                    <a:pt x="48" y="31"/>
                    <a:pt x="48" y="31"/>
                  </a:cubicBezTo>
                  <a:lnTo>
                    <a:pt x="48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Freeform 260">
              <a:extLst>
                <a:ext uri="{FF2B5EF4-FFF2-40B4-BE49-F238E27FC236}">
                  <a16:creationId xmlns:a16="http://schemas.microsoft.com/office/drawing/2014/main" id="{99DF15AA-C9D1-4CA2-9AEA-7581D335B35E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5738" y="-2298700"/>
              <a:ext cx="147637" cy="219075"/>
            </a:xfrm>
            <a:custGeom>
              <a:avLst/>
              <a:gdLst>
                <a:gd name="T0" fmla="*/ 49 w 49"/>
                <a:gd name="T1" fmla="*/ 53 h 72"/>
                <a:gd name="T2" fmla="*/ 42 w 49"/>
                <a:gd name="T3" fmla="*/ 67 h 72"/>
                <a:gd name="T4" fmla="*/ 24 w 49"/>
                <a:gd name="T5" fmla="*/ 72 h 72"/>
                <a:gd name="T6" fmla="*/ 20 w 49"/>
                <a:gd name="T7" fmla="*/ 71 h 72"/>
                <a:gd name="T8" fmla="*/ 14 w 49"/>
                <a:gd name="T9" fmla="*/ 71 h 72"/>
                <a:gd name="T10" fmla="*/ 8 w 49"/>
                <a:gd name="T11" fmla="*/ 70 h 72"/>
                <a:gd name="T12" fmla="*/ 3 w 49"/>
                <a:gd name="T13" fmla="*/ 70 h 72"/>
                <a:gd name="T14" fmla="*/ 0 w 49"/>
                <a:gd name="T15" fmla="*/ 67 h 72"/>
                <a:gd name="T16" fmla="*/ 0 w 49"/>
                <a:gd name="T17" fmla="*/ 63 h 72"/>
                <a:gd name="T18" fmla="*/ 1 w 49"/>
                <a:gd name="T19" fmla="*/ 61 h 72"/>
                <a:gd name="T20" fmla="*/ 3 w 49"/>
                <a:gd name="T21" fmla="*/ 61 h 72"/>
                <a:gd name="T22" fmla="*/ 3 w 49"/>
                <a:gd name="T23" fmla="*/ 61 h 72"/>
                <a:gd name="T24" fmla="*/ 8 w 49"/>
                <a:gd name="T25" fmla="*/ 61 h 72"/>
                <a:gd name="T26" fmla="*/ 14 w 49"/>
                <a:gd name="T27" fmla="*/ 62 h 72"/>
                <a:gd name="T28" fmla="*/ 20 w 49"/>
                <a:gd name="T29" fmla="*/ 62 h 72"/>
                <a:gd name="T30" fmla="*/ 24 w 49"/>
                <a:gd name="T31" fmla="*/ 62 h 72"/>
                <a:gd name="T32" fmla="*/ 34 w 49"/>
                <a:gd name="T33" fmla="*/ 60 h 72"/>
                <a:gd name="T34" fmla="*/ 37 w 49"/>
                <a:gd name="T35" fmla="*/ 53 h 72"/>
                <a:gd name="T36" fmla="*/ 35 w 49"/>
                <a:gd name="T37" fmla="*/ 48 h 72"/>
                <a:gd name="T38" fmla="*/ 27 w 49"/>
                <a:gd name="T39" fmla="*/ 42 h 72"/>
                <a:gd name="T40" fmla="*/ 14 w 49"/>
                <a:gd name="T41" fmla="*/ 35 h 72"/>
                <a:gd name="T42" fmla="*/ 4 w 49"/>
                <a:gd name="T43" fmla="*/ 27 h 72"/>
                <a:gd name="T44" fmla="*/ 0 w 49"/>
                <a:gd name="T45" fmla="*/ 17 h 72"/>
                <a:gd name="T46" fmla="*/ 2 w 49"/>
                <a:gd name="T47" fmla="*/ 8 h 72"/>
                <a:gd name="T48" fmla="*/ 7 w 49"/>
                <a:gd name="T49" fmla="*/ 3 h 72"/>
                <a:gd name="T50" fmla="*/ 15 w 49"/>
                <a:gd name="T51" fmla="*/ 0 h 72"/>
                <a:gd name="T52" fmla="*/ 24 w 49"/>
                <a:gd name="T53" fmla="*/ 0 h 72"/>
                <a:gd name="T54" fmla="*/ 35 w 49"/>
                <a:gd name="T55" fmla="*/ 0 h 72"/>
                <a:gd name="T56" fmla="*/ 45 w 49"/>
                <a:gd name="T57" fmla="*/ 1 h 72"/>
                <a:gd name="T58" fmla="*/ 48 w 49"/>
                <a:gd name="T59" fmla="*/ 4 h 72"/>
                <a:gd name="T60" fmla="*/ 48 w 49"/>
                <a:gd name="T61" fmla="*/ 8 h 72"/>
                <a:gd name="T62" fmla="*/ 45 w 49"/>
                <a:gd name="T63" fmla="*/ 10 h 72"/>
                <a:gd name="T64" fmla="*/ 45 w 49"/>
                <a:gd name="T65" fmla="*/ 10 h 72"/>
                <a:gd name="T66" fmla="*/ 36 w 49"/>
                <a:gd name="T67" fmla="*/ 10 h 72"/>
                <a:gd name="T68" fmla="*/ 24 w 49"/>
                <a:gd name="T69" fmla="*/ 9 h 72"/>
                <a:gd name="T70" fmla="*/ 15 w 49"/>
                <a:gd name="T71" fmla="*/ 11 h 72"/>
                <a:gd name="T72" fmla="*/ 12 w 49"/>
                <a:gd name="T73" fmla="*/ 17 h 72"/>
                <a:gd name="T74" fmla="*/ 14 w 49"/>
                <a:gd name="T75" fmla="*/ 22 h 72"/>
                <a:gd name="T76" fmla="*/ 21 w 49"/>
                <a:gd name="T77" fmla="*/ 26 h 72"/>
                <a:gd name="T78" fmla="*/ 34 w 49"/>
                <a:gd name="T79" fmla="*/ 34 h 72"/>
                <a:gd name="T80" fmla="*/ 46 w 49"/>
                <a:gd name="T81" fmla="*/ 43 h 72"/>
                <a:gd name="T82" fmla="*/ 49 w 49"/>
                <a:gd name="T83" fmla="*/ 53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9" h="72">
                  <a:moveTo>
                    <a:pt x="49" y="53"/>
                  </a:moveTo>
                  <a:cubicBezTo>
                    <a:pt x="49" y="59"/>
                    <a:pt x="47" y="64"/>
                    <a:pt x="42" y="67"/>
                  </a:cubicBezTo>
                  <a:cubicBezTo>
                    <a:pt x="38" y="70"/>
                    <a:pt x="32" y="72"/>
                    <a:pt x="24" y="72"/>
                  </a:cubicBezTo>
                  <a:cubicBezTo>
                    <a:pt x="23" y="72"/>
                    <a:pt x="21" y="71"/>
                    <a:pt x="20" y="71"/>
                  </a:cubicBezTo>
                  <a:cubicBezTo>
                    <a:pt x="18" y="71"/>
                    <a:pt x="16" y="71"/>
                    <a:pt x="14" y="71"/>
                  </a:cubicBezTo>
                  <a:cubicBezTo>
                    <a:pt x="12" y="71"/>
                    <a:pt x="10" y="71"/>
                    <a:pt x="8" y="70"/>
                  </a:cubicBezTo>
                  <a:cubicBezTo>
                    <a:pt x="6" y="70"/>
                    <a:pt x="5" y="70"/>
                    <a:pt x="3" y="70"/>
                  </a:cubicBezTo>
                  <a:cubicBezTo>
                    <a:pt x="1" y="69"/>
                    <a:pt x="0" y="68"/>
                    <a:pt x="0" y="67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2"/>
                    <a:pt x="0" y="62"/>
                    <a:pt x="1" y="61"/>
                  </a:cubicBezTo>
                  <a:cubicBezTo>
                    <a:pt x="1" y="61"/>
                    <a:pt x="2" y="61"/>
                    <a:pt x="3" y="61"/>
                  </a:cubicBezTo>
                  <a:cubicBezTo>
                    <a:pt x="3" y="61"/>
                    <a:pt x="3" y="61"/>
                    <a:pt x="3" y="61"/>
                  </a:cubicBezTo>
                  <a:cubicBezTo>
                    <a:pt x="5" y="61"/>
                    <a:pt x="6" y="61"/>
                    <a:pt x="8" y="61"/>
                  </a:cubicBezTo>
                  <a:cubicBezTo>
                    <a:pt x="10" y="61"/>
                    <a:pt x="12" y="62"/>
                    <a:pt x="14" y="62"/>
                  </a:cubicBezTo>
                  <a:cubicBezTo>
                    <a:pt x="16" y="62"/>
                    <a:pt x="18" y="62"/>
                    <a:pt x="20" y="62"/>
                  </a:cubicBezTo>
                  <a:cubicBezTo>
                    <a:pt x="21" y="62"/>
                    <a:pt x="23" y="62"/>
                    <a:pt x="24" y="62"/>
                  </a:cubicBezTo>
                  <a:cubicBezTo>
                    <a:pt x="28" y="62"/>
                    <a:pt x="32" y="61"/>
                    <a:pt x="34" y="60"/>
                  </a:cubicBezTo>
                  <a:cubicBezTo>
                    <a:pt x="36" y="59"/>
                    <a:pt x="37" y="57"/>
                    <a:pt x="37" y="53"/>
                  </a:cubicBezTo>
                  <a:cubicBezTo>
                    <a:pt x="37" y="51"/>
                    <a:pt x="37" y="49"/>
                    <a:pt x="35" y="48"/>
                  </a:cubicBezTo>
                  <a:cubicBezTo>
                    <a:pt x="34" y="47"/>
                    <a:pt x="31" y="45"/>
                    <a:pt x="27" y="42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0" y="32"/>
                    <a:pt x="6" y="30"/>
                    <a:pt x="4" y="27"/>
                  </a:cubicBezTo>
                  <a:cubicBezTo>
                    <a:pt x="1" y="24"/>
                    <a:pt x="0" y="21"/>
                    <a:pt x="0" y="17"/>
                  </a:cubicBezTo>
                  <a:cubicBezTo>
                    <a:pt x="0" y="13"/>
                    <a:pt x="1" y="11"/>
                    <a:pt x="2" y="8"/>
                  </a:cubicBezTo>
                  <a:cubicBezTo>
                    <a:pt x="3" y="6"/>
                    <a:pt x="5" y="5"/>
                    <a:pt x="7" y="3"/>
                  </a:cubicBezTo>
                  <a:cubicBezTo>
                    <a:pt x="9" y="2"/>
                    <a:pt x="12" y="1"/>
                    <a:pt x="15" y="0"/>
                  </a:cubicBezTo>
                  <a:cubicBezTo>
                    <a:pt x="18" y="0"/>
                    <a:pt x="21" y="0"/>
                    <a:pt x="24" y="0"/>
                  </a:cubicBezTo>
                  <a:cubicBezTo>
                    <a:pt x="28" y="0"/>
                    <a:pt x="32" y="0"/>
                    <a:pt x="35" y="0"/>
                  </a:cubicBezTo>
                  <a:cubicBezTo>
                    <a:pt x="39" y="0"/>
                    <a:pt x="42" y="1"/>
                    <a:pt x="45" y="1"/>
                  </a:cubicBezTo>
                  <a:cubicBezTo>
                    <a:pt x="47" y="2"/>
                    <a:pt x="48" y="2"/>
                    <a:pt x="48" y="4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48" y="10"/>
                    <a:pt x="47" y="10"/>
                    <a:pt x="45" y="10"/>
                  </a:cubicBezTo>
                  <a:cubicBezTo>
                    <a:pt x="45" y="10"/>
                    <a:pt x="45" y="10"/>
                    <a:pt x="45" y="10"/>
                  </a:cubicBezTo>
                  <a:cubicBezTo>
                    <a:pt x="43" y="10"/>
                    <a:pt x="40" y="10"/>
                    <a:pt x="36" y="10"/>
                  </a:cubicBezTo>
                  <a:cubicBezTo>
                    <a:pt x="32" y="9"/>
                    <a:pt x="28" y="9"/>
                    <a:pt x="24" y="9"/>
                  </a:cubicBezTo>
                  <a:cubicBezTo>
                    <a:pt x="21" y="9"/>
                    <a:pt x="18" y="10"/>
                    <a:pt x="15" y="11"/>
                  </a:cubicBezTo>
                  <a:cubicBezTo>
                    <a:pt x="13" y="11"/>
                    <a:pt x="12" y="13"/>
                    <a:pt x="12" y="17"/>
                  </a:cubicBezTo>
                  <a:cubicBezTo>
                    <a:pt x="12" y="19"/>
                    <a:pt x="13" y="20"/>
                    <a:pt x="14" y="22"/>
                  </a:cubicBezTo>
                  <a:cubicBezTo>
                    <a:pt x="16" y="23"/>
                    <a:pt x="18" y="25"/>
                    <a:pt x="21" y="26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40" y="37"/>
                    <a:pt x="44" y="40"/>
                    <a:pt x="46" y="43"/>
                  </a:cubicBezTo>
                  <a:cubicBezTo>
                    <a:pt x="48" y="46"/>
                    <a:pt x="49" y="49"/>
                    <a:pt x="49" y="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Rectangle 261">
              <a:extLst>
                <a:ext uri="{FF2B5EF4-FFF2-40B4-BE49-F238E27FC236}">
                  <a16:creationId xmlns:a16="http://schemas.microsoft.com/office/drawing/2014/main" id="{0302B77C-CA7F-4E16-8609-8C34431462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10075" y="-2116138"/>
              <a:ext cx="165100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Freeform 262">
              <a:extLst>
                <a:ext uri="{FF2B5EF4-FFF2-40B4-BE49-F238E27FC236}">
                  <a16:creationId xmlns:a16="http://schemas.microsoft.com/office/drawing/2014/main" id="{7962BEA8-8CE2-4E19-AC59-9F2811A576F1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9600" y="-2374900"/>
              <a:ext cx="168275" cy="292100"/>
            </a:xfrm>
            <a:custGeom>
              <a:avLst/>
              <a:gdLst>
                <a:gd name="T0" fmla="*/ 7 w 56"/>
                <a:gd name="T1" fmla="*/ 5 h 96"/>
                <a:gd name="T2" fmla="*/ 30 w 56"/>
                <a:gd name="T3" fmla="*/ 0 h 96"/>
                <a:gd name="T4" fmla="*/ 41 w 56"/>
                <a:gd name="T5" fmla="*/ 0 h 96"/>
                <a:gd name="T6" fmla="*/ 52 w 56"/>
                <a:gd name="T7" fmla="*/ 2 h 96"/>
                <a:gd name="T8" fmla="*/ 54 w 56"/>
                <a:gd name="T9" fmla="*/ 3 h 96"/>
                <a:gd name="T10" fmla="*/ 54 w 56"/>
                <a:gd name="T11" fmla="*/ 5 h 96"/>
                <a:gd name="T12" fmla="*/ 54 w 56"/>
                <a:gd name="T13" fmla="*/ 9 h 96"/>
                <a:gd name="T14" fmla="*/ 52 w 56"/>
                <a:gd name="T15" fmla="*/ 12 h 96"/>
                <a:gd name="T16" fmla="*/ 52 w 56"/>
                <a:gd name="T17" fmla="*/ 12 h 96"/>
                <a:gd name="T18" fmla="*/ 41 w 56"/>
                <a:gd name="T19" fmla="*/ 10 h 96"/>
                <a:gd name="T20" fmla="*/ 30 w 56"/>
                <a:gd name="T21" fmla="*/ 10 h 96"/>
                <a:gd name="T22" fmla="*/ 15 w 56"/>
                <a:gd name="T23" fmla="*/ 13 h 96"/>
                <a:gd name="T24" fmla="*/ 11 w 56"/>
                <a:gd name="T25" fmla="*/ 23 h 96"/>
                <a:gd name="T26" fmla="*/ 11 w 56"/>
                <a:gd name="T27" fmla="*/ 28 h 96"/>
                <a:gd name="T28" fmla="*/ 13 w 56"/>
                <a:gd name="T29" fmla="*/ 32 h 96"/>
                <a:gd name="T30" fmla="*/ 17 w 56"/>
                <a:gd name="T31" fmla="*/ 36 h 96"/>
                <a:gd name="T32" fmla="*/ 24 w 56"/>
                <a:gd name="T33" fmla="*/ 41 h 96"/>
                <a:gd name="T34" fmla="*/ 36 w 56"/>
                <a:gd name="T35" fmla="*/ 49 h 96"/>
                <a:gd name="T36" fmla="*/ 51 w 56"/>
                <a:gd name="T37" fmla="*/ 65 h 96"/>
                <a:gd name="T38" fmla="*/ 56 w 56"/>
                <a:gd name="T39" fmla="*/ 83 h 96"/>
                <a:gd name="T40" fmla="*/ 56 w 56"/>
                <a:gd name="T41" fmla="*/ 93 h 96"/>
                <a:gd name="T42" fmla="*/ 55 w 56"/>
                <a:gd name="T43" fmla="*/ 95 h 96"/>
                <a:gd name="T44" fmla="*/ 53 w 56"/>
                <a:gd name="T45" fmla="*/ 96 h 96"/>
                <a:gd name="T46" fmla="*/ 3 w 56"/>
                <a:gd name="T47" fmla="*/ 96 h 96"/>
                <a:gd name="T48" fmla="*/ 2 w 56"/>
                <a:gd name="T49" fmla="*/ 95 h 96"/>
                <a:gd name="T50" fmla="*/ 1 w 56"/>
                <a:gd name="T51" fmla="*/ 93 h 96"/>
                <a:gd name="T52" fmla="*/ 1 w 56"/>
                <a:gd name="T53" fmla="*/ 88 h 96"/>
                <a:gd name="T54" fmla="*/ 2 w 56"/>
                <a:gd name="T55" fmla="*/ 86 h 96"/>
                <a:gd name="T56" fmla="*/ 3 w 56"/>
                <a:gd name="T57" fmla="*/ 85 h 96"/>
                <a:gd name="T58" fmla="*/ 46 w 56"/>
                <a:gd name="T59" fmla="*/ 85 h 96"/>
                <a:gd name="T60" fmla="*/ 46 w 56"/>
                <a:gd name="T61" fmla="*/ 83 h 96"/>
                <a:gd name="T62" fmla="*/ 45 w 56"/>
                <a:gd name="T63" fmla="*/ 75 h 96"/>
                <a:gd name="T64" fmla="*/ 42 w 56"/>
                <a:gd name="T65" fmla="*/ 69 h 96"/>
                <a:gd name="T66" fmla="*/ 37 w 56"/>
                <a:gd name="T67" fmla="*/ 62 h 96"/>
                <a:gd name="T68" fmla="*/ 28 w 56"/>
                <a:gd name="T69" fmla="*/ 56 h 96"/>
                <a:gd name="T70" fmla="*/ 16 w 56"/>
                <a:gd name="T71" fmla="*/ 47 h 96"/>
                <a:gd name="T72" fmla="*/ 3 w 56"/>
                <a:gd name="T73" fmla="*/ 36 h 96"/>
                <a:gd name="T74" fmla="*/ 0 w 56"/>
                <a:gd name="T75" fmla="*/ 23 h 96"/>
                <a:gd name="T76" fmla="*/ 7 w 56"/>
                <a:gd name="T77" fmla="*/ 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6" h="96">
                  <a:moveTo>
                    <a:pt x="7" y="5"/>
                  </a:moveTo>
                  <a:cubicBezTo>
                    <a:pt x="12" y="2"/>
                    <a:pt x="19" y="0"/>
                    <a:pt x="30" y="0"/>
                  </a:cubicBezTo>
                  <a:cubicBezTo>
                    <a:pt x="33" y="0"/>
                    <a:pt x="37" y="0"/>
                    <a:pt x="41" y="0"/>
                  </a:cubicBezTo>
                  <a:cubicBezTo>
                    <a:pt x="45" y="1"/>
                    <a:pt x="49" y="1"/>
                    <a:pt x="52" y="2"/>
                  </a:cubicBezTo>
                  <a:cubicBezTo>
                    <a:pt x="53" y="3"/>
                    <a:pt x="53" y="3"/>
                    <a:pt x="54" y="3"/>
                  </a:cubicBezTo>
                  <a:cubicBezTo>
                    <a:pt x="54" y="3"/>
                    <a:pt x="54" y="4"/>
                    <a:pt x="54" y="5"/>
                  </a:cubicBezTo>
                  <a:cubicBezTo>
                    <a:pt x="54" y="9"/>
                    <a:pt x="54" y="9"/>
                    <a:pt x="54" y="9"/>
                  </a:cubicBezTo>
                  <a:cubicBezTo>
                    <a:pt x="54" y="11"/>
                    <a:pt x="54" y="12"/>
                    <a:pt x="52" y="12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48" y="11"/>
                    <a:pt x="45" y="11"/>
                    <a:pt x="41" y="10"/>
                  </a:cubicBezTo>
                  <a:cubicBezTo>
                    <a:pt x="37" y="10"/>
                    <a:pt x="33" y="10"/>
                    <a:pt x="30" y="10"/>
                  </a:cubicBezTo>
                  <a:cubicBezTo>
                    <a:pt x="23" y="10"/>
                    <a:pt x="18" y="11"/>
                    <a:pt x="15" y="13"/>
                  </a:cubicBezTo>
                  <a:cubicBezTo>
                    <a:pt x="12" y="15"/>
                    <a:pt x="11" y="18"/>
                    <a:pt x="11" y="23"/>
                  </a:cubicBezTo>
                  <a:cubicBezTo>
                    <a:pt x="11" y="25"/>
                    <a:pt x="11" y="26"/>
                    <a:pt x="11" y="28"/>
                  </a:cubicBezTo>
                  <a:cubicBezTo>
                    <a:pt x="12" y="29"/>
                    <a:pt x="12" y="31"/>
                    <a:pt x="13" y="32"/>
                  </a:cubicBezTo>
                  <a:cubicBezTo>
                    <a:pt x="14" y="33"/>
                    <a:pt x="16" y="35"/>
                    <a:pt x="17" y="36"/>
                  </a:cubicBezTo>
                  <a:cubicBezTo>
                    <a:pt x="19" y="37"/>
                    <a:pt x="21" y="39"/>
                    <a:pt x="24" y="41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43" y="54"/>
                    <a:pt x="48" y="59"/>
                    <a:pt x="51" y="65"/>
                  </a:cubicBezTo>
                  <a:cubicBezTo>
                    <a:pt x="54" y="70"/>
                    <a:pt x="56" y="76"/>
                    <a:pt x="56" y="83"/>
                  </a:cubicBezTo>
                  <a:cubicBezTo>
                    <a:pt x="56" y="93"/>
                    <a:pt x="56" y="93"/>
                    <a:pt x="56" y="93"/>
                  </a:cubicBezTo>
                  <a:cubicBezTo>
                    <a:pt x="56" y="94"/>
                    <a:pt x="56" y="94"/>
                    <a:pt x="55" y="95"/>
                  </a:cubicBezTo>
                  <a:cubicBezTo>
                    <a:pt x="55" y="95"/>
                    <a:pt x="54" y="96"/>
                    <a:pt x="53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3" y="96"/>
                    <a:pt x="2" y="95"/>
                    <a:pt x="2" y="95"/>
                  </a:cubicBezTo>
                  <a:cubicBezTo>
                    <a:pt x="1" y="94"/>
                    <a:pt x="1" y="94"/>
                    <a:pt x="1" y="93"/>
                  </a:cubicBezTo>
                  <a:cubicBezTo>
                    <a:pt x="1" y="88"/>
                    <a:pt x="1" y="88"/>
                    <a:pt x="1" y="88"/>
                  </a:cubicBezTo>
                  <a:cubicBezTo>
                    <a:pt x="1" y="87"/>
                    <a:pt x="1" y="86"/>
                    <a:pt x="2" y="86"/>
                  </a:cubicBezTo>
                  <a:cubicBezTo>
                    <a:pt x="2" y="86"/>
                    <a:pt x="3" y="85"/>
                    <a:pt x="3" y="85"/>
                  </a:cubicBezTo>
                  <a:cubicBezTo>
                    <a:pt x="46" y="85"/>
                    <a:pt x="46" y="85"/>
                    <a:pt x="46" y="85"/>
                  </a:cubicBezTo>
                  <a:cubicBezTo>
                    <a:pt x="46" y="83"/>
                    <a:pt x="46" y="83"/>
                    <a:pt x="46" y="83"/>
                  </a:cubicBezTo>
                  <a:cubicBezTo>
                    <a:pt x="46" y="80"/>
                    <a:pt x="46" y="77"/>
                    <a:pt x="45" y="75"/>
                  </a:cubicBezTo>
                  <a:cubicBezTo>
                    <a:pt x="44" y="73"/>
                    <a:pt x="44" y="71"/>
                    <a:pt x="42" y="69"/>
                  </a:cubicBezTo>
                  <a:cubicBezTo>
                    <a:pt x="41" y="66"/>
                    <a:pt x="39" y="64"/>
                    <a:pt x="37" y="62"/>
                  </a:cubicBezTo>
                  <a:cubicBezTo>
                    <a:pt x="35" y="60"/>
                    <a:pt x="32" y="58"/>
                    <a:pt x="28" y="56"/>
                  </a:cubicBezTo>
                  <a:cubicBezTo>
                    <a:pt x="16" y="47"/>
                    <a:pt x="16" y="47"/>
                    <a:pt x="16" y="47"/>
                  </a:cubicBezTo>
                  <a:cubicBezTo>
                    <a:pt x="10" y="43"/>
                    <a:pt x="6" y="39"/>
                    <a:pt x="3" y="36"/>
                  </a:cubicBezTo>
                  <a:cubicBezTo>
                    <a:pt x="1" y="32"/>
                    <a:pt x="0" y="28"/>
                    <a:pt x="0" y="23"/>
                  </a:cubicBezTo>
                  <a:cubicBezTo>
                    <a:pt x="0" y="15"/>
                    <a:pt x="2" y="9"/>
                    <a:pt x="7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96681360-99F0-411F-872E-D08276548030}"/>
              </a:ext>
            </a:extLst>
          </p:cNvPr>
          <p:cNvGrpSpPr/>
          <p:nvPr/>
        </p:nvGrpSpPr>
        <p:grpSpPr>
          <a:xfrm>
            <a:off x="541278" y="602607"/>
            <a:ext cx="8477175" cy="5243517"/>
            <a:chOff x="500751" y="632830"/>
            <a:chExt cx="8477175" cy="5243517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673714BC-1D6D-47E8-BDBC-A4EE1D7C9B24}"/>
                </a:ext>
              </a:extLst>
            </p:cNvPr>
            <p:cNvSpPr/>
            <p:nvPr/>
          </p:nvSpPr>
          <p:spPr>
            <a:xfrm>
              <a:off x="500751" y="632830"/>
              <a:ext cx="3433074" cy="984885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083D65"/>
                  </a:solidFill>
                  <a:effectLst/>
                  <a:uLnTx/>
                  <a:uFillTx/>
                  <a:latin typeface="Segoe UI" panose="020B0502040204020203" pitchFamily="34" charset="0"/>
                  <a:ea typeface="Open Sans" panose="020B0606030504020204" pitchFamily="34" charset="0"/>
                  <a:cs typeface="Segoe UI" panose="020B0502040204020203" pitchFamily="34" charset="0"/>
                </a:rPr>
                <a:t>LET US DO YOUR</a:t>
              </a:r>
              <a:r>
                <a:rPr kumimoji="0" lang="id-ID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083D65"/>
                  </a:solidFill>
                  <a:effectLst/>
                  <a:uLnTx/>
                  <a:uFillTx/>
                  <a:latin typeface="Segoe UI" panose="020B0502040204020203" pitchFamily="34" charset="0"/>
                  <a:ea typeface="Open Sans" panose="020B0606030504020204" pitchFamily="34" charset="0"/>
                  <a:cs typeface="Segoe UI" panose="020B0502040204020203" pitchFamily="34" charset="0"/>
                </a:rPr>
                <a:t> </a:t>
              </a:r>
              <a:r>
                <a:rPr kumimoji="0" lang="en-US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083D65"/>
                  </a:solidFill>
                  <a:effectLst/>
                  <a:uLnTx/>
                  <a:uFillTx/>
                  <a:latin typeface="Segoe UI" panose="020B0502040204020203" pitchFamily="34" charset="0"/>
                  <a:ea typeface="Open Sans" panose="020B0606030504020204" pitchFamily="34" charset="0"/>
                  <a:cs typeface="Segoe UI" panose="020B0502040204020203" pitchFamily="34" charset="0"/>
                </a:rPr>
                <a:t>PRESENTATION</a:t>
              </a:r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31FD8C54-4C3F-44EA-9673-BD480EC120A6}"/>
                </a:ext>
              </a:extLst>
            </p:cNvPr>
            <p:cNvGrpSpPr/>
            <p:nvPr/>
          </p:nvGrpSpPr>
          <p:grpSpPr>
            <a:xfrm>
              <a:off x="508143" y="1305921"/>
              <a:ext cx="8469783" cy="4570426"/>
              <a:chOff x="543826" y="1145140"/>
              <a:chExt cx="8469783" cy="4570426"/>
            </a:xfrm>
          </p:grpSpPr>
          <p:grpSp>
            <p:nvGrpSpPr>
              <p:cNvPr id="3" name="Group 2">
                <a:extLst>
                  <a:ext uri="{FF2B5EF4-FFF2-40B4-BE49-F238E27FC236}">
                    <a16:creationId xmlns:a16="http://schemas.microsoft.com/office/drawing/2014/main" id="{5F6FE9F3-136B-4F29-A889-4AAB396D1E1F}"/>
                  </a:ext>
                </a:extLst>
              </p:cNvPr>
              <p:cNvGrpSpPr/>
              <p:nvPr/>
            </p:nvGrpSpPr>
            <p:grpSpPr>
              <a:xfrm>
                <a:off x="4113015" y="1145140"/>
                <a:ext cx="4900594" cy="2627866"/>
                <a:chOff x="4113015" y="1061247"/>
                <a:chExt cx="4900594" cy="2627866"/>
              </a:xfrm>
            </p:grpSpPr>
            <p:grpSp>
              <p:nvGrpSpPr>
                <p:cNvPr id="69" name="Group 68">
                  <a:extLst>
                    <a:ext uri="{FF2B5EF4-FFF2-40B4-BE49-F238E27FC236}">
                      <a16:creationId xmlns:a16="http://schemas.microsoft.com/office/drawing/2014/main" id="{6648EF4C-43CD-4198-B785-FE90BCC4C014}"/>
                    </a:ext>
                  </a:extLst>
                </p:cNvPr>
                <p:cNvGrpSpPr/>
                <p:nvPr/>
              </p:nvGrpSpPr>
              <p:grpSpPr>
                <a:xfrm>
                  <a:off x="4124564" y="3402852"/>
                  <a:ext cx="805870" cy="286259"/>
                  <a:chOff x="2127063" y="2542759"/>
                  <a:chExt cx="454893" cy="161585"/>
                </a:xfrm>
              </p:grpSpPr>
              <p:sp>
                <p:nvSpPr>
                  <p:cNvPr id="66" name="Rectangle: Top Corners Rounded 65">
                    <a:extLst>
                      <a:ext uri="{FF2B5EF4-FFF2-40B4-BE49-F238E27FC236}">
                        <a16:creationId xmlns:a16="http://schemas.microsoft.com/office/drawing/2014/main" id="{937A599E-1C3F-49D9-8D7B-8EAE63CCB712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2273717" y="2396105"/>
                    <a:ext cx="161585" cy="454893"/>
                  </a:xfrm>
                  <a:prstGeom prst="round2SameRect">
                    <a:avLst>
                      <a:gd name="adj1" fmla="val 46104"/>
                      <a:gd name="adj2" fmla="val 0"/>
                    </a:avLst>
                  </a:prstGeom>
                  <a:solidFill>
                    <a:srgbClr val="083D65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7" name="TextBox 66">
                    <a:extLst>
                      <a:ext uri="{FF2B5EF4-FFF2-40B4-BE49-F238E27FC236}">
                        <a16:creationId xmlns:a16="http://schemas.microsoft.com/office/drawing/2014/main" id="{6831C2E5-3D29-449F-BA5C-32EFE486EF15}"/>
                      </a:ext>
                    </a:extLst>
                  </p:cNvPr>
                  <p:cNvSpPr txBox="1"/>
                  <p:nvPr/>
                </p:nvSpPr>
                <p:spPr>
                  <a:xfrm>
                    <a:off x="2185701" y="2543045"/>
                    <a:ext cx="354791" cy="138985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id-ID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rPr>
                      <a:t>after</a:t>
                    </a:r>
                    <a:endParaRPr kumimoji="0" 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71" name="Group 70">
                  <a:extLst>
                    <a:ext uri="{FF2B5EF4-FFF2-40B4-BE49-F238E27FC236}">
                      <a16:creationId xmlns:a16="http://schemas.microsoft.com/office/drawing/2014/main" id="{8CC0C473-AA14-4231-9540-A8C8ED2E9DBA}"/>
                    </a:ext>
                  </a:extLst>
                </p:cNvPr>
                <p:cNvGrpSpPr/>
                <p:nvPr/>
              </p:nvGrpSpPr>
              <p:grpSpPr>
                <a:xfrm>
                  <a:off x="4113015" y="1061248"/>
                  <a:ext cx="1031810" cy="286259"/>
                  <a:chOff x="4298082" y="1214613"/>
                  <a:chExt cx="454893" cy="161585"/>
                </a:xfrm>
              </p:grpSpPr>
              <p:sp>
                <p:nvSpPr>
                  <p:cNvPr id="72" name="Rectangle: Top Corners Rounded 71">
                    <a:extLst>
                      <a:ext uri="{FF2B5EF4-FFF2-40B4-BE49-F238E27FC236}">
                        <a16:creationId xmlns:a16="http://schemas.microsoft.com/office/drawing/2014/main" id="{F9F599E6-86AE-4B41-BC36-8002888C50B5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4444736" y="1067959"/>
                    <a:ext cx="161585" cy="454893"/>
                  </a:xfrm>
                  <a:prstGeom prst="round2SameRect">
                    <a:avLst>
                      <a:gd name="adj1" fmla="val 50000"/>
                      <a:gd name="adj2" fmla="val 0"/>
                    </a:avLst>
                  </a:prstGeom>
                  <a:solidFill>
                    <a:schemeClr val="bg1">
                      <a:lumMod val="6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3" name="TextBox 72">
                    <a:extLst>
                      <a:ext uri="{FF2B5EF4-FFF2-40B4-BE49-F238E27FC236}">
                        <a16:creationId xmlns:a16="http://schemas.microsoft.com/office/drawing/2014/main" id="{E1332D08-1F40-4CC7-8BCA-68D3DC5E6DB8}"/>
                      </a:ext>
                    </a:extLst>
                  </p:cNvPr>
                  <p:cNvSpPr txBox="1"/>
                  <p:nvPr/>
                </p:nvSpPr>
                <p:spPr>
                  <a:xfrm>
                    <a:off x="4348971" y="1214614"/>
                    <a:ext cx="354791" cy="138985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id-ID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rPr>
                      <a:t>before</a:t>
                    </a:r>
                  </a:p>
                </p:txBody>
              </p:sp>
            </p:grpSp>
            <p:grpSp>
              <p:nvGrpSpPr>
                <p:cNvPr id="74" name="Group 73">
                  <a:extLst>
                    <a:ext uri="{FF2B5EF4-FFF2-40B4-BE49-F238E27FC236}">
                      <a16:creationId xmlns:a16="http://schemas.microsoft.com/office/drawing/2014/main" id="{AFCE1AAA-A2FB-4541-9212-AB9ECB76A884}"/>
                    </a:ext>
                  </a:extLst>
                </p:cNvPr>
                <p:cNvGrpSpPr/>
                <p:nvPr/>
              </p:nvGrpSpPr>
              <p:grpSpPr>
                <a:xfrm>
                  <a:off x="7959816" y="3402854"/>
                  <a:ext cx="805870" cy="286259"/>
                  <a:chOff x="4291964" y="1194029"/>
                  <a:chExt cx="454893" cy="161585"/>
                </a:xfrm>
              </p:grpSpPr>
              <p:sp>
                <p:nvSpPr>
                  <p:cNvPr id="75" name="Rectangle: Top Corners Rounded 74">
                    <a:extLst>
                      <a:ext uri="{FF2B5EF4-FFF2-40B4-BE49-F238E27FC236}">
                        <a16:creationId xmlns:a16="http://schemas.microsoft.com/office/drawing/2014/main" id="{D996E70A-86BD-46A8-899B-A55834A42F2F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4438618" y="1047375"/>
                    <a:ext cx="161585" cy="454893"/>
                  </a:xfrm>
                  <a:prstGeom prst="round2SameRect">
                    <a:avLst>
                      <a:gd name="adj1" fmla="val 50000"/>
                      <a:gd name="adj2" fmla="val 0"/>
                    </a:avLst>
                  </a:prstGeom>
                  <a:solidFill>
                    <a:srgbClr val="083D65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6" name="TextBox 75">
                    <a:extLst>
                      <a:ext uri="{FF2B5EF4-FFF2-40B4-BE49-F238E27FC236}">
                        <a16:creationId xmlns:a16="http://schemas.microsoft.com/office/drawing/2014/main" id="{9879E702-100F-49F1-9D79-29CAA7D06576}"/>
                      </a:ext>
                    </a:extLst>
                  </p:cNvPr>
                  <p:cNvSpPr txBox="1"/>
                  <p:nvPr/>
                </p:nvSpPr>
                <p:spPr>
                  <a:xfrm>
                    <a:off x="4345574" y="1200327"/>
                    <a:ext cx="354791" cy="138985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id-ID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rPr>
                      <a:t>after</a:t>
                    </a:r>
                    <a:endParaRPr kumimoji="0" 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77" name="Group 76">
                  <a:extLst>
                    <a:ext uri="{FF2B5EF4-FFF2-40B4-BE49-F238E27FC236}">
                      <a16:creationId xmlns:a16="http://schemas.microsoft.com/office/drawing/2014/main" id="{9BDD2E8E-80FE-4EF1-A6EA-68EEB6E069F7}"/>
                    </a:ext>
                  </a:extLst>
                </p:cNvPr>
                <p:cNvGrpSpPr/>
                <p:nvPr/>
              </p:nvGrpSpPr>
              <p:grpSpPr>
                <a:xfrm>
                  <a:off x="7981799" y="1061247"/>
                  <a:ext cx="1031810" cy="286259"/>
                  <a:chOff x="6003709" y="-127741"/>
                  <a:chExt cx="454893" cy="161585"/>
                </a:xfrm>
              </p:grpSpPr>
              <p:sp>
                <p:nvSpPr>
                  <p:cNvPr id="78" name="Rectangle: Top Corners Rounded 77">
                    <a:extLst>
                      <a:ext uri="{FF2B5EF4-FFF2-40B4-BE49-F238E27FC236}">
                        <a16:creationId xmlns:a16="http://schemas.microsoft.com/office/drawing/2014/main" id="{9D683C2B-0854-4DB1-BB80-EFBFAF984346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6150363" y="-274395"/>
                    <a:ext cx="161585" cy="454893"/>
                  </a:xfrm>
                  <a:prstGeom prst="round2SameRect">
                    <a:avLst>
                      <a:gd name="adj1" fmla="val 50000"/>
                      <a:gd name="adj2" fmla="val 0"/>
                    </a:avLst>
                  </a:prstGeom>
                  <a:solidFill>
                    <a:schemeClr val="bg1">
                      <a:lumMod val="6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9" name="TextBox 78">
                    <a:extLst>
                      <a:ext uri="{FF2B5EF4-FFF2-40B4-BE49-F238E27FC236}">
                        <a16:creationId xmlns:a16="http://schemas.microsoft.com/office/drawing/2014/main" id="{7CDEE80E-DD26-44BB-AFC3-1DB8F5430D75}"/>
                      </a:ext>
                    </a:extLst>
                  </p:cNvPr>
                  <p:cNvSpPr txBox="1"/>
                  <p:nvPr/>
                </p:nvSpPr>
                <p:spPr>
                  <a:xfrm>
                    <a:off x="6054598" y="-123378"/>
                    <a:ext cx="354791" cy="138985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id-ID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rPr>
                      <a:t>before</a:t>
                    </a:r>
                    <a:endParaRPr kumimoji="0" 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5" name="Group 4">
                <a:extLst>
                  <a:ext uri="{FF2B5EF4-FFF2-40B4-BE49-F238E27FC236}">
                    <a16:creationId xmlns:a16="http://schemas.microsoft.com/office/drawing/2014/main" id="{4F978E2A-B2C5-420B-945F-A53B8B5E9206}"/>
                  </a:ext>
                </a:extLst>
              </p:cNvPr>
              <p:cNvGrpSpPr/>
              <p:nvPr/>
            </p:nvGrpSpPr>
            <p:grpSpPr>
              <a:xfrm>
                <a:off x="543826" y="1742165"/>
                <a:ext cx="1818153" cy="576263"/>
                <a:chOff x="617538" y="1927225"/>
                <a:chExt cx="1818153" cy="576263"/>
              </a:xfrm>
            </p:grpSpPr>
            <p:grpSp>
              <p:nvGrpSpPr>
                <p:cNvPr id="6" name="Group 5">
                  <a:extLst>
                    <a:ext uri="{FF2B5EF4-FFF2-40B4-BE49-F238E27FC236}">
                      <a16:creationId xmlns:a16="http://schemas.microsoft.com/office/drawing/2014/main" id="{1DCE930A-08F2-4BA3-86B8-09331FBF8E51}"/>
                    </a:ext>
                  </a:extLst>
                </p:cNvPr>
                <p:cNvGrpSpPr/>
                <p:nvPr/>
              </p:nvGrpSpPr>
              <p:grpSpPr>
                <a:xfrm>
                  <a:off x="1385353" y="1985477"/>
                  <a:ext cx="1050338" cy="459757"/>
                  <a:chOff x="1302338" y="1896979"/>
                  <a:chExt cx="1050338" cy="459757"/>
                </a:xfrm>
              </p:grpSpPr>
              <p:sp>
                <p:nvSpPr>
                  <p:cNvPr id="16" name="Rectangle 15">
                    <a:extLst>
                      <a:ext uri="{FF2B5EF4-FFF2-40B4-BE49-F238E27FC236}">
                        <a16:creationId xmlns:a16="http://schemas.microsoft.com/office/drawing/2014/main" id="{5BC30E7C-5C96-4416-A4EC-46663B83EDE4}"/>
                      </a:ext>
                    </a:extLst>
                  </p:cNvPr>
                  <p:cNvSpPr/>
                  <p:nvPr/>
                </p:nvSpPr>
                <p:spPr>
                  <a:xfrm>
                    <a:off x="1302338" y="1896979"/>
                    <a:ext cx="1050338" cy="276999"/>
                  </a:xfrm>
                  <a:prstGeom prst="rect">
                    <a:avLst/>
                  </a:prstGeom>
                </p:spPr>
                <p:txBody>
                  <a:bodyPr wrap="square" lIns="0" tIns="0" rIns="0" bIns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83D65"/>
                        </a:solidFill>
                        <a:effectLst/>
                        <a:uLnTx/>
                        <a:uFillTx/>
                        <a:latin typeface="Segoe UI" panose="020B0502040204020203" pitchFamily="34" charset="0"/>
                        <a:ea typeface="Open Sans" panose="020B0606030504020204" pitchFamily="34" charset="0"/>
                        <a:cs typeface="Segoe UI" panose="020B0502040204020203" pitchFamily="34" charset="0"/>
                      </a:rPr>
                      <a:t>24 HOUR</a:t>
                    </a:r>
                  </a:p>
                </p:txBody>
              </p:sp>
              <p:sp>
                <p:nvSpPr>
                  <p:cNvPr id="17" name="Rectangle 16">
                    <a:extLst>
                      <a:ext uri="{FF2B5EF4-FFF2-40B4-BE49-F238E27FC236}">
                        <a16:creationId xmlns:a16="http://schemas.microsoft.com/office/drawing/2014/main" id="{FFB2F49C-CAAC-49C0-9DAB-BA185649FBDC}"/>
                      </a:ext>
                    </a:extLst>
                  </p:cNvPr>
                  <p:cNvSpPr/>
                  <p:nvPr/>
                </p:nvSpPr>
                <p:spPr>
                  <a:xfrm>
                    <a:off x="1302338" y="2187459"/>
                    <a:ext cx="1050338" cy="169277"/>
                  </a:xfrm>
                  <a:prstGeom prst="rect">
                    <a:avLst/>
                  </a:prstGeom>
                </p:spPr>
                <p:txBody>
                  <a:bodyPr wrap="square" lIns="0" tIns="0" rIns="0" bIns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83D65"/>
                        </a:solidFill>
                        <a:effectLst/>
                        <a:uLnTx/>
                        <a:uFillTx/>
                        <a:latin typeface="Segoe UI" panose="020B0502040204020203" pitchFamily="34" charset="0"/>
                        <a:ea typeface="Open Sans" panose="020B0606030504020204" pitchFamily="34" charset="0"/>
                        <a:cs typeface="Segoe UI" panose="020B0502040204020203" pitchFamily="34" charset="0"/>
                      </a:rPr>
                      <a:t>TURN AROUND</a:t>
                    </a:r>
                  </a:p>
                </p:txBody>
              </p:sp>
            </p:grpSp>
            <p:grpSp>
              <p:nvGrpSpPr>
                <p:cNvPr id="7" name="Group 6">
                  <a:extLst>
                    <a:ext uri="{FF2B5EF4-FFF2-40B4-BE49-F238E27FC236}">
                      <a16:creationId xmlns:a16="http://schemas.microsoft.com/office/drawing/2014/main" id="{673B93D2-B665-4D4B-BEDB-506562677629}"/>
                    </a:ext>
                  </a:extLst>
                </p:cNvPr>
                <p:cNvGrpSpPr/>
                <p:nvPr/>
              </p:nvGrpSpPr>
              <p:grpSpPr>
                <a:xfrm>
                  <a:off x="617538" y="1927225"/>
                  <a:ext cx="577851" cy="576263"/>
                  <a:chOff x="617538" y="1927225"/>
                  <a:chExt cx="577851" cy="576263"/>
                </a:xfrm>
              </p:grpSpPr>
              <p:sp>
                <p:nvSpPr>
                  <p:cNvPr id="8" name="Oval 20">
                    <a:extLst>
                      <a:ext uri="{FF2B5EF4-FFF2-40B4-BE49-F238E27FC236}">
                        <a16:creationId xmlns:a16="http://schemas.microsoft.com/office/drawing/2014/main" id="{0A4D9DDB-2A97-4029-B998-D7B68279E0B5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617538" y="1927225"/>
                    <a:ext cx="577850" cy="576263"/>
                  </a:xfrm>
                  <a:prstGeom prst="ellipse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" name="Freeform 21">
                    <a:extLst>
                      <a:ext uri="{FF2B5EF4-FFF2-40B4-BE49-F238E27FC236}">
                        <a16:creationId xmlns:a16="http://schemas.microsoft.com/office/drawing/2014/main" id="{E819C346-A84C-409C-8019-90061AFEE00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720726" y="1943100"/>
                    <a:ext cx="474663" cy="560388"/>
                  </a:xfrm>
                  <a:custGeom>
                    <a:avLst/>
                    <a:gdLst>
                      <a:gd name="T0" fmla="*/ 469 w 469"/>
                      <a:gd name="T1" fmla="*/ 270 h 555"/>
                      <a:gd name="T2" fmla="*/ 183 w 469"/>
                      <a:gd name="T3" fmla="*/ 555 h 555"/>
                      <a:gd name="T4" fmla="*/ 0 w 469"/>
                      <a:gd name="T5" fmla="*/ 489 h 555"/>
                      <a:gd name="T6" fmla="*/ 93 w 469"/>
                      <a:gd name="T7" fmla="*/ 505 h 555"/>
                      <a:gd name="T8" fmla="*/ 378 w 469"/>
                      <a:gd name="T9" fmla="*/ 219 h 555"/>
                      <a:gd name="T10" fmla="*/ 276 w 469"/>
                      <a:gd name="T11" fmla="*/ 0 h 555"/>
                      <a:gd name="T12" fmla="*/ 469 w 469"/>
                      <a:gd name="T13" fmla="*/ 270 h 55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469" h="555">
                        <a:moveTo>
                          <a:pt x="469" y="270"/>
                        </a:moveTo>
                        <a:cubicBezTo>
                          <a:pt x="469" y="428"/>
                          <a:pt x="341" y="555"/>
                          <a:pt x="183" y="555"/>
                        </a:cubicBezTo>
                        <a:cubicBezTo>
                          <a:pt x="114" y="555"/>
                          <a:pt x="50" y="531"/>
                          <a:pt x="0" y="489"/>
                        </a:cubicBezTo>
                        <a:cubicBezTo>
                          <a:pt x="29" y="499"/>
                          <a:pt x="61" y="505"/>
                          <a:pt x="93" y="505"/>
                        </a:cubicBezTo>
                        <a:cubicBezTo>
                          <a:pt x="251" y="505"/>
                          <a:pt x="378" y="377"/>
                          <a:pt x="378" y="219"/>
                        </a:cubicBezTo>
                        <a:cubicBezTo>
                          <a:pt x="378" y="131"/>
                          <a:pt x="339" y="53"/>
                          <a:pt x="276" y="0"/>
                        </a:cubicBezTo>
                        <a:cubicBezTo>
                          <a:pt x="388" y="39"/>
                          <a:pt x="469" y="145"/>
                          <a:pt x="469" y="270"/>
                        </a:cubicBezTo>
                        <a:close/>
                      </a:path>
                    </a:pathLst>
                  </a:custGeom>
                  <a:solidFill>
                    <a:srgbClr val="D1E3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" name="Oval 22">
                    <a:extLst>
                      <a:ext uri="{FF2B5EF4-FFF2-40B4-BE49-F238E27FC236}">
                        <a16:creationId xmlns:a16="http://schemas.microsoft.com/office/drawing/2014/main" id="{191C88F5-CC9B-4459-9A9D-DAA16113D6D5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617538" y="1927225"/>
                    <a:ext cx="577850" cy="576263"/>
                  </a:xfrm>
                  <a:prstGeom prst="ellipse">
                    <a:avLst/>
                  </a:prstGeom>
                  <a:noFill/>
                  <a:ln w="25400" cap="rnd">
                    <a:solidFill>
                      <a:srgbClr val="7AC2F9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1" name="Freeform 23">
                    <a:extLst>
                      <a:ext uri="{FF2B5EF4-FFF2-40B4-BE49-F238E27FC236}">
                        <a16:creationId xmlns:a16="http://schemas.microsoft.com/office/drawing/2014/main" id="{0F8EAC3E-FE6B-4AC8-B472-C5E43CE9FEF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773113" y="2081213"/>
                    <a:ext cx="261938" cy="268288"/>
                  </a:xfrm>
                  <a:custGeom>
                    <a:avLst/>
                    <a:gdLst>
                      <a:gd name="T0" fmla="*/ 260 w 260"/>
                      <a:gd name="T1" fmla="*/ 168 h 266"/>
                      <a:gd name="T2" fmla="*/ 132 w 260"/>
                      <a:gd name="T3" fmla="*/ 266 h 266"/>
                      <a:gd name="T4" fmla="*/ 0 w 260"/>
                      <a:gd name="T5" fmla="*/ 133 h 266"/>
                      <a:gd name="T6" fmla="*/ 132 w 260"/>
                      <a:gd name="T7" fmla="*/ 0 h 266"/>
                      <a:gd name="T8" fmla="*/ 206 w 260"/>
                      <a:gd name="T9" fmla="*/ 23 h 26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60" h="266">
                        <a:moveTo>
                          <a:pt x="260" y="168"/>
                        </a:moveTo>
                        <a:cubicBezTo>
                          <a:pt x="245" y="224"/>
                          <a:pt x="193" y="266"/>
                          <a:pt x="132" y="266"/>
                        </a:cubicBezTo>
                        <a:cubicBezTo>
                          <a:pt x="59" y="266"/>
                          <a:pt x="0" y="206"/>
                          <a:pt x="0" y="133"/>
                        </a:cubicBezTo>
                        <a:cubicBezTo>
                          <a:pt x="0" y="60"/>
                          <a:pt x="59" y="0"/>
                          <a:pt x="132" y="0"/>
                        </a:cubicBezTo>
                        <a:cubicBezTo>
                          <a:pt x="160" y="0"/>
                          <a:pt x="185" y="9"/>
                          <a:pt x="206" y="23"/>
                        </a:cubicBezTo>
                      </a:path>
                    </a:pathLst>
                  </a:custGeom>
                  <a:noFill/>
                  <a:ln w="25400" cap="rnd">
                    <a:solidFill>
                      <a:srgbClr val="7AC2F9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2" name="Line 24">
                    <a:extLst>
                      <a:ext uri="{FF2B5EF4-FFF2-40B4-BE49-F238E27FC236}">
                        <a16:creationId xmlns:a16="http://schemas.microsoft.com/office/drawing/2014/main" id="{CDB9360A-BA30-48B9-B671-2A36CE4D3A22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906463" y="2124075"/>
                    <a:ext cx="139700" cy="92075"/>
                  </a:xfrm>
                  <a:prstGeom prst="line">
                    <a:avLst/>
                  </a:prstGeom>
                  <a:noFill/>
                  <a:ln w="25400" cap="rnd">
                    <a:solidFill>
                      <a:srgbClr val="7AC2F9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" name="Line 25">
                    <a:extLst>
                      <a:ext uri="{FF2B5EF4-FFF2-40B4-BE49-F238E27FC236}">
                        <a16:creationId xmlns:a16="http://schemas.microsoft.com/office/drawing/2014/main" id="{416E22B5-F4DA-4B32-AF90-F591A9A60A83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906463" y="2216150"/>
                    <a:ext cx="166688" cy="0"/>
                  </a:xfrm>
                  <a:prstGeom prst="line">
                    <a:avLst/>
                  </a:prstGeom>
                  <a:noFill/>
                  <a:ln w="25400" cap="rnd">
                    <a:solidFill>
                      <a:srgbClr val="7AC2F9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4" name="Line 26">
                    <a:extLst>
                      <a:ext uri="{FF2B5EF4-FFF2-40B4-BE49-F238E27FC236}">
                        <a16:creationId xmlns:a16="http://schemas.microsoft.com/office/drawing/2014/main" id="{D2C41497-3ADA-4AA9-8324-900E2841F178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925513" y="2105025"/>
                    <a:ext cx="55563" cy="19050"/>
                  </a:xfrm>
                  <a:prstGeom prst="line">
                    <a:avLst/>
                  </a:prstGeom>
                  <a:noFill/>
                  <a:ln w="25400" cap="rnd">
                    <a:solidFill>
                      <a:srgbClr val="7AC2F9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5" name="Line 27">
                    <a:extLst>
                      <a:ext uri="{FF2B5EF4-FFF2-40B4-BE49-F238E27FC236}">
                        <a16:creationId xmlns:a16="http://schemas.microsoft.com/office/drawing/2014/main" id="{A93E1BB8-C8C5-4EF8-B846-6D5E1A1BC35F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H="1" flipV="1">
                    <a:off x="962026" y="2049463"/>
                    <a:ext cx="19050" cy="55563"/>
                  </a:xfrm>
                  <a:prstGeom prst="line">
                    <a:avLst/>
                  </a:prstGeom>
                  <a:noFill/>
                  <a:ln w="25400" cap="rnd">
                    <a:solidFill>
                      <a:srgbClr val="7AC2F9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C89C1108-D823-4A25-B6E8-ADDAAB804C68}"/>
                  </a:ext>
                </a:extLst>
              </p:cNvPr>
              <p:cNvGrpSpPr/>
              <p:nvPr/>
            </p:nvGrpSpPr>
            <p:grpSpPr>
              <a:xfrm>
                <a:off x="543826" y="2482080"/>
                <a:ext cx="1822302" cy="605234"/>
                <a:chOff x="613389" y="2657566"/>
                <a:chExt cx="1822302" cy="605234"/>
              </a:xfrm>
            </p:grpSpPr>
            <p:grpSp>
              <p:nvGrpSpPr>
                <p:cNvPr id="19" name="Group 18">
                  <a:extLst>
                    <a:ext uri="{FF2B5EF4-FFF2-40B4-BE49-F238E27FC236}">
                      <a16:creationId xmlns:a16="http://schemas.microsoft.com/office/drawing/2014/main" id="{57233790-1B6D-4875-B97A-E9994CC2D151}"/>
                    </a:ext>
                  </a:extLst>
                </p:cNvPr>
                <p:cNvGrpSpPr/>
                <p:nvPr/>
              </p:nvGrpSpPr>
              <p:grpSpPr>
                <a:xfrm>
                  <a:off x="1385353" y="2730304"/>
                  <a:ext cx="1050338" cy="459757"/>
                  <a:chOff x="1302338" y="1896979"/>
                  <a:chExt cx="1050338" cy="459757"/>
                </a:xfrm>
              </p:grpSpPr>
              <p:sp>
                <p:nvSpPr>
                  <p:cNvPr id="21" name="Rectangle 20">
                    <a:extLst>
                      <a:ext uri="{FF2B5EF4-FFF2-40B4-BE49-F238E27FC236}">
                        <a16:creationId xmlns:a16="http://schemas.microsoft.com/office/drawing/2014/main" id="{24A8F3DC-D1FA-49B5-AE50-458D87DB47F2}"/>
                      </a:ext>
                    </a:extLst>
                  </p:cNvPr>
                  <p:cNvSpPr/>
                  <p:nvPr/>
                </p:nvSpPr>
                <p:spPr>
                  <a:xfrm>
                    <a:off x="1302338" y="1896979"/>
                    <a:ext cx="1050338" cy="276999"/>
                  </a:xfrm>
                  <a:prstGeom prst="rect">
                    <a:avLst/>
                  </a:prstGeom>
                </p:spPr>
                <p:txBody>
                  <a:bodyPr wrap="square" lIns="0" tIns="0" rIns="0" bIns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83D65"/>
                        </a:solidFill>
                        <a:effectLst/>
                        <a:uLnTx/>
                        <a:uFillTx/>
                        <a:latin typeface="Segoe UI" panose="020B0502040204020203" pitchFamily="34" charset="0"/>
                        <a:ea typeface="Open Sans" panose="020B0606030504020204" pitchFamily="34" charset="0"/>
                        <a:cs typeface="Segoe UI" panose="020B0502040204020203" pitchFamily="34" charset="0"/>
                      </a:rPr>
                      <a:t>From $10 </a:t>
                    </a:r>
                  </a:p>
                </p:txBody>
              </p:sp>
              <p:sp>
                <p:nvSpPr>
                  <p:cNvPr id="22" name="Rectangle 21">
                    <a:extLst>
                      <a:ext uri="{FF2B5EF4-FFF2-40B4-BE49-F238E27FC236}">
                        <a16:creationId xmlns:a16="http://schemas.microsoft.com/office/drawing/2014/main" id="{750E0D5B-32E7-45B7-8417-3D2C7694985A}"/>
                      </a:ext>
                    </a:extLst>
                  </p:cNvPr>
                  <p:cNvSpPr/>
                  <p:nvPr/>
                </p:nvSpPr>
                <p:spPr>
                  <a:xfrm>
                    <a:off x="1302338" y="2187459"/>
                    <a:ext cx="1050338" cy="169277"/>
                  </a:xfrm>
                  <a:prstGeom prst="rect">
                    <a:avLst/>
                  </a:prstGeom>
                </p:spPr>
                <p:txBody>
                  <a:bodyPr wrap="square" lIns="0" tIns="0" rIns="0" bIns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83D65"/>
                        </a:solidFill>
                        <a:effectLst/>
                        <a:uLnTx/>
                        <a:uFillTx/>
                        <a:latin typeface="Segoe UI" panose="020B0502040204020203" pitchFamily="34" charset="0"/>
                        <a:ea typeface="Open Sans" panose="020B0606030504020204" pitchFamily="34" charset="0"/>
                        <a:cs typeface="Segoe UI" panose="020B0502040204020203" pitchFamily="34" charset="0"/>
                      </a:rPr>
                      <a:t>PER SLIDE</a:t>
                    </a:r>
                  </a:p>
                </p:txBody>
              </p:sp>
            </p:grpSp>
            <p:pic>
              <p:nvPicPr>
                <p:cNvPr id="20" name="Picture 19">
                  <a:extLst>
                    <a:ext uri="{FF2B5EF4-FFF2-40B4-BE49-F238E27FC236}">
                      <a16:creationId xmlns:a16="http://schemas.microsoft.com/office/drawing/2014/main" id="{8C8DE8F7-2FCB-4D09-91D1-83DA72367DA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613389" y="2657566"/>
                  <a:ext cx="605940" cy="605234"/>
                </a:xfrm>
                <a:prstGeom prst="rect">
                  <a:avLst/>
                </a:prstGeom>
              </p:spPr>
            </p:pic>
          </p:grp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0274503B-5122-4623-AB9F-1245C2B01E9D}"/>
                  </a:ext>
                </a:extLst>
              </p:cNvPr>
              <p:cNvSpPr/>
              <p:nvPr/>
            </p:nvSpPr>
            <p:spPr>
              <a:xfrm>
                <a:off x="543826" y="3195474"/>
                <a:ext cx="3425682" cy="738664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68DC3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Open Sans" panose="020B0606030504020204" pitchFamily="34" charset="0"/>
                    <a:cs typeface="Segoe UI" panose="020B0502040204020203" pitchFamily="34" charset="0"/>
                  </a:rPr>
                  <a:t>GET STARTED</a:t>
                </a:r>
              </a:p>
            </p:txBody>
          </p:sp>
          <p:sp>
            <p:nvSpPr>
              <p:cNvPr id="2" name="Rectangle 1">
                <a:extLst>
                  <a:ext uri="{FF2B5EF4-FFF2-40B4-BE49-F238E27FC236}">
                    <a16:creationId xmlns:a16="http://schemas.microsoft.com/office/drawing/2014/main" id="{096F7EA7-DFFB-40E4-87D8-1C8AF2E5E4B4}"/>
                  </a:ext>
                </a:extLst>
              </p:cNvPr>
              <p:cNvSpPr/>
              <p:nvPr/>
            </p:nvSpPr>
            <p:spPr>
              <a:xfrm>
                <a:off x="594448" y="5161568"/>
                <a:ext cx="3081340" cy="553998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83D65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Open Sans Light"/>
                    <a:cs typeface="Segoe UI" panose="020B0502040204020203" pitchFamily="34" charset="0"/>
                    <a:sym typeface="Open Sans Light"/>
                  </a:rPr>
                  <a:t>Go to </a:t>
                </a:r>
                <a:r>
                  <a: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83D65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Open Sans Light"/>
                    <a:cs typeface="Segoe UI" panose="020B0502040204020203" pitchFamily="34" charset="0"/>
                    <a:sym typeface="Open Sans Light"/>
                  </a:rPr>
                  <a:t>24Slides.com/</a:t>
                </a:r>
                <a:r>
                  <a:rPr kumimoji="0" lang="id-ID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83D65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Open Sans Light"/>
                    <a:cs typeface="Segoe UI" panose="020B0502040204020203" pitchFamily="34" charset="0"/>
                    <a:sym typeface="Open Sans Light"/>
                  </a:rPr>
                  <a:t>order </a:t>
                </a:r>
                <a:br>
                  <a:rPr kumimoji="0" lang="id-ID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83D65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Open Sans Light"/>
                    <a:cs typeface="Segoe UI" panose="020B0502040204020203" pitchFamily="34" charset="0"/>
                    <a:sym typeface="Open Sans Light"/>
                  </a:rPr>
                </a:b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83D65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Open Sans Light"/>
                    <a:cs typeface="Segoe UI" panose="020B0502040204020203" pitchFamily="34" charset="0"/>
                    <a:sym typeface="Open Sans Light"/>
                  </a:rPr>
                  <a:t>to find out more</a:t>
                </a: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83D65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4319791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ID" dirty="0"/>
              <a:t>PowerPoint Templates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852138-FCC6-44DD-9FFC-1C789392E7AA}" type="datetime1">
              <a:rPr lang="en-US" smtClean="0"/>
              <a:t>11/15/2018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06E70-9524-410D-AE9B-78D656EAA14D}" type="slidenum">
              <a:rPr lang="en-US" smtClean="0"/>
              <a:pPr/>
              <a:t>20</a:t>
            </a:fld>
            <a:endParaRPr lang="en-US"/>
          </a:p>
        </p:txBody>
      </p:sp>
      <p:sp>
        <p:nvSpPr>
          <p:cNvPr id="59" name="Freeform 14"/>
          <p:cNvSpPr>
            <a:spLocks/>
          </p:cNvSpPr>
          <p:nvPr/>
        </p:nvSpPr>
        <p:spPr bwMode="auto">
          <a:xfrm>
            <a:off x="6971874" y="2615231"/>
            <a:ext cx="1822182" cy="2507885"/>
          </a:xfrm>
          <a:custGeom>
            <a:avLst/>
            <a:gdLst>
              <a:gd name="T0" fmla="*/ 4096 w 4121"/>
              <a:gd name="T1" fmla="*/ 2644 h 5673"/>
              <a:gd name="T2" fmla="*/ 4091 w 4121"/>
              <a:gd name="T3" fmla="*/ 2305 h 5673"/>
              <a:gd name="T4" fmla="*/ 2760 w 4121"/>
              <a:gd name="T5" fmla="*/ 0 h 5673"/>
              <a:gd name="T6" fmla="*/ 2198 w 4121"/>
              <a:gd name="T7" fmla="*/ 2098 h 5673"/>
              <a:gd name="T8" fmla="*/ 2142 w 4121"/>
              <a:gd name="T9" fmla="*/ 2307 h 5673"/>
              <a:gd name="T10" fmla="*/ 1933 w 4121"/>
              <a:gd name="T11" fmla="*/ 2251 h 5673"/>
              <a:gd name="T12" fmla="*/ 662 w 4121"/>
              <a:gd name="T13" fmla="*/ 1910 h 5673"/>
              <a:gd name="T14" fmla="*/ 912 w 4121"/>
              <a:gd name="T15" fmla="*/ 2339 h 5673"/>
              <a:gd name="T16" fmla="*/ 912 w 4121"/>
              <a:gd name="T17" fmla="*/ 2625 h 5673"/>
              <a:gd name="T18" fmla="*/ 0 w 4121"/>
              <a:gd name="T19" fmla="*/ 4191 h 5673"/>
              <a:gd name="T20" fmla="*/ 398 w 4121"/>
              <a:gd name="T21" fmla="*/ 5673 h 5673"/>
              <a:gd name="T22" fmla="*/ 2704 w 4121"/>
              <a:gd name="T23" fmla="*/ 5055 h 5673"/>
              <a:gd name="T24" fmla="*/ 4096 w 4121"/>
              <a:gd name="T25" fmla="*/ 2644 h 56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4121" h="5673">
                <a:moveTo>
                  <a:pt x="4096" y="2644"/>
                </a:moveTo>
                <a:cubicBezTo>
                  <a:pt x="4121" y="2536"/>
                  <a:pt x="4120" y="2412"/>
                  <a:pt x="4091" y="2305"/>
                </a:cubicBezTo>
                <a:cubicBezTo>
                  <a:pt x="2760" y="0"/>
                  <a:pt x="2760" y="0"/>
                  <a:pt x="2760" y="0"/>
                </a:cubicBezTo>
                <a:cubicBezTo>
                  <a:pt x="2198" y="2098"/>
                  <a:pt x="2198" y="2098"/>
                  <a:pt x="2198" y="2098"/>
                </a:cubicBezTo>
                <a:cubicBezTo>
                  <a:pt x="2142" y="2307"/>
                  <a:pt x="2142" y="2307"/>
                  <a:pt x="2142" y="2307"/>
                </a:cubicBezTo>
                <a:cubicBezTo>
                  <a:pt x="1933" y="2251"/>
                  <a:pt x="1933" y="2251"/>
                  <a:pt x="1933" y="2251"/>
                </a:cubicBezTo>
                <a:cubicBezTo>
                  <a:pt x="662" y="1910"/>
                  <a:pt x="662" y="1910"/>
                  <a:pt x="662" y="1910"/>
                </a:cubicBezTo>
                <a:cubicBezTo>
                  <a:pt x="912" y="2339"/>
                  <a:pt x="912" y="2339"/>
                  <a:pt x="912" y="2339"/>
                </a:cubicBezTo>
                <a:cubicBezTo>
                  <a:pt x="957" y="2418"/>
                  <a:pt x="957" y="2546"/>
                  <a:pt x="912" y="2625"/>
                </a:cubicBezTo>
                <a:cubicBezTo>
                  <a:pt x="0" y="4191"/>
                  <a:pt x="0" y="4191"/>
                  <a:pt x="0" y="4191"/>
                </a:cubicBezTo>
                <a:cubicBezTo>
                  <a:pt x="398" y="5673"/>
                  <a:pt x="398" y="5673"/>
                  <a:pt x="398" y="5673"/>
                </a:cubicBezTo>
                <a:cubicBezTo>
                  <a:pt x="2704" y="5055"/>
                  <a:pt x="2704" y="5055"/>
                  <a:pt x="2704" y="5055"/>
                </a:cubicBezTo>
                <a:lnTo>
                  <a:pt x="4096" y="2644"/>
                </a:lnTo>
                <a:close/>
              </a:path>
            </a:pathLst>
          </a:custGeom>
          <a:solidFill>
            <a:srgbClr val="78D2D2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0" name="Freeform 15"/>
          <p:cNvSpPr>
            <a:spLocks/>
          </p:cNvSpPr>
          <p:nvPr/>
        </p:nvSpPr>
        <p:spPr bwMode="auto">
          <a:xfrm>
            <a:off x="6209852" y="1367847"/>
            <a:ext cx="1914007" cy="2150127"/>
          </a:xfrm>
          <a:custGeom>
            <a:avLst/>
            <a:gdLst>
              <a:gd name="T0" fmla="*/ 2509 w 4330"/>
              <a:gd name="T1" fmla="*/ 0 h 4863"/>
              <a:gd name="T2" fmla="*/ 0 w 4330"/>
              <a:gd name="T3" fmla="*/ 0 h 4863"/>
              <a:gd name="T4" fmla="*/ 1515 w 4330"/>
              <a:gd name="T5" fmla="*/ 1515 h 4863"/>
              <a:gd name="T6" fmla="*/ 1668 w 4330"/>
              <a:gd name="T7" fmla="*/ 1669 h 4863"/>
              <a:gd name="T8" fmla="*/ 1515 w 4330"/>
              <a:gd name="T9" fmla="*/ 1821 h 4863"/>
              <a:gd name="T10" fmla="*/ 569 w 4330"/>
              <a:gd name="T11" fmla="*/ 2768 h 4863"/>
              <a:gd name="T12" fmla="*/ 1079 w 4330"/>
              <a:gd name="T13" fmla="*/ 2768 h 4863"/>
              <a:gd name="T14" fmla="*/ 1327 w 4330"/>
              <a:gd name="T15" fmla="*/ 2911 h 4863"/>
              <a:gd name="T16" fmla="*/ 2231 w 4330"/>
              <a:gd name="T17" fmla="*/ 4466 h 4863"/>
              <a:gd name="T18" fmla="*/ 3712 w 4330"/>
              <a:gd name="T19" fmla="*/ 4863 h 4863"/>
              <a:gd name="T20" fmla="*/ 4330 w 4330"/>
              <a:gd name="T21" fmla="*/ 2556 h 4863"/>
              <a:gd name="T22" fmla="*/ 3011 w 4330"/>
              <a:gd name="T23" fmla="*/ 272 h 4863"/>
              <a:gd name="T24" fmla="*/ 2509 w 4330"/>
              <a:gd name="T25" fmla="*/ 0 h 48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4330" h="4863">
                <a:moveTo>
                  <a:pt x="2509" y="0"/>
                </a:moveTo>
                <a:cubicBezTo>
                  <a:pt x="0" y="0"/>
                  <a:pt x="0" y="0"/>
                  <a:pt x="0" y="0"/>
                </a:cubicBezTo>
                <a:cubicBezTo>
                  <a:pt x="1515" y="1515"/>
                  <a:pt x="1515" y="1515"/>
                  <a:pt x="1515" y="1515"/>
                </a:cubicBezTo>
                <a:cubicBezTo>
                  <a:pt x="1668" y="1669"/>
                  <a:pt x="1668" y="1669"/>
                  <a:pt x="1668" y="1669"/>
                </a:cubicBezTo>
                <a:cubicBezTo>
                  <a:pt x="1515" y="1821"/>
                  <a:pt x="1515" y="1821"/>
                  <a:pt x="1515" y="1821"/>
                </a:cubicBezTo>
                <a:cubicBezTo>
                  <a:pt x="569" y="2768"/>
                  <a:pt x="569" y="2768"/>
                  <a:pt x="569" y="2768"/>
                </a:cubicBezTo>
                <a:cubicBezTo>
                  <a:pt x="1079" y="2768"/>
                  <a:pt x="1079" y="2768"/>
                  <a:pt x="1079" y="2768"/>
                </a:cubicBezTo>
                <a:cubicBezTo>
                  <a:pt x="1170" y="2768"/>
                  <a:pt x="1282" y="2833"/>
                  <a:pt x="1327" y="2911"/>
                </a:cubicBezTo>
                <a:cubicBezTo>
                  <a:pt x="2231" y="4466"/>
                  <a:pt x="2231" y="4466"/>
                  <a:pt x="2231" y="4466"/>
                </a:cubicBezTo>
                <a:cubicBezTo>
                  <a:pt x="3712" y="4863"/>
                  <a:pt x="3712" y="4863"/>
                  <a:pt x="3712" y="4863"/>
                </a:cubicBezTo>
                <a:cubicBezTo>
                  <a:pt x="4330" y="2556"/>
                  <a:pt x="4330" y="2556"/>
                  <a:pt x="4330" y="2556"/>
                </a:cubicBezTo>
                <a:cubicBezTo>
                  <a:pt x="3011" y="272"/>
                  <a:pt x="3011" y="272"/>
                  <a:pt x="3011" y="272"/>
                </a:cubicBezTo>
                <a:cubicBezTo>
                  <a:pt x="2906" y="120"/>
                  <a:pt x="2688" y="0"/>
                  <a:pt x="2509" y="0"/>
                </a:cubicBezTo>
                <a:close/>
              </a:path>
            </a:pathLst>
          </a:custGeom>
          <a:solidFill>
            <a:srgbClr val="AFABAB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8" name="Freeform 97"/>
          <p:cNvSpPr>
            <a:spLocks/>
          </p:cNvSpPr>
          <p:nvPr/>
        </p:nvSpPr>
        <p:spPr bwMode="auto">
          <a:xfrm>
            <a:off x="-2" y="1367845"/>
            <a:ext cx="6812079" cy="1471583"/>
          </a:xfrm>
          <a:custGeom>
            <a:avLst/>
            <a:gdLst>
              <a:gd name="connsiteX0" fmla="*/ 0 w 6812079"/>
              <a:gd name="connsiteY0" fmla="*/ 0 h 1471583"/>
              <a:gd name="connsiteX1" fmla="*/ 1178015 w 6812079"/>
              <a:gd name="connsiteY1" fmla="*/ 0 h 1471583"/>
              <a:gd name="connsiteX2" fmla="*/ 1247651 w 6812079"/>
              <a:gd name="connsiteY2" fmla="*/ 0 h 1471583"/>
              <a:gd name="connsiteX3" fmla="*/ 5064958 w 6812079"/>
              <a:gd name="connsiteY3" fmla="*/ 0 h 1471583"/>
              <a:gd name="connsiteX4" fmla="*/ 5064956 w 6812079"/>
              <a:gd name="connsiteY4" fmla="*/ 3 h 1471583"/>
              <a:gd name="connsiteX5" fmla="*/ 5185586 w 6812079"/>
              <a:gd name="connsiteY5" fmla="*/ 3 h 1471583"/>
              <a:gd name="connsiteX6" fmla="*/ 6074721 w 6812079"/>
              <a:gd name="connsiteY6" fmla="*/ 3 h 1471583"/>
              <a:gd name="connsiteX7" fmla="*/ 6812079 w 6812079"/>
              <a:gd name="connsiteY7" fmla="*/ 737784 h 1471583"/>
              <a:gd name="connsiteX8" fmla="*/ 6326254 w 6812079"/>
              <a:gd name="connsiteY8" fmla="*/ 1224329 h 1471583"/>
              <a:gd name="connsiteX9" fmla="*/ 5530544 w 6812079"/>
              <a:gd name="connsiteY9" fmla="*/ 1224329 h 1471583"/>
              <a:gd name="connsiteX10" fmla="*/ 5420913 w 6812079"/>
              <a:gd name="connsiteY10" fmla="*/ 1287580 h 1471583"/>
              <a:gd name="connsiteX11" fmla="*/ 5313934 w 6812079"/>
              <a:gd name="connsiteY11" fmla="*/ 1471583 h 1471583"/>
              <a:gd name="connsiteX12" fmla="*/ 5162749 w 6812079"/>
              <a:gd name="connsiteY12" fmla="*/ 906748 h 1471583"/>
              <a:gd name="connsiteX13" fmla="*/ 5137994 w 6812079"/>
              <a:gd name="connsiteY13" fmla="*/ 814304 h 1471583"/>
              <a:gd name="connsiteX14" fmla="*/ 5045603 w 6812079"/>
              <a:gd name="connsiteY14" fmla="*/ 839074 h 1471583"/>
              <a:gd name="connsiteX15" fmla="*/ 4129423 w 6812079"/>
              <a:gd name="connsiteY15" fmla="*/ 1084635 h 1471583"/>
              <a:gd name="connsiteX16" fmla="*/ 4117427 w 6812079"/>
              <a:gd name="connsiteY16" fmla="*/ 1098543 h 1471583"/>
              <a:gd name="connsiteX17" fmla="*/ 1247651 w 6812079"/>
              <a:gd name="connsiteY17" fmla="*/ 1098543 h 1471583"/>
              <a:gd name="connsiteX18" fmla="*/ 1178015 w 6812079"/>
              <a:gd name="connsiteY18" fmla="*/ 1098543 h 1471583"/>
              <a:gd name="connsiteX19" fmla="*/ 0 w 6812079"/>
              <a:gd name="connsiteY19" fmla="*/ 1098543 h 14715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6812079" h="1471583">
                <a:moveTo>
                  <a:pt x="0" y="0"/>
                </a:moveTo>
                <a:lnTo>
                  <a:pt x="1178015" y="0"/>
                </a:lnTo>
                <a:lnTo>
                  <a:pt x="1247651" y="0"/>
                </a:lnTo>
                <a:lnTo>
                  <a:pt x="5064958" y="0"/>
                </a:lnTo>
                <a:lnTo>
                  <a:pt x="5064956" y="3"/>
                </a:lnTo>
                <a:lnTo>
                  <a:pt x="5185586" y="3"/>
                </a:lnTo>
                <a:cubicBezTo>
                  <a:pt x="5357899" y="3"/>
                  <a:pt x="5633600" y="3"/>
                  <a:pt x="6074721" y="3"/>
                </a:cubicBezTo>
                <a:cubicBezTo>
                  <a:pt x="6074721" y="3"/>
                  <a:pt x="6074721" y="3"/>
                  <a:pt x="6812079" y="737784"/>
                </a:cubicBezTo>
                <a:cubicBezTo>
                  <a:pt x="6812079" y="737784"/>
                  <a:pt x="6812079" y="737784"/>
                  <a:pt x="6326254" y="1224329"/>
                </a:cubicBezTo>
                <a:cubicBezTo>
                  <a:pt x="6326254" y="1224329"/>
                  <a:pt x="6326254" y="1224329"/>
                  <a:pt x="5530544" y="1224329"/>
                </a:cubicBezTo>
                <a:cubicBezTo>
                  <a:pt x="5490317" y="1224329"/>
                  <a:pt x="5440806" y="1253080"/>
                  <a:pt x="5420913" y="1287580"/>
                </a:cubicBezTo>
                <a:cubicBezTo>
                  <a:pt x="5420913" y="1287580"/>
                  <a:pt x="5420913" y="1287580"/>
                  <a:pt x="5313934" y="1471583"/>
                </a:cubicBezTo>
                <a:cubicBezTo>
                  <a:pt x="5313934" y="1471583"/>
                  <a:pt x="5313934" y="1471583"/>
                  <a:pt x="5162749" y="906748"/>
                </a:cubicBezTo>
                <a:cubicBezTo>
                  <a:pt x="5162749" y="906748"/>
                  <a:pt x="5162749" y="906748"/>
                  <a:pt x="5137994" y="814304"/>
                </a:cubicBezTo>
                <a:cubicBezTo>
                  <a:pt x="5137994" y="814304"/>
                  <a:pt x="5137994" y="814304"/>
                  <a:pt x="5045603" y="839074"/>
                </a:cubicBezTo>
                <a:lnTo>
                  <a:pt x="4129423" y="1084635"/>
                </a:lnTo>
                <a:lnTo>
                  <a:pt x="4117427" y="1098543"/>
                </a:lnTo>
                <a:lnTo>
                  <a:pt x="1247651" y="1098543"/>
                </a:lnTo>
                <a:lnTo>
                  <a:pt x="1178015" y="1098543"/>
                </a:lnTo>
                <a:lnTo>
                  <a:pt x="0" y="1098543"/>
                </a:lnTo>
                <a:close/>
              </a:path>
            </a:pathLst>
          </a:custGeom>
          <a:solidFill>
            <a:srgbClr val="E2583D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2" name="Freeform 17"/>
          <p:cNvSpPr>
            <a:spLocks/>
          </p:cNvSpPr>
          <p:nvPr/>
        </p:nvSpPr>
        <p:spPr bwMode="auto">
          <a:xfrm>
            <a:off x="3422912" y="2299212"/>
            <a:ext cx="1822182" cy="2507885"/>
          </a:xfrm>
          <a:custGeom>
            <a:avLst/>
            <a:gdLst>
              <a:gd name="T0" fmla="*/ 3210 w 4121"/>
              <a:gd name="T1" fmla="*/ 3339 h 5673"/>
              <a:gd name="T2" fmla="*/ 3210 w 4121"/>
              <a:gd name="T3" fmla="*/ 3054 h 5673"/>
              <a:gd name="T4" fmla="*/ 4121 w 4121"/>
              <a:gd name="T5" fmla="*/ 1485 h 5673"/>
              <a:gd name="T6" fmla="*/ 3724 w 4121"/>
              <a:gd name="T7" fmla="*/ 0 h 5673"/>
              <a:gd name="T8" fmla="*/ 1417 w 4121"/>
              <a:gd name="T9" fmla="*/ 618 h 5673"/>
              <a:gd name="T10" fmla="*/ 30 w 4121"/>
              <a:gd name="T11" fmla="*/ 3021 h 5673"/>
              <a:gd name="T12" fmla="*/ 26 w 4121"/>
              <a:gd name="T13" fmla="*/ 3361 h 5673"/>
              <a:gd name="T14" fmla="*/ 1361 w 4121"/>
              <a:gd name="T15" fmla="*/ 5673 h 5673"/>
              <a:gd name="T16" fmla="*/ 1923 w 4121"/>
              <a:gd name="T17" fmla="*/ 3576 h 5673"/>
              <a:gd name="T18" fmla="*/ 1979 w 4121"/>
              <a:gd name="T19" fmla="*/ 3367 h 5673"/>
              <a:gd name="T20" fmla="*/ 2188 w 4121"/>
              <a:gd name="T21" fmla="*/ 3423 h 5673"/>
              <a:gd name="T22" fmla="*/ 3456 w 4121"/>
              <a:gd name="T23" fmla="*/ 3763 h 5673"/>
              <a:gd name="T24" fmla="*/ 3210 w 4121"/>
              <a:gd name="T25" fmla="*/ 3339 h 56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4121" h="5673">
                <a:moveTo>
                  <a:pt x="3210" y="3339"/>
                </a:moveTo>
                <a:cubicBezTo>
                  <a:pt x="3164" y="3260"/>
                  <a:pt x="3164" y="3132"/>
                  <a:pt x="3210" y="3054"/>
                </a:cubicBezTo>
                <a:cubicBezTo>
                  <a:pt x="4121" y="1485"/>
                  <a:pt x="4121" y="1485"/>
                  <a:pt x="4121" y="1485"/>
                </a:cubicBezTo>
                <a:cubicBezTo>
                  <a:pt x="3724" y="0"/>
                  <a:pt x="3724" y="0"/>
                  <a:pt x="3724" y="0"/>
                </a:cubicBezTo>
                <a:cubicBezTo>
                  <a:pt x="1417" y="618"/>
                  <a:pt x="1417" y="618"/>
                  <a:pt x="1417" y="618"/>
                </a:cubicBezTo>
                <a:cubicBezTo>
                  <a:pt x="30" y="3021"/>
                  <a:pt x="30" y="3021"/>
                  <a:pt x="30" y="3021"/>
                </a:cubicBezTo>
                <a:cubicBezTo>
                  <a:pt x="1" y="3129"/>
                  <a:pt x="0" y="3252"/>
                  <a:pt x="26" y="3361"/>
                </a:cubicBezTo>
                <a:cubicBezTo>
                  <a:pt x="1361" y="5673"/>
                  <a:pt x="1361" y="5673"/>
                  <a:pt x="1361" y="5673"/>
                </a:cubicBezTo>
                <a:cubicBezTo>
                  <a:pt x="1923" y="3576"/>
                  <a:pt x="1923" y="3576"/>
                  <a:pt x="1923" y="3576"/>
                </a:cubicBezTo>
                <a:cubicBezTo>
                  <a:pt x="1979" y="3367"/>
                  <a:pt x="1979" y="3367"/>
                  <a:pt x="1979" y="3367"/>
                </a:cubicBezTo>
                <a:cubicBezTo>
                  <a:pt x="2188" y="3423"/>
                  <a:pt x="2188" y="3423"/>
                  <a:pt x="2188" y="3423"/>
                </a:cubicBezTo>
                <a:cubicBezTo>
                  <a:pt x="3456" y="3763"/>
                  <a:pt x="3456" y="3763"/>
                  <a:pt x="3456" y="3763"/>
                </a:cubicBezTo>
                <a:lnTo>
                  <a:pt x="3210" y="3339"/>
                </a:lnTo>
                <a:close/>
              </a:path>
            </a:pathLst>
          </a:custGeom>
          <a:solidFill>
            <a:srgbClr val="A5B1C3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3" name="Freeform 18"/>
          <p:cNvSpPr>
            <a:spLocks/>
          </p:cNvSpPr>
          <p:nvPr/>
        </p:nvSpPr>
        <p:spPr bwMode="auto">
          <a:xfrm>
            <a:off x="4093116" y="3905546"/>
            <a:ext cx="1914007" cy="2148935"/>
          </a:xfrm>
          <a:custGeom>
            <a:avLst/>
            <a:gdLst>
              <a:gd name="T0" fmla="*/ 4330 w 4330"/>
              <a:gd name="T1" fmla="*/ 4862 h 4862"/>
              <a:gd name="T2" fmla="*/ 2815 w 4330"/>
              <a:gd name="T3" fmla="*/ 3347 h 4862"/>
              <a:gd name="T4" fmla="*/ 2662 w 4330"/>
              <a:gd name="T5" fmla="*/ 3194 h 4862"/>
              <a:gd name="T6" fmla="*/ 2815 w 4330"/>
              <a:gd name="T7" fmla="*/ 3041 h 4862"/>
              <a:gd name="T8" fmla="*/ 3761 w 4330"/>
              <a:gd name="T9" fmla="*/ 2094 h 4862"/>
              <a:gd name="T10" fmla="*/ 3251 w 4330"/>
              <a:gd name="T11" fmla="*/ 2094 h 4862"/>
              <a:gd name="T12" fmla="*/ 3003 w 4330"/>
              <a:gd name="T13" fmla="*/ 1954 h 4862"/>
              <a:gd name="T14" fmla="*/ 2096 w 4330"/>
              <a:gd name="T15" fmla="*/ 396 h 4862"/>
              <a:gd name="T16" fmla="*/ 618 w 4330"/>
              <a:gd name="T17" fmla="*/ 0 h 4862"/>
              <a:gd name="T18" fmla="*/ 0 w 4330"/>
              <a:gd name="T19" fmla="*/ 2306 h 4862"/>
              <a:gd name="T20" fmla="*/ 1335 w 4330"/>
              <a:gd name="T21" fmla="*/ 4617 h 4862"/>
              <a:gd name="T22" fmla="*/ 1821 w 4330"/>
              <a:gd name="T23" fmla="*/ 4862 h 4862"/>
              <a:gd name="T24" fmla="*/ 4330 w 4330"/>
              <a:gd name="T25" fmla="*/ 4862 h 48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4330" h="4862">
                <a:moveTo>
                  <a:pt x="4330" y="4862"/>
                </a:moveTo>
                <a:cubicBezTo>
                  <a:pt x="2815" y="3347"/>
                  <a:pt x="2815" y="3347"/>
                  <a:pt x="2815" y="3347"/>
                </a:cubicBezTo>
                <a:cubicBezTo>
                  <a:pt x="2662" y="3194"/>
                  <a:pt x="2662" y="3194"/>
                  <a:pt x="2662" y="3194"/>
                </a:cubicBezTo>
                <a:cubicBezTo>
                  <a:pt x="2815" y="3041"/>
                  <a:pt x="2815" y="3041"/>
                  <a:pt x="2815" y="3041"/>
                </a:cubicBezTo>
                <a:cubicBezTo>
                  <a:pt x="3761" y="2094"/>
                  <a:pt x="3761" y="2094"/>
                  <a:pt x="3761" y="2094"/>
                </a:cubicBezTo>
                <a:cubicBezTo>
                  <a:pt x="3251" y="2094"/>
                  <a:pt x="3251" y="2094"/>
                  <a:pt x="3251" y="2094"/>
                </a:cubicBezTo>
                <a:cubicBezTo>
                  <a:pt x="3160" y="2094"/>
                  <a:pt x="3048" y="2032"/>
                  <a:pt x="3003" y="1954"/>
                </a:cubicBezTo>
                <a:cubicBezTo>
                  <a:pt x="2096" y="396"/>
                  <a:pt x="2096" y="396"/>
                  <a:pt x="2096" y="396"/>
                </a:cubicBezTo>
                <a:cubicBezTo>
                  <a:pt x="618" y="0"/>
                  <a:pt x="618" y="0"/>
                  <a:pt x="618" y="0"/>
                </a:cubicBezTo>
                <a:cubicBezTo>
                  <a:pt x="0" y="2306"/>
                  <a:pt x="0" y="2306"/>
                  <a:pt x="0" y="2306"/>
                </a:cubicBezTo>
                <a:cubicBezTo>
                  <a:pt x="1335" y="4617"/>
                  <a:pt x="1335" y="4617"/>
                  <a:pt x="1335" y="4617"/>
                </a:cubicBezTo>
                <a:cubicBezTo>
                  <a:pt x="1444" y="4758"/>
                  <a:pt x="1650" y="4862"/>
                  <a:pt x="1821" y="4862"/>
                </a:cubicBezTo>
                <a:lnTo>
                  <a:pt x="4330" y="4862"/>
                </a:lnTo>
                <a:close/>
              </a:path>
            </a:pathLst>
          </a:custGeom>
          <a:solidFill>
            <a:srgbClr val="E2583D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4" name="Freeform 19"/>
          <p:cNvSpPr>
            <a:spLocks/>
          </p:cNvSpPr>
          <p:nvPr/>
        </p:nvSpPr>
        <p:spPr bwMode="auto">
          <a:xfrm>
            <a:off x="5404893" y="4584091"/>
            <a:ext cx="2695112" cy="1470387"/>
          </a:xfrm>
          <a:custGeom>
            <a:avLst/>
            <a:gdLst>
              <a:gd name="T0" fmla="*/ 3997 w 6094"/>
              <a:gd name="T1" fmla="*/ 1428 h 3325"/>
              <a:gd name="T2" fmla="*/ 3788 w 6094"/>
              <a:gd name="T3" fmla="*/ 1484 h 3325"/>
              <a:gd name="T4" fmla="*/ 3732 w 6094"/>
              <a:gd name="T5" fmla="*/ 1275 h 3325"/>
              <a:gd name="T6" fmla="*/ 3390 w 6094"/>
              <a:gd name="T7" fmla="*/ 0 h 3325"/>
              <a:gd name="T8" fmla="*/ 3147 w 6094"/>
              <a:gd name="T9" fmla="*/ 417 h 3325"/>
              <a:gd name="T10" fmla="*/ 2899 w 6094"/>
              <a:gd name="T11" fmla="*/ 557 h 3325"/>
              <a:gd name="T12" fmla="*/ 1099 w 6094"/>
              <a:gd name="T13" fmla="*/ 557 h 3325"/>
              <a:gd name="T14" fmla="*/ 0 w 6094"/>
              <a:gd name="T15" fmla="*/ 1656 h 3325"/>
              <a:gd name="T16" fmla="*/ 1668 w 6094"/>
              <a:gd name="T17" fmla="*/ 3325 h 3325"/>
              <a:gd name="T18" fmla="*/ 4329 w 6094"/>
              <a:gd name="T19" fmla="*/ 3325 h 3325"/>
              <a:gd name="T20" fmla="*/ 4815 w 6094"/>
              <a:gd name="T21" fmla="*/ 3080 h 3325"/>
              <a:gd name="T22" fmla="*/ 6094 w 6094"/>
              <a:gd name="T23" fmla="*/ 866 h 3325"/>
              <a:gd name="T24" fmla="*/ 3997 w 6094"/>
              <a:gd name="T25" fmla="*/ 1428 h 33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6094" h="3325">
                <a:moveTo>
                  <a:pt x="3997" y="1428"/>
                </a:moveTo>
                <a:cubicBezTo>
                  <a:pt x="3788" y="1484"/>
                  <a:pt x="3788" y="1484"/>
                  <a:pt x="3788" y="1484"/>
                </a:cubicBezTo>
                <a:cubicBezTo>
                  <a:pt x="3732" y="1275"/>
                  <a:pt x="3732" y="1275"/>
                  <a:pt x="3732" y="1275"/>
                </a:cubicBezTo>
                <a:cubicBezTo>
                  <a:pt x="3390" y="0"/>
                  <a:pt x="3390" y="0"/>
                  <a:pt x="3390" y="0"/>
                </a:cubicBezTo>
                <a:cubicBezTo>
                  <a:pt x="3147" y="417"/>
                  <a:pt x="3147" y="417"/>
                  <a:pt x="3147" y="417"/>
                </a:cubicBezTo>
                <a:cubicBezTo>
                  <a:pt x="3102" y="495"/>
                  <a:pt x="2990" y="557"/>
                  <a:pt x="2899" y="557"/>
                </a:cubicBezTo>
                <a:cubicBezTo>
                  <a:pt x="1099" y="557"/>
                  <a:pt x="1099" y="557"/>
                  <a:pt x="1099" y="557"/>
                </a:cubicBezTo>
                <a:cubicBezTo>
                  <a:pt x="0" y="1656"/>
                  <a:pt x="0" y="1656"/>
                  <a:pt x="0" y="1656"/>
                </a:cubicBezTo>
                <a:cubicBezTo>
                  <a:pt x="1668" y="3325"/>
                  <a:pt x="1668" y="3325"/>
                  <a:pt x="1668" y="3325"/>
                </a:cubicBezTo>
                <a:cubicBezTo>
                  <a:pt x="4329" y="3325"/>
                  <a:pt x="4329" y="3325"/>
                  <a:pt x="4329" y="3325"/>
                </a:cubicBezTo>
                <a:cubicBezTo>
                  <a:pt x="4500" y="3325"/>
                  <a:pt x="4706" y="3221"/>
                  <a:pt x="4815" y="3080"/>
                </a:cubicBezTo>
                <a:cubicBezTo>
                  <a:pt x="6094" y="866"/>
                  <a:pt x="6094" y="866"/>
                  <a:pt x="6094" y="866"/>
                </a:cubicBezTo>
                <a:lnTo>
                  <a:pt x="3997" y="1428"/>
                </a:lnTo>
                <a:close/>
              </a:path>
            </a:pathLst>
          </a:custGeom>
          <a:solidFill>
            <a:srgbClr val="3B3939"/>
          </a:solidFill>
          <a:ln>
            <a:solidFill>
              <a:srgbClr val="647896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5" name="Rectangle 64"/>
          <p:cNvSpPr/>
          <p:nvPr/>
        </p:nvSpPr>
        <p:spPr>
          <a:xfrm>
            <a:off x="8114774" y="1422170"/>
            <a:ext cx="2566452" cy="69249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Arial" panose="020B0604020202020204" pitchFamily="34" charset="0"/>
              </a:rPr>
              <a:t>Lorem Ipsum is simply dummy text of the printing and typesetting industry. Lorem Ipsum has been the industry's standard dummy text.</a:t>
            </a:r>
          </a:p>
        </p:txBody>
      </p:sp>
      <p:sp>
        <p:nvSpPr>
          <p:cNvPr id="66" name="Rectangle 65"/>
          <p:cNvSpPr/>
          <p:nvPr/>
        </p:nvSpPr>
        <p:spPr>
          <a:xfrm>
            <a:off x="9105401" y="3249498"/>
            <a:ext cx="2095615" cy="92333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Arial" panose="020B0604020202020204" pitchFamily="34" charset="0"/>
              </a:rPr>
              <a:t>Lorem Ipsum is simply dummy text of the printing and typesetting industry. Lorem Ipsum has been the industry's standard dummy text.</a:t>
            </a:r>
          </a:p>
        </p:txBody>
      </p:sp>
      <p:sp>
        <p:nvSpPr>
          <p:cNvPr id="67" name="Rectangle 66"/>
          <p:cNvSpPr/>
          <p:nvPr/>
        </p:nvSpPr>
        <p:spPr>
          <a:xfrm>
            <a:off x="8114774" y="5412994"/>
            <a:ext cx="2566452" cy="69249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Arial" panose="020B0604020202020204" pitchFamily="34" charset="0"/>
              </a:rPr>
              <a:t>Lorem Ipsum is simply dummy text of the printing and typesetting industry. Lorem Ipsum has been the industry's standard dummy text.</a:t>
            </a:r>
          </a:p>
        </p:txBody>
      </p:sp>
      <p:sp>
        <p:nvSpPr>
          <p:cNvPr id="68" name="Rectangle 67"/>
          <p:cNvSpPr/>
          <p:nvPr/>
        </p:nvSpPr>
        <p:spPr>
          <a:xfrm>
            <a:off x="838200" y="1568156"/>
            <a:ext cx="3451026" cy="69249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0" marR="0" lvl="0" indent="0" algn="just" defTabSz="914400" rtl="1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Lorem Ipsum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 is simply dummy text of the printing and typesetting industry. Lorem Ipsum has been the industry's standard dummy text ever since the 1500s.</a:t>
            </a:r>
          </a:p>
        </p:txBody>
      </p:sp>
      <p:sp>
        <p:nvSpPr>
          <p:cNvPr id="69" name="Rectangle 68"/>
          <p:cNvSpPr/>
          <p:nvPr/>
        </p:nvSpPr>
        <p:spPr>
          <a:xfrm>
            <a:off x="1178015" y="3249498"/>
            <a:ext cx="2095615" cy="92333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0" marR="0" lvl="0" indent="0" algn="just" defTabSz="914400" rtl="1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Arial" panose="020B0604020202020204" pitchFamily="34" charset="0"/>
              </a:rPr>
              <a:t>Lorem Ipsum is simply dummy text of the printing and typesetting industry. Lorem Ipsum has been the industry's standard dummy text.</a:t>
            </a:r>
          </a:p>
        </p:txBody>
      </p:sp>
      <p:sp>
        <p:nvSpPr>
          <p:cNvPr id="70" name="Rectangle 69"/>
          <p:cNvSpPr/>
          <p:nvPr/>
        </p:nvSpPr>
        <p:spPr>
          <a:xfrm>
            <a:off x="1722773" y="5425486"/>
            <a:ext cx="2566452" cy="69249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0" marR="0" lvl="0" indent="0" algn="just" defTabSz="914400" rtl="1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Arial" panose="020B0604020202020204" pitchFamily="34" charset="0"/>
              </a:rPr>
              <a:t>Lorem Ipsum is simply dummy text of the printing and typesetting industry. Lorem Ipsum has been the industry's standard dummy text.</a:t>
            </a:r>
          </a:p>
        </p:txBody>
      </p:sp>
      <p:grpSp>
        <p:nvGrpSpPr>
          <p:cNvPr id="99" name="Group 98"/>
          <p:cNvGrpSpPr/>
          <p:nvPr/>
        </p:nvGrpSpPr>
        <p:grpSpPr>
          <a:xfrm>
            <a:off x="5872377" y="1923408"/>
            <a:ext cx="412474" cy="410182"/>
            <a:chOff x="7045325" y="1919288"/>
            <a:chExt cx="285750" cy="284162"/>
          </a:xfrm>
          <a:solidFill>
            <a:schemeClr val="bg1"/>
          </a:solidFill>
        </p:grpSpPr>
        <p:sp>
          <p:nvSpPr>
            <p:cNvPr id="100" name="Freeform 308"/>
            <p:cNvSpPr>
              <a:spLocks noEditPoints="1"/>
            </p:cNvSpPr>
            <p:nvPr/>
          </p:nvSpPr>
          <p:spPr bwMode="auto">
            <a:xfrm>
              <a:off x="7045325" y="1919288"/>
              <a:ext cx="285750" cy="284162"/>
            </a:xfrm>
            <a:custGeom>
              <a:avLst/>
              <a:gdLst>
                <a:gd name="T0" fmla="*/ 718 w 897"/>
                <a:gd name="T1" fmla="*/ 742 h 897"/>
                <a:gd name="T2" fmla="*/ 658 w 897"/>
                <a:gd name="T3" fmla="*/ 659 h 897"/>
                <a:gd name="T4" fmla="*/ 750 w 897"/>
                <a:gd name="T5" fmla="*/ 573 h 897"/>
                <a:gd name="T6" fmla="*/ 136 w 897"/>
                <a:gd name="T7" fmla="*/ 325 h 897"/>
                <a:gd name="T8" fmla="*/ 154 w 897"/>
                <a:gd name="T9" fmla="*/ 246 h 897"/>
                <a:gd name="T10" fmla="*/ 190 w 897"/>
                <a:gd name="T11" fmla="*/ 174 h 897"/>
                <a:gd name="T12" fmla="*/ 242 w 897"/>
                <a:gd name="T13" fmla="*/ 115 h 897"/>
                <a:gd name="T14" fmla="*/ 307 w 897"/>
                <a:gd name="T15" fmla="*/ 69 h 897"/>
                <a:gd name="T16" fmla="*/ 381 w 897"/>
                <a:gd name="T17" fmla="*/ 39 h 897"/>
                <a:gd name="T18" fmla="*/ 463 w 897"/>
                <a:gd name="T19" fmla="*/ 30 h 897"/>
                <a:gd name="T20" fmla="*/ 545 w 897"/>
                <a:gd name="T21" fmla="*/ 39 h 897"/>
                <a:gd name="T22" fmla="*/ 620 w 897"/>
                <a:gd name="T23" fmla="*/ 69 h 897"/>
                <a:gd name="T24" fmla="*/ 684 w 897"/>
                <a:gd name="T25" fmla="*/ 115 h 897"/>
                <a:gd name="T26" fmla="*/ 735 w 897"/>
                <a:gd name="T27" fmla="*/ 174 h 897"/>
                <a:gd name="T28" fmla="*/ 772 w 897"/>
                <a:gd name="T29" fmla="*/ 246 h 897"/>
                <a:gd name="T30" fmla="*/ 790 w 897"/>
                <a:gd name="T31" fmla="*/ 325 h 897"/>
                <a:gd name="T32" fmla="*/ 788 w 897"/>
                <a:gd name="T33" fmla="*/ 408 h 897"/>
                <a:gd name="T34" fmla="*/ 766 w 897"/>
                <a:gd name="T35" fmla="*/ 486 h 897"/>
                <a:gd name="T36" fmla="*/ 727 w 897"/>
                <a:gd name="T37" fmla="*/ 555 h 897"/>
                <a:gd name="T38" fmla="*/ 672 w 897"/>
                <a:gd name="T39" fmla="*/ 612 h 897"/>
                <a:gd name="T40" fmla="*/ 606 w 897"/>
                <a:gd name="T41" fmla="*/ 654 h 897"/>
                <a:gd name="T42" fmla="*/ 529 w 897"/>
                <a:gd name="T43" fmla="*/ 681 h 897"/>
                <a:gd name="T44" fmla="*/ 447 w 897"/>
                <a:gd name="T45" fmla="*/ 686 h 897"/>
                <a:gd name="T46" fmla="*/ 365 w 897"/>
                <a:gd name="T47" fmla="*/ 672 h 897"/>
                <a:gd name="T48" fmla="*/ 293 w 897"/>
                <a:gd name="T49" fmla="*/ 639 h 897"/>
                <a:gd name="T50" fmla="*/ 231 w 897"/>
                <a:gd name="T51" fmla="*/ 591 h 897"/>
                <a:gd name="T52" fmla="*/ 182 w 897"/>
                <a:gd name="T53" fmla="*/ 529 h 897"/>
                <a:gd name="T54" fmla="*/ 149 w 897"/>
                <a:gd name="T55" fmla="*/ 456 h 897"/>
                <a:gd name="T56" fmla="*/ 134 w 897"/>
                <a:gd name="T57" fmla="*/ 375 h 897"/>
                <a:gd name="T58" fmla="*/ 176 w 897"/>
                <a:gd name="T59" fmla="*/ 738 h 897"/>
                <a:gd name="T60" fmla="*/ 163 w 897"/>
                <a:gd name="T61" fmla="*/ 555 h 897"/>
                <a:gd name="T62" fmla="*/ 254 w 897"/>
                <a:gd name="T63" fmla="*/ 650 h 897"/>
                <a:gd name="T64" fmla="*/ 895 w 897"/>
                <a:gd name="T65" fmla="*/ 754 h 897"/>
                <a:gd name="T66" fmla="*/ 808 w 897"/>
                <a:gd name="T67" fmla="*/ 457 h 897"/>
                <a:gd name="T68" fmla="*/ 821 w 897"/>
                <a:gd name="T69" fmla="*/ 340 h 897"/>
                <a:gd name="T70" fmla="*/ 806 w 897"/>
                <a:gd name="T71" fmla="*/ 252 h 897"/>
                <a:gd name="T72" fmla="*/ 770 w 897"/>
                <a:gd name="T73" fmla="*/ 172 h 897"/>
                <a:gd name="T74" fmla="*/ 716 w 897"/>
                <a:gd name="T75" fmla="*/ 104 h 897"/>
                <a:gd name="T76" fmla="*/ 649 w 897"/>
                <a:gd name="T77" fmla="*/ 51 h 897"/>
                <a:gd name="T78" fmla="*/ 570 w 897"/>
                <a:gd name="T79" fmla="*/ 16 h 897"/>
                <a:gd name="T80" fmla="*/ 482 w 897"/>
                <a:gd name="T81" fmla="*/ 0 h 897"/>
                <a:gd name="T82" fmla="*/ 391 w 897"/>
                <a:gd name="T83" fmla="*/ 7 h 897"/>
                <a:gd name="T84" fmla="*/ 308 w 897"/>
                <a:gd name="T85" fmla="*/ 35 h 897"/>
                <a:gd name="T86" fmla="*/ 235 w 897"/>
                <a:gd name="T87" fmla="*/ 81 h 897"/>
                <a:gd name="T88" fmla="*/ 176 w 897"/>
                <a:gd name="T89" fmla="*/ 144 h 897"/>
                <a:gd name="T90" fmla="*/ 132 w 897"/>
                <a:gd name="T91" fmla="*/ 219 h 897"/>
                <a:gd name="T92" fmla="*/ 109 w 897"/>
                <a:gd name="T93" fmla="*/ 303 h 897"/>
                <a:gd name="T94" fmla="*/ 107 w 897"/>
                <a:gd name="T95" fmla="*/ 403 h 897"/>
                <a:gd name="T96" fmla="*/ 137 w 897"/>
                <a:gd name="T97" fmla="*/ 505 h 897"/>
                <a:gd name="T98" fmla="*/ 1 w 897"/>
                <a:gd name="T99" fmla="*/ 781 h 897"/>
                <a:gd name="T100" fmla="*/ 18 w 897"/>
                <a:gd name="T101" fmla="*/ 791 h 897"/>
                <a:gd name="T102" fmla="*/ 203 w 897"/>
                <a:gd name="T103" fmla="*/ 895 h 897"/>
                <a:gd name="T104" fmla="*/ 216 w 897"/>
                <a:gd name="T105" fmla="*/ 895 h 897"/>
                <a:gd name="T106" fmla="*/ 407 w 897"/>
                <a:gd name="T107" fmla="*/ 713 h 897"/>
                <a:gd name="T108" fmla="*/ 488 w 897"/>
                <a:gd name="T109" fmla="*/ 716 h 897"/>
                <a:gd name="T110" fmla="*/ 676 w 897"/>
                <a:gd name="T111" fmla="*/ 893 h 897"/>
                <a:gd name="T112" fmla="*/ 688 w 897"/>
                <a:gd name="T113" fmla="*/ 896 h 897"/>
                <a:gd name="T114" fmla="*/ 743 w 897"/>
                <a:gd name="T115" fmla="*/ 763 h 897"/>
                <a:gd name="T116" fmla="*/ 895 w 897"/>
                <a:gd name="T117" fmla="*/ 770 h 897"/>
                <a:gd name="T118" fmla="*/ 895 w 897"/>
                <a:gd name="T119" fmla="*/ 754 h 8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97" h="897">
                  <a:moveTo>
                    <a:pt x="733" y="732"/>
                  </a:moveTo>
                  <a:lnTo>
                    <a:pt x="729" y="732"/>
                  </a:lnTo>
                  <a:lnTo>
                    <a:pt x="724" y="734"/>
                  </a:lnTo>
                  <a:lnTo>
                    <a:pt x="720" y="738"/>
                  </a:lnTo>
                  <a:lnTo>
                    <a:pt x="718" y="742"/>
                  </a:lnTo>
                  <a:lnTo>
                    <a:pt x="682" y="847"/>
                  </a:lnTo>
                  <a:lnTo>
                    <a:pt x="590" y="694"/>
                  </a:lnTo>
                  <a:lnTo>
                    <a:pt x="614" y="684"/>
                  </a:lnTo>
                  <a:lnTo>
                    <a:pt x="636" y="672"/>
                  </a:lnTo>
                  <a:lnTo>
                    <a:pt x="658" y="659"/>
                  </a:lnTo>
                  <a:lnTo>
                    <a:pt x="679" y="645"/>
                  </a:lnTo>
                  <a:lnTo>
                    <a:pt x="699" y="628"/>
                  </a:lnTo>
                  <a:lnTo>
                    <a:pt x="717" y="611"/>
                  </a:lnTo>
                  <a:lnTo>
                    <a:pt x="734" y="592"/>
                  </a:lnTo>
                  <a:lnTo>
                    <a:pt x="750" y="573"/>
                  </a:lnTo>
                  <a:lnTo>
                    <a:pt x="853" y="744"/>
                  </a:lnTo>
                  <a:lnTo>
                    <a:pt x="733" y="732"/>
                  </a:lnTo>
                  <a:close/>
                  <a:moveTo>
                    <a:pt x="134" y="358"/>
                  </a:moveTo>
                  <a:lnTo>
                    <a:pt x="134" y="341"/>
                  </a:lnTo>
                  <a:lnTo>
                    <a:pt x="136" y="325"/>
                  </a:lnTo>
                  <a:lnTo>
                    <a:pt x="138" y="308"/>
                  </a:lnTo>
                  <a:lnTo>
                    <a:pt x="141" y="292"/>
                  </a:lnTo>
                  <a:lnTo>
                    <a:pt x="144" y="276"/>
                  </a:lnTo>
                  <a:lnTo>
                    <a:pt x="149" y="261"/>
                  </a:lnTo>
                  <a:lnTo>
                    <a:pt x="154" y="246"/>
                  </a:lnTo>
                  <a:lnTo>
                    <a:pt x="160" y="231"/>
                  </a:lnTo>
                  <a:lnTo>
                    <a:pt x="167" y="216"/>
                  </a:lnTo>
                  <a:lnTo>
                    <a:pt x="174" y="202"/>
                  </a:lnTo>
                  <a:lnTo>
                    <a:pt x="182" y="188"/>
                  </a:lnTo>
                  <a:lnTo>
                    <a:pt x="190" y="174"/>
                  </a:lnTo>
                  <a:lnTo>
                    <a:pt x="200" y="161"/>
                  </a:lnTo>
                  <a:lnTo>
                    <a:pt x="209" y="149"/>
                  </a:lnTo>
                  <a:lnTo>
                    <a:pt x="220" y="138"/>
                  </a:lnTo>
                  <a:lnTo>
                    <a:pt x="231" y="126"/>
                  </a:lnTo>
                  <a:lnTo>
                    <a:pt x="242" y="115"/>
                  </a:lnTo>
                  <a:lnTo>
                    <a:pt x="254" y="104"/>
                  </a:lnTo>
                  <a:lnTo>
                    <a:pt x="266" y="95"/>
                  </a:lnTo>
                  <a:lnTo>
                    <a:pt x="280" y="85"/>
                  </a:lnTo>
                  <a:lnTo>
                    <a:pt x="293" y="77"/>
                  </a:lnTo>
                  <a:lnTo>
                    <a:pt x="307" y="69"/>
                  </a:lnTo>
                  <a:lnTo>
                    <a:pt x="321" y="62"/>
                  </a:lnTo>
                  <a:lnTo>
                    <a:pt x="335" y="55"/>
                  </a:lnTo>
                  <a:lnTo>
                    <a:pt x="350" y="49"/>
                  </a:lnTo>
                  <a:lnTo>
                    <a:pt x="365" y="45"/>
                  </a:lnTo>
                  <a:lnTo>
                    <a:pt x="381" y="39"/>
                  </a:lnTo>
                  <a:lnTo>
                    <a:pt x="396" y="36"/>
                  </a:lnTo>
                  <a:lnTo>
                    <a:pt x="414" y="33"/>
                  </a:lnTo>
                  <a:lnTo>
                    <a:pt x="430" y="31"/>
                  </a:lnTo>
                  <a:lnTo>
                    <a:pt x="447" y="30"/>
                  </a:lnTo>
                  <a:lnTo>
                    <a:pt x="463" y="30"/>
                  </a:lnTo>
                  <a:lnTo>
                    <a:pt x="480" y="30"/>
                  </a:lnTo>
                  <a:lnTo>
                    <a:pt x="497" y="31"/>
                  </a:lnTo>
                  <a:lnTo>
                    <a:pt x="513" y="33"/>
                  </a:lnTo>
                  <a:lnTo>
                    <a:pt x="529" y="36"/>
                  </a:lnTo>
                  <a:lnTo>
                    <a:pt x="545" y="39"/>
                  </a:lnTo>
                  <a:lnTo>
                    <a:pt x="561" y="45"/>
                  </a:lnTo>
                  <a:lnTo>
                    <a:pt x="576" y="49"/>
                  </a:lnTo>
                  <a:lnTo>
                    <a:pt x="591" y="55"/>
                  </a:lnTo>
                  <a:lnTo>
                    <a:pt x="606" y="62"/>
                  </a:lnTo>
                  <a:lnTo>
                    <a:pt x="620" y="69"/>
                  </a:lnTo>
                  <a:lnTo>
                    <a:pt x="634" y="77"/>
                  </a:lnTo>
                  <a:lnTo>
                    <a:pt x="647" y="85"/>
                  </a:lnTo>
                  <a:lnTo>
                    <a:pt x="660" y="95"/>
                  </a:lnTo>
                  <a:lnTo>
                    <a:pt x="672" y="104"/>
                  </a:lnTo>
                  <a:lnTo>
                    <a:pt x="684" y="115"/>
                  </a:lnTo>
                  <a:lnTo>
                    <a:pt x="696" y="126"/>
                  </a:lnTo>
                  <a:lnTo>
                    <a:pt x="707" y="138"/>
                  </a:lnTo>
                  <a:lnTo>
                    <a:pt x="717" y="149"/>
                  </a:lnTo>
                  <a:lnTo>
                    <a:pt x="727" y="161"/>
                  </a:lnTo>
                  <a:lnTo>
                    <a:pt x="735" y="174"/>
                  </a:lnTo>
                  <a:lnTo>
                    <a:pt x="744" y="188"/>
                  </a:lnTo>
                  <a:lnTo>
                    <a:pt x="753" y="202"/>
                  </a:lnTo>
                  <a:lnTo>
                    <a:pt x="760" y="216"/>
                  </a:lnTo>
                  <a:lnTo>
                    <a:pt x="766" y="231"/>
                  </a:lnTo>
                  <a:lnTo>
                    <a:pt x="772" y="246"/>
                  </a:lnTo>
                  <a:lnTo>
                    <a:pt x="777" y="261"/>
                  </a:lnTo>
                  <a:lnTo>
                    <a:pt x="781" y="277"/>
                  </a:lnTo>
                  <a:lnTo>
                    <a:pt x="786" y="292"/>
                  </a:lnTo>
                  <a:lnTo>
                    <a:pt x="788" y="309"/>
                  </a:lnTo>
                  <a:lnTo>
                    <a:pt x="790" y="325"/>
                  </a:lnTo>
                  <a:lnTo>
                    <a:pt x="792" y="341"/>
                  </a:lnTo>
                  <a:lnTo>
                    <a:pt x="792" y="358"/>
                  </a:lnTo>
                  <a:lnTo>
                    <a:pt x="792" y="375"/>
                  </a:lnTo>
                  <a:lnTo>
                    <a:pt x="790" y="392"/>
                  </a:lnTo>
                  <a:lnTo>
                    <a:pt x="788" y="408"/>
                  </a:lnTo>
                  <a:lnTo>
                    <a:pt x="786" y="424"/>
                  </a:lnTo>
                  <a:lnTo>
                    <a:pt x="781" y="440"/>
                  </a:lnTo>
                  <a:lnTo>
                    <a:pt x="777" y="456"/>
                  </a:lnTo>
                  <a:lnTo>
                    <a:pt x="772" y="471"/>
                  </a:lnTo>
                  <a:lnTo>
                    <a:pt x="766" y="486"/>
                  </a:lnTo>
                  <a:lnTo>
                    <a:pt x="760" y="500"/>
                  </a:lnTo>
                  <a:lnTo>
                    <a:pt x="753" y="515"/>
                  </a:lnTo>
                  <a:lnTo>
                    <a:pt x="744" y="529"/>
                  </a:lnTo>
                  <a:lnTo>
                    <a:pt x="735" y="542"/>
                  </a:lnTo>
                  <a:lnTo>
                    <a:pt x="727" y="555"/>
                  </a:lnTo>
                  <a:lnTo>
                    <a:pt x="717" y="567"/>
                  </a:lnTo>
                  <a:lnTo>
                    <a:pt x="707" y="579"/>
                  </a:lnTo>
                  <a:lnTo>
                    <a:pt x="696" y="591"/>
                  </a:lnTo>
                  <a:lnTo>
                    <a:pt x="684" y="602"/>
                  </a:lnTo>
                  <a:lnTo>
                    <a:pt x="672" y="612"/>
                  </a:lnTo>
                  <a:lnTo>
                    <a:pt x="660" y="622"/>
                  </a:lnTo>
                  <a:lnTo>
                    <a:pt x="647" y="631"/>
                  </a:lnTo>
                  <a:lnTo>
                    <a:pt x="634" y="639"/>
                  </a:lnTo>
                  <a:lnTo>
                    <a:pt x="620" y="648"/>
                  </a:lnTo>
                  <a:lnTo>
                    <a:pt x="606" y="654"/>
                  </a:lnTo>
                  <a:lnTo>
                    <a:pt x="591" y="662"/>
                  </a:lnTo>
                  <a:lnTo>
                    <a:pt x="576" y="667"/>
                  </a:lnTo>
                  <a:lnTo>
                    <a:pt x="561" y="672"/>
                  </a:lnTo>
                  <a:lnTo>
                    <a:pt x="545" y="677"/>
                  </a:lnTo>
                  <a:lnTo>
                    <a:pt x="529" y="681"/>
                  </a:lnTo>
                  <a:lnTo>
                    <a:pt x="513" y="683"/>
                  </a:lnTo>
                  <a:lnTo>
                    <a:pt x="497" y="685"/>
                  </a:lnTo>
                  <a:lnTo>
                    <a:pt x="480" y="686"/>
                  </a:lnTo>
                  <a:lnTo>
                    <a:pt x="463" y="687"/>
                  </a:lnTo>
                  <a:lnTo>
                    <a:pt x="447" y="686"/>
                  </a:lnTo>
                  <a:lnTo>
                    <a:pt x="430" y="685"/>
                  </a:lnTo>
                  <a:lnTo>
                    <a:pt x="414" y="683"/>
                  </a:lnTo>
                  <a:lnTo>
                    <a:pt x="396" y="681"/>
                  </a:lnTo>
                  <a:lnTo>
                    <a:pt x="381" y="677"/>
                  </a:lnTo>
                  <a:lnTo>
                    <a:pt x="365" y="672"/>
                  </a:lnTo>
                  <a:lnTo>
                    <a:pt x="350" y="667"/>
                  </a:lnTo>
                  <a:lnTo>
                    <a:pt x="335" y="662"/>
                  </a:lnTo>
                  <a:lnTo>
                    <a:pt x="321" y="654"/>
                  </a:lnTo>
                  <a:lnTo>
                    <a:pt x="307" y="648"/>
                  </a:lnTo>
                  <a:lnTo>
                    <a:pt x="293" y="639"/>
                  </a:lnTo>
                  <a:lnTo>
                    <a:pt x="280" y="631"/>
                  </a:lnTo>
                  <a:lnTo>
                    <a:pt x="266" y="622"/>
                  </a:lnTo>
                  <a:lnTo>
                    <a:pt x="254" y="612"/>
                  </a:lnTo>
                  <a:lnTo>
                    <a:pt x="242" y="602"/>
                  </a:lnTo>
                  <a:lnTo>
                    <a:pt x="231" y="591"/>
                  </a:lnTo>
                  <a:lnTo>
                    <a:pt x="220" y="579"/>
                  </a:lnTo>
                  <a:lnTo>
                    <a:pt x="209" y="567"/>
                  </a:lnTo>
                  <a:lnTo>
                    <a:pt x="200" y="555"/>
                  </a:lnTo>
                  <a:lnTo>
                    <a:pt x="190" y="542"/>
                  </a:lnTo>
                  <a:lnTo>
                    <a:pt x="182" y="529"/>
                  </a:lnTo>
                  <a:lnTo>
                    <a:pt x="174" y="515"/>
                  </a:lnTo>
                  <a:lnTo>
                    <a:pt x="167" y="501"/>
                  </a:lnTo>
                  <a:lnTo>
                    <a:pt x="160" y="486"/>
                  </a:lnTo>
                  <a:lnTo>
                    <a:pt x="154" y="471"/>
                  </a:lnTo>
                  <a:lnTo>
                    <a:pt x="149" y="456"/>
                  </a:lnTo>
                  <a:lnTo>
                    <a:pt x="144" y="440"/>
                  </a:lnTo>
                  <a:lnTo>
                    <a:pt x="141" y="424"/>
                  </a:lnTo>
                  <a:lnTo>
                    <a:pt x="138" y="408"/>
                  </a:lnTo>
                  <a:lnTo>
                    <a:pt x="136" y="392"/>
                  </a:lnTo>
                  <a:lnTo>
                    <a:pt x="134" y="375"/>
                  </a:lnTo>
                  <a:lnTo>
                    <a:pt x="134" y="358"/>
                  </a:lnTo>
                  <a:lnTo>
                    <a:pt x="134" y="358"/>
                  </a:lnTo>
                  <a:close/>
                  <a:moveTo>
                    <a:pt x="214" y="849"/>
                  </a:moveTo>
                  <a:lnTo>
                    <a:pt x="178" y="742"/>
                  </a:lnTo>
                  <a:lnTo>
                    <a:pt x="176" y="738"/>
                  </a:lnTo>
                  <a:lnTo>
                    <a:pt x="172" y="734"/>
                  </a:lnTo>
                  <a:lnTo>
                    <a:pt x="167" y="732"/>
                  </a:lnTo>
                  <a:lnTo>
                    <a:pt x="161" y="732"/>
                  </a:lnTo>
                  <a:lnTo>
                    <a:pt x="45" y="756"/>
                  </a:lnTo>
                  <a:lnTo>
                    <a:pt x="163" y="555"/>
                  </a:lnTo>
                  <a:lnTo>
                    <a:pt x="178" y="576"/>
                  </a:lnTo>
                  <a:lnTo>
                    <a:pt x="195" y="596"/>
                  </a:lnTo>
                  <a:lnTo>
                    <a:pt x="214" y="616"/>
                  </a:lnTo>
                  <a:lnTo>
                    <a:pt x="233" y="634"/>
                  </a:lnTo>
                  <a:lnTo>
                    <a:pt x="254" y="650"/>
                  </a:lnTo>
                  <a:lnTo>
                    <a:pt x="277" y="665"/>
                  </a:lnTo>
                  <a:lnTo>
                    <a:pt x="300" y="678"/>
                  </a:lnTo>
                  <a:lnTo>
                    <a:pt x="324" y="689"/>
                  </a:lnTo>
                  <a:lnTo>
                    <a:pt x="214" y="849"/>
                  </a:lnTo>
                  <a:close/>
                  <a:moveTo>
                    <a:pt x="895" y="754"/>
                  </a:moveTo>
                  <a:lnTo>
                    <a:pt x="770" y="545"/>
                  </a:lnTo>
                  <a:lnTo>
                    <a:pt x="781" y="525"/>
                  </a:lnTo>
                  <a:lnTo>
                    <a:pt x="791" y="502"/>
                  </a:lnTo>
                  <a:lnTo>
                    <a:pt x="801" y="480"/>
                  </a:lnTo>
                  <a:lnTo>
                    <a:pt x="808" y="457"/>
                  </a:lnTo>
                  <a:lnTo>
                    <a:pt x="815" y="433"/>
                  </a:lnTo>
                  <a:lnTo>
                    <a:pt x="819" y="408"/>
                  </a:lnTo>
                  <a:lnTo>
                    <a:pt x="821" y="384"/>
                  </a:lnTo>
                  <a:lnTo>
                    <a:pt x="822" y="358"/>
                  </a:lnTo>
                  <a:lnTo>
                    <a:pt x="821" y="340"/>
                  </a:lnTo>
                  <a:lnTo>
                    <a:pt x="820" y="322"/>
                  </a:lnTo>
                  <a:lnTo>
                    <a:pt x="818" y="303"/>
                  </a:lnTo>
                  <a:lnTo>
                    <a:pt x="815" y="286"/>
                  </a:lnTo>
                  <a:lnTo>
                    <a:pt x="810" y="268"/>
                  </a:lnTo>
                  <a:lnTo>
                    <a:pt x="806" y="252"/>
                  </a:lnTo>
                  <a:lnTo>
                    <a:pt x="800" y="235"/>
                  </a:lnTo>
                  <a:lnTo>
                    <a:pt x="793" y="219"/>
                  </a:lnTo>
                  <a:lnTo>
                    <a:pt x="787" y="203"/>
                  </a:lnTo>
                  <a:lnTo>
                    <a:pt x="778" y="187"/>
                  </a:lnTo>
                  <a:lnTo>
                    <a:pt x="770" y="172"/>
                  </a:lnTo>
                  <a:lnTo>
                    <a:pt x="761" y="158"/>
                  </a:lnTo>
                  <a:lnTo>
                    <a:pt x="750" y="144"/>
                  </a:lnTo>
                  <a:lnTo>
                    <a:pt x="740" y="130"/>
                  </a:lnTo>
                  <a:lnTo>
                    <a:pt x="729" y="117"/>
                  </a:lnTo>
                  <a:lnTo>
                    <a:pt x="716" y="104"/>
                  </a:lnTo>
                  <a:lnTo>
                    <a:pt x="704" y="93"/>
                  </a:lnTo>
                  <a:lnTo>
                    <a:pt x="692" y="81"/>
                  </a:lnTo>
                  <a:lnTo>
                    <a:pt x="678" y="70"/>
                  </a:lnTo>
                  <a:lnTo>
                    <a:pt x="664" y="61"/>
                  </a:lnTo>
                  <a:lnTo>
                    <a:pt x="649" y="51"/>
                  </a:lnTo>
                  <a:lnTo>
                    <a:pt x="634" y="42"/>
                  </a:lnTo>
                  <a:lnTo>
                    <a:pt x="619" y="35"/>
                  </a:lnTo>
                  <a:lnTo>
                    <a:pt x="603" y="27"/>
                  </a:lnTo>
                  <a:lnTo>
                    <a:pt x="587" y="21"/>
                  </a:lnTo>
                  <a:lnTo>
                    <a:pt x="570" y="16"/>
                  </a:lnTo>
                  <a:lnTo>
                    <a:pt x="553" y="10"/>
                  </a:lnTo>
                  <a:lnTo>
                    <a:pt x="535" y="7"/>
                  </a:lnTo>
                  <a:lnTo>
                    <a:pt x="517" y="4"/>
                  </a:lnTo>
                  <a:lnTo>
                    <a:pt x="500" y="1"/>
                  </a:lnTo>
                  <a:lnTo>
                    <a:pt x="482" y="0"/>
                  </a:lnTo>
                  <a:lnTo>
                    <a:pt x="463" y="0"/>
                  </a:lnTo>
                  <a:lnTo>
                    <a:pt x="445" y="0"/>
                  </a:lnTo>
                  <a:lnTo>
                    <a:pt x="426" y="1"/>
                  </a:lnTo>
                  <a:lnTo>
                    <a:pt x="408" y="4"/>
                  </a:lnTo>
                  <a:lnTo>
                    <a:pt x="391" y="7"/>
                  </a:lnTo>
                  <a:lnTo>
                    <a:pt x="374" y="10"/>
                  </a:lnTo>
                  <a:lnTo>
                    <a:pt x="357" y="16"/>
                  </a:lnTo>
                  <a:lnTo>
                    <a:pt x="340" y="21"/>
                  </a:lnTo>
                  <a:lnTo>
                    <a:pt x="324" y="27"/>
                  </a:lnTo>
                  <a:lnTo>
                    <a:pt x="308" y="35"/>
                  </a:lnTo>
                  <a:lnTo>
                    <a:pt x="293" y="42"/>
                  </a:lnTo>
                  <a:lnTo>
                    <a:pt x="278" y="51"/>
                  </a:lnTo>
                  <a:lnTo>
                    <a:pt x="263" y="61"/>
                  </a:lnTo>
                  <a:lnTo>
                    <a:pt x="249" y="70"/>
                  </a:lnTo>
                  <a:lnTo>
                    <a:pt x="235" y="81"/>
                  </a:lnTo>
                  <a:lnTo>
                    <a:pt x="222" y="93"/>
                  </a:lnTo>
                  <a:lnTo>
                    <a:pt x="209" y="104"/>
                  </a:lnTo>
                  <a:lnTo>
                    <a:pt x="198" y="117"/>
                  </a:lnTo>
                  <a:lnTo>
                    <a:pt x="187" y="130"/>
                  </a:lnTo>
                  <a:lnTo>
                    <a:pt x="176" y="144"/>
                  </a:lnTo>
                  <a:lnTo>
                    <a:pt x="165" y="158"/>
                  </a:lnTo>
                  <a:lnTo>
                    <a:pt x="156" y="172"/>
                  </a:lnTo>
                  <a:lnTo>
                    <a:pt x="147" y="187"/>
                  </a:lnTo>
                  <a:lnTo>
                    <a:pt x="140" y="203"/>
                  </a:lnTo>
                  <a:lnTo>
                    <a:pt x="132" y="219"/>
                  </a:lnTo>
                  <a:lnTo>
                    <a:pt x="126" y="235"/>
                  </a:lnTo>
                  <a:lnTo>
                    <a:pt x="121" y="252"/>
                  </a:lnTo>
                  <a:lnTo>
                    <a:pt x="115" y="268"/>
                  </a:lnTo>
                  <a:lnTo>
                    <a:pt x="112" y="286"/>
                  </a:lnTo>
                  <a:lnTo>
                    <a:pt x="109" y="303"/>
                  </a:lnTo>
                  <a:lnTo>
                    <a:pt x="107" y="322"/>
                  </a:lnTo>
                  <a:lnTo>
                    <a:pt x="105" y="340"/>
                  </a:lnTo>
                  <a:lnTo>
                    <a:pt x="105" y="358"/>
                  </a:lnTo>
                  <a:lnTo>
                    <a:pt x="105" y="380"/>
                  </a:lnTo>
                  <a:lnTo>
                    <a:pt x="107" y="403"/>
                  </a:lnTo>
                  <a:lnTo>
                    <a:pt x="111" y="424"/>
                  </a:lnTo>
                  <a:lnTo>
                    <a:pt x="115" y="446"/>
                  </a:lnTo>
                  <a:lnTo>
                    <a:pt x="121" y="466"/>
                  </a:lnTo>
                  <a:lnTo>
                    <a:pt x="128" y="486"/>
                  </a:lnTo>
                  <a:lnTo>
                    <a:pt x="137" y="505"/>
                  </a:lnTo>
                  <a:lnTo>
                    <a:pt x="145" y="525"/>
                  </a:lnTo>
                  <a:lnTo>
                    <a:pt x="2" y="770"/>
                  </a:lnTo>
                  <a:lnTo>
                    <a:pt x="0" y="773"/>
                  </a:lnTo>
                  <a:lnTo>
                    <a:pt x="0" y="777"/>
                  </a:lnTo>
                  <a:lnTo>
                    <a:pt x="1" y="781"/>
                  </a:lnTo>
                  <a:lnTo>
                    <a:pt x="3" y="786"/>
                  </a:lnTo>
                  <a:lnTo>
                    <a:pt x="5" y="789"/>
                  </a:lnTo>
                  <a:lnTo>
                    <a:pt x="9" y="791"/>
                  </a:lnTo>
                  <a:lnTo>
                    <a:pt x="14" y="792"/>
                  </a:lnTo>
                  <a:lnTo>
                    <a:pt x="18" y="791"/>
                  </a:lnTo>
                  <a:lnTo>
                    <a:pt x="154" y="764"/>
                  </a:lnTo>
                  <a:lnTo>
                    <a:pt x="194" y="886"/>
                  </a:lnTo>
                  <a:lnTo>
                    <a:pt x="196" y="889"/>
                  </a:lnTo>
                  <a:lnTo>
                    <a:pt x="200" y="893"/>
                  </a:lnTo>
                  <a:lnTo>
                    <a:pt x="203" y="895"/>
                  </a:lnTo>
                  <a:lnTo>
                    <a:pt x="207" y="896"/>
                  </a:lnTo>
                  <a:lnTo>
                    <a:pt x="208" y="896"/>
                  </a:lnTo>
                  <a:lnTo>
                    <a:pt x="209" y="897"/>
                  </a:lnTo>
                  <a:lnTo>
                    <a:pt x="213" y="896"/>
                  </a:lnTo>
                  <a:lnTo>
                    <a:pt x="216" y="895"/>
                  </a:lnTo>
                  <a:lnTo>
                    <a:pt x="219" y="893"/>
                  </a:lnTo>
                  <a:lnTo>
                    <a:pt x="221" y="890"/>
                  </a:lnTo>
                  <a:lnTo>
                    <a:pt x="353" y="700"/>
                  </a:lnTo>
                  <a:lnTo>
                    <a:pt x="379" y="708"/>
                  </a:lnTo>
                  <a:lnTo>
                    <a:pt x="407" y="713"/>
                  </a:lnTo>
                  <a:lnTo>
                    <a:pt x="421" y="714"/>
                  </a:lnTo>
                  <a:lnTo>
                    <a:pt x="435" y="716"/>
                  </a:lnTo>
                  <a:lnTo>
                    <a:pt x="449" y="717"/>
                  </a:lnTo>
                  <a:lnTo>
                    <a:pt x="463" y="717"/>
                  </a:lnTo>
                  <a:lnTo>
                    <a:pt x="488" y="716"/>
                  </a:lnTo>
                  <a:lnTo>
                    <a:pt x="513" y="714"/>
                  </a:lnTo>
                  <a:lnTo>
                    <a:pt x="537" y="710"/>
                  </a:lnTo>
                  <a:lnTo>
                    <a:pt x="560" y="703"/>
                  </a:lnTo>
                  <a:lnTo>
                    <a:pt x="673" y="889"/>
                  </a:lnTo>
                  <a:lnTo>
                    <a:pt x="676" y="893"/>
                  </a:lnTo>
                  <a:lnTo>
                    <a:pt x="679" y="895"/>
                  </a:lnTo>
                  <a:lnTo>
                    <a:pt x="682" y="896"/>
                  </a:lnTo>
                  <a:lnTo>
                    <a:pt x="686" y="897"/>
                  </a:lnTo>
                  <a:lnTo>
                    <a:pt x="687" y="897"/>
                  </a:lnTo>
                  <a:lnTo>
                    <a:pt x="688" y="896"/>
                  </a:lnTo>
                  <a:lnTo>
                    <a:pt x="692" y="895"/>
                  </a:lnTo>
                  <a:lnTo>
                    <a:pt x="696" y="894"/>
                  </a:lnTo>
                  <a:lnTo>
                    <a:pt x="698" y="890"/>
                  </a:lnTo>
                  <a:lnTo>
                    <a:pt x="700" y="886"/>
                  </a:lnTo>
                  <a:lnTo>
                    <a:pt x="743" y="763"/>
                  </a:lnTo>
                  <a:lnTo>
                    <a:pt x="880" y="777"/>
                  </a:lnTo>
                  <a:lnTo>
                    <a:pt x="884" y="776"/>
                  </a:lnTo>
                  <a:lnTo>
                    <a:pt x="888" y="775"/>
                  </a:lnTo>
                  <a:lnTo>
                    <a:pt x="892" y="773"/>
                  </a:lnTo>
                  <a:lnTo>
                    <a:pt x="895" y="770"/>
                  </a:lnTo>
                  <a:lnTo>
                    <a:pt x="896" y="766"/>
                  </a:lnTo>
                  <a:lnTo>
                    <a:pt x="897" y="762"/>
                  </a:lnTo>
                  <a:lnTo>
                    <a:pt x="896" y="758"/>
                  </a:lnTo>
                  <a:lnTo>
                    <a:pt x="895" y="755"/>
                  </a:lnTo>
                  <a:lnTo>
                    <a:pt x="895" y="7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309"/>
            <p:cNvSpPr>
              <a:spLocks noEditPoints="1"/>
            </p:cNvSpPr>
            <p:nvPr/>
          </p:nvSpPr>
          <p:spPr bwMode="auto">
            <a:xfrm>
              <a:off x="7135813" y="1976438"/>
              <a:ext cx="114300" cy="114300"/>
            </a:xfrm>
            <a:custGeom>
              <a:avLst/>
              <a:gdLst>
                <a:gd name="T0" fmla="*/ 242 w 358"/>
                <a:gd name="T1" fmla="*/ 201 h 359"/>
                <a:gd name="T2" fmla="*/ 239 w 358"/>
                <a:gd name="T3" fmla="*/ 209 h 359"/>
                <a:gd name="T4" fmla="*/ 272 w 358"/>
                <a:gd name="T5" fmla="*/ 308 h 359"/>
                <a:gd name="T6" fmla="*/ 183 w 358"/>
                <a:gd name="T7" fmla="*/ 255 h 359"/>
                <a:gd name="T8" fmla="*/ 176 w 358"/>
                <a:gd name="T9" fmla="*/ 255 h 359"/>
                <a:gd name="T10" fmla="*/ 87 w 358"/>
                <a:gd name="T11" fmla="*/ 308 h 359"/>
                <a:gd name="T12" fmla="*/ 119 w 358"/>
                <a:gd name="T13" fmla="*/ 209 h 359"/>
                <a:gd name="T14" fmla="*/ 117 w 358"/>
                <a:gd name="T15" fmla="*/ 201 h 359"/>
                <a:gd name="T16" fmla="*/ 56 w 358"/>
                <a:gd name="T17" fmla="*/ 149 h 359"/>
                <a:gd name="T18" fmla="*/ 123 w 358"/>
                <a:gd name="T19" fmla="*/ 149 h 359"/>
                <a:gd name="T20" fmla="*/ 131 w 358"/>
                <a:gd name="T21" fmla="*/ 145 h 359"/>
                <a:gd name="T22" fmla="*/ 179 w 358"/>
                <a:gd name="T23" fmla="*/ 48 h 359"/>
                <a:gd name="T24" fmla="*/ 228 w 358"/>
                <a:gd name="T25" fmla="*/ 145 h 359"/>
                <a:gd name="T26" fmla="*/ 234 w 358"/>
                <a:gd name="T27" fmla="*/ 149 h 359"/>
                <a:gd name="T28" fmla="*/ 303 w 358"/>
                <a:gd name="T29" fmla="*/ 149 h 359"/>
                <a:gd name="T30" fmla="*/ 343 w 358"/>
                <a:gd name="T31" fmla="*/ 119 h 359"/>
                <a:gd name="T32" fmla="*/ 193 w 358"/>
                <a:gd name="T33" fmla="*/ 8 h 359"/>
                <a:gd name="T34" fmla="*/ 187 w 358"/>
                <a:gd name="T35" fmla="*/ 2 h 359"/>
                <a:gd name="T36" fmla="*/ 179 w 358"/>
                <a:gd name="T37" fmla="*/ 0 h 359"/>
                <a:gd name="T38" fmla="*/ 171 w 358"/>
                <a:gd name="T39" fmla="*/ 2 h 359"/>
                <a:gd name="T40" fmla="*/ 166 w 358"/>
                <a:gd name="T41" fmla="*/ 8 h 359"/>
                <a:gd name="T42" fmla="*/ 15 w 358"/>
                <a:gd name="T43" fmla="*/ 119 h 359"/>
                <a:gd name="T44" fmla="*/ 7 w 358"/>
                <a:gd name="T45" fmla="*/ 122 h 359"/>
                <a:gd name="T46" fmla="*/ 0 w 358"/>
                <a:gd name="T47" fmla="*/ 130 h 359"/>
                <a:gd name="T48" fmla="*/ 0 w 358"/>
                <a:gd name="T49" fmla="*/ 138 h 359"/>
                <a:gd name="T50" fmla="*/ 6 w 358"/>
                <a:gd name="T51" fmla="*/ 146 h 359"/>
                <a:gd name="T52" fmla="*/ 45 w 358"/>
                <a:gd name="T53" fmla="*/ 339 h 359"/>
                <a:gd name="T54" fmla="*/ 45 w 358"/>
                <a:gd name="T55" fmla="*/ 348 h 359"/>
                <a:gd name="T56" fmla="*/ 50 w 358"/>
                <a:gd name="T57" fmla="*/ 355 h 359"/>
                <a:gd name="T58" fmla="*/ 59 w 358"/>
                <a:gd name="T59" fmla="*/ 359 h 359"/>
                <a:gd name="T60" fmla="*/ 68 w 358"/>
                <a:gd name="T61" fmla="*/ 356 h 359"/>
                <a:gd name="T62" fmla="*/ 291 w 358"/>
                <a:gd name="T63" fmla="*/ 356 h 359"/>
                <a:gd name="T64" fmla="*/ 299 w 358"/>
                <a:gd name="T65" fmla="*/ 359 h 359"/>
                <a:gd name="T66" fmla="*/ 308 w 358"/>
                <a:gd name="T67" fmla="*/ 355 h 359"/>
                <a:gd name="T68" fmla="*/ 313 w 358"/>
                <a:gd name="T69" fmla="*/ 348 h 359"/>
                <a:gd name="T70" fmla="*/ 312 w 358"/>
                <a:gd name="T71" fmla="*/ 339 h 359"/>
                <a:gd name="T72" fmla="*/ 353 w 358"/>
                <a:gd name="T73" fmla="*/ 146 h 359"/>
                <a:gd name="T74" fmla="*/ 358 w 358"/>
                <a:gd name="T75" fmla="*/ 138 h 359"/>
                <a:gd name="T76" fmla="*/ 357 w 358"/>
                <a:gd name="T77" fmla="*/ 130 h 359"/>
                <a:gd name="T78" fmla="*/ 352 w 358"/>
                <a:gd name="T79" fmla="*/ 122 h 359"/>
                <a:gd name="T80" fmla="*/ 343 w 358"/>
                <a:gd name="T81" fmla="*/ 119 h 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58" h="359">
                  <a:moveTo>
                    <a:pt x="244" y="197"/>
                  </a:moveTo>
                  <a:lnTo>
                    <a:pt x="242" y="201"/>
                  </a:lnTo>
                  <a:lnTo>
                    <a:pt x="240" y="205"/>
                  </a:lnTo>
                  <a:lnTo>
                    <a:pt x="239" y="209"/>
                  </a:lnTo>
                  <a:lnTo>
                    <a:pt x="240" y="214"/>
                  </a:lnTo>
                  <a:lnTo>
                    <a:pt x="272" y="308"/>
                  </a:lnTo>
                  <a:lnTo>
                    <a:pt x="187" y="256"/>
                  </a:lnTo>
                  <a:lnTo>
                    <a:pt x="183" y="255"/>
                  </a:lnTo>
                  <a:lnTo>
                    <a:pt x="179" y="254"/>
                  </a:lnTo>
                  <a:lnTo>
                    <a:pt x="176" y="255"/>
                  </a:lnTo>
                  <a:lnTo>
                    <a:pt x="171" y="256"/>
                  </a:lnTo>
                  <a:lnTo>
                    <a:pt x="87" y="308"/>
                  </a:lnTo>
                  <a:lnTo>
                    <a:pt x="119" y="214"/>
                  </a:lnTo>
                  <a:lnTo>
                    <a:pt x="119" y="209"/>
                  </a:lnTo>
                  <a:lnTo>
                    <a:pt x="119" y="205"/>
                  </a:lnTo>
                  <a:lnTo>
                    <a:pt x="117" y="201"/>
                  </a:lnTo>
                  <a:lnTo>
                    <a:pt x="114" y="197"/>
                  </a:lnTo>
                  <a:lnTo>
                    <a:pt x="56" y="149"/>
                  </a:lnTo>
                  <a:lnTo>
                    <a:pt x="119" y="149"/>
                  </a:lnTo>
                  <a:lnTo>
                    <a:pt x="123" y="149"/>
                  </a:lnTo>
                  <a:lnTo>
                    <a:pt x="127" y="147"/>
                  </a:lnTo>
                  <a:lnTo>
                    <a:pt x="131" y="145"/>
                  </a:lnTo>
                  <a:lnTo>
                    <a:pt x="133" y="141"/>
                  </a:lnTo>
                  <a:lnTo>
                    <a:pt x="179" y="48"/>
                  </a:lnTo>
                  <a:lnTo>
                    <a:pt x="226" y="141"/>
                  </a:lnTo>
                  <a:lnTo>
                    <a:pt x="228" y="145"/>
                  </a:lnTo>
                  <a:lnTo>
                    <a:pt x="231" y="147"/>
                  </a:lnTo>
                  <a:lnTo>
                    <a:pt x="234" y="149"/>
                  </a:lnTo>
                  <a:lnTo>
                    <a:pt x="239" y="149"/>
                  </a:lnTo>
                  <a:lnTo>
                    <a:pt x="303" y="149"/>
                  </a:lnTo>
                  <a:lnTo>
                    <a:pt x="244" y="197"/>
                  </a:lnTo>
                  <a:close/>
                  <a:moveTo>
                    <a:pt x="343" y="119"/>
                  </a:moveTo>
                  <a:lnTo>
                    <a:pt x="248" y="119"/>
                  </a:lnTo>
                  <a:lnTo>
                    <a:pt x="193" y="8"/>
                  </a:lnTo>
                  <a:lnTo>
                    <a:pt x="191" y="5"/>
                  </a:lnTo>
                  <a:lnTo>
                    <a:pt x="187" y="2"/>
                  </a:lnTo>
                  <a:lnTo>
                    <a:pt x="183" y="0"/>
                  </a:lnTo>
                  <a:lnTo>
                    <a:pt x="179" y="0"/>
                  </a:lnTo>
                  <a:lnTo>
                    <a:pt x="176" y="0"/>
                  </a:lnTo>
                  <a:lnTo>
                    <a:pt x="171" y="2"/>
                  </a:lnTo>
                  <a:lnTo>
                    <a:pt x="168" y="5"/>
                  </a:lnTo>
                  <a:lnTo>
                    <a:pt x="166" y="8"/>
                  </a:lnTo>
                  <a:lnTo>
                    <a:pt x="110" y="119"/>
                  </a:lnTo>
                  <a:lnTo>
                    <a:pt x="15" y="119"/>
                  </a:lnTo>
                  <a:lnTo>
                    <a:pt x="10" y="120"/>
                  </a:lnTo>
                  <a:lnTo>
                    <a:pt x="7" y="122"/>
                  </a:lnTo>
                  <a:lnTo>
                    <a:pt x="3" y="125"/>
                  </a:lnTo>
                  <a:lnTo>
                    <a:pt x="0" y="130"/>
                  </a:lnTo>
                  <a:lnTo>
                    <a:pt x="0" y="134"/>
                  </a:lnTo>
                  <a:lnTo>
                    <a:pt x="0" y="138"/>
                  </a:lnTo>
                  <a:lnTo>
                    <a:pt x="2" y="143"/>
                  </a:lnTo>
                  <a:lnTo>
                    <a:pt x="6" y="146"/>
                  </a:lnTo>
                  <a:lnTo>
                    <a:pt x="87" y="214"/>
                  </a:lnTo>
                  <a:lnTo>
                    <a:pt x="45" y="339"/>
                  </a:lnTo>
                  <a:lnTo>
                    <a:pt x="45" y="344"/>
                  </a:lnTo>
                  <a:lnTo>
                    <a:pt x="45" y="348"/>
                  </a:lnTo>
                  <a:lnTo>
                    <a:pt x="47" y="352"/>
                  </a:lnTo>
                  <a:lnTo>
                    <a:pt x="50" y="355"/>
                  </a:lnTo>
                  <a:lnTo>
                    <a:pt x="55" y="357"/>
                  </a:lnTo>
                  <a:lnTo>
                    <a:pt x="59" y="359"/>
                  </a:lnTo>
                  <a:lnTo>
                    <a:pt x="63" y="359"/>
                  </a:lnTo>
                  <a:lnTo>
                    <a:pt x="68" y="356"/>
                  </a:lnTo>
                  <a:lnTo>
                    <a:pt x="179" y="287"/>
                  </a:lnTo>
                  <a:lnTo>
                    <a:pt x="291" y="356"/>
                  </a:lnTo>
                  <a:lnTo>
                    <a:pt x="294" y="359"/>
                  </a:lnTo>
                  <a:lnTo>
                    <a:pt x="299" y="359"/>
                  </a:lnTo>
                  <a:lnTo>
                    <a:pt x="304" y="357"/>
                  </a:lnTo>
                  <a:lnTo>
                    <a:pt x="308" y="355"/>
                  </a:lnTo>
                  <a:lnTo>
                    <a:pt x="311" y="352"/>
                  </a:lnTo>
                  <a:lnTo>
                    <a:pt x="313" y="348"/>
                  </a:lnTo>
                  <a:lnTo>
                    <a:pt x="313" y="344"/>
                  </a:lnTo>
                  <a:lnTo>
                    <a:pt x="312" y="339"/>
                  </a:lnTo>
                  <a:lnTo>
                    <a:pt x="272" y="214"/>
                  </a:lnTo>
                  <a:lnTo>
                    <a:pt x="353" y="146"/>
                  </a:lnTo>
                  <a:lnTo>
                    <a:pt x="356" y="143"/>
                  </a:lnTo>
                  <a:lnTo>
                    <a:pt x="358" y="138"/>
                  </a:lnTo>
                  <a:lnTo>
                    <a:pt x="358" y="134"/>
                  </a:lnTo>
                  <a:lnTo>
                    <a:pt x="357" y="130"/>
                  </a:lnTo>
                  <a:lnTo>
                    <a:pt x="355" y="125"/>
                  </a:lnTo>
                  <a:lnTo>
                    <a:pt x="352" y="122"/>
                  </a:lnTo>
                  <a:lnTo>
                    <a:pt x="348" y="120"/>
                  </a:lnTo>
                  <a:lnTo>
                    <a:pt x="343" y="1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02" name="Group 101"/>
          <p:cNvGrpSpPr/>
          <p:nvPr/>
        </p:nvGrpSpPr>
        <p:grpSpPr>
          <a:xfrm>
            <a:off x="7424147" y="2808997"/>
            <a:ext cx="286325" cy="440501"/>
            <a:chOff x="1525588" y="2489200"/>
            <a:chExt cx="185737" cy="285750"/>
          </a:xfrm>
          <a:solidFill>
            <a:schemeClr val="bg1"/>
          </a:solidFill>
        </p:grpSpPr>
        <p:sp>
          <p:nvSpPr>
            <p:cNvPr id="103" name="Freeform 196"/>
            <p:cNvSpPr>
              <a:spLocks noEditPoints="1"/>
            </p:cNvSpPr>
            <p:nvPr/>
          </p:nvSpPr>
          <p:spPr bwMode="auto">
            <a:xfrm>
              <a:off x="1549400" y="2489200"/>
              <a:ext cx="95250" cy="95250"/>
            </a:xfrm>
            <a:custGeom>
              <a:avLst/>
              <a:gdLst>
                <a:gd name="T0" fmla="*/ 175 w 301"/>
                <a:gd name="T1" fmla="*/ 33 h 301"/>
                <a:gd name="T2" fmla="*/ 208 w 301"/>
                <a:gd name="T3" fmla="*/ 45 h 301"/>
                <a:gd name="T4" fmla="*/ 236 w 301"/>
                <a:gd name="T5" fmla="*/ 65 h 301"/>
                <a:gd name="T6" fmla="*/ 256 w 301"/>
                <a:gd name="T7" fmla="*/ 93 h 301"/>
                <a:gd name="T8" fmla="*/ 268 w 301"/>
                <a:gd name="T9" fmla="*/ 126 h 301"/>
                <a:gd name="T10" fmla="*/ 270 w 301"/>
                <a:gd name="T11" fmla="*/ 163 h 301"/>
                <a:gd name="T12" fmla="*/ 262 w 301"/>
                <a:gd name="T13" fmla="*/ 197 h 301"/>
                <a:gd name="T14" fmla="*/ 243 w 301"/>
                <a:gd name="T15" fmla="*/ 227 h 301"/>
                <a:gd name="T16" fmla="*/ 218 w 301"/>
                <a:gd name="T17" fmla="*/ 251 h 301"/>
                <a:gd name="T18" fmla="*/ 186 w 301"/>
                <a:gd name="T19" fmla="*/ 266 h 301"/>
                <a:gd name="T20" fmla="*/ 150 w 301"/>
                <a:gd name="T21" fmla="*/ 271 h 301"/>
                <a:gd name="T22" fmla="*/ 115 w 301"/>
                <a:gd name="T23" fmla="*/ 266 h 301"/>
                <a:gd name="T24" fmla="*/ 84 w 301"/>
                <a:gd name="T25" fmla="*/ 251 h 301"/>
                <a:gd name="T26" fmla="*/ 58 w 301"/>
                <a:gd name="T27" fmla="*/ 227 h 301"/>
                <a:gd name="T28" fmla="*/ 40 w 301"/>
                <a:gd name="T29" fmla="*/ 197 h 301"/>
                <a:gd name="T30" fmla="*/ 31 w 301"/>
                <a:gd name="T31" fmla="*/ 163 h 301"/>
                <a:gd name="T32" fmla="*/ 32 w 301"/>
                <a:gd name="T33" fmla="*/ 126 h 301"/>
                <a:gd name="T34" fmla="*/ 45 w 301"/>
                <a:gd name="T35" fmla="*/ 93 h 301"/>
                <a:gd name="T36" fmla="*/ 65 w 301"/>
                <a:gd name="T37" fmla="*/ 65 h 301"/>
                <a:gd name="T38" fmla="*/ 93 w 301"/>
                <a:gd name="T39" fmla="*/ 45 h 301"/>
                <a:gd name="T40" fmla="*/ 126 w 301"/>
                <a:gd name="T41" fmla="*/ 33 h 301"/>
                <a:gd name="T42" fmla="*/ 150 w 301"/>
                <a:gd name="T43" fmla="*/ 301 h 301"/>
                <a:gd name="T44" fmla="*/ 195 w 301"/>
                <a:gd name="T45" fmla="*/ 295 h 301"/>
                <a:gd name="T46" fmla="*/ 235 w 301"/>
                <a:gd name="T47" fmla="*/ 275 h 301"/>
                <a:gd name="T48" fmla="*/ 266 w 301"/>
                <a:gd name="T49" fmla="*/ 246 h 301"/>
                <a:gd name="T50" fmla="*/ 289 w 301"/>
                <a:gd name="T51" fmla="*/ 209 h 301"/>
                <a:gd name="T52" fmla="*/ 300 w 301"/>
                <a:gd name="T53" fmla="*/ 166 h 301"/>
                <a:gd name="T54" fmla="*/ 298 w 301"/>
                <a:gd name="T55" fmla="*/ 120 h 301"/>
                <a:gd name="T56" fmla="*/ 283 w 301"/>
                <a:gd name="T57" fmla="*/ 79 h 301"/>
                <a:gd name="T58" fmla="*/ 256 w 301"/>
                <a:gd name="T59" fmla="*/ 44 h 301"/>
                <a:gd name="T60" fmla="*/ 222 w 301"/>
                <a:gd name="T61" fmla="*/ 18 h 301"/>
                <a:gd name="T62" fmla="*/ 181 w 301"/>
                <a:gd name="T63" fmla="*/ 3 h 301"/>
                <a:gd name="T64" fmla="*/ 135 w 301"/>
                <a:gd name="T65" fmla="*/ 1 h 301"/>
                <a:gd name="T66" fmla="*/ 92 w 301"/>
                <a:gd name="T67" fmla="*/ 12 h 301"/>
                <a:gd name="T68" fmla="*/ 55 w 301"/>
                <a:gd name="T69" fmla="*/ 34 h 301"/>
                <a:gd name="T70" fmla="*/ 26 w 301"/>
                <a:gd name="T71" fmla="*/ 66 h 301"/>
                <a:gd name="T72" fmla="*/ 6 w 301"/>
                <a:gd name="T73" fmla="*/ 106 h 301"/>
                <a:gd name="T74" fmla="*/ 0 w 301"/>
                <a:gd name="T75" fmla="*/ 151 h 301"/>
                <a:gd name="T76" fmla="*/ 6 w 301"/>
                <a:gd name="T77" fmla="*/ 195 h 301"/>
                <a:gd name="T78" fmla="*/ 26 w 301"/>
                <a:gd name="T79" fmla="*/ 235 h 301"/>
                <a:gd name="T80" fmla="*/ 55 w 301"/>
                <a:gd name="T81" fmla="*/ 267 h 301"/>
                <a:gd name="T82" fmla="*/ 92 w 301"/>
                <a:gd name="T83" fmla="*/ 289 h 301"/>
                <a:gd name="T84" fmla="*/ 135 w 301"/>
                <a:gd name="T85" fmla="*/ 300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01" h="301">
                  <a:moveTo>
                    <a:pt x="150" y="30"/>
                  </a:moveTo>
                  <a:lnTo>
                    <a:pt x="163" y="31"/>
                  </a:lnTo>
                  <a:lnTo>
                    <a:pt x="175" y="33"/>
                  </a:lnTo>
                  <a:lnTo>
                    <a:pt x="186" y="35"/>
                  </a:lnTo>
                  <a:lnTo>
                    <a:pt x="197" y="40"/>
                  </a:lnTo>
                  <a:lnTo>
                    <a:pt x="208" y="45"/>
                  </a:lnTo>
                  <a:lnTo>
                    <a:pt x="218" y="51"/>
                  </a:lnTo>
                  <a:lnTo>
                    <a:pt x="227" y="58"/>
                  </a:lnTo>
                  <a:lnTo>
                    <a:pt x="236" y="65"/>
                  </a:lnTo>
                  <a:lnTo>
                    <a:pt x="243" y="74"/>
                  </a:lnTo>
                  <a:lnTo>
                    <a:pt x="250" y="83"/>
                  </a:lnTo>
                  <a:lnTo>
                    <a:pt x="256" y="93"/>
                  </a:lnTo>
                  <a:lnTo>
                    <a:pt x="262" y="104"/>
                  </a:lnTo>
                  <a:lnTo>
                    <a:pt x="265" y="115"/>
                  </a:lnTo>
                  <a:lnTo>
                    <a:pt x="268" y="126"/>
                  </a:lnTo>
                  <a:lnTo>
                    <a:pt x="270" y="138"/>
                  </a:lnTo>
                  <a:lnTo>
                    <a:pt x="270" y="151"/>
                  </a:lnTo>
                  <a:lnTo>
                    <a:pt x="270" y="163"/>
                  </a:lnTo>
                  <a:lnTo>
                    <a:pt x="268" y="175"/>
                  </a:lnTo>
                  <a:lnTo>
                    <a:pt x="265" y="186"/>
                  </a:lnTo>
                  <a:lnTo>
                    <a:pt x="262" y="197"/>
                  </a:lnTo>
                  <a:lnTo>
                    <a:pt x="256" y="208"/>
                  </a:lnTo>
                  <a:lnTo>
                    <a:pt x="250" y="217"/>
                  </a:lnTo>
                  <a:lnTo>
                    <a:pt x="243" y="227"/>
                  </a:lnTo>
                  <a:lnTo>
                    <a:pt x="236" y="236"/>
                  </a:lnTo>
                  <a:lnTo>
                    <a:pt x="227" y="243"/>
                  </a:lnTo>
                  <a:lnTo>
                    <a:pt x="218" y="251"/>
                  </a:lnTo>
                  <a:lnTo>
                    <a:pt x="208" y="256"/>
                  </a:lnTo>
                  <a:lnTo>
                    <a:pt x="197" y="261"/>
                  </a:lnTo>
                  <a:lnTo>
                    <a:pt x="186" y="266"/>
                  </a:lnTo>
                  <a:lnTo>
                    <a:pt x="175" y="269"/>
                  </a:lnTo>
                  <a:lnTo>
                    <a:pt x="163" y="270"/>
                  </a:lnTo>
                  <a:lnTo>
                    <a:pt x="150" y="271"/>
                  </a:lnTo>
                  <a:lnTo>
                    <a:pt x="138" y="270"/>
                  </a:lnTo>
                  <a:lnTo>
                    <a:pt x="126" y="269"/>
                  </a:lnTo>
                  <a:lnTo>
                    <a:pt x="115" y="266"/>
                  </a:lnTo>
                  <a:lnTo>
                    <a:pt x="104" y="261"/>
                  </a:lnTo>
                  <a:lnTo>
                    <a:pt x="93" y="256"/>
                  </a:lnTo>
                  <a:lnTo>
                    <a:pt x="84" y="251"/>
                  </a:lnTo>
                  <a:lnTo>
                    <a:pt x="74" y="243"/>
                  </a:lnTo>
                  <a:lnTo>
                    <a:pt x="65" y="236"/>
                  </a:lnTo>
                  <a:lnTo>
                    <a:pt x="58" y="227"/>
                  </a:lnTo>
                  <a:lnTo>
                    <a:pt x="50" y="217"/>
                  </a:lnTo>
                  <a:lnTo>
                    <a:pt x="45" y="208"/>
                  </a:lnTo>
                  <a:lnTo>
                    <a:pt x="40" y="197"/>
                  </a:lnTo>
                  <a:lnTo>
                    <a:pt x="35" y="186"/>
                  </a:lnTo>
                  <a:lnTo>
                    <a:pt x="32" y="175"/>
                  </a:lnTo>
                  <a:lnTo>
                    <a:pt x="31" y="163"/>
                  </a:lnTo>
                  <a:lnTo>
                    <a:pt x="30" y="151"/>
                  </a:lnTo>
                  <a:lnTo>
                    <a:pt x="31" y="138"/>
                  </a:lnTo>
                  <a:lnTo>
                    <a:pt x="32" y="126"/>
                  </a:lnTo>
                  <a:lnTo>
                    <a:pt x="35" y="115"/>
                  </a:lnTo>
                  <a:lnTo>
                    <a:pt x="40" y="104"/>
                  </a:lnTo>
                  <a:lnTo>
                    <a:pt x="45" y="93"/>
                  </a:lnTo>
                  <a:lnTo>
                    <a:pt x="50" y="83"/>
                  </a:lnTo>
                  <a:lnTo>
                    <a:pt x="58" y="74"/>
                  </a:lnTo>
                  <a:lnTo>
                    <a:pt x="65" y="65"/>
                  </a:lnTo>
                  <a:lnTo>
                    <a:pt x="74" y="58"/>
                  </a:lnTo>
                  <a:lnTo>
                    <a:pt x="84" y="51"/>
                  </a:lnTo>
                  <a:lnTo>
                    <a:pt x="93" y="45"/>
                  </a:lnTo>
                  <a:lnTo>
                    <a:pt x="104" y="40"/>
                  </a:lnTo>
                  <a:lnTo>
                    <a:pt x="115" y="35"/>
                  </a:lnTo>
                  <a:lnTo>
                    <a:pt x="126" y="33"/>
                  </a:lnTo>
                  <a:lnTo>
                    <a:pt x="138" y="31"/>
                  </a:lnTo>
                  <a:lnTo>
                    <a:pt x="150" y="30"/>
                  </a:lnTo>
                  <a:close/>
                  <a:moveTo>
                    <a:pt x="150" y="301"/>
                  </a:moveTo>
                  <a:lnTo>
                    <a:pt x="166" y="300"/>
                  </a:lnTo>
                  <a:lnTo>
                    <a:pt x="181" y="298"/>
                  </a:lnTo>
                  <a:lnTo>
                    <a:pt x="195" y="295"/>
                  </a:lnTo>
                  <a:lnTo>
                    <a:pt x="209" y="289"/>
                  </a:lnTo>
                  <a:lnTo>
                    <a:pt x="222" y="283"/>
                  </a:lnTo>
                  <a:lnTo>
                    <a:pt x="235" y="275"/>
                  </a:lnTo>
                  <a:lnTo>
                    <a:pt x="245" y="267"/>
                  </a:lnTo>
                  <a:lnTo>
                    <a:pt x="256" y="257"/>
                  </a:lnTo>
                  <a:lnTo>
                    <a:pt x="266" y="246"/>
                  </a:lnTo>
                  <a:lnTo>
                    <a:pt x="275" y="235"/>
                  </a:lnTo>
                  <a:lnTo>
                    <a:pt x="283" y="222"/>
                  </a:lnTo>
                  <a:lnTo>
                    <a:pt x="289" y="209"/>
                  </a:lnTo>
                  <a:lnTo>
                    <a:pt x="294" y="195"/>
                  </a:lnTo>
                  <a:lnTo>
                    <a:pt x="298" y="181"/>
                  </a:lnTo>
                  <a:lnTo>
                    <a:pt x="300" y="166"/>
                  </a:lnTo>
                  <a:lnTo>
                    <a:pt x="301" y="151"/>
                  </a:lnTo>
                  <a:lnTo>
                    <a:pt x="300" y="135"/>
                  </a:lnTo>
                  <a:lnTo>
                    <a:pt x="298" y="120"/>
                  </a:lnTo>
                  <a:lnTo>
                    <a:pt x="294" y="106"/>
                  </a:lnTo>
                  <a:lnTo>
                    <a:pt x="289" y="92"/>
                  </a:lnTo>
                  <a:lnTo>
                    <a:pt x="283" y="79"/>
                  </a:lnTo>
                  <a:lnTo>
                    <a:pt x="275" y="66"/>
                  </a:lnTo>
                  <a:lnTo>
                    <a:pt x="266" y="55"/>
                  </a:lnTo>
                  <a:lnTo>
                    <a:pt x="256" y="44"/>
                  </a:lnTo>
                  <a:lnTo>
                    <a:pt x="245" y="34"/>
                  </a:lnTo>
                  <a:lnTo>
                    <a:pt x="235" y="26"/>
                  </a:lnTo>
                  <a:lnTo>
                    <a:pt x="222" y="18"/>
                  </a:lnTo>
                  <a:lnTo>
                    <a:pt x="209" y="12"/>
                  </a:lnTo>
                  <a:lnTo>
                    <a:pt x="195" y="7"/>
                  </a:lnTo>
                  <a:lnTo>
                    <a:pt x="181" y="3"/>
                  </a:lnTo>
                  <a:lnTo>
                    <a:pt x="166" y="1"/>
                  </a:lnTo>
                  <a:lnTo>
                    <a:pt x="150" y="0"/>
                  </a:lnTo>
                  <a:lnTo>
                    <a:pt x="135" y="1"/>
                  </a:lnTo>
                  <a:lnTo>
                    <a:pt x="120" y="3"/>
                  </a:lnTo>
                  <a:lnTo>
                    <a:pt x="106" y="7"/>
                  </a:lnTo>
                  <a:lnTo>
                    <a:pt x="92" y="12"/>
                  </a:lnTo>
                  <a:lnTo>
                    <a:pt x="78" y="18"/>
                  </a:lnTo>
                  <a:lnTo>
                    <a:pt x="66" y="26"/>
                  </a:lnTo>
                  <a:lnTo>
                    <a:pt x="55" y="34"/>
                  </a:lnTo>
                  <a:lnTo>
                    <a:pt x="44" y="44"/>
                  </a:lnTo>
                  <a:lnTo>
                    <a:pt x="34" y="55"/>
                  </a:lnTo>
                  <a:lnTo>
                    <a:pt x="26" y="66"/>
                  </a:lnTo>
                  <a:lnTo>
                    <a:pt x="18" y="79"/>
                  </a:lnTo>
                  <a:lnTo>
                    <a:pt x="12" y="92"/>
                  </a:lnTo>
                  <a:lnTo>
                    <a:pt x="6" y="106"/>
                  </a:lnTo>
                  <a:lnTo>
                    <a:pt x="3" y="120"/>
                  </a:lnTo>
                  <a:lnTo>
                    <a:pt x="1" y="135"/>
                  </a:lnTo>
                  <a:lnTo>
                    <a:pt x="0" y="151"/>
                  </a:lnTo>
                  <a:lnTo>
                    <a:pt x="1" y="166"/>
                  </a:lnTo>
                  <a:lnTo>
                    <a:pt x="3" y="181"/>
                  </a:lnTo>
                  <a:lnTo>
                    <a:pt x="6" y="195"/>
                  </a:lnTo>
                  <a:lnTo>
                    <a:pt x="12" y="209"/>
                  </a:lnTo>
                  <a:lnTo>
                    <a:pt x="18" y="222"/>
                  </a:lnTo>
                  <a:lnTo>
                    <a:pt x="26" y="235"/>
                  </a:lnTo>
                  <a:lnTo>
                    <a:pt x="34" y="246"/>
                  </a:lnTo>
                  <a:lnTo>
                    <a:pt x="44" y="257"/>
                  </a:lnTo>
                  <a:lnTo>
                    <a:pt x="55" y="267"/>
                  </a:lnTo>
                  <a:lnTo>
                    <a:pt x="66" y="275"/>
                  </a:lnTo>
                  <a:lnTo>
                    <a:pt x="78" y="283"/>
                  </a:lnTo>
                  <a:lnTo>
                    <a:pt x="92" y="289"/>
                  </a:lnTo>
                  <a:lnTo>
                    <a:pt x="106" y="295"/>
                  </a:lnTo>
                  <a:lnTo>
                    <a:pt x="120" y="298"/>
                  </a:lnTo>
                  <a:lnTo>
                    <a:pt x="135" y="300"/>
                  </a:lnTo>
                  <a:lnTo>
                    <a:pt x="150" y="3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Freeform 197"/>
            <p:cNvSpPr>
              <a:spLocks noEditPoints="1"/>
            </p:cNvSpPr>
            <p:nvPr/>
          </p:nvSpPr>
          <p:spPr bwMode="auto">
            <a:xfrm>
              <a:off x="1525588" y="2593975"/>
              <a:ext cx="142875" cy="180975"/>
            </a:xfrm>
            <a:custGeom>
              <a:avLst/>
              <a:gdLst>
                <a:gd name="T0" fmla="*/ 285 w 451"/>
                <a:gd name="T1" fmla="*/ 307 h 572"/>
                <a:gd name="T2" fmla="*/ 165 w 451"/>
                <a:gd name="T3" fmla="*/ 542 h 572"/>
                <a:gd name="T4" fmla="*/ 157 w 451"/>
                <a:gd name="T5" fmla="*/ 302 h 572"/>
                <a:gd name="T6" fmla="*/ 136 w 451"/>
                <a:gd name="T7" fmla="*/ 287 h 572"/>
                <a:gd name="T8" fmla="*/ 115 w 451"/>
                <a:gd name="T9" fmla="*/ 267 h 572"/>
                <a:gd name="T10" fmla="*/ 93 w 451"/>
                <a:gd name="T11" fmla="*/ 241 h 572"/>
                <a:gd name="T12" fmla="*/ 74 w 451"/>
                <a:gd name="T13" fmla="*/ 210 h 572"/>
                <a:gd name="T14" fmla="*/ 57 w 451"/>
                <a:gd name="T15" fmla="*/ 174 h 572"/>
                <a:gd name="T16" fmla="*/ 44 w 451"/>
                <a:gd name="T17" fmla="*/ 131 h 572"/>
                <a:gd name="T18" fmla="*/ 34 w 451"/>
                <a:gd name="T19" fmla="*/ 84 h 572"/>
                <a:gd name="T20" fmla="*/ 30 w 451"/>
                <a:gd name="T21" fmla="*/ 30 h 572"/>
                <a:gd name="T22" fmla="*/ 170 w 451"/>
                <a:gd name="T23" fmla="*/ 252 h 572"/>
                <a:gd name="T24" fmla="*/ 171 w 451"/>
                <a:gd name="T25" fmla="*/ 259 h 572"/>
                <a:gd name="T26" fmla="*/ 175 w 451"/>
                <a:gd name="T27" fmla="*/ 264 h 572"/>
                <a:gd name="T28" fmla="*/ 215 w 451"/>
                <a:gd name="T29" fmla="*/ 304 h 572"/>
                <a:gd name="T30" fmla="*/ 221 w 451"/>
                <a:gd name="T31" fmla="*/ 306 h 572"/>
                <a:gd name="T32" fmla="*/ 226 w 451"/>
                <a:gd name="T33" fmla="*/ 306 h 572"/>
                <a:gd name="T34" fmla="*/ 231 w 451"/>
                <a:gd name="T35" fmla="*/ 304 h 572"/>
                <a:gd name="T36" fmla="*/ 272 w 451"/>
                <a:gd name="T37" fmla="*/ 264 h 572"/>
                <a:gd name="T38" fmla="*/ 275 w 451"/>
                <a:gd name="T39" fmla="*/ 259 h 572"/>
                <a:gd name="T40" fmla="*/ 276 w 451"/>
                <a:gd name="T41" fmla="*/ 252 h 572"/>
                <a:gd name="T42" fmla="*/ 420 w 451"/>
                <a:gd name="T43" fmla="*/ 30 h 572"/>
                <a:gd name="T44" fmla="*/ 416 w 451"/>
                <a:gd name="T45" fmla="*/ 84 h 572"/>
                <a:gd name="T46" fmla="*/ 407 w 451"/>
                <a:gd name="T47" fmla="*/ 131 h 572"/>
                <a:gd name="T48" fmla="*/ 393 w 451"/>
                <a:gd name="T49" fmla="*/ 174 h 572"/>
                <a:gd name="T50" fmla="*/ 376 w 451"/>
                <a:gd name="T51" fmla="*/ 210 h 572"/>
                <a:gd name="T52" fmla="*/ 357 w 451"/>
                <a:gd name="T53" fmla="*/ 241 h 572"/>
                <a:gd name="T54" fmla="*/ 337 w 451"/>
                <a:gd name="T55" fmla="*/ 267 h 572"/>
                <a:gd name="T56" fmla="*/ 315 w 451"/>
                <a:gd name="T57" fmla="*/ 287 h 572"/>
                <a:gd name="T58" fmla="*/ 293 w 451"/>
                <a:gd name="T59" fmla="*/ 302 h 572"/>
                <a:gd name="T60" fmla="*/ 223 w 451"/>
                <a:gd name="T61" fmla="*/ 269 h 572"/>
                <a:gd name="T62" fmla="*/ 219 w 451"/>
                <a:gd name="T63" fmla="*/ 30 h 572"/>
                <a:gd name="T64" fmla="*/ 245 w 451"/>
                <a:gd name="T65" fmla="*/ 248 h 572"/>
                <a:gd name="T66" fmla="*/ 0 w 451"/>
                <a:gd name="T67" fmla="*/ 0 h 572"/>
                <a:gd name="T68" fmla="*/ 1 w 451"/>
                <a:gd name="T69" fmla="*/ 45 h 572"/>
                <a:gd name="T70" fmla="*/ 6 w 451"/>
                <a:gd name="T71" fmla="*/ 101 h 572"/>
                <a:gd name="T72" fmla="*/ 18 w 451"/>
                <a:gd name="T73" fmla="*/ 151 h 572"/>
                <a:gd name="T74" fmla="*/ 34 w 451"/>
                <a:gd name="T75" fmla="*/ 196 h 572"/>
                <a:gd name="T76" fmla="*/ 53 w 451"/>
                <a:gd name="T77" fmla="*/ 235 h 572"/>
                <a:gd name="T78" fmla="*/ 75 w 451"/>
                <a:gd name="T79" fmla="*/ 268 h 572"/>
                <a:gd name="T80" fmla="*/ 99 w 451"/>
                <a:gd name="T81" fmla="*/ 295 h 572"/>
                <a:gd name="T82" fmla="*/ 123 w 451"/>
                <a:gd name="T83" fmla="*/ 316 h 572"/>
                <a:gd name="T84" fmla="*/ 135 w 451"/>
                <a:gd name="T85" fmla="*/ 572 h 572"/>
                <a:gd name="T86" fmla="*/ 315 w 451"/>
                <a:gd name="T87" fmla="*/ 324 h 572"/>
                <a:gd name="T88" fmla="*/ 340 w 451"/>
                <a:gd name="T89" fmla="*/ 306 h 572"/>
                <a:gd name="T90" fmla="*/ 363 w 451"/>
                <a:gd name="T91" fmla="*/ 282 h 572"/>
                <a:gd name="T92" fmla="*/ 387 w 451"/>
                <a:gd name="T93" fmla="*/ 252 h 572"/>
                <a:gd name="T94" fmla="*/ 407 w 451"/>
                <a:gd name="T95" fmla="*/ 217 h 572"/>
                <a:gd name="T96" fmla="*/ 426 w 451"/>
                <a:gd name="T97" fmla="*/ 175 h 572"/>
                <a:gd name="T98" fmla="*/ 438 w 451"/>
                <a:gd name="T99" fmla="*/ 128 h 572"/>
                <a:gd name="T100" fmla="*/ 448 w 451"/>
                <a:gd name="T101" fmla="*/ 74 h 572"/>
                <a:gd name="T102" fmla="*/ 451 w 451"/>
                <a:gd name="T103" fmla="*/ 15 h 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451" h="572">
                  <a:moveTo>
                    <a:pt x="293" y="302"/>
                  </a:moveTo>
                  <a:lnTo>
                    <a:pt x="285" y="307"/>
                  </a:lnTo>
                  <a:lnTo>
                    <a:pt x="285" y="542"/>
                  </a:lnTo>
                  <a:lnTo>
                    <a:pt x="165" y="542"/>
                  </a:lnTo>
                  <a:lnTo>
                    <a:pt x="165" y="307"/>
                  </a:lnTo>
                  <a:lnTo>
                    <a:pt x="157" y="302"/>
                  </a:lnTo>
                  <a:lnTo>
                    <a:pt x="147" y="296"/>
                  </a:lnTo>
                  <a:lnTo>
                    <a:pt x="136" y="287"/>
                  </a:lnTo>
                  <a:lnTo>
                    <a:pt x="125" y="279"/>
                  </a:lnTo>
                  <a:lnTo>
                    <a:pt x="115" y="267"/>
                  </a:lnTo>
                  <a:lnTo>
                    <a:pt x="104" y="255"/>
                  </a:lnTo>
                  <a:lnTo>
                    <a:pt x="93" y="241"/>
                  </a:lnTo>
                  <a:lnTo>
                    <a:pt x="83" y="226"/>
                  </a:lnTo>
                  <a:lnTo>
                    <a:pt x="74" y="210"/>
                  </a:lnTo>
                  <a:lnTo>
                    <a:pt x="65" y="193"/>
                  </a:lnTo>
                  <a:lnTo>
                    <a:pt x="57" y="174"/>
                  </a:lnTo>
                  <a:lnTo>
                    <a:pt x="50" y="153"/>
                  </a:lnTo>
                  <a:lnTo>
                    <a:pt x="44" y="131"/>
                  </a:lnTo>
                  <a:lnTo>
                    <a:pt x="38" y="108"/>
                  </a:lnTo>
                  <a:lnTo>
                    <a:pt x="34" y="84"/>
                  </a:lnTo>
                  <a:lnTo>
                    <a:pt x="32" y="58"/>
                  </a:lnTo>
                  <a:lnTo>
                    <a:pt x="30" y="30"/>
                  </a:lnTo>
                  <a:lnTo>
                    <a:pt x="189" y="30"/>
                  </a:lnTo>
                  <a:lnTo>
                    <a:pt x="170" y="252"/>
                  </a:lnTo>
                  <a:lnTo>
                    <a:pt x="170" y="255"/>
                  </a:lnTo>
                  <a:lnTo>
                    <a:pt x="171" y="259"/>
                  </a:lnTo>
                  <a:lnTo>
                    <a:pt x="172" y="261"/>
                  </a:lnTo>
                  <a:lnTo>
                    <a:pt x="175" y="264"/>
                  </a:lnTo>
                  <a:lnTo>
                    <a:pt x="213" y="301"/>
                  </a:lnTo>
                  <a:lnTo>
                    <a:pt x="215" y="304"/>
                  </a:lnTo>
                  <a:lnTo>
                    <a:pt x="218" y="305"/>
                  </a:lnTo>
                  <a:lnTo>
                    <a:pt x="221" y="306"/>
                  </a:lnTo>
                  <a:lnTo>
                    <a:pt x="223" y="306"/>
                  </a:lnTo>
                  <a:lnTo>
                    <a:pt x="226" y="306"/>
                  </a:lnTo>
                  <a:lnTo>
                    <a:pt x="229" y="305"/>
                  </a:lnTo>
                  <a:lnTo>
                    <a:pt x="231" y="304"/>
                  </a:lnTo>
                  <a:lnTo>
                    <a:pt x="234" y="301"/>
                  </a:lnTo>
                  <a:lnTo>
                    <a:pt x="272" y="264"/>
                  </a:lnTo>
                  <a:lnTo>
                    <a:pt x="274" y="261"/>
                  </a:lnTo>
                  <a:lnTo>
                    <a:pt x="275" y="259"/>
                  </a:lnTo>
                  <a:lnTo>
                    <a:pt x="276" y="255"/>
                  </a:lnTo>
                  <a:lnTo>
                    <a:pt x="276" y="252"/>
                  </a:lnTo>
                  <a:lnTo>
                    <a:pt x="258" y="30"/>
                  </a:lnTo>
                  <a:lnTo>
                    <a:pt x="420" y="30"/>
                  </a:lnTo>
                  <a:lnTo>
                    <a:pt x="419" y="58"/>
                  </a:lnTo>
                  <a:lnTo>
                    <a:pt x="416" y="84"/>
                  </a:lnTo>
                  <a:lnTo>
                    <a:pt x="413" y="108"/>
                  </a:lnTo>
                  <a:lnTo>
                    <a:pt x="407" y="131"/>
                  </a:lnTo>
                  <a:lnTo>
                    <a:pt x="401" y="153"/>
                  </a:lnTo>
                  <a:lnTo>
                    <a:pt x="393" y="174"/>
                  </a:lnTo>
                  <a:lnTo>
                    <a:pt x="386" y="193"/>
                  </a:lnTo>
                  <a:lnTo>
                    <a:pt x="376" y="210"/>
                  </a:lnTo>
                  <a:lnTo>
                    <a:pt x="368" y="226"/>
                  </a:lnTo>
                  <a:lnTo>
                    <a:pt x="357" y="241"/>
                  </a:lnTo>
                  <a:lnTo>
                    <a:pt x="347" y="255"/>
                  </a:lnTo>
                  <a:lnTo>
                    <a:pt x="337" y="267"/>
                  </a:lnTo>
                  <a:lnTo>
                    <a:pt x="326" y="279"/>
                  </a:lnTo>
                  <a:lnTo>
                    <a:pt x="315" y="287"/>
                  </a:lnTo>
                  <a:lnTo>
                    <a:pt x="304" y="296"/>
                  </a:lnTo>
                  <a:lnTo>
                    <a:pt x="293" y="302"/>
                  </a:lnTo>
                  <a:close/>
                  <a:moveTo>
                    <a:pt x="245" y="248"/>
                  </a:moveTo>
                  <a:lnTo>
                    <a:pt x="223" y="269"/>
                  </a:lnTo>
                  <a:lnTo>
                    <a:pt x="201" y="248"/>
                  </a:lnTo>
                  <a:lnTo>
                    <a:pt x="219" y="30"/>
                  </a:lnTo>
                  <a:lnTo>
                    <a:pt x="228" y="30"/>
                  </a:lnTo>
                  <a:lnTo>
                    <a:pt x="245" y="248"/>
                  </a:lnTo>
                  <a:close/>
                  <a:moveTo>
                    <a:pt x="451" y="0"/>
                  </a:moveTo>
                  <a:lnTo>
                    <a:pt x="0" y="0"/>
                  </a:lnTo>
                  <a:lnTo>
                    <a:pt x="0" y="15"/>
                  </a:lnTo>
                  <a:lnTo>
                    <a:pt x="1" y="45"/>
                  </a:lnTo>
                  <a:lnTo>
                    <a:pt x="3" y="74"/>
                  </a:lnTo>
                  <a:lnTo>
                    <a:pt x="6" y="101"/>
                  </a:lnTo>
                  <a:lnTo>
                    <a:pt x="12" y="128"/>
                  </a:lnTo>
                  <a:lnTo>
                    <a:pt x="18" y="151"/>
                  </a:lnTo>
                  <a:lnTo>
                    <a:pt x="26" y="175"/>
                  </a:lnTo>
                  <a:lnTo>
                    <a:pt x="34" y="196"/>
                  </a:lnTo>
                  <a:lnTo>
                    <a:pt x="44" y="216"/>
                  </a:lnTo>
                  <a:lnTo>
                    <a:pt x="53" y="235"/>
                  </a:lnTo>
                  <a:lnTo>
                    <a:pt x="64" y="252"/>
                  </a:lnTo>
                  <a:lnTo>
                    <a:pt x="75" y="268"/>
                  </a:lnTo>
                  <a:lnTo>
                    <a:pt x="87" y="282"/>
                  </a:lnTo>
                  <a:lnTo>
                    <a:pt x="99" y="295"/>
                  </a:lnTo>
                  <a:lnTo>
                    <a:pt x="111" y="306"/>
                  </a:lnTo>
                  <a:lnTo>
                    <a:pt x="123" y="316"/>
                  </a:lnTo>
                  <a:lnTo>
                    <a:pt x="135" y="324"/>
                  </a:lnTo>
                  <a:lnTo>
                    <a:pt x="135" y="572"/>
                  </a:lnTo>
                  <a:lnTo>
                    <a:pt x="315" y="572"/>
                  </a:lnTo>
                  <a:lnTo>
                    <a:pt x="315" y="324"/>
                  </a:lnTo>
                  <a:lnTo>
                    <a:pt x="328" y="315"/>
                  </a:lnTo>
                  <a:lnTo>
                    <a:pt x="340" y="306"/>
                  </a:lnTo>
                  <a:lnTo>
                    <a:pt x="352" y="295"/>
                  </a:lnTo>
                  <a:lnTo>
                    <a:pt x="363" y="282"/>
                  </a:lnTo>
                  <a:lnTo>
                    <a:pt x="375" y="267"/>
                  </a:lnTo>
                  <a:lnTo>
                    <a:pt x="387" y="252"/>
                  </a:lnTo>
                  <a:lnTo>
                    <a:pt x="398" y="235"/>
                  </a:lnTo>
                  <a:lnTo>
                    <a:pt x="407" y="217"/>
                  </a:lnTo>
                  <a:lnTo>
                    <a:pt x="417" y="196"/>
                  </a:lnTo>
                  <a:lnTo>
                    <a:pt x="426" y="175"/>
                  </a:lnTo>
                  <a:lnTo>
                    <a:pt x="432" y="151"/>
                  </a:lnTo>
                  <a:lnTo>
                    <a:pt x="438" y="128"/>
                  </a:lnTo>
                  <a:lnTo>
                    <a:pt x="444" y="101"/>
                  </a:lnTo>
                  <a:lnTo>
                    <a:pt x="448" y="74"/>
                  </a:lnTo>
                  <a:lnTo>
                    <a:pt x="450" y="45"/>
                  </a:lnTo>
                  <a:lnTo>
                    <a:pt x="451" y="15"/>
                  </a:lnTo>
                  <a:lnTo>
                    <a:pt x="45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Freeform 198"/>
            <p:cNvSpPr>
              <a:spLocks noEditPoints="1"/>
            </p:cNvSpPr>
            <p:nvPr/>
          </p:nvSpPr>
          <p:spPr bwMode="auto">
            <a:xfrm>
              <a:off x="1663700" y="2670175"/>
              <a:ext cx="47625" cy="104775"/>
            </a:xfrm>
            <a:custGeom>
              <a:avLst/>
              <a:gdLst>
                <a:gd name="T0" fmla="*/ 120 w 150"/>
                <a:gd name="T1" fmla="*/ 302 h 332"/>
                <a:gd name="T2" fmla="*/ 30 w 150"/>
                <a:gd name="T3" fmla="*/ 302 h 332"/>
                <a:gd name="T4" fmla="*/ 30 w 150"/>
                <a:gd name="T5" fmla="*/ 60 h 332"/>
                <a:gd name="T6" fmla="*/ 120 w 150"/>
                <a:gd name="T7" fmla="*/ 60 h 332"/>
                <a:gd name="T8" fmla="*/ 120 w 150"/>
                <a:gd name="T9" fmla="*/ 302 h 332"/>
                <a:gd name="T10" fmla="*/ 90 w 150"/>
                <a:gd name="T11" fmla="*/ 30 h 332"/>
                <a:gd name="T12" fmla="*/ 90 w 150"/>
                <a:gd name="T13" fmla="*/ 0 h 332"/>
                <a:gd name="T14" fmla="*/ 60 w 150"/>
                <a:gd name="T15" fmla="*/ 0 h 332"/>
                <a:gd name="T16" fmla="*/ 60 w 150"/>
                <a:gd name="T17" fmla="*/ 30 h 332"/>
                <a:gd name="T18" fmla="*/ 0 w 150"/>
                <a:gd name="T19" fmla="*/ 30 h 332"/>
                <a:gd name="T20" fmla="*/ 0 w 150"/>
                <a:gd name="T21" fmla="*/ 332 h 332"/>
                <a:gd name="T22" fmla="*/ 150 w 150"/>
                <a:gd name="T23" fmla="*/ 332 h 332"/>
                <a:gd name="T24" fmla="*/ 150 w 150"/>
                <a:gd name="T25" fmla="*/ 30 h 332"/>
                <a:gd name="T26" fmla="*/ 90 w 150"/>
                <a:gd name="T27" fmla="*/ 30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0" h="332">
                  <a:moveTo>
                    <a:pt x="120" y="302"/>
                  </a:moveTo>
                  <a:lnTo>
                    <a:pt x="30" y="302"/>
                  </a:lnTo>
                  <a:lnTo>
                    <a:pt x="30" y="60"/>
                  </a:lnTo>
                  <a:lnTo>
                    <a:pt x="120" y="60"/>
                  </a:lnTo>
                  <a:lnTo>
                    <a:pt x="120" y="302"/>
                  </a:lnTo>
                  <a:close/>
                  <a:moveTo>
                    <a:pt x="90" y="30"/>
                  </a:moveTo>
                  <a:lnTo>
                    <a:pt x="90" y="0"/>
                  </a:lnTo>
                  <a:lnTo>
                    <a:pt x="60" y="0"/>
                  </a:lnTo>
                  <a:lnTo>
                    <a:pt x="60" y="30"/>
                  </a:lnTo>
                  <a:lnTo>
                    <a:pt x="0" y="30"/>
                  </a:lnTo>
                  <a:lnTo>
                    <a:pt x="0" y="332"/>
                  </a:lnTo>
                  <a:lnTo>
                    <a:pt x="150" y="332"/>
                  </a:lnTo>
                  <a:lnTo>
                    <a:pt x="150" y="30"/>
                  </a:lnTo>
                  <a:lnTo>
                    <a:pt x="90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06" name="Group 105"/>
          <p:cNvGrpSpPr/>
          <p:nvPr/>
        </p:nvGrpSpPr>
        <p:grpSpPr>
          <a:xfrm>
            <a:off x="7190122" y="4363449"/>
            <a:ext cx="488288" cy="485544"/>
            <a:chOff x="5468938" y="1920875"/>
            <a:chExt cx="282575" cy="280988"/>
          </a:xfrm>
          <a:solidFill>
            <a:schemeClr val="bg1"/>
          </a:solidFill>
        </p:grpSpPr>
        <p:sp>
          <p:nvSpPr>
            <p:cNvPr id="107" name="Freeform 87"/>
            <p:cNvSpPr>
              <a:spLocks noEditPoints="1"/>
            </p:cNvSpPr>
            <p:nvPr/>
          </p:nvSpPr>
          <p:spPr bwMode="auto">
            <a:xfrm>
              <a:off x="5468938" y="1920875"/>
              <a:ext cx="130175" cy="128588"/>
            </a:xfrm>
            <a:custGeom>
              <a:avLst/>
              <a:gdLst>
                <a:gd name="T0" fmla="*/ 32 w 407"/>
                <a:gd name="T1" fmla="*/ 364 h 406"/>
                <a:gd name="T2" fmla="*/ 46 w 407"/>
                <a:gd name="T3" fmla="*/ 346 h 406"/>
                <a:gd name="T4" fmla="*/ 166 w 407"/>
                <a:gd name="T5" fmla="*/ 271 h 406"/>
                <a:gd name="T6" fmla="*/ 205 w 407"/>
                <a:gd name="T7" fmla="*/ 278 h 406"/>
                <a:gd name="T8" fmla="*/ 241 w 407"/>
                <a:gd name="T9" fmla="*/ 272 h 406"/>
                <a:gd name="T10" fmla="*/ 363 w 407"/>
                <a:gd name="T11" fmla="*/ 346 h 406"/>
                <a:gd name="T12" fmla="*/ 374 w 407"/>
                <a:gd name="T13" fmla="*/ 364 h 406"/>
                <a:gd name="T14" fmla="*/ 202 w 407"/>
                <a:gd name="T15" fmla="*/ 376 h 406"/>
                <a:gd name="T16" fmla="*/ 106 w 407"/>
                <a:gd name="T17" fmla="*/ 136 h 406"/>
                <a:gd name="T18" fmla="*/ 164 w 407"/>
                <a:gd name="T19" fmla="*/ 141 h 406"/>
                <a:gd name="T20" fmla="*/ 221 w 407"/>
                <a:gd name="T21" fmla="*/ 119 h 406"/>
                <a:gd name="T22" fmla="*/ 243 w 407"/>
                <a:gd name="T23" fmla="*/ 135 h 406"/>
                <a:gd name="T24" fmla="*/ 269 w 407"/>
                <a:gd name="T25" fmla="*/ 143 h 406"/>
                <a:gd name="T26" fmla="*/ 304 w 407"/>
                <a:gd name="T27" fmla="*/ 141 h 406"/>
                <a:gd name="T28" fmla="*/ 296 w 407"/>
                <a:gd name="T29" fmla="*/ 183 h 406"/>
                <a:gd name="T30" fmla="*/ 275 w 407"/>
                <a:gd name="T31" fmla="*/ 216 h 406"/>
                <a:gd name="T32" fmla="*/ 244 w 407"/>
                <a:gd name="T33" fmla="*/ 240 h 406"/>
                <a:gd name="T34" fmla="*/ 205 w 407"/>
                <a:gd name="T35" fmla="*/ 248 h 406"/>
                <a:gd name="T36" fmla="*/ 166 w 407"/>
                <a:gd name="T37" fmla="*/ 240 h 406"/>
                <a:gd name="T38" fmla="*/ 135 w 407"/>
                <a:gd name="T39" fmla="*/ 216 h 406"/>
                <a:gd name="T40" fmla="*/ 114 w 407"/>
                <a:gd name="T41" fmla="*/ 181 h 406"/>
                <a:gd name="T42" fmla="*/ 106 w 407"/>
                <a:gd name="T43" fmla="*/ 139 h 406"/>
                <a:gd name="T44" fmla="*/ 230 w 407"/>
                <a:gd name="T45" fmla="*/ 33 h 406"/>
                <a:gd name="T46" fmla="*/ 260 w 407"/>
                <a:gd name="T47" fmla="*/ 48 h 406"/>
                <a:gd name="T48" fmla="*/ 282 w 407"/>
                <a:gd name="T49" fmla="*/ 71 h 406"/>
                <a:gd name="T50" fmla="*/ 298 w 407"/>
                <a:gd name="T51" fmla="*/ 102 h 406"/>
                <a:gd name="T52" fmla="*/ 281 w 407"/>
                <a:gd name="T53" fmla="*/ 114 h 406"/>
                <a:gd name="T54" fmla="*/ 250 w 407"/>
                <a:gd name="T55" fmla="*/ 105 h 406"/>
                <a:gd name="T56" fmla="*/ 235 w 407"/>
                <a:gd name="T57" fmla="*/ 87 h 406"/>
                <a:gd name="T58" fmla="*/ 223 w 407"/>
                <a:gd name="T59" fmla="*/ 82 h 406"/>
                <a:gd name="T60" fmla="*/ 208 w 407"/>
                <a:gd name="T61" fmla="*/ 92 h 406"/>
                <a:gd name="T62" fmla="*/ 181 w 407"/>
                <a:gd name="T63" fmla="*/ 107 h 406"/>
                <a:gd name="T64" fmla="*/ 147 w 407"/>
                <a:gd name="T65" fmla="*/ 113 h 406"/>
                <a:gd name="T66" fmla="*/ 114 w 407"/>
                <a:gd name="T67" fmla="*/ 97 h 406"/>
                <a:gd name="T68" fmla="*/ 130 w 407"/>
                <a:gd name="T69" fmla="*/ 68 h 406"/>
                <a:gd name="T70" fmla="*/ 152 w 407"/>
                <a:gd name="T71" fmla="*/ 47 h 406"/>
                <a:gd name="T72" fmla="*/ 181 w 407"/>
                <a:gd name="T73" fmla="*/ 33 h 406"/>
                <a:gd name="T74" fmla="*/ 239 w 407"/>
                <a:gd name="T75" fmla="*/ 406 h 406"/>
                <a:gd name="T76" fmla="*/ 403 w 407"/>
                <a:gd name="T77" fmla="*/ 354 h 406"/>
                <a:gd name="T78" fmla="*/ 380 w 407"/>
                <a:gd name="T79" fmla="*/ 321 h 406"/>
                <a:gd name="T80" fmla="*/ 271 w 407"/>
                <a:gd name="T81" fmla="*/ 258 h 406"/>
                <a:gd name="T82" fmla="*/ 297 w 407"/>
                <a:gd name="T83" fmla="*/ 236 h 406"/>
                <a:gd name="T84" fmla="*/ 324 w 407"/>
                <a:gd name="T85" fmla="*/ 192 h 406"/>
                <a:gd name="T86" fmla="*/ 333 w 407"/>
                <a:gd name="T87" fmla="*/ 157 h 406"/>
                <a:gd name="T88" fmla="*/ 332 w 407"/>
                <a:gd name="T89" fmla="*/ 111 h 406"/>
                <a:gd name="T90" fmla="*/ 312 w 407"/>
                <a:gd name="T91" fmla="*/ 61 h 406"/>
                <a:gd name="T92" fmla="*/ 277 w 407"/>
                <a:gd name="T93" fmla="*/ 23 h 406"/>
                <a:gd name="T94" fmla="*/ 231 w 407"/>
                <a:gd name="T95" fmla="*/ 3 h 406"/>
                <a:gd name="T96" fmla="*/ 179 w 407"/>
                <a:gd name="T97" fmla="*/ 3 h 406"/>
                <a:gd name="T98" fmla="*/ 133 w 407"/>
                <a:gd name="T99" fmla="*/ 23 h 406"/>
                <a:gd name="T100" fmla="*/ 99 w 407"/>
                <a:gd name="T101" fmla="*/ 61 h 406"/>
                <a:gd name="T102" fmla="*/ 80 w 407"/>
                <a:gd name="T103" fmla="*/ 111 h 406"/>
                <a:gd name="T104" fmla="*/ 77 w 407"/>
                <a:gd name="T105" fmla="*/ 157 h 406"/>
                <a:gd name="T106" fmla="*/ 92 w 407"/>
                <a:gd name="T107" fmla="*/ 206 h 406"/>
                <a:gd name="T108" fmla="*/ 136 w 407"/>
                <a:gd name="T109" fmla="*/ 256 h 406"/>
                <a:gd name="T110" fmla="*/ 29 w 407"/>
                <a:gd name="T111" fmla="*/ 321 h 406"/>
                <a:gd name="T112" fmla="*/ 5 w 407"/>
                <a:gd name="T113" fmla="*/ 354 h 406"/>
                <a:gd name="T114" fmla="*/ 202 w 407"/>
                <a:gd name="T115" fmla="*/ 406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7" h="406">
                  <a:moveTo>
                    <a:pt x="30" y="376"/>
                  </a:moveTo>
                  <a:lnTo>
                    <a:pt x="30" y="375"/>
                  </a:lnTo>
                  <a:lnTo>
                    <a:pt x="31" y="369"/>
                  </a:lnTo>
                  <a:lnTo>
                    <a:pt x="32" y="364"/>
                  </a:lnTo>
                  <a:lnTo>
                    <a:pt x="36" y="359"/>
                  </a:lnTo>
                  <a:lnTo>
                    <a:pt x="39" y="354"/>
                  </a:lnTo>
                  <a:lnTo>
                    <a:pt x="42" y="350"/>
                  </a:lnTo>
                  <a:lnTo>
                    <a:pt x="46" y="346"/>
                  </a:lnTo>
                  <a:lnTo>
                    <a:pt x="51" y="343"/>
                  </a:lnTo>
                  <a:lnTo>
                    <a:pt x="56" y="342"/>
                  </a:lnTo>
                  <a:lnTo>
                    <a:pt x="166" y="311"/>
                  </a:lnTo>
                  <a:lnTo>
                    <a:pt x="166" y="271"/>
                  </a:lnTo>
                  <a:lnTo>
                    <a:pt x="175" y="274"/>
                  </a:lnTo>
                  <a:lnTo>
                    <a:pt x="186" y="276"/>
                  </a:lnTo>
                  <a:lnTo>
                    <a:pt x="195" y="277"/>
                  </a:lnTo>
                  <a:lnTo>
                    <a:pt x="205" y="278"/>
                  </a:lnTo>
                  <a:lnTo>
                    <a:pt x="215" y="277"/>
                  </a:lnTo>
                  <a:lnTo>
                    <a:pt x="223" y="276"/>
                  </a:lnTo>
                  <a:lnTo>
                    <a:pt x="233" y="275"/>
                  </a:lnTo>
                  <a:lnTo>
                    <a:pt x="241" y="272"/>
                  </a:lnTo>
                  <a:lnTo>
                    <a:pt x="241" y="311"/>
                  </a:lnTo>
                  <a:lnTo>
                    <a:pt x="354" y="340"/>
                  </a:lnTo>
                  <a:lnTo>
                    <a:pt x="358" y="343"/>
                  </a:lnTo>
                  <a:lnTo>
                    <a:pt x="363" y="346"/>
                  </a:lnTo>
                  <a:lnTo>
                    <a:pt x="367" y="349"/>
                  </a:lnTo>
                  <a:lnTo>
                    <a:pt x="370" y="353"/>
                  </a:lnTo>
                  <a:lnTo>
                    <a:pt x="373" y="359"/>
                  </a:lnTo>
                  <a:lnTo>
                    <a:pt x="374" y="364"/>
                  </a:lnTo>
                  <a:lnTo>
                    <a:pt x="377" y="369"/>
                  </a:lnTo>
                  <a:lnTo>
                    <a:pt x="377" y="376"/>
                  </a:lnTo>
                  <a:lnTo>
                    <a:pt x="239" y="376"/>
                  </a:lnTo>
                  <a:lnTo>
                    <a:pt x="202" y="376"/>
                  </a:lnTo>
                  <a:lnTo>
                    <a:pt x="30" y="376"/>
                  </a:lnTo>
                  <a:close/>
                  <a:moveTo>
                    <a:pt x="106" y="139"/>
                  </a:moveTo>
                  <a:lnTo>
                    <a:pt x="106" y="138"/>
                  </a:lnTo>
                  <a:lnTo>
                    <a:pt x="106" y="136"/>
                  </a:lnTo>
                  <a:lnTo>
                    <a:pt x="120" y="140"/>
                  </a:lnTo>
                  <a:lnTo>
                    <a:pt x="134" y="142"/>
                  </a:lnTo>
                  <a:lnTo>
                    <a:pt x="149" y="142"/>
                  </a:lnTo>
                  <a:lnTo>
                    <a:pt x="164" y="141"/>
                  </a:lnTo>
                  <a:lnTo>
                    <a:pt x="179" y="139"/>
                  </a:lnTo>
                  <a:lnTo>
                    <a:pt x="193" y="134"/>
                  </a:lnTo>
                  <a:lnTo>
                    <a:pt x="208" y="127"/>
                  </a:lnTo>
                  <a:lnTo>
                    <a:pt x="221" y="119"/>
                  </a:lnTo>
                  <a:lnTo>
                    <a:pt x="226" y="124"/>
                  </a:lnTo>
                  <a:lnTo>
                    <a:pt x="232" y="128"/>
                  </a:lnTo>
                  <a:lnTo>
                    <a:pt x="237" y="131"/>
                  </a:lnTo>
                  <a:lnTo>
                    <a:pt x="243" y="135"/>
                  </a:lnTo>
                  <a:lnTo>
                    <a:pt x="249" y="138"/>
                  </a:lnTo>
                  <a:lnTo>
                    <a:pt x="255" y="140"/>
                  </a:lnTo>
                  <a:lnTo>
                    <a:pt x="262" y="142"/>
                  </a:lnTo>
                  <a:lnTo>
                    <a:pt x="269" y="143"/>
                  </a:lnTo>
                  <a:lnTo>
                    <a:pt x="276" y="144"/>
                  </a:lnTo>
                  <a:lnTo>
                    <a:pt x="282" y="144"/>
                  </a:lnTo>
                  <a:lnTo>
                    <a:pt x="293" y="143"/>
                  </a:lnTo>
                  <a:lnTo>
                    <a:pt x="304" y="141"/>
                  </a:lnTo>
                  <a:lnTo>
                    <a:pt x="304" y="152"/>
                  </a:lnTo>
                  <a:lnTo>
                    <a:pt x="302" y="162"/>
                  </a:lnTo>
                  <a:lnTo>
                    <a:pt x="299" y="173"/>
                  </a:lnTo>
                  <a:lnTo>
                    <a:pt x="296" y="183"/>
                  </a:lnTo>
                  <a:lnTo>
                    <a:pt x="292" y="191"/>
                  </a:lnTo>
                  <a:lnTo>
                    <a:pt x="287" y="201"/>
                  </a:lnTo>
                  <a:lnTo>
                    <a:pt x="281" y="209"/>
                  </a:lnTo>
                  <a:lnTo>
                    <a:pt x="275" y="216"/>
                  </a:lnTo>
                  <a:lnTo>
                    <a:pt x="267" y="224"/>
                  </a:lnTo>
                  <a:lnTo>
                    <a:pt x="260" y="230"/>
                  </a:lnTo>
                  <a:lnTo>
                    <a:pt x="252" y="235"/>
                  </a:lnTo>
                  <a:lnTo>
                    <a:pt x="244" y="240"/>
                  </a:lnTo>
                  <a:lnTo>
                    <a:pt x="234" y="243"/>
                  </a:lnTo>
                  <a:lnTo>
                    <a:pt x="225" y="246"/>
                  </a:lnTo>
                  <a:lnTo>
                    <a:pt x="216" y="247"/>
                  </a:lnTo>
                  <a:lnTo>
                    <a:pt x="205" y="248"/>
                  </a:lnTo>
                  <a:lnTo>
                    <a:pt x="195" y="247"/>
                  </a:lnTo>
                  <a:lnTo>
                    <a:pt x="186" y="245"/>
                  </a:lnTo>
                  <a:lnTo>
                    <a:pt x="176" y="243"/>
                  </a:lnTo>
                  <a:lnTo>
                    <a:pt x="166" y="240"/>
                  </a:lnTo>
                  <a:lnTo>
                    <a:pt x="158" y="234"/>
                  </a:lnTo>
                  <a:lnTo>
                    <a:pt x="150" y="229"/>
                  </a:lnTo>
                  <a:lnTo>
                    <a:pt x="143" y="223"/>
                  </a:lnTo>
                  <a:lnTo>
                    <a:pt x="135" y="216"/>
                  </a:lnTo>
                  <a:lnTo>
                    <a:pt x="129" y="208"/>
                  </a:lnTo>
                  <a:lnTo>
                    <a:pt x="124" y="200"/>
                  </a:lnTo>
                  <a:lnTo>
                    <a:pt x="118" y="190"/>
                  </a:lnTo>
                  <a:lnTo>
                    <a:pt x="114" y="181"/>
                  </a:lnTo>
                  <a:lnTo>
                    <a:pt x="111" y="171"/>
                  </a:lnTo>
                  <a:lnTo>
                    <a:pt x="109" y="160"/>
                  </a:lnTo>
                  <a:lnTo>
                    <a:pt x="107" y="150"/>
                  </a:lnTo>
                  <a:lnTo>
                    <a:pt x="106" y="139"/>
                  </a:lnTo>
                  <a:close/>
                  <a:moveTo>
                    <a:pt x="205" y="30"/>
                  </a:moveTo>
                  <a:lnTo>
                    <a:pt x="214" y="30"/>
                  </a:lnTo>
                  <a:lnTo>
                    <a:pt x="222" y="32"/>
                  </a:lnTo>
                  <a:lnTo>
                    <a:pt x="230" y="33"/>
                  </a:lnTo>
                  <a:lnTo>
                    <a:pt x="238" y="36"/>
                  </a:lnTo>
                  <a:lnTo>
                    <a:pt x="246" y="39"/>
                  </a:lnTo>
                  <a:lnTo>
                    <a:pt x="252" y="43"/>
                  </a:lnTo>
                  <a:lnTo>
                    <a:pt x="260" y="48"/>
                  </a:lnTo>
                  <a:lnTo>
                    <a:pt x="266" y="53"/>
                  </a:lnTo>
                  <a:lnTo>
                    <a:pt x="271" y="58"/>
                  </a:lnTo>
                  <a:lnTo>
                    <a:pt x="278" y="65"/>
                  </a:lnTo>
                  <a:lnTo>
                    <a:pt x="282" y="71"/>
                  </a:lnTo>
                  <a:lnTo>
                    <a:pt x="288" y="78"/>
                  </a:lnTo>
                  <a:lnTo>
                    <a:pt x="292" y="85"/>
                  </a:lnTo>
                  <a:lnTo>
                    <a:pt x="295" y="94"/>
                  </a:lnTo>
                  <a:lnTo>
                    <a:pt x="298" y="102"/>
                  </a:lnTo>
                  <a:lnTo>
                    <a:pt x="300" y="110"/>
                  </a:lnTo>
                  <a:lnTo>
                    <a:pt x="295" y="112"/>
                  </a:lnTo>
                  <a:lnTo>
                    <a:pt x="289" y="113"/>
                  </a:lnTo>
                  <a:lnTo>
                    <a:pt x="281" y="114"/>
                  </a:lnTo>
                  <a:lnTo>
                    <a:pt x="274" y="113"/>
                  </a:lnTo>
                  <a:lnTo>
                    <a:pt x="265" y="112"/>
                  </a:lnTo>
                  <a:lnTo>
                    <a:pt x="255" y="108"/>
                  </a:lnTo>
                  <a:lnTo>
                    <a:pt x="250" y="105"/>
                  </a:lnTo>
                  <a:lnTo>
                    <a:pt x="246" y="100"/>
                  </a:lnTo>
                  <a:lnTo>
                    <a:pt x="241" y="96"/>
                  </a:lnTo>
                  <a:lnTo>
                    <a:pt x="237" y="90"/>
                  </a:lnTo>
                  <a:lnTo>
                    <a:pt x="235" y="87"/>
                  </a:lnTo>
                  <a:lnTo>
                    <a:pt x="233" y="84"/>
                  </a:lnTo>
                  <a:lnTo>
                    <a:pt x="230" y="83"/>
                  </a:lnTo>
                  <a:lnTo>
                    <a:pt x="226" y="82"/>
                  </a:lnTo>
                  <a:lnTo>
                    <a:pt x="223" y="82"/>
                  </a:lnTo>
                  <a:lnTo>
                    <a:pt x="220" y="83"/>
                  </a:lnTo>
                  <a:lnTo>
                    <a:pt x="217" y="84"/>
                  </a:lnTo>
                  <a:lnTo>
                    <a:pt x="214" y="86"/>
                  </a:lnTo>
                  <a:lnTo>
                    <a:pt x="208" y="92"/>
                  </a:lnTo>
                  <a:lnTo>
                    <a:pt x="202" y="96"/>
                  </a:lnTo>
                  <a:lnTo>
                    <a:pt x="195" y="100"/>
                  </a:lnTo>
                  <a:lnTo>
                    <a:pt x="189" y="104"/>
                  </a:lnTo>
                  <a:lnTo>
                    <a:pt x="181" y="107"/>
                  </a:lnTo>
                  <a:lnTo>
                    <a:pt x="175" y="109"/>
                  </a:lnTo>
                  <a:lnTo>
                    <a:pt x="167" y="111"/>
                  </a:lnTo>
                  <a:lnTo>
                    <a:pt x="161" y="112"/>
                  </a:lnTo>
                  <a:lnTo>
                    <a:pt x="147" y="113"/>
                  </a:lnTo>
                  <a:lnTo>
                    <a:pt x="134" y="112"/>
                  </a:lnTo>
                  <a:lnTo>
                    <a:pt x="121" y="110"/>
                  </a:lnTo>
                  <a:lnTo>
                    <a:pt x="111" y="106"/>
                  </a:lnTo>
                  <a:lnTo>
                    <a:pt x="114" y="97"/>
                  </a:lnTo>
                  <a:lnTo>
                    <a:pt x="117" y="90"/>
                  </a:lnTo>
                  <a:lnTo>
                    <a:pt x="121" y="82"/>
                  </a:lnTo>
                  <a:lnTo>
                    <a:pt x="125" y="76"/>
                  </a:lnTo>
                  <a:lnTo>
                    <a:pt x="130" y="68"/>
                  </a:lnTo>
                  <a:lnTo>
                    <a:pt x="135" y="63"/>
                  </a:lnTo>
                  <a:lnTo>
                    <a:pt x="141" y="56"/>
                  </a:lnTo>
                  <a:lnTo>
                    <a:pt x="146" y="51"/>
                  </a:lnTo>
                  <a:lnTo>
                    <a:pt x="152" y="47"/>
                  </a:lnTo>
                  <a:lnTo>
                    <a:pt x="160" y="42"/>
                  </a:lnTo>
                  <a:lnTo>
                    <a:pt x="166" y="38"/>
                  </a:lnTo>
                  <a:lnTo>
                    <a:pt x="174" y="35"/>
                  </a:lnTo>
                  <a:lnTo>
                    <a:pt x="181" y="33"/>
                  </a:lnTo>
                  <a:lnTo>
                    <a:pt x="189" y="31"/>
                  </a:lnTo>
                  <a:lnTo>
                    <a:pt x="198" y="30"/>
                  </a:lnTo>
                  <a:lnTo>
                    <a:pt x="205" y="30"/>
                  </a:lnTo>
                  <a:close/>
                  <a:moveTo>
                    <a:pt x="239" y="406"/>
                  </a:moveTo>
                  <a:lnTo>
                    <a:pt x="407" y="406"/>
                  </a:lnTo>
                  <a:lnTo>
                    <a:pt x="407" y="376"/>
                  </a:lnTo>
                  <a:lnTo>
                    <a:pt x="406" y="365"/>
                  </a:lnTo>
                  <a:lnTo>
                    <a:pt x="403" y="354"/>
                  </a:lnTo>
                  <a:lnTo>
                    <a:pt x="399" y="345"/>
                  </a:lnTo>
                  <a:lnTo>
                    <a:pt x="394" y="336"/>
                  </a:lnTo>
                  <a:lnTo>
                    <a:pt x="387" y="328"/>
                  </a:lnTo>
                  <a:lnTo>
                    <a:pt x="380" y="321"/>
                  </a:lnTo>
                  <a:lnTo>
                    <a:pt x="371" y="316"/>
                  </a:lnTo>
                  <a:lnTo>
                    <a:pt x="363" y="311"/>
                  </a:lnTo>
                  <a:lnTo>
                    <a:pt x="271" y="289"/>
                  </a:lnTo>
                  <a:lnTo>
                    <a:pt x="271" y="258"/>
                  </a:lnTo>
                  <a:lnTo>
                    <a:pt x="278" y="253"/>
                  </a:lnTo>
                  <a:lnTo>
                    <a:pt x="284" y="248"/>
                  </a:lnTo>
                  <a:lnTo>
                    <a:pt x="291" y="242"/>
                  </a:lnTo>
                  <a:lnTo>
                    <a:pt x="297" y="236"/>
                  </a:lnTo>
                  <a:lnTo>
                    <a:pt x="308" y="223"/>
                  </a:lnTo>
                  <a:lnTo>
                    <a:pt x="317" y="209"/>
                  </a:lnTo>
                  <a:lnTo>
                    <a:pt x="321" y="200"/>
                  </a:lnTo>
                  <a:lnTo>
                    <a:pt x="324" y="192"/>
                  </a:lnTo>
                  <a:lnTo>
                    <a:pt x="327" y="184"/>
                  </a:lnTo>
                  <a:lnTo>
                    <a:pt x="329" y="175"/>
                  </a:lnTo>
                  <a:lnTo>
                    <a:pt x="332" y="167"/>
                  </a:lnTo>
                  <a:lnTo>
                    <a:pt x="333" y="157"/>
                  </a:lnTo>
                  <a:lnTo>
                    <a:pt x="334" y="149"/>
                  </a:lnTo>
                  <a:lnTo>
                    <a:pt x="334" y="139"/>
                  </a:lnTo>
                  <a:lnTo>
                    <a:pt x="334" y="125"/>
                  </a:lnTo>
                  <a:lnTo>
                    <a:pt x="332" y="111"/>
                  </a:lnTo>
                  <a:lnTo>
                    <a:pt x="328" y="97"/>
                  </a:lnTo>
                  <a:lnTo>
                    <a:pt x="324" y="84"/>
                  </a:lnTo>
                  <a:lnTo>
                    <a:pt x="319" y="72"/>
                  </a:lnTo>
                  <a:lnTo>
                    <a:pt x="312" y="61"/>
                  </a:lnTo>
                  <a:lnTo>
                    <a:pt x="305" y="50"/>
                  </a:lnTo>
                  <a:lnTo>
                    <a:pt x="296" y="40"/>
                  </a:lnTo>
                  <a:lnTo>
                    <a:pt x="288" y="32"/>
                  </a:lnTo>
                  <a:lnTo>
                    <a:pt x="277" y="23"/>
                  </a:lnTo>
                  <a:lnTo>
                    <a:pt x="266" y="17"/>
                  </a:lnTo>
                  <a:lnTo>
                    <a:pt x="255" y="10"/>
                  </a:lnTo>
                  <a:lnTo>
                    <a:pt x="244" y="6"/>
                  </a:lnTo>
                  <a:lnTo>
                    <a:pt x="231" y="3"/>
                  </a:lnTo>
                  <a:lnTo>
                    <a:pt x="219" y="1"/>
                  </a:lnTo>
                  <a:lnTo>
                    <a:pt x="205" y="0"/>
                  </a:lnTo>
                  <a:lnTo>
                    <a:pt x="192" y="1"/>
                  </a:lnTo>
                  <a:lnTo>
                    <a:pt x="179" y="3"/>
                  </a:lnTo>
                  <a:lnTo>
                    <a:pt x="167" y="6"/>
                  </a:lnTo>
                  <a:lnTo>
                    <a:pt x="156" y="10"/>
                  </a:lnTo>
                  <a:lnTo>
                    <a:pt x="144" y="17"/>
                  </a:lnTo>
                  <a:lnTo>
                    <a:pt x="133" y="23"/>
                  </a:lnTo>
                  <a:lnTo>
                    <a:pt x="124" y="32"/>
                  </a:lnTo>
                  <a:lnTo>
                    <a:pt x="114" y="40"/>
                  </a:lnTo>
                  <a:lnTo>
                    <a:pt x="106" y="50"/>
                  </a:lnTo>
                  <a:lnTo>
                    <a:pt x="99" y="61"/>
                  </a:lnTo>
                  <a:lnTo>
                    <a:pt x="92" y="72"/>
                  </a:lnTo>
                  <a:lnTo>
                    <a:pt x="87" y="84"/>
                  </a:lnTo>
                  <a:lnTo>
                    <a:pt x="83" y="97"/>
                  </a:lnTo>
                  <a:lnTo>
                    <a:pt x="80" y="111"/>
                  </a:lnTo>
                  <a:lnTo>
                    <a:pt x="77" y="125"/>
                  </a:lnTo>
                  <a:lnTo>
                    <a:pt x="76" y="139"/>
                  </a:lnTo>
                  <a:lnTo>
                    <a:pt x="76" y="147"/>
                  </a:lnTo>
                  <a:lnTo>
                    <a:pt x="77" y="157"/>
                  </a:lnTo>
                  <a:lnTo>
                    <a:pt x="78" y="166"/>
                  </a:lnTo>
                  <a:lnTo>
                    <a:pt x="81" y="174"/>
                  </a:lnTo>
                  <a:lnTo>
                    <a:pt x="86" y="190"/>
                  </a:lnTo>
                  <a:lnTo>
                    <a:pt x="92" y="206"/>
                  </a:lnTo>
                  <a:lnTo>
                    <a:pt x="101" y="220"/>
                  </a:lnTo>
                  <a:lnTo>
                    <a:pt x="112" y="234"/>
                  </a:lnTo>
                  <a:lnTo>
                    <a:pt x="124" y="246"/>
                  </a:lnTo>
                  <a:lnTo>
                    <a:pt x="136" y="256"/>
                  </a:lnTo>
                  <a:lnTo>
                    <a:pt x="136" y="289"/>
                  </a:lnTo>
                  <a:lnTo>
                    <a:pt x="48" y="313"/>
                  </a:lnTo>
                  <a:lnTo>
                    <a:pt x="39" y="316"/>
                  </a:lnTo>
                  <a:lnTo>
                    <a:pt x="29" y="321"/>
                  </a:lnTo>
                  <a:lnTo>
                    <a:pt x="22" y="328"/>
                  </a:lnTo>
                  <a:lnTo>
                    <a:pt x="14" y="336"/>
                  </a:lnTo>
                  <a:lnTo>
                    <a:pt x="9" y="345"/>
                  </a:lnTo>
                  <a:lnTo>
                    <a:pt x="5" y="354"/>
                  </a:lnTo>
                  <a:lnTo>
                    <a:pt x="1" y="364"/>
                  </a:lnTo>
                  <a:lnTo>
                    <a:pt x="0" y="375"/>
                  </a:lnTo>
                  <a:lnTo>
                    <a:pt x="0" y="406"/>
                  </a:lnTo>
                  <a:lnTo>
                    <a:pt x="202" y="406"/>
                  </a:lnTo>
                  <a:lnTo>
                    <a:pt x="239" y="4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Freeform 88"/>
            <p:cNvSpPr>
              <a:spLocks noEditPoints="1"/>
            </p:cNvSpPr>
            <p:nvPr/>
          </p:nvSpPr>
          <p:spPr bwMode="auto">
            <a:xfrm>
              <a:off x="5622925" y="1920875"/>
              <a:ext cx="128588" cy="128588"/>
            </a:xfrm>
            <a:custGeom>
              <a:avLst/>
              <a:gdLst>
                <a:gd name="T0" fmla="*/ 30 w 406"/>
                <a:gd name="T1" fmla="*/ 375 h 406"/>
                <a:gd name="T2" fmla="*/ 37 w 406"/>
                <a:gd name="T3" fmla="*/ 354 h 406"/>
                <a:gd name="T4" fmla="*/ 55 w 406"/>
                <a:gd name="T5" fmla="*/ 342 h 406"/>
                <a:gd name="T6" fmla="*/ 184 w 406"/>
                <a:gd name="T7" fmla="*/ 276 h 406"/>
                <a:gd name="T8" fmla="*/ 223 w 406"/>
                <a:gd name="T9" fmla="*/ 276 h 406"/>
                <a:gd name="T10" fmla="*/ 353 w 406"/>
                <a:gd name="T11" fmla="*/ 340 h 406"/>
                <a:gd name="T12" fmla="*/ 370 w 406"/>
                <a:gd name="T13" fmla="*/ 353 h 406"/>
                <a:gd name="T14" fmla="*/ 376 w 406"/>
                <a:gd name="T15" fmla="*/ 376 h 406"/>
                <a:gd name="T16" fmla="*/ 106 w 406"/>
                <a:gd name="T17" fmla="*/ 136 h 406"/>
                <a:gd name="T18" fmla="*/ 163 w 406"/>
                <a:gd name="T19" fmla="*/ 141 h 406"/>
                <a:gd name="T20" fmla="*/ 221 w 406"/>
                <a:gd name="T21" fmla="*/ 119 h 406"/>
                <a:gd name="T22" fmla="*/ 242 w 406"/>
                <a:gd name="T23" fmla="*/ 135 h 406"/>
                <a:gd name="T24" fmla="*/ 269 w 406"/>
                <a:gd name="T25" fmla="*/ 143 h 406"/>
                <a:gd name="T26" fmla="*/ 303 w 406"/>
                <a:gd name="T27" fmla="*/ 141 h 406"/>
                <a:gd name="T28" fmla="*/ 294 w 406"/>
                <a:gd name="T29" fmla="*/ 183 h 406"/>
                <a:gd name="T30" fmla="*/ 274 w 406"/>
                <a:gd name="T31" fmla="*/ 216 h 406"/>
                <a:gd name="T32" fmla="*/ 243 w 406"/>
                <a:gd name="T33" fmla="*/ 240 h 406"/>
                <a:gd name="T34" fmla="*/ 204 w 406"/>
                <a:gd name="T35" fmla="*/ 248 h 406"/>
                <a:gd name="T36" fmla="*/ 166 w 406"/>
                <a:gd name="T37" fmla="*/ 240 h 406"/>
                <a:gd name="T38" fmla="*/ 135 w 406"/>
                <a:gd name="T39" fmla="*/ 216 h 406"/>
                <a:gd name="T40" fmla="*/ 113 w 406"/>
                <a:gd name="T41" fmla="*/ 181 h 406"/>
                <a:gd name="T42" fmla="*/ 106 w 406"/>
                <a:gd name="T43" fmla="*/ 139 h 406"/>
                <a:gd name="T44" fmla="*/ 229 w 406"/>
                <a:gd name="T45" fmla="*/ 33 h 406"/>
                <a:gd name="T46" fmla="*/ 259 w 406"/>
                <a:gd name="T47" fmla="*/ 48 h 406"/>
                <a:gd name="T48" fmla="*/ 282 w 406"/>
                <a:gd name="T49" fmla="*/ 71 h 406"/>
                <a:gd name="T50" fmla="*/ 298 w 406"/>
                <a:gd name="T51" fmla="*/ 102 h 406"/>
                <a:gd name="T52" fmla="*/ 281 w 406"/>
                <a:gd name="T53" fmla="*/ 114 h 406"/>
                <a:gd name="T54" fmla="*/ 249 w 406"/>
                <a:gd name="T55" fmla="*/ 105 h 406"/>
                <a:gd name="T56" fmla="*/ 234 w 406"/>
                <a:gd name="T57" fmla="*/ 87 h 406"/>
                <a:gd name="T58" fmla="*/ 223 w 406"/>
                <a:gd name="T59" fmla="*/ 82 h 406"/>
                <a:gd name="T60" fmla="*/ 207 w 406"/>
                <a:gd name="T61" fmla="*/ 92 h 406"/>
                <a:gd name="T62" fmla="*/ 181 w 406"/>
                <a:gd name="T63" fmla="*/ 107 h 406"/>
                <a:gd name="T64" fmla="*/ 147 w 406"/>
                <a:gd name="T65" fmla="*/ 113 h 406"/>
                <a:gd name="T66" fmla="*/ 113 w 406"/>
                <a:gd name="T67" fmla="*/ 97 h 406"/>
                <a:gd name="T68" fmla="*/ 129 w 406"/>
                <a:gd name="T69" fmla="*/ 68 h 406"/>
                <a:gd name="T70" fmla="*/ 152 w 406"/>
                <a:gd name="T71" fmla="*/ 47 h 406"/>
                <a:gd name="T72" fmla="*/ 181 w 406"/>
                <a:gd name="T73" fmla="*/ 33 h 406"/>
                <a:gd name="T74" fmla="*/ 361 w 406"/>
                <a:gd name="T75" fmla="*/ 311 h 406"/>
                <a:gd name="T76" fmla="*/ 284 w 406"/>
                <a:gd name="T77" fmla="*/ 248 h 406"/>
                <a:gd name="T78" fmla="*/ 316 w 406"/>
                <a:gd name="T79" fmla="*/ 209 h 406"/>
                <a:gd name="T80" fmla="*/ 329 w 406"/>
                <a:gd name="T81" fmla="*/ 175 h 406"/>
                <a:gd name="T82" fmla="*/ 333 w 406"/>
                <a:gd name="T83" fmla="*/ 139 h 406"/>
                <a:gd name="T84" fmla="*/ 323 w 406"/>
                <a:gd name="T85" fmla="*/ 84 h 406"/>
                <a:gd name="T86" fmla="*/ 296 w 406"/>
                <a:gd name="T87" fmla="*/ 40 h 406"/>
                <a:gd name="T88" fmla="*/ 255 w 406"/>
                <a:gd name="T89" fmla="*/ 10 h 406"/>
                <a:gd name="T90" fmla="*/ 204 w 406"/>
                <a:gd name="T91" fmla="*/ 0 h 406"/>
                <a:gd name="T92" fmla="*/ 154 w 406"/>
                <a:gd name="T93" fmla="*/ 10 h 406"/>
                <a:gd name="T94" fmla="*/ 113 w 406"/>
                <a:gd name="T95" fmla="*/ 40 h 406"/>
                <a:gd name="T96" fmla="*/ 85 w 406"/>
                <a:gd name="T97" fmla="*/ 84 h 406"/>
                <a:gd name="T98" fmla="*/ 76 w 406"/>
                <a:gd name="T99" fmla="*/ 139 h 406"/>
                <a:gd name="T100" fmla="*/ 80 w 406"/>
                <a:gd name="T101" fmla="*/ 174 h 406"/>
                <a:gd name="T102" fmla="*/ 111 w 406"/>
                <a:gd name="T103" fmla="*/ 234 h 406"/>
                <a:gd name="T104" fmla="*/ 47 w 406"/>
                <a:gd name="T105" fmla="*/ 313 h 406"/>
                <a:gd name="T106" fmla="*/ 14 w 406"/>
                <a:gd name="T107" fmla="*/ 336 h 406"/>
                <a:gd name="T108" fmla="*/ 0 w 406"/>
                <a:gd name="T109" fmla="*/ 375 h 406"/>
                <a:gd name="T110" fmla="*/ 406 w 406"/>
                <a:gd name="T111" fmla="*/ 406 h 406"/>
                <a:gd name="T112" fmla="*/ 398 w 406"/>
                <a:gd name="T113" fmla="*/ 345 h 406"/>
                <a:gd name="T114" fmla="*/ 371 w 406"/>
                <a:gd name="T115" fmla="*/ 316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6" h="406">
                  <a:moveTo>
                    <a:pt x="239" y="376"/>
                  </a:moveTo>
                  <a:lnTo>
                    <a:pt x="201" y="376"/>
                  </a:lnTo>
                  <a:lnTo>
                    <a:pt x="30" y="376"/>
                  </a:lnTo>
                  <a:lnTo>
                    <a:pt x="30" y="375"/>
                  </a:lnTo>
                  <a:lnTo>
                    <a:pt x="31" y="369"/>
                  </a:lnTo>
                  <a:lnTo>
                    <a:pt x="32" y="364"/>
                  </a:lnTo>
                  <a:lnTo>
                    <a:pt x="34" y="359"/>
                  </a:lnTo>
                  <a:lnTo>
                    <a:pt x="37" y="354"/>
                  </a:lnTo>
                  <a:lnTo>
                    <a:pt x="41" y="350"/>
                  </a:lnTo>
                  <a:lnTo>
                    <a:pt x="46" y="346"/>
                  </a:lnTo>
                  <a:lnTo>
                    <a:pt x="50" y="343"/>
                  </a:lnTo>
                  <a:lnTo>
                    <a:pt x="55" y="342"/>
                  </a:lnTo>
                  <a:lnTo>
                    <a:pt x="166" y="311"/>
                  </a:lnTo>
                  <a:lnTo>
                    <a:pt x="166" y="271"/>
                  </a:lnTo>
                  <a:lnTo>
                    <a:pt x="174" y="274"/>
                  </a:lnTo>
                  <a:lnTo>
                    <a:pt x="184" y="276"/>
                  </a:lnTo>
                  <a:lnTo>
                    <a:pt x="195" y="277"/>
                  </a:lnTo>
                  <a:lnTo>
                    <a:pt x="204" y="278"/>
                  </a:lnTo>
                  <a:lnTo>
                    <a:pt x="214" y="277"/>
                  </a:lnTo>
                  <a:lnTo>
                    <a:pt x="223" y="276"/>
                  </a:lnTo>
                  <a:lnTo>
                    <a:pt x="232" y="275"/>
                  </a:lnTo>
                  <a:lnTo>
                    <a:pt x="241" y="272"/>
                  </a:lnTo>
                  <a:lnTo>
                    <a:pt x="241" y="311"/>
                  </a:lnTo>
                  <a:lnTo>
                    <a:pt x="353" y="340"/>
                  </a:lnTo>
                  <a:lnTo>
                    <a:pt x="358" y="343"/>
                  </a:lnTo>
                  <a:lnTo>
                    <a:pt x="362" y="346"/>
                  </a:lnTo>
                  <a:lnTo>
                    <a:pt x="366" y="349"/>
                  </a:lnTo>
                  <a:lnTo>
                    <a:pt x="370" y="353"/>
                  </a:lnTo>
                  <a:lnTo>
                    <a:pt x="372" y="359"/>
                  </a:lnTo>
                  <a:lnTo>
                    <a:pt x="374" y="364"/>
                  </a:lnTo>
                  <a:lnTo>
                    <a:pt x="376" y="369"/>
                  </a:lnTo>
                  <a:lnTo>
                    <a:pt x="376" y="376"/>
                  </a:lnTo>
                  <a:lnTo>
                    <a:pt x="239" y="376"/>
                  </a:lnTo>
                  <a:close/>
                  <a:moveTo>
                    <a:pt x="106" y="139"/>
                  </a:moveTo>
                  <a:lnTo>
                    <a:pt x="106" y="138"/>
                  </a:lnTo>
                  <a:lnTo>
                    <a:pt x="106" y="136"/>
                  </a:lnTo>
                  <a:lnTo>
                    <a:pt x="119" y="140"/>
                  </a:lnTo>
                  <a:lnTo>
                    <a:pt x="134" y="142"/>
                  </a:lnTo>
                  <a:lnTo>
                    <a:pt x="148" y="142"/>
                  </a:lnTo>
                  <a:lnTo>
                    <a:pt x="163" y="141"/>
                  </a:lnTo>
                  <a:lnTo>
                    <a:pt x="178" y="139"/>
                  </a:lnTo>
                  <a:lnTo>
                    <a:pt x="193" y="134"/>
                  </a:lnTo>
                  <a:lnTo>
                    <a:pt x="208" y="127"/>
                  </a:lnTo>
                  <a:lnTo>
                    <a:pt x="221" y="119"/>
                  </a:lnTo>
                  <a:lnTo>
                    <a:pt x="226" y="124"/>
                  </a:lnTo>
                  <a:lnTo>
                    <a:pt x="230" y="128"/>
                  </a:lnTo>
                  <a:lnTo>
                    <a:pt x="237" y="131"/>
                  </a:lnTo>
                  <a:lnTo>
                    <a:pt x="242" y="135"/>
                  </a:lnTo>
                  <a:lnTo>
                    <a:pt x="248" y="138"/>
                  </a:lnTo>
                  <a:lnTo>
                    <a:pt x="255" y="140"/>
                  </a:lnTo>
                  <a:lnTo>
                    <a:pt x="261" y="142"/>
                  </a:lnTo>
                  <a:lnTo>
                    <a:pt x="269" y="143"/>
                  </a:lnTo>
                  <a:lnTo>
                    <a:pt x="275" y="144"/>
                  </a:lnTo>
                  <a:lnTo>
                    <a:pt x="282" y="144"/>
                  </a:lnTo>
                  <a:lnTo>
                    <a:pt x="292" y="143"/>
                  </a:lnTo>
                  <a:lnTo>
                    <a:pt x="303" y="141"/>
                  </a:lnTo>
                  <a:lnTo>
                    <a:pt x="303" y="152"/>
                  </a:lnTo>
                  <a:lnTo>
                    <a:pt x="301" y="162"/>
                  </a:lnTo>
                  <a:lnTo>
                    <a:pt x="299" y="173"/>
                  </a:lnTo>
                  <a:lnTo>
                    <a:pt x="294" y="183"/>
                  </a:lnTo>
                  <a:lnTo>
                    <a:pt x="290" y="191"/>
                  </a:lnTo>
                  <a:lnTo>
                    <a:pt x="286" y="201"/>
                  </a:lnTo>
                  <a:lnTo>
                    <a:pt x="279" y="209"/>
                  </a:lnTo>
                  <a:lnTo>
                    <a:pt x="274" y="216"/>
                  </a:lnTo>
                  <a:lnTo>
                    <a:pt x="267" y="224"/>
                  </a:lnTo>
                  <a:lnTo>
                    <a:pt x="259" y="230"/>
                  </a:lnTo>
                  <a:lnTo>
                    <a:pt x="251" y="235"/>
                  </a:lnTo>
                  <a:lnTo>
                    <a:pt x="243" y="240"/>
                  </a:lnTo>
                  <a:lnTo>
                    <a:pt x="233" y="243"/>
                  </a:lnTo>
                  <a:lnTo>
                    <a:pt x="224" y="246"/>
                  </a:lnTo>
                  <a:lnTo>
                    <a:pt x="214" y="247"/>
                  </a:lnTo>
                  <a:lnTo>
                    <a:pt x="204" y="248"/>
                  </a:lnTo>
                  <a:lnTo>
                    <a:pt x="195" y="247"/>
                  </a:lnTo>
                  <a:lnTo>
                    <a:pt x="185" y="245"/>
                  </a:lnTo>
                  <a:lnTo>
                    <a:pt x="175" y="243"/>
                  </a:lnTo>
                  <a:lnTo>
                    <a:pt x="166" y="240"/>
                  </a:lnTo>
                  <a:lnTo>
                    <a:pt x="157" y="234"/>
                  </a:lnTo>
                  <a:lnTo>
                    <a:pt x="150" y="229"/>
                  </a:lnTo>
                  <a:lnTo>
                    <a:pt x="142" y="223"/>
                  </a:lnTo>
                  <a:lnTo>
                    <a:pt x="135" y="216"/>
                  </a:lnTo>
                  <a:lnTo>
                    <a:pt x="128" y="208"/>
                  </a:lnTo>
                  <a:lnTo>
                    <a:pt x="123" y="200"/>
                  </a:lnTo>
                  <a:lnTo>
                    <a:pt x="118" y="190"/>
                  </a:lnTo>
                  <a:lnTo>
                    <a:pt x="113" y="181"/>
                  </a:lnTo>
                  <a:lnTo>
                    <a:pt x="110" y="171"/>
                  </a:lnTo>
                  <a:lnTo>
                    <a:pt x="108" y="160"/>
                  </a:lnTo>
                  <a:lnTo>
                    <a:pt x="106" y="150"/>
                  </a:lnTo>
                  <a:lnTo>
                    <a:pt x="106" y="139"/>
                  </a:lnTo>
                  <a:close/>
                  <a:moveTo>
                    <a:pt x="204" y="30"/>
                  </a:moveTo>
                  <a:lnTo>
                    <a:pt x="213" y="30"/>
                  </a:lnTo>
                  <a:lnTo>
                    <a:pt x="222" y="32"/>
                  </a:lnTo>
                  <a:lnTo>
                    <a:pt x="229" y="33"/>
                  </a:lnTo>
                  <a:lnTo>
                    <a:pt x="238" y="36"/>
                  </a:lnTo>
                  <a:lnTo>
                    <a:pt x="244" y="39"/>
                  </a:lnTo>
                  <a:lnTo>
                    <a:pt x="252" y="43"/>
                  </a:lnTo>
                  <a:lnTo>
                    <a:pt x="259" y="48"/>
                  </a:lnTo>
                  <a:lnTo>
                    <a:pt x="266" y="53"/>
                  </a:lnTo>
                  <a:lnTo>
                    <a:pt x="271" y="58"/>
                  </a:lnTo>
                  <a:lnTo>
                    <a:pt x="276" y="65"/>
                  </a:lnTo>
                  <a:lnTo>
                    <a:pt x="282" y="71"/>
                  </a:lnTo>
                  <a:lnTo>
                    <a:pt x="287" y="78"/>
                  </a:lnTo>
                  <a:lnTo>
                    <a:pt x="291" y="85"/>
                  </a:lnTo>
                  <a:lnTo>
                    <a:pt x="294" y="94"/>
                  </a:lnTo>
                  <a:lnTo>
                    <a:pt x="298" y="102"/>
                  </a:lnTo>
                  <a:lnTo>
                    <a:pt x="300" y="110"/>
                  </a:lnTo>
                  <a:lnTo>
                    <a:pt x="294" y="112"/>
                  </a:lnTo>
                  <a:lnTo>
                    <a:pt x="288" y="113"/>
                  </a:lnTo>
                  <a:lnTo>
                    <a:pt x="281" y="114"/>
                  </a:lnTo>
                  <a:lnTo>
                    <a:pt x="273" y="113"/>
                  </a:lnTo>
                  <a:lnTo>
                    <a:pt x="264" y="112"/>
                  </a:lnTo>
                  <a:lnTo>
                    <a:pt x="255" y="108"/>
                  </a:lnTo>
                  <a:lnTo>
                    <a:pt x="249" y="105"/>
                  </a:lnTo>
                  <a:lnTo>
                    <a:pt x="245" y="100"/>
                  </a:lnTo>
                  <a:lnTo>
                    <a:pt x="241" y="96"/>
                  </a:lnTo>
                  <a:lnTo>
                    <a:pt x="237" y="90"/>
                  </a:lnTo>
                  <a:lnTo>
                    <a:pt x="234" y="87"/>
                  </a:lnTo>
                  <a:lnTo>
                    <a:pt x="232" y="84"/>
                  </a:lnTo>
                  <a:lnTo>
                    <a:pt x="229" y="83"/>
                  </a:lnTo>
                  <a:lnTo>
                    <a:pt x="226" y="82"/>
                  </a:lnTo>
                  <a:lnTo>
                    <a:pt x="223" y="82"/>
                  </a:lnTo>
                  <a:lnTo>
                    <a:pt x="218" y="83"/>
                  </a:lnTo>
                  <a:lnTo>
                    <a:pt x="216" y="84"/>
                  </a:lnTo>
                  <a:lnTo>
                    <a:pt x="213" y="86"/>
                  </a:lnTo>
                  <a:lnTo>
                    <a:pt x="207" y="92"/>
                  </a:lnTo>
                  <a:lnTo>
                    <a:pt x="201" y="96"/>
                  </a:lnTo>
                  <a:lnTo>
                    <a:pt x="195" y="100"/>
                  </a:lnTo>
                  <a:lnTo>
                    <a:pt x="188" y="104"/>
                  </a:lnTo>
                  <a:lnTo>
                    <a:pt x="181" y="107"/>
                  </a:lnTo>
                  <a:lnTo>
                    <a:pt x="174" y="109"/>
                  </a:lnTo>
                  <a:lnTo>
                    <a:pt x="167" y="111"/>
                  </a:lnTo>
                  <a:lnTo>
                    <a:pt x="160" y="112"/>
                  </a:lnTo>
                  <a:lnTo>
                    <a:pt x="147" y="113"/>
                  </a:lnTo>
                  <a:lnTo>
                    <a:pt x="134" y="112"/>
                  </a:lnTo>
                  <a:lnTo>
                    <a:pt x="121" y="110"/>
                  </a:lnTo>
                  <a:lnTo>
                    <a:pt x="110" y="106"/>
                  </a:lnTo>
                  <a:lnTo>
                    <a:pt x="113" y="97"/>
                  </a:lnTo>
                  <a:lnTo>
                    <a:pt x="117" y="90"/>
                  </a:lnTo>
                  <a:lnTo>
                    <a:pt x="120" y="82"/>
                  </a:lnTo>
                  <a:lnTo>
                    <a:pt x="124" y="76"/>
                  </a:lnTo>
                  <a:lnTo>
                    <a:pt x="129" y="68"/>
                  </a:lnTo>
                  <a:lnTo>
                    <a:pt x="135" y="63"/>
                  </a:lnTo>
                  <a:lnTo>
                    <a:pt x="140" y="56"/>
                  </a:lnTo>
                  <a:lnTo>
                    <a:pt x="145" y="51"/>
                  </a:lnTo>
                  <a:lnTo>
                    <a:pt x="152" y="47"/>
                  </a:lnTo>
                  <a:lnTo>
                    <a:pt x="158" y="42"/>
                  </a:lnTo>
                  <a:lnTo>
                    <a:pt x="166" y="38"/>
                  </a:lnTo>
                  <a:lnTo>
                    <a:pt x="173" y="35"/>
                  </a:lnTo>
                  <a:lnTo>
                    <a:pt x="181" y="33"/>
                  </a:lnTo>
                  <a:lnTo>
                    <a:pt x="188" y="31"/>
                  </a:lnTo>
                  <a:lnTo>
                    <a:pt x="197" y="30"/>
                  </a:lnTo>
                  <a:lnTo>
                    <a:pt x="204" y="30"/>
                  </a:lnTo>
                  <a:close/>
                  <a:moveTo>
                    <a:pt x="361" y="311"/>
                  </a:moveTo>
                  <a:lnTo>
                    <a:pt x="271" y="289"/>
                  </a:lnTo>
                  <a:lnTo>
                    <a:pt x="271" y="258"/>
                  </a:lnTo>
                  <a:lnTo>
                    <a:pt x="277" y="253"/>
                  </a:lnTo>
                  <a:lnTo>
                    <a:pt x="284" y="248"/>
                  </a:lnTo>
                  <a:lnTo>
                    <a:pt x="290" y="242"/>
                  </a:lnTo>
                  <a:lnTo>
                    <a:pt x="297" y="236"/>
                  </a:lnTo>
                  <a:lnTo>
                    <a:pt x="307" y="223"/>
                  </a:lnTo>
                  <a:lnTo>
                    <a:pt x="316" y="209"/>
                  </a:lnTo>
                  <a:lnTo>
                    <a:pt x="320" y="200"/>
                  </a:lnTo>
                  <a:lnTo>
                    <a:pt x="323" y="192"/>
                  </a:lnTo>
                  <a:lnTo>
                    <a:pt x="327" y="184"/>
                  </a:lnTo>
                  <a:lnTo>
                    <a:pt x="329" y="175"/>
                  </a:lnTo>
                  <a:lnTo>
                    <a:pt x="331" y="167"/>
                  </a:lnTo>
                  <a:lnTo>
                    <a:pt x="332" y="157"/>
                  </a:lnTo>
                  <a:lnTo>
                    <a:pt x="333" y="149"/>
                  </a:lnTo>
                  <a:lnTo>
                    <a:pt x="333" y="139"/>
                  </a:lnTo>
                  <a:lnTo>
                    <a:pt x="333" y="125"/>
                  </a:lnTo>
                  <a:lnTo>
                    <a:pt x="331" y="111"/>
                  </a:lnTo>
                  <a:lnTo>
                    <a:pt x="328" y="97"/>
                  </a:lnTo>
                  <a:lnTo>
                    <a:pt x="323" y="84"/>
                  </a:lnTo>
                  <a:lnTo>
                    <a:pt x="318" y="72"/>
                  </a:lnTo>
                  <a:lnTo>
                    <a:pt x="312" y="61"/>
                  </a:lnTo>
                  <a:lnTo>
                    <a:pt x="304" y="50"/>
                  </a:lnTo>
                  <a:lnTo>
                    <a:pt x="296" y="40"/>
                  </a:lnTo>
                  <a:lnTo>
                    <a:pt x="287" y="32"/>
                  </a:lnTo>
                  <a:lnTo>
                    <a:pt x="276" y="23"/>
                  </a:lnTo>
                  <a:lnTo>
                    <a:pt x="266" y="17"/>
                  </a:lnTo>
                  <a:lnTo>
                    <a:pt x="255" y="10"/>
                  </a:lnTo>
                  <a:lnTo>
                    <a:pt x="243" y="6"/>
                  </a:lnTo>
                  <a:lnTo>
                    <a:pt x="230" y="3"/>
                  </a:lnTo>
                  <a:lnTo>
                    <a:pt x="217" y="1"/>
                  </a:lnTo>
                  <a:lnTo>
                    <a:pt x="204" y="0"/>
                  </a:lnTo>
                  <a:lnTo>
                    <a:pt x="192" y="1"/>
                  </a:lnTo>
                  <a:lnTo>
                    <a:pt x="179" y="3"/>
                  </a:lnTo>
                  <a:lnTo>
                    <a:pt x="166" y="6"/>
                  </a:lnTo>
                  <a:lnTo>
                    <a:pt x="154" y="10"/>
                  </a:lnTo>
                  <a:lnTo>
                    <a:pt x="143" y="17"/>
                  </a:lnTo>
                  <a:lnTo>
                    <a:pt x="133" y="23"/>
                  </a:lnTo>
                  <a:lnTo>
                    <a:pt x="123" y="32"/>
                  </a:lnTo>
                  <a:lnTo>
                    <a:pt x="113" y="40"/>
                  </a:lnTo>
                  <a:lnTo>
                    <a:pt x="105" y="50"/>
                  </a:lnTo>
                  <a:lnTo>
                    <a:pt x="98" y="61"/>
                  </a:lnTo>
                  <a:lnTo>
                    <a:pt x="92" y="72"/>
                  </a:lnTo>
                  <a:lnTo>
                    <a:pt x="85" y="84"/>
                  </a:lnTo>
                  <a:lnTo>
                    <a:pt x="81" y="97"/>
                  </a:lnTo>
                  <a:lnTo>
                    <a:pt x="78" y="111"/>
                  </a:lnTo>
                  <a:lnTo>
                    <a:pt x="77" y="125"/>
                  </a:lnTo>
                  <a:lnTo>
                    <a:pt x="76" y="139"/>
                  </a:lnTo>
                  <a:lnTo>
                    <a:pt x="76" y="147"/>
                  </a:lnTo>
                  <a:lnTo>
                    <a:pt x="77" y="157"/>
                  </a:lnTo>
                  <a:lnTo>
                    <a:pt x="78" y="166"/>
                  </a:lnTo>
                  <a:lnTo>
                    <a:pt x="80" y="174"/>
                  </a:lnTo>
                  <a:lnTo>
                    <a:pt x="85" y="190"/>
                  </a:lnTo>
                  <a:lnTo>
                    <a:pt x="92" y="206"/>
                  </a:lnTo>
                  <a:lnTo>
                    <a:pt x="100" y="220"/>
                  </a:lnTo>
                  <a:lnTo>
                    <a:pt x="111" y="234"/>
                  </a:lnTo>
                  <a:lnTo>
                    <a:pt x="123" y="246"/>
                  </a:lnTo>
                  <a:lnTo>
                    <a:pt x="136" y="256"/>
                  </a:lnTo>
                  <a:lnTo>
                    <a:pt x="136" y="289"/>
                  </a:lnTo>
                  <a:lnTo>
                    <a:pt x="47" y="313"/>
                  </a:lnTo>
                  <a:lnTo>
                    <a:pt x="37" y="316"/>
                  </a:lnTo>
                  <a:lnTo>
                    <a:pt x="29" y="321"/>
                  </a:lnTo>
                  <a:lnTo>
                    <a:pt x="21" y="328"/>
                  </a:lnTo>
                  <a:lnTo>
                    <a:pt x="14" y="336"/>
                  </a:lnTo>
                  <a:lnTo>
                    <a:pt x="8" y="345"/>
                  </a:lnTo>
                  <a:lnTo>
                    <a:pt x="4" y="354"/>
                  </a:lnTo>
                  <a:lnTo>
                    <a:pt x="1" y="364"/>
                  </a:lnTo>
                  <a:lnTo>
                    <a:pt x="0" y="375"/>
                  </a:lnTo>
                  <a:lnTo>
                    <a:pt x="0" y="406"/>
                  </a:lnTo>
                  <a:lnTo>
                    <a:pt x="201" y="406"/>
                  </a:lnTo>
                  <a:lnTo>
                    <a:pt x="239" y="406"/>
                  </a:lnTo>
                  <a:lnTo>
                    <a:pt x="406" y="406"/>
                  </a:lnTo>
                  <a:lnTo>
                    <a:pt x="406" y="376"/>
                  </a:lnTo>
                  <a:lnTo>
                    <a:pt x="405" y="365"/>
                  </a:lnTo>
                  <a:lnTo>
                    <a:pt x="403" y="354"/>
                  </a:lnTo>
                  <a:lnTo>
                    <a:pt x="398" y="345"/>
                  </a:lnTo>
                  <a:lnTo>
                    <a:pt x="393" y="336"/>
                  </a:lnTo>
                  <a:lnTo>
                    <a:pt x="387" y="328"/>
                  </a:lnTo>
                  <a:lnTo>
                    <a:pt x="379" y="321"/>
                  </a:lnTo>
                  <a:lnTo>
                    <a:pt x="371" y="316"/>
                  </a:lnTo>
                  <a:lnTo>
                    <a:pt x="361" y="3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Freeform 89"/>
            <p:cNvSpPr>
              <a:spLocks noEditPoints="1"/>
            </p:cNvSpPr>
            <p:nvPr/>
          </p:nvSpPr>
          <p:spPr bwMode="auto">
            <a:xfrm>
              <a:off x="5543550" y="2073275"/>
              <a:ext cx="130175" cy="128588"/>
            </a:xfrm>
            <a:custGeom>
              <a:avLst/>
              <a:gdLst>
                <a:gd name="T0" fmla="*/ 30 w 409"/>
                <a:gd name="T1" fmla="*/ 379 h 409"/>
                <a:gd name="T2" fmla="*/ 35 w 409"/>
                <a:gd name="T3" fmla="*/ 359 h 409"/>
                <a:gd name="T4" fmla="*/ 50 w 409"/>
                <a:gd name="T5" fmla="*/ 343 h 409"/>
                <a:gd name="T6" fmla="*/ 172 w 409"/>
                <a:gd name="T7" fmla="*/ 273 h 409"/>
                <a:gd name="T8" fmla="*/ 215 w 409"/>
                <a:gd name="T9" fmla="*/ 277 h 409"/>
                <a:gd name="T10" fmla="*/ 246 w 409"/>
                <a:gd name="T11" fmla="*/ 311 h 409"/>
                <a:gd name="T12" fmla="*/ 368 w 409"/>
                <a:gd name="T13" fmla="*/ 349 h 409"/>
                <a:gd name="T14" fmla="*/ 379 w 409"/>
                <a:gd name="T15" fmla="*/ 370 h 409"/>
                <a:gd name="T16" fmla="*/ 106 w 409"/>
                <a:gd name="T17" fmla="*/ 137 h 409"/>
                <a:gd name="T18" fmla="*/ 148 w 409"/>
                <a:gd name="T19" fmla="*/ 142 h 409"/>
                <a:gd name="T20" fmla="*/ 208 w 409"/>
                <a:gd name="T21" fmla="*/ 127 h 409"/>
                <a:gd name="T22" fmla="*/ 236 w 409"/>
                <a:gd name="T23" fmla="*/ 132 h 409"/>
                <a:gd name="T24" fmla="*/ 260 w 409"/>
                <a:gd name="T25" fmla="*/ 141 h 409"/>
                <a:gd name="T26" fmla="*/ 293 w 409"/>
                <a:gd name="T27" fmla="*/ 142 h 409"/>
                <a:gd name="T28" fmla="*/ 299 w 409"/>
                <a:gd name="T29" fmla="*/ 172 h 409"/>
                <a:gd name="T30" fmla="*/ 281 w 409"/>
                <a:gd name="T31" fmla="*/ 209 h 409"/>
                <a:gd name="T32" fmla="*/ 252 w 409"/>
                <a:gd name="T33" fmla="*/ 234 h 409"/>
                <a:gd name="T34" fmla="*/ 215 w 409"/>
                <a:gd name="T35" fmla="*/ 247 h 409"/>
                <a:gd name="T36" fmla="*/ 176 w 409"/>
                <a:gd name="T37" fmla="*/ 243 h 409"/>
                <a:gd name="T38" fmla="*/ 142 w 409"/>
                <a:gd name="T39" fmla="*/ 223 h 409"/>
                <a:gd name="T40" fmla="*/ 118 w 409"/>
                <a:gd name="T41" fmla="*/ 191 h 409"/>
                <a:gd name="T42" fmla="*/ 107 w 409"/>
                <a:gd name="T43" fmla="*/ 150 h 409"/>
                <a:gd name="T44" fmla="*/ 222 w 409"/>
                <a:gd name="T45" fmla="*/ 31 h 409"/>
                <a:gd name="T46" fmla="*/ 252 w 409"/>
                <a:gd name="T47" fmla="*/ 43 h 409"/>
                <a:gd name="T48" fmla="*/ 276 w 409"/>
                <a:gd name="T49" fmla="*/ 64 h 409"/>
                <a:gd name="T50" fmla="*/ 295 w 409"/>
                <a:gd name="T51" fmla="*/ 93 h 409"/>
                <a:gd name="T52" fmla="*/ 287 w 409"/>
                <a:gd name="T53" fmla="*/ 113 h 409"/>
                <a:gd name="T54" fmla="*/ 254 w 409"/>
                <a:gd name="T55" fmla="*/ 107 h 409"/>
                <a:gd name="T56" fmla="*/ 237 w 409"/>
                <a:gd name="T57" fmla="*/ 90 h 409"/>
                <a:gd name="T58" fmla="*/ 226 w 409"/>
                <a:gd name="T59" fmla="*/ 82 h 409"/>
                <a:gd name="T60" fmla="*/ 213 w 409"/>
                <a:gd name="T61" fmla="*/ 87 h 409"/>
                <a:gd name="T62" fmla="*/ 189 w 409"/>
                <a:gd name="T63" fmla="*/ 104 h 409"/>
                <a:gd name="T64" fmla="*/ 161 w 409"/>
                <a:gd name="T65" fmla="*/ 112 h 409"/>
                <a:gd name="T66" fmla="*/ 111 w 409"/>
                <a:gd name="T67" fmla="*/ 106 h 409"/>
                <a:gd name="T68" fmla="*/ 124 w 409"/>
                <a:gd name="T69" fmla="*/ 75 h 409"/>
                <a:gd name="T70" fmla="*/ 146 w 409"/>
                <a:gd name="T71" fmla="*/ 51 h 409"/>
                <a:gd name="T72" fmla="*/ 174 w 409"/>
                <a:gd name="T73" fmla="*/ 35 h 409"/>
                <a:gd name="T74" fmla="*/ 205 w 409"/>
                <a:gd name="T75" fmla="*/ 30 h 409"/>
                <a:gd name="T76" fmla="*/ 289 w 409"/>
                <a:gd name="T77" fmla="*/ 244 h 409"/>
                <a:gd name="T78" fmla="*/ 325 w 409"/>
                <a:gd name="T79" fmla="*/ 189 h 409"/>
                <a:gd name="T80" fmla="*/ 333 w 409"/>
                <a:gd name="T81" fmla="*/ 124 h 409"/>
                <a:gd name="T82" fmla="*/ 318 w 409"/>
                <a:gd name="T83" fmla="*/ 73 h 409"/>
                <a:gd name="T84" fmla="*/ 287 w 409"/>
                <a:gd name="T85" fmla="*/ 32 h 409"/>
                <a:gd name="T86" fmla="*/ 243 w 409"/>
                <a:gd name="T87" fmla="*/ 6 h 409"/>
                <a:gd name="T88" fmla="*/ 192 w 409"/>
                <a:gd name="T89" fmla="*/ 1 h 409"/>
                <a:gd name="T90" fmla="*/ 143 w 409"/>
                <a:gd name="T91" fmla="*/ 17 h 409"/>
                <a:gd name="T92" fmla="*/ 105 w 409"/>
                <a:gd name="T93" fmla="*/ 50 h 409"/>
                <a:gd name="T94" fmla="*/ 81 w 409"/>
                <a:gd name="T95" fmla="*/ 97 h 409"/>
                <a:gd name="T96" fmla="*/ 77 w 409"/>
                <a:gd name="T97" fmla="*/ 156 h 409"/>
                <a:gd name="T98" fmla="*/ 100 w 409"/>
                <a:gd name="T99" fmla="*/ 219 h 409"/>
                <a:gd name="T100" fmla="*/ 133 w 409"/>
                <a:gd name="T101" fmla="*/ 288 h 409"/>
                <a:gd name="T102" fmla="*/ 21 w 409"/>
                <a:gd name="T103" fmla="*/ 328 h 409"/>
                <a:gd name="T104" fmla="*/ 1 w 409"/>
                <a:gd name="T105" fmla="*/ 364 h 409"/>
                <a:gd name="T106" fmla="*/ 224 w 409"/>
                <a:gd name="T107" fmla="*/ 409 h 409"/>
                <a:gd name="T108" fmla="*/ 406 w 409"/>
                <a:gd name="T109" fmla="*/ 355 h 409"/>
                <a:gd name="T110" fmla="*/ 380 w 409"/>
                <a:gd name="T111" fmla="*/ 321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09" h="409">
                  <a:moveTo>
                    <a:pt x="379" y="379"/>
                  </a:moveTo>
                  <a:lnTo>
                    <a:pt x="224" y="379"/>
                  </a:lnTo>
                  <a:lnTo>
                    <a:pt x="186" y="379"/>
                  </a:lnTo>
                  <a:lnTo>
                    <a:pt x="30" y="379"/>
                  </a:lnTo>
                  <a:lnTo>
                    <a:pt x="30" y="375"/>
                  </a:lnTo>
                  <a:lnTo>
                    <a:pt x="31" y="370"/>
                  </a:lnTo>
                  <a:lnTo>
                    <a:pt x="32" y="364"/>
                  </a:lnTo>
                  <a:lnTo>
                    <a:pt x="35" y="359"/>
                  </a:lnTo>
                  <a:lnTo>
                    <a:pt x="37" y="355"/>
                  </a:lnTo>
                  <a:lnTo>
                    <a:pt x="42" y="349"/>
                  </a:lnTo>
                  <a:lnTo>
                    <a:pt x="46" y="346"/>
                  </a:lnTo>
                  <a:lnTo>
                    <a:pt x="50" y="343"/>
                  </a:lnTo>
                  <a:lnTo>
                    <a:pt x="56" y="341"/>
                  </a:lnTo>
                  <a:lnTo>
                    <a:pt x="163" y="311"/>
                  </a:lnTo>
                  <a:lnTo>
                    <a:pt x="163" y="270"/>
                  </a:lnTo>
                  <a:lnTo>
                    <a:pt x="172" y="273"/>
                  </a:lnTo>
                  <a:lnTo>
                    <a:pt x="183" y="275"/>
                  </a:lnTo>
                  <a:lnTo>
                    <a:pt x="194" y="277"/>
                  </a:lnTo>
                  <a:lnTo>
                    <a:pt x="205" y="277"/>
                  </a:lnTo>
                  <a:lnTo>
                    <a:pt x="215" y="277"/>
                  </a:lnTo>
                  <a:lnTo>
                    <a:pt x="226" y="275"/>
                  </a:lnTo>
                  <a:lnTo>
                    <a:pt x="237" y="273"/>
                  </a:lnTo>
                  <a:lnTo>
                    <a:pt x="246" y="270"/>
                  </a:lnTo>
                  <a:lnTo>
                    <a:pt x="246" y="311"/>
                  </a:lnTo>
                  <a:lnTo>
                    <a:pt x="354" y="341"/>
                  </a:lnTo>
                  <a:lnTo>
                    <a:pt x="359" y="343"/>
                  </a:lnTo>
                  <a:lnTo>
                    <a:pt x="363" y="346"/>
                  </a:lnTo>
                  <a:lnTo>
                    <a:pt x="368" y="349"/>
                  </a:lnTo>
                  <a:lnTo>
                    <a:pt x="372" y="355"/>
                  </a:lnTo>
                  <a:lnTo>
                    <a:pt x="375" y="359"/>
                  </a:lnTo>
                  <a:lnTo>
                    <a:pt x="377" y="364"/>
                  </a:lnTo>
                  <a:lnTo>
                    <a:pt x="379" y="370"/>
                  </a:lnTo>
                  <a:lnTo>
                    <a:pt x="379" y="375"/>
                  </a:lnTo>
                  <a:lnTo>
                    <a:pt x="379" y="379"/>
                  </a:lnTo>
                  <a:close/>
                  <a:moveTo>
                    <a:pt x="106" y="139"/>
                  </a:moveTo>
                  <a:lnTo>
                    <a:pt x="106" y="137"/>
                  </a:lnTo>
                  <a:lnTo>
                    <a:pt x="106" y="136"/>
                  </a:lnTo>
                  <a:lnTo>
                    <a:pt x="120" y="140"/>
                  </a:lnTo>
                  <a:lnTo>
                    <a:pt x="134" y="142"/>
                  </a:lnTo>
                  <a:lnTo>
                    <a:pt x="148" y="142"/>
                  </a:lnTo>
                  <a:lnTo>
                    <a:pt x="163" y="141"/>
                  </a:lnTo>
                  <a:lnTo>
                    <a:pt x="179" y="139"/>
                  </a:lnTo>
                  <a:lnTo>
                    <a:pt x="193" y="134"/>
                  </a:lnTo>
                  <a:lnTo>
                    <a:pt x="208" y="127"/>
                  </a:lnTo>
                  <a:lnTo>
                    <a:pt x="221" y="119"/>
                  </a:lnTo>
                  <a:lnTo>
                    <a:pt x="226" y="123"/>
                  </a:lnTo>
                  <a:lnTo>
                    <a:pt x="230" y="127"/>
                  </a:lnTo>
                  <a:lnTo>
                    <a:pt x="236" y="132"/>
                  </a:lnTo>
                  <a:lnTo>
                    <a:pt x="242" y="135"/>
                  </a:lnTo>
                  <a:lnTo>
                    <a:pt x="247" y="137"/>
                  </a:lnTo>
                  <a:lnTo>
                    <a:pt x="254" y="139"/>
                  </a:lnTo>
                  <a:lnTo>
                    <a:pt x="260" y="141"/>
                  </a:lnTo>
                  <a:lnTo>
                    <a:pt x="268" y="142"/>
                  </a:lnTo>
                  <a:lnTo>
                    <a:pt x="273" y="143"/>
                  </a:lnTo>
                  <a:lnTo>
                    <a:pt x="280" y="143"/>
                  </a:lnTo>
                  <a:lnTo>
                    <a:pt x="293" y="142"/>
                  </a:lnTo>
                  <a:lnTo>
                    <a:pt x="303" y="140"/>
                  </a:lnTo>
                  <a:lnTo>
                    <a:pt x="303" y="151"/>
                  </a:lnTo>
                  <a:lnTo>
                    <a:pt x="301" y="162"/>
                  </a:lnTo>
                  <a:lnTo>
                    <a:pt x="299" y="172"/>
                  </a:lnTo>
                  <a:lnTo>
                    <a:pt x="296" y="182"/>
                  </a:lnTo>
                  <a:lnTo>
                    <a:pt x="291" y="192"/>
                  </a:lnTo>
                  <a:lnTo>
                    <a:pt x="286" y="200"/>
                  </a:lnTo>
                  <a:lnTo>
                    <a:pt x="281" y="209"/>
                  </a:lnTo>
                  <a:lnTo>
                    <a:pt x="274" y="216"/>
                  </a:lnTo>
                  <a:lnTo>
                    <a:pt x="267" y="223"/>
                  </a:lnTo>
                  <a:lnTo>
                    <a:pt x="259" y="229"/>
                  </a:lnTo>
                  <a:lnTo>
                    <a:pt x="252" y="234"/>
                  </a:lnTo>
                  <a:lnTo>
                    <a:pt x="243" y="239"/>
                  </a:lnTo>
                  <a:lnTo>
                    <a:pt x="234" y="243"/>
                  </a:lnTo>
                  <a:lnTo>
                    <a:pt x="225" y="245"/>
                  </a:lnTo>
                  <a:lnTo>
                    <a:pt x="215" y="247"/>
                  </a:lnTo>
                  <a:lnTo>
                    <a:pt x="205" y="247"/>
                  </a:lnTo>
                  <a:lnTo>
                    <a:pt x="195" y="247"/>
                  </a:lnTo>
                  <a:lnTo>
                    <a:pt x="185" y="245"/>
                  </a:lnTo>
                  <a:lnTo>
                    <a:pt x="176" y="243"/>
                  </a:lnTo>
                  <a:lnTo>
                    <a:pt x="166" y="239"/>
                  </a:lnTo>
                  <a:lnTo>
                    <a:pt x="157" y="234"/>
                  </a:lnTo>
                  <a:lnTo>
                    <a:pt x="150" y="229"/>
                  </a:lnTo>
                  <a:lnTo>
                    <a:pt x="142" y="223"/>
                  </a:lnTo>
                  <a:lnTo>
                    <a:pt x="135" y="216"/>
                  </a:lnTo>
                  <a:lnTo>
                    <a:pt x="128" y="208"/>
                  </a:lnTo>
                  <a:lnTo>
                    <a:pt x="123" y="199"/>
                  </a:lnTo>
                  <a:lnTo>
                    <a:pt x="118" y="191"/>
                  </a:lnTo>
                  <a:lnTo>
                    <a:pt x="113" y="181"/>
                  </a:lnTo>
                  <a:lnTo>
                    <a:pt x="110" y="171"/>
                  </a:lnTo>
                  <a:lnTo>
                    <a:pt x="108" y="160"/>
                  </a:lnTo>
                  <a:lnTo>
                    <a:pt x="107" y="150"/>
                  </a:lnTo>
                  <a:lnTo>
                    <a:pt x="106" y="139"/>
                  </a:lnTo>
                  <a:close/>
                  <a:moveTo>
                    <a:pt x="205" y="30"/>
                  </a:moveTo>
                  <a:lnTo>
                    <a:pt x="213" y="30"/>
                  </a:lnTo>
                  <a:lnTo>
                    <a:pt x="222" y="31"/>
                  </a:lnTo>
                  <a:lnTo>
                    <a:pt x="229" y="33"/>
                  </a:lnTo>
                  <a:lnTo>
                    <a:pt x="237" y="36"/>
                  </a:lnTo>
                  <a:lnTo>
                    <a:pt x="244" y="39"/>
                  </a:lnTo>
                  <a:lnTo>
                    <a:pt x="252" y="43"/>
                  </a:lnTo>
                  <a:lnTo>
                    <a:pt x="258" y="47"/>
                  </a:lnTo>
                  <a:lnTo>
                    <a:pt x="265" y="52"/>
                  </a:lnTo>
                  <a:lnTo>
                    <a:pt x="271" y="58"/>
                  </a:lnTo>
                  <a:lnTo>
                    <a:pt x="276" y="64"/>
                  </a:lnTo>
                  <a:lnTo>
                    <a:pt x="282" y="70"/>
                  </a:lnTo>
                  <a:lnTo>
                    <a:pt x="286" y="78"/>
                  </a:lnTo>
                  <a:lnTo>
                    <a:pt x="290" y="85"/>
                  </a:lnTo>
                  <a:lnTo>
                    <a:pt x="295" y="93"/>
                  </a:lnTo>
                  <a:lnTo>
                    <a:pt x="297" y="100"/>
                  </a:lnTo>
                  <a:lnTo>
                    <a:pt x="300" y="109"/>
                  </a:lnTo>
                  <a:lnTo>
                    <a:pt x="294" y="111"/>
                  </a:lnTo>
                  <a:lnTo>
                    <a:pt x="287" y="113"/>
                  </a:lnTo>
                  <a:lnTo>
                    <a:pt x="280" y="113"/>
                  </a:lnTo>
                  <a:lnTo>
                    <a:pt x="272" y="112"/>
                  </a:lnTo>
                  <a:lnTo>
                    <a:pt x="264" y="111"/>
                  </a:lnTo>
                  <a:lnTo>
                    <a:pt x="254" y="107"/>
                  </a:lnTo>
                  <a:lnTo>
                    <a:pt x="250" y="104"/>
                  </a:lnTo>
                  <a:lnTo>
                    <a:pt x="245" y="100"/>
                  </a:lnTo>
                  <a:lnTo>
                    <a:pt x="241" y="95"/>
                  </a:lnTo>
                  <a:lnTo>
                    <a:pt x="237" y="90"/>
                  </a:lnTo>
                  <a:lnTo>
                    <a:pt x="235" y="87"/>
                  </a:lnTo>
                  <a:lnTo>
                    <a:pt x="232" y="84"/>
                  </a:lnTo>
                  <a:lnTo>
                    <a:pt x="229" y="83"/>
                  </a:lnTo>
                  <a:lnTo>
                    <a:pt x="226" y="82"/>
                  </a:lnTo>
                  <a:lnTo>
                    <a:pt x="223" y="82"/>
                  </a:lnTo>
                  <a:lnTo>
                    <a:pt x="219" y="82"/>
                  </a:lnTo>
                  <a:lnTo>
                    <a:pt x="216" y="84"/>
                  </a:lnTo>
                  <a:lnTo>
                    <a:pt x="213" y="87"/>
                  </a:lnTo>
                  <a:lnTo>
                    <a:pt x="207" y="92"/>
                  </a:lnTo>
                  <a:lnTo>
                    <a:pt x="201" y="96"/>
                  </a:lnTo>
                  <a:lnTo>
                    <a:pt x="195" y="100"/>
                  </a:lnTo>
                  <a:lnTo>
                    <a:pt x="189" y="104"/>
                  </a:lnTo>
                  <a:lnTo>
                    <a:pt x="181" y="107"/>
                  </a:lnTo>
                  <a:lnTo>
                    <a:pt x="175" y="109"/>
                  </a:lnTo>
                  <a:lnTo>
                    <a:pt x="167" y="110"/>
                  </a:lnTo>
                  <a:lnTo>
                    <a:pt x="161" y="112"/>
                  </a:lnTo>
                  <a:lnTo>
                    <a:pt x="147" y="112"/>
                  </a:lnTo>
                  <a:lnTo>
                    <a:pt x="134" y="112"/>
                  </a:lnTo>
                  <a:lnTo>
                    <a:pt x="121" y="109"/>
                  </a:lnTo>
                  <a:lnTo>
                    <a:pt x="111" y="106"/>
                  </a:lnTo>
                  <a:lnTo>
                    <a:pt x="113" y="97"/>
                  </a:lnTo>
                  <a:lnTo>
                    <a:pt x="117" y="90"/>
                  </a:lnTo>
                  <a:lnTo>
                    <a:pt x="120" y="82"/>
                  </a:lnTo>
                  <a:lnTo>
                    <a:pt x="124" y="75"/>
                  </a:lnTo>
                  <a:lnTo>
                    <a:pt x="130" y="68"/>
                  </a:lnTo>
                  <a:lnTo>
                    <a:pt x="135" y="62"/>
                  </a:lnTo>
                  <a:lnTo>
                    <a:pt x="140" y="56"/>
                  </a:lnTo>
                  <a:lnTo>
                    <a:pt x="146" y="51"/>
                  </a:lnTo>
                  <a:lnTo>
                    <a:pt x="152" y="47"/>
                  </a:lnTo>
                  <a:lnTo>
                    <a:pt x="159" y="43"/>
                  </a:lnTo>
                  <a:lnTo>
                    <a:pt x="166" y="38"/>
                  </a:lnTo>
                  <a:lnTo>
                    <a:pt x="174" y="35"/>
                  </a:lnTo>
                  <a:lnTo>
                    <a:pt x="181" y="33"/>
                  </a:lnTo>
                  <a:lnTo>
                    <a:pt x="189" y="31"/>
                  </a:lnTo>
                  <a:lnTo>
                    <a:pt x="197" y="30"/>
                  </a:lnTo>
                  <a:lnTo>
                    <a:pt x="205" y="30"/>
                  </a:lnTo>
                  <a:close/>
                  <a:moveTo>
                    <a:pt x="362" y="312"/>
                  </a:moveTo>
                  <a:lnTo>
                    <a:pt x="276" y="288"/>
                  </a:lnTo>
                  <a:lnTo>
                    <a:pt x="276" y="254"/>
                  </a:lnTo>
                  <a:lnTo>
                    <a:pt x="289" y="244"/>
                  </a:lnTo>
                  <a:lnTo>
                    <a:pt x="300" y="232"/>
                  </a:lnTo>
                  <a:lnTo>
                    <a:pt x="310" y="219"/>
                  </a:lnTo>
                  <a:lnTo>
                    <a:pt x="318" y="204"/>
                  </a:lnTo>
                  <a:lnTo>
                    <a:pt x="325" y="189"/>
                  </a:lnTo>
                  <a:lnTo>
                    <a:pt x="329" y="173"/>
                  </a:lnTo>
                  <a:lnTo>
                    <a:pt x="332" y="156"/>
                  </a:lnTo>
                  <a:lnTo>
                    <a:pt x="333" y="139"/>
                  </a:lnTo>
                  <a:lnTo>
                    <a:pt x="333" y="124"/>
                  </a:lnTo>
                  <a:lnTo>
                    <a:pt x="331" y="111"/>
                  </a:lnTo>
                  <a:lnTo>
                    <a:pt x="328" y="97"/>
                  </a:lnTo>
                  <a:lnTo>
                    <a:pt x="324" y="84"/>
                  </a:lnTo>
                  <a:lnTo>
                    <a:pt x="318" y="73"/>
                  </a:lnTo>
                  <a:lnTo>
                    <a:pt x="312" y="61"/>
                  </a:lnTo>
                  <a:lnTo>
                    <a:pt x="304" y="50"/>
                  </a:lnTo>
                  <a:lnTo>
                    <a:pt x="296" y="40"/>
                  </a:lnTo>
                  <a:lnTo>
                    <a:pt x="287" y="32"/>
                  </a:lnTo>
                  <a:lnTo>
                    <a:pt x="276" y="23"/>
                  </a:lnTo>
                  <a:lnTo>
                    <a:pt x="266" y="17"/>
                  </a:lnTo>
                  <a:lnTo>
                    <a:pt x="255" y="10"/>
                  </a:lnTo>
                  <a:lnTo>
                    <a:pt x="243" y="6"/>
                  </a:lnTo>
                  <a:lnTo>
                    <a:pt x="230" y="3"/>
                  </a:lnTo>
                  <a:lnTo>
                    <a:pt x="217" y="1"/>
                  </a:lnTo>
                  <a:lnTo>
                    <a:pt x="205" y="0"/>
                  </a:lnTo>
                  <a:lnTo>
                    <a:pt x="192" y="1"/>
                  </a:lnTo>
                  <a:lnTo>
                    <a:pt x="179" y="3"/>
                  </a:lnTo>
                  <a:lnTo>
                    <a:pt x="167" y="6"/>
                  </a:lnTo>
                  <a:lnTo>
                    <a:pt x="154" y="10"/>
                  </a:lnTo>
                  <a:lnTo>
                    <a:pt x="143" y="17"/>
                  </a:lnTo>
                  <a:lnTo>
                    <a:pt x="133" y="23"/>
                  </a:lnTo>
                  <a:lnTo>
                    <a:pt x="123" y="32"/>
                  </a:lnTo>
                  <a:lnTo>
                    <a:pt x="113" y="40"/>
                  </a:lnTo>
                  <a:lnTo>
                    <a:pt x="105" y="50"/>
                  </a:lnTo>
                  <a:lnTo>
                    <a:pt x="98" y="61"/>
                  </a:lnTo>
                  <a:lnTo>
                    <a:pt x="92" y="73"/>
                  </a:lnTo>
                  <a:lnTo>
                    <a:pt x="86" y="84"/>
                  </a:lnTo>
                  <a:lnTo>
                    <a:pt x="81" y="97"/>
                  </a:lnTo>
                  <a:lnTo>
                    <a:pt x="78" y="111"/>
                  </a:lnTo>
                  <a:lnTo>
                    <a:pt x="77" y="124"/>
                  </a:lnTo>
                  <a:lnTo>
                    <a:pt x="76" y="139"/>
                  </a:lnTo>
                  <a:lnTo>
                    <a:pt x="77" y="156"/>
                  </a:lnTo>
                  <a:lnTo>
                    <a:pt x="80" y="173"/>
                  </a:lnTo>
                  <a:lnTo>
                    <a:pt x="85" y="189"/>
                  </a:lnTo>
                  <a:lnTo>
                    <a:pt x="92" y="204"/>
                  </a:lnTo>
                  <a:lnTo>
                    <a:pt x="100" y="219"/>
                  </a:lnTo>
                  <a:lnTo>
                    <a:pt x="109" y="232"/>
                  </a:lnTo>
                  <a:lnTo>
                    <a:pt x="121" y="244"/>
                  </a:lnTo>
                  <a:lnTo>
                    <a:pt x="133" y="254"/>
                  </a:lnTo>
                  <a:lnTo>
                    <a:pt x="133" y="288"/>
                  </a:lnTo>
                  <a:lnTo>
                    <a:pt x="47" y="312"/>
                  </a:lnTo>
                  <a:lnTo>
                    <a:pt x="37" y="316"/>
                  </a:lnTo>
                  <a:lnTo>
                    <a:pt x="29" y="321"/>
                  </a:lnTo>
                  <a:lnTo>
                    <a:pt x="21" y="328"/>
                  </a:lnTo>
                  <a:lnTo>
                    <a:pt x="14" y="336"/>
                  </a:lnTo>
                  <a:lnTo>
                    <a:pt x="8" y="345"/>
                  </a:lnTo>
                  <a:lnTo>
                    <a:pt x="4" y="355"/>
                  </a:lnTo>
                  <a:lnTo>
                    <a:pt x="1" y="364"/>
                  </a:lnTo>
                  <a:lnTo>
                    <a:pt x="0" y="375"/>
                  </a:lnTo>
                  <a:lnTo>
                    <a:pt x="0" y="409"/>
                  </a:lnTo>
                  <a:lnTo>
                    <a:pt x="186" y="409"/>
                  </a:lnTo>
                  <a:lnTo>
                    <a:pt x="224" y="409"/>
                  </a:lnTo>
                  <a:lnTo>
                    <a:pt x="409" y="409"/>
                  </a:lnTo>
                  <a:lnTo>
                    <a:pt x="409" y="375"/>
                  </a:lnTo>
                  <a:lnTo>
                    <a:pt x="408" y="364"/>
                  </a:lnTo>
                  <a:lnTo>
                    <a:pt x="406" y="355"/>
                  </a:lnTo>
                  <a:lnTo>
                    <a:pt x="402" y="345"/>
                  </a:lnTo>
                  <a:lnTo>
                    <a:pt x="395" y="336"/>
                  </a:lnTo>
                  <a:lnTo>
                    <a:pt x="389" y="328"/>
                  </a:lnTo>
                  <a:lnTo>
                    <a:pt x="380" y="321"/>
                  </a:lnTo>
                  <a:lnTo>
                    <a:pt x="372" y="316"/>
                  </a:lnTo>
                  <a:lnTo>
                    <a:pt x="362" y="3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Freeform 90"/>
            <p:cNvSpPr>
              <a:spLocks/>
            </p:cNvSpPr>
            <p:nvPr/>
          </p:nvSpPr>
          <p:spPr bwMode="auto">
            <a:xfrm>
              <a:off x="5507038" y="2060575"/>
              <a:ext cx="39688" cy="39688"/>
            </a:xfrm>
            <a:custGeom>
              <a:avLst/>
              <a:gdLst>
                <a:gd name="T0" fmla="*/ 121 w 126"/>
                <a:gd name="T1" fmla="*/ 99 h 125"/>
                <a:gd name="T2" fmla="*/ 26 w 126"/>
                <a:gd name="T3" fmla="*/ 4 h 125"/>
                <a:gd name="T4" fmla="*/ 24 w 126"/>
                <a:gd name="T5" fmla="*/ 2 h 125"/>
                <a:gd name="T6" fmla="*/ 21 w 126"/>
                <a:gd name="T7" fmla="*/ 1 h 125"/>
                <a:gd name="T8" fmla="*/ 18 w 126"/>
                <a:gd name="T9" fmla="*/ 0 h 125"/>
                <a:gd name="T10" fmla="*/ 15 w 126"/>
                <a:gd name="T11" fmla="*/ 0 h 125"/>
                <a:gd name="T12" fmla="*/ 13 w 126"/>
                <a:gd name="T13" fmla="*/ 0 h 125"/>
                <a:gd name="T14" fmla="*/ 10 w 126"/>
                <a:gd name="T15" fmla="*/ 1 h 125"/>
                <a:gd name="T16" fmla="*/ 7 w 126"/>
                <a:gd name="T17" fmla="*/ 2 h 125"/>
                <a:gd name="T18" fmla="*/ 4 w 126"/>
                <a:gd name="T19" fmla="*/ 4 h 125"/>
                <a:gd name="T20" fmla="*/ 2 w 126"/>
                <a:gd name="T21" fmla="*/ 7 h 125"/>
                <a:gd name="T22" fmla="*/ 1 w 126"/>
                <a:gd name="T23" fmla="*/ 9 h 125"/>
                <a:gd name="T24" fmla="*/ 0 w 126"/>
                <a:gd name="T25" fmla="*/ 12 h 125"/>
                <a:gd name="T26" fmla="*/ 0 w 126"/>
                <a:gd name="T27" fmla="*/ 15 h 125"/>
                <a:gd name="T28" fmla="*/ 0 w 126"/>
                <a:gd name="T29" fmla="*/ 17 h 125"/>
                <a:gd name="T30" fmla="*/ 1 w 126"/>
                <a:gd name="T31" fmla="*/ 21 h 125"/>
                <a:gd name="T32" fmla="*/ 2 w 126"/>
                <a:gd name="T33" fmla="*/ 23 h 125"/>
                <a:gd name="T34" fmla="*/ 4 w 126"/>
                <a:gd name="T35" fmla="*/ 26 h 125"/>
                <a:gd name="T36" fmla="*/ 100 w 126"/>
                <a:gd name="T37" fmla="*/ 120 h 125"/>
                <a:gd name="T38" fmla="*/ 102 w 126"/>
                <a:gd name="T39" fmla="*/ 122 h 125"/>
                <a:gd name="T40" fmla="*/ 104 w 126"/>
                <a:gd name="T41" fmla="*/ 123 h 125"/>
                <a:gd name="T42" fmla="*/ 107 w 126"/>
                <a:gd name="T43" fmla="*/ 125 h 125"/>
                <a:gd name="T44" fmla="*/ 111 w 126"/>
                <a:gd name="T45" fmla="*/ 125 h 125"/>
                <a:gd name="T46" fmla="*/ 113 w 126"/>
                <a:gd name="T47" fmla="*/ 125 h 125"/>
                <a:gd name="T48" fmla="*/ 116 w 126"/>
                <a:gd name="T49" fmla="*/ 123 h 125"/>
                <a:gd name="T50" fmla="*/ 118 w 126"/>
                <a:gd name="T51" fmla="*/ 122 h 125"/>
                <a:gd name="T52" fmla="*/ 121 w 126"/>
                <a:gd name="T53" fmla="*/ 120 h 125"/>
                <a:gd name="T54" fmla="*/ 122 w 126"/>
                <a:gd name="T55" fmla="*/ 118 h 125"/>
                <a:gd name="T56" fmla="*/ 125 w 126"/>
                <a:gd name="T57" fmla="*/ 115 h 125"/>
                <a:gd name="T58" fmla="*/ 125 w 126"/>
                <a:gd name="T59" fmla="*/ 113 h 125"/>
                <a:gd name="T60" fmla="*/ 126 w 126"/>
                <a:gd name="T61" fmla="*/ 110 h 125"/>
                <a:gd name="T62" fmla="*/ 125 w 126"/>
                <a:gd name="T63" fmla="*/ 106 h 125"/>
                <a:gd name="T64" fmla="*/ 125 w 126"/>
                <a:gd name="T65" fmla="*/ 104 h 125"/>
                <a:gd name="T66" fmla="*/ 122 w 126"/>
                <a:gd name="T67" fmla="*/ 101 h 125"/>
                <a:gd name="T68" fmla="*/ 121 w 126"/>
                <a:gd name="T69" fmla="*/ 99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6" h="125">
                  <a:moveTo>
                    <a:pt x="121" y="99"/>
                  </a:moveTo>
                  <a:lnTo>
                    <a:pt x="26" y="4"/>
                  </a:lnTo>
                  <a:lnTo>
                    <a:pt x="24" y="2"/>
                  </a:lnTo>
                  <a:lnTo>
                    <a:pt x="21" y="1"/>
                  </a:lnTo>
                  <a:lnTo>
                    <a:pt x="18" y="0"/>
                  </a:lnTo>
                  <a:lnTo>
                    <a:pt x="15" y="0"/>
                  </a:lnTo>
                  <a:lnTo>
                    <a:pt x="13" y="0"/>
                  </a:lnTo>
                  <a:lnTo>
                    <a:pt x="10" y="1"/>
                  </a:lnTo>
                  <a:lnTo>
                    <a:pt x="7" y="2"/>
                  </a:lnTo>
                  <a:lnTo>
                    <a:pt x="4" y="4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7"/>
                  </a:lnTo>
                  <a:lnTo>
                    <a:pt x="1" y="21"/>
                  </a:lnTo>
                  <a:lnTo>
                    <a:pt x="2" y="23"/>
                  </a:lnTo>
                  <a:lnTo>
                    <a:pt x="4" y="26"/>
                  </a:lnTo>
                  <a:lnTo>
                    <a:pt x="100" y="120"/>
                  </a:lnTo>
                  <a:lnTo>
                    <a:pt x="102" y="122"/>
                  </a:lnTo>
                  <a:lnTo>
                    <a:pt x="104" y="123"/>
                  </a:lnTo>
                  <a:lnTo>
                    <a:pt x="107" y="125"/>
                  </a:lnTo>
                  <a:lnTo>
                    <a:pt x="111" y="125"/>
                  </a:lnTo>
                  <a:lnTo>
                    <a:pt x="113" y="125"/>
                  </a:lnTo>
                  <a:lnTo>
                    <a:pt x="116" y="123"/>
                  </a:lnTo>
                  <a:lnTo>
                    <a:pt x="118" y="122"/>
                  </a:lnTo>
                  <a:lnTo>
                    <a:pt x="121" y="120"/>
                  </a:lnTo>
                  <a:lnTo>
                    <a:pt x="122" y="118"/>
                  </a:lnTo>
                  <a:lnTo>
                    <a:pt x="125" y="115"/>
                  </a:lnTo>
                  <a:lnTo>
                    <a:pt x="125" y="113"/>
                  </a:lnTo>
                  <a:lnTo>
                    <a:pt x="126" y="110"/>
                  </a:lnTo>
                  <a:lnTo>
                    <a:pt x="125" y="106"/>
                  </a:lnTo>
                  <a:lnTo>
                    <a:pt x="125" y="104"/>
                  </a:lnTo>
                  <a:lnTo>
                    <a:pt x="122" y="101"/>
                  </a:lnTo>
                  <a:lnTo>
                    <a:pt x="121" y="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Freeform 91"/>
            <p:cNvSpPr>
              <a:spLocks/>
            </p:cNvSpPr>
            <p:nvPr/>
          </p:nvSpPr>
          <p:spPr bwMode="auto">
            <a:xfrm>
              <a:off x="5670550" y="2060575"/>
              <a:ext cx="38100" cy="39688"/>
            </a:xfrm>
            <a:custGeom>
              <a:avLst/>
              <a:gdLst>
                <a:gd name="T0" fmla="*/ 98 w 124"/>
                <a:gd name="T1" fmla="*/ 4 h 125"/>
                <a:gd name="T2" fmla="*/ 4 w 124"/>
                <a:gd name="T3" fmla="*/ 99 h 125"/>
                <a:gd name="T4" fmla="*/ 2 w 124"/>
                <a:gd name="T5" fmla="*/ 101 h 125"/>
                <a:gd name="T6" fmla="*/ 1 w 124"/>
                <a:gd name="T7" fmla="*/ 104 h 125"/>
                <a:gd name="T8" fmla="*/ 0 w 124"/>
                <a:gd name="T9" fmla="*/ 106 h 125"/>
                <a:gd name="T10" fmla="*/ 0 w 124"/>
                <a:gd name="T11" fmla="*/ 110 h 125"/>
                <a:gd name="T12" fmla="*/ 0 w 124"/>
                <a:gd name="T13" fmla="*/ 113 h 125"/>
                <a:gd name="T14" fmla="*/ 1 w 124"/>
                <a:gd name="T15" fmla="*/ 115 h 125"/>
                <a:gd name="T16" fmla="*/ 2 w 124"/>
                <a:gd name="T17" fmla="*/ 118 h 125"/>
                <a:gd name="T18" fmla="*/ 4 w 124"/>
                <a:gd name="T19" fmla="*/ 120 h 125"/>
                <a:gd name="T20" fmla="*/ 6 w 124"/>
                <a:gd name="T21" fmla="*/ 122 h 125"/>
                <a:gd name="T22" fmla="*/ 8 w 124"/>
                <a:gd name="T23" fmla="*/ 123 h 125"/>
                <a:gd name="T24" fmla="*/ 11 w 124"/>
                <a:gd name="T25" fmla="*/ 125 h 125"/>
                <a:gd name="T26" fmla="*/ 15 w 124"/>
                <a:gd name="T27" fmla="*/ 125 h 125"/>
                <a:gd name="T28" fmla="*/ 17 w 124"/>
                <a:gd name="T29" fmla="*/ 125 h 125"/>
                <a:gd name="T30" fmla="*/ 20 w 124"/>
                <a:gd name="T31" fmla="*/ 123 h 125"/>
                <a:gd name="T32" fmla="*/ 22 w 124"/>
                <a:gd name="T33" fmla="*/ 122 h 125"/>
                <a:gd name="T34" fmla="*/ 25 w 124"/>
                <a:gd name="T35" fmla="*/ 120 h 125"/>
                <a:gd name="T36" fmla="*/ 120 w 124"/>
                <a:gd name="T37" fmla="*/ 25 h 125"/>
                <a:gd name="T38" fmla="*/ 122 w 124"/>
                <a:gd name="T39" fmla="*/ 23 h 125"/>
                <a:gd name="T40" fmla="*/ 123 w 124"/>
                <a:gd name="T41" fmla="*/ 21 h 125"/>
                <a:gd name="T42" fmla="*/ 124 w 124"/>
                <a:gd name="T43" fmla="*/ 17 h 125"/>
                <a:gd name="T44" fmla="*/ 124 w 124"/>
                <a:gd name="T45" fmla="*/ 15 h 125"/>
                <a:gd name="T46" fmla="*/ 124 w 124"/>
                <a:gd name="T47" fmla="*/ 12 h 125"/>
                <a:gd name="T48" fmla="*/ 123 w 124"/>
                <a:gd name="T49" fmla="*/ 9 h 125"/>
                <a:gd name="T50" fmla="*/ 122 w 124"/>
                <a:gd name="T51" fmla="*/ 7 h 125"/>
                <a:gd name="T52" fmla="*/ 120 w 124"/>
                <a:gd name="T53" fmla="*/ 4 h 125"/>
                <a:gd name="T54" fmla="*/ 118 w 124"/>
                <a:gd name="T55" fmla="*/ 2 h 125"/>
                <a:gd name="T56" fmla="*/ 114 w 124"/>
                <a:gd name="T57" fmla="*/ 1 h 125"/>
                <a:gd name="T58" fmla="*/ 112 w 124"/>
                <a:gd name="T59" fmla="*/ 0 h 125"/>
                <a:gd name="T60" fmla="*/ 109 w 124"/>
                <a:gd name="T61" fmla="*/ 0 h 125"/>
                <a:gd name="T62" fmla="*/ 107 w 124"/>
                <a:gd name="T63" fmla="*/ 0 h 125"/>
                <a:gd name="T64" fmla="*/ 104 w 124"/>
                <a:gd name="T65" fmla="*/ 1 h 125"/>
                <a:gd name="T66" fmla="*/ 100 w 124"/>
                <a:gd name="T67" fmla="*/ 2 h 125"/>
                <a:gd name="T68" fmla="*/ 98 w 124"/>
                <a:gd name="T69" fmla="*/ 4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4" h="125">
                  <a:moveTo>
                    <a:pt x="98" y="4"/>
                  </a:moveTo>
                  <a:lnTo>
                    <a:pt x="4" y="99"/>
                  </a:lnTo>
                  <a:lnTo>
                    <a:pt x="2" y="101"/>
                  </a:lnTo>
                  <a:lnTo>
                    <a:pt x="1" y="104"/>
                  </a:lnTo>
                  <a:lnTo>
                    <a:pt x="0" y="106"/>
                  </a:lnTo>
                  <a:lnTo>
                    <a:pt x="0" y="110"/>
                  </a:lnTo>
                  <a:lnTo>
                    <a:pt x="0" y="113"/>
                  </a:lnTo>
                  <a:lnTo>
                    <a:pt x="1" y="115"/>
                  </a:lnTo>
                  <a:lnTo>
                    <a:pt x="2" y="118"/>
                  </a:lnTo>
                  <a:lnTo>
                    <a:pt x="4" y="120"/>
                  </a:lnTo>
                  <a:lnTo>
                    <a:pt x="6" y="122"/>
                  </a:lnTo>
                  <a:lnTo>
                    <a:pt x="8" y="123"/>
                  </a:lnTo>
                  <a:lnTo>
                    <a:pt x="11" y="125"/>
                  </a:lnTo>
                  <a:lnTo>
                    <a:pt x="15" y="125"/>
                  </a:lnTo>
                  <a:lnTo>
                    <a:pt x="17" y="125"/>
                  </a:lnTo>
                  <a:lnTo>
                    <a:pt x="20" y="123"/>
                  </a:lnTo>
                  <a:lnTo>
                    <a:pt x="22" y="122"/>
                  </a:lnTo>
                  <a:lnTo>
                    <a:pt x="25" y="120"/>
                  </a:lnTo>
                  <a:lnTo>
                    <a:pt x="120" y="25"/>
                  </a:lnTo>
                  <a:lnTo>
                    <a:pt x="122" y="23"/>
                  </a:lnTo>
                  <a:lnTo>
                    <a:pt x="123" y="21"/>
                  </a:lnTo>
                  <a:lnTo>
                    <a:pt x="124" y="17"/>
                  </a:lnTo>
                  <a:lnTo>
                    <a:pt x="124" y="15"/>
                  </a:lnTo>
                  <a:lnTo>
                    <a:pt x="124" y="12"/>
                  </a:lnTo>
                  <a:lnTo>
                    <a:pt x="123" y="9"/>
                  </a:lnTo>
                  <a:lnTo>
                    <a:pt x="122" y="7"/>
                  </a:lnTo>
                  <a:lnTo>
                    <a:pt x="120" y="4"/>
                  </a:lnTo>
                  <a:lnTo>
                    <a:pt x="118" y="2"/>
                  </a:lnTo>
                  <a:lnTo>
                    <a:pt x="114" y="1"/>
                  </a:lnTo>
                  <a:lnTo>
                    <a:pt x="112" y="0"/>
                  </a:lnTo>
                  <a:lnTo>
                    <a:pt x="109" y="0"/>
                  </a:lnTo>
                  <a:lnTo>
                    <a:pt x="107" y="0"/>
                  </a:lnTo>
                  <a:lnTo>
                    <a:pt x="104" y="1"/>
                  </a:lnTo>
                  <a:lnTo>
                    <a:pt x="100" y="2"/>
                  </a:lnTo>
                  <a:lnTo>
                    <a:pt x="98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12" name="Freeform 57"/>
          <p:cNvSpPr>
            <a:spLocks noEditPoints="1"/>
          </p:cNvSpPr>
          <p:nvPr/>
        </p:nvSpPr>
        <p:spPr bwMode="auto">
          <a:xfrm>
            <a:off x="5816342" y="5114526"/>
            <a:ext cx="319016" cy="409516"/>
          </a:xfrm>
          <a:custGeom>
            <a:avLst/>
            <a:gdLst>
              <a:gd name="T0" fmla="*/ 616 w 708"/>
              <a:gd name="T1" fmla="*/ 486 h 905"/>
              <a:gd name="T2" fmla="*/ 664 w 708"/>
              <a:gd name="T3" fmla="*/ 521 h 905"/>
              <a:gd name="T4" fmla="*/ 678 w 708"/>
              <a:gd name="T5" fmla="*/ 583 h 905"/>
              <a:gd name="T6" fmla="*/ 654 w 708"/>
              <a:gd name="T7" fmla="*/ 638 h 905"/>
              <a:gd name="T8" fmla="*/ 598 w 708"/>
              <a:gd name="T9" fmla="*/ 663 h 905"/>
              <a:gd name="T10" fmla="*/ 523 w 708"/>
              <a:gd name="T11" fmla="*/ 838 h 905"/>
              <a:gd name="T12" fmla="*/ 497 w 708"/>
              <a:gd name="T13" fmla="*/ 868 h 905"/>
              <a:gd name="T14" fmla="*/ 130 w 708"/>
              <a:gd name="T15" fmla="*/ 874 h 905"/>
              <a:gd name="T16" fmla="*/ 93 w 708"/>
              <a:gd name="T17" fmla="*/ 857 h 905"/>
              <a:gd name="T18" fmla="*/ 76 w 708"/>
              <a:gd name="T19" fmla="*/ 821 h 905"/>
              <a:gd name="T20" fmla="*/ 422 w 708"/>
              <a:gd name="T21" fmla="*/ 422 h 905"/>
              <a:gd name="T22" fmla="*/ 514 w 708"/>
              <a:gd name="T23" fmla="*/ 422 h 905"/>
              <a:gd name="T24" fmla="*/ 49 w 708"/>
              <a:gd name="T25" fmla="*/ 292 h 905"/>
              <a:gd name="T26" fmla="*/ 407 w 708"/>
              <a:gd name="T27" fmla="*/ 91 h 905"/>
              <a:gd name="T28" fmla="*/ 318 w 708"/>
              <a:gd name="T29" fmla="*/ 100 h 905"/>
              <a:gd name="T30" fmla="*/ 323 w 708"/>
              <a:gd name="T31" fmla="*/ 119 h 905"/>
              <a:gd name="T32" fmla="*/ 359 w 708"/>
              <a:gd name="T33" fmla="*/ 151 h 905"/>
              <a:gd name="T34" fmla="*/ 347 w 708"/>
              <a:gd name="T35" fmla="*/ 166 h 905"/>
              <a:gd name="T36" fmla="*/ 359 w 708"/>
              <a:gd name="T37" fmla="*/ 181 h 905"/>
              <a:gd name="T38" fmla="*/ 323 w 708"/>
              <a:gd name="T39" fmla="*/ 214 h 905"/>
              <a:gd name="T40" fmla="*/ 318 w 708"/>
              <a:gd name="T41" fmla="*/ 233 h 905"/>
              <a:gd name="T42" fmla="*/ 407 w 708"/>
              <a:gd name="T43" fmla="*/ 241 h 905"/>
              <a:gd name="T44" fmla="*/ 349 w 708"/>
              <a:gd name="T45" fmla="*/ 308 h 905"/>
              <a:gd name="T46" fmla="*/ 351 w 708"/>
              <a:gd name="T47" fmla="*/ 327 h 905"/>
              <a:gd name="T48" fmla="*/ 257 w 708"/>
              <a:gd name="T49" fmla="*/ 392 h 905"/>
              <a:gd name="T50" fmla="*/ 547 w 708"/>
              <a:gd name="T51" fmla="*/ 237 h 905"/>
              <a:gd name="T52" fmla="*/ 556 w 708"/>
              <a:gd name="T53" fmla="*/ 117 h 905"/>
              <a:gd name="T54" fmla="*/ 580 w 708"/>
              <a:gd name="T55" fmla="*/ 57 h 905"/>
              <a:gd name="T56" fmla="*/ 612 w 708"/>
              <a:gd name="T57" fmla="*/ 72 h 905"/>
              <a:gd name="T58" fmla="*/ 632 w 708"/>
              <a:gd name="T59" fmla="*/ 155 h 905"/>
              <a:gd name="T60" fmla="*/ 607 w 708"/>
              <a:gd name="T61" fmla="*/ 207 h 905"/>
              <a:gd name="T62" fmla="*/ 577 w 708"/>
              <a:gd name="T63" fmla="*/ 214 h 905"/>
              <a:gd name="T64" fmla="*/ 532 w 708"/>
              <a:gd name="T65" fmla="*/ 184 h 905"/>
              <a:gd name="T66" fmla="*/ 558 w 708"/>
              <a:gd name="T67" fmla="*/ 407 h 905"/>
              <a:gd name="T68" fmla="*/ 546 w 708"/>
              <a:gd name="T69" fmla="*/ 393 h 905"/>
              <a:gd name="T70" fmla="*/ 618 w 708"/>
              <a:gd name="T71" fmla="*/ 235 h 905"/>
              <a:gd name="T72" fmla="*/ 651 w 708"/>
              <a:gd name="T73" fmla="*/ 198 h 905"/>
              <a:gd name="T74" fmla="*/ 663 w 708"/>
              <a:gd name="T75" fmla="*/ 135 h 905"/>
              <a:gd name="T76" fmla="*/ 636 w 708"/>
              <a:gd name="T77" fmla="*/ 55 h 905"/>
              <a:gd name="T78" fmla="*/ 556 w 708"/>
              <a:gd name="T79" fmla="*/ 3 h 905"/>
              <a:gd name="T80" fmla="*/ 537 w 708"/>
              <a:gd name="T81" fmla="*/ 22 h 905"/>
              <a:gd name="T82" fmla="*/ 550 w 708"/>
              <a:gd name="T83" fmla="*/ 60 h 905"/>
              <a:gd name="T84" fmla="*/ 520 w 708"/>
              <a:gd name="T85" fmla="*/ 113 h 905"/>
              <a:gd name="T86" fmla="*/ 499 w 708"/>
              <a:gd name="T87" fmla="*/ 167 h 905"/>
              <a:gd name="T88" fmla="*/ 516 w 708"/>
              <a:gd name="T89" fmla="*/ 215 h 905"/>
              <a:gd name="T90" fmla="*/ 433 w 708"/>
              <a:gd name="T91" fmla="*/ 5 h 905"/>
              <a:gd name="T92" fmla="*/ 235 w 708"/>
              <a:gd name="T93" fmla="*/ 1 h 905"/>
              <a:gd name="T94" fmla="*/ 227 w 708"/>
              <a:gd name="T95" fmla="*/ 392 h 905"/>
              <a:gd name="T96" fmla="*/ 133 w 708"/>
              <a:gd name="T97" fmla="*/ 217 h 905"/>
              <a:gd name="T98" fmla="*/ 128 w 708"/>
              <a:gd name="T99" fmla="*/ 213 h 905"/>
              <a:gd name="T100" fmla="*/ 2 w 708"/>
              <a:gd name="T101" fmla="*/ 159 h 905"/>
              <a:gd name="T102" fmla="*/ 16 w 708"/>
              <a:gd name="T103" fmla="*/ 291 h 905"/>
              <a:gd name="T104" fmla="*/ 51 w 708"/>
              <a:gd name="T105" fmla="*/ 395 h 905"/>
              <a:gd name="T106" fmla="*/ 46 w 708"/>
              <a:gd name="T107" fmla="*/ 824 h 905"/>
              <a:gd name="T108" fmla="*/ 72 w 708"/>
              <a:gd name="T109" fmla="*/ 879 h 905"/>
              <a:gd name="T110" fmla="*/ 127 w 708"/>
              <a:gd name="T111" fmla="*/ 905 h 905"/>
              <a:gd name="T112" fmla="*/ 512 w 708"/>
              <a:gd name="T113" fmla="*/ 894 h 905"/>
              <a:gd name="T114" fmla="*/ 551 w 708"/>
              <a:gd name="T115" fmla="*/ 850 h 905"/>
              <a:gd name="T116" fmla="*/ 601 w 708"/>
              <a:gd name="T117" fmla="*/ 693 h 905"/>
              <a:gd name="T118" fmla="*/ 674 w 708"/>
              <a:gd name="T119" fmla="*/ 659 h 905"/>
              <a:gd name="T120" fmla="*/ 708 w 708"/>
              <a:gd name="T121" fmla="*/ 586 h 905"/>
              <a:gd name="T122" fmla="*/ 689 w 708"/>
              <a:gd name="T123" fmla="*/ 505 h 905"/>
              <a:gd name="T124" fmla="*/ 625 w 708"/>
              <a:gd name="T125" fmla="*/ 457 h 9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708" h="905">
                <a:moveTo>
                  <a:pt x="588" y="664"/>
                </a:moveTo>
                <a:lnTo>
                  <a:pt x="558" y="664"/>
                </a:lnTo>
                <a:lnTo>
                  <a:pt x="558" y="482"/>
                </a:lnTo>
                <a:lnTo>
                  <a:pt x="588" y="482"/>
                </a:lnTo>
                <a:lnTo>
                  <a:pt x="598" y="483"/>
                </a:lnTo>
                <a:lnTo>
                  <a:pt x="607" y="484"/>
                </a:lnTo>
                <a:lnTo>
                  <a:pt x="616" y="486"/>
                </a:lnTo>
                <a:lnTo>
                  <a:pt x="625" y="490"/>
                </a:lnTo>
                <a:lnTo>
                  <a:pt x="632" y="493"/>
                </a:lnTo>
                <a:lnTo>
                  <a:pt x="640" y="497"/>
                </a:lnTo>
                <a:lnTo>
                  <a:pt x="647" y="502"/>
                </a:lnTo>
                <a:lnTo>
                  <a:pt x="654" y="508"/>
                </a:lnTo>
                <a:lnTo>
                  <a:pt x="659" y="514"/>
                </a:lnTo>
                <a:lnTo>
                  <a:pt x="664" y="521"/>
                </a:lnTo>
                <a:lnTo>
                  <a:pt x="669" y="528"/>
                </a:lnTo>
                <a:lnTo>
                  <a:pt x="672" y="537"/>
                </a:lnTo>
                <a:lnTo>
                  <a:pt x="675" y="544"/>
                </a:lnTo>
                <a:lnTo>
                  <a:pt x="677" y="554"/>
                </a:lnTo>
                <a:lnTo>
                  <a:pt x="678" y="564"/>
                </a:lnTo>
                <a:lnTo>
                  <a:pt x="678" y="573"/>
                </a:lnTo>
                <a:lnTo>
                  <a:pt x="678" y="583"/>
                </a:lnTo>
                <a:lnTo>
                  <a:pt x="677" y="592"/>
                </a:lnTo>
                <a:lnTo>
                  <a:pt x="675" y="601"/>
                </a:lnTo>
                <a:lnTo>
                  <a:pt x="672" y="610"/>
                </a:lnTo>
                <a:lnTo>
                  <a:pt x="669" y="617"/>
                </a:lnTo>
                <a:lnTo>
                  <a:pt x="664" y="625"/>
                </a:lnTo>
                <a:lnTo>
                  <a:pt x="659" y="631"/>
                </a:lnTo>
                <a:lnTo>
                  <a:pt x="654" y="638"/>
                </a:lnTo>
                <a:lnTo>
                  <a:pt x="647" y="644"/>
                </a:lnTo>
                <a:lnTo>
                  <a:pt x="640" y="649"/>
                </a:lnTo>
                <a:lnTo>
                  <a:pt x="632" y="653"/>
                </a:lnTo>
                <a:lnTo>
                  <a:pt x="625" y="657"/>
                </a:lnTo>
                <a:lnTo>
                  <a:pt x="616" y="659"/>
                </a:lnTo>
                <a:lnTo>
                  <a:pt x="607" y="662"/>
                </a:lnTo>
                <a:lnTo>
                  <a:pt x="598" y="663"/>
                </a:lnTo>
                <a:lnTo>
                  <a:pt x="588" y="664"/>
                </a:lnTo>
                <a:lnTo>
                  <a:pt x="588" y="664"/>
                </a:lnTo>
                <a:close/>
                <a:moveTo>
                  <a:pt x="528" y="814"/>
                </a:moveTo>
                <a:lnTo>
                  <a:pt x="528" y="821"/>
                </a:lnTo>
                <a:lnTo>
                  <a:pt x="527" y="827"/>
                </a:lnTo>
                <a:lnTo>
                  <a:pt x="526" y="833"/>
                </a:lnTo>
                <a:lnTo>
                  <a:pt x="523" y="838"/>
                </a:lnTo>
                <a:lnTo>
                  <a:pt x="520" y="843"/>
                </a:lnTo>
                <a:lnTo>
                  <a:pt x="518" y="849"/>
                </a:lnTo>
                <a:lnTo>
                  <a:pt x="515" y="853"/>
                </a:lnTo>
                <a:lnTo>
                  <a:pt x="511" y="857"/>
                </a:lnTo>
                <a:lnTo>
                  <a:pt x="506" y="862"/>
                </a:lnTo>
                <a:lnTo>
                  <a:pt x="502" y="865"/>
                </a:lnTo>
                <a:lnTo>
                  <a:pt x="497" y="868"/>
                </a:lnTo>
                <a:lnTo>
                  <a:pt x="491" y="870"/>
                </a:lnTo>
                <a:lnTo>
                  <a:pt x="486" y="872"/>
                </a:lnTo>
                <a:lnTo>
                  <a:pt x="480" y="873"/>
                </a:lnTo>
                <a:lnTo>
                  <a:pt x="474" y="874"/>
                </a:lnTo>
                <a:lnTo>
                  <a:pt x="467" y="874"/>
                </a:lnTo>
                <a:lnTo>
                  <a:pt x="135" y="874"/>
                </a:lnTo>
                <a:lnTo>
                  <a:pt x="130" y="874"/>
                </a:lnTo>
                <a:lnTo>
                  <a:pt x="123" y="873"/>
                </a:lnTo>
                <a:lnTo>
                  <a:pt x="118" y="872"/>
                </a:lnTo>
                <a:lnTo>
                  <a:pt x="111" y="870"/>
                </a:lnTo>
                <a:lnTo>
                  <a:pt x="106" y="867"/>
                </a:lnTo>
                <a:lnTo>
                  <a:pt x="102" y="865"/>
                </a:lnTo>
                <a:lnTo>
                  <a:pt x="97" y="861"/>
                </a:lnTo>
                <a:lnTo>
                  <a:pt x="93" y="857"/>
                </a:lnTo>
                <a:lnTo>
                  <a:pt x="89" y="853"/>
                </a:lnTo>
                <a:lnTo>
                  <a:pt x="86" y="848"/>
                </a:lnTo>
                <a:lnTo>
                  <a:pt x="82" y="843"/>
                </a:lnTo>
                <a:lnTo>
                  <a:pt x="80" y="838"/>
                </a:lnTo>
                <a:lnTo>
                  <a:pt x="78" y="833"/>
                </a:lnTo>
                <a:lnTo>
                  <a:pt x="76" y="826"/>
                </a:lnTo>
                <a:lnTo>
                  <a:pt x="76" y="821"/>
                </a:lnTo>
                <a:lnTo>
                  <a:pt x="75" y="814"/>
                </a:lnTo>
                <a:lnTo>
                  <a:pt x="75" y="422"/>
                </a:lnTo>
                <a:lnTo>
                  <a:pt x="90" y="422"/>
                </a:lnTo>
                <a:lnTo>
                  <a:pt x="211" y="422"/>
                </a:lnTo>
                <a:lnTo>
                  <a:pt x="211" y="422"/>
                </a:lnTo>
                <a:lnTo>
                  <a:pt x="242" y="422"/>
                </a:lnTo>
                <a:lnTo>
                  <a:pt x="422" y="422"/>
                </a:lnTo>
                <a:lnTo>
                  <a:pt x="435" y="422"/>
                </a:lnTo>
                <a:lnTo>
                  <a:pt x="435" y="422"/>
                </a:lnTo>
                <a:lnTo>
                  <a:pt x="435" y="422"/>
                </a:lnTo>
                <a:lnTo>
                  <a:pt x="436" y="422"/>
                </a:lnTo>
                <a:lnTo>
                  <a:pt x="514" y="422"/>
                </a:lnTo>
                <a:lnTo>
                  <a:pt x="514" y="422"/>
                </a:lnTo>
                <a:lnTo>
                  <a:pt x="514" y="422"/>
                </a:lnTo>
                <a:lnTo>
                  <a:pt x="528" y="422"/>
                </a:lnTo>
                <a:lnTo>
                  <a:pt x="528" y="814"/>
                </a:lnTo>
                <a:close/>
                <a:moveTo>
                  <a:pt x="49" y="292"/>
                </a:moveTo>
                <a:lnTo>
                  <a:pt x="115" y="249"/>
                </a:lnTo>
                <a:lnTo>
                  <a:pt x="187" y="392"/>
                </a:lnTo>
                <a:lnTo>
                  <a:pt x="100" y="392"/>
                </a:lnTo>
                <a:lnTo>
                  <a:pt x="49" y="292"/>
                </a:lnTo>
                <a:close/>
                <a:moveTo>
                  <a:pt x="92" y="227"/>
                </a:moveTo>
                <a:lnTo>
                  <a:pt x="42" y="260"/>
                </a:lnTo>
                <a:lnTo>
                  <a:pt x="34" y="194"/>
                </a:lnTo>
                <a:lnTo>
                  <a:pt x="92" y="227"/>
                </a:lnTo>
                <a:close/>
                <a:moveTo>
                  <a:pt x="257" y="30"/>
                </a:moveTo>
                <a:lnTo>
                  <a:pt x="407" y="30"/>
                </a:lnTo>
                <a:lnTo>
                  <a:pt x="407" y="91"/>
                </a:lnTo>
                <a:lnTo>
                  <a:pt x="332" y="91"/>
                </a:lnTo>
                <a:lnTo>
                  <a:pt x="329" y="91"/>
                </a:lnTo>
                <a:lnTo>
                  <a:pt x="325" y="92"/>
                </a:lnTo>
                <a:lnTo>
                  <a:pt x="323" y="93"/>
                </a:lnTo>
                <a:lnTo>
                  <a:pt x="321" y="95"/>
                </a:lnTo>
                <a:lnTo>
                  <a:pt x="319" y="97"/>
                </a:lnTo>
                <a:lnTo>
                  <a:pt x="318" y="100"/>
                </a:lnTo>
                <a:lnTo>
                  <a:pt x="317" y="102"/>
                </a:lnTo>
                <a:lnTo>
                  <a:pt x="317" y="106"/>
                </a:lnTo>
                <a:lnTo>
                  <a:pt x="317" y="109"/>
                </a:lnTo>
                <a:lnTo>
                  <a:pt x="318" y="111"/>
                </a:lnTo>
                <a:lnTo>
                  <a:pt x="319" y="114"/>
                </a:lnTo>
                <a:lnTo>
                  <a:pt x="321" y="116"/>
                </a:lnTo>
                <a:lnTo>
                  <a:pt x="323" y="119"/>
                </a:lnTo>
                <a:lnTo>
                  <a:pt x="325" y="120"/>
                </a:lnTo>
                <a:lnTo>
                  <a:pt x="329" y="121"/>
                </a:lnTo>
                <a:lnTo>
                  <a:pt x="332" y="121"/>
                </a:lnTo>
                <a:lnTo>
                  <a:pt x="407" y="121"/>
                </a:lnTo>
                <a:lnTo>
                  <a:pt x="407" y="151"/>
                </a:lnTo>
                <a:lnTo>
                  <a:pt x="362" y="151"/>
                </a:lnTo>
                <a:lnTo>
                  <a:pt x="359" y="151"/>
                </a:lnTo>
                <a:lnTo>
                  <a:pt x="356" y="152"/>
                </a:lnTo>
                <a:lnTo>
                  <a:pt x="353" y="153"/>
                </a:lnTo>
                <a:lnTo>
                  <a:pt x="351" y="155"/>
                </a:lnTo>
                <a:lnTo>
                  <a:pt x="349" y="157"/>
                </a:lnTo>
                <a:lnTo>
                  <a:pt x="348" y="160"/>
                </a:lnTo>
                <a:lnTo>
                  <a:pt x="347" y="163"/>
                </a:lnTo>
                <a:lnTo>
                  <a:pt x="347" y="166"/>
                </a:lnTo>
                <a:lnTo>
                  <a:pt x="347" y="169"/>
                </a:lnTo>
                <a:lnTo>
                  <a:pt x="348" y="172"/>
                </a:lnTo>
                <a:lnTo>
                  <a:pt x="349" y="174"/>
                </a:lnTo>
                <a:lnTo>
                  <a:pt x="351" y="177"/>
                </a:lnTo>
                <a:lnTo>
                  <a:pt x="353" y="179"/>
                </a:lnTo>
                <a:lnTo>
                  <a:pt x="356" y="180"/>
                </a:lnTo>
                <a:lnTo>
                  <a:pt x="359" y="181"/>
                </a:lnTo>
                <a:lnTo>
                  <a:pt x="362" y="181"/>
                </a:lnTo>
                <a:lnTo>
                  <a:pt x="407" y="181"/>
                </a:lnTo>
                <a:lnTo>
                  <a:pt x="407" y="211"/>
                </a:lnTo>
                <a:lnTo>
                  <a:pt x="332" y="211"/>
                </a:lnTo>
                <a:lnTo>
                  <a:pt x="329" y="211"/>
                </a:lnTo>
                <a:lnTo>
                  <a:pt x="325" y="212"/>
                </a:lnTo>
                <a:lnTo>
                  <a:pt x="323" y="214"/>
                </a:lnTo>
                <a:lnTo>
                  <a:pt x="321" y="215"/>
                </a:lnTo>
                <a:lnTo>
                  <a:pt x="319" y="217"/>
                </a:lnTo>
                <a:lnTo>
                  <a:pt x="318" y="221"/>
                </a:lnTo>
                <a:lnTo>
                  <a:pt x="317" y="223"/>
                </a:lnTo>
                <a:lnTo>
                  <a:pt x="317" y="226"/>
                </a:lnTo>
                <a:lnTo>
                  <a:pt x="317" y="229"/>
                </a:lnTo>
                <a:lnTo>
                  <a:pt x="318" y="233"/>
                </a:lnTo>
                <a:lnTo>
                  <a:pt x="319" y="235"/>
                </a:lnTo>
                <a:lnTo>
                  <a:pt x="321" y="237"/>
                </a:lnTo>
                <a:lnTo>
                  <a:pt x="323" y="239"/>
                </a:lnTo>
                <a:lnTo>
                  <a:pt x="325" y="240"/>
                </a:lnTo>
                <a:lnTo>
                  <a:pt x="329" y="241"/>
                </a:lnTo>
                <a:lnTo>
                  <a:pt x="332" y="241"/>
                </a:lnTo>
                <a:lnTo>
                  <a:pt x="407" y="241"/>
                </a:lnTo>
                <a:lnTo>
                  <a:pt x="407" y="301"/>
                </a:lnTo>
                <a:lnTo>
                  <a:pt x="362" y="301"/>
                </a:lnTo>
                <a:lnTo>
                  <a:pt x="359" y="302"/>
                </a:lnTo>
                <a:lnTo>
                  <a:pt x="356" y="302"/>
                </a:lnTo>
                <a:lnTo>
                  <a:pt x="353" y="305"/>
                </a:lnTo>
                <a:lnTo>
                  <a:pt x="351" y="306"/>
                </a:lnTo>
                <a:lnTo>
                  <a:pt x="349" y="308"/>
                </a:lnTo>
                <a:lnTo>
                  <a:pt x="348" y="311"/>
                </a:lnTo>
                <a:lnTo>
                  <a:pt x="347" y="313"/>
                </a:lnTo>
                <a:lnTo>
                  <a:pt x="347" y="316"/>
                </a:lnTo>
                <a:lnTo>
                  <a:pt x="347" y="320"/>
                </a:lnTo>
                <a:lnTo>
                  <a:pt x="348" y="323"/>
                </a:lnTo>
                <a:lnTo>
                  <a:pt x="349" y="325"/>
                </a:lnTo>
                <a:lnTo>
                  <a:pt x="351" y="327"/>
                </a:lnTo>
                <a:lnTo>
                  <a:pt x="353" y="329"/>
                </a:lnTo>
                <a:lnTo>
                  <a:pt x="356" y="330"/>
                </a:lnTo>
                <a:lnTo>
                  <a:pt x="359" y="331"/>
                </a:lnTo>
                <a:lnTo>
                  <a:pt x="362" y="331"/>
                </a:lnTo>
                <a:lnTo>
                  <a:pt x="407" y="331"/>
                </a:lnTo>
                <a:lnTo>
                  <a:pt x="407" y="392"/>
                </a:lnTo>
                <a:lnTo>
                  <a:pt x="257" y="392"/>
                </a:lnTo>
                <a:lnTo>
                  <a:pt x="257" y="30"/>
                </a:lnTo>
                <a:close/>
                <a:moveTo>
                  <a:pt x="547" y="237"/>
                </a:moveTo>
                <a:lnTo>
                  <a:pt x="554" y="240"/>
                </a:lnTo>
                <a:lnTo>
                  <a:pt x="561" y="241"/>
                </a:lnTo>
                <a:lnTo>
                  <a:pt x="504" y="392"/>
                </a:lnTo>
                <a:lnTo>
                  <a:pt x="461" y="392"/>
                </a:lnTo>
                <a:lnTo>
                  <a:pt x="547" y="237"/>
                </a:lnTo>
                <a:lnTo>
                  <a:pt x="547" y="237"/>
                </a:lnTo>
                <a:lnTo>
                  <a:pt x="547" y="237"/>
                </a:lnTo>
                <a:lnTo>
                  <a:pt x="547" y="237"/>
                </a:lnTo>
                <a:close/>
                <a:moveTo>
                  <a:pt x="533" y="149"/>
                </a:moveTo>
                <a:lnTo>
                  <a:pt x="540" y="137"/>
                </a:lnTo>
                <a:lnTo>
                  <a:pt x="549" y="125"/>
                </a:lnTo>
                <a:lnTo>
                  <a:pt x="556" y="117"/>
                </a:lnTo>
                <a:lnTo>
                  <a:pt x="561" y="109"/>
                </a:lnTo>
                <a:lnTo>
                  <a:pt x="568" y="100"/>
                </a:lnTo>
                <a:lnTo>
                  <a:pt x="572" y="91"/>
                </a:lnTo>
                <a:lnTo>
                  <a:pt x="576" y="80"/>
                </a:lnTo>
                <a:lnTo>
                  <a:pt x="579" y="69"/>
                </a:lnTo>
                <a:lnTo>
                  <a:pt x="580" y="63"/>
                </a:lnTo>
                <a:lnTo>
                  <a:pt x="580" y="57"/>
                </a:lnTo>
                <a:lnTo>
                  <a:pt x="580" y="51"/>
                </a:lnTo>
                <a:lnTo>
                  <a:pt x="579" y="44"/>
                </a:lnTo>
                <a:lnTo>
                  <a:pt x="587" y="49"/>
                </a:lnTo>
                <a:lnTo>
                  <a:pt x="594" y="54"/>
                </a:lnTo>
                <a:lnTo>
                  <a:pt x="601" y="60"/>
                </a:lnTo>
                <a:lnTo>
                  <a:pt x="606" y="66"/>
                </a:lnTo>
                <a:lnTo>
                  <a:pt x="612" y="72"/>
                </a:lnTo>
                <a:lnTo>
                  <a:pt x="616" y="80"/>
                </a:lnTo>
                <a:lnTo>
                  <a:pt x="620" y="86"/>
                </a:lnTo>
                <a:lnTo>
                  <a:pt x="623" y="94"/>
                </a:lnTo>
                <a:lnTo>
                  <a:pt x="629" y="109"/>
                </a:lnTo>
                <a:lnTo>
                  <a:pt x="632" y="124"/>
                </a:lnTo>
                <a:lnTo>
                  <a:pt x="633" y="140"/>
                </a:lnTo>
                <a:lnTo>
                  <a:pt x="632" y="155"/>
                </a:lnTo>
                <a:lnTo>
                  <a:pt x="631" y="165"/>
                </a:lnTo>
                <a:lnTo>
                  <a:pt x="628" y="176"/>
                </a:lnTo>
                <a:lnTo>
                  <a:pt x="623" y="186"/>
                </a:lnTo>
                <a:lnTo>
                  <a:pt x="618" y="195"/>
                </a:lnTo>
                <a:lnTo>
                  <a:pt x="615" y="199"/>
                </a:lnTo>
                <a:lnTo>
                  <a:pt x="612" y="203"/>
                </a:lnTo>
                <a:lnTo>
                  <a:pt x="607" y="207"/>
                </a:lnTo>
                <a:lnTo>
                  <a:pt x="603" y="209"/>
                </a:lnTo>
                <a:lnTo>
                  <a:pt x="599" y="211"/>
                </a:lnTo>
                <a:lnTo>
                  <a:pt x="593" y="213"/>
                </a:lnTo>
                <a:lnTo>
                  <a:pt x="588" y="214"/>
                </a:lnTo>
                <a:lnTo>
                  <a:pt x="583" y="214"/>
                </a:lnTo>
                <a:lnTo>
                  <a:pt x="583" y="214"/>
                </a:lnTo>
                <a:lnTo>
                  <a:pt x="577" y="214"/>
                </a:lnTo>
                <a:lnTo>
                  <a:pt x="571" y="213"/>
                </a:lnTo>
                <a:lnTo>
                  <a:pt x="565" y="212"/>
                </a:lnTo>
                <a:lnTo>
                  <a:pt x="559" y="209"/>
                </a:lnTo>
                <a:lnTo>
                  <a:pt x="550" y="205"/>
                </a:lnTo>
                <a:lnTo>
                  <a:pt x="543" y="199"/>
                </a:lnTo>
                <a:lnTo>
                  <a:pt x="536" y="192"/>
                </a:lnTo>
                <a:lnTo>
                  <a:pt x="532" y="184"/>
                </a:lnTo>
                <a:lnTo>
                  <a:pt x="530" y="176"/>
                </a:lnTo>
                <a:lnTo>
                  <a:pt x="529" y="167"/>
                </a:lnTo>
                <a:lnTo>
                  <a:pt x="530" y="157"/>
                </a:lnTo>
                <a:lnTo>
                  <a:pt x="533" y="149"/>
                </a:lnTo>
                <a:close/>
                <a:moveTo>
                  <a:pt x="588" y="452"/>
                </a:moveTo>
                <a:lnTo>
                  <a:pt x="558" y="452"/>
                </a:lnTo>
                <a:lnTo>
                  <a:pt x="558" y="407"/>
                </a:lnTo>
                <a:lnTo>
                  <a:pt x="558" y="404"/>
                </a:lnTo>
                <a:lnTo>
                  <a:pt x="557" y="401"/>
                </a:lnTo>
                <a:lnTo>
                  <a:pt x="556" y="399"/>
                </a:lnTo>
                <a:lnTo>
                  <a:pt x="554" y="396"/>
                </a:lnTo>
                <a:lnTo>
                  <a:pt x="551" y="395"/>
                </a:lnTo>
                <a:lnTo>
                  <a:pt x="548" y="393"/>
                </a:lnTo>
                <a:lnTo>
                  <a:pt x="546" y="393"/>
                </a:lnTo>
                <a:lnTo>
                  <a:pt x="543" y="392"/>
                </a:lnTo>
                <a:lnTo>
                  <a:pt x="536" y="392"/>
                </a:lnTo>
                <a:lnTo>
                  <a:pt x="592" y="244"/>
                </a:lnTo>
                <a:lnTo>
                  <a:pt x="599" y="242"/>
                </a:lnTo>
                <a:lnTo>
                  <a:pt x="605" y="241"/>
                </a:lnTo>
                <a:lnTo>
                  <a:pt x="612" y="238"/>
                </a:lnTo>
                <a:lnTo>
                  <a:pt x="618" y="235"/>
                </a:lnTo>
                <a:lnTo>
                  <a:pt x="623" y="231"/>
                </a:lnTo>
                <a:lnTo>
                  <a:pt x="629" y="227"/>
                </a:lnTo>
                <a:lnTo>
                  <a:pt x="634" y="223"/>
                </a:lnTo>
                <a:lnTo>
                  <a:pt x="639" y="217"/>
                </a:lnTo>
                <a:lnTo>
                  <a:pt x="644" y="211"/>
                </a:lnTo>
                <a:lnTo>
                  <a:pt x="647" y="206"/>
                </a:lnTo>
                <a:lnTo>
                  <a:pt x="651" y="198"/>
                </a:lnTo>
                <a:lnTo>
                  <a:pt x="655" y="192"/>
                </a:lnTo>
                <a:lnTo>
                  <a:pt x="657" y="184"/>
                </a:lnTo>
                <a:lnTo>
                  <a:pt x="659" y="176"/>
                </a:lnTo>
                <a:lnTo>
                  <a:pt x="661" y="167"/>
                </a:lnTo>
                <a:lnTo>
                  <a:pt x="662" y="158"/>
                </a:lnTo>
                <a:lnTo>
                  <a:pt x="663" y="147"/>
                </a:lnTo>
                <a:lnTo>
                  <a:pt x="663" y="135"/>
                </a:lnTo>
                <a:lnTo>
                  <a:pt x="662" y="123"/>
                </a:lnTo>
                <a:lnTo>
                  <a:pt x="661" y="111"/>
                </a:lnTo>
                <a:lnTo>
                  <a:pt x="658" y="99"/>
                </a:lnTo>
                <a:lnTo>
                  <a:pt x="654" y="87"/>
                </a:lnTo>
                <a:lnTo>
                  <a:pt x="649" y="77"/>
                </a:lnTo>
                <a:lnTo>
                  <a:pt x="643" y="66"/>
                </a:lnTo>
                <a:lnTo>
                  <a:pt x="636" y="55"/>
                </a:lnTo>
                <a:lnTo>
                  <a:pt x="628" y="45"/>
                </a:lnTo>
                <a:lnTo>
                  <a:pt x="619" y="36"/>
                </a:lnTo>
                <a:lnTo>
                  <a:pt x="608" y="27"/>
                </a:lnTo>
                <a:lnTo>
                  <a:pt x="598" y="20"/>
                </a:lnTo>
                <a:lnTo>
                  <a:pt x="585" y="13"/>
                </a:lnTo>
                <a:lnTo>
                  <a:pt x="571" y="8"/>
                </a:lnTo>
                <a:lnTo>
                  <a:pt x="556" y="3"/>
                </a:lnTo>
                <a:lnTo>
                  <a:pt x="551" y="2"/>
                </a:lnTo>
                <a:lnTo>
                  <a:pt x="547" y="3"/>
                </a:lnTo>
                <a:lnTo>
                  <a:pt x="543" y="6"/>
                </a:lnTo>
                <a:lnTo>
                  <a:pt x="540" y="9"/>
                </a:lnTo>
                <a:lnTo>
                  <a:pt x="537" y="13"/>
                </a:lnTo>
                <a:lnTo>
                  <a:pt x="537" y="17"/>
                </a:lnTo>
                <a:lnTo>
                  <a:pt x="537" y="22"/>
                </a:lnTo>
                <a:lnTo>
                  <a:pt x="540" y="26"/>
                </a:lnTo>
                <a:lnTo>
                  <a:pt x="543" y="33"/>
                </a:lnTo>
                <a:lnTo>
                  <a:pt x="546" y="38"/>
                </a:lnTo>
                <a:lnTo>
                  <a:pt x="548" y="44"/>
                </a:lnTo>
                <a:lnTo>
                  <a:pt x="549" y="50"/>
                </a:lnTo>
                <a:lnTo>
                  <a:pt x="550" y="55"/>
                </a:lnTo>
                <a:lnTo>
                  <a:pt x="550" y="60"/>
                </a:lnTo>
                <a:lnTo>
                  <a:pt x="549" y="65"/>
                </a:lnTo>
                <a:lnTo>
                  <a:pt x="548" y="70"/>
                </a:lnTo>
                <a:lnTo>
                  <a:pt x="545" y="79"/>
                </a:lnTo>
                <a:lnTo>
                  <a:pt x="540" y="88"/>
                </a:lnTo>
                <a:lnTo>
                  <a:pt x="533" y="97"/>
                </a:lnTo>
                <a:lnTo>
                  <a:pt x="526" y="107"/>
                </a:lnTo>
                <a:lnTo>
                  <a:pt x="520" y="113"/>
                </a:lnTo>
                <a:lnTo>
                  <a:pt x="515" y="121"/>
                </a:lnTo>
                <a:lnTo>
                  <a:pt x="509" y="128"/>
                </a:lnTo>
                <a:lnTo>
                  <a:pt x="505" y="137"/>
                </a:lnTo>
                <a:lnTo>
                  <a:pt x="503" y="144"/>
                </a:lnTo>
                <a:lnTo>
                  <a:pt x="501" y="152"/>
                </a:lnTo>
                <a:lnTo>
                  <a:pt x="500" y="159"/>
                </a:lnTo>
                <a:lnTo>
                  <a:pt x="499" y="167"/>
                </a:lnTo>
                <a:lnTo>
                  <a:pt x="499" y="174"/>
                </a:lnTo>
                <a:lnTo>
                  <a:pt x="500" y="182"/>
                </a:lnTo>
                <a:lnTo>
                  <a:pt x="502" y="190"/>
                </a:lnTo>
                <a:lnTo>
                  <a:pt x="504" y="196"/>
                </a:lnTo>
                <a:lnTo>
                  <a:pt x="507" y="202"/>
                </a:lnTo>
                <a:lnTo>
                  <a:pt x="512" y="209"/>
                </a:lnTo>
                <a:lnTo>
                  <a:pt x="516" y="215"/>
                </a:lnTo>
                <a:lnTo>
                  <a:pt x="521" y="221"/>
                </a:lnTo>
                <a:lnTo>
                  <a:pt x="437" y="373"/>
                </a:lnTo>
                <a:lnTo>
                  <a:pt x="437" y="15"/>
                </a:lnTo>
                <a:lnTo>
                  <a:pt x="437" y="12"/>
                </a:lnTo>
                <a:lnTo>
                  <a:pt x="436" y="9"/>
                </a:lnTo>
                <a:lnTo>
                  <a:pt x="434" y="7"/>
                </a:lnTo>
                <a:lnTo>
                  <a:pt x="433" y="5"/>
                </a:lnTo>
                <a:lnTo>
                  <a:pt x="431" y="2"/>
                </a:lnTo>
                <a:lnTo>
                  <a:pt x="428" y="1"/>
                </a:lnTo>
                <a:lnTo>
                  <a:pt x="426" y="0"/>
                </a:lnTo>
                <a:lnTo>
                  <a:pt x="422" y="0"/>
                </a:lnTo>
                <a:lnTo>
                  <a:pt x="242" y="0"/>
                </a:lnTo>
                <a:lnTo>
                  <a:pt x="238" y="0"/>
                </a:lnTo>
                <a:lnTo>
                  <a:pt x="235" y="1"/>
                </a:lnTo>
                <a:lnTo>
                  <a:pt x="233" y="2"/>
                </a:lnTo>
                <a:lnTo>
                  <a:pt x="231" y="5"/>
                </a:lnTo>
                <a:lnTo>
                  <a:pt x="229" y="7"/>
                </a:lnTo>
                <a:lnTo>
                  <a:pt x="228" y="9"/>
                </a:lnTo>
                <a:lnTo>
                  <a:pt x="227" y="12"/>
                </a:lnTo>
                <a:lnTo>
                  <a:pt x="227" y="15"/>
                </a:lnTo>
                <a:lnTo>
                  <a:pt x="227" y="392"/>
                </a:lnTo>
                <a:lnTo>
                  <a:pt x="220" y="392"/>
                </a:lnTo>
                <a:lnTo>
                  <a:pt x="134" y="220"/>
                </a:lnTo>
                <a:lnTo>
                  <a:pt x="134" y="219"/>
                </a:lnTo>
                <a:lnTo>
                  <a:pt x="133" y="219"/>
                </a:lnTo>
                <a:lnTo>
                  <a:pt x="133" y="219"/>
                </a:lnTo>
                <a:lnTo>
                  <a:pt x="133" y="217"/>
                </a:lnTo>
                <a:lnTo>
                  <a:pt x="133" y="217"/>
                </a:lnTo>
                <a:lnTo>
                  <a:pt x="132" y="217"/>
                </a:lnTo>
                <a:lnTo>
                  <a:pt x="131" y="215"/>
                </a:lnTo>
                <a:lnTo>
                  <a:pt x="130" y="214"/>
                </a:lnTo>
                <a:lnTo>
                  <a:pt x="129" y="214"/>
                </a:lnTo>
                <a:lnTo>
                  <a:pt x="129" y="213"/>
                </a:lnTo>
                <a:lnTo>
                  <a:pt x="129" y="213"/>
                </a:lnTo>
                <a:lnTo>
                  <a:pt x="128" y="213"/>
                </a:lnTo>
                <a:lnTo>
                  <a:pt x="22" y="153"/>
                </a:lnTo>
                <a:lnTo>
                  <a:pt x="19" y="151"/>
                </a:lnTo>
                <a:lnTo>
                  <a:pt x="15" y="151"/>
                </a:lnTo>
                <a:lnTo>
                  <a:pt x="10" y="152"/>
                </a:lnTo>
                <a:lnTo>
                  <a:pt x="6" y="153"/>
                </a:lnTo>
                <a:lnTo>
                  <a:pt x="4" y="156"/>
                </a:lnTo>
                <a:lnTo>
                  <a:pt x="2" y="159"/>
                </a:lnTo>
                <a:lnTo>
                  <a:pt x="0" y="164"/>
                </a:lnTo>
                <a:lnTo>
                  <a:pt x="0" y="168"/>
                </a:lnTo>
                <a:lnTo>
                  <a:pt x="15" y="288"/>
                </a:lnTo>
                <a:lnTo>
                  <a:pt x="15" y="288"/>
                </a:lnTo>
                <a:lnTo>
                  <a:pt x="15" y="288"/>
                </a:lnTo>
                <a:lnTo>
                  <a:pt x="16" y="290"/>
                </a:lnTo>
                <a:lnTo>
                  <a:pt x="16" y="291"/>
                </a:lnTo>
                <a:lnTo>
                  <a:pt x="16" y="292"/>
                </a:lnTo>
                <a:lnTo>
                  <a:pt x="17" y="294"/>
                </a:lnTo>
                <a:lnTo>
                  <a:pt x="66" y="392"/>
                </a:lnTo>
                <a:lnTo>
                  <a:pt x="60" y="392"/>
                </a:lnTo>
                <a:lnTo>
                  <a:pt x="57" y="393"/>
                </a:lnTo>
                <a:lnTo>
                  <a:pt x="54" y="393"/>
                </a:lnTo>
                <a:lnTo>
                  <a:pt x="51" y="395"/>
                </a:lnTo>
                <a:lnTo>
                  <a:pt x="49" y="396"/>
                </a:lnTo>
                <a:lnTo>
                  <a:pt x="48" y="399"/>
                </a:lnTo>
                <a:lnTo>
                  <a:pt x="46" y="401"/>
                </a:lnTo>
                <a:lnTo>
                  <a:pt x="46" y="405"/>
                </a:lnTo>
                <a:lnTo>
                  <a:pt x="45" y="407"/>
                </a:lnTo>
                <a:lnTo>
                  <a:pt x="45" y="814"/>
                </a:lnTo>
                <a:lnTo>
                  <a:pt x="46" y="824"/>
                </a:lnTo>
                <a:lnTo>
                  <a:pt x="47" y="833"/>
                </a:lnTo>
                <a:lnTo>
                  <a:pt x="49" y="841"/>
                </a:lnTo>
                <a:lnTo>
                  <a:pt x="52" y="850"/>
                </a:lnTo>
                <a:lnTo>
                  <a:pt x="56" y="857"/>
                </a:lnTo>
                <a:lnTo>
                  <a:pt x="60" y="865"/>
                </a:lnTo>
                <a:lnTo>
                  <a:pt x="65" y="872"/>
                </a:lnTo>
                <a:lnTo>
                  <a:pt x="72" y="879"/>
                </a:lnTo>
                <a:lnTo>
                  <a:pt x="78" y="884"/>
                </a:lnTo>
                <a:lnTo>
                  <a:pt x="85" y="890"/>
                </a:lnTo>
                <a:lnTo>
                  <a:pt x="92" y="894"/>
                </a:lnTo>
                <a:lnTo>
                  <a:pt x="100" y="898"/>
                </a:lnTo>
                <a:lnTo>
                  <a:pt x="108" y="900"/>
                </a:lnTo>
                <a:lnTo>
                  <a:pt x="117" y="902"/>
                </a:lnTo>
                <a:lnTo>
                  <a:pt x="127" y="905"/>
                </a:lnTo>
                <a:lnTo>
                  <a:pt x="135" y="905"/>
                </a:lnTo>
                <a:lnTo>
                  <a:pt x="467" y="905"/>
                </a:lnTo>
                <a:lnTo>
                  <a:pt x="477" y="905"/>
                </a:lnTo>
                <a:lnTo>
                  <a:pt x="486" y="902"/>
                </a:lnTo>
                <a:lnTo>
                  <a:pt x="494" y="900"/>
                </a:lnTo>
                <a:lnTo>
                  <a:pt x="503" y="898"/>
                </a:lnTo>
                <a:lnTo>
                  <a:pt x="512" y="894"/>
                </a:lnTo>
                <a:lnTo>
                  <a:pt x="519" y="890"/>
                </a:lnTo>
                <a:lnTo>
                  <a:pt x="526" y="884"/>
                </a:lnTo>
                <a:lnTo>
                  <a:pt x="532" y="879"/>
                </a:lnTo>
                <a:lnTo>
                  <a:pt x="537" y="872"/>
                </a:lnTo>
                <a:lnTo>
                  <a:pt x="543" y="866"/>
                </a:lnTo>
                <a:lnTo>
                  <a:pt x="547" y="858"/>
                </a:lnTo>
                <a:lnTo>
                  <a:pt x="551" y="850"/>
                </a:lnTo>
                <a:lnTo>
                  <a:pt x="554" y="842"/>
                </a:lnTo>
                <a:lnTo>
                  <a:pt x="556" y="833"/>
                </a:lnTo>
                <a:lnTo>
                  <a:pt x="558" y="824"/>
                </a:lnTo>
                <a:lnTo>
                  <a:pt x="558" y="814"/>
                </a:lnTo>
                <a:lnTo>
                  <a:pt x="558" y="694"/>
                </a:lnTo>
                <a:lnTo>
                  <a:pt x="588" y="694"/>
                </a:lnTo>
                <a:lnTo>
                  <a:pt x="601" y="693"/>
                </a:lnTo>
                <a:lnTo>
                  <a:pt x="613" y="692"/>
                </a:lnTo>
                <a:lnTo>
                  <a:pt x="625" y="688"/>
                </a:lnTo>
                <a:lnTo>
                  <a:pt x="636" y="684"/>
                </a:lnTo>
                <a:lnTo>
                  <a:pt x="647" y="680"/>
                </a:lnTo>
                <a:lnTo>
                  <a:pt x="657" y="673"/>
                </a:lnTo>
                <a:lnTo>
                  <a:pt x="666" y="667"/>
                </a:lnTo>
                <a:lnTo>
                  <a:pt x="674" y="659"/>
                </a:lnTo>
                <a:lnTo>
                  <a:pt x="683" y="651"/>
                </a:lnTo>
                <a:lnTo>
                  <a:pt x="689" y="642"/>
                </a:lnTo>
                <a:lnTo>
                  <a:pt x="694" y="631"/>
                </a:lnTo>
                <a:lnTo>
                  <a:pt x="700" y="622"/>
                </a:lnTo>
                <a:lnTo>
                  <a:pt x="703" y="610"/>
                </a:lnTo>
                <a:lnTo>
                  <a:pt x="706" y="598"/>
                </a:lnTo>
                <a:lnTo>
                  <a:pt x="708" y="586"/>
                </a:lnTo>
                <a:lnTo>
                  <a:pt x="708" y="573"/>
                </a:lnTo>
                <a:lnTo>
                  <a:pt x="708" y="561"/>
                </a:lnTo>
                <a:lnTo>
                  <a:pt x="706" y="548"/>
                </a:lnTo>
                <a:lnTo>
                  <a:pt x="703" y="536"/>
                </a:lnTo>
                <a:lnTo>
                  <a:pt x="700" y="525"/>
                </a:lnTo>
                <a:lnTo>
                  <a:pt x="694" y="514"/>
                </a:lnTo>
                <a:lnTo>
                  <a:pt x="689" y="505"/>
                </a:lnTo>
                <a:lnTo>
                  <a:pt x="683" y="495"/>
                </a:lnTo>
                <a:lnTo>
                  <a:pt x="674" y="486"/>
                </a:lnTo>
                <a:lnTo>
                  <a:pt x="666" y="479"/>
                </a:lnTo>
                <a:lnTo>
                  <a:pt x="657" y="472"/>
                </a:lnTo>
                <a:lnTo>
                  <a:pt x="647" y="466"/>
                </a:lnTo>
                <a:lnTo>
                  <a:pt x="636" y="462"/>
                </a:lnTo>
                <a:lnTo>
                  <a:pt x="625" y="457"/>
                </a:lnTo>
                <a:lnTo>
                  <a:pt x="613" y="455"/>
                </a:lnTo>
                <a:lnTo>
                  <a:pt x="601" y="453"/>
                </a:lnTo>
                <a:lnTo>
                  <a:pt x="588" y="45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13" name="Group 112"/>
          <p:cNvGrpSpPr/>
          <p:nvPr/>
        </p:nvGrpSpPr>
        <p:grpSpPr>
          <a:xfrm>
            <a:off x="4498300" y="4197855"/>
            <a:ext cx="316995" cy="316995"/>
            <a:chOff x="8164513" y="4791075"/>
            <a:chExt cx="285750" cy="285750"/>
          </a:xfrm>
          <a:solidFill>
            <a:schemeClr val="bg1"/>
          </a:solidFill>
        </p:grpSpPr>
        <p:sp>
          <p:nvSpPr>
            <p:cNvPr id="114" name="Freeform 108"/>
            <p:cNvSpPr>
              <a:spLocks noEditPoints="1"/>
            </p:cNvSpPr>
            <p:nvPr/>
          </p:nvSpPr>
          <p:spPr bwMode="auto">
            <a:xfrm>
              <a:off x="8164513" y="4791075"/>
              <a:ext cx="285750" cy="285750"/>
            </a:xfrm>
            <a:custGeom>
              <a:avLst/>
              <a:gdLst>
                <a:gd name="T0" fmla="*/ 30 w 902"/>
                <a:gd name="T1" fmla="*/ 571 h 902"/>
                <a:gd name="T2" fmla="*/ 872 w 902"/>
                <a:gd name="T3" fmla="*/ 30 h 902"/>
                <a:gd name="T4" fmla="*/ 887 w 902"/>
                <a:gd name="T5" fmla="*/ 0 h 902"/>
                <a:gd name="T6" fmla="*/ 12 w 902"/>
                <a:gd name="T7" fmla="*/ 0 h 902"/>
                <a:gd name="T8" fmla="*/ 6 w 902"/>
                <a:gd name="T9" fmla="*/ 2 h 902"/>
                <a:gd name="T10" fmla="*/ 2 w 902"/>
                <a:gd name="T11" fmla="*/ 6 h 902"/>
                <a:gd name="T12" fmla="*/ 0 w 902"/>
                <a:gd name="T13" fmla="*/ 12 h 902"/>
                <a:gd name="T14" fmla="*/ 0 w 902"/>
                <a:gd name="T15" fmla="*/ 586 h 902"/>
                <a:gd name="T16" fmla="*/ 1 w 902"/>
                <a:gd name="T17" fmla="*/ 592 h 902"/>
                <a:gd name="T18" fmla="*/ 4 w 902"/>
                <a:gd name="T19" fmla="*/ 597 h 902"/>
                <a:gd name="T20" fmla="*/ 9 w 902"/>
                <a:gd name="T21" fmla="*/ 600 h 902"/>
                <a:gd name="T22" fmla="*/ 15 w 902"/>
                <a:gd name="T23" fmla="*/ 601 h 902"/>
                <a:gd name="T24" fmla="*/ 436 w 902"/>
                <a:gd name="T25" fmla="*/ 701 h 902"/>
                <a:gd name="T26" fmla="*/ 258 w 902"/>
                <a:gd name="T27" fmla="*/ 878 h 902"/>
                <a:gd name="T28" fmla="*/ 255 w 902"/>
                <a:gd name="T29" fmla="*/ 884 h 902"/>
                <a:gd name="T30" fmla="*/ 255 w 902"/>
                <a:gd name="T31" fmla="*/ 890 h 902"/>
                <a:gd name="T32" fmla="*/ 258 w 902"/>
                <a:gd name="T33" fmla="*/ 896 h 902"/>
                <a:gd name="T34" fmla="*/ 262 w 902"/>
                <a:gd name="T35" fmla="*/ 900 h 902"/>
                <a:gd name="T36" fmla="*/ 268 w 902"/>
                <a:gd name="T37" fmla="*/ 902 h 902"/>
                <a:gd name="T38" fmla="*/ 273 w 902"/>
                <a:gd name="T39" fmla="*/ 902 h 902"/>
                <a:gd name="T40" fmla="*/ 279 w 902"/>
                <a:gd name="T41" fmla="*/ 900 h 902"/>
                <a:gd name="T42" fmla="*/ 451 w 902"/>
                <a:gd name="T43" fmla="*/ 727 h 902"/>
                <a:gd name="T44" fmla="*/ 622 w 902"/>
                <a:gd name="T45" fmla="*/ 900 h 902"/>
                <a:gd name="T46" fmla="*/ 628 w 902"/>
                <a:gd name="T47" fmla="*/ 902 h 902"/>
                <a:gd name="T48" fmla="*/ 634 w 902"/>
                <a:gd name="T49" fmla="*/ 902 h 902"/>
                <a:gd name="T50" fmla="*/ 640 w 902"/>
                <a:gd name="T51" fmla="*/ 900 h 902"/>
                <a:gd name="T52" fmla="*/ 644 w 902"/>
                <a:gd name="T53" fmla="*/ 896 h 902"/>
                <a:gd name="T54" fmla="*/ 646 w 902"/>
                <a:gd name="T55" fmla="*/ 890 h 902"/>
                <a:gd name="T56" fmla="*/ 646 w 902"/>
                <a:gd name="T57" fmla="*/ 884 h 902"/>
                <a:gd name="T58" fmla="*/ 644 w 902"/>
                <a:gd name="T59" fmla="*/ 878 h 902"/>
                <a:gd name="T60" fmla="*/ 466 w 902"/>
                <a:gd name="T61" fmla="*/ 701 h 902"/>
                <a:gd name="T62" fmla="*/ 887 w 902"/>
                <a:gd name="T63" fmla="*/ 601 h 902"/>
                <a:gd name="T64" fmla="*/ 892 w 902"/>
                <a:gd name="T65" fmla="*/ 600 h 902"/>
                <a:gd name="T66" fmla="*/ 898 w 902"/>
                <a:gd name="T67" fmla="*/ 597 h 902"/>
                <a:gd name="T68" fmla="*/ 901 w 902"/>
                <a:gd name="T69" fmla="*/ 592 h 902"/>
                <a:gd name="T70" fmla="*/ 902 w 902"/>
                <a:gd name="T71" fmla="*/ 586 h 902"/>
                <a:gd name="T72" fmla="*/ 901 w 902"/>
                <a:gd name="T73" fmla="*/ 12 h 902"/>
                <a:gd name="T74" fmla="*/ 899 w 902"/>
                <a:gd name="T75" fmla="*/ 6 h 902"/>
                <a:gd name="T76" fmla="*/ 896 w 902"/>
                <a:gd name="T77" fmla="*/ 2 h 902"/>
                <a:gd name="T78" fmla="*/ 890 w 902"/>
                <a:gd name="T79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902" h="902">
                  <a:moveTo>
                    <a:pt x="872" y="571"/>
                  </a:moveTo>
                  <a:lnTo>
                    <a:pt x="30" y="571"/>
                  </a:lnTo>
                  <a:lnTo>
                    <a:pt x="30" y="30"/>
                  </a:lnTo>
                  <a:lnTo>
                    <a:pt x="872" y="30"/>
                  </a:lnTo>
                  <a:lnTo>
                    <a:pt x="872" y="571"/>
                  </a:lnTo>
                  <a:close/>
                  <a:moveTo>
                    <a:pt x="887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9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586"/>
                  </a:lnTo>
                  <a:lnTo>
                    <a:pt x="0" y="589"/>
                  </a:lnTo>
                  <a:lnTo>
                    <a:pt x="1" y="592"/>
                  </a:lnTo>
                  <a:lnTo>
                    <a:pt x="2" y="595"/>
                  </a:lnTo>
                  <a:lnTo>
                    <a:pt x="4" y="597"/>
                  </a:lnTo>
                  <a:lnTo>
                    <a:pt x="6" y="599"/>
                  </a:lnTo>
                  <a:lnTo>
                    <a:pt x="9" y="600"/>
                  </a:lnTo>
                  <a:lnTo>
                    <a:pt x="12" y="601"/>
                  </a:lnTo>
                  <a:lnTo>
                    <a:pt x="15" y="601"/>
                  </a:lnTo>
                  <a:lnTo>
                    <a:pt x="436" y="601"/>
                  </a:lnTo>
                  <a:lnTo>
                    <a:pt x="436" y="701"/>
                  </a:lnTo>
                  <a:lnTo>
                    <a:pt x="259" y="876"/>
                  </a:lnTo>
                  <a:lnTo>
                    <a:pt x="258" y="878"/>
                  </a:lnTo>
                  <a:lnTo>
                    <a:pt x="256" y="882"/>
                  </a:lnTo>
                  <a:lnTo>
                    <a:pt x="255" y="884"/>
                  </a:lnTo>
                  <a:lnTo>
                    <a:pt x="255" y="887"/>
                  </a:lnTo>
                  <a:lnTo>
                    <a:pt x="255" y="890"/>
                  </a:lnTo>
                  <a:lnTo>
                    <a:pt x="256" y="892"/>
                  </a:lnTo>
                  <a:lnTo>
                    <a:pt x="258" y="896"/>
                  </a:lnTo>
                  <a:lnTo>
                    <a:pt x="259" y="898"/>
                  </a:lnTo>
                  <a:lnTo>
                    <a:pt x="262" y="900"/>
                  </a:lnTo>
                  <a:lnTo>
                    <a:pt x="265" y="901"/>
                  </a:lnTo>
                  <a:lnTo>
                    <a:pt x="268" y="902"/>
                  </a:lnTo>
                  <a:lnTo>
                    <a:pt x="270" y="902"/>
                  </a:lnTo>
                  <a:lnTo>
                    <a:pt x="273" y="902"/>
                  </a:lnTo>
                  <a:lnTo>
                    <a:pt x="276" y="901"/>
                  </a:lnTo>
                  <a:lnTo>
                    <a:pt x="279" y="900"/>
                  </a:lnTo>
                  <a:lnTo>
                    <a:pt x="281" y="898"/>
                  </a:lnTo>
                  <a:lnTo>
                    <a:pt x="451" y="727"/>
                  </a:lnTo>
                  <a:lnTo>
                    <a:pt x="620" y="898"/>
                  </a:lnTo>
                  <a:lnTo>
                    <a:pt x="622" y="900"/>
                  </a:lnTo>
                  <a:lnTo>
                    <a:pt x="626" y="901"/>
                  </a:lnTo>
                  <a:lnTo>
                    <a:pt x="628" y="902"/>
                  </a:lnTo>
                  <a:lnTo>
                    <a:pt x="631" y="902"/>
                  </a:lnTo>
                  <a:lnTo>
                    <a:pt x="634" y="902"/>
                  </a:lnTo>
                  <a:lnTo>
                    <a:pt x="636" y="901"/>
                  </a:lnTo>
                  <a:lnTo>
                    <a:pt x="640" y="900"/>
                  </a:lnTo>
                  <a:lnTo>
                    <a:pt x="642" y="898"/>
                  </a:lnTo>
                  <a:lnTo>
                    <a:pt x="644" y="896"/>
                  </a:lnTo>
                  <a:lnTo>
                    <a:pt x="645" y="892"/>
                  </a:lnTo>
                  <a:lnTo>
                    <a:pt x="646" y="890"/>
                  </a:lnTo>
                  <a:lnTo>
                    <a:pt x="646" y="887"/>
                  </a:lnTo>
                  <a:lnTo>
                    <a:pt x="646" y="884"/>
                  </a:lnTo>
                  <a:lnTo>
                    <a:pt x="645" y="882"/>
                  </a:lnTo>
                  <a:lnTo>
                    <a:pt x="644" y="878"/>
                  </a:lnTo>
                  <a:lnTo>
                    <a:pt x="642" y="876"/>
                  </a:lnTo>
                  <a:lnTo>
                    <a:pt x="466" y="701"/>
                  </a:lnTo>
                  <a:lnTo>
                    <a:pt x="466" y="601"/>
                  </a:lnTo>
                  <a:lnTo>
                    <a:pt x="887" y="601"/>
                  </a:lnTo>
                  <a:lnTo>
                    <a:pt x="890" y="601"/>
                  </a:lnTo>
                  <a:lnTo>
                    <a:pt x="892" y="600"/>
                  </a:lnTo>
                  <a:lnTo>
                    <a:pt x="896" y="599"/>
                  </a:lnTo>
                  <a:lnTo>
                    <a:pt x="898" y="597"/>
                  </a:lnTo>
                  <a:lnTo>
                    <a:pt x="899" y="595"/>
                  </a:lnTo>
                  <a:lnTo>
                    <a:pt x="901" y="592"/>
                  </a:lnTo>
                  <a:lnTo>
                    <a:pt x="901" y="589"/>
                  </a:lnTo>
                  <a:lnTo>
                    <a:pt x="902" y="586"/>
                  </a:lnTo>
                  <a:lnTo>
                    <a:pt x="902" y="15"/>
                  </a:lnTo>
                  <a:lnTo>
                    <a:pt x="901" y="12"/>
                  </a:lnTo>
                  <a:lnTo>
                    <a:pt x="901" y="9"/>
                  </a:lnTo>
                  <a:lnTo>
                    <a:pt x="899" y="6"/>
                  </a:lnTo>
                  <a:lnTo>
                    <a:pt x="898" y="4"/>
                  </a:lnTo>
                  <a:lnTo>
                    <a:pt x="896" y="2"/>
                  </a:lnTo>
                  <a:lnTo>
                    <a:pt x="892" y="1"/>
                  </a:lnTo>
                  <a:lnTo>
                    <a:pt x="890" y="0"/>
                  </a:lnTo>
                  <a:lnTo>
                    <a:pt x="88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109"/>
            <p:cNvSpPr>
              <a:spLocks noEditPoints="1"/>
            </p:cNvSpPr>
            <p:nvPr/>
          </p:nvSpPr>
          <p:spPr bwMode="auto">
            <a:xfrm>
              <a:off x="8193088" y="4819650"/>
              <a:ext cx="228600" cy="133350"/>
            </a:xfrm>
            <a:custGeom>
              <a:avLst/>
              <a:gdLst>
                <a:gd name="T0" fmla="*/ 691 w 722"/>
                <a:gd name="T1" fmla="*/ 391 h 421"/>
                <a:gd name="T2" fmla="*/ 30 w 722"/>
                <a:gd name="T3" fmla="*/ 241 h 421"/>
                <a:gd name="T4" fmla="*/ 153 w 722"/>
                <a:gd name="T5" fmla="*/ 240 h 421"/>
                <a:gd name="T6" fmla="*/ 159 w 722"/>
                <a:gd name="T7" fmla="*/ 238 h 421"/>
                <a:gd name="T8" fmla="*/ 229 w 722"/>
                <a:gd name="T9" fmla="*/ 165 h 421"/>
                <a:gd name="T10" fmla="*/ 288 w 722"/>
                <a:gd name="T11" fmla="*/ 310 h 421"/>
                <a:gd name="T12" fmla="*/ 294 w 722"/>
                <a:gd name="T13" fmla="*/ 314 h 421"/>
                <a:gd name="T14" fmla="*/ 299 w 722"/>
                <a:gd name="T15" fmla="*/ 316 h 421"/>
                <a:gd name="T16" fmla="*/ 303 w 722"/>
                <a:gd name="T17" fmla="*/ 316 h 421"/>
                <a:gd name="T18" fmla="*/ 309 w 722"/>
                <a:gd name="T19" fmla="*/ 313 h 421"/>
                <a:gd name="T20" fmla="*/ 406 w 722"/>
                <a:gd name="T21" fmla="*/ 216 h 421"/>
                <a:gd name="T22" fmla="*/ 472 w 722"/>
                <a:gd name="T23" fmla="*/ 283 h 421"/>
                <a:gd name="T24" fmla="*/ 479 w 722"/>
                <a:gd name="T25" fmla="*/ 286 h 421"/>
                <a:gd name="T26" fmla="*/ 485 w 722"/>
                <a:gd name="T27" fmla="*/ 285 h 421"/>
                <a:gd name="T28" fmla="*/ 491 w 722"/>
                <a:gd name="T29" fmla="*/ 283 h 421"/>
                <a:gd name="T30" fmla="*/ 628 w 722"/>
                <a:gd name="T31" fmla="*/ 115 h 421"/>
                <a:gd name="T32" fmla="*/ 631 w 722"/>
                <a:gd name="T33" fmla="*/ 109 h 421"/>
                <a:gd name="T34" fmla="*/ 631 w 722"/>
                <a:gd name="T35" fmla="*/ 104 h 421"/>
                <a:gd name="T36" fmla="*/ 630 w 722"/>
                <a:gd name="T37" fmla="*/ 99 h 421"/>
                <a:gd name="T38" fmla="*/ 626 w 722"/>
                <a:gd name="T39" fmla="*/ 93 h 421"/>
                <a:gd name="T40" fmla="*/ 620 w 722"/>
                <a:gd name="T41" fmla="*/ 91 h 421"/>
                <a:gd name="T42" fmla="*/ 615 w 722"/>
                <a:gd name="T43" fmla="*/ 90 h 421"/>
                <a:gd name="T44" fmla="*/ 610 w 722"/>
                <a:gd name="T45" fmla="*/ 92 h 421"/>
                <a:gd name="T46" fmla="*/ 604 w 722"/>
                <a:gd name="T47" fmla="*/ 95 h 421"/>
                <a:gd name="T48" fmla="*/ 417 w 722"/>
                <a:gd name="T49" fmla="*/ 185 h 421"/>
                <a:gd name="T50" fmla="*/ 411 w 722"/>
                <a:gd name="T51" fmla="*/ 181 h 421"/>
                <a:gd name="T52" fmla="*/ 406 w 722"/>
                <a:gd name="T53" fmla="*/ 180 h 421"/>
                <a:gd name="T54" fmla="*/ 400 w 722"/>
                <a:gd name="T55" fmla="*/ 181 h 421"/>
                <a:gd name="T56" fmla="*/ 395 w 722"/>
                <a:gd name="T57" fmla="*/ 185 h 421"/>
                <a:gd name="T58" fmla="*/ 249 w 722"/>
                <a:gd name="T59" fmla="*/ 132 h 421"/>
                <a:gd name="T60" fmla="*/ 243 w 722"/>
                <a:gd name="T61" fmla="*/ 126 h 421"/>
                <a:gd name="T62" fmla="*/ 237 w 722"/>
                <a:gd name="T63" fmla="*/ 123 h 421"/>
                <a:gd name="T64" fmla="*/ 229 w 722"/>
                <a:gd name="T65" fmla="*/ 123 h 421"/>
                <a:gd name="T66" fmla="*/ 223 w 722"/>
                <a:gd name="T67" fmla="*/ 128 h 421"/>
                <a:gd name="T68" fmla="*/ 30 w 722"/>
                <a:gd name="T69" fmla="*/ 211 h 421"/>
                <a:gd name="T70" fmla="*/ 691 w 722"/>
                <a:gd name="T71" fmla="*/ 30 h 421"/>
                <a:gd name="T72" fmla="*/ 707 w 722"/>
                <a:gd name="T73" fmla="*/ 421 h 421"/>
                <a:gd name="T74" fmla="*/ 712 w 722"/>
                <a:gd name="T75" fmla="*/ 420 h 421"/>
                <a:gd name="T76" fmla="*/ 717 w 722"/>
                <a:gd name="T77" fmla="*/ 417 h 421"/>
                <a:gd name="T78" fmla="*/ 720 w 722"/>
                <a:gd name="T79" fmla="*/ 411 h 421"/>
                <a:gd name="T80" fmla="*/ 722 w 722"/>
                <a:gd name="T81" fmla="*/ 406 h 421"/>
                <a:gd name="T82" fmla="*/ 721 w 722"/>
                <a:gd name="T83" fmla="*/ 12 h 421"/>
                <a:gd name="T84" fmla="*/ 719 w 722"/>
                <a:gd name="T85" fmla="*/ 6 h 421"/>
                <a:gd name="T86" fmla="*/ 715 w 722"/>
                <a:gd name="T87" fmla="*/ 2 h 421"/>
                <a:gd name="T88" fmla="*/ 709 w 722"/>
                <a:gd name="T89" fmla="*/ 0 h 421"/>
                <a:gd name="T90" fmla="*/ 15 w 722"/>
                <a:gd name="T91" fmla="*/ 0 h 421"/>
                <a:gd name="T92" fmla="*/ 9 w 722"/>
                <a:gd name="T93" fmla="*/ 1 h 421"/>
                <a:gd name="T94" fmla="*/ 4 w 722"/>
                <a:gd name="T95" fmla="*/ 4 h 421"/>
                <a:gd name="T96" fmla="*/ 1 w 722"/>
                <a:gd name="T97" fmla="*/ 10 h 421"/>
                <a:gd name="T98" fmla="*/ 0 w 722"/>
                <a:gd name="T99" fmla="*/ 15 h 421"/>
                <a:gd name="T100" fmla="*/ 0 w 722"/>
                <a:gd name="T101" fmla="*/ 409 h 421"/>
                <a:gd name="T102" fmla="*/ 2 w 722"/>
                <a:gd name="T103" fmla="*/ 415 h 421"/>
                <a:gd name="T104" fmla="*/ 6 w 722"/>
                <a:gd name="T105" fmla="*/ 419 h 421"/>
                <a:gd name="T106" fmla="*/ 12 w 722"/>
                <a:gd name="T107" fmla="*/ 421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22" h="421">
                  <a:moveTo>
                    <a:pt x="691" y="30"/>
                  </a:moveTo>
                  <a:lnTo>
                    <a:pt x="691" y="391"/>
                  </a:lnTo>
                  <a:lnTo>
                    <a:pt x="30" y="391"/>
                  </a:lnTo>
                  <a:lnTo>
                    <a:pt x="30" y="241"/>
                  </a:lnTo>
                  <a:lnTo>
                    <a:pt x="150" y="241"/>
                  </a:lnTo>
                  <a:lnTo>
                    <a:pt x="153" y="240"/>
                  </a:lnTo>
                  <a:lnTo>
                    <a:pt x="156" y="239"/>
                  </a:lnTo>
                  <a:lnTo>
                    <a:pt x="159" y="238"/>
                  </a:lnTo>
                  <a:lnTo>
                    <a:pt x="161" y="236"/>
                  </a:lnTo>
                  <a:lnTo>
                    <a:pt x="229" y="165"/>
                  </a:lnTo>
                  <a:lnTo>
                    <a:pt x="287" y="306"/>
                  </a:lnTo>
                  <a:lnTo>
                    <a:pt x="288" y="310"/>
                  </a:lnTo>
                  <a:lnTo>
                    <a:pt x="291" y="313"/>
                  </a:lnTo>
                  <a:lnTo>
                    <a:pt x="294" y="314"/>
                  </a:lnTo>
                  <a:lnTo>
                    <a:pt x="298" y="316"/>
                  </a:lnTo>
                  <a:lnTo>
                    <a:pt x="299" y="316"/>
                  </a:lnTo>
                  <a:lnTo>
                    <a:pt x="301" y="316"/>
                  </a:lnTo>
                  <a:lnTo>
                    <a:pt x="303" y="316"/>
                  </a:lnTo>
                  <a:lnTo>
                    <a:pt x="306" y="315"/>
                  </a:lnTo>
                  <a:lnTo>
                    <a:pt x="309" y="313"/>
                  </a:lnTo>
                  <a:lnTo>
                    <a:pt x="312" y="312"/>
                  </a:lnTo>
                  <a:lnTo>
                    <a:pt x="406" y="216"/>
                  </a:lnTo>
                  <a:lnTo>
                    <a:pt x="470" y="282"/>
                  </a:lnTo>
                  <a:lnTo>
                    <a:pt x="472" y="283"/>
                  </a:lnTo>
                  <a:lnTo>
                    <a:pt x="476" y="285"/>
                  </a:lnTo>
                  <a:lnTo>
                    <a:pt x="479" y="286"/>
                  </a:lnTo>
                  <a:lnTo>
                    <a:pt x="482" y="286"/>
                  </a:lnTo>
                  <a:lnTo>
                    <a:pt x="485" y="285"/>
                  </a:lnTo>
                  <a:lnTo>
                    <a:pt x="487" y="284"/>
                  </a:lnTo>
                  <a:lnTo>
                    <a:pt x="491" y="283"/>
                  </a:lnTo>
                  <a:lnTo>
                    <a:pt x="493" y="281"/>
                  </a:lnTo>
                  <a:lnTo>
                    <a:pt x="628" y="115"/>
                  </a:lnTo>
                  <a:lnTo>
                    <a:pt x="630" y="113"/>
                  </a:lnTo>
                  <a:lnTo>
                    <a:pt x="631" y="109"/>
                  </a:lnTo>
                  <a:lnTo>
                    <a:pt x="631" y="106"/>
                  </a:lnTo>
                  <a:lnTo>
                    <a:pt x="631" y="104"/>
                  </a:lnTo>
                  <a:lnTo>
                    <a:pt x="631" y="101"/>
                  </a:lnTo>
                  <a:lnTo>
                    <a:pt x="630" y="99"/>
                  </a:lnTo>
                  <a:lnTo>
                    <a:pt x="628" y="95"/>
                  </a:lnTo>
                  <a:lnTo>
                    <a:pt x="626" y="93"/>
                  </a:lnTo>
                  <a:lnTo>
                    <a:pt x="623" y="92"/>
                  </a:lnTo>
                  <a:lnTo>
                    <a:pt x="620" y="91"/>
                  </a:lnTo>
                  <a:lnTo>
                    <a:pt x="618" y="90"/>
                  </a:lnTo>
                  <a:lnTo>
                    <a:pt x="615" y="90"/>
                  </a:lnTo>
                  <a:lnTo>
                    <a:pt x="612" y="91"/>
                  </a:lnTo>
                  <a:lnTo>
                    <a:pt x="610" y="92"/>
                  </a:lnTo>
                  <a:lnTo>
                    <a:pt x="606" y="93"/>
                  </a:lnTo>
                  <a:lnTo>
                    <a:pt x="604" y="95"/>
                  </a:lnTo>
                  <a:lnTo>
                    <a:pt x="480" y="249"/>
                  </a:lnTo>
                  <a:lnTo>
                    <a:pt x="417" y="185"/>
                  </a:lnTo>
                  <a:lnTo>
                    <a:pt x="415" y="183"/>
                  </a:lnTo>
                  <a:lnTo>
                    <a:pt x="411" y="181"/>
                  </a:lnTo>
                  <a:lnTo>
                    <a:pt x="409" y="181"/>
                  </a:lnTo>
                  <a:lnTo>
                    <a:pt x="406" y="180"/>
                  </a:lnTo>
                  <a:lnTo>
                    <a:pt x="403" y="181"/>
                  </a:lnTo>
                  <a:lnTo>
                    <a:pt x="400" y="181"/>
                  </a:lnTo>
                  <a:lnTo>
                    <a:pt x="397" y="183"/>
                  </a:lnTo>
                  <a:lnTo>
                    <a:pt x="395" y="185"/>
                  </a:lnTo>
                  <a:lnTo>
                    <a:pt x="306" y="274"/>
                  </a:lnTo>
                  <a:lnTo>
                    <a:pt x="249" y="132"/>
                  </a:lnTo>
                  <a:lnTo>
                    <a:pt x="246" y="129"/>
                  </a:lnTo>
                  <a:lnTo>
                    <a:pt x="243" y="126"/>
                  </a:lnTo>
                  <a:lnTo>
                    <a:pt x="241" y="124"/>
                  </a:lnTo>
                  <a:lnTo>
                    <a:pt x="237" y="123"/>
                  </a:lnTo>
                  <a:lnTo>
                    <a:pt x="234" y="123"/>
                  </a:lnTo>
                  <a:lnTo>
                    <a:pt x="229" y="123"/>
                  </a:lnTo>
                  <a:lnTo>
                    <a:pt x="226" y="125"/>
                  </a:lnTo>
                  <a:lnTo>
                    <a:pt x="223" y="128"/>
                  </a:lnTo>
                  <a:lnTo>
                    <a:pt x="144" y="211"/>
                  </a:lnTo>
                  <a:lnTo>
                    <a:pt x="30" y="211"/>
                  </a:lnTo>
                  <a:lnTo>
                    <a:pt x="30" y="30"/>
                  </a:lnTo>
                  <a:lnTo>
                    <a:pt x="691" y="30"/>
                  </a:lnTo>
                  <a:close/>
                  <a:moveTo>
                    <a:pt x="15" y="421"/>
                  </a:moveTo>
                  <a:lnTo>
                    <a:pt x="707" y="421"/>
                  </a:lnTo>
                  <a:lnTo>
                    <a:pt x="709" y="421"/>
                  </a:lnTo>
                  <a:lnTo>
                    <a:pt x="712" y="420"/>
                  </a:lnTo>
                  <a:lnTo>
                    <a:pt x="715" y="419"/>
                  </a:lnTo>
                  <a:lnTo>
                    <a:pt x="717" y="417"/>
                  </a:lnTo>
                  <a:lnTo>
                    <a:pt x="719" y="415"/>
                  </a:lnTo>
                  <a:lnTo>
                    <a:pt x="720" y="411"/>
                  </a:lnTo>
                  <a:lnTo>
                    <a:pt x="721" y="409"/>
                  </a:lnTo>
                  <a:lnTo>
                    <a:pt x="722" y="406"/>
                  </a:lnTo>
                  <a:lnTo>
                    <a:pt x="722" y="15"/>
                  </a:lnTo>
                  <a:lnTo>
                    <a:pt x="721" y="12"/>
                  </a:lnTo>
                  <a:lnTo>
                    <a:pt x="720" y="10"/>
                  </a:lnTo>
                  <a:lnTo>
                    <a:pt x="719" y="6"/>
                  </a:lnTo>
                  <a:lnTo>
                    <a:pt x="717" y="4"/>
                  </a:lnTo>
                  <a:lnTo>
                    <a:pt x="715" y="2"/>
                  </a:lnTo>
                  <a:lnTo>
                    <a:pt x="712" y="1"/>
                  </a:lnTo>
                  <a:lnTo>
                    <a:pt x="709" y="0"/>
                  </a:lnTo>
                  <a:lnTo>
                    <a:pt x="707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9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10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406"/>
                  </a:lnTo>
                  <a:lnTo>
                    <a:pt x="0" y="409"/>
                  </a:lnTo>
                  <a:lnTo>
                    <a:pt x="1" y="411"/>
                  </a:lnTo>
                  <a:lnTo>
                    <a:pt x="2" y="415"/>
                  </a:lnTo>
                  <a:lnTo>
                    <a:pt x="4" y="417"/>
                  </a:lnTo>
                  <a:lnTo>
                    <a:pt x="6" y="419"/>
                  </a:lnTo>
                  <a:lnTo>
                    <a:pt x="9" y="420"/>
                  </a:lnTo>
                  <a:lnTo>
                    <a:pt x="12" y="421"/>
                  </a:lnTo>
                  <a:lnTo>
                    <a:pt x="15" y="4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16" name="Group 115"/>
          <p:cNvGrpSpPr/>
          <p:nvPr/>
        </p:nvGrpSpPr>
        <p:grpSpPr>
          <a:xfrm>
            <a:off x="4497845" y="2620772"/>
            <a:ext cx="347809" cy="349742"/>
            <a:chOff x="10455275" y="2498725"/>
            <a:chExt cx="285750" cy="287338"/>
          </a:xfrm>
          <a:solidFill>
            <a:schemeClr val="bg1"/>
          </a:solidFill>
        </p:grpSpPr>
        <p:sp>
          <p:nvSpPr>
            <p:cNvPr id="117" name="Freeform 214"/>
            <p:cNvSpPr>
              <a:spLocks noEditPoints="1"/>
            </p:cNvSpPr>
            <p:nvPr/>
          </p:nvSpPr>
          <p:spPr bwMode="auto">
            <a:xfrm>
              <a:off x="10455275" y="2593975"/>
              <a:ext cx="285750" cy="192088"/>
            </a:xfrm>
            <a:custGeom>
              <a:avLst/>
              <a:gdLst>
                <a:gd name="T0" fmla="*/ 812 w 903"/>
                <a:gd name="T1" fmla="*/ 30 h 601"/>
                <a:gd name="T2" fmla="*/ 512 w 903"/>
                <a:gd name="T3" fmla="*/ 571 h 601"/>
                <a:gd name="T4" fmla="*/ 602 w 903"/>
                <a:gd name="T5" fmla="*/ 571 h 601"/>
                <a:gd name="T6" fmla="*/ 301 w 903"/>
                <a:gd name="T7" fmla="*/ 210 h 601"/>
                <a:gd name="T8" fmla="*/ 301 w 903"/>
                <a:gd name="T9" fmla="*/ 571 h 601"/>
                <a:gd name="T10" fmla="*/ 181 w 903"/>
                <a:gd name="T11" fmla="*/ 421 h 601"/>
                <a:gd name="T12" fmla="*/ 888 w 903"/>
                <a:gd name="T13" fmla="*/ 571 h 601"/>
                <a:gd name="T14" fmla="*/ 842 w 903"/>
                <a:gd name="T15" fmla="*/ 12 h 601"/>
                <a:gd name="T16" fmla="*/ 838 w 903"/>
                <a:gd name="T17" fmla="*/ 5 h 601"/>
                <a:gd name="T18" fmla="*/ 830 w 903"/>
                <a:gd name="T19" fmla="*/ 0 h 601"/>
                <a:gd name="T20" fmla="*/ 704 w 903"/>
                <a:gd name="T21" fmla="*/ 0 h 601"/>
                <a:gd name="T22" fmla="*/ 696 w 903"/>
                <a:gd name="T23" fmla="*/ 5 h 601"/>
                <a:gd name="T24" fmla="*/ 692 w 903"/>
                <a:gd name="T25" fmla="*/ 12 h 601"/>
                <a:gd name="T26" fmla="*/ 632 w 903"/>
                <a:gd name="T27" fmla="*/ 571 h 601"/>
                <a:gd name="T28" fmla="*/ 631 w 903"/>
                <a:gd name="T29" fmla="*/ 280 h 601"/>
                <a:gd name="T30" fmla="*/ 626 w 903"/>
                <a:gd name="T31" fmla="*/ 274 h 601"/>
                <a:gd name="T32" fmla="*/ 617 w 903"/>
                <a:gd name="T33" fmla="*/ 270 h 601"/>
                <a:gd name="T34" fmla="*/ 491 w 903"/>
                <a:gd name="T35" fmla="*/ 271 h 601"/>
                <a:gd name="T36" fmla="*/ 484 w 903"/>
                <a:gd name="T37" fmla="*/ 278 h 601"/>
                <a:gd name="T38" fmla="*/ 482 w 903"/>
                <a:gd name="T39" fmla="*/ 285 h 601"/>
                <a:gd name="T40" fmla="*/ 421 w 903"/>
                <a:gd name="T41" fmla="*/ 195 h 601"/>
                <a:gd name="T42" fmla="*/ 419 w 903"/>
                <a:gd name="T43" fmla="*/ 187 h 601"/>
                <a:gd name="T44" fmla="*/ 412 w 903"/>
                <a:gd name="T45" fmla="*/ 181 h 601"/>
                <a:gd name="T46" fmla="*/ 286 w 903"/>
                <a:gd name="T47" fmla="*/ 180 h 601"/>
                <a:gd name="T48" fmla="*/ 277 w 903"/>
                <a:gd name="T49" fmla="*/ 184 h 601"/>
                <a:gd name="T50" fmla="*/ 272 w 903"/>
                <a:gd name="T51" fmla="*/ 190 h 601"/>
                <a:gd name="T52" fmla="*/ 271 w 903"/>
                <a:gd name="T53" fmla="*/ 571 h 601"/>
                <a:gd name="T54" fmla="*/ 211 w 903"/>
                <a:gd name="T55" fmla="*/ 403 h 601"/>
                <a:gd name="T56" fmla="*/ 207 w 903"/>
                <a:gd name="T57" fmla="*/ 396 h 601"/>
                <a:gd name="T58" fmla="*/ 199 w 903"/>
                <a:gd name="T59" fmla="*/ 391 h 601"/>
                <a:gd name="T60" fmla="*/ 73 w 903"/>
                <a:gd name="T61" fmla="*/ 391 h 601"/>
                <a:gd name="T62" fmla="*/ 65 w 903"/>
                <a:gd name="T63" fmla="*/ 396 h 601"/>
                <a:gd name="T64" fmla="*/ 61 w 903"/>
                <a:gd name="T65" fmla="*/ 403 h 601"/>
                <a:gd name="T66" fmla="*/ 16 w 903"/>
                <a:gd name="T67" fmla="*/ 571 h 601"/>
                <a:gd name="T68" fmla="*/ 7 w 903"/>
                <a:gd name="T69" fmla="*/ 573 h 601"/>
                <a:gd name="T70" fmla="*/ 2 w 903"/>
                <a:gd name="T71" fmla="*/ 581 h 601"/>
                <a:gd name="T72" fmla="*/ 1 w 903"/>
                <a:gd name="T73" fmla="*/ 590 h 601"/>
                <a:gd name="T74" fmla="*/ 5 w 903"/>
                <a:gd name="T75" fmla="*/ 597 h 601"/>
                <a:gd name="T76" fmla="*/ 13 w 903"/>
                <a:gd name="T77" fmla="*/ 601 h 601"/>
                <a:gd name="T78" fmla="*/ 196 w 903"/>
                <a:gd name="T79" fmla="*/ 601 h 601"/>
                <a:gd name="T80" fmla="*/ 497 w 903"/>
                <a:gd name="T81" fmla="*/ 601 h 601"/>
                <a:gd name="T82" fmla="*/ 827 w 903"/>
                <a:gd name="T83" fmla="*/ 601 h 601"/>
                <a:gd name="T84" fmla="*/ 893 w 903"/>
                <a:gd name="T85" fmla="*/ 600 h 601"/>
                <a:gd name="T86" fmla="*/ 900 w 903"/>
                <a:gd name="T87" fmla="*/ 595 h 601"/>
                <a:gd name="T88" fmla="*/ 903 w 903"/>
                <a:gd name="T89" fmla="*/ 586 h 601"/>
                <a:gd name="T90" fmla="*/ 900 w 903"/>
                <a:gd name="T91" fmla="*/ 578 h 601"/>
                <a:gd name="T92" fmla="*/ 893 w 903"/>
                <a:gd name="T93" fmla="*/ 572 h 6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903" h="601">
                  <a:moveTo>
                    <a:pt x="722" y="571"/>
                  </a:moveTo>
                  <a:lnTo>
                    <a:pt x="722" y="30"/>
                  </a:lnTo>
                  <a:lnTo>
                    <a:pt x="812" y="30"/>
                  </a:lnTo>
                  <a:lnTo>
                    <a:pt x="812" y="571"/>
                  </a:lnTo>
                  <a:lnTo>
                    <a:pt x="722" y="571"/>
                  </a:lnTo>
                  <a:close/>
                  <a:moveTo>
                    <a:pt x="512" y="571"/>
                  </a:moveTo>
                  <a:lnTo>
                    <a:pt x="512" y="300"/>
                  </a:lnTo>
                  <a:lnTo>
                    <a:pt x="602" y="300"/>
                  </a:lnTo>
                  <a:lnTo>
                    <a:pt x="602" y="571"/>
                  </a:lnTo>
                  <a:lnTo>
                    <a:pt x="512" y="571"/>
                  </a:lnTo>
                  <a:close/>
                  <a:moveTo>
                    <a:pt x="301" y="571"/>
                  </a:moveTo>
                  <a:lnTo>
                    <a:pt x="301" y="210"/>
                  </a:lnTo>
                  <a:lnTo>
                    <a:pt x="391" y="210"/>
                  </a:lnTo>
                  <a:lnTo>
                    <a:pt x="391" y="571"/>
                  </a:lnTo>
                  <a:lnTo>
                    <a:pt x="301" y="571"/>
                  </a:lnTo>
                  <a:close/>
                  <a:moveTo>
                    <a:pt x="91" y="571"/>
                  </a:moveTo>
                  <a:lnTo>
                    <a:pt x="91" y="421"/>
                  </a:lnTo>
                  <a:lnTo>
                    <a:pt x="181" y="421"/>
                  </a:lnTo>
                  <a:lnTo>
                    <a:pt x="181" y="571"/>
                  </a:lnTo>
                  <a:lnTo>
                    <a:pt x="91" y="571"/>
                  </a:lnTo>
                  <a:close/>
                  <a:moveTo>
                    <a:pt x="888" y="571"/>
                  </a:moveTo>
                  <a:lnTo>
                    <a:pt x="842" y="571"/>
                  </a:lnTo>
                  <a:lnTo>
                    <a:pt x="842" y="15"/>
                  </a:lnTo>
                  <a:lnTo>
                    <a:pt x="842" y="12"/>
                  </a:lnTo>
                  <a:lnTo>
                    <a:pt x="841" y="9"/>
                  </a:lnTo>
                  <a:lnTo>
                    <a:pt x="840" y="7"/>
                  </a:lnTo>
                  <a:lnTo>
                    <a:pt x="838" y="5"/>
                  </a:lnTo>
                  <a:lnTo>
                    <a:pt x="836" y="3"/>
                  </a:lnTo>
                  <a:lnTo>
                    <a:pt x="833" y="1"/>
                  </a:lnTo>
                  <a:lnTo>
                    <a:pt x="830" y="0"/>
                  </a:lnTo>
                  <a:lnTo>
                    <a:pt x="827" y="0"/>
                  </a:lnTo>
                  <a:lnTo>
                    <a:pt x="707" y="0"/>
                  </a:lnTo>
                  <a:lnTo>
                    <a:pt x="704" y="0"/>
                  </a:lnTo>
                  <a:lnTo>
                    <a:pt x="702" y="1"/>
                  </a:lnTo>
                  <a:lnTo>
                    <a:pt x="698" y="3"/>
                  </a:lnTo>
                  <a:lnTo>
                    <a:pt x="696" y="5"/>
                  </a:lnTo>
                  <a:lnTo>
                    <a:pt x="694" y="7"/>
                  </a:lnTo>
                  <a:lnTo>
                    <a:pt x="693" y="9"/>
                  </a:lnTo>
                  <a:lnTo>
                    <a:pt x="692" y="12"/>
                  </a:lnTo>
                  <a:lnTo>
                    <a:pt x="692" y="15"/>
                  </a:lnTo>
                  <a:lnTo>
                    <a:pt x="692" y="571"/>
                  </a:lnTo>
                  <a:lnTo>
                    <a:pt x="632" y="571"/>
                  </a:lnTo>
                  <a:lnTo>
                    <a:pt x="632" y="285"/>
                  </a:lnTo>
                  <a:lnTo>
                    <a:pt x="632" y="283"/>
                  </a:lnTo>
                  <a:lnTo>
                    <a:pt x="631" y="280"/>
                  </a:lnTo>
                  <a:lnTo>
                    <a:pt x="630" y="278"/>
                  </a:lnTo>
                  <a:lnTo>
                    <a:pt x="628" y="275"/>
                  </a:lnTo>
                  <a:lnTo>
                    <a:pt x="626" y="274"/>
                  </a:lnTo>
                  <a:lnTo>
                    <a:pt x="622" y="271"/>
                  </a:lnTo>
                  <a:lnTo>
                    <a:pt x="620" y="271"/>
                  </a:lnTo>
                  <a:lnTo>
                    <a:pt x="617" y="270"/>
                  </a:lnTo>
                  <a:lnTo>
                    <a:pt x="497" y="270"/>
                  </a:lnTo>
                  <a:lnTo>
                    <a:pt x="494" y="271"/>
                  </a:lnTo>
                  <a:lnTo>
                    <a:pt x="491" y="271"/>
                  </a:lnTo>
                  <a:lnTo>
                    <a:pt x="488" y="274"/>
                  </a:lnTo>
                  <a:lnTo>
                    <a:pt x="486" y="275"/>
                  </a:lnTo>
                  <a:lnTo>
                    <a:pt x="484" y="278"/>
                  </a:lnTo>
                  <a:lnTo>
                    <a:pt x="483" y="280"/>
                  </a:lnTo>
                  <a:lnTo>
                    <a:pt x="482" y="283"/>
                  </a:lnTo>
                  <a:lnTo>
                    <a:pt x="482" y="285"/>
                  </a:lnTo>
                  <a:lnTo>
                    <a:pt x="482" y="571"/>
                  </a:lnTo>
                  <a:lnTo>
                    <a:pt x="421" y="571"/>
                  </a:lnTo>
                  <a:lnTo>
                    <a:pt x="421" y="195"/>
                  </a:lnTo>
                  <a:lnTo>
                    <a:pt x="421" y="192"/>
                  </a:lnTo>
                  <a:lnTo>
                    <a:pt x="420" y="190"/>
                  </a:lnTo>
                  <a:lnTo>
                    <a:pt x="419" y="187"/>
                  </a:lnTo>
                  <a:lnTo>
                    <a:pt x="417" y="185"/>
                  </a:lnTo>
                  <a:lnTo>
                    <a:pt x="415" y="184"/>
                  </a:lnTo>
                  <a:lnTo>
                    <a:pt x="412" y="181"/>
                  </a:lnTo>
                  <a:lnTo>
                    <a:pt x="409" y="180"/>
                  </a:lnTo>
                  <a:lnTo>
                    <a:pt x="406" y="180"/>
                  </a:lnTo>
                  <a:lnTo>
                    <a:pt x="286" y="180"/>
                  </a:lnTo>
                  <a:lnTo>
                    <a:pt x="283" y="180"/>
                  </a:lnTo>
                  <a:lnTo>
                    <a:pt x="281" y="181"/>
                  </a:lnTo>
                  <a:lnTo>
                    <a:pt x="277" y="184"/>
                  </a:lnTo>
                  <a:lnTo>
                    <a:pt x="275" y="185"/>
                  </a:lnTo>
                  <a:lnTo>
                    <a:pt x="274" y="187"/>
                  </a:lnTo>
                  <a:lnTo>
                    <a:pt x="272" y="190"/>
                  </a:lnTo>
                  <a:lnTo>
                    <a:pt x="271" y="192"/>
                  </a:lnTo>
                  <a:lnTo>
                    <a:pt x="271" y="195"/>
                  </a:lnTo>
                  <a:lnTo>
                    <a:pt x="271" y="571"/>
                  </a:lnTo>
                  <a:lnTo>
                    <a:pt x="211" y="571"/>
                  </a:lnTo>
                  <a:lnTo>
                    <a:pt x="211" y="406"/>
                  </a:lnTo>
                  <a:lnTo>
                    <a:pt x="211" y="403"/>
                  </a:lnTo>
                  <a:lnTo>
                    <a:pt x="210" y="400"/>
                  </a:lnTo>
                  <a:lnTo>
                    <a:pt x="209" y="398"/>
                  </a:lnTo>
                  <a:lnTo>
                    <a:pt x="207" y="396"/>
                  </a:lnTo>
                  <a:lnTo>
                    <a:pt x="205" y="394"/>
                  </a:lnTo>
                  <a:lnTo>
                    <a:pt x="201" y="392"/>
                  </a:lnTo>
                  <a:lnTo>
                    <a:pt x="199" y="391"/>
                  </a:lnTo>
                  <a:lnTo>
                    <a:pt x="196" y="391"/>
                  </a:lnTo>
                  <a:lnTo>
                    <a:pt x="76" y="391"/>
                  </a:lnTo>
                  <a:lnTo>
                    <a:pt x="73" y="391"/>
                  </a:lnTo>
                  <a:lnTo>
                    <a:pt x="70" y="392"/>
                  </a:lnTo>
                  <a:lnTo>
                    <a:pt x="67" y="394"/>
                  </a:lnTo>
                  <a:lnTo>
                    <a:pt x="65" y="396"/>
                  </a:lnTo>
                  <a:lnTo>
                    <a:pt x="63" y="398"/>
                  </a:lnTo>
                  <a:lnTo>
                    <a:pt x="62" y="400"/>
                  </a:lnTo>
                  <a:lnTo>
                    <a:pt x="61" y="403"/>
                  </a:lnTo>
                  <a:lnTo>
                    <a:pt x="61" y="406"/>
                  </a:lnTo>
                  <a:lnTo>
                    <a:pt x="61" y="571"/>
                  </a:lnTo>
                  <a:lnTo>
                    <a:pt x="16" y="571"/>
                  </a:lnTo>
                  <a:lnTo>
                    <a:pt x="13" y="571"/>
                  </a:lnTo>
                  <a:lnTo>
                    <a:pt x="10" y="572"/>
                  </a:lnTo>
                  <a:lnTo>
                    <a:pt x="7" y="573"/>
                  </a:lnTo>
                  <a:lnTo>
                    <a:pt x="5" y="576"/>
                  </a:lnTo>
                  <a:lnTo>
                    <a:pt x="3" y="578"/>
                  </a:lnTo>
                  <a:lnTo>
                    <a:pt x="2" y="581"/>
                  </a:lnTo>
                  <a:lnTo>
                    <a:pt x="1" y="583"/>
                  </a:lnTo>
                  <a:lnTo>
                    <a:pt x="0" y="586"/>
                  </a:lnTo>
                  <a:lnTo>
                    <a:pt x="1" y="590"/>
                  </a:lnTo>
                  <a:lnTo>
                    <a:pt x="2" y="593"/>
                  </a:lnTo>
                  <a:lnTo>
                    <a:pt x="3" y="595"/>
                  </a:lnTo>
                  <a:lnTo>
                    <a:pt x="5" y="597"/>
                  </a:lnTo>
                  <a:lnTo>
                    <a:pt x="7" y="599"/>
                  </a:lnTo>
                  <a:lnTo>
                    <a:pt x="10" y="600"/>
                  </a:lnTo>
                  <a:lnTo>
                    <a:pt x="13" y="601"/>
                  </a:lnTo>
                  <a:lnTo>
                    <a:pt x="16" y="601"/>
                  </a:lnTo>
                  <a:lnTo>
                    <a:pt x="76" y="601"/>
                  </a:lnTo>
                  <a:lnTo>
                    <a:pt x="196" y="601"/>
                  </a:lnTo>
                  <a:lnTo>
                    <a:pt x="286" y="601"/>
                  </a:lnTo>
                  <a:lnTo>
                    <a:pt x="406" y="601"/>
                  </a:lnTo>
                  <a:lnTo>
                    <a:pt x="497" y="601"/>
                  </a:lnTo>
                  <a:lnTo>
                    <a:pt x="617" y="601"/>
                  </a:lnTo>
                  <a:lnTo>
                    <a:pt x="707" y="601"/>
                  </a:lnTo>
                  <a:lnTo>
                    <a:pt x="827" y="601"/>
                  </a:lnTo>
                  <a:lnTo>
                    <a:pt x="888" y="601"/>
                  </a:lnTo>
                  <a:lnTo>
                    <a:pt x="890" y="601"/>
                  </a:lnTo>
                  <a:lnTo>
                    <a:pt x="893" y="600"/>
                  </a:lnTo>
                  <a:lnTo>
                    <a:pt x="896" y="599"/>
                  </a:lnTo>
                  <a:lnTo>
                    <a:pt x="898" y="597"/>
                  </a:lnTo>
                  <a:lnTo>
                    <a:pt x="900" y="595"/>
                  </a:lnTo>
                  <a:lnTo>
                    <a:pt x="901" y="593"/>
                  </a:lnTo>
                  <a:lnTo>
                    <a:pt x="902" y="590"/>
                  </a:lnTo>
                  <a:lnTo>
                    <a:pt x="903" y="586"/>
                  </a:lnTo>
                  <a:lnTo>
                    <a:pt x="902" y="583"/>
                  </a:lnTo>
                  <a:lnTo>
                    <a:pt x="901" y="581"/>
                  </a:lnTo>
                  <a:lnTo>
                    <a:pt x="900" y="578"/>
                  </a:lnTo>
                  <a:lnTo>
                    <a:pt x="898" y="576"/>
                  </a:lnTo>
                  <a:lnTo>
                    <a:pt x="896" y="573"/>
                  </a:lnTo>
                  <a:lnTo>
                    <a:pt x="893" y="572"/>
                  </a:lnTo>
                  <a:lnTo>
                    <a:pt x="890" y="571"/>
                  </a:lnTo>
                  <a:lnTo>
                    <a:pt x="888" y="5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Freeform 215"/>
            <p:cNvSpPr>
              <a:spLocks noEditPoints="1"/>
            </p:cNvSpPr>
            <p:nvPr/>
          </p:nvSpPr>
          <p:spPr bwMode="auto">
            <a:xfrm>
              <a:off x="10474325" y="2498725"/>
              <a:ext cx="252413" cy="157163"/>
            </a:xfrm>
            <a:custGeom>
              <a:avLst/>
              <a:gdLst>
                <a:gd name="T0" fmla="*/ 83 w 796"/>
                <a:gd name="T1" fmla="*/ 417 h 496"/>
                <a:gd name="T2" fmla="*/ 89 w 796"/>
                <a:gd name="T3" fmla="*/ 431 h 496"/>
                <a:gd name="T4" fmla="*/ 76 w 796"/>
                <a:gd name="T5" fmla="*/ 461 h 496"/>
                <a:gd name="T6" fmla="*/ 43 w 796"/>
                <a:gd name="T7" fmla="*/ 461 h 496"/>
                <a:gd name="T8" fmla="*/ 30 w 796"/>
                <a:gd name="T9" fmla="*/ 430 h 496"/>
                <a:gd name="T10" fmla="*/ 54 w 796"/>
                <a:gd name="T11" fmla="*/ 407 h 496"/>
                <a:gd name="T12" fmla="*/ 302 w 796"/>
                <a:gd name="T13" fmla="*/ 216 h 496"/>
                <a:gd name="T14" fmla="*/ 315 w 796"/>
                <a:gd name="T15" fmla="*/ 247 h 496"/>
                <a:gd name="T16" fmla="*/ 291 w 796"/>
                <a:gd name="T17" fmla="*/ 270 h 496"/>
                <a:gd name="T18" fmla="*/ 260 w 796"/>
                <a:gd name="T19" fmla="*/ 257 h 496"/>
                <a:gd name="T20" fmla="*/ 260 w 796"/>
                <a:gd name="T21" fmla="*/ 224 h 496"/>
                <a:gd name="T22" fmla="*/ 511 w 796"/>
                <a:gd name="T23" fmla="*/ 301 h 496"/>
                <a:gd name="T24" fmla="*/ 530 w 796"/>
                <a:gd name="T25" fmla="*/ 308 h 496"/>
                <a:gd name="T26" fmla="*/ 541 w 796"/>
                <a:gd name="T27" fmla="*/ 331 h 496"/>
                <a:gd name="T28" fmla="*/ 523 w 796"/>
                <a:gd name="T29" fmla="*/ 359 h 496"/>
                <a:gd name="T30" fmla="*/ 490 w 796"/>
                <a:gd name="T31" fmla="*/ 353 h 496"/>
                <a:gd name="T32" fmla="*/ 483 w 796"/>
                <a:gd name="T33" fmla="*/ 320 h 496"/>
                <a:gd name="T34" fmla="*/ 511 w 796"/>
                <a:gd name="T35" fmla="*/ 301 h 496"/>
                <a:gd name="T36" fmla="*/ 757 w 796"/>
                <a:gd name="T37" fmla="*/ 39 h 496"/>
                <a:gd name="T38" fmla="*/ 764 w 796"/>
                <a:gd name="T39" fmla="*/ 72 h 496"/>
                <a:gd name="T40" fmla="*/ 736 w 796"/>
                <a:gd name="T41" fmla="*/ 90 h 496"/>
                <a:gd name="T42" fmla="*/ 708 w 796"/>
                <a:gd name="T43" fmla="*/ 72 h 496"/>
                <a:gd name="T44" fmla="*/ 716 w 796"/>
                <a:gd name="T45" fmla="*/ 39 h 496"/>
                <a:gd name="T46" fmla="*/ 60 w 796"/>
                <a:gd name="T47" fmla="*/ 496 h 496"/>
                <a:gd name="T48" fmla="*/ 93 w 796"/>
                <a:gd name="T49" fmla="*/ 487 h 496"/>
                <a:gd name="T50" fmla="*/ 115 w 796"/>
                <a:gd name="T51" fmla="*/ 460 h 496"/>
                <a:gd name="T52" fmla="*/ 118 w 796"/>
                <a:gd name="T53" fmla="*/ 422 h 496"/>
                <a:gd name="T54" fmla="*/ 276 w 796"/>
                <a:gd name="T55" fmla="*/ 300 h 496"/>
                <a:gd name="T56" fmla="*/ 318 w 796"/>
                <a:gd name="T57" fmla="*/ 291 h 496"/>
                <a:gd name="T58" fmla="*/ 451 w 796"/>
                <a:gd name="T59" fmla="*/ 331 h 496"/>
                <a:gd name="T60" fmla="*/ 461 w 796"/>
                <a:gd name="T61" fmla="*/ 365 h 496"/>
                <a:gd name="T62" fmla="*/ 487 w 796"/>
                <a:gd name="T63" fmla="*/ 387 h 496"/>
                <a:gd name="T64" fmla="*/ 523 w 796"/>
                <a:gd name="T65" fmla="*/ 390 h 496"/>
                <a:gd name="T66" fmla="*/ 554 w 796"/>
                <a:gd name="T67" fmla="*/ 373 h 496"/>
                <a:gd name="T68" fmla="*/ 570 w 796"/>
                <a:gd name="T69" fmla="*/ 343 h 496"/>
                <a:gd name="T70" fmla="*/ 559 w 796"/>
                <a:gd name="T71" fmla="*/ 296 h 496"/>
                <a:gd name="T72" fmla="*/ 742 w 796"/>
                <a:gd name="T73" fmla="*/ 120 h 496"/>
                <a:gd name="T74" fmla="*/ 775 w 796"/>
                <a:gd name="T75" fmla="*/ 106 h 496"/>
                <a:gd name="T76" fmla="*/ 794 w 796"/>
                <a:gd name="T77" fmla="*/ 79 h 496"/>
                <a:gd name="T78" fmla="*/ 794 w 796"/>
                <a:gd name="T79" fmla="*/ 43 h 496"/>
                <a:gd name="T80" fmla="*/ 775 w 796"/>
                <a:gd name="T81" fmla="*/ 14 h 496"/>
                <a:gd name="T82" fmla="*/ 742 w 796"/>
                <a:gd name="T83" fmla="*/ 0 h 496"/>
                <a:gd name="T84" fmla="*/ 708 w 796"/>
                <a:gd name="T85" fmla="*/ 8 h 496"/>
                <a:gd name="T86" fmla="*/ 683 w 796"/>
                <a:gd name="T87" fmla="*/ 31 h 496"/>
                <a:gd name="T88" fmla="*/ 677 w 796"/>
                <a:gd name="T89" fmla="*/ 70 h 496"/>
                <a:gd name="T90" fmla="*/ 524 w 796"/>
                <a:gd name="T91" fmla="*/ 272 h 496"/>
                <a:gd name="T92" fmla="*/ 483 w 796"/>
                <a:gd name="T93" fmla="*/ 278 h 496"/>
                <a:gd name="T94" fmla="*/ 345 w 796"/>
                <a:gd name="T95" fmla="*/ 245 h 496"/>
                <a:gd name="T96" fmla="*/ 339 w 796"/>
                <a:gd name="T97" fmla="*/ 212 h 496"/>
                <a:gd name="T98" fmla="*/ 314 w 796"/>
                <a:gd name="T99" fmla="*/ 188 h 496"/>
                <a:gd name="T100" fmla="*/ 280 w 796"/>
                <a:gd name="T101" fmla="*/ 181 h 496"/>
                <a:gd name="T102" fmla="*/ 247 w 796"/>
                <a:gd name="T103" fmla="*/ 194 h 496"/>
                <a:gd name="T104" fmla="*/ 228 w 796"/>
                <a:gd name="T105" fmla="*/ 223 h 496"/>
                <a:gd name="T106" fmla="*/ 229 w 796"/>
                <a:gd name="T107" fmla="*/ 262 h 496"/>
                <a:gd name="T108" fmla="*/ 60 w 796"/>
                <a:gd name="T109" fmla="*/ 376 h 496"/>
                <a:gd name="T110" fmla="*/ 26 w 796"/>
                <a:gd name="T111" fmla="*/ 387 h 496"/>
                <a:gd name="T112" fmla="*/ 4 w 796"/>
                <a:gd name="T113" fmla="*/ 413 h 496"/>
                <a:gd name="T114" fmla="*/ 1 w 796"/>
                <a:gd name="T115" fmla="*/ 448 h 496"/>
                <a:gd name="T116" fmla="*/ 17 w 796"/>
                <a:gd name="T117" fmla="*/ 479 h 496"/>
                <a:gd name="T118" fmla="*/ 47 w 796"/>
                <a:gd name="T119" fmla="*/ 495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96" h="496">
                  <a:moveTo>
                    <a:pt x="60" y="406"/>
                  </a:moveTo>
                  <a:lnTo>
                    <a:pt x="66" y="407"/>
                  </a:lnTo>
                  <a:lnTo>
                    <a:pt x="73" y="410"/>
                  </a:lnTo>
                  <a:lnTo>
                    <a:pt x="78" y="413"/>
                  </a:lnTo>
                  <a:lnTo>
                    <a:pt x="83" y="417"/>
                  </a:lnTo>
                  <a:lnTo>
                    <a:pt x="83" y="417"/>
                  </a:lnTo>
                  <a:lnTo>
                    <a:pt x="83" y="417"/>
                  </a:lnTo>
                  <a:lnTo>
                    <a:pt x="83" y="417"/>
                  </a:lnTo>
                  <a:lnTo>
                    <a:pt x="83" y="417"/>
                  </a:lnTo>
                  <a:lnTo>
                    <a:pt x="86" y="421"/>
                  </a:lnTo>
                  <a:lnTo>
                    <a:pt x="88" y="426"/>
                  </a:lnTo>
                  <a:lnTo>
                    <a:pt x="89" y="431"/>
                  </a:lnTo>
                  <a:lnTo>
                    <a:pt x="90" y="436"/>
                  </a:lnTo>
                  <a:lnTo>
                    <a:pt x="89" y="443"/>
                  </a:lnTo>
                  <a:lnTo>
                    <a:pt x="88" y="448"/>
                  </a:lnTo>
                  <a:lnTo>
                    <a:pt x="85" y="453"/>
                  </a:lnTo>
                  <a:lnTo>
                    <a:pt x="81" y="458"/>
                  </a:lnTo>
                  <a:lnTo>
                    <a:pt x="76" y="461"/>
                  </a:lnTo>
                  <a:lnTo>
                    <a:pt x="72" y="464"/>
                  </a:lnTo>
                  <a:lnTo>
                    <a:pt x="65" y="466"/>
                  </a:lnTo>
                  <a:lnTo>
                    <a:pt x="60" y="466"/>
                  </a:lnTo>
                  <a:lnTo>
                    <a:pt x="54" y="466"/>
                  </a:lnTo>
                  <a:lnTo>
                    <a:pt x="48" y="464"/>
                  </a:lnTo>
                  <a:lnTo>
                    <a:pt x="43" y="461"/>
                  </a:lnTo>
                  <a:lnTo>
                    <a:pt x="39" y="458"/>
                  </a:lnTo>
                  <a:lnTo>
                    <a:pt x="34" y="453"/>
                  </a:lnTo>
                  <a:lnTo>
                    <a:pt x="32" y="448"/>
                  </a:lnTo>
                  <a:lnTo>
                    <a:pt x="30" y="443"/>
                  </a:lnTo>
                  <a:lnTo>
                    <a:pt x="30" y="436"/>
                  </a:lnTo>
                  <a:lnTo>
                    <a:pt x="30" y="430"/>
                  </a:lnTo>
                  <a:lnTo>
                    <a:pt x="32" y="425"/>
                  </a:lnTo>
                  <a:lnTo>
                    <a:pt x="34" y="419"/>
                  </a:lnTo>
                  <a:lnTo>
                    <a:pt x="39" y="415"/>
                  </a:lnTo>
                  <a:lnTo>
                    <a:pt x="43" y="412"/>
                  </a:lnTo>
                  <a:lnTo>
                    <a:pt x="48" y="409"/>
                  </a:lnTo>
                  <a:lnTo>
                    <a:pt x="54" y="407"/>
                  </a:lnTo>
                  <a:lnTo>
                    <a:pt x="60" y="406"/>
                  </a:lnTo>
                  <a:lnTo>
                    <a:pt x="60" y="406"/>
                  </a:lnTo>
                  <a:close/>
                  <a:moveTo>
                    <a:pt x="285" y="211"/>
                  </a:moveTo>
                  <a:lnTo>
                    <a:pt x="291" y="211"/>
                  </a:lnTo>
                  <a:lnTo>
                    <a:pt x="297" y="214"/>
                  </a:lnTo>
                  <a:lnTo>
                    <a:pt x="302" y="216"/>
                  </a:lnTo>
                  <a:lnTo>
                    <a:pt x="306" y="220"/>
                  </a:lnTo>
                  <a:lnTo>
                    <a:pt x="311" y="224"/>
                  </a:lnTo>
                  <a:lnTo>
                    <a:pt x="313" y="230"/>
                  </a:lnTo>
                  <a:lnTo>
                    <a:pt x="315" y="235"/>
                  </a:lnTo>
                  <a:lnTo>
                    <a:pt x="315" y="241"/>
                  </a:lnTo>
                  <a:lnTo>
                    <a:pt x="315" y="247"/>
                  </a:lnTo>
                  <a:lnTo>
                    <a:pt x="313" y="253"/>
                  </a:lnTo>
                  <a:lnTo>
                    <a:pt x="311" y="257"/>
                  </a:lnTo>
                  <a:lnTo>
                    <a:pt x="306" y="262"/>
                  </a:lnTo>
                  <a:lnTo>
                    <a:pt x="302" y="266"/>
                  </a:lnTo>
                  <a:lnTo>
                    <a:pt x="297" y="268"/>
                  </a:lnTo>
                  <a:lnTo>
                    <a:pt x="291" y="270"/>
                  </a:lnTo>
                  <a:lnTo>
                    <a:pt x="285" y="271"/>
                  </a:lnTo>
                  <a:lnTo>
                    <a:pt x="280" y="270"/>
                  </a:lnTo>
                  <a:lnTo>
                    <a:pt x="273" y="268"/>
                  </a:lnTo>
                  <a:lnTo>
                    <a:pt x="269" y="266"/>
                  </a:lnTo>
                  <a:lnTo>
                    <a:pt x="264" y="262"/>
                  </a:lnTo>
                  <a:lnTo>
                    <a:pt x="260" y="257"/>
                  </a:lnTo>
                  <a:lnTo>
                    <a:pt x="257" y="253"/>
                  </a:lnTo>
                  <a:lnTo>
                    <a:pt x="256" y="247"/>
                  </a:lnTo>
                  <a:lnTo>
                    <a:pt x="255" y="241"/>
                  </a:lnTo>
                  <a:lnTo>
                    <a:pt x="256" y="235"/>
                  </a:lnTo>
                  <a:lnTo>
                    <a:pt x="257" y="230"/>
                  </a:lnTo>
                  <a:lnTo>
                    <a:pt x="260" y="224"/>
                  </a:lnTo>
                  <a:lnTo>
                    <a:pt x="264" y="220"/>
                  </a:lnTo>
                  <a:lnTo>
                    <a:pt x="269" y="216"/>
                  </a:lnTo>
                  <a:lnTo>
                    <a:pt x="273" y="214"/>
                  </a:lnTo>
                  <a:lnTo>
                    <a:pt x="280" y="211"/>
                  </a:lnTo>
                  <a:lnTo>
                    <a:pt x="285" y="211"/>
                  </a:lnTo>
                  <a:close/>
                  <a:moveTo>
                    <a:pt x="511" y="301"/>
                  </a:moveTo>
                  <a:lnTo>
                    <a:pt x="516" y="301"/>
                  </a:lnTo>
                  <a:lnTo>
                    <a:pt x="521" y="302"/>
                  </a:lnTo>
                  <a:lnTo>
                    <a:pt x="526" y="306"/>
                  </a:lnTo>
                  <a:lnTo>
                    <a:pt x="530" y="308"/>
                  </a:lnTo>
                  <a:lnTo>
                    <a:pt x="530" y="308"/>
                  </a:lnTo>
                  <a:lnTo>
                    <a:pt x="530" y="308"/>
                  </a:lnTo>
                  <a:lnTo>
                    <a:pt x="530" y="308"/>
                  </a:lnTo>
                  <a:lnTo>
                    <a:pt x="530" y="308"/>
                  </a:lnTo>
                  <a:lnTo>
                    <a:pt x="535" y="313"/>
                  </a:lnTo>
                  <a:lnTo>
                    <a:pt x="538" y="319"/>
                  </a:lnTo>
                  <a:lnTo>
                    <a:pt x="540" y="325"/>
                  </a:lnTo>
                  <a:lnTo>
                    <a:pt x="541" y="331"/>
                  </a:lnTo>
                  <a:lnTo>
                    <a:pt x="540" y="337"/>
                  </a:lnTo>
                  <a:lnTo>
                    <a:pt x="539" y="343"/>
                  </a:lnTo>
                  <a:lnTo>
                    <a:pt x="536" y="347"/>
                  </a:lnTo>
                  <a:lnTo>
                    <a:pt x="532" y="353"/>
                  </a:lnTo>
                  <a:lnTo>
                    <a:pt x="527" y="356"/>
                  </a:lnTo>
                  <a:lnTo>
                    <a:pt x="523" y="359"/>
                  </a:lnTo>
                  <a:lnTo>
                    <a:pt x="516" y="360"/>
                  </a:lnTo>
                  <a:lnTo>
                    <a:pt x="511" y="361"/>
                  </a:lnTo>
                  <a:lnTo>
                    <a:pt x="505" y="360"/>
                  </a:lnTo>
                  <a:lnTo>
                    <a:pt x="499" y="359"/>
                  </a:lnTo>
                  <a:lnTo>
                    <a:pt x="494" y="356"/>
                  </a:lnTo>
                  <a:lnTo>
                    <a:pt x="490" y="353"/>
                  </a:lnTo>
                  <a:lnTo>
                    <a:pt x="486" y="349"/>
                  </a:lnTo>
                  <a:lnTo>
                    <a:pt x="483" y="343"/>
                  </a:lnTo>
                  <a:lnTo>
                    <a:pt x="481" y="337"/>
                  </a:lnTo>
                  <a:lnTo>
                    <a:pt x="481" y="331"/>
                  </a:lnTo>
                  <a:lnTo>
                    <a:pt x="481" y="325"/>
                  </a:lnTo>
                  <a:lnTo>
                    <a:pt x="483" y="320"/>
                  </a:lnTo>
                  <a:lnTo>
                    <a:pt x="486" y="314"/>
                  </a:lnTo>
                  <a:lnTo>
                    <a:pt x="490" y="310"/>
                  </a:lnTo>
                  <a:lnTo>
                    <a:pt x="494" y="307"/>
                  </a:lnTo>
                  <a:lnTo>
                    <a:pt x="499" y="304"/>
                  </a:lnTo>
                  <a:lnTo>
                    <a:pt x="505" y="301"/>
                  </a:lnTo>
                  <a:lnTo>
                    <a:pt x="511" y="301"/>
                  </a:lnTo>
                  <a:lnTo>
                    <a:pt x="511" y="301"/>
                  </a:lnTo>
                  <a:close/>
                  <a:moveTo>
                    <a:pt x="736" y="30"/>
                  </a:moveTo>
                  <a:lnTo>
                    <a:pt x="742" y="31"/>
                  </a:lnTo>
                  <a:lnTo>
                    <a:pt x="748" y="33"/>
                  </a:lnTo>
                  <a:lnTo>
                    <a:pt x="753" y="36"/>
                  </a:lnTo>
                  <a:lnTo>
                    <a:pt x="757" y="39"/>
                  </a:lnTo>
                  <a:lnTo>
                    <a:pt x="762" y="43"/>
                  </a:lnTo>
                  <a:lnTo>
                    <a:pt x="764" y="49"/>
                  </a:lnTo>
                  <a:lnTo>
                    <a:pt x="766" y="55"/>
                  </a:lnTo>
                  <a:lnTo>
                    <a:pt x="766" y="60"/>
                  </a:lnTo>
                  <a:lnTo>
                    <a:pt x="766" y="67"/>
                  </a:lnTo>
                  <a:lnTo>
                    <a:pt x="764" y="72"/>
                  </a:lnTo>
                  <a:lnTo>
                    <a:pt x="762" y="78"/>
                  </a:lnTo>
                  <a:lnTo>
                    <a:pt x="757" y="82"/>
                  </a:lnTo>
                  <a:lnTo>
                    <a:pt x="753" y="85"/>
                  </a:lnTo>
                  <a:lnTo>
                    <a:pt x="748" y="88"/>
                  </a:lnTo>
                  <a:lnTo>
                    <a:pt x="742" y="90"/>
                  </a:lnTo>
                  <a:lnTo>
                    <a:pt x="736" y="90"/>
                  </a:lnTo>
                  <a:lnTo>
                    <a:pt x="731" y="90"/>
                  </a:lnTo>
                  <a:lnTo>
                    <a:pt x="724" y="88"/>
                  </a:lnTo>
                  <a:lnTo>
                    <a:pt x="720" y="85"/>
                  </a:lnTo>
                  <a:lnTo>
                    <a:pt x="716" y="82"/>
                  </a:lnTo>
                  <a:lnTo>
                    <a:pt x="711" y="78"/>
                  </a:lnTo>
                  <a:lnTo>
                    <a:pt x="708" y="72"/>
                  </a:lnTo>
                  <a:lnTo>
                    <a:pt x="707" y="67"/>
                  </a:lnTo>
                  <a:lnTo>
                    <a:pt x="706" y="60"/>
                  </a:lnTo>
                  <a:lnTo>
                    <a:pt x="707" y="55"/>
                  </a:lnTo>
                  <a:lnTo>
                    <a:pt x="708" y="49"/>
                  </a:lnTo>
                  <a:lnTo>
                    <a:pt x="711" y="43"/>
                  </a:lnTo>
                  <a:lnTo>
                    <a:pt x="716" y="39"/>
                  </a:lnTo>
                  <a:lnTo>
                    <a:pt x="720" y="36"/>
                  </a:lnTo>
                  <a:lnTo>
                    <a:pt x="724" y="33"/>
                  </a:lnTo>
                  <a:lnTo>
                    <a:pt x="731" y="31"/>
                  </a:lnTo>
                  <a:lnTo>
                    <a:pt x="736" y="30"/>
                  </a:lnTo>
                  <a:lnTo>
                    <a:pt x="736" y="30"/>
                  </a:lnTo>
                  <a:close/>
                  <a:moveTo>
                    <a:pt x="60" y="496"/>
                  </a:moveTo>
                  <a:lnTo>
                    <a:pt x="66" y="496"/>
                  </a:lnTo>
                  <a:lnTo>
                    <a:pt x="72" y="495"/>
                  </a:lnTo>
                  <a:lnTo>
                    <a:pt x="77" y="494"/>
                  </a:lnTo>
                  <a:lnTo>
                    <a:pt x="84" y="492"/>
                  </a:lnTo>
                  <a:lnTo>
                    <a:pt x="89" y="489"/>
                  </a:lnTo>
                  <a:lnTo>
                    <a:pt x="93" y="487"/>
                  </a:lnTo>
                  <a:lnTo>
                    <a:pt x="98" y="482"/>
                  </a:lnTo>
                  <a:lnTo>
                    <a:pt x="102" y="479"/>
                  </a:lnTo>
                  <a:lnTo>
                    <a:pt x="106" y="475"/>
                  </a:lnTo>
                  <a:lnTo>
                    <a:pt x="109" y="470"/>
                  </a:lnTo>
                  <a:lnTo>
                    <a:pt x="113" y="465"/>
                  </a:lnTo>
                  <a:lnTo>
                    <a:pt x="115" y="460"/>
                  </a:lnTo>
                  <a:lnTo>
                    <a:pt x="117" y="455"/>
                  </a:lnTo>
                  <a:lnTo>
                    <a:pt x="119" y="448"/>
                  </a:lnTo>
                  <a:lnTo>
                    <a:pt x="120" y="443"/>
                  </a:lnTo>
                  <a:lnTo>
                    <a:pt x="120" y="436"/>
                  </a:lnTo>
                  <a:lnTo>
                    <a:pt x="119" y="429"/>
                  </a:lnTo>
                  <a:lnTo>
                    <a:pt x="118" y="422"/>
                  </a:lnTo>
                  <a:lnTo>
                    <a:pt x="116" y="416"/>
                  </a:lnTo>
                  <a:lnTo>
                    <a:pt x="114" y="410"/>
                  </a:lnTo>
                  <a:lnTo>
                    <a:pt x="251" y="291"/>
                  </a:lnTo>
                  <a:lnTo>
                    <a:pt x="259" y="295"/>
                  </a:lnTo>
                  <a:lnTo>
                    <a:pt x="267" y="298"/>
                  </a:lnTo>
                  <a:lnTo>
                    <a:pt x="276" y="300"/>
                  </a:lnTo>
                  <a:lnTo>
                    <a:pt x="285" y="301"/>
                  </a:lnTo>
                  <a:lnTo>
                    <a:pt x="292" y="300"/>
                  </a:lnTo>
                  <a:lnTo>
                    <a:pt x="300" y="299"/>
                  </a:lnTo>
                  <a:lnTo>
                    <a:pt x="306" y="297"/>
                  </a:lnTo>
                  <a:lnTo>
                    <a:pt x="313" y="294"/>
                  </a:lnTo>
                  <a:lnTo>
                    <a:pt x="318" y="291"/>
                  </a:lnTo>
                  <a:lnTo>
                    <a:pt x="325" y="286"/>
                  </a:lnTo>
                  <a:lnTo>
                    <a:pt x="329" y="282"/>
                  </a:lnTo>
                  <a:lnTo>
                    <a:pt x="333" y="277"/>
                  </a:lnTo>
                  <a:lnTo>
                    <a:pt x="451" y="324"/>
                  </a:lnTo>
                  <a:lnTo>
                    <a:pt x="451" y="327"/>
                  </a:lnTo>
                  <a:lnTo>
                    <a:pt x="451" y="331"/>
                  </a:lnTo>
                  <a:lnTo>
                    <a:pt x="451" y="338"/>
                  </a:lnTo>
                  <a:lnTo>
                    <a:pt x="452" y="343"/>
                  </a:lnTo>
                  <a:lnTo>
                    <a:pt x="453" y="350"/>
                  </a:lnTo>
                  <a:lnTo>
                    <a:pt x="455" y="355"/>
                  </a:lnTo>
                  <a:lnTo>
                    <a:pt x="457" y="360"/>
                  </a:lnTo>
                  <a:lnTo>
                    <a:pt x="461" y="365"/>
                  </a:lnTo>
                  <a:lnTo>
                    <a:pt x="464" y="370"/>
                  </a:lnTo>
                  <a:lnTo>
                    <a:pt x="468" y="374"/>
                  </a:lnTo>
                  <a:lnTo>
                    <a:pt x="472" y="377"/>
                  </a:lnTo>
                  <a:lnTo>
                    <a:pt x="477" y="381"/>
                  </a:lnTo>
                  <a:lnTo>
                    <a:pt x="482" y="384"/>
                  </a:lnTo>
                  <a:lnTo>
                    <a:pt x="487" y="387"/>
                  </a:lnTo>
                  <a:lnTo>
                    <a:pt x="493" y="388"/>
                  </a:lnTo>
                  <a:lnTo>
                    <a:pt x="498" y="390"/>
                  </a:lnTo>
                  <a:lnTo>
                    <a:pt x="505" y="391"/>
                  </a:lnTo>
                  <a:lnTo>
                    <a:pt x="511" y="391"/>
                  </a:lnTo>
                  <a:lnTo>
                    <a:pt x="517" y="391"/>
                  </a:lnTo>
                  <a:lnTo>
                    <a:pt x="523" y="390"/>
                  </a:lnTo>
                  <a:lnTo>
                    <a:pt x="529" y="388"/>
                  </a:lnTo>
                  <a:lnTo>
                    <a:pt x="535" y="387"/>
                  </a:lnTo>
                  <a:lnTo>
                    <a:pt x="540" y="384"/>
                  </a:lnTo>
                  <a:lnTo>
                    <a:pt x="544" y="381"/>
                  </a:lnTo>
                  <a:lnTo>
                    <a:pt x="550" y="377"/>
                  </a:lnTo>
                  <a:lnTo>
                    <a:pt x="554" y="373"/>
                  </a:lnTo>
                  <a:lnTo>
                    <a:pt x="557" y="370"/>
                  </a:lnTo>
                  <a:lnTo>
                    <a:pt x="560" y="365"/>
                  </a:lnTo>
                  <a:lnTo>
                    <a:pt x="564" y="360"/>
                  </a:lnTo>
                  <a:lnTo>
                    <a:pt x="567" y="355"/>
                  </a:lnTo>
                  <a:lnTo>
                    <a:pt x="568" y="350"/>
                  </a:lnTo>
                  <a:lnTo>
                    <a:pt x="570" y="343"/>
                  </a:lnTo>
                  <a:lnTo>
                    <a:pt x="571" y="338"/>
                  </a:lnTo>
                  <a:lnTo>
                    <a:pt x="571" y="331"/>
                  </a:lnTo>
                  <a:lnTo>
                    <a:pt x="570" y="322"/>
                  </a:lnTo>
                  <a:lnTo>
                    <a:pt x="568" y="312"/>
                  </a:lnTo>
                  <a:lnTo>
                    <a:pt x="565" y="304"/>
                  </a:lnTo>
                  <a:lnTo>
                    <a:pt x="559" y="296"/>
                  </a:lnTo>
                  <a:lnTo>
                    <a:pt x="710" y="115"/>
                  </a:lnTo>
                  <a:lnTo>
                    <a:pt x="717" y="117"/>
                  </a:lnTo>
                  <a:lnTo>
                    <a:pt x="723" y="119"/>
                  </a:lnTo>
                  <a:lnTo>
                    <a:pt x="730" y="120"/>
                  </a:lnTo>
                  <a:lnTo>
                    <a:pt x="736" y="120"/>
                  </a:lnTo>
                  <a:lnTo>
                    <a:pt x="742" y="120"/>
                  </a:lnTo>
                  <a:lnTo>
                    <a:pt x="749" y="119"/>
                  </a:lnTo>
                  <a:lnTo>
                    <a:pt x="754" y="118"/>
                  </a:lnTo>
                  <a:lnTo>
                    <a:pt x="760" y="116"/>
                  </a:lnTo>
                  <a:lnTo>
                    <a:pt x="765" y="114"/>
                  </a:lnTo>
                  <a:lnTo>
                    <a:pt x="770" y="111"/>
                  </a:lnTo>
                  <a:lnTo>
                    <a:pt x="775" y="106"/>
                  </a:lnTo>
                  <a:lnTo>
                    <a:pt x="779" y="103"/>
                  </a:lnTo>
                  <a:lnTo>
                    <a:pt x="783" y="99"/>
                  </a:lnTo>
                  <a:lnTo>
                    <a:pt x="786" y="95"/>
                  </a:lnTo>
                  <a:lnTo>
                    <a:pt x="790" y="89"/>
                  </a:lnTo>
                  <a:lnTo>
                    <a:pt x="792" y="84"/>
                  </a:lnTo>
                  <a:lnTo>
                    <a:pt x="794" y="79"/>
                  </a:lnTo>
                  <a:lnTo>
                    <a:pt x="795" y="73"/>
                  </a:lnTo>
                  <a:lnTo>
                    <a:pt x="796" y="67"/>
                  </a:lnTo>
                  <a:lnTo>
                    <a:pt x="796" y="60"/>
                  </a:lnTo>
                  <a:lnTo>
                    <a:pt x="796" y="54"/>
                  </a:lnTo>
                  <a:lnTo>
                    <a:pt x="795" y="49"/>
                  </a:lnTo>
                  <a:lnTo>
                    <a:pt x="794" y="43"/>
                  </a:lnTo>
                  <a:lnTo>
                    <a:pt x="792" y="37"/>
                  </a:lnTo>
                  <a:lnTo>
                    <a:pt x="790" y="31"/>
                  </a:lnTo>
                  <a:lnTo>
                    <a:pt x="786" y="27"/>
                  </a:lnTo>
                  <a:lnTo>
                    <a:pt x="783" y="23"/>
                  </a:lnTo>
                  <a:lnTo>
                    <a:pt x="779" y="19"/>
                  </a:lnTo>
                  <a:lnTo>
                    <a:pt x="775" y="14"/>
                  </a:lnTo>
                  <a:lnTo>
                    <a:pt x="770" y="11"/>
                  </a:lnTo>
                  <a:lnTo>
                    <a:pt x="765" y="8"/>
                  </a:lnTo>
                  <a:lnTo>
                    <a:pt x="760" y="5"/>
                  </a:lnTo>
                  <a:lnTo>
                    <a:pt x="754" y="4"/>
                  </a:lnTo>
                  <a:lnTo>
                    <a:pt x="749" y="1"/>
                  </a:lnTo>
                  <a:lnTo>
                    <a:pt x="742" y="0"/>
                  </a:lnTo>
                  <a:lnTo>
                    <a:pt x="736" y="0"/>
                  </a:lnTo>
                  <a:lnTo>
                    <a:pt x="731" y="0"/>
                  </a:lnTo>
                  <a:lnTo>
                    <a:pt x="724" y="1"/>
                  </a:lnTo>
                  <a:lnTo>
                    <a:pt x="719" y="4"/>
                  </a:lnTo>
                  <a:lnTo>
                    <a:pt x="712" y="5"/>
                  </a:lnTo>
                  <a:lnTo>
                    <a:pt x="708" y="8"/>
                  </a:lnTo>
                  <a:lnTo>
                    <a:pt x="703" y="11"/>
                  </a:lnTo>
                  <a:lnTo>
                    <a:pt x="698" y="14"/>
                  </a:lnTo>
                  <a:lnTo>
                    <a:pt x="694" y="19"/>
                  </a:lnTo>
                  <a:lnTo>
                    <a:pt x="690" y="22"/>
                  </a:lnTo>
                  <a:lnTo>
                    <a:pt x="687" y="27"/>
                  </a:lnTo>
                  <a:lnTo>
                    <a:pt x="683" y="31"/>
                  </a:lnTo>
                  <a:lnTo>
                    <a:pt x="681" y="37"/>
                  </a:lnTo>
                  <a:lnTo>
                    <a:pt x="679" y="43"/>
                  </a:lnTo>
                  <a:lnTo>
                    <a:pt x="677" y="49"/>
                  </a:lnTo>
                  <a:lnTo>
                    <a:pt x="676" y="54"/>
                  </a:lnTo>
                  <a:lnTo>
                    <a:pt x="676" y="60"/>
                  </a:lnTo>
                  <a:lnTo>
                    <a:pt x="677" y="70"/>
                  </a:lnTo>
                  <a:lnTo>
                    <a:pt x="679" y="80"/>
                  </a:lnTo>
                  <a:lnTo>
                    <a:pt x="682" y="88"/>
                  </a:lnTo>
                  <a:lnTo>
                    <a:pt x="688" y="96"/>
                  </a:lnTo>
                  <a:lnTo>
                    <a:pt x="537" y="277"/>
                  </a:lnTo>
                  <a:lnTo>
                    <a:pt x="530" y="275"/>
                  </a:lnTo>
                  <a:lnTo>
                    <a:pt x="524" y="272"/>
                  </a:lnTo>
                  <a:lnTo>
                    <a:pt x="517" y="271"/>
                  </a:lnTo>
                  <a:lnTo>
                    <a:pt x="511" y="271"/>
                  </a:lnTo>
                  <a:lnTo>
                    <a:pt x="504" y="271"/>
                  </a:lnTo>
                  <a:lnTo>
                    <a:pt x="496" y="272"/>
                  </a:lnTo>
                  <a:lnTo>
                    <a:pt x="490" y="275"/>
                  </a:lnTo>
                  <a:lnTo>
                    <a:pt x="483" y="278"/>
                  </a:lnTo>
                  <a:lnTo>
                    <a:pt x="478" y="281"/>
                  </a:lnTo>
                  <a:lnTo>
                    <a:pt x="472" y="285"/>
                  </a:lnTo>
                  <a:lnTo>
                    <a:pt x="467" y="291"/>
                  </a:lnTo>
                  <a:lnTo>
                    <a:pt x="463" y="296"/>
                  </a:lnTo>
                  <a:lnTo>
                    <a:pt x="345" y="249"/>
                  </a:lnTo>
                  <a:lnTo>
                    <a:pt x="345" y="245"/>
                  </a:lnTo>
                  <a:lnTo>
                    <a:pt x="345" y="241"/>
                  </a:lnTo>
                  <a:lnTo>
                    <a:pt x="345" y="235"/>
                  </a:lnTo>
                  <a:lnTo>
                    <a:pt x="344" y="229"/>
                  </a:lnTo>
                  <a:lnTo>
                    <a:pt x="343" y="223"/>
                  </a:lnTo>
                  <a:lnTo>
                    <a:pt x="341" y="218"/>
                  </a:lnTo>
                  <a:lnTo>
                    <a:pt x="339" y="212"/>
                  </a:lnTo>
                  <a:lnTo>
                    <a:pt x="335" y="207"/>
                  </a:lnTo>
                  <a:lnTo>
                    <a:pt x="332" y="203"/>
                  </a:lnTo>
                  <a:lnTo>
                    <a:pt x="328" y="199"/>
                  </a:lnTo>
                  <a:lnTo>
                    <a:pt x="324" y="194"/>
                  </a:lnTo>
                  <a:lnTo>
                    <a:pt x="319" y="191"/>
                  </a:lnTo>
                  <a:lnTo>
                    <a:pt x="314" y="188"/>
                  </a:lnTo>
                  <a:lnTo>
                    <a:pt x="309" y="186"/>
                  </a:lnTo>
                  <a:lnTo>
                    <a:pt x="303" y="184"/>
                  </a:lnTo>
                  <a:lnTo>
                    <a:pt x="298" y="182"/>
                  </a:lnTo>
                  <a:lnTo>
                    <a:pt x="291" y="181"/>
                  </a:lnTo>
                  <a:lnTo>
                    <a:pt x="285" y="180"/>
                  </a:lnTo>
                  <a:lnTo>
                    <a:pt x="280" y="181"/>
                  </a:lnTo>
                  <a:lnTo>
                    <a:pt x="273" y="182"/>
                  </a:lnTo>
                  <a:lnTo>
                    <a:pt x="268" y="184"/>
                  </a:lnTo>
                  <a:lnTo>
                    <a:pt x="261" y="186"/>
                  </a:lnTo>
                  <a:lnTo>
                    <a:pt x="257" y="188"/>
                  </a:lnTo>
                  <a:lnTo>
                    <a:pt x="252" y="191"/>
                  </a:lnTo>
                  <a:lnTo>
                    <a:pt x="247" y="194"/>
                  </a:lnTo>
                  <a:lnTo>
                    <a:pt x="243" y="199"/>
                  </a:lnTo>
                  <a:lnTo>
                    <a:pt x="239" y="203"/>
                  </a:lnTo>
                  <a:lnTo>
                    <a:pt x="236" y="207"/>
                  </a:lnTo>
                  <a:lnTo>
                    <a:pt x="232" y="212"/>
                  </a:lnTo>
                  <a:lnTo>
                    <a:pt x="230" y="218"/>
                  </a:lnTo>
                  <a:lnTo>
                    <a:pt x="228" y="223"/>
                  </a:lnTo>
                  <a:lnTo>
                    <a:pt x="226" y="229"/>
                  </a:lnTo>
                  <a:lnTo>
                    <a:pt x="225" y="235"/>
                  </a:lnTo>
                  <a:lnTo>
                    <a:pt x="225" y="241"/>
                  </a:lnTo>
                  <a:lnTo>
                    <a:pt x="226" y="248"/>
                  </a:lnTo>
                  <a:lnTo>
                    <a:pt x="227" y="255"/>
                  </a:lnTo>
                  <a:lnTo>
                    <a:pt x="229" y="262"/>
                  </a:lnTo>
                  <a:lnTo>
                    <a:pt x="231" y="267"/>
                  </a:lnTo>
                  <a:lnTo>
                    <a:pt x="94" y="387"/>
                  </a:lnTo>
                  <a:lnTo>
                    <a:pt x="86" y="383"/>
                  </a:lnTo>
                  <a:lnTo>
                    <a:pt x="78" y="380"/>
                  </a:lnTo>
                  <a:lnTo>
                    <a:pt x="69" y="377"/>
                  </a:lnTo>
                  <a:lnTo>
                    <a:pt x="60" y="376"/>
                  </a:lnTo>
                  <a:lnTo>
                    <a:pt x="54" y="376"/>
                  </a:lnTo>
                  <a:lnTo>
                    <a:pt x="47" y="377"/>
                  </a:lnTo>
                  <a:lnTo>
                    <a:pt x="42" y="379"/>
                  </a:lnTo>
                  <a:lnTo>
                    <a:pt x="36" y="381"/>
                  </a:lnTo>
                  <a:lnTo>
                    <a:pt x="31" y="384"/>
                  </a:lnTo>
                  <a:lnTo>
                    <a:pt x="26" y="387"/>
                  </a:lnTo>
                  <a:lnTo>
                    <a:pt x="21" y="390"/>
                  </a:lnTo>
                  <a:lnTo>
                    <a:pt x="17" y="394"/>
                  </a:lnTo>
                  <a:lnTo>
                    <a:pt x="13" y="398"/>
                  </a:lnTo>
                  <a:lnTo>
                    <a:pt x="10" y="403"/>
                  </a:lnTo>
                  <a:lnTo>
                    <a:pt x="6" y="407"/>
                  </a:lnTo>
                  <a:lnTo>
                    <a:pt x="4" y="413"/>
                  </a:lnTo>
                  <a:lnTo>
                    <a:pt x="2" y="418"/>
                  </a:lnTo>
                  <a:lnTo>
                    <a:pt x="1" y="425"/>
                  </a:lnTo>
                  <a:lnTo>
                    <a:pt x="0" y="430"/>
                  </a:lnTo>
                  <a:lnTo>
                    <a:pt x="0" y="436"/>
                  </a:lnTo>
                  <a:lnTo>
                    <a:pt x="0" y="443"/>
                  </a:lnTo>
                  <a:lnTo>
                    <a:pt x="1" y="448"/>
                  </a:lnTo>
                  <a:lnTo>
                    <a:pt x="2" y="455"/>
                  </a:lnTo>
                  <a:lnTo>
                    <a:pt x="4" y="460"/>
                  </a:lnTo>
                  <a:lnTo>
                    <a:pt x="6" y="465"/>
                  </a:lnTo>
                  <a:lnTo>
                    <a:pt x="10" y="470"/>
                  </a:lnTo>
                  <a:lnTo>
                    <a:pt x="13" y="475"/>
                  </a:lnTo>
                  <a:lnTo>
                    <a:pt x="17" y="479"/>
                  </a:lnTo>
                  <a:lnTo>
                    <a:pt x="21" y="482"/>
                  </a:lnTo>
                  <a:lnTo>
                    <a:pt x="26" y="487"/>
                  </a:lnTo>
                  <a:lnTo>
                    <a:pt x="31" y="489"/>
                  </a:lnTo>
                  <a:lnTo>
                    <a:pt x="36" y="492"/>
                  </a:lnTo>
                  <a:lnTo>
                    <a:pt x="42" y="494"/>
                  </a:lnTo>
                  <a:lnTo>
                    <a:pt x="47" y="495"/>
                  </a:lnTo>
                  <a:lnTo>
                    <a:pt x="54" y="496"/>
                  </a:lnTo>
                  <a:lnTo>
                    <a:pt x="60" y="4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79886202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reeform 36"/>
          <p:cNvSpPr>
            <a:spLocks noChangeAspect="1" noEditPoints="1"/>
          </p:cNvSpPr>
          <p:nvPr/>
        </p:nvSpPr>
        <p:spPr bwMode="auto">
          <a:xfrm>
            <a:off x="1276352" y="1220321"/>
            <a:ext cx="9639298" cy="4967186"/>
          </a:xfrm>
          <a:custGeom>
            <a:avLst/>
            <a:gdLst>
              <a:gd name="T0" fmla="*/ 2147483647 w 13744"/>
              <a:gd name="T1" fmla="*/ 2147483647 h 7946"/>
              <a:gd name="T2" fmla="*/ 2147483647 w 13744"/>
              <a:gd name="T3" fmla="*/ 2147483647 h 7946"/>
              <a:gd name="T4" fmla="*/ 2147483647 w 13744"/>
              <a:gd name="T5" fmla="*/ 2147483647 h 7946"/>
              <a:gd name="T6" fmla="*/ 2147483647 w 13744"/>
              <a:gd name="T7" fmla="*/ 2147483647 h 7946"/>
              <a:gd name="T8" fmla="*/ 2147483647 w 13744"/>
              <a:gd name="T9" fmla="*/ 2147483647 h 7946"/>
              <a:gd name="T10" fmla="*/ 2147483647 w 13744"/>
              <a:gd name="T11" fmla="*/ 2147483647 h 7946"/>
              <a:gd name="T12" fmla="*/ 2147483647 w 13744"/>
              <a:gd name="T13" fmla="*/ 2147483647 h 7946"/>
              <a:gd name="T14" fmla="*/ 2147483647 w 13744"/>
              <a:gd name="T15" fmla="*/ 2147483647 h 7946"/>
              <a:gd name="T16" fmla="*/ 2147483647 w 13744"/>
              <a:gd name="T17" fmla="*/ 2147483647 h 7946"/>
              <a:gd name="T18" fmla="*/ 2147483647 w 13744"/>
              <a:gd name="T19" fmla="*/ 2147483647 h 7946"/>
              <a:gd name="T20" fmla="*/ 2147483647 w 13744"/>
              <a:gd name="T21" fmla="*/ 2147483647 h 7946"/>
              <a:gd name="T22" fmla="*/ 2147483647 w 13744"/>
              <a:gd name="T23" fmla="*/ 2147483647 h 7946"/>
              <a:gd name="T24" fmla="*/ 2147483647 w 13744"/>
              <a:gd name="T25" fmla="*/ 2147483647 h 7946"/>
              <a:gd name="T26" fmla="*/ 2147483647 w 13744"/>
              <a:gd name="T27" fmla="*/ 2147483647 h 7946"/>
              <a:gd name="T28" fmla="*/ 2147483647 w 13744"/>
              <a:gd name="T29" fmla="*/ 2147483647 h 7946"/>
              <a:gd name="T30" fmla="*/ 2147483647 w 13744"/>
              <a:gd name="T31" fmla="*/ 2147483647 h 7946"/>
              <a:gd name="T32" fmla="*/ 2147483647 w 13744"/>
              <a:gd name="T33" fmla="*/ 2147483647 h 7946"/>
              <a:gd name="T34" fmla="*/ 2147483647 w 13744"/>
              <a:gd name="T35" fmla="*/ 2147483647 h 7946"/>
              <a:gd name="T36" fmla="*/ 2147483647 w 13744"/>
              <a:gd name="T37" fmla="*/ 2147483647 h 7946"/>
              <a:gd name="T38" fmla="*/ 2147483647 w 13744"/>
              <a:gd name="T39" fmla="*/ 2147483647 h 7946"/>
              <a:gd name="T40" fmla="*/ 2147483647 w 13744"/>
              <a:gd name="T41" fmla="*/ 2147483647 h 7946"/>
              <a:gd name="T42" fmla="*/ 2147483647 w 13744"/>
              <a:gd name="T43" fmla="*/ 2147483647 h 7946"/>
              <a:gd name="T44" fmla="*/ 2147483647 w 13744"/>
              <a:gd name="T45" fmla="*/ 2147483647 h 7946"/>
              <a:gd name="T46" fmla="*/ 2147483647 w 13744"/>
              <a:gd name="T47" fmla="*/ 2147483647 h 7946"/>
              <a:gd name="T48" fmla="*/ 2147483647 w 13744"/>
              <a:gd name="T49" fmla="*/ 2147483647 h 7946"/>
              <a:gd name="T50" fmla="*/ 2147483647 w 13744"/>
              <a:gd name="T51" fmla="*/ 2147483647 h 7946"/>
              <a:gd name="T52" fmla="*/ 2147483647 w 13744"/>
              <a:gd name="T53" fmla="*/ 2147483647 h 7946"/>
              <a:gd name="T54" fmla="*/ 2147483647 w 13744"/>
              <a:gd name="T55" fmla="*/ 2147483647 h 7946"/>
              <a:gd name="T56" fmla="*/ 2147483647 w 13744"/>
              <a:gd name="T57" fmla="*/ 2147483647 h 7946"/>
              <a:gd name="T58" fmla="*/ 2147483647 w 13744"/>
              <a:gd name="T59" fmla="*/ 2147483647 h 7946"/>
              <a:gd name="T60" fmla="*/ 2147483647 w 13744"/>
              <a:gd name="T61" fmla="*/ 2147483647 h 7946"/>
              <a:gd name="T62" fmla="*/ 2147483647 w 13744"/>
              <a:gd name="T63" fmla="*/ 2147483647 h 7946"/>
              <a:gd name="T64" fmla="*/ 2147483647 w 13744"/>
              <a:gd name="T65" fmla="*/ 2147483647 h 7946"/>
              <a:gd name="T66" fmla="*/ 2147483647 w 13744"/>
              <a:gd name="T67" fmla="*/ 2147483647 h 7946"/>
              <a:gd name="T68" fmla="*/ 2147483647 w 13744"/>
              <a:gd name="T69" fmla="*/ 2147483647 h 7946"/>
              <a:gd name="T70" fmla="*/ 2147483647 w 13744"/>
              <a:gd name="T71" fmla="*/ 2147483647 h 7946"/>
              <a:gd name="T72" fmla="*/ 2147483647 w 13744"/>
              <a:gd name="T73" fmla="*/ 2147483647 h 7946"/>
              <a:gd name="T74" fmla="*/ 2147483647 w 13744"/>
              <a:gd name="T75" fmla="*/ 2147483647 h 7946"/>
              <a:gd name="T76" fmla="*/ 2147483647 w 13744"/>
              <a:gd name="T77" fmla="*/ 2147483647 h 7946"/>
              <a:gd name="T78" fmla="*/ 2147483647 w 13744"/>
              <a:gd name="T79" fmla="*/ 2147483647 h 7946"/>
              <a:gd name="T80" fmla="*/ 2147483647 w 13744"/>
              <a:gd name="T81" fmla="*/ 2147483647 h 7946"/>
              <a:gd name="T82" fmla="*/ 2147483647 w 13744"/>
              <a:gd name="T83" fmla="*/ 2147483647 h 7946"/>
              <a:gd name="T84" fmla="*/ 2147483647 w 13744"/>
              <a:gd name="T85" fmla="*/ 2147483647 h 7946"/>
              <a:gd name="T86" fmla="*/ 2147483647 w 13744"/>
              <a:gd name="T87" fmla="*/ 2147483647 h 7946"/>
              <a:gd name="T88" fmla="*/ 2147483647 w 13744"/>
              <a:gd name="T89" fmla="*/ 2147483647 h 7946"/>
              <a:gd name="T90" fmla="*/ 2147483647 w 13744"/>
              <a:gd name="T91" fmla="*/ 2147483647 h 7946"/>
              <a:gd name="T92" fmla="*/ 2147483647 w 13744"/>
              <a:gd name="T93" fmla="*/ 2147483647 h 7946"/>
              <a:gd name="T94" fmla="*/ 2147483647 w 13744"/>
              <a:gd name="T95" fmla="*/ 2147483647 h 7946"/>
              <a:gd name="T96" fmla="*/ 2147483647 w 13744"/>
              <a:gd name="T97" fmla="*/ 2147483647 h 7946"/>
              <a:gd name="T98" fmla="*/ 2147483647 w 13744"/>
              <a:gd name="T99" fmla="*/ 2147483647 h 7946"/>
              <a:gd name="T100" fmla="*/ 2147483647 w 13744"/>
              <a:gd name="T101" fmla="*/ 2147483647 h 7946"/>
              <a:gd name="T102" fmla="*/ 2147483647 w 13744"/>
              <a:gd name="T103" fmla="*/ 2147483647 h 7946"/>
              <a:gd name="T104" fmla="*/ 2147483647 w 13744"/>
              <a:gd name="T105" fmla="*/ 2147483647 h 7946"/>
              <a:gd name="T106" fmla="*/ 2147483647 w 13744"/>
              <a:gd name="T107" fmla="*/ 2147483647 h 7946"/>
              <a:gd name="T108" fmla="*/ 2147483647 w 13744"/>
              <a:gd name="T109" fmla="*/ 2147483647 h 7946"/>
              <a:gd name="T110" fmla="*/ 2147483647 w 13744"/>
              <a:gd name="T111" fmla="*/ 2147483647 h 7946"/>
              <a:gd name="T112" fmla="*/ 2147483647 w 13744"/>
              <a:gd name="T113" fmla="*/ 2147483647 h 7946"/>
              <a:gd name="T114" fmla="*/ 2147483647 w 13744"/>
              <a:gd name="T115" fmla="*/ 2147483647 h 7946"/>
              <a:gd name="T116" fmla="*/ 2147483647 w 13744"/>
              <a:gd name="T117" fmla="*/ 2147483647 h 7946"/>
              <a:gd name="T118" fmla="*/ 2147483647 w 13744"/>
              <a:gd name="T119" fmla="*/ 2147483647 h 7946"/>
              <a:gd name="T120" fmla="*/ 2147483647 w 13744"/>
              <a:gd name="T121" fmla="*/ 2147483647 h 7946"/>
              <a:gd name="T122" fmla="*/ 2147483647 w 13744"/>
              <a:gd name="T123" fmla="*/ 2147483647 h 7946"/>
              <a:gd name="T124" fmla="*/ 2147483647 w 13744"/>
              <a:gd name="T125" fmla="*/ 2147483647 h 794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13744"/>
              <a:gd name="T190" fmla="*/ 0 h 7946"/>
              <a:gd name="T191" fmla="*/ 13744 w 13744"/>
              <a:gd name="T192" fmla="*/ 7946 h 794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13744" h="7946">
                <a:moveTo>
                  <a:pt x="3858" y="2900"/>
                </a:moveTo>
                <a:lnTo>
                  <a:pt x="3858" y="2900"/>
                </a:lnTo>
                <a:lnTo>
                  <a:pt x="3862" y="2896"/>
                </a:lnTo>
                <a:lnTo>
                  <a:pt x="3862" y="2894"/>
                </a:lnTo>
                <a:lnTo>
                  <a:pt x="3856" y="2896"/>
                </a:lnTo>
                <a:lnTo>
                  <a:pt x="3850" y="2902"/>
                </a:lnTo>
                <a:lnTo>
                  <a:pt x="3842" y="2906"/>
                </a:lnTo>
                <a:lnTo>
                  <a:pt x="3834" y="2906"/>
                </a:lnTo>
                <a:lnTo>
                  <a:pt x="3828" y="2906"/>
                </a:lnTo>
                <a:lnTo>
                  <a:pt x="3824" y="2908"/>
                </a:lnTo>
                <a:lnTo>
                  <a:pt x="3820" y="2908"/>
                </a:lnTo>
                <a:lnTo>
                  <a:pt x="3818" y="2908"/>
                </a:lnTo>
                <a:lnTo>
                  <a:pt x="3814" y="2908"/>
                </a:lnTo>
                <a:lnTo>
                  <a:pt x="3808" y="2908"/>
                </a:lnTo>
                <a:lnTo>
                  <a:pt x="3804" y="2910"/>
                </a:lnTo>
                <a:lnTo>
                  <a:pt x="3802" y="2910"/>
                </a:lnTo>
                <a:lnTo>
                  <a:pt x="3802" y="2912"/>
                </a:lnTo>
                <a:lnTo>
                  <a:pt x="3796" y="2916"/>
                </a:lnTo>
                <a:lnTo>
                  <a:pt x="3790" y="2920"/>
                </a:lnTo>
                <a:lnTo>
                  <a:pt x="3788" y="2924"/>
                </a:lnTo>
                <a:lnTo>
                  <a:pt x="3790" y="2926"/>
                </a:lnTo>
                <a:lnTo>
                  <a:pt x="3794" y="2926"/>
                </a:lnTo>
                <a:lnTo>
                  <a:pt x="3796" y="2926"/>
                </a:lnTo>
                <a:lnTo>
                  <a:pt x="3794" y="2928"/>
                </a:lnTo>
                <a:lnTo>
                  <a:pt x="3794" y="2930"/>
                </a:lnTo>
                <a:lnTo>
                  <a:pt x="3796" y="2930"/>
                </a:lnTo>
                <a:lnTo>
                  <a:pt x="3800" y="2930"/>
                </a:lnTo>
                <a:lnTo>
                  <a:pt x="3804" y="2928"/>
                </a:lnTo>
                <a:lnTo>
                  <a:pt x="3806" y="2926"/>
                </a:lnTo>
                <a:lnTo>
                  <a:pt x="3808" y="2926"/>
                </a:lnTo>
                <a:lnTo>
                  <a:pt x="3810" y="2924"/>
                </a:lnTo>
                <a:lnTo>
                  <a:pt x="3816" y="2922"/>
                </a:lnTo>
                <a:lnTo>
                  <a:pt x="3822" y="2920"/>
                </a:lnTo>
                <a:lnTo>
                  <a:pt x="3832" y="2920"/>
                </a:lnTo>
                <a:lnTo>
                  <a:pt x="3840" y="2916"/>
                </a:lnTo>
                <a:lnTo>
                  <a:pt x="3856" y="2912"/>
                </a:lnTo>
                <a:lnTo>
                  <a:pt x="3870" y="2904"/>
                </a:lnTo>
                <a:lnTo>
                  <a:pt x="3874" y="2902"/>
                </a:lnTo>
                <a:lnTo>
                  <a:pt x="3876" y="2900"/>
                </a:lnTo>
                <a:lnTo>
                  <a:pt x="3872" y="2900"/>
                </a:lnTo>
                <a:lnTo>
                  <a:pt x="3870" y="2902"/>
                </a:lnTo>
                <a:lnTo>
                  <a:pt x="3866" y="2902"/>
                </a:lnTo>
                <a:lnTo>
                  <a:pt x="3862" y="2902"/>
                </a:lnTo>
                <a:lnTo>
                  <a:pt x="3860" y="2904"/>
                </a:lnTo>
                <a:lnTo>
                  <a:pt x="3854" y="2906"/>
                </a:lnTo>
                <a:lnTo>
                  <a:pt x="3850" y="2908"/>
                </a:lnTo>
                <a:lnTo>
                  <a:pt x="3852" y="2904"/>
                </a:lnTo>
                <a:lnTo>
                  <a:pt x="3858" y="2900"/>
                </a:lnTo>
                <a:close/>
                <a:moveTo>
                  <a:pt x="6188" y="1470"/>
                </a:moveTo>
                <a:lnTo>
                  <a:pt x="6188" y="1470"/>
                </a:lnTo>
                <a:lnTo>
                  <a:pt x="6198" y="1458"/>
                </a:lnTo>
                <a:lnTo>
                  <a:pt x="6206" y="1454"/>
                </a:lnTo>
                <a:lnTo>
                  <a:pt x="6212" y="1450"/>
                </a:lnTo>
                <a:lnTo>
                  <a:pt x="6218" y="1444"/>
                </a:lnTo>
                <a:lnTo>
                  <a:pt x="6224" y="1430"/>
                </a:lnTo>
                <a:lnTo>
                  <a:pt x="6226" y="1422"/>
                </a:lnTo>
                <a:lnTo>
                  <a:pt x="6226" y="1414"/>
                </a:lnTo>
                <a:lnTo>
                  <a:pt x="6226" y="1408"/>
                </a:lnTo>
                <a:lnTo>
                  <a:pt x="6222" y="1402"/>
                </a:lnTo>
                <a:lnTo>
                  <a:pt x="6218" y="1398"/>
                </a:lnTo>
                <a:lnTo>
                  <a:pt x="6210" y="1396"/>
                </a:lnTo>
                <a:lnTo>
                  <a:pt x="6204" y="1396"/>
                </a:lnTo>
                <a:lnTo>
                  <a:pt x="6198" y="1394"/>
                </a:lnTo>
                <a:lnTo>
                  <a:pt x="6194" y="1388"/>
                </a:lnTo>
                <a:lnTo>
                  <a:pt x="6190" y="1384"/>
                </a:lnTo>
                <a:lnTo>
                  <a:pt x="6186" y="1384"/>
                </a:lnTo>
                <a:lnTo>
                  <a:pt x="6180" y="1384"/>
                </a:lnTo>
                <a:lnTo>
                  <a:pt x="6178" y="1384"/>
                </a:lnTo>
                <a:lnTo>
                  <a:pt x="6178" y="1382"/>
                </a:lnTo>
                <a:lnTo>
                  <a:pt x="6182" y="1376"/>
                </a:lnTo>
                <a:lnTo>
                  <a:pt x="6184" y="1370"/>
                </a:lnTo>
                <a:lnTo>
                  <a:pt x="6184" y="1366"/>
                </a:lnTo>
                <a:lnTo>
                  <a:pt x="6180" y="1364"/>
                </a:lnTo>
                <a:lnTo>
                  <a:pt x="6176" y="1364"/>
                </a:lnTo>
                <a:lnTo>
                  <a:pt x="6170" y="1362"/>
                </a:lnTo>
                <a:lnTo>
                  <a:pt x="6168" y="1360"/>
                </a:lnTo>
                <a:lnTo>
                  <a:pt x="6168" y="1358"/>
                </a:lnTo>
                <a:lnTo>
                  <a:pt x="6174" y="1354"/>
                </a:lnTo>
                <a:lnTo>
                  <a:pt x="6184" y="1344"/>
                </a:lnTo>
                <a:lnTo>
                  <a:pt x="6186" y="1342"/>
                </a:lnTo>
                <a:lnTo>
                  <a:pt x="6184" y="1340"/>
                </a:lnTo>
                <a:lnTo>
                  <a:pt x="6178" y="1340"/>
                </a:lnTo>
                <a:lnTo>
                  <a:pt x="6168" y="1342"/>
                </a:lnTo>
                <a:lnTo>
                  <a:pt x="6158" y="1348"/>
                </a:lnTo>
                <a:lnTo>
                  <a:pt x="6150" y="1352"/>
                </a:lnTo>
                <a:lnTo>
                  <a:pt x="6148" y="1354"/>
                </a:lnTo>
                <a:lnTo>
                  <a:pt x="6144" y="1350"/>
                </a:lnTo>
                <a:lnTo>
                  <a:pt x="6140" y="1346"/>
                </a:lnTo>
                <a:lnTo>
                  <a:pt x="6136" y="1338"/>
                </a:lnTo>
                <a:lnTo>
                  <a:pt x="6132" y="1332"/>
                </a:lnTo>
                <a:lnTo>
                  <a:pt x="6126" y="1330"/>
                </a:lnTo>
                <a:lnTo>
                  <a:pt x="6120" y="1328"/>
                </a:lnTo>
                <a:lnTo>
                  <a:pt x="6114" y="1330"/>
                </a:lnTo>
                <a:lnTo>
                  <a:pt x="6108" y="1332"/>
                </a:lnTo>
                <a:lnTo>
                  <a:pt x="6104" y="1334"/>
                </a:lnTo>
                <a:lnTo>
                  <a:pt x="6104" y="1338"/>
                </a:lnTo>
                <a:lnTo>
                  <a:pt x="6104" y="1342"/>
                </a:lnTo>
                <a:lnTo>
                  <a:pt x="6108" y="1352"/>
                </a:lnTo>
                <a:lnTo>
                  <a:pt x="6108" y="1354"/>
                </a:lnTo>
                <a:lnTo>
                  <a:pt x="6108" y="1358"/>
                </a:lnTo>
                <a:lnTo>
                  <a:pt x="6106" y="1358"/>
                </a:lnTo>
                <a:lnTo>
                  <a:pt x="6102" y="1358"/>
                </a:lnTo>
                <a:lnTo>
                  <a:pt x="6092" y="1356"/>
                </a:lnTo>
                <a:lnTo>
                  <a:pt x="6086" y="1354"/>
                </a:lnTo>
                <a:lnTo>
                  <a:pt x="6082" y="1356"/>
                </a:lnTo>
                <a:lnTo>
                  <a:pt x="6074" y="1362"/>
                </a:lnTo>
                <a:lnTo>
                  <a:pt x="6070" y="1366"/>
                </a:lnTo>
                <a:lnTo>
                  <a:pt x="6068" y="1368"/>
                </a:lnTo>
                <a:lnTo>
                  <a:pt x="6062" y="1368"/>
                </a:lnTo>
                <a:lnTo>
                  <a:pt x="6058" y="1364"/>
                </a:lnTo>
                <a:lnTo>
                  <a:pt x="6048" y="1356"/>
                </a:lnTo>
                <a:lnTo>
                  <a:pt x="6044" y="1354"/>
                </a:lnTo>
                <a:lnTo>
                  <a:pt x="6040" y="1354"/>
                </a:lnTo>
                <a:lnTo>
                  <a:pt x="6038" y="1356"/>
                </a:lnTo>
                <a:lnTo>
                  <a:pt x="6036" y="1358"/>
                </a:lnTo>
                <a:lnTo>
                  <a:pt x="6036" y="1368"/>
                </a:lnTo>
                <a:lnTo>
                  <a:pt x="6036" y="1374"/>
                </a:lnTo>
                <a:lnTo>
                  <a:pt x="6036" y="1376"/>
                </a:lnTo>
                <a:lnTo>
                  <a:pt x="6034" y="1378"/>
                </a:lnTo>
                <a:lnTo>
                  <a:pt x="6032" y="1376"/>
                </a:lnTo>
                <a:lnTo>
                  <a:pt x="6026" y="1370"/>
                </a:lnTo>
                <a:lnTo>
                  <a:pt x="6022" y="1360"/>
                </a:lnTo>
                <a:lnTo>
                  <a:pt x="6020" y="1354"/>
                </a:lnTo>
                <a:lnTo>
                  <a:pt x="6016" y="1352"/>
                </a:lnTo>
                <a:lnTo>
                  <a:pt x="6010" y="1354"/>
                </a:lnTo>
                <a:lnTo>
                  <a:pt x="6004" y="1356"/>
                </a:lnTo>
                <a:lnTo>
                  <a:pt x="5998" y="1360"/>
                </a:lnTo>
                <a:lnTo>
                  <a:pt x="5994" y="1366"/>
                </a:lnTo>
                <a:lnTo>
                  <a:pt x="5990" y="1372"/>
                </a:lnTo>
                <a:lnTo>
                  <a:pt x="5990" y="1378"/>
                </a:lnTo>
                <a:lnTo>
                  <a:pt x="5990" y="1388"/>
                </a:lnTo>
                <a:lnTo>
                  <a:pt x="5988" y="1388"/>
                </a:lnTo>
                <a:lnTo>
                  <a:pt x="5986" y="1388"/>
                </a:lnTo>
                <a:lnTo>
                  <a:pt x="5978" y="1382"/>
                </a:lnTo>
                <a:lnTo>
                  <a:pt x="5970" y="1370"/>
                </a:lnTo>
                <a:lnTo>
                  <a:pt x="5964" y="1362"/>
                </a:lnTo>
                <a:lnTo>
                  <a:pt x="5960" y="1358"/>
                </a:lnTo>
                <a:lnTo>
                  <a:pt x="5956" y="1358"/>
                </a:lnTo>
                <a:lnTo>
                  <a:pt x="5954" y="1360"/>
                </a:lnTo>
                <a:lnTo>
                  <a:pt x="5950" y="1364"/>
                </a:lnTo>
                <a:lnTo>
                  <a:pt x="5950" y="1368"/>
                </a:lnTo>
                <a:lnTo>
                  <a:pt x="5950" y="1374"/>
                </a:lnTo>
                <a:lnTo>
                  <a:pt x="5952" y="1380"/>
                </a:lnTo>
                <a:lnTo>
                  <a:pt x="5956" y="1390"/>
                </a:lnTo>
                <a:lnTo>
                  <a:pt x="5954" y="1394"/>
                </a:lnTo>
                <a:lnTo>
                  <a:pt x="5954" y="1398"/>
                </a:lnTo>
                <a:lnTo>
                  <a:pt x="5952" y="1400"/>
                </a:lnTo>
                <a:lnTo>
                  <a:pt x="5948" y="1400"/>
                </a:lnTo>
                <a:lnTo>
                  <a:pt x="5944" y="1396"/>
                </a:lnTo>
                <a:lnTo>
                  <a:pt x="5940" y="1392"/>
                </a:lnTo>
                <a:lnTo>
                  <a:pt x="5936" y="1388"/>
                </a:lnTo>
                <a:lnTo>
                  <a:pt x="5932" y="1390"/>
                </a:lnTo>
                <a:lnTo>
                  <a:pt x="5930" y="1394"/>
                </a:lnTo>
                <a:lnTo>
                  <a:pt x="5926" y="1400"/>
                </a:lnTo>
                <a:lnTo>
                  <a:pt x="5924" y="1404"/>
                </a:lnTo>
                <a:lnTo>
                  <a:pt x="5920" y="1408"/>
                </a:lnTo>
                <a:lnTo>
                  <a:pt x="5918" y="1408"/>
                </a:lnTo>
                <a:lnTo>
                  <a:pt x="5914" y="1402"/>
                </a:lnTo>
                <a:lnTo>
                  <a:pt x="5910" y="1394"/>
                </a:lnTo>
                <a:lnTo>
                  <a:pt x="5910" y="1388"/>
                </a:lnTo>
                <a:lnTo>
                  <a:pt x="5912" y="1378"/>
                </a:lnTo>
                <a:lnTo>
                  <a:pt x="5912" y="1374"/>
                </a:lnTo>
                <a:lnTo>
                  <a:pt x="5912" y="1372"/>
                </a:lnTo>
                <a:lnTo>
                  <a:pt x="5908" y="1368"/>
                </a:lnTo>
                <a:lnTo>
                  <a:pt x="5902" y="1362"/>
                </a:lnTo>
                <a:lnTo>
                  <a:pt x="5890" y="1354"/>
                </a:lnTo>
                <a:lnTo>
                  <a:pt x="5884" y="1348"/>
                </a:lnTo>
                <a:lnTo>
                  <a:pt x="5880" y="1344"/>
                </a:lnTo>
                <a:lnTo>
                  <a:pt x="5868" y="1338"/>
                </a:lnTo>
                <a:lnTo>
                  <a:pt x="5860" y="1336"/>
                </a:lnTo>
                <a:lnTo>
                  <a:pt x="5852" y="1336"/>
                </a:lnTo>
                <a:lnTo>
                  <a:pt x="5846" y="1336"/>
                </a:lnTo>
                <a:lnTo>
                  <a:pt x="5842" y="1338"/>
                </a:lnTo>
                <a:lnTo>
                  <a:pt x="5838" y="1340"/>
                </a:lnTo>
                <a:lnTo>
                  <a:pt x="5836" y="1344"/>
                </a:lnTo>
                <a:lnTo>
                  <a:pt x="5836" y="1346"/>
                </a:lnTo>
                <a:lnTo>
                  <a:pt x="5838" y="1350"/>
                </a:lnTo>
                <a:lnTo>
                  <a:pt x="5846" y="1354"/>
                </a:lnTo>
                <a:lnTo>
                  <a:pt x="5856" y="1360"/>
                </a:lnTo>
                <a:lnTo>
                  <a:pt x="5864" y="1364"/>
                </a:lnTo>
                <a:lnTo>
                  <a:pt x="5872" y="1372"/>
                </a:lnTo>
                <a:lnTo>
                  <a:pt x="5872" y="1374"/>
                </a:lnTo>
                <a:lnTo>
                  <a:pt x="5870" y="1376"/>
                </a:lnTo>
                <a:lnTo>
                  <a:pt x="5862" y="1372"/>
                </a:lnTo>
                <a:lnTo>
                  <a:pt x="5850" y="1366"/>
                </a:lnTo>
                <a:lnTo>
                  <a:pt x="5838" y="1358"/>
                </a:lnTo>
                <a:lnTo>
                  <a:pt x="5832" y="1354"/>
                </a:lnTo>
                <a:lnTo>
                  <a:pt x="5828" y="1354"/>
                </a:lnTo>
                <a:lnTo>
                  <a:pt x="5824" y="1354"/>
                </a:lnTo>
                <a:lnTo>
                  <a:pt x="5820" y="1356"/>
                </a:lnTo>
                <a:lnTo>
                  <a:pt x="5814" y="1364"/>
                </a:lnTo>
                <a:lnTo>
                  <a:pt x="5812" y="1376"/>
                </a:lnTo>
                <a:lnTo>
                  <a:pt x="5812" y="1380"/>
                </a:lnTo>
                <a:lnTo>
                  <a:pt x="5810" y="1384"/>
                </a:lnTo>
                <a:lnTo>
                  <a:pt x="5806" y="1384"/>
                </a:lnTo>
                <a:lnTo>
                  <a:pt x="5802" y="1386"/>
                </a:lnTo>
                <a:lnTo>
                  <a:pt x="5800" y="1388"/>
                </a:lnTo>
                <a:lnTo>
                  <a:pt x="5800" y="1392"/>
                </a:lnTo>
                <a:lnTo>
                  <a:pt x="5800" y="1396"/>
                </a:lnTo>
                <a:lnTo>
                  <a:pt x="5796" y="1396"/>
                </a:lnTo>
                <a:lnTo>
                  <a:pt x="5790" y="1396"/>
                </a:lnTo>
                <a:lnTo>
                  <a:pt x="5786" y="1396"/>
                </a:lnTo>
                <a:lnTo>
                  <a:pt x="5782" y="1396"/>
                </a:lnTo>
                <a:lnTo>
                  <a:pt x="5780" y="1398"/>
                </a:lnTo>
                <a:lnTo>
                  <a:pt x="5782" y="1402"/>
                </a:lnTo>
                <a:lnTo>
                  <a:pt x="5784" y="1404"/>
                </a:lnTo>
                <a:lnTo>
                  <a:pt x="5790" y="1406"/>
                </a:lnTo>
                <a:lnTo>
                  <a:pt x="5802" y="1410"/>
                </a:lnTo>
                <a:lnTo>
                  <a:pt x="5810" y="1410"/>
                </a:lnTo>
                <a:lnTo>
                  <a:pt x="5818" y="1408"/>
                </a:lnTo>
                <a:lnTo>
                  <a:pt x="5832" y="1404"/>
                </a:lnTo>
                <a:lnTo>
                  <a:pt x="5842" y="1402"/>
                </a:lnTo>
                <a:lnTo>
                  <a:pt x="5874" y="1404"/>
                </a:lnTo>
                <a:lnTo>
                  <a:pt x="5884" y="1406"/>
                </a:lnTo>
                <a:lnTo>
                  <a:pt x="5888" y="1408"/>
                </a:lnTo>
                <a:lnTo>
                  <a:pt x="5886" y="1410"/>
                </a:lnTo>
                <a:lnTo>
                  <a:pt x="5882" y="1412"/>
                </a:lnTo>
                <a:lnTo>
                  <a:pt x="5870" y="1418"/>
                </a:lnTo>
                <a:lnTo>
                  <a:pt x="5866" y="1422"/>
                </a:lnTo>
                <a:lnTo>
                  <a:pt x="5864" y="1424"/>
                </a:lnTo>
                <a:lnTo>
                  <a:pt x="5866" y="1428"/>
                </a:lnTo>
                <a:lnTo>
                  <a:pt x="5870" y="1430"/>
                </a:lnTo>
                <a:lnTo>
                  <a:pt x="5882" y="1430"/>
                </a:lnTo>
                <a:lnTo>
                  <a:pt x="5888" y="1430"/>
                </a:lnTo>
                <a:lnTo>
                  <a:pt x="5888" y="1432"/>
                </a:lnTo>
                <a:lnTo>
                  <a:pt x="5882" y="1436"/>
                </a:lnTo>
                <a:lnTo>
                  <a:pt x="5874" y="1438"/>
                </a:lnTo>
                <a:lnTo>
                  <a:pt x="5868" y="1438"/>
                </a:lnTo>
                <a:lnTo>
                  <a:pt x="5858" y="1436"/>
                </a:lnTo>
                <a:lnTo>
                  <a:pt x="5850" y="1434"/>
                </a:lnTo>
                <a:lnTo>
                  <a:pt x="5846" y="1434"/>
                </a:lnTo>
                <a:lnTo>
                  <a:pt x="5840" y="1436"/>
                </a:lnTo>
                <a:lnTo>
                  <a:pt x="5836" y="1440"/>
                </a:lnTo>
                <a:lnTo>
                  <a:pt x="5828" y="1440"/>
                </a:lnTo>
                <a:lnTo>
                  <a:pt x="5816" y="1442"/>
                </a:lnTo>
                <a:lnTo>
                  <a:pt x="5806" y="1444"/>
                </a:lnTo>
                <a:lnTo>
                  <a:pt x="5804" y="1446"/>
                </a:lnTo>
                <a:lnTo>
                  <a:pt x="5804" y="1450"/>
                </a:lnTo>
                <a:lnTo>
                  <a:pt x="5806" y="1454"/>
                </a:lnTo>
                <a:lnTo>
                  <a:pt x="5808" y="1454"/>
                </a:lnTo>
                <a:lnTo>
                  <a:pt x="5820" y="1454"/>
                </a:lnTo>
                <a:lnTo>
                  <a:pt x="5836" y="1452"/>
                </a:lnTo>
                <a:lnTo>
                  <a:pt x="5846" y="1452"/>
                </a:lnTo>
                <a:lnTo>
                  <a:pt x="5858" y="1454"/>
                </a:lnTo>
                <a:lnTo>
                  <a:pt x="5864" y="1454"/>
                </a:lnTo>
                <a:lnTo>
                  <a:pt x="5868" y="1456"/>
                </a:lnTo>
                <a:lnTo>
                  <a:pt x="5870" y="1460"/>
                </a:lnTo>
                <a:lnTo>
                  <a:pt x="5870" y="1462"/>
                </a:lnTo>
                <a:lnTo>
                  <a:pt x="5870" y="1468"/>
                </a:lnTo>
                <a:lnTo>
                  <a:pt x="5872" y="1470"/>
                </a:lnTo>
                <a:lnTo>
                  <a:pt x="5876" y="1472"/>
                </a:lnTo>
                <a:lnTo>
                  <a:pt x="5882" y="1476"/>
                </a:lnTo>
                <a:lnTo>
                  <a:pt x="5886" y="1484"/>
                </a:lnTo>
                <a:lnTo>
                  <a:pt x="5888" y="1492"/>
                </a:lnTo>
                <a:lnTo>
                  <a:pt x="5884" y="1500"/>
                </a:lnTo>
                <a:lnTo>
                  <a:pt x="5880" y="1504"/>
                </a:lnTo>
                <a:lnTo>
                  <a:pt x="5874" y="1504"/>
                </a:lnTo>
                <a:lnTo>
                  <a:pt x="5866" y="1502"/>
                </a:lnTo>
                <a:lnTo>
                  <a:pt x="5858" y="1500"/>
                </a:lnTo>
                <a:lnTo>
                  <a:pt x="5856" y="1502"/>
                </a:lnTo>
                <a:lnTo>
                  <a:pt x="5854" y="1508"/>
                </a:lnTo>
                <a:lnTo>
                  <a:pt x="5856" y="1512"/>
                </a:lnTo>
                <a:lnTo>
                  <a:pt x="5858" y="1516"/>
                </a:lnTo>
                <a:lnTo>
                  <a:pt x="5862" y="1518"/>
                </a:lnTo>
                <a:lnTo>
                  <a:pt x="5866" y="1518"/>
                </a:lnTo>
                <a:lnTo>
                  <a:pt x="5880" y="1518"/>
                </a:lnTo>
                <a:lnTo>
                  <a:pt x="5904" y="1516"/>
                </a:lnTo>
                <a:lnTo>
                  <a:pt x="5916" y="1518"/>
                </a:lnTo>
                <a:lnTo>
                  <a:pt x="5928" y="1520"/>
                </a:lnTo>
                <a:lnTo>
                  <a:pt x="5936" y="1522"/>
                </a:lnTo>
                <a:lnTo>
                  <a:pt x="5944" y="1526"/>
                </a:lnTo>
                <a:lnTo>
                  <a:pt x="5958" y="1534"/>
                </a:lnTo>
                <a:lnTo>
                  <a:pt x="5966" y="1536"/>
                </a:lnTo>
                <a:lnTo>
                  <a:pt x="5976" y="1538"/>
                </a:lnTo>
                <a:lnTo>
                  <a:pt x="5986" y="1538"/>
                </a:lnTo>
                <a:lnTo>
                  <a:pt x="5992" y="1540"/>
                </a:lnTo>
                <a:lnTo>
                  <a:pt x="6002" y="1546"/>
                </a:lnTo>
                <a:lnTo>
                  <a:pt x="6008" y="1548"/>
                </a:lnTo>
                <a:lnTo>
                  <a:pt x="6014" y="1550"/>
                </a:lnTo>
                <a:lnTo>
                  <a:pt x="6020" y="1550"/>
                </a:lnTo>
                <a:lnTo>
                  <a:pt x="6030" y="1546"/>
                </a:lnTo>
                <a:lnTo>
                  <a:pt x="6040" y="1544"/>
                </a:lnTo>
                <a:lnTo>
                  <a:pt x="6046" y="1538"/>
                </a:lnTo>
                <a:lnTo>
                  <a:pt x="6052" y="1530"/>
                </a:lnTo>
                <a:lnTo>
                  <a:pt x="6056" y="1528"/>
                </a:lnTo>
                <a:lnTo>
                  <a:pt x="6058" y="1524"/>
                </a:lnTo>
                <a:lnTo>
                  <a:pt x="6064" y="1522"/>
                </a:lnTo>
                <a:lnTo>
                  <a:pt x="6072" y="1522"/>
                </a:lnTo>
                <a:lnTo>
                  <a:pt x="6080" y="1522"/>
                </a:lnTo>
                <a:lnTo>
                  <a:pt x="6088" y="1520"/>
                </a:lnTo>
                <a:lnTo>
                  <a:pt x="6104" y="1514"/>
                </a:lnTo>
                <a:lnTo>
                  <a:pt x="6136" y="1494"/>
                </a:lnTo>
                <a:lnTo>
                  <a:pt x="6146" y="1490"/>
                </a:lnTo>
                <a:lnTo>
                  <a:pt x="6154" y="1486"/>
                </a:lnTo>
                <a:lnTo>
                  <a:pt x="6168" y="1484"/>
                </a:lnTo>
                <a:lnTo>
                  <a:pt x="6174" y="1484"/>
                </a:lnTo>
                <a:lnTo>
                  <a:pt x="6178" y="1482"/>
                </a:lnTo>
                <a:lnTo>
                  <a:pt x="6184" y="1478"/>
                </a:lnTo>
                <a:lnTo>
                  <a:pt x="6188" y="1470"/>
                </a:lnTo>
                <a:close/>
                <a:moveTo>
                  <a:pt x="4306" y="176"/>
                </a:moveTo>
                <a:lnTo>
                  <a:pt x="4306" y="176"/>
                </a:lnTo>
                <a:lnTo>
                  <a:pt x="4312" y="186"/>
                </a:lnTo>
                <a:lnTo>
                  <a:pt x="4316" y="194"/>
                </a:lnTo>
                <a:lnTo>
                  <a:pt x="4316" y="202"/>
                </a:lnTo>
                <a:lnTo>
                  <a:pt x="4314" y="210"/>
                </a:lnTo>
                <a:lnTo>
                  <a:pt x="4310" y="214"/>
                </a:lnTo>
                <a:lnTo>
                  <a:pt x="4302" y="218"/>
                </a:lnTo>
                <a:lnTo>
                  <a:pt x="4294" y="220"/>
                </a:lnTo>
                <a:lnTo>
                  <a:pt x="4282" y="216"/>
                </a:lnTo>
                <a:lnTo>
                  <a:pt x="4262" y="212"/>
                </a:lnTo>
                <a:lnTo>
                  <a:pt x="4242" y="210"/>
                </a:lnTo>
                <a:lnTo>
                  <a:pt x="4222" y="210"/>
                </a:lnTo>
                <a:lnTo>
                  <a:pt x="4204" y="212"/>
                </a:lnTo>
                <a:lnTo>
                  <a:pt x="4186" y="216"/>
                </a:lnTo>
                <a:lnTo>
                  <a:pt x="4170" y="222"/>
                </a:lnTo>
                <a:lnTo>
                  <a:pt x="4156" y="230"/>
                </a:lnTo>
                <a:lnTo>
                  <a:pt x="4140" y="238"/>
                </a:lnTo>
                <a:lnTo>
                  <a:pt x="4110" y="254"/>
                </a:lnTo>
                <a:lnTo>
                  <a:pt x="4080" y="270"/>
                </a:lnTo>
                <a:lnTo>
                  <a:pt x="4068" y="276"/>
                </a:lnTo>
                <a:lnTo>
                  <a:pt x="4058" y="282"/>
                </a:lnTo>
                <a:lnTo>
                  <a:pt x="4054" y="290"/>
                </a:lnTo>
                <a:lnTo>
                  <a:pt x="4054" y="292"/>
                </a:lnTo>
                <a:lnTo>
                  <a:pt x="4056" y="296"/>
                </a:lnTo>
                <a:lnTo>
                  <a:pt x="4062" y="300"/>
                </a:lnTo>
                <a:lnTo>
                  <a:pt x="4070" y="304"/>
                </a:lnTo>
                <a:lnTo>
                  <a:pt x="4080" y="306"/>
                </a:lnTo>
                <a:lnTo>
                  <a:pt x="4092" y="308"/>
                </a:lnTo>
                <a:lnTo>
                  <a:pt x="4116" y="308"/>
                </a:lnTo>
                <a:lnTo>
                  <a:pt x="4138" y="306"/>
                </a:lnTo>
                <a:lnTo>
                  <a:pt x="4146" y="306"/>
                </a:lnTo>
                <a:lnTo>
                  <a:pt x="4152" y="310"/>
                </a:lnTo>
                <a:lnTo>
                  <a:pt x="4154" y="316"/>
                </a:lnTo>
                <a:lnTo>
                  <a:pt x="4156" y="326"/>
                </a:lnTo>
                <a:lnTo>
                  <a:pt x="4154" y="336"/>
                </a:lnTo>
                <a:lnTo>
                  <a:pt x="4152" y="348"/>
                </a:lnTo>
                <a:lnTo>
                  <a:pt x="4146" y="360"/>
                </a:lnTo>
                <a:lnTo>
                  <a:pt x="4136" y="370"/>
                </a:lnTo>
                <a:lnTo>
                  <a:pt x="4126" y="378"/>
                </a:lnTo>
                <a:lnTo>
                  <a:pt x="4116" y="384"/>
                </a:lnTo>
                <a:lnTo>
                  <a:pt x="4104" y="384"/>
                </a:lnTo>
                <a:lnTo>
                  <a:pt x="4090" y="384"/>
                </a:lnTo>
                <a:lnTo>
                  <a:pt x="4060" y="382"/>
                </a:lnTo>
                <a:lnTo>
                  <a:pt x="4042" y="382"/>
                </a:lnTo>
                <a:lnTo>
                  <a:pt x="4024" y="384"/>
                </a:lnTo>
                <a:lnTo>
                  <a:pt x="4008" y="386"/>
                </a:lnTo>
                <a:lnTo>
                  <a:pt x="3998" y="390"/>
                </a:lnTo>
                <a:lnTo>
                  <a:pt x="3992" y="394"/>
                </a:lnTo>
                <a:lnTo>
                  <a:pt x="3986" y="398"/>
                </a:lnTo>
                <a:lnTo>
                  <a:pt x="3978" y="402"/>
                </a:lnTo>
                <a:lnTo>
                  <a:pt x="3966" y="408"/>
                </a:lnTo>
                <a:lnTo>
                  <a:pt x="3948" y="412"/>
                </a:lnTo>
                <a:lnTo>
                  <a:pt x="3920" y="416"/>
                </a:lnTo>
                <a:lnTo>
                  <a:pt x="3892" y="422"/>
                </a:lnTo>
                <a:lnTo>
                  <a:pt x="3868" y="428"/>
                </a:lnTo>
                <a:lnTo>
                  <a:pt x="3852" y="434"/>
                </a:lnTo>
                <a:lnTo>
                  <a:pt x="3842" y="440"/>
                </a:lnTo>
                <a:lnTo>
                  <a:pt x="3836" y="448"/>
                </a:lnTo>
                <a:lnTo>
                  <a:pt x="3836" y="456"/>
                </a:lnTo>
                <a:lnTo>
                  <a:pt x="3840" y="462"/>
                </a:lnTo>
                <a:lnTo>
                  <a:pt x="3848" y="470"/>
                </a:lnTo>
                <a:lnTo>
                  <a:pt x="3856" y="478"/>
                </a:lnTo>
                <a:lnTo>
                  <a:pt x="3864" y="480"/>
                </a:lnTo>
                <a:lnTo>
                  <a:pt x="3874" y="482"/>
                </a:lnTo>
                <a:lnTo>
                  <a:pt x="3884" y="484"/>
                </a:lnTo>
                <a:lnTo>
                  <a:pt x="3888" y="486"/>
                </a:lnTo>
                <a:lnTo>
                  <a:pt x="3894" y="490"/>
                </a:lnTo>
                <a:lnTo>
                  <a:pt x="3898" y="494"/>
                </a:lnTo>
                <a:lnTo>
                  <a:pt x="3904" y="496"/>
                </a:lnTo>
                <a:lnTo>
                  <a:pt x="3914" y="494"/>
                </a:lnTo>
                <a:lnTo>
                  <a:pt x="3924" y="494"/>
                </a:lnTo>
                <a:lnTo>
                  <a:pt x="3928" y="496"/>
                </a:lnTo>
                <a:lnTo>
                  <a:pt x="3934" y="500"/>
                </a:lnTo>
                <a:lnTo>
                  <a:pt x="3938" y="506"/>
                </a:lnTo>
                <a:lnTo>
                  <a:pt x="3944" y="510"/>
                </a:lnTo>
                <a:lnTo>
                  <a:pt x="3952" y="512"/>
                </a:lnTo>
                <a:lnTo>
                  <a:pt x="3960" y="514"/>
                </a:lnTo>
                <a:lnTo>
                  <a:pt x="3982" y="516"/>
                </a:lnTo>
                <a:lnTo>
                  <a:pt x="4012" y="516"/>
                </a:lnTo>
                <a:lnTo>
                  <a:pt x="4028" y="516"/>
                </a:lnTo>
                <a:lnTo>
                  <a:pt x="4046" y="512"/>
                </a:lnTo>
                <a:lnTo>
                  <a:pt x="4074" y="508"/>
                </a:lnTo>
                <a:lnTo>
                  <a:pt x="4086" y="506"/>
                </a:lnTo>
                <a:lnTo>
                  <a:pt x="4096" y="504"/>
                </a:lnTo>
                <a:lnTo>
                  <a:pt x="4104" y="506"/>
                </a:lnTo>
                <a:lnTo>
                  <a:pt x="4108" y="510"/>
                </a:lnTo>
                <a:lnTo>
                  <a:pt x="4110" y="516"/>
                </a:lnTo>
                <a:lnTo>
                  <a:pt x="4106" y="520"/>
                </a:lnTo>
                <a:lnTo>
                  <a:pt x="4098" y="522"/>
                </a:lnTo>
                <a:lnTo>
                  <a:pt x="4086" y="524"/>
                </a:lnTo>
                <a:lnTo>
                  <a:pt x="4010" y="528"/>
                </a:lnTo>
                <a:lnTo>
                  <a:pt x="3964" y="532"/>
                </a:lnTo>
                <a:lnTo>
                  <a:pt x="3942" y="536"/>
                </a:lnTo>
                <a:lnTo>
                  <a:pt x="3922" y="542"/>
                </a:lnTo>
                <a:lnTo>
                  <a:pt x="3908" y="546"/>
                </a:lnTo>
                <a:lnTo>
                  <a:pt x="3898" y="552"/>
                </a:lnTo>
                <a:lnTo>
                  <a:pt x="3898" y="554"/>
                </a:lnTo>
                <a:lnTo>
                  <a:pt x="3898" y="558"/>
                </a:lnTo>
                <a:lnTo>
                  <a:pt x="3900" y="560"/>
                </a:lnTo>
                <a:lnTo>
                  <a:pt x="3906" y="564"/>
                </a:lnTo>
                <a:lnTo>
                  <a:pt x="3920" y="570"/>
                </a:lnTo>
                <a:lnTo>
                  <a:pt x="3938" y="574"/>
                </a:lnTo>
                <a:lnTo>
                  <a:pt x="3976" y="580"/>
                </a:lnTo>
                <a:lnTo>
                  <a:pt x="3990" y="582"/>
                </a:lnTo>
                <a:lnTo>
                  <a:pt x="3998" y="586"/>
                </a:lnTo>
                <a:lnTo>
                  <a:pt x="3996" y="588"/>
                </a:lnTo>
                <a:lnTo>
                  <a:pt x="3984" y="594"/>
                </a:lnTo>
                <a:lnTo>
                  <a:pt x="3972" y="598"/>
                </a:lnTo>
                <a:lnTo>
                  <a:pt x="3968" y="600"/>
                </a:lnTo>
                <a:lnTo>
                  <a:pt x="3968" y="604"/>
                </a:lnTo>
                <a:lnTo>
                  <a:pt x="3970" y="606"/>
                </a:lnTo>
                <a:lnTo>
                  <a:pt x="3972" y="608"/>
                </a:lnTo>
                <a:lnTo>
                  <a:pt x="3982" y="614"/>
                </a:lnTo>
                <a:lnTo>
                  <a:pt x="4018" y="624"/>
                </a:lnTo>
                <a:lnTo>
                  <a:pt x="4062" y="636"/>
                </a:lnTo>
                <a:lnTo>
                  <a:pt x="4078" y="640"/>
                </a:lnTo>
                <a:lnTo>
                  <a:pt x="4084" y="642"/>
                </a:lnTo>
                <a:lnTo>
                  <a:pt x="4084" y="640"/>
                </a:lnTo>
                <a:lnTo>
                  <a:pt x="4084" y="638"/>
                </a:lnTo>
                <a:lnTo>
                  <a:pt x="4078" y="634"/>
                </a:lnTo>
                <a:lnTo>
                  <a:pt x="4066" y="622"/>
                </a:lnTo>
                <a:lnTo>
                  <a:pt x="4064" y="616"/>
                </a:lnTo>
                <a:lnTo>
                  <a:pt x="4064" y="614"/>
                </a:lnTo>
                <a:lnTo>
                  <a:pt x="4068" y="614"/>
                </a:lnTo>
                <a:lnTo>
                  <a:pt x="4074" y="612"/>
                </a:lnTo>
                <a:lnTo>
                  <a:pt x="4078" y="614"/>
                </a:lnTo>
                <a:lnTo>
                  <a:pt x="4084" y="618"/>
                </a:lnTo>
                <a:lnTo>
                  <a:pt x="4086" y="620"/>
                </a:lnTo>
                <a:lnTo>
                  <a:pt x="4090" y="622"/>
                </a:lnTo>
                <a:lnTo>
                  <a:pt x="4098" y="622"/>
                </a:lnTo>
                <a:lnTo>
                  <a:pt x="4108" y="618"/>
                </a:lnTo>
                <a:lnTo>
                  <a:pt x="4118" y="614"/>
                </a:lnTo>
                <a:lnTo>
                  <a:pt x="4122" y="614"/>
                </a:lnTo>
                <a:lnTo>
                  <a:pt x="4124" y="614"/>
                </a:lnTo>
                <a:lnTo>
                  <a:pt x="4122" y="618"/>
                </a:lnTo>
                <a:lnTo>
                  <a:pt x="4120" y="622"/>
                </a:lnTo>
                <a:lnTo>
                  <a:pt x="4122" y="626"/>
                </a:lnTo>
                <a:lnTo>
                  <a:pt x="4126" y="628"/>
                </a:lnTo>
                <a:lnTo>
                  <a:pt x="4136" y="630"/>
                </a:lnTo>
                <a:lnTo>
                  <a:pt x="4148" y="630"/>
                </a:lnTo>
                <a:lnTo>
                  <a:pt x="4156" y="626"/>
                </a:lnTo>
                <a:lnTo>
                  <a:pt x="4162" y="622"/>
                </a:lnTo>
                <a:lnTo>
                  <a:pt x="4166" y="618"/>
                </a:lnTo>
                <a:lnTo>
                  <a:pt x="4170" y="614"/>
                </a:lnTo>
                <a:lnTo>
                  <a:pt x="4174" y="612"/>
                </a:lnTo>
                <a:lnTo>
                  <a:pt x="4180" y="614"/>
                </a:lnTo>
                <a:lnTo>
                  <a:pt x="4188" y="620"/>
                </a:lnTo>
                <a:lnTo>
                  <a:pt x="4194" y="624"/>
                </a:lnTo>
                <a:lnTo>
                  <a:pt x="4200" y="624"/>
                </a:lnTo>
                <a:lnTo>
                  <a:pt x="4204" y="622"/>
                </a:lnTo>
                <a:lnTo>
                  <a:pt x="4208" y="618"/>
                </a:lnTo>
                <a:lnTo>
                  <a:pt x="4210" y="614"/>
                </a:lnTo>
                <a:lnTo>
                  <a:pt x="4216" y="610"/>
                </a:lnTo>
                <a:lnTo>
                  <a:pt x="4224" y="608"/>
                </a:lnTo>
                <a:lnTo>
                  <a:pt x="4232" y="612"/>
                </a:lnTo>
                <a:lnTo>
                  <a:pt x="4244" y="614"/>
                </a:lnTo>
                <a:lnTo>
                  <a:pt x="4258" y="616"/>
                </a:lnTo>
                <a:lnTo>
                  <a:pt x="4282" y="618"/>
                </a:lnTo>
                <a:lnTo>
                  <a:pt x="4304" y="620"/>
                </a:lnTo>
                <a:lnTo>
                  <a:pt x="4312" y="622"/>
                </a:lnTo>
                <a:lnTo>
                  <a:pt x="4320" y="626"/>
                </a:lnTo>
                <a:lnTo>
                  <a:pt x="4326" y="632"/>
                </a:lnTo>
                <a:lnTo>
                  <a:pt x="4330" y="634"/>
                </a:lnTo>
                <a:lnTo>
                  <a:pt x="4336" y="634"/>
                </a:lnTo>
                <a:lnTo>
                  <a:pt x="4342" y="632"/>
                </a:lnTo>
                <a:lnTo>
                  <a:pt x="4348" y="634"/>
                </a:lnTo>
                <a:lnTo>
                  <a:pt x="4358" y="636"/>
                </a:lnTo>
                <a:lnTo>
                  <a:pt x="4370" y="642"/>
                </a:lnTo>
                <a:lnTo>
                  <a:pt x="4396" y="654"/>
                </a:lnTo>
                <a:lnTo>
                  <a:pt x="4414" y="662"/>
                </a:lnTo>
                <a:lnTo>
                  <a:pt x="4420" y="666"/>
                </a:lnTo>
                <a:lnTo>
                  <a:pt x="4422" y="670"/>
                </a:lnTo>
                <a:lnTo>
                  <a:pt x="4420" y="674"/>
                </a:lnTo>
                <a:lnTo>
                  <a:pt x="4414" y="680"/>
                </a:lnTo>
                <a:lnTo>
                  <a:pt x="4412" y="682"/>
                </a:lnTo>
                <a:lnTo>
                  <a:pt x="4412" y="686"/>
                </a:lnTo>
                <a:lnTo>
                  <a:pt x="4414" y="690"/>
                </a:lnTo>
                <a:lnTo>
                  <a:pt x="4418" y="694"/>
                </a:lnTo>
                <a:lnTo>
                  <a:pt x="4432" y="704"/>
                </a:lnTo>
                <a:lnTo>
                  <a:pt x="4448" y="714"/>
                </a:lnTo>
                <a:lnTo>
                  <a:pt x="4480" y="734"/>
                </a:lnTo>
                <a:lnTo>
                  <a:pt x="4488" y="742"/>
                </a:lnTo>
                <a:lnTo>
                  <a:pt x="4490" y="746"/>
                </a:lnTo>
                <a:lnTo>
                  <a:pt x="4490" y="750"/>
                </a:lnTo>
                <a:lnTo>
                  <a:pt x="4486" y="756"/>
                </a:lnTo>
                <a:lnTo>
                  <a:pt x="4480" y="762"/>
                </a:lnTo>
                <a:lnTo>
                  <a:pt x="4468" y="776"/>
                </a:lnTo>
                <a:lnTo>
                  <a:pt x="4464" y="780"/>
                </a:lnTo>
                <a:lnTo>
                  <a:pt x="4464" y="782"/>
                </a:lnTo>
                <a:lnTo>
                  <a:pt x="4468" y="782"/>
                </a:lnTo>
                <a:lnTo>
                  <a:pt x="4478" y="780"/>
                </a:lnTo>
                <a:lnTo>
                  <a:pt x="4498" y="774"/>
                </a:lnTo>
                <a:lnTo>
                  <a:pt x="4502" y="774"/>
                </a:lnTo>
                <a:lnTo>
                  <a:pt x="4504" y="776"/>
                </a:lnTo>
                <a:lnTo>
                  <a:pt x="4508" y="782"/>
                </a:lnTo>
                <a:lnTo>
                  <a:pt x="4510" y="786"/>
                </a:lnTo>
                <a:lnTo>
                  <a:pt x="4516" y="790"/>
                </a:lnTo>
                <a:lnTo>
                  <a:pt x="4522" y="794"/>
                </a:lnTo>
                <a:lnTo>
                  <a:pt x="4522" y="798"/>
                </a:lnTo>
                <a:lnTo>
                  <a:pt x="4520" y="802"/>
                </a:lnTo>
                <a:lnTo>
                  <a:pt x="4518" y="806"/>
                </a:lnTo>
                <a:lnTo>
                  <a:pt x="4516" y="808"/>
                </a:lnTo>
                <a:lnTo>
                  <a:pt x="4516" y="812"/>
                </a:lnTo>
                <a:lnTo>
                  <a:pt x="4522" y="818"/>
                </a:lnTo>
                <a:lnTo>
                  <a:pt x="4534" y="822"/>
                </a:lnTo>
                <a:lnTo>
                  <a:pt x="4542" y="828"/>
                </a:lnTo>
                <a:lnTo>
                  <a:pt x="4544" y="832"/>
                </a:lnTo>
                <a:lnTo>
                  <a:pt x="4542" y="838"/>
                </a:lnTo>
                <a:lnTo>
                  <a:pt x="4538" y="844"/>
                </a:lnTo>
                <a:lnTo>
                  <a:pt x="4536" y="848"/>
                </a:lnTo>
                <a:lnTo>
                  <a:pt x="4534" y="854"/>
                </a:lnTo>
                <a:lnTo>
                  <a:pt x="4538" y="858"/>
                </a:lnTo>
                <a:lnTo>
                  <a:pt x="4546" y="860"/>
                </a:lnTo>
                <a:lnTo>
                  <a:pt x="4556" y="864"/>
                </a:lnTo>
                <a:lnTo>
                  <a:pt x="4564" y="870"/>
                </a:lnTo>
                <a:lnTo>
                  <a:pt x="4566" y="876"/>
                </a:lnTo>
                <a:lnTo>
                  <a:pt x="4566" y="882"/>
                </a:lnTo>
                <a:lnTo>
                  <a:pt x="4564" y="888"/>
                </a:lnTo>
                <a:lnTo>
                  <a:pt x="4560" y="894"/>
                </a:lnTo>
                <a:lnTo>
                  <a:pt x="4552" y="898"/>
                </a:lnTo>
                <a:lnTo>
                  <a:pt x="4544" y="900"/>
                </a:lnTo>
                <a:lnTo>
                  <a:pt x="4536" y="902"/>
                </a:lnTo>
                <a:lnTo>
                  <a:pt x="4530" y="906"/>
                </a:lnTo>
                <a:lnTo>
                  <a:pt x="4526" y="910"/>
                </a:lnTo>
                <a:lnTo>
                  <a:pt x="4526" y="916"/>
                </a:lnTo>
                <a:lnTo>
                  <a:pt x="4528" y="922"/>
                </a:lnTo>
                <a:lnTo>
                  <a:pt x="4530" y="928"/>
                </a:lnTo>
                <a:lnTo>
                  <a:pt x="4542" y="942"/>
                </a:lnTo>
                <a:lnTo>
                  <a:pt x="4544" y="948"/>
                </a:lnTo>
                <a:lnTo>
                  <a:pt x="4544" y="952"/>
                </a:lnTo>
                <a:lnTo>
                  <a:pt x="4540" y="954"/>
                </a:lnTo>
                <a:lnTo>
                  <a:pt x="4534" y="956"/>
                </a:lnTo>
                <a:lnTo>
                  <a:pt x="4522" y="958"/>
                </a:lnTo>
                <a:lnTo>
                  <a:pt x="4518" y="960"/>
                </a:lnTo>
                <a:lnTo>
                  <a:pt x="4520" y="962"/>
                </a:lnTo>
                <a:lnTo>
                  <a:pt x="4526" y="970"/>
                </a:lnTo>
                <a:lnTo>
                  <a:pt x="4532" y="980"/>
                </a:lnTo>
                <a:lnTo>
                  <a:pt x="4534" y="982"/>
                </a:lnTo>
                <a:lnTo>
                  <a:pt x="4538" y="986"/>
                </a:lnTo>
                <a:lnTo>
                  <a:pt x="4542" y="986"/>
                </a:lnTo>
                <a:lnTo>
                  <a:pt x="4546" y="984"/>
                </a:lnTo>
                <a:lnTo>
                  <a:pt x="4552" y="982"/>
                </a:lnTo>
                <a:lnTo>
                  <a:pt x="4560" y="984"/>
                </a:lnTo>
                <a:lnTo>
                  <a:pt x="4574" y="988"/>
                </a:lnTo>
                <a:lnTo>
                  <a:pt x="4580" y="988"/>
                </a:lnTo>
                <a:lnTo>
                  <a:pt x="4588" y="988"/>
                </a:lnTo>
                <a:lnTo>
                  <a:pt x="4594" y="984"/>
                </a:lnTo>
                <a:lnTo>
                  <a:pt x="4600" y="974"/>
                </a:lnTo>
                <a:lnTo>
                  <a:pt x="4604" y="970"/>
                </a:lnTo>
                <a:lnTo>
                  <a:pt x="4608" y="966"/>
                </a:lnTo>
                <a:lnTo>
                  <a:pt x="4616" y="960"/>
                </a:lnTo>
                <a:lnTo>
                  <a:pt x="4626" y="958"/>
                </a:lnTo>
                <a:lnTo>
                  <a:pt x="4636" y="960"/>
                </a:lnTo>
                <a:lnTo>
                  <a:pt x="4646" y="962"/>
                </a:lnTo>
                <a:lnTo>
                  <a:pt x="4652" y="966"/>
                </a:lnTo>
                <a:lnTo>
                  <a:pt x="4654" y="968"/>
                </a:lnTo>
                <a:lnTo>
                  <a:pt x="4654" y="970"/>
                </a:lnTo>
                <a:lnTo>
                  <a:pt x="4654" y="972"/>
                </a:lnTo>
                <a:lnTo>
                  <a:pt x="4648" y="976"/>
                </a:lnTo>
                <a:lnTo>
                  <a:pt x="4646" y="980"/>
                </a:lnTo>
                <a:lnTo>
                  <a:pt x="4650" y="982"/>
                </a:lnTo>
                <a:lnTo>
                  <a:pt x="4654" y="982"/>
                </a:lnTo>
                <a:lnTo>
                  <a:pt x="4660" y="984"/>
                </a:lnTo>
                <a:lnTo>
                  <a:pt x="4664" y="986"/>
                </a:lnTo>
                <a:lnTo>
                  <a:pt x="4666" y="988"/>
                </a:lnTo>
                <a:lnTo>
                  <a:pt x="4662" y="994"/>
                </a:lnTo>
                <a:lnTo>
                  <a:pt x="4660" y="996"/>
                </a:lnTo>
                <a:lnTo>
                  <a:pt x="4660" y="1000"/>
                </a:lnTo>
                <a:lnTo>
                  <a:pt x="4666" y="1006"/>
                </a:lnTo>
                <a:lnTo>
                  <a:pt x="4674" y="1010"/>
                </a:lnTo>
                <a:lnTo>
                  <a:pt x="4684" y="1014"/>
                </a:lnTo>
                <a:lnTo>
                  <a:pt x="4702" y="1020"/>
                </a:lnTo>
                <a:lnTo>
                  <a:pt x="4710" y="1022"/>
                </a:lnTo>
                <a:lnTo>
                  <a:pt x="4710" y="1024"/>
                </a:lnTo>
                <a:lnTo>
                  <a:pt x="4704" y="1032"/>
                </a:lnTo>
                <a:lnTo>
                  <a:pt x="4702" y="1038"/>
                </a:lnTo>
                <a:lnTo>
                  <a:pt x="4706" y="1044"/>
                </a:lnTo>
                <a:lnTo>
                  <a:pt x="4710" y="1050"/>
                </a:lnTo>
                <a:lnTo>
                  <a:pt x="4712" y="1052"/>
                </a:lnTo>
                <a:lnTo>
                  <a:pt x="4710" y="1054"/>
                </a:lnTo>
                <a:lnTo>
                  <a:pt x="4700" y="1052"/>
                </a:lnTo>
                <a:lnTo>
                  <a:pt x="4684" y="1048"/>
                </a:lnTo>
                <a:lnTo>
                  <a:pt x="4668" y="1040"/>
                </a:lnTo>
                <a:lnTo>
                  <a:pt x="4658" y="1034"/>
                </a:lnTo>
                <a:lnTo>
                  <a:pt x="4646" y="1032"/>
                </a:lnTo>
                <a:lnTo>
                  <a:pt x="4620" y="1028"/>
                </a:lnTo>
                <a:lnTo>
                  <a:pt x="4594" y="1028"/>
                </a:lnTo>
                <a:lnTo>
                  <a:pt x="4584" y="1030"/>
                </a:lnTo>
                <a:lnTo>
                  <a:pt x="4578" y="1032"/>
                </a:lnTo>
                <a:lnTo>
                  <a:pt x="4576" y="1036"/>
                </a:lnTo>
                <a:lnTo>
                  <a:pt x="4576" y="1040"/>
                </a:lnTo>
                <a:lnTo>
                  <a:pt x="4580" y="1044"/>
                </a:lnTo>
                <a:lnTo>
                  <a:pt x="4586" y="1048"/>
                </a:lnTo>
                <a:lnTo>
                  <a:pt x="4602" y="1056"/>
                </a:lnTo>
                <a:lnTo>
                  <a:pt x="4618" y="1058"/>
                </a:lnTo>
                <a:lnTo>
                  <a:pt x="4632" y="1060"/>
                </a:lnTo>
                <a:lnTo>
                  <a:pt x="4640" y="1064"/>
                </a:lnTo>
                <a:lnTo>
                  <a:pt x="4648" y="1068"/>
                </a:lnTo>
                <a:lnTo>
                  <a:pt x="4652" y="1072"/>
                </a:lnTo>
                <a:lnTo>
                  <a:pt x="4656" y="1076"/>
                </a:lnTo>
                <a:lnTo>
                  <a:pt x="4660" y="1082"/>
                </a:lnTo>
                <a:lnTo>
                  <a:pt x="4668" y="1084"/>
                </a:lnTo>
                <a:lnTo>
                  <a:pt x="4680" y="1086"/>
                </a:lnTo>
                <a:lnTo>
                  <a:pt x="4694" y="1088"/>
                </a:lnTo>
                <a:lnTo>
                  <a:pt x="4702" y="1092"/>
                </a:lnTo>
                <a:lnTo>
                  <a:pt x="4704" y="1094"/>
                </a:lnTo>
                <a:lnTo>
                  <a:pt x="4706" y="1098"/>
                </a:lnTo>
                <a:lnTo>
                  <a:pt x="4704" y="1106"/>
                </a:lnTo>
                <a:lnTo>
                  <a:pt x="4702" y="1112"/>
                </a:lnTo>
                <a:lnTo>
                  <a:pt x="4706" y="1118"/>
                </a:lnTo>
                <a:lnTo>
                  <a:pt x="4710" y="1120"/>
                </a:lnTo>
                <a:lnTo>
                  <a:pt x="4712" y="1120"/>
                </a:lnTo>
                <a:lnTo>
                  <a:pt x="4716" y="1116"/>
                </a:lnTo>
                <a:lnTo>
                  <a:pt x="4718" y="1112"/>
                </a:lnTo>
                <a:lnTo>
                  <a:pt x="4724" y="1106"/>
                </a:lnTo>
                <a:lnTo>
                  <a:pt x="4726" y="1108"/>
                </a:lnTo>
                <a:lnTo>
                  <a:pt x="4726" y="1114"/>
                </a:lnTo>
                <a:lnTo>
                  <a:pt x="4724" y="1120"/>
                </a:lnTo>
                <a:lnTo>
                  <a:pt x="4718" y="1134"/>
                </a:lnTo>
                <a:lnTo>
                  <a:pt x="4712" y="1148"/>
                </a:lnTo>
                <a:lnTo>
                  <a:pt x="4708" y="1162"/>
                </a:lnTo>
                <a:lnTo>
                  <a:pt x="4708" y="1170"/>
                </a:lnTo>
                <a:lnTo>
                  <a:pt x="4708" y="1174"/>
                </a:lnTo>
                <a:lnTo>
                  <a:pt x="4712" y="1182"/>
                </a:lnTo>
                <a:lnTo>
                  <a:pt x="4712" y="1184"/>
                </a:lnTo>
                <a:lnTo>
                  <a:pt x="4712" y="1186"/>
                </a:lnTo>
                <a:lnTo>
                  <a:pt x="4702" y="1192"/>
                </a:lnTo>
                <a:lnTo>
                  <a:pt x="4694" y="1194"/>
                </a:lnTo>
                <a:lnTo>
                  <a:pt x="4686" y="1194"/>
                </a:lnTo>
                <a:lnTo>
                  <a:pt x="4674" y="1192"/>
                </a:lnTo>
                <a:lnTo>
                  <a:pt x="4664" y="1190"/>
                </a:lnTo>
                <a:lnTo>
                  <a:pt x="4658" y="1190"/>
                </a:lnTo>
                <a:lnTo>
                  <a:pt x="4654" y="1192"/>
                </a:lnTo>
                <a:lnTo>
                  <a:pt x="4650" y="1196"/>
                </a:lnTo>
                <a:lnTo>
                  <a:pt x="4644" y="1198"/>
                </a:lnTo>
                <a:lnTo>
                  <a:pt x="4632" y="1200"/>
                </a:lnTo>
                <a:lnTo>
                  <a:pt x="4624" y="1204"/>
                </a:lnTo>
                <a:lnTo>
                  <a:pt x="4622" y="1206"/>
                </a:lnTo>
                <a:lnTo>
                  <a:pt x="4624" y="1208"/>
                </a:lnTo>
                <a:lnTo>
                  <a:pt x="4624" y="1212"/>
                </a:lnTo>
                <a:lnTo>
                  <a:pt x="4622" y="1214"/>
                </a:lnTo>
                <a:lnTo>
                  <a:pt x="4620" y="1214"/>
                </a:lnTo>
                <a:lnTo>
                  <a:pt x="4620" y="1216"/>
                </a:lnTo>
                <a:lnTo>
                  <a:pt x="4628" y="1220"/>
                </a:lnTo>
                <a:lnTo>
                  <a:pt x="4632" y="1224"/>
                </a:lnTo>
                <a:lnTo>
                  <a:pt x="4632" y="1228"/>
                </a:lnTo>
                <a:lnTo>
                  <a:pt x="4628" y="1232"/>
                </a:lnTo>
                <a:lnTo>
                  <a:pt x="4624" y="1234"/>
                </a:lnTo>
                <a:lnTo>
                  <a:pt x="4614" y="1240"/>
                </a:lnTo>
                <a:lnTo>
                  <a:pt x="4610" y="1242"/>
                </a:lnTo>
                <a:lnTo>
                  <a:pt x="4610" y="1246"/>
                </a:lnTo>
                <a:lnTo>
                  <a:pt x="4610" y="1252"/>
                </a:lnTo>
                <a:lnTo>
                  <a:pt x="4608" y="1260"/>
                </a:lnTo>
                <a:lnTo>
                  <a:pt x="4600" y="1284"/>
                </a:lnTo>
                <a:lnTo>
                  <a:pt x="4598" y="1290"/>
                </a:lnTo>
                <a:lnTo>
                  <a:pt x="4598" y="1296"/>
                </a:lnTo>
                <a:lnTo>
                  <a:pt x="4602" y="1300"/>
                </a:lnTo>
                <a:lnTo>
                  <a:pt x="4608" y="1302"/>
                </a:lnTo>
                <a:lnTo>
                  <a:pt x="4624" y="1304"/>
                </a:lnTo>
                <a:lnTo>
                  <a:pt x="4648" y="1304"/>
                </a:lnTo>
                <a:lnTo>
                  <a:pt x="4636" y="1312"/>
                </a:lnTo>
                <a:lnTo>
                  <a:pt x="4626" y="1320"/>
                </a:lnTo>
                <a:lnTo>
                  <a:pt x="4618" y="1328"/>
                </a:lnTo>
                <a:lnTo>
                  <a:pt x="4612" y="1336"/>
                </a:lnTo>
                <a:lnTo>
                  <a:pt x="4608" y="1346"/>
                </a:lnTo>
                <a:lnTo>
                  <a:pt x="4608" y="1354"/>
                </a:lnTo>
                <a:lnTo>
                  <a:pt x="4610" y="1360"/>
                </a:lnTo>
                <a:lnTo>
                  <a:pt x="4616" y="1368"/>
                </a:lnTo>
                <a:lnTo>
                  <a:pt x="4622" y="1372"/>
                </a:lnTo>
                <a:lnTo>
                  <a:pt x="4626" y="1376"/>
                </a:lnTo>
                <a:lnTo>
                  <a:pt x="4628" y="1384"/>
                </a:lnTo>
                <a:lnTo>
                  <a:pt x="4628" y="1388"/>
                </a:lnTo>
                <a:lnTo>
                  <a:pt x="4630" y="1390"/>
                </a:lnTo>
                <a:lnTo>
                  <a:pt x="4632" y="1392"/>
                </a:lnTo>
                <a:lnTo>
                  <a:pt x="4642" y="1394"/>
                </a:lnTo>
                <a:lnTo>
                  <a:pt x="4650" y="1398"/>
                </a:lnTo>
                <a:lnTo>
                  <a:pt x="4654" y="1404"/>
                </a:lnTo>
                <a:lnTo>
                  <a:pt x="4656" y="1410"/>
                </a:lnTo>
                <a:lnTo>
                  <a:pt x="4654" y="1414"/>
                </a:lnTo>
                <a:lnTo>
                  <a:pt x="4654" y="1418"/>
                </a:lnTo>
                <a:lnTo>
                  <a:pt x="4656" y="1422"/>
                </a:lnTo>
                <a:lnTo>
                  <a:pt x="4660" y="1424"/>
                </a:lnTo>
                <a:lnTo>
                  <a:pt x="4664" y="1430"/>
                </a:lnTo>
                <a:lnTo>
                  <a:pt x="4666" y="1434"/>
                </a:lnTo>
                <a:lnTo>
                  <a:pt x="4666" y="1440"/>
                </a:lnTo>
                <a:lnTo>
                  <a:pt x="4668" y="1448"/>
                </a:lnTo>
                <a:lnTo>
                  <a:pt x="4670" y="1450"/>
                </a:lnTo>
                <a:lnTo>
                  <a:pt x="4672" y="1452"/>
                </a:lnTo>
                <a:lnTo>
                  <a:pt x="4672" y="1462"/>
                </a:lnTo>
                <a:lnTo>
                  <a:pt x="4672" y="1476"/>
                </a:lnTo>
                <a:lnTo>
                  <a:pt x="4674" y="1482"/>
                </a:lnTo>
                <a:lnTo>
                  <a:pt x="4676" y="1486"/>
                </a:lnTo>
                <a:lnTo>
                  <a:pt x="4678" y="1488"/>
                </a:lnTo>
                <a:lnTo>
                  <a:pt x="4684" y="1486"/>
                </a:lnTo>
                <a:lnTo>
                  <a:pt x="4690" y="1480"/>
                </a:lnTo>
                <a:lnTo>
                  <a:pt x="4696" y="1470"/>
                </a:lnTo>
                <a:lnTo>
                  <a:pt x="4706" y="1454"/>
                </a:lnTo>
                <a:lnTo>
                  <a:pt x="4708" y="1454"/>
                </a:lnTo>
                <a:lnTo>
                  <a:pt x="4710" y="1456"/>
                </a:lnTo>
                <a:lnTo>
                  <a:pt x="4712" y="1462"/>
                </a:lnTo>
                <a:lnTo>
                  <a:pt x="4714" y="1462"/>
                </a:lnTo>
                <a:lnTo>
                  <a:pt x="4720" y="1460"/>
                </a:lnTo>
                <a:lnTo>
                  <a:pt x="4726" y="1456"/>
                </a:lnTo>
                <a:lnTo>
                  <a:pt x="4732" y="1454"/>
                </a:lnTo>
                <a:lnTo>
                  <a:pt x="4738" y="1452"/>
                </a:lnTo>
                <a:lnTo>
                  <a:pt x="4742" y="1452"/>
                </a:lnTo>
                <a:lnTo>
                  <a:pt x="4748" y="1454"/>
                </a:lnTo>
                <a:lnTo>
                  <a:pt x="4752" y="1458"/>
                </a:lnTo>
                <a:lnTo>
                  <a:pt x="4756" y="1462"/>
                </a:lnTo>
                <a:lnTo>
                  <a:pt x="4758" y="1468"/>
                </a:lnTo>
                <a:lnTo>
                  <a:pt x="4758" y="1474"/>
                </a:lnTo>
                <a:lnTo>
                  <a:pt x="4756" y="1474"/>
                </a:lnTo>
                <a:lnTo>
                  <a:pt x="4748" y="1470"/>
                </a:lnTo>
                <a:lnTo>
                  <a:pt x="4738" y="1462"/>
                </a:lnTo>
                <a:lnTo>
                  <a:pt x="4732" y="1462"/>
                </a:lnTo>
                <a:lnTo>
                  <a:pt x="4728" y="1462"/>
                </a:lnTo>
                <a:lnTo>
                  <a:pt x="4724" y="1466"/>
                </a:lnTo>
                <a:lnTo>
                  <a:pt x="4724" y="1468"/>
                </a:lnTo>
                <a:lnTo>
                  <a:pt x="4732" y="1472"/>
                </a:lnTo>
                <a:lnTo>
                  <a:pt x="4734" y="1474"/>
                </a:lnTo>
                <a:lnTo>
                  <a:pt x="4736" y="1476"/>
                </a:lnTo>
                <a:lnTo>
                  <a:pt x="4734" y="1476"/>
                </a:lnTo>
                <a:lnTo>
                  <a:pt x="4726" y="1478"/>
                </a:lnTo>
                <a:lnTo>
                  <a:pt x="4720" y="1478"/>
                </a:lnTo>
                <a:lnTo>
                  <a:pt x="4716" y="1480"/>
                </a:lnTo>
                <a:lnTo>
                  <a:pt x="4716" y="1482"/>
                </a:lnTo>
                <a:lnTo>
                  <a:pt x="4716" y="1484"/>
                </a:lnTo>
                <a:lnTo>
                  <a:pt x="4718" y="1486"/>
                </a:lnTo>
                <a:lnTo>
                  <a:pt x="4716" y="1488"/>
                </a:lnTo>
                <a:lnTo>
                  <a:pt x="4712" y="1490"/>
                </a:lnTo>
                <a:lnTo>
                  <a:pt x="4704" y="1492"/>
                </a:lnTo>
                <a:lnTo>
                  <a:pt x="4692" y="1494"/>
                </a:lnTo>
                <a:lnTo>
                  <a:pt x="4694" y="1496"/>
                </a:lnTo>
                <a:lnTo>
                  <a:pt x="4696" y="1500"/>
                </a:lnTo>
                <a:lnTo>
                  <a:pt x="4696" y="1502"/>
                </a:lnTo>
                <a:lnTo>
                  <a:pt x="4694" y="1502"/>
                </a:lnTo>
                <a:lnTo>
                  <a:pt x="4692" y="1504"/>
                </a:lnTo>
                <a:lnTo>
                  <a:pt x="4690" y="1506"/>
                </a:lnTo>
                <a:lnTo>
                  <a:pt x="4694" y="1510"/>
                </a:lnTo>
                <a:lnTo>
                  <a:pt x="4696" y="1512"/>
                </a:lnTo>
                <a:lnTo>
                  <a:pt x="4698" y="1516"/>
                </a:lnTo>
                <a:lnTo>
                  <a:pt x="4696" y="1518"/>
                </a:lnTo>
                <a:lnTo>
                  <a:pt x="4696" y="1522"/>
                </a:lnTo>
                <a:lnTo>
                  <a:pt x="4696" y="1524"/>
                </a:lnTo>
                <a:lnTo>
                  <a:pt x="4698" y="1532"/>
                </a:lnTo>
                <a:lnTo>
                  <a:pt x="4710" y="1552"/>
                </a:lnTo>
                <a:lnTo>
                  <a:pt x="4714" y="1556"/>
                </a:lnTo>
                <a:lnTo>
                  <a:pt x="4718" y="1560"/>
                </a:lnTo>
                <a:lnTo>
                  <a:pt x="4728" y="1562"/>
                </a:lnTo>
                <a:lnTo>
                  <a:pt x="4734" y="1562"/>
                </a:lnTo>
                <a:lnTo>
                  <a:pt x="4734" y="1564"/>
                </a:lnTo>
                <a:lnTo>
                  <a:pt x="4734" y="1568"/>
                </a:lnTo>
                <a:lnTo>
                  <a:pt x="4734" y="1572"/>
                </a:lnTo>
                <a:lnTo>
                  <a:pt x="4734" y="1574"/>
                </a:lnTo>
                <a:lnTo>
                  <a:pt x="4738" y="1582"/>
                </a:lnTo>
                <a:lnTo>
                  <a:pt x="4742" y="1588"/>
                </a:lnTo>
                <a:lnTo>
                  <a:pt x="4744" y="1592"/>
                </a:lnTo>
                <a:lnTo>
                  <a:pt x="4744" y="1596"/>
                </a:lnTo>
                <a:lnTo>
                  <a:pt x="4744" y="1604"/>
                </a:lnTo>
                <a:lnTo>
                  <a:pt x="4746" y="1610"/>
                </a:lnTo>
                <a:lnTo>
                  <a:pt x="4752" y="1614"/>
                </a:lnTo>
                <a:lnTo>
                  <a:pt x="4762" y="1618"/>
                </a:lnTo>
                <a:lnTo>
                  <a:pt x="4768" y="1622"/>
                </a:lnTo>
                <a:lnTo>
                  <a:pt x="4770" y="1626"/>
                </a:lnTo>
                <a:lnTo>
                  <a:pt x="4772" y="1630"/>
                </a:lnTo>
                <a:lnTo>
                  <a:pt x="4770" y="1634"/>
                </a:lnTo>
                <a:lnTo>
                  <a:pt x="4770" y="1638"/>
                </a:lnTo>
                <a:lnTo>
                  <a:pt x="4770" y="1640"/>
                </a:lnTo>
                <a:lnTo>
                  <a:pt x="4774" y="1638"/>
                </a:lnTo>
                <a:lnTo>
                  <a:pt x="4778" y="1638"/>
                </a:lnTo>
                <a:lnTo>
                  <a:pt x="4780" y="1640"/>
                </a:lnTo>
                <a:lnTo>
                  <a:pt x="4782" y="1646"/>
                </a:lnTo>
                <a:lnTo>
                  <a:pt x="4782" y="1654"/>
                </a:lnTo>
                <a:lnTo>
                  <a:pt x="4784" y="1656"/>
                </a:lnTo>
                <a:lnTo>
                  <a:pt x="4786" y="1656"/>
                </a:lnTo>
                <a:lnTo>
                  <a:pt x="4792" y="1654"/>
                </a:lnTo>
                <a:lnTo>
                  <a:pt x="4794" y="1656"/>
                </a:lnTo>
                <a:lnTo>
                  <a:pt x="4794" y="1662"/>
                </a:lnTo>
                <a:lnTo>
                  <a:pt x="4790" y="1670"/>
                </a:lnTo>
                <a:lnTo>
                  <a:pt x="4790" y="1676"/>
                </a:lnTo>
                <a:lnTo>
                  <a:pt x="4792" y="1678"/>
                </a:lnTo>
                <a:lnTo>
                  <a:pt x="4802" y="1678"/>
                </a:lnTo>
                <a:lnTo>
                  <a:pt x="4814" y="1678"/>
                </a:lnTo>
                <a:lnTo>
                  <a:pt x="4816" y="1680"/>
                </a:lnTo>
                <a:lnTo>
                  <a:pt x="4816" y="1684"/>
                </a:lnTo>
                <a:lnTo>
                  <a:pt x="4814" y="1688"/>
                </a:lnTo>
                <a:lnTo>
                  <a:pt x="4814" y="1692"/>
                </a:lnTo>
                <a:lnTo>
                  <a:pt x="4816" y="1694"/>
                </a:lnTo>
                <a:lnTo>
                  <a:pt x="4820" y="1694"/>
                </a:lnTo>
                <a:lnTo>
                  <a:pt x="4826" y="1694"/>
                </a:lnTo>
                <a:lnTo>
                  <a:pt x="4830" y="1696"/>
                </a:lnTo>
                <a:lnTo>
                  <a:pt x="4832" y="1698"/>
                </a:lnTo>
                <a:lnTo>
                  <a:pt x="4834" y="1700"/>
                </a:lnTo>
                <a:lnTo>
                  <a:pt x="4832" y="1702"/>
                </a:lnTo>
                <a:lnTo>
                  <a:pt x="4830" y="1702"/>
                </a:lnTo>
                <a:lnTo>
                  <a:pt x="4826" y="1704"/>
                </a:lnTo>
                <a:lnTo>
                  <a:pt x="4826" y="1708"/>
                </a:lnTo>
                <a:lnTo>
                  <a:pt x="4826" y="1712"/>
                </a:lnTo>
                <a:lnTo>
                  <a:pt x="4830" y="1720"/>
                </a:lnTo>
                <a:lnTo>
                  <a:pt x="4832" y="1724"/>
                </a:lnTo>
                <a:lnTo>
                  <a:pt x="4836" y="1726"/>
                </a:lnTo>
                <a:lnTo>
                  <a:pt x="4840" y="1726"/>
                </a:lnTo>
                <a:lnTo>
                  <a:pt x="4846" y="1726"/>
                </a:lnTo>
                <a:lnTo>
                  <a:pt x="4852" y="1722"/>
                </a:lnTo>
                <a:lnTo>
                  <a:pt x="4860" y="1716"/>
                </a:lnTo>
                <a:lnTo>
                  <a:pt x="4868" y="1712"/>
                </a:lnTo>
                <a:lnTo>
                  <a:pt x="4874" y="1710"/>
                </a:lnTo>
                <a:lnTo>
                  <a:pt x="4878" y="1712"/>
                </a:lnTo>
                <a:lnTo>
                  <a:pt x="4880" y="1712"/>
                </a:lnTo>
                <a:lnTo>
                  <a:pt x="4884" y="1716"/>
                </a:lnTo>
                <a:lnTo>
                  <a:pt x="4886" y="1716"/>
                </a:lnTo>
                <a:lnTo>
                  <a:pt x="4890" y="1712"/>
                </a:lnTo>
                <a:lnTo>
                  <a:pt x="4900" y="1706"/>
                </a:lnTo>
                <a:lnTo>
                  <a:pt x="4910" y="1702"/>
                </a:lnTo>
                <a:lnTo>
                  <a:pt x="4916" y="1698"/>
                </a:lnTo>
                <a:lnTo>
                  <a:pt x="4918" y="1696"/>
                </a:lnTo>
                <a:lnTo>
                  <a:pt x="4918" y="1692"/>
                </a:lnTo>
                <a:lnTo>
                  <a:pt x="4918" y="1688"/>
                </a:lnTo>
                <a:lnTo>
                  <a:pt x="4918" y="1686"/>
                </a:lnTo>
                <a:lnTo>
                  <a:pt x="4920" y="1686"/>
                </a:lnTo>
                <a:lnTo>
                  <a:pt x="4924" y="1690"/>
                </a:lnTo>
                <a:lnTo>
                  <a:pt x="4926" y="1694"/>
                </a:lnTo>
                <a:lnTo>
                  <a:pt x="4926" y="1698"/>
                </a:lnTo>
                <a:lnTo>
                  <a:pt x="4926" y="1704"/>
                </a:lnTo>
                <a:lnTo>
                  <a:pt x="4922" y="1708"/>
                </a:lnTo>
                <a:lnTo>
                  <a:pt x="4914" y="1718"/>
                </a:lnTo>
                <a:lnTo>
                  <a:pt x="4912" y="1724"/>
                </a:lnTo>
                <a:lnTo>
                  <a:pt x="4912" y="1728"/>
                </a:lnTo>
                <a:lnTo>
                  <a:pt x="4916" y="1730"/>
                </a:lnTo>
                <a:lnTo>
                  <a:pt x="4926" y="1736"/>
                </a:lnTo>
                <a:lnTo>
                  <a:pt x="4936" y="1738"/>
                </a:lnTo>
                <a:lnTo>
                  <a:pt x="4944" y="1738"/>
                </a:lnTo>
                <a:lnTo>
                  <a:pt x="4956" y="1738"/>
                </a:lnTo>
                <a:lnTo>
                  <a:pt x="4962" y="1738"/>
                </a:lnTo>
                <a:lnTo>
                  <a:pt x="4962" y="1740"/>
                </a:lnTo>
                <a:lnTo>
                  <a:pt x="4962" y="1744"/>
                </a:lnTo>
                <a:lnTo>
                  <a:pt x="4956" y="1752"/>
                </a:lnTo>
                <a:lnTo>
                  <a:pt x="4954" y="1758"/>
                </a:lnTo>
                <a:lnTo>
                  <a:pt x="4952" y="1762"/>
                </a:lnTo>
                <a:lnTo>
                  <a:pt x="4954" y="1766"/>
                </a:lnTo>
                <a:lnTo>
                  <a:pt x="4958" y="1768"/>
                </a:lnTo>
                <a:lnTo>
                  <a:pt x="4964" y="1770"/>
                </a:lnTo>
                <a:lnTo>
                  <a:pt x="4968" y="1770"/>
                </a:lnTo>
                <a:lnTo>
                  <a:pt x="4974" y="1768"/>
                </a:lnTo>
                <a:lnTo>
                  <a:pt x="4978" y="1766"/>
                </a:lnTo>
                <a:lnTo>
                  <a:pt x="4988" y="1758"/>
                </a:lnTo>
                <a:lnTo>
                  <a:pt x="4990" y="1758"/>
                </a:lnTo>
                <a:lnTo>
                  <a:pt x="4992" y="1758"/>
                </a:lnTo>
                <a:lnTo>
                  <a:pt x="4998" y="1762"/>
                </a:lnTo>
                <a:lnTo>
                  <a:pt x="5006" y="1770"/>
                </a:lnTo>
                <a:lnTo>
                  <a:pt x="5018" y="1776"/>
                </a:lnTo>
                <a:lnTo>
                  <a:pt x="5022" y="1776"/>
                </a:lnTo>
                <a:lnTo>
                  <a:pt x="5026" y="1774"/>
                </a:lnTo>
                <a:lnTo>
                  <a:pt x="5030" y="1772"/>
                </a:lnTo>
                <a:lnTo>
                  <a:pt x="5034" y="1768"/>
                </a:lnTo>
                <a:lnTo>
                  <a:pt x="5036" y="1762"/>
                </a:lnTo>
                <a:lnTo>
                  <a:pt x="5036" y="1756"/>
                </a:lnTo>
                <a:lnTo>
                  <a:pt x="5036" y="1748"/>
                </a:lnTo>
                <a:lnTo>
                  <a:pt x="5034" y="1746"/>
                </a:lnTo>
                <a:lnTo>
                  <a:pt x="5030" y="1744"/>
                </a:lnTo>
                <a:lnTo>
                  <a:pt x="5028" y="1744"/>
                </a:lnTo>
                <a:lnTo>
                  <a:pt x="5022" y="1746"/>
                </a:lnTo>
                <a:lnTo>
                  <a:pt x="5024" y="1742"/>
                </a:lnTo>
                <a:lnTo>
                  <a:pt x="5026" y="1740"/>
                </a:lnTo>
                <a:lnTo>
                  <a:pt x="5030" y="1736"/>
                </a:lnTo>
                <a:lnTo>
                  <a:pt x="5040" y="1732"/>
                </a:lnTo>
                <a:lnTo>
                  <a:pt x="5044" y="1730"/>
                </a:lnTo>
                <a:lnTo>
                  <a:pt x="5048" y="1728"/>
                </a:lnTo>
                <a:lnTo>
                  <a:pt x="5048" y="1724"/>
                </a:lnTo>
                <a:lnTo>
                  <a:pt x="5048" y="1718"/>
                </a:lnTo>
                <a:lnTo>
                  <a:pt x="5048" y="1710"/>
                </a:lnTo>
                <a:lnTo>
                  <a:pt x="5050" y="1700"/>
                </a:lnTo>
                <a:lnTo>
                  <a:pt x="5060" y="1676"/>
                </a:lnTo>
                <a:lnTo>
                  <a:pt x="5070" y="1650"/>
                </a:lnTo>
                <a:lnTo>
                  <a:pt x="5072" y="1640"/>
                </a:lnTo>
                <a:lnTo>
                  <a:pt x="5072" y="1630"/>
                </a:lnTo>
                <a:lnTo>
                  <a:pt x="5070" y="1624"/>
                </a:lnTo>
                <a:lnTo>
                  <a:pt x="5068" y="1622"/>
                </a:lnTo>
                <a:lnTo>
                  <a:pt x="5066" y="1620"/>
                </a:lnTo>
                <a:lnTo>
                  <a:pt x="5064" y="1622"/>
                </a:lnTo>
                <a:lnTo>
                  <a:pt x="5062" y="1622"/>
                </a:lnTo>
                <a:lnTo>
                  <a:pt x="5060" y="1622"/>
                </a:lnTo>
                <a:lnTo>
                  <a:pt x="5056" y="1620"/>
                </a:lnTo>
                <a:lnTo>
                  <a:pt x="5050" y="1614"/>
                </a:lnTo>
                <a:lnTo>
                  <a:pt x="5048" y="1610"/>
                </a:lnTo>
                <a:lnTo>
                  <a:pt x="5048" y="1608"/>
                </a:lnTo>
                <a:lnTo>
                  <a:pt x="5058" y="1612"/>
                </a:lnTo>
                <a:lnTo>
                  <a:pt x="5068" y="1614"/>
                </a:lnTo>
                <a:lnTo>
                  <a:pt x="5072" y="1614"/>
                </a:lnTo>
                <a:lnTo>
                  <a:pt x="5072" y="1610"/>
                </a:lnTo>
                <a:lnTo>
                  <a:pt x="5070" y="1604"/>
                </a:lnTo>
                <a:lnTo>
                  <a:pt x="5068" y="1602"/>
                </a:lnTo>
                <a:lnTo>
                  <a:pt x="5062" y="1598"/>
                </a:lnTo>
                <a:lnTo>
                  <a:pt x="5056" y="1596"/>
                </a:lnTo>
                <a:lnTo>
                  <a:pt x="5056" y="1594"/>
                </a:lnTo>
                <a:lnTo>
                  <a:pt x="5058" y="1592"/>
                </a:lnTo>
                <a:lnTo>
                  <a:pt x="5062" y="1588"/>
                </a:lnTo>
                <a:lnTo>
                  <a:pt x="5066" y="1586"/>
                </a:lnTo>
                <a:lnTo>
                  <a:pt x="5080" y="1584"/>
                </a:lnTo>
                <a:lnTo>
                  <a:pt x="5086" y="1582"/>
                </a:lnTo>
                <a:lnTo>
                  <a:pt x="5092" y="1578"/>
                </a:lnTo>
                <a:lnTo>
                  <a:pt x="5096" y="1574"/>
                </a:lnTo>
                <a:lnTo>
                  <a:pt x="5098" y="1566"/>
                </a:lnTo>
                <a:lnTo>
                  <a:pt x="5100" y="1560"/>
                </a:lnTo>
                <a:lnTo>
                  <a:pt x="5102" y="1556"/>
                </a:lnTo>
                <a:lnTo>
                  <a:pt x="5106" y="1556"/>
                </a:lnTo>
                <a:lnTo>
                  <a:pt x="5108" y="1558"/>
                </a:lnTo>
                <a:lnTo>
                  <a:pt x="5114" y="1562"/>
                </a:lnTo>
                <a:lnTo>
                  <a:pt x="5116" y="1560"/>
                </a:lnTo>
                <a:lnTo>
                  <a:pt x="5116" y="1556"/>
                </a:lnTo>
                <a:lnTo>
                  <a:pt x="5118" y="1550"/>
                </a:lnTo>
                <a:lnTo>
                  <a:pt x="5122" y="1544"/>
                </a:lnTo>
                <a:lnTo>
                  <a:pt x="5130" y="1538"/>
                </a:lnTo>
                <a:lnTo>
                  <a:pt x="5136" y="1530"/>
                </a:lnTo>
                <a:lnTo>
                  <a:pt x="5138" y="1526"/>
                </a:lnTo>
                <a:lnTo>
                  <a:pt x="5138" y="1520"/>
                </a:lnTo>
                <a:lnTo>
                  <a:pt x="5136" y="1508"/>
                </a:lnTo>
                <a:lnTo>
                  <a:pt x="5138" y="1502"/>
                </a:lnTo>
                <a:lnTo>
                  <a:pt x="5136" y="1500"/>
                </a:lnTo>
                <a:lnTo>
                  <a:pt x="5134" y="1498"/>
                </a:lnTo>
                <a:lnTo>
                  <a:pt x="5122" y="1498"/>
                </a:lnTo>
                <a:lnTo>
                  <a:pt x="5114" y="1496"/>
                </a:lnTo>
                <a:lnTo>
                  <a:pt x="5106" y="1494"/>
                </a:lnTo>
                <a:lnTo>
                  <a:pt x="5102" y="1492"/>
                </a:lnTo>
                <a:lnTo>
                  <a:pt x="5098" y="1488"/>
                </a:lnTo>
                <a:lnTo>
                  <a:pt x="5098" y="1486"/>
                </a:lnTo>
                <a:lnTo>
                  <a:pt x="5098" y="1484"/>
                </a:lnTo>
                <a:lnTo>
                  <a:pt x="5100" y="1484"/>
                </a:lnTo>
                <a:lnTo>
                  <a:pt x="5106" y="1484"/>
                </a:lnTo>
                <a:lnTo>
                  <a:pt x="5112" y="1486"/>
                </a:lnTo>
                <a:lnTo>
                  <a:pt x="5116" y="1486"/>
                </a:lnTo>
                <a:lnTo>
                  <a:pt x="5124" y="1484"/>
                </a:lnTo>
                <a:lnTo>
                  <a:pt x="5130" y="1482"/>
                </a:lnTo>
                <a:lnTo>
                  <a:pt x="5136" y="1482"/>
                </a:lnTo>
                <a:lnTo>
                  <a:pt x="5144" y="1482"/>
                </a:lnTo>
                <a:lnTo>
                  <a:pt x="5144" y="1480"/>
                </a:lnTo>
                <a:lnTo>
                  <a:pt x="5144" y="1478"/>
                </a:lnTo>
                <a:lnTo>
                  <a:pt x="5140" y="1468"/>
                </a:lnTo>
                <a:lnTo>
                  <a:pt x="5126" y="1454"/>
                </a:lnTo>
                <a:lnTo>
                  <a:pt x="5120" y="1446"/>
                </a:lnTo>
                <a:lnTo>
                  <a:pt x="5116" y="1440"/>
                </a:lnTo>
                <a:lnTo>
                  <a:pt x="5118" y="1436"/>
                </a:lnTo>
                <a:lnTo>
                  <a:pt x="5120" y="1434"/>
                </a:lnTo>
                <a:lnTo>
                  <a:pt x="5126" y="1434"/>
                </a:lnTo>
                <a:lnTo>
                  <a:pt x="5132" y="1434"/>
                </a:lnTo>
                <a:lnTo>
                  <a:pt x="5146" y="1436"/>
                </a:lnTo>
                <a:lnTo>
                  <a:pt x="5152" y="1438"/>
                </a:lnTo>
                <a:lnTo>
                  <a:pt x="5158" y="1436"/>
                </a:lnTo>
                <a:lnTo>
                  <a:pt x="5160" y="1432"/>
                </a:lnTo>
                <a:lnTo>
                  <a:pt x="5164" y="1428"/>
                </a:lnTo>
                <a:lnTo>
                  <a:pt x="5168" y="1420"/>
                </a:lnTo>
                <a:lnTo>
                  <a:pt x="5170" y="1418"/>
                </a:lnTo>
                <a:lnTo>
                  <a:pt x="5174" y="1418"/>
                </a:lnTo>
                <a:lnTo>
                  <a:pt x="5180" y="1418"/>
                </a:lnTo>
                <a:lnTo>
                  <a:pt x="5184" y="1418"/>
                </a:lnTo>
                <a:lnTo>
                  <a:pt x="5180" y="1414"/>
                </a:lnTo>
                <a:lnTo>
                  <a:pt x="5170" y="1408"/>
                </a:lnTo>
                <a:lnTo>
                  <a:pt x="5162" y="1404"/>
                </a:lnTo>
                <a:lnTo>
                  <a:pt x="5162" y="1402"/>
                </a:lnTo>
                <a:lnTo>
                  <a:pt x="5168" y="1402"/>
                </a:lnTo>
                <a:lnTo>
                  <a:pt x="5174" y="1398"/>
                </a:lnTo>
                <a:lnTo>
                  <a:pt x="5180" y="1396"/>
                </a:lnTo>
                <a:lnTo>
                  <a:pt x="5188" y="1398"/>
                </a:lnTo>
                <a:lnTo>
                  <a:pt x="5196" y="1398"/>
                </a:lnTo>
                <a:lnTo>
                  <a:pt x="5208" y="1398"/>
                </a:lnTo>
                <a:lnTo>
                  <a:pt x="5218" y="1396"/>
                </a:lnTo>
                <a:lnTo>
                  <a:pt x="5224" y="1396"/>
                </a:lnTo>
                <a:lnTo>
                  <a:pt x="5230" y="1394"/>
                </a:lnTo>
                <a:lnTo>
                  <a:pt x="5234" y="1390"/>
                </a:lnTo>
                <a:lnTo>
                  <a:pt x="5236" y="1386"/>
                </a:lnTo>
                <a:lnTo>
                  <a:pt x="5234" y="1382"/>
                </a:lnTo>
                <a:lnTo>
                  <a:pt x="5234" y="1380"/>
                </a:lnTo>
                <a:lnTo>
                  <a:pt x="5238" y="1376"/>
                </a:lnTo>
                <a:lnTo>
                  <a:pt x="5242" y="1370"/>
                </a:lnTo>
                <a:lnTo>
                  <a:pt x="5240" y="1368"/>
                </a:lnTo>
                <a:lnTo>
                  <a:pt x="5240" y="1364"/>
                </a:lnTo>
                <a:lnTo>
                  <a:pt x="5248" y="1358"/>
                </a:lnTo>
                <a:lnTo>
                  <a:pt x="5250" y="1356"/>
                </a:lnTo>
                <a:lnTo>
                  <a:pt x="5252" y="1354"/>
                </a:lnTo>
                <a:lnTo>
                  <a:pt x="5250" y="1350"/>
                </a:lnTo>
                <a:lnTo>
                  <a:pt x="5248" y="1348"/>
                </a:lnTo>
                <a:lnTo>
                  <a:pt x="5242" y="1346"/>
                </a:lnTo>
                <a:lnTo>
                  <a:pt x="5242" y="1344"/>
                </a:lnTo>
                <a:lnTo>
                  <a:pt x="5242" y="1342"/>
                </a:lnTo>
                <a:lnTo>
                  <a:pt x="5246" y="1342"/>
                </a:lnTo>
                <a:lnTo>
                  <a:pt x="5250" y="1342"/>
                </a:lnTo>
                <a:lnTo>
                  <a:pt x="5256" y="1344"/>
                </a:lnTo>
                <a:lnTo>
                  <a:pt x="5266" y="1344"/>
                </a:lnTo>
                <a:lnTo>
                  <a:pt x="5272" y="1344"/>
                </a:lnTo>
                <a:lnTo>
                  <a:pt x="5270" y="1346"/>
                </a:lnTo>
                <a:lnTo>
                  <a:pt x="5264" y="1352"/>
                </a:lnTo>
                <a:lnTo>
                  <a:pt x="5260" y="1356"/>
                </a:lnTo>
                <a:lnTo>
                  <a:pt x="5258" y="1360"/>
                </a:lnTo>
                <a:lnTo>
                  <a:pt x="5254" y="1364"/>
                </a:lnTo>
                <a:lnTo>
                  <a:pt x="5250" y="1366"/>
                </a:lnTo>
                <a:lnTo>
                  <a:pt x="5248" y="1372"/>
                </a:lnTo>
                <a:lnTo>
                  <a:pt x="5248" y="1378"/>
                </a:lnTo>
                <a:lnTo>
                  <a:pt x="5244" y="1386"/>
                </a:lnTo>
                <a:lnTo>
                  <a:pt x="5242" y="1392"/>
                </a:lnTo>
                <a:lnTo>
                  <a:pt x="5242" y="1394"/>
                </a:lnTo>
                <a:lnTo>
                  <a:pt x="5244" y="1396"/>
                </a:lnTo>
                <a:lnTo>
                  <a:pt x="5250" y="1398"/>
                </a:lnTo>
                <a:lnTo>
                  <a:pt x="5256" y="1398"/>
                </a:lnTo>
                <a:lnTo>
                  <a:pt x="5262" y="1396"/>
                </a:lnTo>
                <a:lnTo>
                  <a:pt x="5268" y="1390"/>
                </a:lnTo>
                <a:lnTo>
                  <a:pt x="5276" y="1380"/>
                </a:lnTo>
                <a:lnTo>
                  <a:pt x="5280" y="1380"/>
                </a:lnTo>
                <a:lnTo>
                  <a:pt x="5284" y="1382"/>
                </a:lnTo>
                <a:lnTo>
                  <a:pt x="5290" y="1386"/>
                </a:lnTo>
                <a:lnTo>
                  <a:pt x="5292" y="1384"/>
                </a:lnTo>
                <a:lnTo>
                  <a:pt x="5292" y="1380"/>
                </a:lnTo>
                <a:lnTo>
                  <a:pt x="5290" y="1378"/>
                </a:lnTo>
                <a:lnTo>
                  <a:pt x="5288" y="1376"/>
                </a:lnTo>
                <a:lnTo>
                  <a:pt x="5290" y="1374"/>
                </a:lnTo>
                <a:lnTo>
                  <a:pt x="5294" y="1370"/>
                </a:lnTo>
                <a:lnTo>
                  <a:pt x="5300" y="1370"/>
                </a:lnTo>
                <a:lnTo>
                  <a:pt x="5302" y="1370"/>
                </a:lnTo>
                <a:lnTo>
                  <a:pt x="5306" y="1370"/>
                </a:lnTo>
                <a:lnTo>
                  <a:pt x="5308" y="1372"/>
                </a:lnTo>
                <a:lnTo>
                  <a:pt x="5312" y="1372"/>
                </a:lnTo>
                <a:lnTo>
                  <a:pt x="5320" y="1370"/>
                </a:lnTo>
                <a:lnTo>
                  <a:pt x="5336" y="1362"/>
                </a:lnTo>
                <a:lnTo>
                  <a:pt x="5338" y="1358"/>
                </a:lnTo>
                <a:lnTo>
                  <a:pt x="5338" y="1354"/>
                </a:lnTo>
                <a:lnTo>
                  <a:pt x="5338" y="1350"/>
                </a:lnTo>
                <a:lnTo>
                  <a:pt x="5340" y="1350"/>
                </a:lnTo>
                <a:lnTo>
                  <a:pt x="5340" y="1348"/>
                </a:lnTo>
                <a:lnTo>
                  <a:pt x="5344" y="1350"/>
                </a:lnTo>
                <a:lnTo>
                  <a:pt x="5346" y="1350"/>
                </a:lnTo>
                <a:lnTo>
                  <a:pt x="5346" y="1352"/>
                </a:lnTo>
                <a:lnTo>
                  <a:pt x="5348" y="1354"/>
                </a:lnTo>
                <a:lnTo>
                  <a:pt x="5358" y="1350"/>
                </a:lnTo>
                <a:lnTo>
                  <a:pt x="5368" y="1344"/>
                </a:lnTo>
                <a:lnTo>
                  <a:pt x="5394" y="1324"/>
                </a:lnTo>
                <a:lnTo>
                  <a:pt x="5406" y="1312"/>
                </a:lnTo>
                <a:lnTo>
                  <a:pt x="5416" y="1300"/>
                </a:lnTo>
                <a:lnTo>
                  <a:pt x="5424" y="1290"/>
                </a:lnTo>
                <a:lnTo>
                  <a:pt x="5428" y="1280"/>
                </a:lnTo>
                <a:lnTo>
                  <a:pt x="5436" y="1264"/>
                </a:lnTo>
                <a:lnTo>
                  <a:pt x="5446" y="1250"/>
                </a:lnTo>
                <a:lnTo>
                  <a:pt x="5458" y="1240"/>
                </a:lnTo>
                <a:lnTo>
                  <a:pt x="5464" y="1238"/>
                </a:lnTo>
                <a:lnTo>
                  <a:pt x="5470" y="1238"/>
                </a:lnTo>
                <a:lnTo>
                  <a:pt x="5480" y="1236"/>
                </a:lnTo>
                <a:lnTo>
                  <a:pt x="5482" y="1234"/>
                </a:lnTo>
                <a:lnTo>
                  <a:pt x="5484" y="1230"/>
                </a:lnTo>
                <a:lnTo>
                  <a:pt x="5484" y="1226"/>
                </a:lnTo>
                <a:lnTo>
                  <a:pt x="5482" y="1220"/>
                </a:lnTo>
                <a:lnTo>
                  <a:pt x="5476" y="1214"/>
                </a:lnTo>
                <a:lnTo>
                  <a:pt x="5468" y="1204"/>
                </a:lnTo>
                <a:lnTo>
                  <a:pt x="5462" y="1196"/>
                </a:lnTo>
                <a:lnTo>
                  <a:pt x="5462" y="1194"/>
                </a:lnTo>
                <a:lnTo>
                  <a:pt x="5472" y="1200"/>
                </a:lnTo>
                <a:lnTo>
                  <a:pt x="5506" y="1222"/>
                </a:lnTo>
                <a:lnTo>
                  <a:pt x="5522" y="1226"/>
                </a:lnTo>
                <a:lnTo>
                  <a:pt x="5530" y="1228"/>
                </a:lnTo>
                <a:lnTo>
                  <a:pt x="5538" y="1228"/>
                </a:lnTo>
                <a:lnTo>
                  <a:pt x="5546" y="1226"/>
                </a:lnTo>
                <a:lnTo>
                  <a:pt x="5554" y="1222"/>
                </a:lnTo>
                <a:lnTo>
                  <a:pt x="5560" y="1218"/>
                </a:lnTo>
                <a:lnTo>
                  <a:pt x="5566" y="1212"/>
                </a:lnTo>
                <a:lnTo>
                  <a:pt x="5568" y="1206"/>
                </a:lnTo>
                <a:lnTo>
                  <a:pt x="5572" y="1204"/>
                </a:lnTo>
                <a:lnTo>
                  <a:pt x="5574" y="1204"/>
                </a:lnTo>
                <a:lnTo>
                  <a:pt x="5578" y="1206"/>
                </a:lnTo>
                <a:lnTo>
                  <a:pt x="5584" y="1208"/>
                </a:lnTo>
                <a:lnTo>
                  <a:pt x="5592" y="1208"/>
                </a:lnTo>
                <a:lnTo>
                  <a:pt x="5602" y="1206"/>
                </a:lnTo>
                <a:lnTo>
                  <a:pt x="5618" y="1202"/>
                </a:lnTo>
                <a:lnTo>
                  <a:pt x="5636" y="1196"/>
                </a:lnTo>
                <a:lnTo>
                  <a:pt x="5656" y="1190"/>
                </a:lnTo>
                <a:lnTo>
                  <a:pt x="5692" y="1184"/>
                </a:lnTo>
                <a:lnTo>
                  <a:pt x="5722" y="1176"/>
                </a:lnTo>
                <a:lnTo>
                  <a:pt x="5734" y="1172"/>
                </a:lnTo>
                <a:lnTo>
                  <a:pt x="5742" y="1166"/>
                </a:lnTo>
                <a:lnTo>
                  <a:pt x="5756" y="1152"/>
                </a:lnTo>
                <a:lnTo>
                  <a:pt x="5770" y="1140"/>
                </a:lnTo>
                <a:lnTo>
                  <a:pt x="5786" y="1132"/>
                </a:lnTo>
                <a:lnTo>
                  <a:pt x="5796" y="1128"/>
                </a:lnTo>
                <a:lnTo>
                  <a:pt x="5806" y="1126"/>
                </a:lnTo>
                <a:lnTo>
                  <a:pt x="5814" y="1124"/>
                </a:lnTo>
                <a:lnTo>
                  <a:pt x="5818" y="1122"/>
                </a:lnTo>
                <a:lnTo>
                  <a:pt x="5818" y="1118"/>
                </a:lnTo>
                <a:lnTo>
                  <a:pt x="5818" y="1114"/>
                </a:lnTo>
                <a:lnTo>
                  <a:pt x="5818" y="1112"/>
                </a:lnTo>
                <a:lnTo>
                  <a:pt x="5818" y="1108"/>
                </a:lnTo>
                <a:lnTo>
                  <a:pt x="5822" y="1106"/>
                </a:lnTo>
                <a:lnTo>
                  <a:pt x="5832" y="1104"/>
                </a:lnTo>
                <a:lnTo>
                  <a:pt x="5846" y="1104"/>
                </a:lnTo>
                <a:lnTo>
                  <a:pt x="5848" y="1102"/>
                </a:lnTo>
                <a:lnTo>
                  <a:pt x="5850" y="1100"/>
                </a:lnTo>
                <a:lnTo>
                  <a:pt x="5854" y="1094"/>
                </a:lnTo>
                <a:lnTo>
                  <a:pt x="5858" y="1092"/>
                </a:lnTo>
                <a:lnTo>
                  <a:pt x="5868" y="1086"/>
                </a:lnTo>
                <a:lnTo>
                  <a:pt x="5882" y="1078"/>
                </a:lnTo>
                <a:lnTo>
                  <a:pt x="5882" y="1076"/>
                </a:lnTo>
                <a:lnTo>
                  <a:pt x="5880" y="1076"/>
                </a:lnTo>
                <a:lnTo>
                  <a:pt x="5864" y="1076"/>
                </a:lnTo>
                <a:lnTo>
                  <a:pt x="5836" y="1078"/>
                </a:lnTo>
                <a:lnTo>
                  <a:pt x="5820" y="1078"/>
                </a:lnTo>
                <a:lnTo>
                  <a:pt x="5806" y="1076"/>
                </a:lnTo>
                <a:lnTo>
                  <a:pt x="5794" y="1070"/>
                </a:lnTo>
                <a:lnTo>
                  <a:pt x="5780" y="1064"/>
                </a:lnTo>
                <a:lnTo>
                  <a:pt x="5768" y="1058"/>
                </a:lnTo>
                <a:lnTo>
                  <a:pt x="5756" y="1056"/>
                </a:lnTo>
                <a:lnTo>
                  <a:pt x="5750" y="1056"/>
                </a:lnTo>
                <a:lnTo>
                  <a:pt x="5742" y="1056"/>
                </a:lnTo>
                <a:lnTo>
                  <a:pt x="5736" y="1060"/>
                </a:lnTo>
                <a:lnTo>
                  <a:pt x="5728" y="1064"/>
                </a:lnTo>
                <a:lnTo>
                  <a:pt x="5722" y="1068"/>
                </a:lnTo>
                <a:lnTo>
                  <a:pt x="5714" y="1070"/>
                </a:lnTo>
                <a:lnTo>
                  <a:pt x="5702" y="1070"/>
                </a:lnTo>
                <a:lnTo>
                  <a:pt x="5696" y="1070"/>
                </a:lnTo>
                <a:lnTo>
                  <a:pt x="5690" y="1070"/>
                </a:lnTo>
                <a:lnTo>
                  <a:pt x="5684" y="1074"/>
                </a:lnTo>
                <a:lnTo>
                  <a:pt x="5676" y="1082"/>
                </a:lnTo>
                <a:lnTo>
                  <a:pt x="5670" y="1086"/>
                </a:lnTo>
                <a:lnTo>
                  <a:pt x="5664" y="1088"/>
                </a:lnTo>
                <a:lnTo>
                  <a:pt x="5660" y="1090"/>
                </a:lnTo>
                <a:lnTo>
                  <a:pt x="5656" y="1090"/>
                </a:lnTo>
                <a:lnTo>
                  <a:pt x="5656" y="1086"/>
                </a:lnTo>
                <a:lnTo>
                  <a:pt x="5656" y="1082"/>
                </a:lnTo>
                <a:lnTo>
                  <a:pt x="5660" y="1078"/>
                </a:lnTo>
                <a:lnTo>
                  <a:pt x="5668" y="1070"/>
                </a:lnTo>
                <a:lnTo>
                  <a:pt x="5678" y="1064"/>
                </a:lnTo>
                <a:lnTo>
                  <a:pt x="5684" y="1062"/>
                </a:lnTo>
                <a:lnTo>
                  <a:pt x="5690" y="1060"/>
                </a:lnTo>
                <a:lnTo>
                  <a:pt x="5694" y="1060"/>
                </a:lnTo>
                <a:lnTo>
                  <a:pt x="5700" y="1064"/>
                </a:lnTo>
                <a:lnTo>
                  <a:pt x="5702" y="1064"/>
                </a:lnTo>
                <a:lnTo>
                  <a:pt x="5706" y="1062"/>
                </a:lnTo>
                <a:lnTo>
                  <a:pt x="5714" y="1056"/>
                </a:lnTo>
                <a:lnTo>
                  <a:pt x="5714" y="1054"/>
                </a:lnTo>
                <a:lnTo>
                  <a:pt x="5714" y="1052"/>
                </a:lnTo>
                <a:lnTo>
                  <a:pt x="5710" y="1052"/>
                </a:lnTo>
                <a:lnTo>
                  <a:pt x="5704" y="1050"/>
                </a:lnTo>
                <a:lnTo>
                  <a:pt x="5680" y="1052"/>
                </a:lnTo>
                <a:lnTo>
                  <a:pt x="5652" y="1056"/>
                </a:lnTo>
                <a:lnTo>
                  <a:pt x="5638" y="1058"/>
                </a:lnTo>
                <a:lnTo>
                  <a:pt x="5634" y="1056"/>
                </a:lnTo>
                <a:lnTo>
                  <a:pt x="5632" y="1052"/>
                </a:lnTo>
                <a:lnTo>
                  <a:pt x="5636" y="1046"/>
                </a:lnTo>
                <a:lnTo>
                  <a:pt x="5640" y="1038"/>
                </a:lnTo>
                <a:lnTo>
                  <a:pt x="5650" y="1022"/>
                </a:lnTo>
                <a:lnTo>
                  <a:pt x="5656" y="1012"/>
                </a:lnTo>
                <a:lnTo>
                  <a:pt x="5658" y="1010"/>
                </a:lnTo>
                <a:lnTo>
                  <a:pt x="5664" y="1016"/>
                </a:lnTo>
                <a:lnTo>
                  <a:pt x="5672" y="1022"/>
                </a:lnTo>
                <a:lnTo>
                  <a:pt x="5676" y="1022"/>
                </a:lnTo>
                <a:lnTo>
                  <a:pt x="5680" y="1022"/>
                </a:lnTo>
                <a:lnTo>
                  <a:pt x="5718" y="1010"/>
                </a:lnTo>
                <a:lnTo>
                  <a:pt x="5732" y="1004"/>
                </a:lnTo>
                <a:lnTo>
                  <a:pt x="5742" y="1000"/>
                </a:lnTo>
                <a:lnTo>
                  <a:pt x="5746" y="996"/>
                </a:lnTo>
                <a:lnTo>
                  <a:pt x="5746" y="990"/>
                </a:lnTo>
                <a:lnTo>
                  <a:pt x="5742" y="986"/>
                </a:lnTo>
                <a:lnTo>
                  <a:pt x="5734" y="982"/>
                </a:lnTo>
                <a:lnTo>
                  <a:pt x="5724" y="980"/>
                </a:lnTo>
                <a:lnTo>
                  <a:pt x="5710" y="976"/>
                </a:lnTo>
                <a:lnTo>
                  <a:pt x="5688" y="972"/>
                </a:lnTo>
                <a:lnTo>
                  <a:pt x="5682" y="970"/>
                </a:lnTo>
                <a:lnTo>
                  <a:pt x="5680" y="968"/>
                </a:lnTo>
                <a:lnTo>
                  <a:pt x="5680" y="966"/>
                </a:lnTo>
                <a:lnTo>
                  <a:pt x="5686" y="966"/>
                </a:lnTo>
                <a:lnTo>
                  <a:pt x="5706" y="966"/>
                </a:lnTo>
                <a:lnTo>
                  <a:pt x="5728" y="970"/>
                </a:lnTo>
                <a:lnTo>
                  <a:pt x="5742" y="974"/>
                </a:lnTo>
                <a:lnTo>
                  <a:pt x="5754" y="980"/>
                </a:lnTo>
                <a:lnTo>
                  <a:pt x="5768" y="986"/>
                </a:lnTo>
                <a:lnTo>
                  <a:pt x="5782" y="990"/>
                </a:lnTo>
                <a:lnTo>
                  <a:pt x="5790" y="996"/>
                </a:lnTo>
                <a:lnTo>
                  <a:pt x="5794" y="1006"/>
                </a:lnTo>
                <a:lnTo>
                  <a:pt x="5796" y="1022"/>
                </a:lnTo>
                <a:lnTo>
                  <a:pt x="5800" y="1030"/>
                </a:lnTo>
                <a:lnTo>
                  <a:pt x="5806" y="1038"/>
                </a:lnTo>
                <a:lnTo>
                  <a:pt x="5814" y="1044"/>
                </a:lnTo>
                <a:lnTo>
                  <a:pt x="5824" y="1048"/>
                </a:lnTo>
                <a:lnTo>
                  <a:pt x="5834" y="1052"/>
                </a:lnTo>
                <a:lnTo>
                  <a:pt x="5844" y="1054"/>
                </a:lnTo>
                <a:lnTo>
                  <a:pt x="5852" y="1054"/>
                </a:lnTo>
                <a:lnTo>
                  <a:pt x="5858" y="1052"/>
                </a:lnTo>
                <a:lnTo>
                  <a:pt x="5866" y="1048"/>
                </a:lnTo>
                <a:lnTo>
                  <a:pt x="5872" y="1048"/>
                </a:lnTo>
                <a:lnTo>
                  <a:pt x="5882" y="1052"/>
                </a:lnTo>
                <a:lnTo>
                  <a:pt x="5896" y="1054"/>
                </a:lnTo>
                <a:lnTo>
                  <a:pt x="5904" y="1054"/>
                </a:lnTo>
                <a:lnTo>
                  <a:pt x="5908" y="1048"/>
                </a:lnTo>
                <a:lnTo>
                  <a:pt x="5908" y="1042"/>
                </a:lnTo>
                <a:lnTo>
                  <a:pt x="5906" y="1032"/>
                </a:lnTo>
                <a:lnTo>
                  <a:pt x="5902" y="1008"/>
                </a:lnTo>
                <a:lnTo>
                  <a:pt x="5900" y="996"/>
                </a:lnTo>
                <a:lnTo>
                  <a:pt x="5900" y="984"/>
                </a:lnTo>
                <a:lnTo>
                  <a:pt x="5900" y="976"/>
                </a:lnTo>
                <a:lnTo>
                  <a:pt x="5898" y="974"/>
                </a:lnTo>
                <a:lnTo>
                  <a:pt x="5896" y="974"/>
                </a:lnTo>
                <a:lnTo>
                  <a:pt x="5892" y="976"/>
                </a:lnTo>
                <a:lnTo>
                  <a:pt x="5886" y="980"/>
                </a:lnTo>
                <a:lnTo>
                  <a:pt x="5880" y="984"/>
                </a:lnTo>
                <a:lnTo>
                  <a:pt x="5874" y="988"/>
                </a:lnTo>
                <a:lnTo>
                  <a:pt x="5868" y="990"/>
                </a:lnTo>
                <a:lnTo>
                  <a:pt x="5868" y="988"/>
                </a:lnTo>
                <a:lnTo>
                  <a:pt x="5866" y="984"/>
                </a:lnTo>
                <a:lnTo>
                  <a:pt x="5864" y="976"/>
                </a:lnTo>
                <a:lnTo>
                  <a:pt x="5866" y="974"/>
                </a:lnTo>
                <a:lnTo>
                  <a:pt x="5868" y="972"/>
                </a:lnTo>
                <a:lnTo>
                  <a:pt x="5876" y="970"/>
                </a:lnTo>
                <a:lnTo>
                  <a:pt x="5880" y="968"/>
                </a:lnTo>
                <a:lnTo>
                  <a:pt x="5886" y="960"/>
                </a:lnTo>
                <a:lnTo>
                  <a:pt x="5890" y="956"/>
                </a:lnTo>
                <a:lnTo>
                  <a:pt x="5892" y="954"/>
                </a:lnTo>
                <a:lnTo>
                  <a:pt x="5890" y="954"/>
                </a:lnTo>
                <a:lnTo>
                  <a:pt x="5880" y="958"/>
                </a:lnTo>
                <a:lnTo>
                  <a:pt x="5870" y="960"/>
                </a:lnTo>
                <a:lnTo>
                  <a:pt x="5866" y="960"/>
                </a:lnTo>
                <a:lnTo>
                  <a:pt x="5866" y="954"/>
                </a:lnTo>
                <a:lnTo>
                  <a:pt x="5868" y="948"/>
                </a:lnTo>
                <a:lnTo>
                  <a:pt x="5866" y="944"/>
                </a:lnTo>
                <a:lnTo>
                  <a:pt x="5862" y="940"/>
                </a:lnTo>
                <a:lnTo>
                  <a:pt x="5856" y="936"/>
                </a:lnTo>
                <a:lnTo>
                  <a:pt x="5838" y="932"/>
                </a:lnTo>
                <a:lnTo>
                  <a:pt x="5816" y="924"/>
                </a:lnTo>
                <a:lnTo>
                  <a:pt x="5796" y="918"/>
                </a:lnTo>
                <a:lnTo>
                  <a:pt x="5786" y="912"/>
                </a:lnTo>
                <a:lnTo>
                  <a:pt x="5780" y="906"/>
                </a:lnTo>
                <a:lnTo>
                  <a:pt x="5780" y="902"/>
                </a:lnTo>
                <a:lnTo>
                  <a:pt x="5780" y="900"/>
                </a:lnTo>
                <a:lnTo>
                  <a:pt x="5780" y="896"/>
                </a:lnTo>
                <a:lnTo>
                  <a:pt x="5778" y="890"/>
                </a:lnTo>
                <a:lnTo>
                  <a:pt x="5770" y="884"/>
                </a:lnTo>
                <a:lnTo>
                  <a:pt x="5762" y="880"/>
                </a:lnTo>
                <a:lnTo>
                  <a:pt x="5758" y="874"/>
                </a:lnTo>
                <a:lnTo>
                  <a:pt x="5760" y="870"/>
                </a:lnTo>
                <a:lnTo>
                  <a:pt x="5760" y="866"/>
                </a:lnTo>
                <a:lnTo>
                  <a:pt x="5758" y="862"/>
                </a:lnTo>
                <a:lnTo>
                  <a:pt x="5752" y="856"/>
                </a:lnTo>
                <a:lnTo>
                  <a:pt x="5738" y="852"/>
                </a:lnTo>
                <a:lnTo>
                  <a:pt x="5714" y="844"/>
                </a:lnTo>
                <a:lnTo>
                  <a:pt x="5724" y="846"/>
                </a:lnTo>
                <a:lnTo>
                  <a:pt x="5732" y="844"/>
                </a:lnTo>
                <a:lnTo>
                  <a:pt x="5740" y="840"/>
                </a:lnTo>
                <a:lnTo>
                  <a:pt x="5748" y="836"/>
                </a:lnTo>
                <a:lnTo>
                  <a:pt x="5764" y="828"/>
                </a:lnTo>
                <a:lnTo>
                  <a:pt x="5784" y="816"/>
                </a:lnTo>
                <a:lnTo>
                  <a:pt x="5790" y="816"/>
                </a:lnTo>
                <a:lnTo>
                  <a:pt x="5796" y="814"/>
                </a:lnTo>
                <a:lnTo>
                  <a:pt x="5810" y="818"/>
                </a:lnTo>
                <a:lnTo>
                  <a:pt x="5824" y="824"/>
                </a:lnTo>
                <a:lnTo>
                  <a:pt x="5838" y="832"/>
                </a:lnTo>
                <a:lnTo>
                  <a:pt x="5852" y="838"/>
                </a:lnTo>
                <a:lnTo>
                  <a:pt x="5866" y="842"/>
                </a:lnTo>
                <a:lnTo>
                  <a:pt x="5874" y="842"/>
                </a:lnTo>
                <a:lnTo>
                  <a:pt x="5880" y="842"/>
                </a:lnTo>
                <a:lnTo>
                  <a:pt x="5888" y="840"/>
                </a:lnTo>
                <a:lnTo>
                  <a:pt x="5894" y="836"/>
                </a:lnTo>
                <a:lnTo>
                  <a:pt x="5906" y="828"/>
                </a:lnTo>
                <a:lnTo>
                  <a:pt x="5916" y="826"/>
                </a:lnTo>
                <a:lnTo>
                  <a:pt x="5922" y="826"/>
                </a:lnTo>
                <a:lnTo>
                  <a:pt x="5928" y="828"/>
                </a:lnTo>
                <a:lnTo>
                  <a:pt x="5932" y="828"/>
                </a:lnTo>
                <a:lnTo>
                  <a:pt x="5936" y="828"/>
                </a:lnTo>
                <a:lnTo>
                  <a:pt x="5942" y="826"/>
                </a:lnTo>
                <a:lnTo>
                  <a:pt x="5948" y="818"/>
                </a:lnTo>
                <a:lnTo>
                  <a:pt x="5954" y="808"/>
                </a:lnTo>
                <a:lnTo>
                  <a:pt x="5954" y="804"/>
                </a:lnTo>
                <a:lnTo>
                  <a:pt x="5952" y="802"/>
                </a:lnTo>
                <a:lnTo>
                  <a:pt x="5948" y="796"/>
                </a:lnTo>
                <a:lnTo>
                  <a:pt x="5940" y="792"/>
                </a:lnTo>
                <a:lnTo>
                  <a:pt x="5930" y="788"/>
                </a:lnTo>
                <a:lnTo>
                  <a:pt x="5916" y="788"/>
                </a:lnTo>
                <a:lnTo>
                  <a:pt x="5890" y="786"/>
                </a:lnTo>
                <a:lnTo>
                  <a:pt x="5880" y="784"/>
                </a:lnTo>
                <a:lnTo>
                  <a:pt x="5876" y="782"/>
                </a:lnTo>
                <a:lnTo>
                  <a:pt x="5876" y="780"/>
                </a:lnTo>
                <a:lnTo>
                  <a:pt x="5876" y="774"/>
                </a:lnTo>
                <a:lnTo>
                  <a:pt x="5882" y="768"/>
                </a:lnTo>
                <a:lnTo>
                  <a:pt x="5890" y="762"/>
                </a:lnTo>
                <a:lnTo>
                  <a:pt x="5902" y="756"/>
                </a:lnTo>
                <a:lnTo>
                  <a:pt x="5914" y="752"/>
                </a:lnTo>
                <a:lnTo>
                  <a:pt x="5928" y="752"/>
                </a:lnTo>
                <a:lnTo>
                  <a:pt x="5940" y="754"/>
                </a:lnTo>
                <a:lnTo>
                  <a:pt x="5948" y="756"/>
                </a:lnTo>
                <a:lnTo>
                  <a:pt x="5958" y="764"/>
                </a:lnTo>
                <a:lnTo>
                  <a:pt x="5964" y="768"/>
                </a:lnTo>
                <a:lnTo>
                  <a:pt x="5970" y="768"/>
                </a:lnTo>
                <a:lnTo>
                  <a:pt x="5978" y="768"/>
                </a:lnTo>
                <a:lnTo>
                  <a:pt x="5990" y="764"/>
                </a:lnTo>
                <a:lnTo>
                  <a:pt x="5998" y="760"/>
                </a:lnTo>
                <a:lnTo>
                  <a:pt x="6002" y="756"/>
                </a:lnTo>
                <a:lnTo>
                  <a:pt x="6002" y="752"/>
                </a:lnTo>
                <a:lnTo>
                  <a:pt x="5998" y="748"/>
                </a:lnTo>
                <a:lnTo>
                  <a:pt x="5992" y="744"/>
                </a:lnTo>
                <a:lnTo>
                  <a:pt x="5982" y="742"/>
                </a:lnTo>
                <a:lnTo>
                  <a:pt x="5970" y="740"/>
                </a:lnTo>
                <a:lnTo>
                  <a:pt x="5956" y="738"/>
                </a:lnTo>
                <a:lnTo>
                  <a:pt x="5948" y="736"/>
                </a:lnTo>
                <a:lnTo>
                  <a:pt x="5944" y="734"/>
                </a:lnTo>
                <a:lnTo>
                  <a:pt x="5940" y="732"/>
                </a:lnTo>
                <a:lnTo>
                  <a:pt x="5938" y="728"/>
                </a:lnTo>
                <a:lnTo>
                  <a:pt x="5936" y="718"/>
                </a:lnTo>
                <a:lnTo>
                  <a:pt x="5940" y="708"/>
                </a:lnTo>
                <a:lnTo>
                  <a:pt x="5944" y="700"/>
                </a:lnTo>
                <a:lnTo>
                  <a:pt x="5950" y="692"/>
                </a:lnTo>
                <a:lnTo>
                  <a:pt x="5954" y="692"/>
                </a:lnTo>
                <a:lnTo>
                  <a:pt x="5958" y="690"/>
                </a:lnTo>
                <a:lnTo>
                  <a:pt x="5960" y="692"/>
                </a:lnTo>
                <a:lnTo>
                  <a:pt x="5964" y="694"/>
                </a:lnTo>
                <a:lnTo>
                  <a:pt x="5970" y="700"/>
                </a:lnTo>
                <a:lnTo>
                  <a:pt x="5976" y="702"/>
                </a:lnTo>
                <a:lnTo>
                  <a:pt x="5984" y="702"/>
                </a:lnTo>
                <a:lnTo>
                  <a:pt x="5990" y="698"/>
                </a:lnTo>
                <a:lnTo>
                  <a:pt x="5996" y="692"/>
                </a:lnTo>
                <a:lnTo>
                  <a:pt x="5998" y="686"/>
                </a:lnTo>
                <a:lnTo>
                  <a:pt x="5996" y="678"/>
                </a:lnTo>
                <a:lnTo>
                  <a:pt x="5992" y="668"/>
                </a:lnTo>
                <a:lnTo>
                  <a:pt x="5988" y="662"/>
                </a:lnTo>
                <a:lnTo>
                  <a:pt x="5986" y="658"/>
                </a:lnTo>
                <a:lnTo>
                  <a:pt x="5990" y="656"/>
                </a:lnTo>
                <a:lnTo>
                  <a:pt x="5994" y="656"/>
                </a:lnTo>
                <a:lnTo>
                  <a:pt x="5996" y="654"/>
                </a:lnTo>
                <a:lnTo>
                  <a:pt x="5980" y="646"/>
                </a:lnTo>
                <a:lnTo>
                  <a:pt x="5968" y="640"/>
                </a:lnTo>
                <a:lnTo>
                  <a:pt x="5964" y="636"/>
                </a:lnTo>
                <a:lnTo>
                  <a:pt x="5964" y="632"/>
                </a:lnTo>
                <a:lnTo>
                  <a:pt x="5968" y="632"/>
                </a:lnTo>
                <a:lnTo>
                  <a:pt x="5976" y="628"/>
                </a:lnTo>
                <a:lnTo>
                  <a:pt x="5980" y="624"/>
                </a:lnTo>
                <a:lnTo>
                  <a:pt x="5978" y="618"/>
                </a:lnTo>
                <a:lnTo>
                  <a:pt x="5976" y="616"/>
                </a:lnTo>
                <a:lnTo>
                  <a:pt x="5972" y="614"/>
                </a:lnTo>
                <a:lnTo>
                  <a:pt x="5962" y="612"/>
                </a:lnTo>
                <a:lnTo>
                  <a:pt x="5934" y="612"/>
                </a:lnTo>
                <a:lnTo>
                  <a:pt x="5922" y="612"/>
                </a:lnTo>
                <a:lnTo>
                  <a:pt x="5910" y="610"/>
                </a:lnTo>
                <a:lnTo>
                  <a:pt x="5902" y="608"/>
                </a:lnTo>
                <a:lnTo>
                  <a:pt x="5900" y="604"/>
                </a:lnTo>
                <a:lnTo>
                  <a:pt x="5898" y="600"/>
                </a:lnTo>
                <a:lnTo>
                  <a:pt x="5898" y="596"/>
                </a:lnTo>
                <a:lnTo>
                  <a:pt x="5898" y="594"/>
                </a:lnTo>
                <a:lnTo>
                  <a:pt x="5892" y="588"/>
                </a:lnTo>
                <a:lnTo>
                  <a:pt x="5884" y="584"/>
                </a:lnTo>
                <a:lnTo>
                  <a:pt x="5876" y="582"/>
                </a:lnTo>
                <a:lnTo>
                  <a:pt x="5868" y="580"/>
                </a:lnTo>
                <a:lnTo>
                  <a:pt x="5864" y="576"/>
                </a:lnTo>
                <a:lnTo>
                  <a:pt x="5864" y="574"/>
                </a:lnTo>
                <a:lnTo>
                  <a:pt x="5864" y="572"/>
                </a:lnTo>
                <a:lnTo>
                  <a:pt x="5868" y="568"/>
                </a:lnTo>
                <a:lnTo>
                  <a:pt x="5876" y="564"/>
                </a:lnTo>
                <a:lnTo>
                  <a:pt x="5882" y="566"/>
                </a:lnTo>
                <a:lnTo>
                  <a:pt x="5886" y="570"/>
                </a:lnTo>
                <a:lnTo>
                  <a:pt x="5890" y="574"/>
                </a:lnTo>
                <a:lnTo>
                  <a:pt x="5894" y="578"/>
                </a:lnTo>
                <a:lnTo>
                  <a:pt x="5900" y="580"/>
                </a:lnTo>
                <a:lnTo>
                  <a:pt x="5908" y="580"/>
                </a:lnTo>
                <a:lnTo>
                  <a:pt x="5918" y="572"/>
                </a:lnTo>
                <a:lnTo>
                  <a:pt x="5930" y="566"/>
                </a:lnTo>
                <a:lnTo>
                  <a:pt x="5944" y="560"/>
                </a:lnTo>
                <a:lnTo>
                  <a:pt x="5956" y="558"/>
                </a:lnTo>
                <a:lnTo>
                  <a:pt x="5968" y="558"/>
                </a:lnTo>
                <a:lnTo>
                  <a:pt x="5980" y="560"/>
                </a:lnTo>
                <a:lnTo>
                  <a:pt x="5992" y="564"/>
                </a:lnTo>
                <a:lnTo>
                  <a:pt x="6014" y="572"/>
                </a:lnTo>
                <a:lnTo>
                  <a:pt x="6024" y="576"/>
                </a:lnTo>
                <a:lnTo>
                  <a:pt x="6032" y="574"/>
                </a:lnTo>
                <a:lnTo>
                  <a:pt x="6038" y="570"/>
                </a:lnTo>
                <a:lnTo>
                  <a:pt x="6042" y="562"/>
                </a:lnTo>
                <a:lnTo>
                  <a:pt x="6044" y="554"/>
                </a:lnTo>
                <a:lnTo>
                  <a:pt x="6044" y="546"/>
                </a:lnTo>
                <a:lnTo>
                  <a:pt x="6038" y="536"/>
                </a:lnTo>
                <a:lnTo>
                  <a:pt x="6032" y="528"/>
                </a:lnTo>
                <a:lnTo>
                  <a:pt x="6022" y="522"/>
                </a:lnTo>
                <a:lnTo>
                  <a:pt x="6018" y="522"/>
                </a:lnTo>
                <a:lnTo>
                  <a:pt x="6012" y="524"/>
                </a:lnTo>
                <a:lnTo>
                  <a:pt x="6008" y="528"/>
                </a:lnTo>
                <a:lnTo>
                  <a:pt x="6002" y="532"/>
                </a:lnTo>
                <a:lnTo>
                  <a:pt x="5994" y="532"/>
                </a:lnTo>
                <a:lnTo>
                  <a:pt x="5984" y="530"/>
                </a:lnTo>
                <a:lnTo>
                  <a:pt x="5968" y="522"/>
                </a:lnTo>
                <a:lnTo>
                  <a:pt x="5942" y="506"/>
                </a:lnTo>
                <a:lnTo>
                  <a:pt x="5938" y="500"/>
                </a:lnTo>
                <a:lnTo>
                  <a:pt x="5938" y="498"/>
                </a:lnTo>
                <a:lnTo>
                  <a:pt x="5944" y="496"/>
                </a:lnTo>
                <a:lnTo>
                  <a:pt x="5952" y="498"/>
                </a:lnTo>
                <a:lnTo>
                  <a:pt x="5982" y="504"/>
                </a:lnTo>
                <a:lnTo>
                  <a:pt x="6006" y="508"/>
                </a:lnTo>
                <a:lnTo>
                  <a:pt x="6010" y="506"/>
                </a:lnTo>
                <a:lnTo>
                  <a:pt x="6010" y="504"/>
                </a:lnTo>
                <a:lnTo>
                  <a:pt x="6004" y="500"/>
                </a:lnTo>
                <a:lnTo>
                  <a:pt x="5992" y="496"/>
                </a:lnTo>
                <a:lnTo>
                  <a:pt x="5956" y="480"/>
                </a:lnTo>
                <a:lnTo>
                  <a:pt x="5936" y="474"/>
                </a:lnTo>
                <a:lnTo>
                  <a:pt x="5922" y="472"/>
                </a:lnTo>
                <a:lnTo>
                  <a:pt x="5914" y="476"/>
                </a:lnTo>
                <a:lnTo>
                  <a:pt x="5910" y="480"/>
                </a:lnTo>
                <a:lnTo>
                  <a:pt x="5906" y="494"/>
                </a:lnTo>
                <a:lnTo>
                  <a:pt x="5902" y="500"/>
                </a:lnTo>
                <a:lnTo>
                  <a:pt x="5896" y="502"/>
                </a:lnTo>
                <a:lnTo>
                  <a:pt x="5892" y="502"/>
                </a:lnTo>
                <a:lnTo>
                  <a:pt x="5890" y="502"/>
                </a:lnTo>
                <a:lnTo>
                  <a:pt x="5888" y="500"/>
                </a:lnTo>
                <a:lnTo>
                  <a:pt x="5888" y="496"/>
                </a:lnTo>
                <a:lnTo>
                  <a:pt x="5890" y="488"/>
                </a:lnTo>
                <a:lnTo>
                  <a:pt x="5896" y="478"/>
                </a:lnTo>
                <a:lnTo>
                  <a:pt x="5910" y="452"/>
                </a:lnTo>
                <a:lnTo>
                  <a:pt x="5916" y="438"/>
                </a:lnTo>
                <a:lnTo>
                  <a:pt x="5922" y="424"/>
                </a:lnTo>
                <a:lnTo>
                  <a:pt x="5926" y="414"/>
                </a:lnTo>
                <a:lnTo>
                  <a:pt x="5934" y="406"/>
                </a:lnTo>
                <a:lnTo>
                  <a:pt x="5940" y="404"/>
                </a:lnTo>
                <a:lnTo>
                  <a:pt x="5948" y="402"/>
                </a:lnTo>
                <a:lnTo>
                  <a:pt x="5960" y="404"/>
                </a:lnTo>
                <a:lnTo>
                  <a:pt x="5966" y="402"/>
                </a:lnTo>
                <a:lnTo>
                  <a:pt x="5970" y="400"/>
                </a:lnTo>
                <a:lnTo>
                  <a:pt x="5982" y="392"/>
                </a:lnTo>
                <a:lnTo>
                  <a:pt x="5996" y="380"/>
                </a:lnTo>
                <a:lnTo>
                  <a:pt x="6002" y="376"/>
                </a:lnTo>
                <a:lnTo>
                  <a:pt x="6004" y="370"/>
                </a:lnTo>
                <a:lnTo>
                  <a:pt x="6004" y="368"/>
                </a:lnTo>
                <a:lnTo>
                  <a:pt x="5996" y="364"/>
                </a:lnTo>
                <a:lnTo>
                  <a:pt x="5988" y="362"/>
                </a:lnTo>
                <a:lnTo>
                  <a:pt x="5984" y="358"/>
                </a:lnTo>
                <a:lnTo>
                  <a:pt x="5980" y="354"/>
                </a:lnTo>
                <a:lnTo>
                  <a:pt x="5980" y="348"/>
                </a:lnTo>
                <a:lnTo>
                  <a:pt x="5982" y="342"/>
                </a:lnTo>
                <a:lnTo>
                  <a:pt x="5986" y="338"/>
                </a:lnTo>
                <a:lnTo>
                  <a:pt x="5994" y="336"/>
                </a:lnTo>
                <a:lnTo>
                  <a:pt x="6006" y="334"/>
                </a:lnTo>
                <a:lnTo>
                  <a:pt x="6026" y="332"/>
                </a:lnTo>
                <a:lnTo>
                  <a:pt x="6040" y="328"/>
                </a:lnTo>
                <a:lnTo>
                  <a:pt x="6052" y="322"/>
                </a:lnTo>
                <a:lnTo>
                  <a:pt x="6064" y="310"/>
                </a:lnTo>
                <a:lnTo>
                  <a:pt x="6066" y="306"/>
                </a:lnTo>
                <a:lnTo>
                  <a:pt x="6066" y="304"/>
                </a:lnTo>
                <a:lnTo>
                  <a:pt x="6066" y="302"/>
                </a:lnTo>
                <a:lnTo>
                  <a:pt x="6062" y="300"/>
                </a:lnTo>
                <a:lnTo>
                  <a:pt x="6052" y="298"/>
                </a:lnTo>
                <a:lnTo>
                  <a:pt x="6036" y="300"/>
                </a:lnTo>
                <a:lnTo>
                  <a:pt x="5998" y="306"/>
                </a:lnTo>
                <a:lnTo>
                  <a:pt x="5980" y="312"/>
                </a:lnTo>
                <a:lnTo>
                  <a:pt x="5962" y="318"/>
                </a:lnTo>
                <a:lnTo>
                  <a:pt x="5948" y="320"/>
                </a:lnTo>
                <a:lnTo>
                  <a:pt x="5946" y="320"/>
                </a:lnTo>
                <a:lnTo>
                  <a:pt x="5944" y="318"/>
                </a:lnTo>
                <a:lnTo>
                  <a:pt x="5944" y="316"/>
                </a:lnTo>
                <a:lnTo>
                  <a:pt x="5944" y="312"/>
                </a:lnTo>
                <a:lnTo>
                  <a:pt x="5950" y="306"/>
                </a:lnTo>
                <a:lnTo>
                  <a:pt x="5960" y="298"/>
                </a:lnTo>
                <a:lnTo>
                  <a:pt x="5974" y="290"/>
                </a:lnTo>
                <a:lnTo>
                  <a:pt x="5988" y="286"/>
                </a:lnTo>
                <a:lnTo>
                  <a:pt x="5996" y="286"/>
                </a:lnTo>
                <a:lnTo>
                  <a:pt x="6004" y="288"/>
                </a:lnTo>
                <a:lnTo>
                  <a:pt x="6018" y="290"/>
                </a:lnTo>
                <a:lnTo>
                  <a:pt x="6034" y="292"/>
                </a:lnTo>
                <a:lnTo>
                  <a:pt x="6050" y="292"/>
                </a:lnTo>
                <a:lnTo>
                  <a:pt x="6064" y="290"/>
                </a:lnTo>
                <a:lnTo>
                  <a:pt x="6092" y="284"/>
                </a:lnTo>
                <a:lnTo>
                  <a:pt x="6116" y="274"/>
                </a:lnTo>
                <a:lnTo>
                  <a:pt x="6122" y="270"/>
                </a:lnTo>
                <a:lnTo>
                  <a:pt x="6122" y="268"/>
                </a:lnTo>
                <a:lnTo>
                  <a:pt x="6122" y="266"/>
                </a:lnTo>
                <a:lnTo>
                  <a:pt x="6116" y="264"/>
                </a:lnTo>
                <a:lnTo>
                  <a:pt x="6106" y="262"/>
                </a:lnTo>
                <a:lnTo>
                  <a:pt x="6082" y="260"/>
                </a:lnTo>
                <a:lnTo>
                  <a:pt x="6068" y="260"/>
                </a:lnTo>
                <a:lnTo>
                  <a:pt x="6056" y="262"/>
                </a:lnTo>
                <a:lnTo>
                  <a:pt x="6042" y="262"/>
                </a:lnTo>
                <a:lnTo>
                  <a:pt x="6026" y="262"/>
                </a:lnTo>
                <a:lnTo>
                  <a:pt x="5990" y="260"/>
                </a:lnTo>
                <a:lnTo>
                  <a:pt x="5970" y="258"/>
                </a:lnTo>
                <a:lnTo>
                  <a:pt x="5988" y="258"/>
                </a:lnTo>
                <a:lnTo>
                  <a:pt x="6004" y="258"/>
                </a:lnTo>
                <a:lnTo>
                  <a:pt x="6018" y="258"/>
                </a:lnTo>
                <a:lnTo>
                  <a:pt x="6028" y="254"/>
                </a:lnTo>
                <a:lnTo>
                  <a:pt x="6036" y="252"/>
                </a:lnTo>
                <a:lnTo>
                  <a:pt x="6050" y="246"/>
                </a:lnTo>
                <a:lnTo>
                  <a:pt x="6058" y="246"/>
                </a:lnTo>
                <a:lnTo>
                  <a:pt x="6068" y="248"/>
                </a:lnTo>
                <a:lnTo>
                  <a:pt x="6080" y="248"/>
                </a:lnTo>
                <a:lnTo>
                  <a:pt x="6090" y="250"/>
                </a:lnTo>
                <a:lnTo>
                  <a:pt x="6112" y="248"/>
                </a:lnTo>
                <a:lnTo>
                  <a:pt x="6136" y="244"/>
                </a:lnTo>
                <a:lnTo>
                  <a:pt x="6166" y="242"/>
                </a:lnTo>
                <a:lnTo>
                  <a:pt x="6178" y="240"/>
                </a:lnTo>
                <a:lnTo>
                  <a:pt x="6180" y="238"/>
                </a:lnTo>
                <a:lnTo>
                  <a:pt x="6180" y="236"/>
                </a:lnTo>
                <a:lnTo>
                  <a:pt x="6178" y="232"/>
                </a:lnTo>
                <a:lnTo>
                  <a:pt x="6172" y="228"/>
                </a:lnTo>
                <a:lnTo>
                  <a:pt x="6166" y="224"/>
                </a:lnTo>
                <a:lnTo>
                  <a:pt x="6166" y="220"/>
                </a:lnTo>
                <a:lnTo>
                  <a:pt x="6166" y="218"/>
                </a:lnTo>
                <a:lnTo>
                  <a:pt x="6170" y="218"/>
                </a:lnTo>
                <a:lnTo>
                  <a:pt x="6184" y="216"/>
                </a:lnTo>
                <a:lnTo>
                  <a:pt x="6196" y="216"/>
                </a:lnTo>
                <a:lnTo>
                  <a:pt x="6208" y="214"/>
                </a:lnTo>
                <a:lnTo>
                  <a:pt x="6218" y="210"/>
                </a:lnTo>
                <a:lnTo>
                  <a:pt x="6228" y="206"/>
                </a:lnTo>
                <a:lnTo>
                  <a:pt x="6248" y="194"/>
                </a:lnTo>
                <a:lnTo>
                  <a:pt x="6272" y="182"/>
                </a:lnTo>
                <a:lnTo>
                  <a:pt x="6278" y="180"/>
                </a:lnTo>
                <a:lnTo>
                  <a:pt x="6278" y="176"/>
                </a:lnTo>
                <a:lnTo>
                  <a:pt x="6276" y="172"/>
                </a:lnTo>
                <a:lnTo>
                  <a:pt x="6270" y="170"/>
                </a:lnTo>
                <a:lnTo>
                  <a:pt x="6250" y="164"/>
                </a:lnTo>
                <a:lnTo>
                  <a:pt x="6224" y="158"/>
                </a:lnTo>
                <a:lnTo>
                  <a:pt x="6192" y="154"/>
                </a:lnTo>
                <a:lnTo>
                  <a:pt x="6160" y="150"/>
                </a:lnTo>
                <a:lnTo>
                  <a:pt x="6128" y="148"/>
                </a:lnTo>
                <a:lnTo>
                  <a:pt x="6100" y="148"/>
                </a:lnTo>
                <a:lnTo>
                  <a:pt x="6080" y="152"/>
                </a:lnTo>
                <a:lnTo>
                  <a:pt x="6066" y="156"/>
                </a:lnTo>
                <a:lnTo>
                  <a:pt x="6056" y="164"/>
                </a:lnTo>
                <a:lnTo>
                  <a:pt x="6050" y="172"/>
                </a:lnTo>
                <a:lnTo>
                  <a:pt x="6046" y="178"/>
                </a:lnTo>
                <a:lnTo>
                  <a:pt x="6040" y="184"/>
                </a:lnTo>
                <a:lnTo>
                  <a:pt x="6034" y="186"/>
                </a:lnTo>
                <a:lnTo>
                  <a:pt x="6024" y="186"/>
                </a:lnTo>
                <a:lnTo>
                  <a:pt x="6012" y="182"/>
                </a:lnTo>
                <a:lnTo>
                  <a:pt x="6000" y="182"/>
                </a:lnTo>
                <a:lnTo>
                  <a:pt x="5976" y="182"/>
                </a:lnTo>
                <a:lnTo>
                  <a:pt x="5964" y="182"/>
                </a:lnTo>
                <a:lnTo>
                  <a:pt x="5962" y="182"/>
                </a:lnTo>
                <a:lnTo>
                  <a:pt x="5962" y="180"/>
                </a:lnTo>
                <a:lnTo>
                  <a:pt x="5966" y="176"/>
                </a:lnTo>
                <a:lnTo>
                  <a:pt x="5970" y="172"/>
                </a:lnTo>
                <a:lnTo>
                  <a:pt x="5970" y="170"/>
                </a:lnTo>
                <a:lnTo>
                  <a:pt x="5966" y="170"/>
                </a:lnTo>
                <a:lnTo>
                  <a:pt x="5956" y="172"/>
                </a:lnTo>
                <a:lnTo>
                  <a:pt x="5944" y="176"/>
                </a:lnTo>
                <a:lnTo>
                  <a:pt x="5928" y="184"/>
                </a:lnTo>
                <a:lnTo>
                  <a:pt x="5910" y="194"/>
                </a:lnTo>
                <a:lnTo>
                  <a:pt x="5888" y="210"/>
                </a:lnTo>
                <a:lnTo>
                  <a:pt x="5866" y="224"/>
                </a:lnTo>
                <a:lnTo>
                  <a:pt x="5846" y="234"/>
                </a:lnTo>
                <a:lnTo>
                  <a:pt x="5832" y="240"/>
                </a:lnTo>
                <a:lnTo>
                  <a:pt x="5822" y="244"/>
                </a:lnTo>
                <a:lnTo>
                  <a:pt x="5820" y="244"/>
                </a:lnTo>
                <a:lnTo>
                  <a:pt x="5818" y="242"/>
                </a:lnTo>
                <a:lnTo>
                  <a:pt x="5820" y="238"/>
                </a:lnTo>
                <a:lnTo>
                  <a:pt x="5828" y="228"/>
                </a:lnTo>
                <a:lnTo>
                  <a:pt x="5844" y="216"/>
                </a:lnTo>
                <a:lnTo>
                  <a:pt x="5862" y="200"/>
                </a:lnTo>
                <a:lnTo>
                  <a:pt x="5876" y="186"/>
                </a:lnTo>
                <a:lnTo>
                  <a:pt x="5886" y="172"/>
                </a:lnTo>
                <a:lnTo>
                  <a:pt x="5888" y="166"/>
                </a:lnTo>
                <a:lnTo>
                  <a:pt x="5890" y="160"/>
                </a:lnTo>
                <a:lnTo>
                  <a:pt x="5890" y="154"/>
                </a:lnTo>
                <a:lnTo>
                  <a:pt x="5888" y="150"/>
                </a:lnTo>
                <a:lnTo>
                  <a:pt x="5884" y="146"/>
                </a:lnTo>
                <a:lnTo>
                  <a:pt x="5878" y="142"/>
                </a:lnTo>
                <a:lnTo>
                  <a:pt x="5872" y="140"/>
                </a:lnTo>
                <a:lnTo>
                  <a:pt x="5864" y="138"/>
                </a:lnTo>
                <a:lnTo>
                  <a:pt x="5842" y="136"/>
                </a:lnTo>
                <a:lnTo>
                  <a:pt x="5820" y="138"/>
                </a:lnTo>
                <a:lnTo>
                  <a:pt x="5808" y="142"/>
                </a:lnTo>
                <a:lnTo>
                  <a:pt x="5802" y="146"/>
                </a:lnTo>
                <a:lnTo>
                  <a:pt x="5798" y="150"/>
                </a:lnTo>
                <a:lnTo>
                  <a:pt x="5798" y="156"/>
                </a:lnTo>
                <a:lnTo>
                  <a:pt x="5794" y="162"/>
                </a:lnTo>
                <a:lnTo>
                  <a:pt x="5788" y="166"/>
                </a:lnTo>
                <a:lnTo>
                  <a:pt x="5776" y="172"/>
                </a:lnTo>
                <a:lnTo>
                  <a:pt x="5746" y="178"/>
                </a:lnTo>
                <a:lnTo>
                  <a:pt x="5722" y="182"/>
                </a:lnTo>
                <a:lnTo>
                  <a:pt x="5714" y="180"/>
                </a:lnTo>
                <a:lnTo>
                  <a:pt x="5712" y="180"/>
                </a:lnTo>
                <a:lnTo>
                  <a:pt x="5716" y="176"/>
                </a:lnTo>
                <a:lnTo>
                  <a:pt x="5728" y="170"/>
                </a:lnTo>
                <a:lnTo>
                  <a:pt x="5752" y="160"/>
                </a:lnTo>
                <a:lnTo>
                  <a:pt x="5760" y="154"/>
                </a:lnTo>
                <a:lnTo>
                  <a:pt x="5760" y="152"/>
                </a:lnTo>
                <a:lnTo>
                  <a:pt x="5762" y="150"/>
                </a:lnTo>
                <a:lnTo>
                  <a:pt x="5760" y="148"/>
                </a:lnTo>
                <a:lnTo>
                  <a:pt x="5756" y="146"/>
                </a:lnTo>
                <a:lnTo>
                  <a:pt x="5744" y="144"/>
                </a:lnTo>
                <a:lnTo>
                  <a:pt x="5722" y="142"/>
                </a:lnTo>
                <a:lnTo>
                  <a:pt x="5688" y="140"/>
                </a:lnTo>
                <a:lnTo>
                  <a:pt x="5648" y="140"/>
                </a:lnTo>
                <a:lnTo>
                  <a:pt x="5606" y="144"/>
                </a:lnTo>
                <a:lnTo>
                  <a:pt x="5566" y="152"/>
                </a:lnTo>
                <a:lnTo>
                  <a:pt x="5530" y="158"/>
                </a:lnTo>
                <a:lnTo>
                  <a:pt x="5472" y="170"/>
                </a:lnTo>
                <a:lnTo>
                  <a:pt x="5454" y="174"/>
                </a:lnTo>
                <a:lnTo>
                  <a:pt x="5448" y="174"/>
                </a:lnTo>
                <a:lnTo>
                  <a:pt x="5444" y="174"/>
                </a:lnTo>
                <a:lnTo>
                  <a:pt x="5440" y="170"/>
                </a:lnTo>
                <a:lnTo>
                  <a:pt x="5438" y="168"/>
                </a:lnTo>
                <a:lnTo>
                  <a:pt x="5440" y="164"/>
                </a:lnTo>
                <a:lnTo>
                  <a:pt x="5442" y="162"/>
                </a:lnTo>
                <a:lnTo>
                  <a:pt x="5454" y="156"/>
                </a:lnTo>
                <a:lnTo>
                  <a:pt x="5472" y="150"/>
                </a:lnTo>
                <a:lnTo>
                  <a:pt x="5522" y="142"/>
                </a:lnTo>
                <a:lnTo>
                  <a:pt x="5580" y="134"/>
                </a:lnTo>
                <a:lnTo>
                  <a:pt x="5608" y="130"/>
                </a:lnTo>
                <a:lnTo>
                  <a:pt x="5638" y="128"/>
                </a:lnTo>
                <a:lnTo>
                  <a:pt x="5700" y="130"/>
                </a:lnTo>
                <a:lnTo>
                  <a:pt x="5762" y="128"/>
                </a:lnTo>
                <a:lnTo>
                  <a:pt x="5792" y="126"/>
                </a:lnTo>
                <a:lnTo>
                  <a:pt x="5820" y="122"/>
                </a:lnTo>
                <a:lnTo>
                  <a:pt x="5856" y="114"/>
                </a:lnTo>
                <a:lnTo>
                  <a:pt x="5890" y="102"/>
                </a:lnTo>
                <a:lnTo>
                  <a:pt x="5902" y="96"/>
                </a:lnTo>
                <a:lnTo>
                  <a:pt x="5908" y="92"/>
                </a:lnTo>
                <a:lnTo>
                  <a:pt x="5908" y="90"/>
                </a:lnTo>
                <a:lnTo>
                  <a:pt x="5906" y="88"/>
                </a:lnTo>
                <a:lnTo>
                  <a:pt x="5898" y="84"/>
                </a:lnTo>
                <a:lnTo>
                  <a:pt x="5870" y="78"/>
                </a:lnTo>
                <a:lnTo>
                  <a:pt x="5840" y="70"/>
                </a:lnTo>
                <a:lnTo>
                  <a:pt x="5824" y="68"/>
                </a:lnTo>
                <a:lnTo>
                  <a:pt x="5806" y="68"/>
                </a:lnTo>
                <a:lnTo>
                  <a:pt x="5788" y="68"/>
                </a:lnTo>
                <a:lnTo>
                  <a:pt x="5770" y="72"/>
                </a:lnTo>
                <a:lnTo>
                  <a:pt x="5750" y="74"/>
                </a:lnTo>
                <a:lnTo>
                  <a:pt x="5752" y="72"/>
                </a:lnTo>
                <a:lnTo>
                  <a:pt x="5758" y="68"/>
                </a:lnTo>
                <a:lnTo>
                  <a:pt x="5766" y="64"/>
                </a:lnTo>
                <a:lnTo>
                  <a:pt x="5772" y="58"/>
                </a:lnTo>
                <a:lnTo>
                  <a:pt x="5774" y="54"/>
                </a:lnTo>
                <a:lnTo>
                  <a:pt x="5774" y="52"/>
                </a:lnTo>
                <a:lnTo>
                  <a:pt x="5772" y="48"/>
                </a:lnTo>
                <a:lnTo>
                  <a:pt x="5768" y="46"/>
                </a:lnTo>
                <a:lnTo>
                  <a:pt x="5758" y="42"/>
                </a:lnTo>
                <a:lnTo>
                  <a:pt x="5748" y="40"/>
                </a:lnTo>
                <a:lnTo>
                  <a:pt x="5736" y="42"/>
                </a:lnTo>
                <a:lnTo>
                  <a:pt x="5720" y="44"/>
                </a:lnTo>
                <a:lnTo>
                  <a:pt x="5704" y="48"/>
                </a:lnTo>
                <a:lnTo>
                  <a:pt x="5682" y="50"/>
                </a:lnTo>
                <a:lnTo>
                  <a:pt x="5658" y="50"/>
                </a:lnTo>
                <a:lnTo>
                  <a:pt x="5630" y="50"/>
                </a:lnTo>
                <a:lnTo>
                  <a:pt x="5602" y="48"/>
                </a:lnTo>
                <a:lnTo>
                  <a:pt x="5580" y="48"/>
                </a:lnTo>
                <a:lnTo>
                  <a:pt x="5560" y="50"/>
                </a:lnTo>
                <a:lnTo>
                  <a:pt x="5544" y="54"/>
                </a:lnTo>
                <a:lnTo>
                  <a:pt x="5514" y="60"/>
                </a:lnTo>
                <a:lnTo>
                  <a:pt x="5496" y="60"/>
                </a:lnTo>
                <a:lnTo>
                  <a:pt x="5476" y="60"/>
                </a:lnTo>
                <a:lnTo>
                  <a:pt x="5458" y="58"/>
                </a:lnTo>
                <a:lnTo>
                  <a:pt x="5452" y="56"/>
                </a:lnTo>
                <a:lnTo>
                  <a:pt x="5454" y="54"/>
                </a:lnTo>
                <a:lnTo>
                  <a:pt x="5464" y="52"/>
                </a:lnTo>
                <a:lnTo>
                  <a:pt x="5528" y="46"/>
                </a:lnTo>
                <a:lnTo>
                  <a:pt x="5572" y="44"/>
                </a:lnTo>
                <a:lnTo>
                  <a:pt x="5630" y="40"/>
                </a:lnTo>
                <a:lnTo>
                  <a:pt x="5690" y="38"/>
                </a:lnTo>
                <a:lnTo>
                  <a:pt x="5732" y="34"/>
                </a:lnTo>
                <a:lnTo>
                  <a:pt x="5736" y="32"/>
                </a:lnTo>
                <a:lnTo>
                  <a:pt x="5738" y="30"/>
                </a:lnTo>
                <a:lnTo>
                  <a:pt x="5738" y="28"/>
                </a:lnTo>
                <a:lnTo>
                  <a:pt x="5734" y="28"/>
                </a:lnTo>
                <a:lnTo>
                  <a:pt x="5718" y="24"/>
                </a:lnTo>
                <a:lnTo>
                  <a:pt x="5694" y="20"/>
                </a:lnTo>
                <a:lnTo>
                  <a:pt x="5634" y="12"/>
                </a:lnTo>
                <a:lnTo>
                  <a:pt x="5568" y="6"/>
                </a:lnTo>
                <a:lnTo>
                  <a:pt x="5522" y="2"/>
                </a:lnTo>
                <a:lnTo>
                  <a:pt x="5484" y="0"/>
                </a:lnTo>
                <a:lnTo>
                  <a:pt x="5454" y="0"/>
                </a:lnTo>
                <a:lnTo>
                  <a:pt x="5430" y="2"/>
                </a:lnTo>
                <a:lnTo>
                  <a:pt x="5388" y="6"/>
                </a:lnTo>
                <a:lnTo>
                  <a:pt x="5366" y="6"/>
                </a:lnTo>
                <a:lnTo>
                  <a:pt x="5340" y="6"/>
                </a:lnTo>
                <a:lnTo>
                  <a:pt x="5316" y="6"/>
                </a:lnTo>
                <a:lnTo>
                  <a:pt x="5304" y="8"/>
                </a:lnTo>
                <a:lnTo>
                  <a:pt x="5298" y="10"/>
                </a:lnTo>
                <a:lnTo>
                  <a:pt x="5294" y="14"/>
                </a:lnTo>
                <a:lnTo>
                  <a:pt x="5294" y="16"/>
                </a:lnTo>
                <a:lnTo>
                  <a:pt x="5294" y="18"/>
                </a:lnTo>
                <a:lnTo>
                  <a:pt x="5288" y="18"/>
                </a:lnTo>
                <a:lnTo>
                  <a:pt x="5278" y="16"/>
                </a:lnTo>
                <a:lnTo>
                  <a:pt x="5258" y="12"/>
                </a:lnTo>
                <a:lnTo>
                  <a:pt x="5246" y="12"/>
                </a:lnTo>
                <a:lnTo>
                  <a:pt x="5236" y="16"/>
                </a:lnTo>
                <a:lnTo>
                  <a:pt x="5220" y="16"/>
                </a:lnTo>
                <a:lnTo>
                  <a:pt x="5210" y="16"/>
                </a:lnTo>
                <a:lnTo>
                  <a:pt x="5204" y="20"/>
                </a:lnTo>
                <a:lnTo>
                  <a:pt x="5202" y="22"/>
                </a:lnTo>
                <a:lnTo>
                  <a:pt x="5202" y="26"/>
                </a:lnTo>
                <a:lnTo>
                  <a:pt x="5206" y="32"/>
                </a:lnTo>
                <a:lnTo>
                  <a:pt x="5214" y="36"/>
                </a:lnTo>
                <a:lnTo>
                  <a:pt x="5224" y="40"/>
                </a:lnTo>
                <a:lnTo>
                  <a:pt x="5238" y="42"/>
                </a:lnTo>
                <a:lnTo>
                  <a:pt x="5248" y="44"/>
                </a:lnTo>
                <a:lnTo>
                  <a:pt x="5252" y="46"/>
                </a:lnTo>
                <a:lnTo>
                  <a:pt x="5248" y="48"/>
                </a:lnTo>
                <a:lnTo>
                  <a:pt x="5242" y="48"/>
                </a:lnTo>
                <a:lnTo>
                  <a:pt x="5224" y="52"/>
                </a:lnTo>
                <a:lnTo>
                  <a:pt x="5214" y="54"/>
                </a:lnTo>
                <a:lnTo>
                  <a:pt x="5208" y="56"/>
                </a:lnTo>
                <a:lnTo>
                  <a:pt x="5192" y="60"/>
                </a:lnTo>
                <a:lnTo>
                  <a:pt x="5168" y="64"/>
                </a:lnTo>
                <a:lnTo>
                  <a:pt x="5154" y="64"/>
                </a:lnTo>
                <a:lnTo>
                  <a:pt x="5140" y="64"/>
                </a:lnTo>
                <a:lnTo>
                  <a:pt x="5126" y="60"/>
                </a:lnTo>
                <a:lnTo>
                  <a:pt x="5114" y="56"/>
                </a:lnTo>
                <a:lnTo>
                  <a:pt x="5092" y="46"/>
                </a:lnTo>
                <a:lnTo>
                  <a:pt x="5078" y="40"/>
                </a:lnTo>
                <a:lnTo>
                  <a:pt x="5064" y="38"/>
                </a:lnTo>
                <a:lnTo>
                  <a:pt x="5048" y="34"/>
                </a:lnTo>
                <a:lnTo>
                  <a:pt x="5030" y="34"/>
                </a:lnTo>
                <a:lnTo>
                  <a:pt x="5012" y="36"/>
                </a:lnTo>
                <a:lnTo>
                  <a:pt x="4992" y="38"/>
                </a:lnTo>
                <a:lnTo>
                  <a:pt x="4950" y="44"/>
                </a:lnTo>
                <a:lnTo>
                  <a:pt x="4914" y="48"/>
                </a:lnTo>
                <a:lnTo>
                  <a:pt x="4900" y="50"/>
                </a:lnTo>
                <a:lnTo>
                  <a:pt x="4890" y="52"/>
                </a:lnTo>
                <a:lnTo>
                  <a:pt x="4886" y="56"/>
                </a:lnTo>
                <a:lnTo>
                  <a:pt x="4884" y="58"/>
                </a:lnTo>
                <a:lnTo>
                  <a:pt x="4884" y="60"/>
                </a:lnTo>
                <a:lnTo>
                  <a:pt x="4890" y="64"/>
                </a:lnTo>
                <a:lnTo>
                  <a:pt x="4900" y="66"/>
                </a:lnTo>
                <a:lnTo>
                  <a:pt x="4928" y="66"/>
                </a:lnTo>
                <a:lnTo>
                  <a:pt x="4966" y="66"/>
                </a:lnTo>
                <a:lnTo>
                  <a:pt x="5006" y="66"/>
                </a:lnTo>
                <a:lnTo>
                  <a:pt x="5046" y="68"/>
                </a:lnTo>
                <a:lnTo>
                  <a:pt x="5082" y="72"/>
                </a:lnTo>
                <a:lnTo>
                  <a:pt x="5116" y="76"/>
                </a:lnTo>
                <a:lnTo>
                  <a:pt x="5150" y="82"/>
                </a:lnTo>
                <a:lnTo>
                  <a:pt x="5162" y="84"/>
                </a:lnTo>
                <a:lnTo>
                  <a:pt x="5168" y="88"/>
                </a:lnTo>
                <a:lnTo>
                  <a:pt x="5168" y="90"/>
                </a:lnTo>
                <a:lnTo>
                  <a:pt x="5162" y="92"/>
                </a:lnTo>
                <a:lnTo>
                  <a:pt x="5144" y="92"/>
                </a:lnTo>
                <a:lnTo>
                  <a:pt x="5132" y="90"/>
                </a:lnTo>
                <a:lnTo>
                  <a:pt x="5118" y="88"/>
                </a:lnTo>
                <a:lnTo>
                  <a:pt x="5104" y="84"/>
                </a:lnTo>
                <a:lnTo>
                  <a:pt x="5088" y="82"/>
                </a:lnTo>
                <a:lnTo>
                  <a:pt x="5050" y="78"/>
                </a:lnTo>
                <a:lnTo>
                  <a:pt x="4946" y="74"/>
                </a:lnTo>
                <a:lnTo>
                  <a:pt x="4928" y="74"/>
                </a:lnTo>
                <a:lnTo>
                  <a:pt x="4926" y="76"/>
                </a:lnTo>
                <a:lnTo>
                  <a:pt x="4928" y="78"/>
                </a:lnTo>
                <a:lnTo>
                  <a:pt x="4942" y="84"/>
                </a:lnTo>
                <a:lnTo>
                  <a:pt x="4964" y="92"/>
                </a:lnTo>
                <a:lnTo>
                  <a:pt x="4984" y="100"/>
                </a:lnTo>
                <a:lnTo>
                  <a:pt x="5000" y="106"/>
                </a:lnTo>
                <a:lnTo>
                  <a:pt x="5004" y="110"/>
                </a:lnTo>
                <a:lnTo>
                  <a:pt x="5004" y="112"/>
                </a:lnTo>
                <a:lnTo>
                  <a:pt x="5000" y="114"/>
                </a:lnTo>
                <a:lnTo>
                  <a:pt x="4990" y="116"/>
                </a:lnTo>
                <a:lnTo>
                  <a:pt x="4984" y="118"/>
                </a:lnTo>
                <a:lnTo>
                  <a:pt x="4978" y="118"/>
                </a:lnTo>
                <a:lnTo>
                  <a:pt x="4976" y="122"/>
                </a:lnTo>
                <a:lnTo>
                  <a:pt x="4974" y="124"/>
                </a:lnTo>
                <a:lnTo>
                  <a:pt x="4972" y="132"/>
                </a:lnTo>
                <a:lnTo>
                  <a:pt x="4976" y="140"/>
                </a:lnTo>
                <a:lnTo>
                  <a:pt x="4978" y="148"/>
                </a:lnTo>
                <a:lnTo>
                  <a:pt x="4978" y="154"/>
                </a:lnTo>
                <a:lnTo>
                  <a:pt x="4978" y="158"/>
                </a:lnTo>
                <a:lnTo>
                  <a:pt x="4976" y="160"/>
                </a:lnTo>
                <a:lnTo>
                  <a:pt x="4974" y="162"/>
                </a:lnTo>
                <a:lnTo>
                  <a:pt x="4968" y="162"/>
                </a:lnTo>
                <a:lnTo>
                  <a:pt x="4958" y="162"/>
                </a:lnTo>
                <a:lnTo>
                  <a:pt x="4950" y="160"/>
                </a:lnTo>
                <a:lnTo>
                  <a:pt x="4944" y="156"/>
                </a:lnTo>
                <a:lnTo>
                  <a:pt x="4938" y="152"/>
                </a:lnTo>
                <a:lnTo>
                  <a:pt x="4930" y="146"/>
                </a:lnTo>
                <a:lnTo>
                  <a:pt x="4920" y="140"/>
                </a:lnTo>
                <a:lnTo>
                  <a:pt x="4906" y="136"/>
                </a:lnTo>
                <a:lnTo>
                  <a:pt x="4888" y="132"/>
                </a:lnTo>
                <a:lnTo>
                  <a:pt x="4870" y="128"/>
                </a:lnTo>
                <a:lnTo>
                  <a:pt x="4852" y="124"/>
                </a:lnTo>
                <a:lnTo>
                  <a:pt x="4822" y="112"/>
                </a:lnTo>
                <a:lnTo>
                  <a:pt x="4790" y="104"/>
                </a:lnTo>
                <a:lnTo>
                  <a:pt x="4772" y="100"/>
                </a:lnTo>
                <a:lnTo>
                  <a:pt x="4752" y="98"/>
                </a:lnTo>
                <a:lnTo>
                  <a:pt x="4732" y="98"/>
                </a:lnTo>
                <a:lnTo>
                  <a:pt x="4720" y="98"/>
                </a:lnTo>
                <a:lnTo>
                  <a:pt x="4712" y="102"/>
                </a:lnTo>
                <a:lnTo>
                  <a:pt x="4710" y="104"/>
                </a:lnTo>
                <a:lnTo>
                  <a:pt x="4710" y="106"/>
                </a:lnTo>
                <a:lnTo>
                  <a:pt x="4714" y="110"/>
                </a:lnTo>
                <a:lnTo>
                  <a:pt x="4722" y="118"/>
                </a:lnTo>
                <a:lnTo>
                  <a:pt x="4750" y="138"/>
                </a:lnTo>
                <a:lnTo>
                  <a:pt x="4764" y="146"/>
                </a:lnTo>
                <a:lnTo>
                  <a:pt x="4766" y="148"/>
                </a:lnTo>
                <a:lnTo>
                  <a:pt x="4764" y="150"/>
                </a:lnTo>
                <a:lnTo>
                  <a:pt x="4758" y="150"/>
                </a:lnTo>
                <a:lnTo>
                  <a:pt x="4748" y="148"/>
                </a:lnTo>
                <a:lnTo>
                  <a:pt x="4736" y="146"/>
                </a:lnTo>
                <a:lnTo>
                  <a:pt x="4724" y="146"/>
                </a:lnTo>
                <a:lnTo>
                  <a:pt x="4722" y="148"/>
                </a:lnTo>
                <a:lnTo>
                  <a:pt x="4720" y="150"/>
                </a:lnTo>
                <a:lnTo>
                  <a:pt x="4718" y="154"/>
                </a:lnTo>
                <a:lnTo>
                  <a:pt x="4722" y="158"/>
                </a:lnTo>
                <a:lnTo>
                  <a:pt x="4722" y="160"/>
                </a:lnTo>
                <a:lnTo>
                  <a:pt x="4714" y="158"/>
                </a:lnTo>
                <a:lnTo>
                  <a:pt x="4704" y="154"/>
                </a:lnTo>
                <a:lnTo>
                  <a:pt x="4688" y="150"/>
                </a:lnTo>
                <a:lnTo>
                  <a:pt x="4670" y="146"/>
                </a:lnTo>
                <a:lnTo>
                  <a:pt x="4660" y="146"/>
                </a:lnTo>
                <a:lnTo>
                  <a:pt x="4650" y="148"/>
                </a:lnTo>
                <a:lnTo>
                  <a:pt x="4642" y="150"/>
                </a:lnTo>
                <a:lnTo>
                  <a:pt x="4634" y="156"/>
                </a:lnTo>
                <a:lnTo>
                  <a:pt x="4626" y="162"/>
                </a:lnTo>
                <a:lnTo>
                  <a:pt x="4618" y="172"/>
                </a:lnTo>
                <a:lnTo>
                  <a:pt x="4606" y="190"/>
                </a:lnTo>
                <a:lnTo>
                  <a:pt x="4610" y="180"/>
                </a:lnTo>
                <a:lnTo>
                  <a:pt x="4612" y="168"/>
                </a:lnTo>
                <a:lnTo>
                  <a:pt x="4614" y="154"/>
                </a:lnTo>
                <a:lnTo>
                  <a:pt x="4610" y="138"/>
                </a:lnTo>
                <a:lnTo>
                  <a:pt x="4608" y="130"/>
                </a:lnTo>
                <a:lnTo>
                  <a:pt x="4604" y="124"/>
                </a:lnTo>
                <a:lnTo>
                  <a:pt x="4592" y="114"/>
                </a:lnTo>
                <a:lnTo>
                  <a:pt x="4582" y="108"/>
                </a:lnTo>
                <a:lnTo>
                  <a:pt x="4568" y="106"/>
                </a:lnTo>
                <a:lnTo>
                  <a:pt x="4554" y="108"/>
                </a:lnTo>
                <a:lnTo>
                  <a:pt x="4508" y="118"/>
                </a:lnTo>
                <a:lnTo>
                  <a:pt x="4476" y="124"/>
                </a:lnTo>
                <a:lnTo>
                  <a:pt x="4436" y="130"/>
                </a:lnTo>
                <a:lnTo>
                  <a:pt x="4394" y="134"/>
                </a:lnTo>
                <a:lnTo>
                  <a:pt x="4362" y="140"/>
                </a:lnTo>
                <a:lnTo>
                  <a:pt x="4338" y="144"/>
                </a:lnTo>
                <a:lnTo>
                  <a:pt x="4320" y="150"/>
                </a:lnTo>
                <a:lnTo>
                  <a:pt x="4308" y="156"/>
                </a:lnTo>
                <a:lnTo>
                  <a:pt x="4302" y="162"/>
                </a:lnTo>
                <a:lnTo>
                  <a:pt x="4302" y="166"/>
                </a:lnTo>
                <a:lnTo>
                  <a:pt x="4302" y="170"/>
                </a:lnTo>
                <a:lnTo>
                  <a:pt x="4306" y="176"/>
                </a:lnTo>
                <a:close/>
                <a:moveTo>
                  <a:pt x="5340" y="5242"/>
                </a:moveTo>
                <a:lnTo>
                  <a:pt x="5340" y="5242"/>
                </a:lnTo>
                <a:lnTo>
                  <a:pt x="5332" y="5236"/>
                </a:lnTo>
                <a:lnTo>
                  <a:pt x="5326" y="5232"/>
                </a:lnTo>
                <a:lnTo>
                  <a:pt x="5320" y="5232"/>
                </a:lnTo>
                <a:lnTo>
                  <a:pt x="5314" y="5234"/>
                </a:lnTo>
                <a:lnTo>
                  <a:pt x="5306" y="5234"/>
                </a:lnTo>
                <a:lnTo>
                  <a:pt x="5298" y="5234"/>
                </a:lnTo>
                <a:lnTo>
                  <a:pt x="5286" y="5230"/>
                </a:lnTo>
                <a:lnTo>
                  <a:pt x="5270" y="5222"/>
                </a:lnTo>
                <a:lnTo>
                  <a:pt x="5256" y="5212"/>
                </a:lnTo>
                <a:lnTo>
                  <a:pt x="5246" y="5204"/>
                </a:lnTo>
                <a:lnTo>
                  <a:pt x="5240" y="5198"/>
                </a:lnTo>
                <a:lnTo>
                  <a:pt x="5236" y="5192"/>
                </a:lnTo>
                <a:lnTo>
                  <a:pt x="5230" y="5178"/>
                </a:lnTo>
                <a:lnTo>
                  <a:pt x="5224" y="5172"/>
                </a:lnTo>
                <a:lnTo>
                  <a:pt x="5214" y="5162"/>
                </a:lnTo>
                <a:lnTo>
                  <a:pt x="5194" y="5144"/>
                </a:lnTo>
                <a:lnTo>
                  <a:pt x="5186" y="5136"/>
                </a:lnTo>
                <a:lnTo>
                  <a:pt x="5176" y="5130"/>
                </a:lnTo>
                <a:lnTo>
                  <a:pt x="5166" y="5126"/>
                </a:lnTo>
                <a:lnTo>
                  <a:pt x="5156" y="5124"/>
                </a:lnTo>
                <a:lnTo>
                  <a:pt x="5144" y="5122"/>
                </a:lnTo>
                <a:lnTo>
                  <a:pt x="5128" y="5124"/>
                </a:lnTo>
                <a:lnTo>
                  <a:pt x="5114" y="5126"/>
                </a:lnTo>
                <a:lnTo>
                  <a:pt x="5100" y="5126"/>
                </a:lnTo>
                <a:lnTo>
                  <a:pt x="5086" y="5124"/>
                </a:lnTo>
                <a:lnTo>
                  <a:pt x="5074" y="5122"/>
                </a:lnTo>
                <a:lnTo>
                  <a:pt x="5052" y="5114"/>
                </a:lnTo>
                <a:lnTo>
                  <a:pt x="5032" y="5106"/>
                </a:lnTo>
                <a:lnTo>
                  <a:pt x="5026" y="5104"/>
                </a:lnTo>
                <a:lnTo>
                  <a:pt x="5022" y="5104"/>
                </a:lnTo>
                <a:lnTo>
                  <a:pt x="5014" y="5108"/>
                </a:lnTo>
                <a:lnTo>
                  <a:pt x="5004" y="5114"/>
                </a:lnTo>
                <a:lnTo>
                  <a:pt x="4996" y="5120"/>
                </a:lnTo>
                <a:lnTo>
                  <a:pt x="4984" y="5134"/>
                </a:lnTo>
                <a:lnTo>
                  <a:pt x="4980" y="5136"/>
                </a:lnTo>
                <a:lnTo>
                  <a:pt x="4978" y="5136"/>
                </a:lnTo>
                <a:lnTo>
                  <a:pt x="4976" y="5136"/>
                </a:lnTo>
                <a:lnTo>
                  <a:pt x="4974" y="5130"/>
                </a:lnTo>
                <a:lnTo>
                  <a:pt x="4976" y="5126"/>
                </a:lnTo>
                <a:lnTo>
                  <a:pt x="4980" y="5112"/>
                </a:lnTo>
                <a:lnTo>
                  <a:pt x="4984" y="5100"/>
                </a:lnTo>
                <a:lnTo>
                  <a:pt x="4984" y="5094"/>
                </a:lnTo>
                <a:lnTo>
                  <a:pt x="4982" y="5092"/>
                </a:lnTo>
                <a:lnTo>
                  <a:pt x="4980" y="5086"/>
                </a:lnTo>
                <a:lnTo>
                  <a:pt x="4978" y="5082"/>
                </a:lnTo>
                <a:lnTo>
                  <a:pt x="4974" y="5072"/>
                </a:lnTo>
                <a:lnTo>
                  <a:pt x="4972" y="5068"/>
                </a:lnTo>
                <a:lnTo>
                  <a:pt x="4968" y="5064"/>
                </a:lnTo>
                <a:lnTo>
                  <a:pt x="4960" y="5060"/>
                </a:lnTo>
                <a:lnTo>
                  <a:pt x="4952" y="5058"/>
                </a:lnTo>
                <a:lnTo>
                  <a:pt x="4942" y="5054"/>
                </a:lnTo>
                <a:lnTo>
                  <a:pt x="4934" y="5050"/>
                </a:lnTo>
                <a:lnTo>
                  <a:pt x="4924" y="5042"/>
                </a:lnTo>
                <a:lnTo>
                  <a:pt x="4916" y="5036"/>
                </a:lnTo>
                <a:lnTo>
                  <a:pt x="4912" y="5034"/>
                </a:lnTo>
                <a:lnTo>
                  <a:pt x="4906" y="5032"/>
                </a:lnTo>
                <a:lnTo>
                  <a:pt x="4896" y="5032"/>
                </a:lnTo>
                <a:lnTo>
                  <a:pt x="4888" y="5028"/>
                </a:lnTo>
                <a:lnTo>
                  <a:pt x="4878" y="5024"/>
                </a:lnTo>
                <a:lnTo>
                  <a:pt x="4858" y="5020"/>
                </a:lnTo>
                <a:lnTo>
                  <a:pt x="4852" y="5022"/>
                </a:lnTo>
                <a:lnTo>
                  <a:pt x="4846" y="5022"/>
                </a:lnTo>
                <a:lnTo>
                  <a:pt x="4836" y="5028"/>
                </a:lnTo>
                <a:lnTo>
                  <a:pt x="4828" y="5036"/>
                </a:lnTo>
                <a:lnTo>
                  <a:pt x="4822" y="5046"/>
                </a:lnTo>
                <a:lnTo>
                  <a:pt x="4814" y="5060"/>
                </a:lnTo>
                <a:lnTo>
                  <a:pt x="4810" y="5060"/>
                </a:lnTo>
                <a:lnTo>
                  <a:pt x="4808" y="5056"/>
                </a:lnTo>
                <a:lnTo>
                  <a:pt x="4806" y="5048"/>
                </a:lnTo>
                <a:lnTo>
                  <a:pt x="4810" y="5040"/>
                </a:lnTo>
                <a:lnTo>
                  <a:pt x="4818" y="5026"/>
                </a:lnTo>
                <a:lnTo>
                  <a:pt x="4822" y="5018"/>
                </a:lnTo>
                <a:lnTo>
                  <a:pt x="4822" y="5012"/>
                </a:lnTo>
                <a:lnTo>
                  <a:pt x="4822" y="5008"/>
                </a:lnTo>
                <a:lnTo>
                  <a:pt x="4820" y="5006"/>
                </a:lnTo>
                <a:lnTo>
                  <a:pt x="4810" y="5000"/>
                </a:lnTo>
                <a:lnTo>
                  <a:pt x="4792" y="4996"/>
                </a:lnTo>
                <a:lnTo>
                  <a:pt x="4784" y="4998"/>
                </a:lnTo>
                <a:lnTo>
                  <a:pt x="4774" y="4998"/>
                </a:lnTo>
                <a:lnTo>
                  <a:pt x="4752" y="4996"/>
                </a:lnTo>
                <a:lnTo>
                  <a:pt x="4742" y="4994"/>
                </a:lnTo>
                <a:lnTo>
                  <a:pt x="4736" y="4998"/>
                </a:lnTo>
                <a:lnTo>
                  <a:pt x="4730" y="5002"/>
                </a:lnTo>
                <a:lnTo>
                  <a:pt x="4728" y="5010"/>
                </a:lnTo>
                <a:lnTo>
                  <a:pt x="4726" y="5018"/>
                </a:lnTo>
                <a:lnTo>
                  <a:pt x="4724" y="5026"/>
                </a:lnTo>
                <a:lnTo>
                  <a:pt x="4726" y="5040"/>
                </a:lnTo>
                <a:lnTo>
                  <a:pt x="4722" y="5036"/>
                </a:lnTo>
                <a:lnTo>
                  <a:pt x="4720" y="5036"/>
                </a:lnTo>
                <a:lnTo>
                  <a:pt x="4712" y="5042"/>
                </a:lnTo>
                <a:lnTo>
                  <a:pt x="4710" y="5044"/>
                </a:lnTo>
                <a:lnTo>
                  <a:pt x="4708" y="5044"/>
                </a:lnTo>
                <a:lnTo>
                  <a:pt x="4708" y="5042"/>
                </a:lnTo>
                <a:lnTo>
                  <a:pt x="4710" y="5034"/>
                </a:lnTo>
                <a:lnTo>
                  <a:pt x="4712" y="5026"/>
                </a:lnTo>
                <a:lnTo>
                  <a:pt x="4710" y="5020"/>
                </a:lnTo>
                <a:lnTo>
                  <a:pt x="4706" y="5020"/>
                </a:lnTo>
                <a:lnTo>
                  <a:pt x="4702" y="5020"/>
                </a:lnTo>
                <a:lnTo>
                  <a:pt x="4694" y="5024"/>
                </a:lnTo>
                <a:lnTo>
                  <a:pt x="4696" y="5020"/>
                </a:lnTo>
                <a:lnTo>
                  <a:pt x="4698" y="5014"/>
                </a:lnTo>
                <a:lnTo>
                  <a:pt x="4698" y="5010"/>
                </a:lnTo>
                <a:lnTo>
                  <a:pt x="4700" y="5004"/>
                </a:lnTo>
                <a:lnTo>
                  <a:pt x="4700" y="5000"/>
                </a:lnTo>
                <a:lnTo>
                  <a:pt x="4702" y="4996"/>
                </a:lnTo>
                <a:lnTo>
                  <a:pt x="4706" y="4994"/>
                </a:lnTo>
                <a:lnTo>
                  <a:pt x="4714" y="4990"/>
                </a:lnTo>
                <a:lnTo>
                  <a:pt x="4720" y="4986"/>
                </a:lnTo>
                <a:lnTo>
                  <a:pt x="4726" y="4980"/>
                </a:lnTo>
                <a:lnTo>
                  <a:pt x="4736" y="4964"/>
                </a:lnTo>
                <a:lnTo>
                  <a:pt x="4746" y="4950"/>
                </a:lnTo>
                <a:lnTo>
                  <a:pt x="4750" y="4944"/>
                </a:lnTo>
                <a:lnTo>
                  <a:pt x="4756" y="4940"/>
                </a:lnTo>
                <a:lnTo>
                  <a:pt x="4760" y="4938"/>
                </a:lnTo>
                <a:lnTo>
                  <a:pt x="4762" y="4932"/>
                </a:lnTo>
                <a:lnTo>
                  <a:pt x="4762" y="4926"/>
                </a:lnTo>
                <a:lnTo>
                  <a:pt x="4762" y="4918"/>
                </a:lnTo>
                <a:lnTo>
                  <a:pt x="4760" y="4912"/>
                </a:lnTo>
                <a:lnTo>
                  <a:pt x="4756" y="4906"/>
                </a:lnTo>
                <a:lnTo>
                  <a:pt x="4752" y="4902"/>
                </a:lnTo>
                <a:lnTo>
                  <a:pt x="4748" y="4902"/>
                </a:lnTo>
                <a:lnTo>
                  <a:pt x="4740" y="4902"/>
                </a:lnTo>
                <a:lnTo>
                  <a:pt x="4736" y="4900"/>
                </a:lnTo>
                <a:lnTo>
                  <a:pt x="4736" y="4896"/>
                </a:lnTo>
                <a:lnTo>
                  <a:pt x="4734" y="4892"/>
                </a:lnTo>
                <a:lnTo>
                  <a:pt x="4732" y="4886"/>
                </a:lnTo>
                <a:lnTo>
                  <a:pt x="4730" y="4884"/>
                </a:lnTo>
                <a:lnTo>
                  <a:pt x="4730" y="4882"/>
                </a:lnTo>
                <a:lnTo>
                  <a:pt x="4730" y="4878"/>
                </a:lnTo>
                <a:lnTo>
                  <a:pt x="4728" y="4874"/>
                </a:lnTo>
                <a:lnTo>
                  <a:pt x="4726" y="4870"/>
                </a:lnTo>
                <a:lnTo>
                  <a:pt x="4724" y="4868"/>
                </a:lnTo>
                <a:lnTo>
                  <a:pt x="4722" y="4864"/>
                </a:lnTo>
                <a:lnTo>
                  <a:pt x="4722" y="4860"/>
                </a:lnTo>
                <a:lnTo>
                  <a:pt x="4722" y="4854"/>
                </a:lnTo>
                <a:lnTo>
                  <a:pt x="4718" y="4848"/>
                </a:lnTo>
                <a:lnTo>
                  <a:pt x="4716" y="4828"/>
                </a:lnTo>
                <a:lnTo>
                  <a:pt x="4714" y="4806"/>
                </a:lnTo>
                <a:lnTo>
                  <a:pt x="4714" y="4800"/>
                </a:lnTo>
                <a:lnTo>
                  <a:pt x="4712" y="4800"/>
                </a:lnTo>
                <a:lnTo>
                  <a:pt x="4710" y="4798"/>
                </a:lnTo>
                <a:lnTo>
                  <a:pt x="4708" y="4794"/>
                </a:lnTo>
                <a:lnTo>
                  <a:pt x="4702" y="4780"/>
                </a:lnTo>
                <a:lnTo>
                  <a:pt x="4698" y="4776"/>
                </a:lnTo>
                <a:lnTo>
                  <a:pt x="4696" y="4776"/>
                </a:lnTo>
                <a:lnTo>
                  <a:pt x="4694" y="4778"/>
                </a:lnTo>
                <a:lnTo>
                  <a:pt x="4694" y="4780"/>
                </a:lnTo>
                <a:lnTo>
                  <a:pt x="4694" y="4784"/>
                </a:lnTo>
                <a:lnTo>
                  <a:pt x="4690" y="4792"/>
                </a:lnTo>
                <a:lnTo>
                  <a:pt x="4688" y="4790"/>
                </a:lnTo>
                <a:lnTo>
                  <a:pt x="4688" y="4786"/>
                </a:lnTo>
                <a:lnTo>
                  <a:pt x="4688" y="4782"/>
                </a:lnTo>
                <a:lnTo>
                  <a:pt x="4688" y="4778"/>
                </a:lnTo>
                <a:lnTo>
                  <a:pt x="4684" y="4764"/>
                </a:lnTo>
                <a:lnTo>
                  <a:pt x="4684" y="4762"/>
                </a:lnTo>
                <a:lnTo>
                  <a:pt x="4682" y="4764"/>
                </a:lnTo>
                <a:lnTo>
                  <a:pt x="4680" y="4766"/>
                </a:lnTo>
                <a:lnTo>
                  <a:pt x="4676" y="4764"/>
                </a:lnTo>
                <a:lnTo>
                  <a:pt x="4674" y="4758"/>
                </a:lnTo>
                <a:lnTo>
                  <a:pt x="4672" y="4754"/>
                </a:lnTo>
                <a:lnTo>
                  <a:pt x="4668" y="4752"/>
                </a:lnTo>
                <a:lnTo>
                  <a:pt x="4662" y="4748"/>
                </a:lnTo>
                <a:lnTo>
                  <a:pt x="4654" y="4744"/>
                </a:lnTo>
                <a:lnTo>
                  <a:pt x="4650" y="4740"/>
                </a:lnTo>
                <a:lnTo>
                  <a:pt x="4648" y="4734"/>
                </a:lnTo>
                <a:lnTo>
                  <a:pt x="4644" y="4730"/>
                </a:lnTo>
                <a:lnTo>
                  <a:pt x="4640" y="4726"/>
                </a:lnTo>
                <a:lnTo>
                  <a:pt x="4632" y="4722"/>
                </a:lnTo>
                <a:lnTo>
                  <a:pt x="4622" y="4718"/>
                </a:lnTo>
                <a:lnTo>
                  <a:pt x="4610" y="4712"/>
                </a:lnTo>
                <a:lnTo>
                  <a:pt x="4598" y="4708"/>
                </a:lnTo>
                <a:lnTo>
                  <a:pt x="4568" y="4698"/>
                </a:lnTo>
                <a:lnTo>
                  <a:pt x="4558" y="4696"/>
                </a:lnTo>
                <a:lnTo>
                  <a:pt x="4552" y="4696"/>
                </a:lnTo>
                <a:lnTo>
                  <a:pt x="4550" y="4700"/>
                </a:lnTo>
                <a:lnTo>
                  <a:pt x="4546" y="4700"/>
                </a:lnTo>
                <a:lnTo>
                  <a:pt x="4536" y="4698"/>
                </a:lnTo>
                <a:lnTo>
                  <a:pt x="4524" y="4698"/>
                </a:lnTo>
                <a:lnTo>
                  <a:pt x="4520" y="4700"/>
                </a:lnTo>
                <a:lnTo>
                  <a:pt x="4518" y="4702"/>
                </a:lnTo>
                <a:lnTo>
                  <a:pt x="4518" y="4704"/>
                </a:lnTo>
                <a:lnTo>
                  <a:pt x="4514" y="4706"/>
                </a:lnTo>
                <a:lnTo>
                  <a:pt x="4502" y="4702"/>
                </a:lnTo>
                <a:lnTo>
                  <a:pt x="4494" y="4700"/>
                </a:lnTo>
                <a:lnTo>
                  <a:pt x="4486" y="4698"/>
                </a:lnTo>
                <a:lnTo>
                  <a:pt x="4478" y="4698"/>
                </a:lnTo>
                <a:lnTo>
                  <a:pt x="4472" y="4702"/>
                </a:lnTo>
                <a:lnTo>
                  <a:pt x="4470" y="4700"/>
                </a:lnTo>
                <a:lnTo>
                  <a:pt x="4468" y="4698"/>
                </a:lnTo>
                <a:lnTo>
                  <a:pt x="4466" y="4692"/>
                </a:lnTo>
                <a:lnTo>
                  <a:pt x="4462" y="4684"/>
                </a:lnTo>
                <a:lnTo>
                  <a:pt x="4460" y="4682"/>
                </a:lnTo>
                <a:lnTo>
                  <a:pt x="4458" y="4682"/>
                </a:lnTo>
                <a:lnTo>
                  <a:pt x="4454" y="4680"/>
                </a:lnTo>
                <a:lnTo>
                  <a:pt x="4452" y="4678"/>
                </a:lnTo>
                <a:lnTo>
                  <a:pt x="4450" y="4670"/>
                </a:lnTo>
                <a:lnTo>
                  <a:pt x="4448" y="4666"/>
                </a:lnTo>
                <a:lnTo>
                  <a:pt x="4444" y="4664"/>
                </a:lnTo>
                <a:lnTo>
                  <a:pt x="4440" y="4660"/>
                </a:lnTo>
                <a:lnTo>
                  <a:pt x="4430" y="4656"/>
                </a:lnTo>
                <a:lnTo>
                  <a:pt x="4418" y="4654"/>
                </a:lnTo>
                <a:lnTo>
                  <a:pt x="4412" y="4650"/>
                </a:lnTo>
                <a:lnTo>
                  <a:pt x="4412" y="4646"/>
                </a:lnTo>
                <a:lnTo>
                  <a:pt x="4416" y="4638"/>
                </a:lnTo>
                <a:lnTo>
                  <a:pt x="4416" y="4630"/>
                </a:lnTo>
                <a:lnTo>
                  <a:pt x="4414" y="4624"/>
                </a:lnTo>
                <a:lnTo>
                  <a:pt x="4410" y="4618"/>
                </a:lnTo>
                <a:lnTo>
                  <a:pt x="4404" y="4612"/>
                </a:lnTo>
                <a:lnTo>
                  <a:pt x="4388" y="4598"/>
                </a:lnTo>
                <a:lnTo>
                  <a:pt x="4364" y="4582"/>
                </a:lnTo>
                <a:lnTo>
                  <a:pt x="4358" y="4576"/>
                </a:lnTo>
                <a:lnTo>
                  <a:pt x="4348" y="4572"/>
                </a:lnTo>
                <a:lnTo>
                  <a:pt x="4338" y="4570"/>
                </a:lnTo>
                <a:lnTo>
                  <a:pt x="4326" y="4572"/>
                </a:lnTo>
                <a:lnTo>
                  <a:pt x="4316" y="4574"/>
                </a:lnTo>
                <a:lnTo>
                  <a:pt x="4300" y="4576"/>
                </a:lnTo>
                <a:lnTo>
                  <a:pt x="4298" y="4576"/>
                </a:lnTo>
                <a:lnTo>
                  <a:pt x="4300" y="4572"/>
                </a:lnTo>
                <a:lnTo>
                  <a:pt x="4304" y="4568"/>
                </a:lnTo>
                <a:lnTo>
                  <a:pt x="4306" y="4564"/>
                </a:lnTo>
                <a:lnTo>
                  <a:pt x="4308" y="4554"/>
                </a:lnTo>
                <a:lnTo>
                  <a:pt x="4310" y="4546"/>
                </a:lnTo>
                <a:lnTo>
                  <a:pt x="4314" y="4544"/>
                </a:lnTo>
                <a:lnTo>
                  <a:pt x="4318" y="4540"/>
                </a:lnTo>
                <a:lnTo>
                  <a:pt x="4322" y="4536"/>
                </a:lnTo>
                <a:lnTo>
                  <a:pt x="4322" y="4534"/>
                </a:lnTo>
                <a:lnTo>
                  <a:pt x="4322" y="4532"/>
                </a:lnTo>
                <a:lnTo>
                  <a:pt x="4320" y="4530"/>
                </a:lnTo>
                <a:lnTo>
                  <a:pt x="4312" y="4526"/>
                </a:lnTo>
                <a:lnTo>
                  <a:pt x="4308" y="4522"/>
                </a:lnTo>
                <a:lnTo>
                  <a:pt x="4304" y="4518"/>
                </a:lnTo>
                <a:lnTo>
                  <a:pt x="4300" y="4514"/>
                </a:lnTo>
                <a:lnTo>
                  <a:pt x="4296" y="4512"/>
                </a:lnTo>
                <a:lnTo>
                  <a:pt x="4288" y="4510"/>
                </a:lnTo>
                <a:lnTo>
                  <a:pt x="4280" y="4510"/>
                </a:lnTo>
                <a:lnTo>
                  <a:pt x="4278" y="4508"/>
                </a:lnTo>
                <a:lnTo>
                  <a:pt x="4274" y="4504"/>
                </a:lnTo>
                <a:lnTo>
                  <a:pt x="4270" y="4500"/>
                </a:lnTo>
                <a:lnTo>
                  <a:pt x="4262" y="4496"/>
                </a:lnTo>
                <a:lnTo>
                  <a:pt x="4248" y="4488"/>
                </a:lnTo>
                <a:lnTo>
                  <a:pt x="4244" y="4484"/>
                </a:lnTo>
                <a:lnTo>
                  <a:pt x="4242" y="4480"/>
                </a:lnTo>
                <a:lnTo>
                  <a:pt x="4244" y="4478"/>
                </a:lnTo>
                <a:lnTo>
                  <a:pt x="4252" y="4476"/>
                </a:lnTo>
                <a:lnTo>
                  <a:pt x="4270" y="4472"/>
                </a:lnTo>
                <a:lnTo>
                  <a:pt x="4278" y="4468"/>
                </a:lnTo>
                <a:lnTo>
                  <a:pt x="4278" y="4466"/>
                </a:lnTo>
                <a:lnTo>
                  <a:pt x="4274" y="4464"/>
                </a:lnTo>
                <a:lnTo>
                  <a:pt x="4258" y="4460"/>
                </a:lnTo>
                <a:lnTo>
                  <a:pt x="4242" y="4460"/>
                </a:lnTo>
                <a:lnTo>
                  <a:pt x="4232" y="4464"/>
                </a:lnTo>
                <a:lnTo>
                  <a:pt x="4222" y="4466"/>
                </a:lnTo>
                <a:lnTo>
                  <a:pt x="4202" y="4468"/>
                </a:lnTo>
                <a:lnTo>
                  <a:pt x="4192" y="4468"/>
                </a:lnTo>
                <a:lnTo>
                  <a:pt x="4184" y="4470"/>
                </a:lnTo>
                <a:lnTo>
                  <a:pt x="4180" y="4472"/>
                </a:lnTo>
                <a:lnTo>
                  <a:pt x="4178" y="4474"/>
                </a:lnTo>
                <a:lnTo>
                  <a:pt x="4176" y="4480"/>
                </a:lnTo>
                <a:lnTo>
                  <a:pt x="4176" y="4484"/>
                </a:lnTo>
                <a:lnTo>
                  <a:pt x="4172" y="4486"/>
                </a:lnTo>
                <a:lnTo>
                  <a:pt x="4158" y="4492"/>
                </a:lnTo>
                <a:lnTo>
                  <a:pt x="4152" y="4494"/>
                </a:lnTo>
                <a:lnTo>
                  <a:pt x="4144" y="4496"/>
                </a:lnTo>
                <a:lnTo>
                  <a:pt x="4136" y="4494"/>
                </a:lnTo>
                <a:lnTo>
                  <a:pt x="4126" y="4492"/>
                </a:lnTo>
                <a:lnTo>
                  <a:pt x="4120" y="4486"/>
                </a:lnTo>
                <a:lnTo>
                  <a:pt x="4112" y="4476"/>
                </a:lnTo>
                <a:lnTo>
                  <a:pt x="4108" y="4472"/>
                </a:lnTo>
                <a:lnTo>
                  <a:pt x="4104" y="4470"/>
                </a:lnTo>
                <a:lnTo>
                  <a:pt x="4098" y="4468"/>
                </a:lnTo>
                <a:lnTo>
                  <a:pt x="4090" y="4468"/>
                </a:lnTo>
                <a:lnTo>
                  <a:pt x="4076" y="4470"/>
                </a:lnTo>
                <a:lnTo>
                  <a:pt x="4060" y="4474"/>
                </a:lnTo>
                <a:lnTo>
                  <a:pt x="4044" y="4476"/>
                </a:lnTo>
                <a:lnTo>
                  <a:pt x="4032" y="4478"/>
                </a:lnTo>
                <a:lnTo>
                  <a:pt x="4026" y="4476"/>
                </a:lnTo>
                <a:lnTo>
                  <a:pt x="4022" y="4472"/>
                </a:lnTo>
                <a:lnTo>
                  <a:pt x="4020" y="4468"/>
                </a:lnTo>
                <a:lnTo>
                  <a:pt x="4020" y="4460"/>
                </a:lnTo>
                <a:lnTo>
                  <a:pt x="4018" y="4448"/>
                </a:lnTo>
                <a:lnTo>
                  <a:pt x="4012" y="4438"/>
                </a:lnTo>
                <a:lnTo>
                  <a:pt x="4004" y="4434"/>
                </a:lnTo>
                <a:lnTo>
                  <a:pt x="3996" y="4430"/>
                </a:lnTo>
                <a:lnTo>
                  <a:pt x="3986" y="4426"/>
                </a:lnTo>
                <a:lnTo>
                  <a:pt x="3978" y="4422"/>
                </a:lnTo>
                <a:lnTo>
                  <a:pt x="3970" y="4416"/>
                </a:lnTo>
                <a:lnTo>
                  <a:pt x="3964" y="4406"/>
                </a:lnTo>
                <a:lnTo>
                  <a:pt x="3960" y="4396"/>
                </a:lnTo>
                <a:lnTo>
                  <a:pt x="3956" y="4390"/>
                </a:lnTo>
                <a:lnTo>
                  <a:pt x="3950" y="4390"/>
                </a:lnTo>
                <a:lnTo>
                  <a:pt x="3946" y="4394"/>
                </a:lnTo>
                <a:lnTo>
                  <a:pt x="3944" y="4398"/>
                </a:lnTo>
                <a:lnTo>
                  <a:pt x="3940" y="4406"/>
                </a:lnTo>
                <a:lnTo>
                  <a:pt x="3940" y="4412"/>
                </a:lnTo>
                <a:lnTo>
                  <a:pt x="3940" y="4416"/>
                </a:lnTo>
                <a:lnTo>
                  <a:pt x="3946" y="4424"/>
                </a:lnTo>
                <a:lnTo>
                  <a:pt x="3948" y="4430"/>
                </a:lnTo>
                <a:lnTo>
                  <a:pt x="3948" y="4434"/>
                </a:lnTo>
                <a:lnTo>
                  <a:pt x="3944" y="4436"/>
                </a:lnTo>
                <a:lnTo>
                  <a:pt x="3928" y="4440"/>
                </a:lnTo>
                <a:lnTo>
                  <a:pt x="3916" y="4444"/>
                </a:lnTo>
                <a:lnTo>
                  <a:pt x="3906" y="4448"/>
                </a:lnTo>
                <a:lnTo>
                  <a:pt x="3900" y="4452"/>
                </a:lnTo>
                <a:lnTo>
                  <a:pt x="3894" y="4458"/>
                </a:lnTo>
                <a:lnTo>
                  <a:pt x="3888" y="4464"/>
                </a:lnTo>
                <a:lnTo>
                  <a:pt x="3886" y="4462"/>
                </a:lnTo>
                <a:lnTo>
                  <a:pt x="3886" y="4456"/>
                </a:lnTo>
                <a:lnTo>
                  <a:pt x="3882" y="4448"/>
                </a:lnTo>
                <a:lnTo>
                  <a:pt x="3878" y="4440"/>
                </a:lnTo>
                <a:lnTo>
                  <a:pt x="3874" y="4434"/>
                </a:lnTo>
                <a:lnTo>
                  <a:pt x="3872" y="4430"/>
                </a:lnTo>
                <a:lnTo>
                  <a:pt x="3874" y="4426"/>
                </a:lnTo>
                <a:lnTo>
                  <a:pt x="3878" y="4422"/>
                </a:lnTo>
                <a:lnTo>
                  <a:pt x="3888" y="4416"/>
                </a:lnTo>
                <a:lnTo>
                  <a:pt x="3898" y="4410"/>
                </a:lnTo>
                <a:lnTo>
                  <a:pt x="3900" y="4410"/>
                </a:lnTo>
                <a:lnTo>
                  <a:pt x="3902" y="4406"/>
                </a:lnTo>
                <a:lnTo>
                  <a:pt x="3906" y="4402"/>
                </a:lnTo>
                <a:lnTo>
                  <a:pt x="3908" y="4398"/>
                </a:lnTo>
                <a:lnTo>
                  <a:pt x="3906" y="4394"/>
                </a:lnTo>
                <a:lnTo>
                  <a:pt x="3904" y="4390"/>
                </a:lnTo>
                <a:lnTo>
                  <a:pt x="3902" y="4386"/>
                </a:lnTo>
                <a:lnTo>
                  <a:pt x="3894" y="4384"/>
                </a:lnTo>
                <a:lnTo>
                  <a:pt x="3886" y="4384"/>
                </a:lnTo>
                <a:lnTo>
                  <a:pt x="3874" y="4386"/>
                </a:lnTo>
                <a:lnTo>
                  <a:pt x="3870" y="4390"/>
                </a:lnTo>
                <a:lnTo>
                  <a:pt x="3866" y="4392"/>
                </a:lnTo>
                <a:lnTo>
                  <a:pt x="3858" y="4402"/>
                </a:lnTo>
                <a:lnTo>
                  <a:pt x="3852" y="4410"/>
                </a:lnTo>
                <a:lnTo>
                  <a:pt x="3840" y="4418"/>
                </a:lnTo>
                <a:lnTo>
                  <a:pt x="3824" y="4428"/>
                </a:lnTo>
                <a:lnTo>
                  <a:pt x="3812" y="4434"/>
                </a:lnTo>
                <a:lnTo>
                  <a:pt x="3802" y="4436"/>
                </a:lnTo>
                <a:lnTo>
                  <a:pt x="3794" y="4434"/>
                </a:lnTo>
                <a:lnTo>
                  <a:pt x="3790" y="4432"/>
                </a:lnTo>
                <a:lnTo>
                  <a:pt x="3786" y="4432"/>
                </a:lnTo>
                <a:lnTo>
                  <a:pt x="3782" y="4434"/>
                </a:lnTo>
                <a:lnTo>
                  <a:pt x="3780" y="4442"/>
                </a:lnTo>
                <a:lnTo>
                  <a:pt x="3776" y="4448"/>
                </a:lnTo>
                <a:lnTo>
                  <a:pt x="3772" y="4452"/>
                </a:lnTo>
                <a:lnTo>
                  <a:pt x="3768" y="4450"/>
                </a:lnTo>
                <a:lnTo>
                  <a:pt x="3762" y="4450"/>
                </a:lnTo>
                <a:lnTo>
                  <a:pt x="3752" y="4446"/>
                </a:lnTo>
                <a:lnTo>
                  <a:pt x="3748" y="4446"/>
                </a:lnTo>
                <a:lnTo>
                  <a:pt x="3746" y="4450"/>
                </a:lnTo>
                <a:lnTo>
                  <a:pt x="3744" y="4456"/>
                </a:lnTo>
                <a:lnTo>
                  <a:pt x="3742" y="4460"/>
                </a:lnTo>
                <a:lnTo>
                  <a:pt x="3734" y="4470"/>
                </a:lnTo>
                <a:lnTo>
                  <a:pt x="3730" y="4476"/>
                </a:lnTo>
                <a:lnTo>
                  <a:pt x="3728" y="4484"/>
                </a:lnTo>
                <a:lnTo>
                  <a:pt x="3726" y="4492"/>
                </a:lnTo>
                <a:lnTo>
                  <a:pt x="3726" y="4506"/>
                </a:lnTo>
                <a:lnTo>
                  <a:pt x="3726" y="4518"/>
                </a:lnTo>
                <a:lnTo>
                  <a:pt x="3724" y="4524"/>
                </a:lnTo>
                <a:lnTo>
                  <a:pt x="3720" y="4528"/>
                </a:lnTo>
                <a:lnTo>
                  <a:pt x="3716" y="4530"/>
                </a:lnTo>
                <a:lnTo>
                  <a:pt x="3712" y="4530"/>
                </a:lnTo>
                <a:lnTo>
                  <a:pt x="3708" y="4530"/>
                </a:lnTo>
                <a:lnTo>
                  <a:pt x="3704" y="4534"/>
                </a:lnTo>
                <a:lnTo>
                  <a:pt x="3702" y="4540"/>
                </a:lnTo>
                <a:lnTo>
                  <a:pt x="3700" y="4548"/>
                </a:lnTo>
                <a:lnTo>
                  <a:pt x="3696" y="4554"/>
                </a:lnTo>
                <a:lnTo>
                  <a:pt x="3684" y="4560"/>
                </a:lnTo>
                <a:lnTo>
                  <a:pt x="3680" y="4562"/>
                </a:lnTo>
                <a:lnTo>
                  <a:pt x="3676" y="4566"/>
                </a:lnTo>
                <a:lnTo>
                  <a:pt x="3674" y="4572"/>
                </a:lnTo>
                <a:lnTo>
                  <a:pt x="3676" y="4580"/>
                </a:lnTo>
                <a:lnTo>
                  <a:pt x="3678" y="4592"/>
                </a:lnTo>
                <a:lnTo>
                  <a:pt x="3678" y="4598"/>
                </a:lnTo>
                <a:lnTo>
                  <a:pt x="3674" y="4596"/>
                </a:lnTo>
                <a:lnTo>
                  <a:pt x="3654" y="4566"/>
                </a:lnTo>
                <a:lnTo>
                  <a:pt x="3642" y="4552"/>
                </a:lnTo>
                <a:lnTo>
                  <a:pt x="3630" y="4540"/>
                </a:lnTo>
                <a:lnTo>
                  <a:pt x="3622" y="4534"/>
                </a:lnTo>
                <a:lnTo>
                  <a:pt x="3614" y="4530"/>
                </a:lnTo>
                <a:lnTo>
                  <a:pt x="3606" y="4528"/>
                </a:lnTo>
                <a:lnTo>
                  <a:pt x="3598" y="4528"/>
                </a:lnTo>
                <a:lnTo>
                  <a:pt x="3588" y="4528"/>
                </a:lnTo>
                <a:lnTo>
                  <a:pt x="3588" y="4526"/>
                </a:lnTo>
                <a:lnTo>
                  <a:pt x="3586" y="4524"/>
                </a:lnTo>
                <a:lnTo>
                  <a:pt x="3576" y="4520"/>
                </a:lnTo>
                <a:lnTo>
                  <a:pt x="3562" y="4520"/>
                </a:lnTo>
                <a:lnTo>
                  <a:pt x="3560" y="4522"/>
                </a:lnTo>
                <a:lnTo>
                  <a:pt x="3560" y="4524"/>
                </a:lnTo>
                <a:lnTo>
                  <a:pt x="3556" y="4530"/>
                </a:lnTo>
                <a:lnTo>
                  <a:pt x="3554" y="4534"/>
                </a:lnTo>
                <a:lnTo>
                  <a:pt x="3546" y="4536"/>
                </a:lnTo>
                <a:lnTo>
                  <a:pt x="3524" y="4546"/>
                </a:lnTo>
                <a:lnTo>
                  <a:pt x="3518" y="4552"/>
                </a:lnTo>
                <a:lnTo>
                  <a:pt x="3514" y="4556"/>
                </a:lnTo>
                <a:lnTo>
                  <a:pt x="3498" y="4562"/>
                </a:lnTo>
                <a:lnTo>
                  <a:pt x="3492" y="4562"/>
                </a:lnTo>
                <a:lnTo>
                  <a:pt x="3488" y="4560"/>
                </a:lnTo>
                <a:lnTo>
                  <a:pt x="3480" y="4552"/>
                </a:lnTo>
                <a:lnTo>
                  <a:pt x="3476" y="4546"/>
                </a:lnTo>
                <a:lnTo>
                  <a:pt x="3474" y="4544"/>
                </a:lnTo>
                <a:lnTo>
                  <a:pt x="3472" y="4542"/>
                </a:lnTo>
                <a:lnTo>
                  <a:pt x="3470" y="4542"/>
                </a:lnTo>
                <a:lnTo>
                  <a:pt x="3470" y="4544"/>
                </a:lnTo>
                <a:lnTo>
                  <a:pt x="3470" y="4548"/>
                </a:lnTo>
                <a:lnTo>
                  <a:pt x="3470" y="4550"/>
                </a:lnTo>
                <a:lnTo>
                  <a:pt x="3468" y="4552"/>
                </a:lnTo>
                <a:lnTo>
                  <a:pt x="3464" y="4552"/>
                </a:lnTo>
                <a:lnTo>
                  <a:pt x="3460" y="4550"/>
                </a:lnTo>
                <a:lnTo>
                  <a:pt x="3456" y="4546"/>
                </a:lnTo>
                <a:lnTo>
                  <a:pt x="3458" y="4544"/>
                </a:lnTo>
                <a:lnTo>
                  <a:pt x="3460" y="4542"/>
                </a:lnTo>
                <a:lnTo>
                  <a:pt x="3460" y="4540"/>
                </a:lnTo>
                <a:lnTo>
                  <a:pt x="3458" y="4538"/>
                </a:lnTo>
                <a:lnTo>
                  <a:pt x="3456" y="4540"/>
                </a:lnTo>
                <a:lnTo>
                  <a:pt x="3454" y="4538"/>
                </a:lnTo>
                <a:lnTo>
                  <a:pt x="3452" y="4534"/>
                </a:lnTo>
                <a:lnTo>
                  <a:pt x="3452" y="4530"/>
                </a:lnTo>
                <a:lnTo>
                  <a:pt x="3450" y="4528"/>
                </a:lnTo>
                <a:lnTo>
                  <a:pt x="3444" y="4524"/>
                </a:lnTo>
                <a:lnTo>
                  <a:pt x="3440" y="4516"/>
                </a:lnTo>
                <a:lnTo>
                  <a:pt x="3432" y="4508"/>
                </a:lnTo>
                <a:lnTo>
                  <a:pt x="3422" y="4498"/>
                </a:lnTo>
                <a:lnTo>
                  <a:pt x="3412" y="4484"/>
                </a:lnTo>
                <a:lnTo>
                  <a:pt x="3408" y="4474"/>
                </a:lnTo>
                <a:lnTo>
                  <a:pt x="3406" y="4466"/>
                </a:lnTo>
                <a:lnTo>
                  <a:pt x="3404" y="4460"/>
                </a:lnTo>
                <a:lnTo>
                  <a:pt x="3400" y="4456"/>
                </a:lnTo>
                <a:lnTo>
                  <a:pt x="3398" y="4452"/>
                </a:lnTo>
                <a:lnTo>
                  <a:pt x="3394" y="4444"/>
                </a:lnTo>
                <a:lnTo>
                  <a:pt x="3392" y="4436"/>
                </a:lnTo>
                <a:lnTo>
                  <a:pt x="3394" y="4430"/>
                </a:lnTo>
                <a:lnTo>
                  <a:pt x="3396" y="4426"/>
                </a:lnTo>
                <a:lnTo>
                  <a:pt x="3398" y="4424"/>
                </a:lnTo>
                <a:lnTo>
                  <a:pt x="3400" y="4422"/>
                </a:lnTo>
                <a:lnTo>
                  <a:pt x="3400" y="4416"/>
                </a:lnTo>
                <a:lnTo>
                  <a:pt x="3400" y="4412"/>
                </a:lnTo>
                <a:lnTo>
                  <a:pt x="3398" y="4410"/>
                </a:lnTo>
                <a:lnTo>
                  <a:pt x="3396" y="4410"/>
                </a:lnTo>
                <a:lnTo>
                  <a:pt x="3396" y="4408"/>
                </a:lnTo>
                <a:lnTo>
                  <a:pt x="3396" y="4404"/>
                </a:lnTo>
                <a:lnTo>
                  <a:pt x="3400" y="4390"/>
                </a:lnTo>
                <a:lnTo>
                  <a:pt x="3402" y="4384"/>
                </a:lnTo>
                <a:lnTo>
                  <a:pt x="3404" y="4384"/>
                </a:lnTo>
                <a:lnTo>
                  <a:pt x="3408" y="4384"/>
                </a:lnTo>
                <a:lnTo>
                  <a:pt x="3408" y="4378"/>
                </a:lnTo>
                <a:lnTo>
                  <a:pt x="3406" y="4364"/>
                </a:lnTo>
                <a:lnTo>
                  <a:pt x="3404" y="4344"/>
                </a:lnTo>
                <a:lnTo>
                  <a:pt x="3404" y="4334"/>
                </a:lnTo>
                <a:lnTo>
                  <a:pt x="3404" y="4330"/>
                </a:lnTo>
                <a:lnTo>
                  <a:pt x="3406" y="4326"/>
                </a:lnTo>
                <a:lnTo>
                  <a:pt x="3408" y="4318"/>
                </a:lnTo>
                <a:lnTo>
                  <a:pt x="3410" y="4306"/>
                </a:lnTo>
                <a:lnTo>
                  <a:pt x="3414" y="4296"/>
                </a:lnTo>
                <a:lnTo>
                  <a:pt x="3418" y="4288"/>
                </a:lnTo>
                <a:lnTo>
                  <a:pt x="3420" y="4284"/>
                </a:lnTo>
                <a:lnTo>
                  <a:pt x="3418" y="4280"/>
                </a:lnTo>
                <a:lnTo>
                  <a:pt x="3416" y="4274"/>
                </a:lnTo>
                <a:lnTo>
                  <a:pt x="3416" y="4268"/>
                </a:lnTo>
                <a:lnTo>
                  <a:pt x="3418" y="4262"/>
                </a:lnTo>
                <a:lnTo>
                  <a:pt x="3422" y="4256"/>
                </a:lnTo>
                <a:lnTo>
                  <a:pt x="3420" y="4254"/>
                </a:lnTo>
                <a:lnTo>
                  <a:pt x="3418" y="4250"/>
                </a:lnTo>
                <a:lnTo>
                  <a:pt x="3414" y="4244"/>
                </a:lnTo>
                <a:lnTo>
                  <a:pt x="3406" y="4238"/>
                </a:lnTo>
                <a:lnTo>
                  <a:pt x="3390" y="4230"/>
                </a:lnTo>
                <a:lnTo>
                  <a:pt x="3380" y="4220"/>
                </a:lnTo>
                <a:lnTo>
                  <a:pt x="3372" y="4214"/>
                </a:lnTo>
                <a:lnTo>
                  <a:pt x="3360" y="4210"/>
                </a:lnTo>
                <a:lnTo>
                  <a:pt x="3350" y="4206"/>
                </a:lnTo>
                <a:lnTo>
                  <a:pt x="3344" y="4208"/>
                </a:lnTo>
                <a:lnTo>
                  <a:pt x="3340" y="4210"/>
                </a:lnTo>
                <a:lnTo>
                  <a:pt x="3334" y="4210"/>
                </a:lnTo>
                <a:lnTo>
                  <a:pt x="3328" y="4210"/>
                </a:lnTo>
                <a:lnTo>
                  <a:pt x="3320" y="4206"/>
                </a:lnTo>
                <a:lnTo>
                  <a:pt x="3308" y="4204"/>
                </a:lnTo>
                <a:lnTo>
                  <a:pt x="3306" y="4204"/>
                </a:lnTo>
                <a:lnTo>
                  <a:pt x="3308" y="4206"/>
                </a:lnTo>
                <a:lnTo>
                  <a:pt x="3308" y="4208"/>
                </a:lnTo>
                <a:lnTo>
                  <a:pt x="3304" y="4212"/>
                </a:lnTo>
                <a:lnTo>
                  <a:pt x="3294" y="4216"/>
                </a:lnTo>
                <a:lnTo>
                  <a:pt x="3278" y="4216"/>
                </a:lnTo>
                <a:lnTo>
                  <a:pt x="3268" y="4214"/>
                </a:lnTo>
                <a:lnTo>
                  <a:pt x="3258" y="4214"/>
                </a:lnTo>
                <a:lnTo>
                  <a:pt x="3248" y="4214"/>
                </a:lnTo>
                <a:lnTo>
                  <a:pt x="3244" y="4214"/>
                </a:lnTo>
                <a:lnTo>
                  <a:pt x="3242" y="4214"/>
                </a:lnTo>
                <a:lnTo>
                  <a:pt x="3242" y="4210"/>
                </a:lnTo>
                <a:lnTo>
                  <a:pt x="3240" y="4208"/>
                </a:lnTo>
                <a:lnTo>
                  <a:pt x="3236" y="4208"/>
                </a:lnTo>
                <a:lnTo>
                  <a:pt x="3232" y="4210"/>
                </a:lnTo>
                <a:lnTo>
                  <a:pt x="3228" y="4216"/>
                </a:lnTo>
                <a:lnTo>
                  <a:pt x="3222" y="4220"/>
                </a:lnTo>
                <a:lnTo>
                  <a:pt x="3220" y="4222"/>
                </a:lnTo>
                <a:lnTo>
                  <a:pt x="3216" y="4220"/>
                </a:lnTo>
                <a:lnTo>
                  <a:pt x="3206" y="4210"/>
                </a:lnTo>
                <a:lnTo>
                  <a:pt x="3202" y="4208"/>
                </a:lnTo>
                <a:lnTo>
                  <a:pt x="3200" y="4208"/>
                </a:lnTo>
                <a:lnTo>
                  <a:pt x="3202" y="4210"/>
                </a:lnTo>
                <a:lnTo>
                  <a:pt x="3204" y="4214"/>
                </a:lnTo>
                <a:lnTo>
                  <a:pt x="3202" y="4218"/>
                </a:lnTo>
                <a:lnTo>
                  <a:pt x="3200" y="4220"/>
                </a:lnTo>
                <a:lnTo>
                  <a:pt x="3198" y="4218"/>
                </a:lnTo>
                <a:lnTo>
                  <a:pt x="3194" y="4214"/>
                </a:lnTo>
                <a:lnTo>
                  <a:pt x="3188" y="4210"/>
                </a:lnTo>
                <a:lnTo>
                  <a:pt x="3188" y="4206"/>
                </a:lnTo>
                <a:lnTo>
                  <a:pt x="3190" y="4202"/>
                </a:lnTo>
                <a:lnTo>
                  <a:pt x="3196" y="4196"/>
                </a:lnTo>
                <a:lnTo>
                  <a:pt x="3202" y="4188"/>
                </a:lnTo>
                <a:lnTo>
                  <a:pt x="3210" y="4182"/>
                </a:lnTo>
                <a:lnTo>
                  <a:pt x="3212" y="4176"/>
                </a:lnTo>
                <a:lnTo>
                  <a:pt x="3214" y="4166"/>
                </a:lnTo>
                <a:lnTo>
                  <a:pt x="3216" y="4144"/>
                </a:lnTo>
                <a:lnTo>
                  <a:pt x="3218" y="4120"/>
                </a:lnTo>
                <a:lnTo>
                  <a:pt x="3222" y="4098"/>
                </a:lnTo>
                <a:lnTo>
                  <a:pt x="3222" y="4092"/>
                </a:lnTo>
                <a:lnTo>
                  <a:pt x="3222" y="4090"/>
                </a:lnTo>
                <a:lnTo>
                  <a:pt x="3220" y="4088"/>
                </a:lnTo>
                <a:lnTo>
                  <a:pt x="3218" y="4088"/>
                </a:lnTo>
                <a:lnTo>
                  <a:pt x="3214" y="4090"/>
                </a:lnTo>
                <a:lnTo>
                  <a:pt x="3212" y="4090"/>
                </a:lnTo>
                <a:lnTo>
                  <a:pt x="3212" y="4084"/>
                </a:lnTo>
                <a:lnTo>
                  <a:pt x="3220" y="4066"/>
                </a:lnTo>
                <a:lnTo>
                  <a:pt x="3224" y="4064"/>
                </a:lnTo>
                <a:lnTo>
                  <a:pt x="3226" y="4068"/>
                </a:lnTo>
                <a:lnTo>
                  <a:pt x="3224" y="4074"/>
                </a:lnTo>
                <a:lnTo>
                  <a:pt x="3222" y="4078"/>
                </a:lnTo>
                <a:lnTo>
                  <a:pt x="3224" y="4082"/>
                </a:lnTo>
                <a:lnTo>
                  <a:pt x="3228" y="4086"/>
                </a:lnTo>
                <a:lnTo>
                  <a:pt x="3230" y="4094"/>
                </a:lnTo>
                <a:lnTo>
                  <a:pt x="3232" y="4094"/>
                </a:lnTo>
                <a:lnTo>
                  <a:pt x="3234" y="4092"/>
                </a:lnTo>
                <a:lnTo>
                  <a:pt x="3238" y="4076"/>
                </a:lnTo>
                <a:lnTo>
                  <a:pt x="3242" y="4058"/>
                </a:lnTo>
                <a:lnTo>
                  <a:pt x="3246" y="4044"/>
                </a:lnTo>
                <a:lnTo>
                  <a:pt x="3246" y="4042"/>
                </a:lnTo>
                <a:lnTo>
                  <a:pt x="3244" y="4040"/>
                </a:lnTo>
                <a:lnTo>
                  <a:pt x="3240" y="4042"/>
                </a:lnTo>
                <a:lnTo>
                  <a:pt x="3238" y="4042"/>
                </a:lnTo>
                <a:lnTo>
                  <a:pt x="3242" y="4036"/>
                </a:lnTo>
                <a:lnTo>
                  <a:pt x="3250" y="4028"/>
                </a:lnTo>
                <a:lnTo>
                  <a:pt x="3250" y="4026"/>
                </a:lnTo>
                <a:lnTo>
                  <a:pt x="3244" y="4028"/>
                </a:lnTo>
                <a:lnTo>
                  <a:pt x="3238" y="4028"/>
                </a:lnTo>
                <a:lnTo>
                  <a:pt x="3236" y="4026"/>
                </a:lnTo>
                <a:lnTo>
                  <a:pt x="3238" y="4022"/>
                </a:lnTo>
                <a:lnTo>
                  <a:pt x="3242" y="4018"/>
                </a:lnTo>
                <a:lnTo>
                  <a:pt x="3246" y="4016"/>
                </a:lnTo>
                <a:lnTo>
                  <a:pt x="3248" y="4012"/>
                </a:lnTo>
                <a:lnTo>
                  <a:pt x="3248" y="4002"/>
                </a:lnTo>
                <a:lnTo>
                  <a:pt x="3252" y="3988"/>
                </a:lnTo>
                <a:lnTo>
                  <a:pt x="3256" y="3980"/>
                </a:lnTo>
                <a:lnTo>
                  <a:pt x="3264" y="3970"/>
                </a:lnTo>
                <a:lnTo>
                  <a:pt x="3274" y="3956"/>
                </a:lnTo>
                <a:lnTo>
                  <a:pt x="3276" y="3950"/>
                </a:lnTo>
                <a:lnTo>
                  <a:pt x="3274" y="3946"/>
                </a:lnTo>
                <a:lnTo>
                  <a:pt x="3274" y="3940"/>
                </a:lnTo>
                <a:lnTo>
                  <a:pt x="3274" y="3936"/>
                </a:lnTo>
                <a:lnTo>
                  <a:pt x="3272" y="3934"/>
                </a:lnTo>
                <a:lnTo>
                  <a:pt x="3270" y="3932"/>
                </a:lnTo>
                <a:lnTo>
                  <a:pt x="3266" y="3928"/>
                </a:lnTo>
                <a:lnTo>
                  <a:pt x="3264" y="3926"/>
                </a:lnTo>
                <a:lnTo>
                  <a:pt x="3262" y="3924"/>
                </a:lnTo>
                <a:lnTo>
                  <a:pt x="3256" y="3926"/>
                </a:lnTo>
                <a:lnTo>
                  <a:pt x="3252" y="3928"/>
                </a:lnTo>
                <a:lnTo>
                  <a:pt x="3254" y="3928"/>
                </a:lnTo>
                <a:lnTo>
                  <a:pt x="3260" y="3930"/>
                </a:lnTo>
                <a:lnTo>
                  <a:pt x="3260" y="3932"/>
                </a:lnTo>
                <a:lnTo>
                  <a:pt x="3256" y="3934"/>
                </a:lnTo>
                <a:lnTo>
                  <a:pt x="3254" y="3934"/>
                </a:lnTo>
                <a:lnTo>
                  <a:pt x="3250" y="3934"/>
                </a:lnTo>
                <a:lnTo>
                  <a:pt x="3242" y="3930"/>
                </a:lnTo>
                <a:lnTo>
                  <a:pt x="3230" y="3926"/>
                </a:lnTo>
                <a:lnTo>
                  <a:pt x="3222" y="3926"/>
                </a:lnTo>
                <a:lnTo>
                  <a:pt x="3214" y="3926"/>
                </a:lnTo>
                <a:lnTo>
                  <a:pt x="3202" y="3928"/>
                </a:lnTo>
                <a:lnTo>
                  <a:pt x="3196" y="3932"/>
                </a:lnTo>
                <a:lnTo>
                  <a:pt x="3192" y="3934"/>
                </a:lnTo>
                <a:lnTo>
                  <a:pt x="3180" y="3936"/>
                </a:lnTo>
                <a:lnTo>
                  <a:pt x="3162" y="3940"/>
                </a:lnTo>
                <a:lnTo>
                  <a:pt x="3146" y="3944"/>
                </a:lnTo>
                <a:lnTo>
                  <a:pt x="3140" y="3948"/>
                </a:lnTo>
                <a:lnTo>
                  <a:pt x="3134" y="3950"/>
                </a:lnTo>
                <a:lnTo>
                  <a:pt x="3132" y="3954"/>
                </a:lnTo>
                <a:lnTo>
                  <a:pt x="3130" y="3960"/>
                </a:lnTo>
                <a:lnTo>
                  <a:pt x="3130" y="3966"/>
                </a:lnTo>
                <a:lnTo>
                  <a:pt x="3126" y="3972"/>
                </a:lnTo>
                <a:lnTo>
                  <a:pt x="3124" y="3980"/>
                </a:lnTo>
                <a:lnTo>
                  <a:pt x="3126" y="3994"/>
                </a:lnTo>
                <a:lnTo>
                  <a:pt x="3126" y="4006"/>
                </a:lnTo>
                <a:lnTo>
                  <a:pt x="3124" y="4010"/>
                </a:lnTo>
                <a:lnTo>
                  <a:pt x="3122" y="4010"/>
                </a:lnTo>
                <a:lnTo>
                  <a:pt x="3118" y="4016"/>
                </a:lnTo>
                <a:lnTo>
                  <a:pt x="3118" y="4020"/>
                </a:lnTo>
                <a:lnTo>
                  <a:pt x="3116" y="4026"/>
                </a:lnTo>
                <a:lnTo>
                  <a:pt x="3114" y="4034"/>
                </a:lnTo>
                <a:lnTo>
                  <a:pt x="3112" y="4042"/>
                </a:lnTo>
                <a:lnTo>
                  <a:pt x="3108" y="4046"/>
                </a:lnTo>
                <a:lnTo>
                  <a:pt x="3104" y="4050"/>
                </a:lnTo>
                <a:lnTo>
                  <a:pt x="3094" y="4058"/>
                </a:lnTo>
                <a:lnTo>
                  <a:pt x="3086" y="4062"/>
                </a:lnTo>
                <a:lnTo>
                  <a:pt x="3084" y="4064"/>
                </a:lnTo>
                <a:lnTo>
                  <a:pt x="3084" y="4066"/>
                </a:lnTo>
                <a:lnTo>
                  <a:pt x="3088" y="4068"/>
                </a:lnTo>
                <a:lnTo>
                  <a:pt x="3092" y="4070"/>
                </a:lnTo>
                <a:lnTo>
                  <a:pt x="3092" y="4074"/>
                </a:lnTo>
                <a:lnTo>
                  <a:pt x="3092" y="4076"/>
                </a:lnTo>
                <a:lnTo>
                  <a:pt x="3086" y="4082"/>
                </a:lnTo>
                <a:lnTo>
                  <a:pt x="3080" y="4084"/>
                </a:lnTo>
                <a:lnTo>
                  <a:pt x="3072" y="4084"/>
                </a:lnTo>
                <a:lnTo>
                  <a:pt x="3070" y="4082"/>
                </a:lnTo>
                <a:lnTo>
                  <a:pt x="3070" y="4080"/>
                </a:lnTo>
                <a:lnTo>
                  <a:pt x="3068" y="4074"/>
                </a:lnTo>
                <a:lnTo>
                  <a:pt x="3066" y="4072"/>
                </a:lnTo>
                <a:lnTo>
                  <a:pt x="3058" y="4070"/>
                </a:lnTo>
                <a:lnTo>
                  <a:pt x="3046" y="4072"/>
                </a:lnTo>
                <a:lnTo>
                  <a:pt x="3038" y="4074"/>
                </a:lnTo>
                <a:lnTo>
                  <a:pt x="3034" y="4076"/>
                </a:lnTo>
                <a:lnTo>
                  <a:pt x="3028" y="4080"/>
                </a:lnTo>
                <a:lnTo>
                  <a:pt x="3012" y="4084"/>
                </a:lnTo>
                <a:lnTo>
                  <a:pt x="2996" y="4086"/>
                </a:lnTo>
                <a:lnTo>
                  <a:pt x="2986" y="4090"/>
                </a:lnTo>
                <a:lnTo>
                  <a:pt x="2978" y="4096"/>
                </a:lnTo>
                <a:lnTo>
                  <a:pt x="2968" y="4098"/>
                </a:lnTo>
                <a:lnTo>
                  <a:pt x="2964" y="4098"/>
                </a:lnTo>
                <a:lnTo>
                  <a:pt x="2962" y="4096"/>
                </a:lnTo>
                <a:lnTo>
                  <a:pt x="2956" y="4088"/>
                </a:lnTo>
                <a:lnTo>
                  <a:pt x="2954" y="4082"/>
                </a:lnTo>
                <a:lnTo>
                  <a:pt x="2948" y="4078"/>
                </a:lnTo>
                <a:lnTo>
                  <a:pt x="2938" y="4072"/>
                </a:lnTo>
                <a:lnTo>
                  <a:pt x="2924" y="4070"/>
                </a:lnTo>
                <a:lnTo>
                  <a:pt x="2912" y="4066"/>
                </a:lnTo>
                <a:lnTo>
                  <a:pt x="2904" y="4060"/>
                </a:lnTo>
                <a:lnTo>
                  <a:pt x="2900" y="4052"/>
                </a:lnTo>
                <a:lnTo>
                  <a:pt x="2894" y="4042"/>
                </a:lnTo>
                <a:lnTo>
                  <a:pt x="2884" y="4016"/>
                </a:lnTo>
                <a:lnTo>
                  <a:pt x="2876" y="4000"/>
                </a:lnTo>
                <a:lnTo>
                  <a:pt x="2866" y="3986"/>
                </a:lnTo>
                <a:lnTo>
                  <a:pt x="2858" y="3976"/>
                </a:lnTo>
                <a:lnTo>
                  <a:pt x="2854" y="3966"/>
                </a:lnTo>
                <a:lnTo>
                  <a:pt x="2848" y="3950"/>
                </a:lnTo>
                <a:lnTo>
                  <a:pt x="2846" y="3936"/>
                </a:lnTo>
                <a:lnTo>
                  <a:pt x="2844" y="3932"/>
                </a:lnTo>
                <a:lnTo>
                  <a:pt x="2842" y="3932"/>
                </a:lnTo>
                <a:lnTo>
                  <a:pt x="2840" y="3930"/>
                </a:lnTo>
                <a:lnTo>
                  <a:pt x="2838" y="3926"/>
                </a:lnTo>
                <a:lnTo>
                  <a:pt x="2834" y="3916"/>
                </a:lnTo>
                <a:lnTo>
                  <a:pt x="2832" y="3886"/>
                </a:lnTo>
                <a:lnTo>
                  <a:pt x="2830" y="3876"/>
                </a:lnTo>
                <a:lnTo>
                  <a:pt x="2828" y="3874"/>
                </a:lnTo>
                <a:lnTo>
                  <a:pt x="2828" y="3872"/>
                </a:lnTo>
                <a:lnTo>
                  <a:pt x="2830" y="3866"/>
                </a:lnTo>
                <a:lnTo>
                  <a:pt x="2832" y="3856"/>
                </a:lnTo>
                <a:lnTo>
                  <a:pt x="2832" y="3846"/>
                </a:lnTo>
                <a:lnTo>
                  <a:pt x="2832" y="3826"/>
                </a:lnTo>
                <a:lnTo>
                  <a:pt x="2834" y="3792"/>
                </a:lnTo>
                <a:lnTo>
                  <a:pt x="2840" y="3760"/>
                </a:lnTo>
                <a:lnTo>
                  <a:pt x="2846" y="3738"/>
                </a:lnTo>
                <a:lnTo>
                  <a:pt x="2852" y="3724"/>
                </a:lnTo>
                <a:lnTo>
                  <a:pt x="2856" y="3706"/>
                </a:lnTo>
                <a:lnTo>
                  <a:pt x="2854" y="3688"/>
                </a:lnTo>
                <a:lnTo>
                  <a:pt x="2850" y="3668"/>
                </a:lnTo>
                <a:lnTo>
                  <a:pt x="2848" y="3650"/>
                </a:lnTo>
                <a:lnTo>
                  <a:pt x="2846" y="3636"/>
                </a:lnTo>
                <a:lnTo>
                  <a:pt x="2850" y="3626"/>
                </a:lnTo>
                <a:lnTo>
                  <a:pt x="2854" y="3618"/>
                </a:lnTo>
                <a:lnTo>
                  <a:pt x="2860" y="3610"/>
                </a:lnTo>
                <a:lnTo>
                  <a:pt x="2864" y="3602"/>
                </a:lnTo>
                <a:lnTo>
                  <a:pt x="2866" y="3596"/>
                </a:lnTo>
                <a:lnTo>
                  <a:pt x="2870" y="3592"/>
                </a:lnTo>
                <a:lnTo>
                  <a:pt x="2880" y="3586"/>
                </a:lnTo>
                <a:lnTo>
                  <a:pt x="2886" y="3582"/>
                </a:lnTo>
                <a:lnTo>
                  <a:pt x="2888" y="3578"/>
                </a:lnTo>
                <a:lnTo>
                  <a:pt x="2888" y="3576"/>
                </a:lnTo>
                <a:lnTo>
                  <a:pt x="2880" y="3568"/>
                </a:lnTo>
                <a:lnTo>
                  <a:pt x="2878" y="3566"/>
                </a:lnTo>
                <a:lnTo>
                  <a:pt x="2882" y="3566"/>
                </a:lnTo>
                <a:lnTo>
                  <a:pt x="2888" y="3568"/>
                </a:lnTo>
                <a:lnTo>
                  <a:pt x="2890" y="3566"/>
                </a:lnTo>
                <a:lnTo>
                  <a:pt x="2892" y="3566"/>
                </a:lnTo>
                <a:lnTo>
                  <a:pt x="2894" y="3566"/>
                </a:lnTo>
                <a:lnTo>
                  <a:pt x="2898" y="3568"/>
                </a:lnTo>
                <a:lnTo>
                  <a:pt x="2902" y="3568"/>
                </a:lnTo>
                <a:lnTo>
                  <a:pt x="2914" y="3564"/>
                </a:lnTo>
                <a:lnTo>
                  <a:pt x="2926" y="3556"/>
                </a:lnTo>
                <a:lnTo>
                  <a:pt x="2936" y="3546"/>
                </a:lnTo>
                <a:lnTo>
                  <a:pt x="2942" y="3538"/>
                </a:lnTo>
                <a:lnTo>
                  <a:pt x="2948" y="3534"/>
                </a:lnTo>
                <a:lnTo>
                  <a:pt x="2966" y="3522"/>
                </a:lnTo>
                <a:lnTo>
                  <a:pt x="2982" y="3512"/>
                </a:lnTo>
                <a:lnTo>
                  <a:pt x="2990" y="3508"/>
                </a:lnTo>
                <a:lnTo>
                  <a:pt x="3006" y="3508"/>
                </a:lnTo>
                <a:lnTo>
                  <a:pt x="3014" y="3508"/>
                </a:lnTo>
                <a:lnTo>
                  <a:pt x="3022" y="3510"/>
                </a:lnTo>
                <a:lnTo>
                  <a:pt x="3032" y="3514"/>
                </a:lnTo>
                <a:lnTo>
                  <a:pt x="3042" y="3518"/>
                </a:lnTo>
                <a:lnTo>
                  <a:pt x="3046" y="3520"/>
                </a:lnTo>
                <a:lnTo>
                  <a:pt x="3052" y="3520"/>
                </a:lnTo>
                <a:lnTo>
                  <a:pt x="3060" y="3518"/>
                </a:lnTo>
                <a:lnTo>
                  <a:pt x="3066" y="3520"/>
                </a:lnTo>
                <a:lnTo>
                  <a:pt x="3068" y="3522"/>
                </a:lnTo>
                <a:lnTo>
                  <a:pt x="3074" y="3520"/>
                </a:lnTo>
                <a:lnTo>
                  <a:pt x="3074" y="3518"/>
                </a:lnTo>
                <a:lnTo>
                  <a:pt x="3072" y="3516"/>
                </a:lnTo>
                <a:lnTo>
                  <a:pt x="3066" y="3514"/>
                </a:lnTo>
                <a:lnTo>
                  <a:pt x="3060" y="3512"/>
                </a:lnTo>
                <a:lnTo>
                  <a:pt x="3058" y="3510"/>
                </a:lnTo>
                <a:lnTo>
                  <a:pt x="3062" y="3508"/>
                </a:lnTo>
                <a:lnTo>
                  <a:pt x="3070" y="3506"/>
                </a:lnTo>
                <a:lnTo>
                  <a:pt x="3076" y="3506"/>
                </a:lnTo>
                <a:lnTo>
                  <a:pt x="3080" y="3512"/>
                </a:lnTo>
                <a:lnTo>
                  <a:pt x="3082" y="3516"/>
                </a:lnTo>
                <a:lnTo>
                  <a:pt x="3084" y="3520"/>
                </a:lnTo>
                <a:lnTo>
                  <a:pt x="3086" y="3520"/>
                </a:lnTo>
                <a:lnTo>
                  <a:pt x="3092" y="3522"/>
                </a:lnTo>
                <a:lnTo>
                  <a:pt x="3096" y="3526"/>
                </a:lnTo>
                <a:lnTo>
                  <a:pt x="3096" y="3528"/>
                </a:lnTo>
                <a:lnTo>
                  <a:pt x="3094" y="3530"/>
                </a:lnTo>
                <a:lnTo>
                  <a:pt x="3092" y="3532"/>
                </a:lnTo>
                <a:lnTo>
                  <a:pt x="3094" y="3534"/>
                </a:lnTo>
                <a:lnTo>
                  <a:pt x="3102" y="3538"/>
                </a:lnTo>
                <a:lnTo>
                  <a:pt x="3112" y="3540"/>
                </a:lnTo>
                <a:lnTo>
                  <a:pt x="3118" y="3540"/>
                </a:lnTo>
                <a:lnTo>
                  <a:pt x="3122" y="3536"/>
                </a:lnTo>
                <a:lnTo>
                  <a:pt x="3126" y="3534"/>
                </a:lnTo>
                <a:lnTo>
                  <a:pt x="3130" y="3534"/>
                </a:lnTo>
                <a:lnTo>
                  <a:pt x="3134" y="3540"/>
                </a:lnTo>
                <a:lnTo>
                  <a:pt x="3136" y="3542"/>
                </a:lnTo>
                <a:lnTo>
                  <a:pt x="3138" y="3542"/>
                </a:lnTo>
                <a:lnTo>
                  <a:pt x="3142" y="3540"/>
                </a:lnTo>
                <a:lnTo>
                  <a:pt x="3144" y="3534"/>
                </a:lnTo>
                <a:lnTo>
                  <a:pt x="3144" y="3532"/>
                </a:lnTo>
                <a:lnTo>
                  <a:pt x="3144" y="3528"/>
                </a:lnTo>
                <a:lnTo>
                  <a:pt x="3142" y="3522"/>
                </a:lnTo>
                <a:lnTo>
                  <a:pt x="3146" y="3522"/>
                </a:lnTo>
                <a:lnTo>
                  <a:pt x="3152" y="3526"/>
                </a:lnTo>
                <a:lnTo>
                  <a:pt x="3160" y="3532"/>
                </a:lnTo>
                <a:lnTo>
                  <a:pt x="3166" y="3542"/>
                </a:lnTo>
                <a:lnTo>
                  <a:pt x="3168" y="3548"/>
                </a:lnTo>
                <a:lnTo>
                  <a:pt x="3168" y="3550"/>
                </a:lnTo>
                <a:lnTo>
                  <a:pt x="3170" y="3550"/>
                </a:lnTo>
                <a:lnTo>
                  <a:pt x="3178" y="3546"/>
                </a:lnTo>
                <a:lnTo>
                  <a:pt x="3182" y="3542"/>
                </a:lnTo>
                <a:lnTo>
                  <a:pt x="3182" y="3538"/>
                </a:lnTo>
                <a:lnTo>
                  <a:pt x="3182" y="3536"/>
                </a:lnTo>
                <a:lnTo>
                  <a:pt x="3182" y="3534"/>
                </a:lnTo>
                <a:lnTo>
                  <a:pt x="3174" y="3528"/>
                </a:lnTo>
                <a:lnTo>
                  <a:pt x="3164" y="3522"/>
                </a:lnTo>
                <a:lnTo>
                  <a:pt x="3160" y="3520"/>
                </a:lnTo>
                <a:lnTo>
                  <a:pt x="3158" y="3516"/>
                </a:lnTo>
                <a:lnTo>
                  <a:pt x="3160" y="3514"/>
                </a:lnTo>
                <a:lnTo>
                  <a:pt x="3164" y="3512"/>
                </a:lnTo>
                <a:lnTo>
                  <a:pt x="3170" y="3508"/>
                </a:lnTo>
                <a:lnTo>
                  <a:pt x="3172" y="3504"/>
                </a:lnTo>
                <a:lnTo>
                  <a:pt x="3172" y="3500"/>
                </a:lnTo>
                <a:lnTo>
                  <a:pt x="3170" y="3496"/>
                </a:lnTo>
                <a:lnTo>
                  <a:pt x="3168" y="3494"/>
                </a:lnTo>
                <a:lnTo>
                  <a:pt x="3166" y="3496"/>
                </a:lnTo>
                <a:lnTo>
                  <a:pt x="3162" y="3500"/>
                </a:lnTo>
                <a:lnTo>
                  <a:pt x="3160" y="3502"/>
                </a:lnTo>
                <a:lnTo>
                  <a:pt x="3156" y="3500"/>
                </a:lnTo>
                <a:lnTo>
                  <a:pt x="3154" y="3498"/>
                </a:lnTo>
                <a:lnTo>
                  <a:pt x="3158" y="3494"/>
                </a:lnTo>
                <a:lnTo>
                  <a:pt x="3158" y="3492"/>
                </a:lnTo>
                <a:lnTo>
                  <a:pt x="3154" y="3490"/>
                </a:lnTo>
                <a:lnTo>
                  <a:pt x="3148" y="3490"/>
                </a:lnTo>
                <a:lnTo>
                  <a:pt x="3146" y="3492"/>
                </a:lnTo>
                <a:lnTo>
                  <a:pt x="3142" y="3494"/>
                </a:lnTo>
                <a:lnTo>
                  <a:pt x="3134" y="3492"/>
                </a:lnTo>
                <a:lnTo>
                  <a:pt x="3130" y="3490"/>
                </a:lnTo>
                <a:lnTo>
                  <a:pt x="3128" y="3486"/>
                </a:lnTo>
                <a:lnTo>
                  <a:pt x="3128" y="3484"/>
                </a:lnTo>
                <a:lnTo>
                  <a:pt x="3130" y="3480"/>
                </a:lnTo>
                <a:lnTo>
                  <a:pt x="3132" y="3478"/>
                </a:lnTo>
                <a:lnTo>
                  <a:pt x="3138" y="3476"/>
                </a:lnTo>
                <a:lnTo>
                  <a:pt x="3142" y="3476"/>
                </a:lnTo>
                <a:lnTo>
                  <a:pt x="3148" y="3478"/>
                </a:lnTo>
                <a:lnTo>
                  <a:pt x="3158" y="3482"/>
                </a:lnTo>
                <a:lnTo>
                  <a:pt x="3164" y="3484"/>
                </a:lnTo>
                <a:lnTo>
                  <a:pt x="3170" y="3482"/>
                </a:lnTo>
                <a:lnTo>
                  <a:pt x="3178" y="3478"/>
                </a:lnTo>
                <a:lnTo>
                  <a:pt x="3184" y="3476"/>
                </a:lnTo>
                <a:lnTo>
                  <a:pt x="3190" y="3474"/>
                </a:lnTo>
                <a:lnTo>
                  <a:pt x="3204" y="3476"/>
                </a:lnTo>
                <a:lnTo>
                  <a:pt x="3216" y="3478"/>
                </a:lnTo>
                <a:lnTo>
                  <a:pt x="3220" y="3476"/>
                </a:lnTo>
                <a:lnTo>
                  <a:pt x="3222" y="3474"/>
                </a:lnTo>
                <a:lnTo>
                  <a:pt x="3224" y="3460"/>
                </a:lnTo>
                <a:lnTo>
                  <a:pt x="3226" y="3462"/>
                </a:lnTo>
                <a:lnTo>
                  <a:pt x="3232" y="3472"/>
                </a:lnTo>
                <a:lnTo>
                  <a:pt x="3232" y="3476"/>
                </a:lnTo>
                <a:lnTo>
                  <a:pt x="3232" y="3480"/>
                </a:lnTo>
                <a:lnTo>
                  <a:pt x="3226" y="3484"/>
                </a:lnTo>
                <a:lnTo>
                  <a:pt x="3226" y="3486"/>
                </a:lnTo>
                <a:lnTo>
                  <a:pt x="3234" y="3482"/>
                </a:lnTo>
                <a:lnTo>
                  <a:pt x="3268" y="3476"/>
                </a:lnTo>
                <a:lnTo>
                  <a:pt x="3284" y="3476"/>
                </a:lnTo>
                <a:lnTo>
                  <a:pt x="3296" y="3478"/>
                </a:lnTo>
                <a:lnTo>
                  <a:pt x="3314" y="3484"/>
                </a:lnTo>
                <a:lnTo>
                  <a:pt x="3318" y="3486"/>
                </a:lnTo>
                <a:lnTo>
                  <a:pt x="3320" y="3490"/>
                </a:lnTo>
                <a:lnTo>
                  <a:pt x="3324" y="3494"/>
                </a:lnTo>
                <a:lnTo>
                  <a:pt x="3326" y="3496"/>
                </a:lnTo>
                <a:lnTo>
                  <a:pt x="3330" y="3498"/>
                </a:lnTo>
                <a:lnTo>
                  <a:pt x="3332" y="3506"/>
                </a:lnTo>
                <a:lnTo>
                  <a:pt x="3332" y="3510"/>
                </a:lnTo>
                <a:lnTo>
                  <a:pt x="3336" y="3510"/>
                </a:lnTo>
                <a:lnTo>
                  <a:pt x="3342" y="3510"/>
                </a:lnTo>
                <a:lnTo>
                  <a:pt x="3348" y="3508"/>
                </a:lnTo>
                <a:lnTo>
                  <a:pt x="3360" y="3504"/>
                </a:lnTo>
                <a:lnTo>
                  <a:pt x="3368" y="3500"/>
                </a:lnTo>
                <a:lnTo>
                  <a:pt x="3372" y="3500"/>
                </a:lnTo>
                <a:lnTo>
                  <a:pt x="3372" y="3498"/>
                </a:lnTo>
                <a:lnTo>
                  <a:pt x="3374" y="3496"/>
                </a:lnTo>
                <a:lnTo>
                  <a:pt x="3376" y="3492"/>
                </a:lnTo>
                <a:lnTo>
                  <a:pt x="3382" y="3490"/>
                </a:lnTo>
                <a:lnTo>
                  <a:pt x="3388" y="3492"/>
                </a:lnTo>
                <a:lnTo>
                  <a:pt x="3394" y="3498"/>
                </a:lnTo>
                <a:lnTo>
                  <a:pt x="3408" y="3514"/>
                </a:lnTo>
                <a:lnTo>
                  <a:pt x="3420" y="3530"/>
                </a:lnTo>
                <a:lnTo>
                  <a:pt x="3424" y="3536"/>
                </a:lnTo>
                <a:lnTo>
                  <a:pt x="3428" y="3538"/>
                </a:lnTo>
                <a:lnTo>
                  <a:pt x="3432" y="3540"/>
                </a:lnTo>
                <a:lnTo>
                  <a:pt x="3436" y="3542"/>
                </a:lnTo>
                <a:lnTo>
                  <a:pt x="3440" y="3554"/>
                </a:lnTo>
                <a:lnTo>
                  <a:pt x="3440" y="3570"/>
                </a:lnTo>
                <a:lnTo>
                  <a:pt x="3438" y="3584"/>
                </a:lnTo>
                <a:lnTo>
                  <a:pt x="3434" y="3598"/>
                </a:lnTo>
                <a:lnTo>
                  <a:pt x="3434" y="3610"/>
                </a:lnTo>
                <a:lnTo>
                  <a:pt x="3438" y="3616"/>
                </a:lnTo>
                <a:lnTo>
                  <a:pt x="3440" y="3616"/>
                </a:lnTo>
                <a:lnTo>
                  <a:pt x="3442" y="3616"/>
                </a:lnTo>
                <a:lnTo>
                  <a:pt x="3446" y="3610"/>
                </a:lnTo>
                <a:lnTo>
                  <a:pt x="3450" y="3610"/>
                </a:lnTo>
                <a:lnTo>
                  <a:pt x="3452" y="3610"/>
                </a:lnTo>
                <a:lnTo>
                  <a:pt x="3452" y="3612"/>
                </a:lnTo>
                <a:lnTo>
                  <a:pt x="3448" y="3618"/>
                </a:lnTo>
                <a:lnTo>
                  <a:pt x="3446" y="3622"/>
                </a:lnTo>
                <a:lnTo>
                  <a:pt x="3444" y="3626"/>
                </a:lnTo>
                <a:lnTo>
                  <a:pt x="3446" y="3638"/>
                </a:lnTo>
                <a:lnTo>
                  <a:pt x="3450" y="3648"/>
                </a:lnTo>
                <a:lnTo>
                  <a:pt x="3456" y="3658"/>
                </a:lnTo>
                <a:lnTo>
                  <a:pt x="3458" y="3660"/>
                </a:lnTo>
                <a:lnTo>
                  <a:pt x="3460" y="3660"/>
                </a:lnTo>
                <a:lnTo>
                  <a:pt x="3462" y="3658"/>
                </a:lnTo>
                <a:lnTo>
                  <a:pt x="3464" y="3666"/>
                </a:lnTo>
                <a:lnTo>
                  <a:pt x="3466" y="3674"/>
                </a:lnTo>
                <a:lnTo>
                  <a:pt x="3470" y="3678"/>
                </a:lnTo>
                <a:lnTo>
                  <a:pt x="3474" y="3682"/>
                </a:lnTo>
                <a:lnTo>
                  <a:pt x="3476" y="3694"/>
                </a:lnTo>
                <a:lnTo>
                  <a:pt x="3478" y="3700"/>
                </a:lnTo>
                <a:lnTo>
                  <a:pt x="3480" y="3704"/>
                </a:lnTo>
                <a:lnTo>
                  <a:pt x="3484" y="3706"/>
                </a:lnTo>
                <a:lnTo>
                  <a:pt x="3486" y="3708"/>
                </a:lnTo>
                <a:lnTo>
                  <a:pt x="3494" y="3712"/>
                </a:lnTo>
                <a:lnTo>
                  <a:pt x="3496" y="3714"/>
                </a:lnTo>
                <a:lnTo>
                  <a:pt x="3498" y="3720"/>
                </a:lnTo>
                <a:lnTo>
                  <a:pt x="3502" y="3732"/>
                </a:lnTo>
                <a:lnTo>
                  <a:pt x="3504" y="3734"/>
                </a:lnTo>
                <a:lnTo>
                  <a:pt x="3506" y="3736"/>
                </a:lnTo>
                <a:lnTo>
                  <a:pt x="3504" y="3738"/>
                </a:lnTo>
                <a:lnTo>
                  <a:pt x="3502" y="3744"/>
                </a:lnTo>
                <a:lnTo>
                  <a:pt x="3504" y="3748"/>
                </a:lnTo>
                <a:lnTo>
                  <a:pt x="3508" y="3748"/>
                </a:lnTo>
                <a:lnTo>
                  <a:pt x="3518" y="3746"/>
                </a:lnTo>
                <a:lnTo>
                  <a:pt x="3522" y="3744"/>
                </a:lnTo>
                <a:lnTo>
                  <a:pt x="3524" y="3746"/>
                </a:lnTo>
                <a:lnTo>
                  <a:pt x="3526" y="3748"/>
                </a:lnTo>
                <a:lnTo>
                  <a:pt x="3526" y="3750"/>
                </a:lnTo>
                <a:lnTo>
                  <a:pt x="3530" y="3744"/>
                </a:lnTo>
                <a:lnTo>
                  <a:pt x="3536" y="3734"/>
                </a:lnTo>
                <a:lnTo>
                  <a:pt x="3536" y="3730"/>
                </a:lnTo>
                <a:lnTo>
                  <a:pt x="3536" y="3726"/>
                </a:lnTo>
                <a:lnTo>
                  <a:pt x="3540" y="3718"/>
                </a:lnTo>
                <a:lnTo>
                  <a:pt x="3544" y="3708"/>
                </a:lnTo>
                <a:lnTo>
                  <a:pt x="3544" y="3698"/>
                </a:lnTo>
                <a:lnTo>
                  <a:pt x="3546" y="3686"/>
                </a:lnTo>
                <a:lnTo>
                  <a:pt x="3546" y="3670"/>
                </a:lnTo>
                <a:lnTo>
                  <a:pt x="3546" y="3662"/>
                </a:lnTo>
                <a:lnTo>
                  <a:pt x="3544" y="3650"/>
                </a:lnTo>
                <a:lnTo>
                  <a:pt x="3536" y="3626"/>
                </a:lnTo>
                <a:lnTo>
                  <a:pt x="3528" y="3602"/>
                </a:lnTo>
                <a:lnTo>
                  <a:pt x="3526" y="3590"/>
                </a:lnTo>
                <a:lnTo>
                  <a:pt x="3526" y="3580"/>
                </a:lnTo>
                <a:lnTo>
                  <a:pt x="3526" y="3576"/>
                </a:lnTo>
                <a:lnTo>
                  <a:pt x="3524" y="3568"/>
                </a:lnTo>
                <a:lnTo>
                  <a:pt x="3514" y="3550"/>
                </a:lnTo>
                <a:lnTo>
                  <a:pt x="3508" y="3536"/>
                </a:lnTo>
                <a:lnTo>
                  <a:pt x="3502" y="3522"/>
                </a:lnTo>
                <a:lnTo>
                  <a:pt x="3496" y="3504"/>
                </a:lnTo>
                <a:lnTo>
                  <a:pt x="3492" y="3482"/>
                </a:lnTo>
                <a:lnTo>
                  <a:pt x="3490" y="3460"/>
                </a:lnTo>
                <a:lnTo>
                  <a:pt x="3492" y="3440"/>
                </a:lnTo>
                <a:lnTo>
                  <a:pt x="3496" y="3422"/>
                </a:lnTo>
                <a:lnTo>
                  <a:pt x="3502" y="3408"/>
                </a:lnTo>
                <a:lnTo>
                  <a:pt x="3508" y="3396"/>
                </a:lnTo>
                <a:lnTo>
                  <a:pt x="3514" y="3388"/>
                </a:lnTo>
                <a:lnTo>
                  <a:pt x="3526" y="3376"/>
                </a:lnTo>
                <a:lnTo>
                  <a:pt x="3528" y="3374"/>
                </a:lnTo>
                <a:lnTo>
                  <a:pt x="3530" y="3370"/>
                </a:lnTo>
                <a:lnTo>
                  <a:pt x="3528" y="3368"/>
                </a:lnTo>
                <a:lnTo>
                  <a:pt x="3528" y="3366"/>
                </a:lnTo>
                <a:lnTo>
                  <a:pt x="3536" y="3364"/>
                </a:lnTo>
                <a:lnTo>
                  <a:pt x="3542" y="3362"/>
                </a:lnTo>
                <a:lnTo>
                  <a:pt x="3548" y="3360"/>
                </a:lnTo>
                <a:lnTo>
                  <a:pt x="3556" y="3352"/>
                </a:lnTo>
                <a:lnTo>
                  <a:pt x="3564" y="3342"/>
                </a:lnTo>
                <a:lnTo>
                  <a:pt x="3568" y="3340"/>
                </a:lnTo>
                <a:lnTo>
                  <a:pt x="3572" y="3338"/>
                </a:lnTo>
                <a:lnTo>
                  <a:pt x="3574" y="3336"/>
                </a:lnTo>
                <a:lnTo>
                  <a:pt x="3576" y="3334"/>
                </a:lnTo>
                <a:lnTo>
                  <a:pt x="3582" y="3322"/>
                </a:lnTo>
                <a:lnTo>
                  <a:pt x="3588" y="3308"/>
                </a:lnTo>
                <a:lnTo>
                  <a:pt x="3592" y="3302"/>
                </a:lnTo>
                <a:lnTo>
                  <a:pt x="3600" y="3296"/>
                </a:lnTo>
                <a:lnTo>
                  <a:pt x="3606" y="3292"/>
                </a:lnTo>
                <a:lnTo>
                  <a:pt x="3614" y="3290"/>
                </a:lnTo>
                <a:lnTo>
                  <a:pt x="3624" y="3290"/>
                </a:lnTo>
                <a:lnTo>
                  <a:pt x="3628" y="3290"/>
                </a:lnTo>
                <a:lnTo>
                  <a:pt x="3632" y="3288"/>
                </a:lnTo>
                <a:lnTo>
                  <a:pt x="3634" y="3286"/>
                </a:lnTo>
                <a:lnTo>
                  <a:pt x="3636" y="3280"/>
                </a:lnTo>
                <a:lnTo>
                  <a:pt x="3638" y="3274"/>
                </a:lnTo>
                <a:lnTo>
                  <a:pt x="3642" y="3268"/>
                </a:lnTo>
                <a:lnTo>
                  <a:pt x="3654" y="3256"/>
                </a:lnTo>
                <a:lnTo>
                  <a:pt x="3666" y="3250"/>
                </a:lnTo>
                <a:lnTo>
                  <a:pt x="3680" y="3246"/>
                </a:lnTo>
                <a:lnTo>
                  <a:pt x="3690" y="3244"/>
                </a:lnTo>
                <a:lnTo>
                  <a:pt x="3698" y="3238"/>
                </a:lnTo>
                <a:lnTo>
                  <a:pt x="3700" y="3234"/>
                </a:lnTo>
                <a:lnTo>
                  <a:pt x="3698" y="3232"/>
                </a:lnTo>
                <a:lnTo>
                  <a:pt x="3696" y="3230"/>
                </a:lnTo>
                <a:lnTo>
                  <a:pt x="3694" y="3228"/>
                </a:lnTo>
                <a:lnTo>
                  <a:pt x="3692" y="3230"/>
                </a:lnTo>
                <a:lnTo>
                  <a:pt x="3686" y="3232"/>
                </a:lnTo>
                <a:lnTo>
                  <a:pt x="3680" y="3236"/>
                </a:lnTo>
                <a:lnTo>
                  <a:pt x="3678" y="3236"/>
                </a:lnTo>
                <a:lnTo>
                  <a:pt x="3674" y="3234"/>
                </a:lnTo>
                <a:lnTo>
                  <a:pt x="3672" y="3232"/>
                </a:lnTo>
                <a:lnTo>
                  <a:pt x="3674" y="3232"/>
                </a:lnTo>
                <a:lnTo>
                  <a:pt x="3680" y="3230"/>
                </a:lnTo>
                <a:lnTo>
                  <a:pt x="3682" y="3228"/>
                </a:lnTo>
                <a:lnTo>
                  <a:pt x="3686" y="3224"/>
                </a:lnTo>
                <a:lnTo>
                  <a:pt x="3686" y="3220"/>
                </a:lnTo>
                <a:lnTo>
                  <a:pt x="3684" y="3216"/>
                </a:lnTo>
                <a:lnTo>
                  <a:pt x="3680" y="3210"/>
                </a:lnTo>
                <a:lnTo>
                  <a:pt x="3676" y="3208"/>
                </a:lnTo>
                <a:lnTo>
                  <a:pt x="3682" y="3208"/>
                </a:lnTo>
                <a:lnTo>
                  <a:pt x="3692" y="3210"/>
                </a:lnTo>
                <a:lnTo>
                  <a:pt x="3698" y="3214"/>
                </a:lnTo>
                <a:lnTo>
                  <a:pt x="3700" y="3214"/>
                </a:lnTo>
                <a:lnTo>
                  <a:pt x="3702" y="3214"/>
                </a:lnTo>
                <a:lnTo>
                  <a:pt x="3706" y="3208"/>
                </a:lnTo>
                <a:lnTo>
                  <a:pt x="3712" y="3202"/>
                </a:lnTo>
                <a:lnTo>
                  <a:pt x="3714" y="3202"/>
                </a:lnTo>
                <a:lnTo>
                  <a:pt x="3716" y="3200"/>
                </a:lnTo>
                <a:lnTo>
                  <a:pt x="3718" y="3194"/>
                </a:lnTo>
                <a:lnTo>
                  <a:pt x="3720" y="3186"/>
                </a:lnTo>
                <a:lnTo>
                  <a:pt x="3718" y="3182"/>
                </a:lnTo>
                <a:lnTo>
                  <a:pt x="3716" y="3180"/>
                </a:lnTo>
                <a:lnTo>
                  <a:pt x="3712" y="3182"/>
                </a:lnTo>
                <a:lnTo>
                  <a:pt x="3710" y="3184"/>
                </a:lnTo>
                <a:lnTo>
                  <a:pt x="3708" y="3182"/>
                </a:lnTo>
                <a:lnTo>
                  <a:pt x="3704" y="3180"/>
                </a:lnTo>
                <a:lnTo>
                  <a:pt x="3696" y="3180"/>
                </a:lnTo>
                <a:lnTo>
                  <a:pt x="3684" y="3182"/>
                </a:lnTo>
                <a:lnTo>
                  <a:pt x="3680" y="3180"/>
                </a:lnTo>
                <a:lnTo>
                  <a:pt x="3678" y="3176"/>
                </a:lnTo>
                <a:lnTo>
                  <a:pt x="3678" y="3170"/>
                </a:lnTo>
                <a:lnTo>
                  <a:pt x="3678" y="3168"/>
                </a:lnTo>
                <a:lnTo>
                  <a:pt x="3682" y="3172"/>
                </a:lnTo>
                <a:lnTo>
                  <a:pt x="3684" y="3174"/>
                </a:lnTo>
                <a:lnTo>
                  <a:pt x="3686" y="3176"/>
                </a:lnTo>
                <a:lnTo>
                  <a:pt x="3692" y="3176"/>
                </a:lnTo>
                <a:lnTo>
                  <a:pt x="3696" y="3172"/>
                </a:lnTo>
                <a:lnTo>
                  <a:pt x="3704" y="3170"/>
                </a:lnTo>
                <a:lnTo>
                  <a:pt x="3710" y="3170"/>
                </a:lnTo>
                <a:lnTo>
                  <a:pt x="3714" y="3172"/>
                </a:lnTo>
                <a:lnTo>
                  <a:pt x="3718" y="3176"/>
                </a:lnTo>
                <a:lnTo>
                  <a:pt x="3724" y="3184"/>
                </a:lnTo>
                <a:lnTo>
                  <a:pt x="3726" y="3186"/>
                </a:lnTo>
                <a:lnTo>
                  <a:pt x="3728" y="3188"/>
                </a:lnTo>
                <a:lnTo>
                  <a:pt x="3728" y="3186"/>
                </a:lnTo>
                <a:lnTo>
                  <a:pt x="3728" y="3184"/>
                </a:lnTo>
                <a:lnTo>
                  <a:pt x="3724" y="3176"/>
                </a:lnTo>
                <a:lnTo>
                  <a:pt x="3718" y="3160"/>
                </a:lnTo>
                <a:lnTo>
                  <a:pt x="3712" y="3136"/>
                </a:lnTo>
                <a:lnTo>
                  <a:pt x="3708" y="3128"/>
                </a:lnTo>
                <a:lnTo>
                  <a:pt x="3706" y="3126"/>
                </a:lnTo>
                <a:lnTo>
                  <a:pt x="3704" y="3126"/>
                </a:lnTo>
                <a:lnTo>
                  <a:pt x="3700" y="3126"/>
                </a:lnTo>
                <a:lnTo>
                  <a:pt x="3694" y="3130"/>
                </a:lnTo>
                <a:lnTo>
                  <a:pt x="3692" y="3130"/>
                </a:lnTo>
                <a:lnTo>
                  <a:pt x="3696" y="3126"/>
                </a:lnTo>
                <a:lnTo>
                  <a:pt x="3698" y="3120"/>
                </a:lnTo>
                <a:lnTo>
                  <a:pt x="3698" y="3116"/>
                </a:lnTo>
                <a:lnTo>
                  <a:pt x="3694" y="3112"/>
                </a:lnTo>
                <a:lnTo>
                  <a:pt x="3690" y="3110"/>
                </a:lnTo>
                <a:lnTo>
                  <a:pt x="3694" y="3108"/>
                </a:lnTo>
                <a:lnTo>
                  <a:pt x="3696" y="3108"/>
                </a:lnTo>
                <a:lnTo>
                  <a:pt x="3698" y="3106"/>
                </a:lnTo>
                <a:lnTo>
                  <a:pt x="3698" y="3102"/>
                </a:lnTo>
                <a:lnTo>
                  <a:pt x="3698" y="3096"/>
                </a:lnTo>
                <a:lnTo>
                  <a:pt x="3696" y="3084"/>
                </a:lnTo>
                <a:lnTo>
                  <a:pt x="3698" y="3078"/>
                </a:lnTo>
                <a:lnTo>
                  <a:pt x="3696" y="3076"/>
                </a:lnTo>
                <a:lnTo>
                  <a:pt x="3692" y="3070"/>
                </a:lnTo>
                <a:lnTo>
                  <a:pt x="3678" y="3058"/>
                </a:lnTo>
                <a:lnTo>
                  <a:pt x="3678" y="3056"/>
                </a:lnTo>
                <a:lnTo>
                  <a:pt x="3680" y="3056"/>
                </a:lnTo>
                <a:lnTo>
                  <a:pt x="3686" y="3060"/>
                </a:lnTo>
                <a:lnTo>
                  <a:pt x="3694" y="3064"/>
                </a:lnTo>
                <a:lnTo>
                  <a:pt x="3696" y="3064"/>
                </a:lnTo>
                <a:lnTo>
                  <a:pt x="3696" y="3062"/>
                </a:lnTo>
                <a:lnTo>
                  <a:pt x="3692" y="3048"/>
                </a:lnTo>
                <a:lnTo>
                  <a:pt x="3688" y="3032"/>
                </a:lnTo>
                <a:lnTo>
                  <a:pt x="3690" y="3016"/>
                </a:lnTo>
                <a:lnTo>
                  <a:pt x="3694" y="3002"/>
                </a:lnTo>
                <a:lnTo>
                  <a:pt x="3696" y="2998"/>
                </a:lnTo>
                <a:lnTo>
                  <a:pt x="3702" y="2992"/>
                </a:lnTo>
                <a:lnTo>
                  <a:pt x="3706" y="2990"/>
                </a:lnTo>
                <a:lnTo>
                  <a:pt x="3704" y="2992"/>
                </a:lnTo>
                <a:lnTo>
                  <a:pt x="3700" y="2998"/>
                </a:lnTo>
                <a:lnTo>
                  <a:pt x="3698" y="3004"/>
                </a:lnTo>
                <a:lnTo>
                  <a:pt x="3694" y="3016"/>
                </a:lnTo>
                <a:lnTo>
                  <a:pt x="3694" y="3020"/>
                </a:lnTo>
                <a:lnTo>
                  <a:pt x="3696" y="3024"/>
                </a:lnTo>
                <a:lnTo>
                  <a:pt x="3696" y="3028"/>
                </a:lnTo>
                <a:lnTo>
                  <a:pt x="3696" y="3030"/>
                </a:lnTo>
                <a:lnTo>
                  <a:pt x="3694" y="3034"/>
                </a:lnTo>
                <a:lnTo>
                  <a:pt x="3696" y="3038"/>
                </a:lnTo>
                <a:lnTo>
                  <a:pt x="3698" y="3042"/>
                </a:lnTo>
                <a:lnTo>
                  <a:pt x="3696" y="3046"/>
                </a:lnTo>
                <a:lnTo>
                  <a:pt x="3696" y="3048"/>
                </a:lnTo>
                <a:lnTo>
                  <a:pt x="3700" y="3052"/>
                </a:lnTo>
                <a:lnTo>
                  <a:pt x="3706" y="3056"/>
                </a:lnTo>
                <a:lnTo>
                  <a:pt x="3708" y="3054"/>
                </a:lnTo>
                <a:lnTo>
                  <a:pt x="3710" y="3054"/>
                </a:lnTo>
                <a:lnTo>
                  <a:pt x="3712" y="3058"/>
                </a:lnTo>
                <a:lnTo>
                  <a:pt x="3714" y="3066"/>
                </a:lnTo>
                <a:lnTo>
                  <a:pt x="3712" y="3070"/>
                </a:lnTo>
                <a:lnTo>
                  <a:pt x="3712" y="3072"/>
                </a:lnTo>
                <a:lnTo>
                  <a:pt x="3716" y="3074"/>
                </a:lnTo>
                <a:lnTo>
                  <a:pt x="3718" y="3076"/>
                </a:lnTo>
                <a:lnTo>
                  <a:pt x="3716" y="3080"/>
                </a:lnTo>
                <a:lnTo>
                  <a:pt x="3712" y="3092"/>
                </a:lnTo>
                <a:lnTo>
                  <a:pt x="3706" y="3106"/>
                </a:lnTo>
                <a:lnTo>
                  <a:pt x="3706" y="3112"/>
                </a:lnTo>
                <a:lnTo>
                  <a:pt x="3710" y="3116"/>
                </a:lnTo>
                <a:lnTo>
                  <a:pt x="3712" y="3114"/>
                </a:lnTo>
                <a:lnTo>
                  <a:pt x="3714" y="3110"/>
                </a:lnTo>
                <a:lnTo>
                  <a:pt x="3720" y="3096"/>
                </a:lnTo>
                <a:lnTo>
                  <a:pt x="3728" y="3078"/>
                </a:lnTo>
                <a:lnTo>
                  <a:pt x="3738" y="3060"/>
                </a:lnTo>
                <a:lnTo>
                  <a:pt x="3744" y="3054"/>
                </a:lnTo>
                <a:lnTo>
                  <a:pt x="3746" y="3046"/>
                </a:lnTo>
                <a:lnTo>
                  <a:pt x="3748" y="3040"/>
                </a:lnTo>
                <a:lnTo>
                  <a:pt x="3748" y="3036"/>
                </a:lnTo>
                <a:lnTo>
                  <a:pt x="3748" y="3030"/>
                </a:lnTo>
                <a:lnTo>
                  <a:pt x="3746" y="3028"/>
                </a:lnTo>
                <a:lnTo>
                  <a:pt x="3744" y="3026"/>
                </a:lnTo>
                <a:lnTo>
                  <a:pt x="3740" y="3024"/>
                </a:lnTo>
                <a:lnTo>
                  <a:pt x="3738" y="3024"/>
                </a:lnTo>
                <a:lnTo>
                  <a:pt x="3736" y="3022"/>
                </a:lnTo>
                <a:lnTo>
                  <a:pt x="3732" y="3014"/>
                </a:lnTo>
                <a:lnTo>
                  <a:pt x="3726" y="2992"/>
                </a:lnTo>
                <a:lnTo>
                  <a:pt x="3724" y="2984"/>
                </a:lnTo>
                <a:lnTo>
                  <a:pt x="3726" y="2976"/>
                </a:lnTo>
                <a:lnTo>
                  <a:pt x="3730" y="2970"/>
                </a:lnTo>
                <a:lnTo>
                  <a:pt x="3738" y="2964"/>
                </a:lnTo>
                <a:lnTo>
                  <a:pt x="3742" y="2964"/>
                </a:lnTo>
                <a:lnTo>
                  <a:pt x="3736" y="2968"/>
                </a:lnTo>
                <a:lnTo>
                  <a:pt x="3732" y="2972"/>
                </a:lnTo>
                <a:lnTo>
                  <a:pt x="3730" y="2978"/>
                </a:lnTo>
                <a:lnTo>
                  <a:pt x="3730" y="2986"/>
                </a:lnTo>
                <a:lnTo>
                  <a:pt x="3732" y="2992"/>
                </a:lnTo>
                <a:lnTo>
                  <a:pt x="3738" y="2998"/>
                </a:lnTo>
                <a:lnTo>
                  <a:pt x="3742" y="3002"/>
                </a:lnTo>
                <a:lnTo>
                  <a:pt x="3748" y="3004"/>
                </a:lnTo>
                <a:lnTo>
                  <a:pt x="3752" y="3004"/>
                </a:lnTo>
                <a:lnTo>
                  <a:pt x="3752" y="3012"/>
                </a:lnTo>
                <a:lnTo>
                  <a:pt x="3752" y="3016"/>
                </a:lnTo>
                <a:lnTo>
                  <a:pt x="3752" y="3018"/>
                </a:lnTo>
                <a:lnTo>
                  <a:pt x="3754" y="3016"/>
                </a:lnTo>
                <a:lnTo>
                  <a:pt x="3758" y="3014"/>
                </a:lnTo>
                <a:lnTo>
                  <a:pt x="3766" y="3002"/>
                </a:lnTo>
                <a:lnTo>
                  <a:pt x="3776" y="2986"/>
                </a:lnTo>
                <a:lnTo>
                  <a:pt x="3784" y="2970"/>
                </a:lnTo>
                <a:lnTo>
                  <a:pt x="3790" y="2954"/>
                </a:lnTo>
                <a:lnTo>
                  <a:pt x="3792" y="2948"/>
                </a:lnTo>
                <a:lnTo>
                  <a:pt x="3792" y="2942"/>
                </a:lnTo>
                <a:lnTo>
                  <a:pt x="3790" y="2938"/>
                </a:lnTo>
                <a:lnTo>
                  <a:pt x="3786" y="2938"/>
                </a:lnTo>
                <a:lnTo>
                  <a:pt x="3778" y="2936"/>
                </a:lnTo>
                <a:lnTo>
                  <a:pt x="3778" y="2934"/>
                </a:lnTo>
                <a:lnTo>
                  <a:pt x="3776" y="2932"/>
                </a:lnTo>
                <a:lnTo>
                  <a:pt x="3778" y="2926"/>
                </a:lnTo>
                <a:lnTo>
                  <a:pt x="3786" y="2918"/>
                </a:lnTo>
                <a:lnTo>
                  <a:pt x="3796" y="2910"/>
                </a:lnTo>
                <a:lnTo>
                  <a:pt x="3810" y="2902"/>
                </a:lnTo>
                <a:lnTo>
                  <a:pt x="3824" y="2894"/>
                </a:lnTo>
                <a:lnTo>
                  <a:pt x="3838" y="2890"/>
                </a:lnTo>
                <a:lnTo>
                  <a:pt x="3854" y="2888"/>
                </a:lnTo>
                <a:lnTo>
                  <a:pt x="3872" y="2886"/>
                </a:lnTo>
                <a:lnTo>
                  <a:pt x="3886" y="2884"/>
                </a:lnTo>
                <a:lnTo>
                  <a:pt x="3890" y="2882"/>
                </a:lnTo>
                <a:lnTo>
                  <a:pt x="3892" y="2880"/>
                </a:lnTo>
                <a:lnTo>
                  <a:pt x="3894" y="2866"/>
                </a:lnTo>
                <a:lnTo>
                  <a:pt x="3896" y="2862"/>
                </a:lnTo>
                <a:lnTo>
                  <a:pt x="3898" y="2868"/>
                </a:lnTo>
                <a:lnTo>
                  <a:pt x="3902" y="2876"/>
                </a:lnTo>
                <a:lnTo>
                  <a:pt x="3904" y="2880"/>
                </a:lnTo>
                <a:lnTo>
                  <a:pt x="3906" y="2880"/>
                </a:lnTo>
                <a:lnTo>
                  <a:pt x="3908" y="2878"/>
                </a:lnTo>
                <a:lnTo>
                  <a:pt x="3916" y="2872"/>
                </a:lnTo>
                <a:lnTo>
                  <a:pt x="3920" y="2868"/>
                </a:lnTo>
                <a:lnTo>
                  <a:pt x="3922" y="2866"/>
                </a:lnTo>
                <a:lnTo>
                  <a:pt x="3924" y="2868"/>
                </a:lnTo>
                <a:lnTo>
                  <a:pt x="3924" y="2870"/>
                </a:lnTo>
                <a:lnTo>
                  <a:pt x="3924" y="2876"/>
                </a:lnTo>
                <a:lnTo>
                  <a:pt x="3926" y="2876"/>
                </a:lnTo>
                <a:lnTo>
                  <a:pt x="3928" y="2874"/>
                </a:lnTo>
                <a:lnTo>
                  <a:pt x="3932" y="2872"/>
                </a:lnTo>
                <a:lnTo>
                  <a:pt x="3938" y="2870"/>
                </a:lnTo>
                <a:lnTo>
                  <a:pt x="3946" y="2868"/>
                </a:lnTo>
                <a:lnTo>
                  <a:pt x="3952" y="2866"/>
                </a:lnTo>
                <a:lnTo>
                  <a:pt x="3952" y="2864"/>
                </a:lnTo>
                <a:lnTo>
                  <a:pt x="3952" y="2860"/>
                </a:lnTo>
                <a:lnTo>
                  <a:pt x="3948" y="2846"/>
                </a:lnTo>
                <a:lnTo>
                  <a:pt x="3946" y="2844"/>
                </a:lnTo>
                <a:lnTo>
                  <a:pt x="3942" y="2842"/>
                </a:lnTo>
                <a:lnTo>
                  <a:pt x="3940" y="2844"/>
                </a:lnTo>
                <a:lnTo>
                  <a:pt x="3942" y="2846"/>
                </a:lnTo>
                <a:lnTo>
                  <a:pt x="3946" y="2848"/>
                </a:lnTo>
                <a:lnTo>
                  <a:pt x="3948" y="2854"/>
                </a:lnTo>
                <a:lnTo>
                  <a:pt x="3946" y="2860"/>
                </a:lnTo>
                <a:lnTo>
                  <a:pt x="3940" y="2864"/>
                </a:lnTo>
                <a:lnTo>
                  <a:pt x="3936" y="2866"/>
                </a:lnTo>
                <a:lnTo>
                  <a:pt x="3934" y="2864"/>
                </a:lnTo>
                <a:lnTo>
                  <a:pt x="3930" y="2862"/>
                </a:lnTo>
                <a:lnTo>
                  <a:pt x="3928" y="2858"/>
                </a:lnTo>
                <a:lnTo>
                  <a:pt x="3926" y="2848"/>
                </a:lnTo>
                <a:lnTo>
                  <a:pt x="3924" y="2840"/>
                </a:lnTo>
                <a:lnTo>
                  <a:pt x="3920" y="2836"/>
                </a:lnTo>
                <a:lnTo>
                  <a:pt x="3914" y="2834"/>
                </a:lnTo>
                <a:lnTo>
                  <a:pt x="3910" y="2832"/>
                </a:lnTo>
                <a:lnTo>
                  <a:pt x="3910" y="2830"/>
                </a:lnTo>
                <a:lnTo>
                  <a:pt x="3918" y="2824"/>
                </a:lnTo>
                <a:lnTo>
                  <a:pt x="3926" y="2816"/>
                </a:lnTo>
                <a:lnTo>
                  <a:pt x="3926" y="2812"/>
                </a:lnTo>
                <a:lnTo>
                  <a:pt x="3924" y="2810"/>
                </a:lnTo>
                <a:lnTo>
                  <a:pt x="3922" y="2808"/>
                </a:lnTo>
                <a:lnTo>
                  <a:pt x="3920" y="2804"/>
                </a:lnTo>
                <a:lnTo>
                  <a:pt x="3922" y="2790"/>
                </a:lnTo>
                <a:lnTo>
                  <a:pt x="3928" y="2776"/>
                </a:lnTo>
                <a:lnTo>
                  <a:pt x="3936" y="2766"/>
                </a:lnTo>
                <a:lnTo>
                  <a:pt x="3940" y="2760"/>
                </a:lnTo>
                <a:lnTo>
                  <a:pt x="3940" y="2756"/>
                </a:lnTo>
                <a:lnTo>
                  <a:pt x="3940" y="2752"/>
                </a:lnTo>
                <a:lnTo>
                  <a:pt x="3942" y="2748"/>
                </a:lnTo>
                <a:lnTo>
                  <a:pt x="3944" y="2748"/>
                </a:lnTo>
                <a:lnTo>
                  <a:pt x="3946" y="2748"/>
                </a:lnTo>
                <a:lnTo>
                  <a:pt x="3948" y="2750"/>
                </a:lnTo>
                <a:lnTo>
                  <a:pt x="3952" y="2752"/>
                </a:lnTo>
                <a:lnTo>
                  <a:pt x="3954" y="2752"/>
                </a:lnTo>
                <a:lnTo>
                  <a:pt x="3960" y="2750"/>
                </a:lnTo>
                <a:lnTo>
                  <a:pt x="3966" y="2746"/>
                </a:lnTo>
                <a:lnTo>
                  <a:pt x="3970" y="2742"/>
                </a:lnTo>
                <a:lnTo>
                  <a:pt x="3974" y="2740"/>
                </a:lnTo>
                <a:lnTo>
                  <a:pt x="3978" y="2738"/>
                </a:lnTo>
                <a:lnTo>
                  <a:pt x="3982" y="2738"/>
                </a:lnTo>
                <a:lnTo>
                  <a:pt x="3986" y="2734"/>
                </a:lnTo>
                <a:lnTo>
                  <a:pt x="3988" y="2726"/>
                </a:lnTo>
                <a:lnTo>
                  <a:pt x="3992" y="2718"/>
                </a:lnTo>
                <a:lnTo>
                  <a:pt x="3996" y="2716"/>
                </a:lnTo>
                <a:lnTo>
                  <a:pt x="4000" y="2718"/>
                </a:lnTo>
                <a:lnTo>
                  <a:pt x="4008" y="2720"/>
                </a:lnTo>
                <a:lnTo>
                  <a:pt x="4010" y="2720"/>
                </a:lnTo>
                <a:lnTo>
                  <a:pt x="4012" y="2716"/>
                </a:lnTo>
                <a:lnTo>
                  <a:pt x="4016" y="2712"/>
                </a:lnTo>
                <a:lnTo>
                  <a:pt x="4022" y="2712"/>
                </a:lnTo>
                <a:lnTo>
                  <a:pt x="4026" y="2714"/>
                </a:lnTo>
                <a:lnTo>
                  <a:pt x="4028" y="2714"/>
                </a:lnTo>
                <a:lnTo>
                  <a:pt x="4036" y="2712"/>
                </a:lnTo>
                <a:lnTo>
                  <a:pt x="4044" y="2706"/>
                </a:lnTo>
                <a:lnTo>
                  <a:pt x="4054" y="2704"/>
                </a:lnTo>
                <a:lnTo>
                  <a:pt x="4060" y="2702"/>
                </a:lnTo>
                <a:lnTo>
                  <a:pt x="4066" y="2696"/>
                </a:lnTo>
                <a:lnTo>
                  <a:pt x="4070" y="2690"/>
                </a:lnTo>
                <a:lnTo>
                  <a:pt x="4070" y="2688"/>
                </a:lnTo>
                <a:lnTo>
                  <a:pt x="4068" y="2686"/>
                </a:lnTo>
                <a:lnTo>
                  <a:pt x="4066" y="2682"/>
                </a:lnTo>
                <a:lnTo>
                  <a:pt x="4064" y="2676"/>
                </a:lnTo>
                <a:lnTo>
                  <a:pt x="4062" y="2674"/>
                </a:lnTo>
                <a:lnTo>
                  <a:pt x="4054" y="2670"/>
                </a:lnTo>
                <a:lnTo>
                  <a:pt x="4052" y="2666"/>
                </a:lnTo>
                <a:lnTo>
                  <a:pt x="4050" y="2658"/>
                </a:lnTo>
                <a:lnTo>
                  <a:pt x="4052" y="2642"/>
                </a:lnTo>
                <a:lnTo>
                  <a:pt x="4054" y="2644"/>
                </a:lnTo>
                <a:lnTo>
                  <a:pt x="4054" y="2648"/>
                </a:lnTo>
                <a:lnTo>
                  <a:pt x="4054" y="2656"/>
                </a:lnTo>
                <a:lnTo>
                  <a:pt x="4054" y="2660"/>
                </a:lnTo>
                <a:lnTo>
                  <a:pt x="4056" y="2664"/>
                </a:lnTo>
                <a:lnTo>
                  <a:pt x="4060" y="2666"/>
                </a:lnTo>
                <a:lnTo>
                  <a:pt x="4066" y="2670"/>
                </a:lnTo>
                <a:lnTo>
                  <a:pt x="4078" y="2672"/>
                </a:lnTo>
                <a:lnTo>
                  <a:pt x="4088" y="2674"/>
                </a:lnTo>
                <a:lnTo>
                  <a:pt x="4096" y="2674"/>
                </a:lnTo>
                <a:lnTo>
                  <a:pt x="4106" y="2672"/>
                </a:lnTo>
                <a:lnTo>
                  <a:pt x="4124" y="2664"/>
                </a:lnTo>
                <a:lnTo>
                  <a:pt x="4144" y="2652"/>
                </a:lnTo>
                <a:lnTo>
                  <a:pt x="4152" y="2648"/>
                </a:lnTo>
                <a:lnTo>
                  <a:pt x="4156" y="2648"/>
                </a:lnTo>
                <a:lnTo>
                  <a:pt x="4158" y="2648"/>
                </a:lnTo>
                <a:lnTo>
                  <a:pt x="4158" y="2650"/>
                </a:lnTo>
                <a:lnTo>
                  <a:pt x="4160" y="2654"/>
                </a:lnTo>
                <a:lnTo>
                  <a:pt x="4164" y="2656"/>
                </a:lnTo>
                <a:lnTo>
                  <a:pt x="4174" y="2658"/>
                </a:lnTo>
                <a:lnTo>
                  <a:pt x="4190" y="2656"/>
                </a:lnTo>
                <a:lnTo>
                  <a:pt x="4204" y="2654"/>
                </a:lnTo>
                <a:lnTo>
                  <a:pt x="4194" y="2660"/>
                </a:lnTo>
                <a:lnTo>
                  <a:pt x="4172" y="2668"/>
                </a:lnTo>
                <a:lnTo>
                  <a:pt x="4148" y="2678"/>
                </a:lnTo>
                <a:lnTo>
                  <a:pt x="4136" y="2686"/>
                </a:lnTo>
                <a:lnTo>
                  <a:pt x="4126" y="2692"/>
                </a:lnTo>
                <a:lnTo>
                  <a:pt x="4118" y="2700"/>
                </a:lnTo>
                <a:lnTo>
                  <a:pt x="4110" y="2710"/>
                </a:lnTo>
                <a:lnTo>
                  <a:pt x="4106" y="2720"/>
                </a:lnTo>
                <a:lnTo>
                  <a:pt x="4104" y="2730"/>
                </a:lnTo>
                <a:lnTo>
                  <a:pt x="4106" y="2740"/>
                </a:lnTo>
                <a:lnTo>
                  <a:pt x="4110" y="2752"/>
                </a:lnTo>
                <a:lnTo>
                  <a:pt x="4118" y="2762"/>
                </a:lnTo>
                <a:lnTo>
                  <a:pt x="4124" y="2766"/>
                </a:lnTo>
                <a:lnTo>
                  <a:pt x="4132" y="2766"/>
                </a:lnTo>
                <a:lnTo>
                  <a:pt x="4138" y="2764"/>
                </a:lnTo>
                <a:lnTo>
                  <a:pt x="4146" y="2758"/>
                </a:lnTo>
                <a:lnTo>
                  <a:pt x="4156" y="2748"/>
                </a:lnTo>
                <a:lnTo>
                  <a:pt x="4174" y="2726"/>
                </a:lnTo>
                <a:lnTo>
                  <a:pt x="4182" y="2714"/>
                </a:lnTo>
                <a:lnTo>
                  <a:pt x="4190" y="2708"/>
                </a:lnTo>
                <a:lnTo>
                  <a:pt x="4196" y="2706"/>
                </a:lnTo>
                <a:lnTo>
                  <a:pt x="4202" y="2706"/>
                </a:lnTo>
                <a:lnTo>
                  <a:pt x="4208" y="2706"/>
                </a:lnTo>
                <a:lnTo>
                  <a:pt x="4216" y="2706"/>
                </a:lnTo>
                <a:lnTo>
                  <a:pt x="4226" y="2702"/>
                </a:lnTo>
                <a:lnTo>
                  <a:pt x="4238" y="2696"/>
                </a:lnTo>
                <a:lnTo>
                  <a:pt x="4252" y="2688"/>
                </a:lnTo>
                <a:lnTo>
                  <a:pt x="4266" y="2680"/>
                </a:lnTo>
                <a:lnTo>
                  <a:pt x="4292" y="2672"/>
                </a:lnTo>
                <a:lnTo>
                  <a:pt x="4300" y="2670"/>
                </a:lnTo>
                <a:lnTo>
                  <a:pt x="4306" y="2668"/>
                </a:lnTo>
                <a:lnTo>
                  <a:pt x="4308" y="2664"/>
                </a:lnTo>
                <a:lnTo>
                  <a:pt x="4306" y="2660"/>
                </a:lnTo>
                <a:lnTo>
                  <a:pt x="4286" y="2640"/>
                </a:lnTo>
                <a:lnTo>
                  <a:pt x="4280" y="2636"/>
                </a:lnTo>
                <a:lnTo>
                  <a:pt x="4276" y="2634"/>
                </a:lnTo>
                <a:lnTo>
                  <a:pt x="4270" y="2634"/>
                </a:lnTo>
                <a:lnTo>
                  <a:pt x="4264" y="2638"/>
                </a:lnTo>
                <a:lnTo>
                  <a:pt x="4258" y="2640"/>
                </a:lnTo>
                <a:lnTo>
                  <a:pt x="4248" y="2640"/>
                </a:lnTo>
                <a:lnTo>
                  <a:pt x="4236" y="2638"/>
                </a:lnTo>
                <a:lnTo>
                  <a:pt x="4224" y="2636"/>
                </a:lnTo>
                <a:lnTo>
                  <a:pt x="4212" y="2632"/>
                </a:lnTo>
                <a:lnTo>
                  <a:pt x="4204" y="2628"/>
                </a:lnTo>
                <a:lnTo>
                  <a:pt x="4198" y="2624"/>
                </a:lnTo>
                <a:lnTo>
                  <a:pt x="4196" y="2622"/>
                </a:lnTo>
                <a:lnTo>
                  <a:pt x="4198" y="2620"/>
                </a:lnTo>
                <a:lnTo>
                  <a:pt x="4198" y="2616"/>
                </a:lnTo>
                <a:lnTo>
                  <a:pt x="4196" y="2614"/>
                </a:lnTo>
                <a:lnTo>
                  <a:pt x="4186" y="2612"/>
                </a:lnTo>
                <a:lnTo>
                  <a:pt x="4180" y="2608"/>
                </a:lnTo>
                <a:lnTo>
                  <a:pt x="4172" y="2602"/>
                </a:lnTo>
                <a:lnTo>
                  <a:pt x="4166" y="2594"/>
                </a:lnTo>
                <a:lnTo>
                  <a:pt x="4160" y="2580"/>
                </a:lnTo>
                <a:lnTo>
                  <a:pt x="4156" y="2564"/>
                </a:lnTo>
                <a:lnTo>
                  <a:pt x="4156" y="2550"/>
                </a:lnTo>
                <a:lnTo>
                  <a:pt x="4158" y="2538"/>
                </a:lnTo>
                <a:lnTo>
                  <a:pt x="4162" y="2528"/>
                </a:lnTo>
                <a:lnTo>
                  <a:pt x="4162" y="2520"/>
                </a:lnTo>
                <a:lnTo>
                  <a:pt x="4162" y="2516"/>
                </a:lnTo>
                <a:lnTo>
                  <a:pt x="4158" y="2514"/>
                </a:lnTo>
                <a:lnTo>
                  <a:pt x="4148" y="2514"/>
                </a:lnTo>
                <a:lnTo>
                  <a:pt x="4134" y="2518"/>
                </a:lnTo>
                <a:lnTo>
                  <a:pt x="4126" y="2518"/>
                </a:lnTo>
                <a:lnTo>
                  <a:pt x="4124" y="2518"/>
                </a:lnTo>
                <a:lnTo>
                  <a:pt x="4126" y="2514"/>
                </a:lnTo>
                <a:lnTo>
                  <a:pt x="4142" y="2504"/>
                </a:lnTo>
                <a:lnTo>
                  <a:pt x="4164" y="2488"/>
                </a:lnTo>
                <a:lnTo>
                  <a:pt x="4180" y="2478"/>
                </a:lnTo>
                <a:lnTo>
                  <a:pt x="4184" y="2472"/>
                </a:lnTo>
                <a:lnTo>
                  <a:pt x="4184" y="2466"/>
                </a:lnTo>
                <a:lnTo>
                  <a:pt x="4184" y="2460"/>
                </a:lnTo>
                <a:lnTo>
                  <a:pt x="4180" y="2454"/>
                </a:lnTo>
                <a:lnTo>
                  <a:pt x="4174" y="2448"/>
                </a:lnTo>
                <a:lnTo>
                  <a:pt x="4166" y="2440"/>
                </a:lnTo>
                <a:lnTo>
                  <a:pt x="4160" y="2438"/>
                </a:lnTo>
                <a:lnTo>
                  <a:pt x="4152" y="2436"/>
                </a:lnTo>
                <a:lnTo>
                  <a:pt x="4142" y="2434"/>
                </a:lnTo>
                <a:lnTo>
                  <a:pt x="4130" y="2436"/>
                </a:lnTo>
                <a:lnTo>
                  <a:pt x="4104" y="2440"/>
                </a:lnTo>
                <a:lnTo>
                  <a:pt x="4074" y="2448"/>
                </a:lnTo>
                <a:lnTo>
                  <a:pt x="4046" y="2458"/>
                </a:lnTo>
                <a:lnTo>
                  <a:pt x="4018" y="2470"/>
                </a:lnTo>
                <a:lnTo>
                  <a:pt x="3996" y="2486"/>
                </a:lnTo>
                <a:lnTo>
                  <a:pt x="3988" y="2492"/>
                </a:lnTo>
                <a:lnTo>
                  <a:pt x="3982" y="2500"/>
                </a:lnTo>
                <a:lnTo>
                  <a:pt x="3964" y="2522"/>
                </a:lnTo>
                <a:lnTo>
                  <a:pt x="3948" y="2542"/>
                </a:lnTo>
                <a:lnTo>
                  <a:pt x="3934" y="2556"/>
                </a:lnTo>
                <a:lnTo>
                  <a:pt x="3922" y="2566"/>
                </a:lnTo>
                <a:lnTo>
                  <a:pt x="3914" y="2572"/>
                </a:lnTo>
                <a:lnTo>
                  <a:pt x="3908" y="2576"/>
                </a:lnTo>
                <a:lnTo>
                  <a:pt x="3908" y="2574"/>
                </a:lnTo>
                <a:lnTo>
                  <a:pt x="3914" y="2568"/>
                </a:lnTo>
                <a:lnTo>
                  <a:pt x="3926" y="2554"/>
                </a:lnTo>
                <a:lnTo>
                  <a:pt x="3936" y="2538"/>
                </a:lnTo>
                <a:lnTo>
                  <a:pt x="3964" y="2500"/>
                </a:lnTo>
                <a:lnTo>
                  <a:pt x="3978" y="2480"/>
                </a:lnTo>
                <a:lnTo>
                  <a:pt x="3994" y="2462"/>
                </a:lnTo>
                <a:lnTo>
                  <a:pt x="4012" y="2448"/>
                </a:lnTo>
                <a:lnTo>
                  <a:pt x="4020" y="2444"/>
                </a:lnTo>
                <a:lnTo>
                  <a:pt x="4030" y="2440"/>
                </a:lnTo>
                <a:lnTo>
                  <a:pt x="4042" y="2434"/>
                </a:lnTo>
                <a:lnTo>
                  <a:pt x="4050" y="2430"/>
                </a:lnTo>
                <a:lnTo>
                  <a:pt x="4056" y="2426"/>
                </a:lnTo>
                <a:lnTo>
                  <a:pt x="4060" y="2422"/>
                </a:lnTo>
                <a:lnTo>
                  <a:pt x="4066" y="2412"/>
                </a:lnTo>
                <a:lnTo>
                  <a:pt x="4068" y="2404"/>
                </a:lnTo>
                <a:lnTo>
                  <a:pt x="4072" y="2394"/>
                </a:lnTo>
                <a:lnTo>
                  <a:pt x="4076" y="2390"/>
                </a:lnTo>
                <a:lnTo>
                  <a:pt x="4082" y="2386"/>
                </a:lnTo>
                <a:lnTo>
                  <a:pt x="4092" y="2382"/>
                </a:lnTo>
                <a:lnTo>
                  <a:pt x="4102" y="2378"/>
                </a:lnTo>
                <a:lnTo>
                  <a:pt x="4136" y="2372"/>
                </a:lnTo>
                <a:lnTo>
                  <a:pt x="4160" y="2370"/>
                </a:lnTo>
                <a:lnTo>
                  <a:pt x="4182" y="2368"/>
                </a:lnTo>
                <a:lnTo>
                  <a:pt x="4202" y="2368"/>
                </a:lnTo>
                <a:lnTo>
                  <a:pt x="4220" y="2370"/>
                </a:lnTo>
                <a:lnTo>
                  <a:pt x="4252" y="2376"/>
                </a:lnTo>
                <a:lnTo>
                  <a:pt x="4280" y="2382"/>
                </a:lnTo>
                <a:lnTo>
                  <a:pt x="4304" y="2384"/>
                </a:lnTo>
                <a:lnTo>
                  <a:pt x="4316" y="2384"/>
                </a:lnTo>
                <a:lnTo>
                  <a:pt x="4330" y="2382"/>
                </a:lnTo>
                <a:lnTo>
                  <a:pt x="4342" y="2376"/>
                </a:lnTo>
                <a:lnTo>
                  <a:pt x="4356" y="2370"/>
                </a:lnTo>
                <a:lnTo>
                  <a:pt x="4370" y="2358"/>
                </a:lnTo>
                <a:lnTo>
                  <a:pt x="4386" y="2346"/>
                </a:lnTo>
                <a:lnTo>
                  <a:pt x="4414" y="2320"/>
                </a:lnTo>
                <a:lnTo>
                  <a:pt x="4434" y="2308"/>
                </a:lnTo>
                <a:lnTo>
                  <a:pt x="4448" y="2302"/>
                </a:lnTo>
                <a:lnTo>
                  <a:pt x="4458" y="2302"/>
                </a:lnTo>
                <a:lnTo>
                  <a:pt x="4470" y="2306"/>
                </a:lnTo>
                <a:lnTo>
                  <a:pt x="4476" y="2306"/>
                </a:lnTo>
                <a:lnTo>
                  <a:pt x="4484" y="2298"/>
                </a:lnTo>
                <a:lnTo>
                  <a:pt x="4492" y="2288"/>
                </a:lnTo>
                <a:lnTo>
                  <a:pt x="4502" y="2280"/>
                </a:lnTo>
                <a:lnTo>
                  <a:pt x="4518" y="2268"/>
                </a:lnTo>
                <a:lnTo>
                  <a:pt x="4524" y="2262"/>
                </a:lnTo>
                <a:lnTo>
                  <a:pt x="4528" y="2256"/>
                </a:lnTo>
                <a:lnTo>
                  <a:pt x="4528" y="2246"/>
                </a:lnTo>
                <a:lnTo>
                  <a:pt x="4522" y="2234"/>
                </a:lnTo>
                <a:lnTo>
                  <a:pt x="4518" y="2224"/>
                </a:lnTo>
                <a:lnTo>
                  <a:pt x="4518" y="2216"/>
                </a:lnTo>
                <a:lnTo>
                  <a:pt x="4520" y="2212"/>
                </a:lnTo>
                <a:lnTo>
                  <a:pt x="4522" y="2210"/>
                </a:lnTo>
                <a:lnTo>
                  <a:pt x="4524" y="2208"/>
                </a:lnTo>
                <a:lnTo>
                  <a:pt x="4526" y="2204"/>
                </a:lnTo>
                <a:lnTo>
                  <a:pt x="4526" y="2198"/>
                </a:lnTo>
                <a:lnTo>
                  <a:pt x="4522" y="2188"/>
                </a:lnTo>
                <a:lnTo>
                  <a:pt x="4516" y="2178"/>
                </a:lnTo>
                <a:lnTo>
                  <a:pt x="4510" y="2172"/>
                </a:lnTo>
                <a:lnTo>
                  <a:pt x="4502" y="2170"/>
                </a:lnTo>
                <a:lnTo>
                  <a:pt x="4496" y="2170"/>
                </a:lnTo>
                <a:lnTo>
                  <a:pt x="4488" y="2170"/>
                </a:lnTo>
                <a:lnTo>
                  <a:pt x="4480" y="2168"/>
                </a:lnTo>
                <a:lnTo>
                  <a:pt x="4472" y="2162"/>
                </a:lnTo>
                <a:lnTo>
                  <a:pt x="4464" y="2154"/>
                </a:lnTo>
                <a:lnTo>
                  <a:pt x="4454" y="2144"/>
                </a:lnTo>
                <a:lnTo>
                  <a:pt x="4446" y="2138"/>
                </a:lnTo>
                <a:lnTo>
                  <a:pt x="4436" y="2136"/>
                </a:lnTo>
                <a:lnTo>
                  <a:pt x="4428" y="2140"/>
                </a:lnTo>
                <a:lnTo>
                  <a:pt x="4418" y="2144"/>
                </a:lnTo>
                <a:lnTo>
                  <a:pt x="4406" y="2152"/>
                </a:lnTo>
                <a:lnTo>
                  <a:pt x="4378" y="2172"/>
                </a:lnTo>
                <a:lnTo>
                  <a:pt x="4364" y="2182"/>
                </a:lnTo>
                <a:lnTo>
                  <a:pt x="4352" y="2186"/>
                </a:lnTo>
                <a:lnTo>
                  <a:pt x="4346" y="2184"/>
                </a:lnTo>
                <a:lnTo>
                  <a:pt x="4342" y="2182"/>
                </a:lnTo>
                <a:lnTo>
                  <a:pt x="4342" y="2176"/>
                </a:lnTo>
                <a:lnTo>
                  <a:pt x="4346" y="2170"/>
                </a:lnTo>
                <a:lnTo>
                  <a:pt x="4354" y="2164"/>
                </a:lnTo>
                <a:lnTo>
                  <a:pt x="4366" y="2160"/>
                </a:lnTo>
                <a:lnTo>
                  <a:pt x="4378" y="2156"/>
                </a:lnTo>
                <a:lnTo>
                  <a:pt x="4386" y="2152"/>
                </a:lnTo>
                <a:lnTo>
                  <a:pt x="4400" y="2144"/>
                </a:lnTo>
                <a:lnTo>
                  <a:pt x="4416" y="2136"/>
                </a:lnTo>
                <a:lnTo>
                  <a:pt x="4424" y="2132"/>
                </a:lnTo>
                <a:lnTo>
                  <a:pt x="4438" y="2128"/>
                </a:lnTo>
                <a:lnTo>
                  <a:pt x="4450" y="2126"/>
                </a:lnTo>
                <a:lnTo>
                  <a:pt x="4456" y="2122"/>
                </a:lnTo>
                <a:lnTo>
                  <a:pt x="4458" y="2118"/>
                </a:lnTo>
                <a:lnTo>
                  <a:pt x="4456" y="2114"/>
                </a:lnTo>
                <a:lnTo>
                  <a:pt x="4452" y="2108"/>
                </a:lnTo>
                <a:lnTo>
                  <a:pt x="4442" y="2104"/>
                </a:lnTo>
                <a:lnTo>
                  <a:pt x="4432" y="2102"/>
                </a:lnTo>
                <a:lnTo>
                  <a:pt x="4418" y="2098"/>
                </a:lnTo>
                <a:lnTo>
                  <a:pt x="4408" y="2096"/>
                </a:lnTo>
                <a:lnTo>
                  <a:pt x="4400" y="2094"/>
                </a:lnTo>
                <a:lnTo>
                  <a:pt x="4398" y="2090"/>
                </a:lnTo>
                <a:lnTo>
                  <a:pt x="4396" y="2086"/>
                </a:lnTo>
                <a:lnTo>
                  <a:pt x="4392" y="2082"/>
                </a:lnTo>
                <a:lnTo>
                  <a:pt x="4388" y="2078"/>
                </a:lnTo>
                <a:lnTo>
                  <a:pt x="4380" y="2074"/>
                </a:lnTo>
                <a:lnTo>
                  <a:pt x="4364" y="2072"/>
                </a:lnTo>
                <a:lnTo>
                  <a:pt x="4350" y="2068"/>
                </a:lnTo>
                <a:lnTo>
                  <a:pt x="4342" y="2066"/>
                </a:lnTo>
                <a:lnTo>
                  <a:pt x="4340" y="2062"/>
                </a:lnTo>
                <a:lnTo>
                  <a:pt x="4340" y="2056"/>
                </a:lnTo>
                <a:lnTo>
                  <a:pt x="4340" y="2052"/>
                </a:lnTo>
                <a:lnTo>
                  <a:pt x="4338" y="2046"/>
                </a:lnTo>
                <a:lnTo>
                  <a:pt x="4334" y="2040"/>
                </a:lnTo>
                <a:lnTo>
                  <a:pt x="4326" y="2036"/>
                </a:lnTo>
                <a:lnTo>
                  <a:pt x="4314" y="2030"/>
                </a:lnTo>
                <a:lnTo>
                  <a:pt x="4304" y="2024"/>
                </a:lnTo>
                <a:lnTo>
                  <a:pt x="4296" y="2018"/>
                </a:lnTo>
                <a:lnTo>
                  <a:pt x="4290" y="2010"/>
                </a:lnTo>
                <a:lnTo>
                  <a:pt x="4288" y="2002"/>
                </a:lnTo>
                <a:lnTo>
                  <a:pt x="4286" y="1992"/>
                </a:lnTo>
                <a:lnTo>
                  <a:pt x="4290" y="1982"/>
                </a:lnTo>
                <a:lnTo>
                  <a:pt x="4294" y="1970"/>
                </a:lnTo>
                <a:lnTo>
                  <a:pt x="4298" y="1964"/>
                </a:lnTo>
                <a:lnTo>
                  <a:pt x="4298" y="1958"/>
                </a:lnTo>
                <a:lnTo>
                  <a:pt x="4298" y="1954"/>
                </a:lnTo>
                <a:lnTo>
                  <a:pt x="4296" y="1952"/>
                </a:lnTo>
                <a:lnTo>
                  <a:pt x="4290" y="1946"/>
                </a:lnTo>
                <a:lnTo>
                  <a:pt x="4282" y="1944"/>
                </a:lnTo>
                <a:lnTo>
                  <a:pt x="4274" y="1942"/>
                </a:lnTo>
                <a:lnTo>
                  <a:pt x="4268" y="1938"/>
                </a:lnTo>
                <a:lnTo>
                  <a:pt x="4266" y="1936"/>
                </a:lnTo>
                <a:lnTo>
                  <a:pt x="4266" y="1932"/>
                </a:lnTo>
                <a:lnTo>
                  <a:pt x="4268" y="1930"/>
                </a:lnTo>
                <a:lnTo>
                  <a:pt x="4270" y="1924"/>
                </a:lnTo>
                <a:lnTo>
                  <a:pt x="4274" y="1916"/>
                </a:lnTo>
                <a:lnTo>
                  <a:pt x="4274" y="1910"/>
                </a:lnTo>
                <a:lnTo>
                  <a:pt x="4270" y="1904"/>
                </a:lnTo>
                <a:lnTo>
                  <a:pt x="4266" y="1900"/>
                </a:lnTo>
                <a:lnTo>
                  <a:pt x="4258" y="1894"/>
                </a:lnTo>
                <a:lnTo>
                  <a:pt x="4252" y="1888"/>
                </a:lnTo>
                <a:lnTo>
                  <a:pt x="4248" y="1878"/>
                </a:lnTo>
                <a:lnTo>
                  <a:pt x="4244" y="1868"/>
                </a:lnTo>
                <a:lnTo>
                  <a:pt x="4240" y="1850"/>
                </a:lnTo>
                <a:lnTo>
                  <a:pt x="4238" y="1846"/>
                </a:lnTo>
                <a:lnTo>
                  <a:pt x="4236" y="1846"/>
                </a:lnTo>
                <a:lnTo>
                  <a:pt x="4230" y="1842"/>
                </a:lnTo>
                <a:lnTo>
                  <a:pt x="4228" y="1838"/>
                </a:lnTo>
                <a:lnTo>
                  <a:pt x="4226" y="1830"/>
                </a:lnTo>
                <a:lnTo>
                  <a:pt x="4222" y="1822"/>
                </a:lnTo>
                <a:lnTo>
                  <a:pt x="4220" y="1818"/>
                </a:lnTo>
                <a:lnTo>
                  <a:pt x="4212" y="1810"/>
                </a:lnTo>
                <a:lnTo>
                  <a:pt x="4206" y="1806"/>
                </a:lnTo>
                <a:lnTo>
                  <a:pt x="4200" y="1800"/>
                </a:lnTo>
                <a:lnTo>
                  <a:pt x="4194" y="1792"/>
                </a:lnTo>
                <a:lnTo>
                  <a:pt x="4188" y="1778"/>
                </a:lnTo>
                <a:lnTo>
                  <a:pt x="4180" y="1764"/>
                </a:lnTo>
                <a:lnTo>
                  <a:pt x="4174" y="1756"/>
                </a:lnTo>
                <a:lnTo>
                  <a:pt x="4168" y="1752"/>
                </a:lnTo>
                <a:lnTo>
                  <a:pt x="4164" y="1752"/>
                </a:lnTo>
                <a:lnTo>
                  <a:pt x="4158" y="1754"/>
                </a:lnTo>
                <a:lnTo>
                  <a:pt x="4154" y="1760"/>
                </a:lnTo>
                <a:lnTo>
                  <a:pt x="4140" y="1776"/>
                </a:lnTo>
                <a:lnTo>
                  <a:pt x="4132" y="1786"/>
                </a:lnTo>
                <a:lnTo>
                  <a:pt x="4128" y="1800"/>
                </a:lnTo>
                <a:lnTo>
                  <a:pt x="4124" y="1824"/>
                </a:lnTo>
                <a:lnTo>
                  <a:pt x="4122" y="1834"/>
                </a:lnTo>
                <a:lnTo>
                  <a:pt x="4116" y="1842"/>
                </a:lnTo>
                <a:lnTo>
                  <a:pt x="4114" y="1844"/>
                </a:lnTo>
                <a:lnTo>
                  <a:pt x="4110" y="1846"/>
                </a:lnTo>
                <a:lnTo>
                  <a:pt x="4106" y="1846"/>
                </a:lnTo>
                <a:lnTo>
                  <a:pt x="4100" y="1846"/>
                </a:lnTo>
                <a:lnTo>
                  <a:pt x="4090" y="1844"/>
                </a:lnTo>
                <a:lnTo>
                  <a:pt x="4086" y="1844"/>
                </a:lnTo>
                <a:lnTo>
                  <a:pt x="4084" y="1846"/>
                </a:lnTo>
                <a:lnTo>
                  <a:pt x="4084" y="1852"/>
                </a:lnTo>
                <a:lnTo>
                  <a:pt x="4084" y="1856"/>
                </a:lnTo>
                <a:lnTo>
                  <a:pt x="4080" y="1862"/>
                </a:lnTo>
                <a:lnTo>
                  <a:pt x="4074" y="1868"/>
                </a:lnTo>
                <a:lnTo>
                  <a:pt x="4062" y="1874"/>
                </a:lnTo>
                <a:lnTo>
                  <a:pt x="4048" y="1876"/>
                </a:lnTo>
                <a:lnTo>
                  <a:pt x="4038" y="1874"/>
                </a:lnTo>
                <a:lnTo>
                  <a:pt x="4030" y="1868"/>
                </a:lnTo>
                <a:lnTo>
                  <a:pt x="4024" y="1862"/>
                </a:lnTo>
                <a:lnTo>
                  <a:pt x="4018" y="1854"/>
                </a:lnTo>
                <a:lnTo>
                  <a:pt x="4012" y="1846"/>
                </a:lnTo>
                <a:lnTo>
                  <a:pt x="4002" y="1842"/>
                </a:lnTo>
                <a:lnTo>
                  <a:pt x="3988" y="1840"/>
                </a:lnTo>
                <a:lnTo>
                  <a:pt x="3978" y="1840"/>
                </a:lnTo>
                <a:lnTo>
                  <a:pt x="3972" y="1838"/>
                </a:lnTo>
                <a:lnTo>
                  <a:pt x="3970" y="1836"/>
                </a:lnTo>
                <a:lnTo>
                  <a:pt x="3972" y="1832"/>
                </a:lnTo>
                <a:lnTo>
                  <a:pt x="3974" y="1828"/>
                </a:lnTo>
                <a:lnTo>
                  <a:pt x="3976" y="1824"/>
                </a:lnTo>
                <a:lnTo>
                  <a:pt x="3974" y="1818"/>
                </a:lnTo>
                <a:lnTo>
                  <a:pt x="3970" y="1814"/>
                </a:lnTo>
                <a:lnTo>
                  <a:pt x="3964" y="1810"/>
                </a:lnTo>
                <a:lnTo>
                  <a:pt x="3960" y="1806"/>
                </a:lnTo>
                <a:lnTo>
                  <a:pt x="3962" y="1802"/>
                </a:lnTo>
                <a:lnTo>
                  <a:pt x="3964" y="1798"/>
                </a:lnTo>
                <a:lnTo>
                  <a:pt x="3966" y="1794"/>
                </a:lnTo>
                <a:lnTo>
                  <a:pt x="3968" y="1790"/>
                </a:lnTo>
                <a:lnTo>
                  <a:pt x="3968" y="1782"/>
                </a:lnTo>
                <a:lnTo>
                  <a:pt x="3964" y="1774"/>
                </a:lnTo>
                <a:lnTo>
                  <a:pt x="3960" y="1764"/>
                </a:lnTo>
                <a:lnTo>
                  <a:pt x="3960" y="1752"/>
                </a:lnTo>
                <a:lnTo>
                  <a:pt x="3962" y="1742"/>
                </a:lnTo>
                <a:lnTo>
                  <a:pt x="3966" y="1732"/>
                </a:lnTo>
                <a:lnTo>
                  <a:pt x="3974" y="1716"/>
                </a:lnTo>
                <a:lnTo>
                  <a:pt x="3976" y="1708"/>
                </a:lnTo>
                <a:lnTo>
                  <a:pt x="3974" y="1702"/>
                </a:lnTo>
                <a:lnTo>
                  <a:pt x="3968" y="1698"/>
                </a:lnTo>
                <a:lnTo>
                  <a:pt x="3964" y="1698"/>
                </a:lnTo>
                <a:lnTo>
                  <a:pt x="3962" y="1700"/>
                </a:lnTo>
                <a:lnTo>
                  <a:pt x="3958" y="1702"/>
                </a:lnTo>
                <a:lnTo>
                  <a:pt x="3954" y="1710"/>
                </a:lnTo>
                <a:lnTo>
                  <a:pt x="3952" y="1712"/>
                </a:lnTo>
                <a:lnTo>
                  <a:pt x="3950" y="1708"/>
                </a:lnTo>
                <a:lnTo>
                  <a:pt x="3946" y="1704"/>
                </a:lnTo>
                <a:lnTo>
                  <a:pt x="3936" y="1702"/>
                </a:lnTo>
                <a:lnTo>
                  <a:pt x="3914" y="1696"/>
                </a:lnTo>
                <a:lnTo>
                  <a:pt x="3904" y="1692"/>
                </a:lnTo>
                <a:lnTo>
                  <a:pt x="3894" y="1688"/>
                </a:lnTo>
                <a:lnTo>
                  <a:pt x="3888" y="1682"/>
                </a:lnTo>
                <a:lnTo>
                  <a:pt x="3886" y="1680"/>
                </a:lnTo>
                <a:lnTo>
                  <a:pt x="3886" y="1676"/>
                </a:lnTo>
                <a:lnTo>
                  <a:pt x="3886" y="1668"/>
                </a:lnTo>
                <a:lnTo>
                  <a:pt x="3884" y="1662"/>
                </a:lnTo>
                <a:lnTo>
                  <a:pt x="3878" y="1656"/>
                </a:lnTo>
                <a:lnTo>
                  <a:pt x="3870" y="1650"/>
                </a:lnTo>
                <a:lnTo>
                  <a:pt x="3826" y="1620"/>
                </a:lnTo>
                <a:lnTo>
                  <a:pt x="3808" y="1608"/>
                </a:lnTo>
                <a:lnTo>
                  <a:pt x="3800" y="1606"/>
                </a:lnTo>
                <a:lnTo>
                  <a:pt x="3796" y="1606"/>
                </a:lnTo>
                <a:lnTo>
                  <a:pt x="3792" y="1608"/>
                </a:lnTo>
                <a:lnTo>
                  <a:pt x="3788" y="1610"/>
                </a:lnTo>
                <a:lnTo>
                  <a:pt x="3780" y="1616"/>
                </a:lnTo>
                <a:lnTo>
                  <a:pt x="3776" y="1620"/>
                </a:lnTo>
                <a:lnTo>
                  <a:pt x="3768" y="1622"/>
                </a:lnTo>
                <a:lnTo>
                  <a:pt x="3760" y="1624"/>
                </a:lnTo>
                <a:lnTo>
                  <a:pt x="3750" y="1624"/>
                </a:lnTo>
                <a:lnTo>
                  <a:pt x="3736" y="1624"/>
                </a:lnTo>
                <a:lnTo>
                  <a:pt x="3720" y="1620"/>
                </a:lnTo>
                <a:lnTo>
                  <a:pt x="3700" y="1614"/>
                </a:lnTo>
                <a:lnTo>
                  <a:pt x="3676" y="1604"/>
                </a:lnTo>
                <a:lnTo>
                  <a:pt x="3666" y="1600"/>
                </a:lnTo>
                <a:lnTo>
                  <a:pt x="3656" y="1600"/>
                </a:lnTo>
                <a:lnTo>
                  <a:pt x="3648" y="1600"/>
                </a:lnTo>
                <a:lnTo>
                  <a:pt x="3642" y="1600"/>
                </a:lnTo>
                <a:lnTo>
                  <a:pt x="3636" y="1604"/>
                </a:lnTo>
                <a:lnTo>
                  <a:pt x="3632" y="1606"/>
                </a:lnTo>
                <a:lnTo>
                  <a:pt x="3626" y="1616"/>
                </a:lnTo>
                <a:lnTo>
                  <a:pt x="3622" y="1628"/>
                </a:lnTo>
                <a:lnTo>
                  <a:pt x="3624" y="1640"/>
                </a:lnTo>
                <a:lnTo>
                  <a:pt x="3626" y="1652"/>
                </a:lnTo>
                <a:lnTo>
                  <a:pt x="3630" y="1658"/>
                </a:lnTo>
                <a:lnTo>
                  <a:pt x="3634" y="1664"/>
                </a:lnTo>
                <a:lnTo>
                  <a:pt x="3636" y="1672"/>
                </a:lnTo>
                <a:lnTo>
                  <a:pt x="3638" y="1678"/>
                </a:lnTo>
                <a:lnTo>
                  <a:pt x="3638" y="1686"/>
                </a:lnTo>
                <a:lnTo>
                  <a:pt x="3634" y="1700"/>
                </a:lnTo>
                <a:lnTo>
                  <a:pt x="3626" y="1712"/>
                </a:lnTo>
                <a:lnTo>
                  <a:pt x="3624" y="1716"/>
                </a:lnTo>
                <a:lnTo>
                  <a:pt x="3622" y="1718"/>
                </a:lnTo>
                <a:lnTo>
                  <a:pt x="3624" y="1722"/>
                </a:lnTo>
                <a:lnTo>
                  <a:pt x="3626" y="1724"/>
                </a:lnTo>
                <a:lnTo>
                  <a:pt x="3634" y="1734"/>
                </a:lnTo>
                <a:lnTo>
                  <a:pt x="3640" y="1742"/>
                </a:lnTo>
                <a:lnTo>
                  <a:pt x="3644" y="1752"/>
                </a:lnTo>
                <a:lnTo>
                  <a:pt x="3648" y="1764"/>
                </a:lnTo>
                <a:lnTo>
                  <a:pt x="3650" y="1772"/>
                </a:lnTo>
                <a:lnTo>
                  <a:pt x="3650" y="1778"/>
                </a:lnTo>
                <a:lnTo>
                  <a:pt x="3648" y="1784"/>
                </a:lnTo>
                <a:lnTo>
                  <a:pt x="3642" y="1794"/>
                </a:lnTo>
                <a:lnTo>
                  <a:pt x="3636" y="1808"/>
                </a:lnTo>
                <a:lnTo>
                  <a:pt x="3634" y="1816"/>
                </a:lnTo>
                <a:lnTo>
                  <a:pt x="3630" y="1822"/>
                </a:lnTo>
                <a:lnTo>
                  <a:pt x="3620" y="1828"/>
                </a:lnTo>
                <a:lnTo>
                  <a:pt x="3616" y="1830"/>
                </a:lnTo>
                <a:lnTo>
                  <a:pt x="3612" y="1834"/>
                </a:lnTo>
                <a:lnTo>
                  <a:pt x="3610" y="1840"/>
                </a:lnTo>
                <a:lnTo>
                  <a:pt x="3608" y="1850"/>
                </a:lnTo>
                <a:lnTo>
                  <a:pt x="3608" y="1854"/>
                </a:lnTo>
                <a:lnTo>
                  <a:pt x="3608" y="1858"/>
                </a:lnTo>
                <a:lnTo>
                  <a:pt x="3614" y="1866"/>
                </a:lnTo>
                <a:lnTo>
                  <a:pt x="3624" y="1872"/>
                </a:lnTo>
                <a:lnTo>
                  <a:pt x="3634" y="1880"/>
                </a:lnTo>
                <a:lnTo>
                  <a:pt x="3648" y="1890"/>
                </a:lnTo>
                <a:lnTo>
                  <a:pt x="3660" y="1902"/>
                </a:lnTo>
                <a:lnTo>
                  <a:pt x="3668" y="1912"/>
                </a:lnTo>
                <a:lnTo>
                  <a:pt x="3674" y="1922"/>
                </a:lnTo>
                <a:lnTo>
                  <a:pt x="3678" y="1934"/>
                </a:lnTo>
                <a:lnTo>
                  <a:pt x="3684" y="1950"/>
                </a:lnTo>
                <a:lnTo>
                  <a:pt x="3686" y="1964"/>
                </a:lnTo>
                <a:lnTo>
                  <a:pt x="3688" y="1978"/>
                </a:lnTo>
                <a:lnTo>
                  <a:pt x="3688" y="1992"/>
                </a:lnTo>
                <a:lnTo>
                  <a:pt x="3684" y="2004"/>
                </a:lnTo>
                <a:lnTo>
                  <a:pt x="3680" y="2016"/>
                </a:lnTo>
                <a:lnTo>
                  <a:pt x="3676" y="2028"/>
                </a:lnTo>
                <a:lnTo>
                  <a:pt x="3668" y="2038"/>
                </a:lnTo>
                <a:lnTo>
                  <a:pt x="3660" y="2048"/>
                </a:lnTo>
                <a:lnTo>
                  <a:pt x="3644" y="2064"/>
                </a:lnTo>
                <a:lnTo>
                  <a:pt x="3624" y="2078"/>
                </a:lnTo>
                <a:lnTo>
                  <a:pt x="3604" y="2090"/>
                </a:lnTo>
                <a:lnTo>
                  <a:pt x="3584" y="2098"/>
                </a:lnTo>
                <a:lnTo>
                  <a:pt x="3570" y="2104"/>
                </a:lnTo>
                <a:lnTo>
                  <a:pt x="3564" y="2110"/>
                </a:lnTo>
                <a:lnTo>
                  <a:pt x="3562" y="2114"/>
                </a:lnTo>
                <a:lnTo>
                  <a:pt x="3562" y="2116"/>
                </a:lnTo>
                <a:lnTo>
                  <a:pt x="3566" y="2122"/>
                </a:lnTo>
                <a:lnTo>
                  <a:pt x="3572" y="2130"/>
                </a:lnTo>
                <a:lnTo>
                  <a:pt x="3578" y="2140"/>
                </a:lnTo>
                <a:lnTo>
                  <a:pt x="3584" y="2152"/>
                </a:lnTo>
                <a:lnTo>
                  <a:pt x="3584" y="2160"/>
                </a:lnTo>
                <a:lnTo>
                  <a:pt x="3584" y="2168"/>
                </a:lnTo>
                <a:lnTo>
                  <a:pt x="3586" y="2184"/>
                </a:lnTo>
                <a:lnTo>
                  <a:pt x="3590" y="2198"/>
                </a:lnTo>
                <a:lnTo>
                  <a:pt x="3600" y="2228"/>
                </a:lnTo>
                <a:lnTo>
                  <a:pt x="3604" y="2242"/>
                </a:lnTo>
                <a:lnTo>
                  <a:pt x="3604" y="2254"/>
                </a:lnTo>
                <a:lnTo>
                  <a:pt x="3604" y="2264"/>
                </a:lnTo>
                <a:lnTo>
                  <a:pt x="3602" y="2266"/>
                </a:lnTo>
                <a:lnTo>
                  <a:pt x="3598" y="2270"/>
                </a:lnTo>
                <a:lnTo>
                  <a:pt x="3594" y="2272"/>
                </a:lnTo>
                <a:lnTo>
                  <a:pt x="3592" y="2276"/>
                </a:lnTo>
                <a:lnTo>
                  <a:pt x="3590" y="2282"/>
                </a:lnTo>
                <a:lnTo>
                  <a:pt x="3592" y="2290"/>
                </a:lnTo>
                <a:lnTo>
                  <a:pt x="3594" y="2298"/>
                </a:lnTo>
                <a:lnTo>
                  <a:pt x="3596" y="2302"/>
                </a:lnTo>
                <a:lnTo>
                  <a:pt x="3596" y="2304"/>
                </a:lnTo>
                <a:lnTo>
                  <a:pt x="3590" y="2304"/>
                </a:lnTo>
                <a:lnTo>
                  <a:pt x="3582" y="2298"/>
                </a:lnTo>
                <a:lnTo>
                  <a:pt x="3570" y="2294"/>
                </a:lnTo>
                <a:lnTo>
                  <a:pt x="3568" y="2294"/>
                </a:lnTo>
                <a:lnTo>
                  <a:pt x="3566" y="2296"/>
                </a:lnTo>
                <a:lnTo>
                  <a:pt x="3564" y="2302"/>
                </a:lnTo>
                <a:lnTo>
                  <a:pt x="3562" y="2308"/>
                </a:lnTo>
                <a:lnTo>
                  <a:pt x="3562" y="2316"/>
                </a:lnTo>
                <a:lnTo>
                  <a:pt x="3560" y="2322"/>
                </a:lnTo>
                <a:lnTo>
                  <a:pt x="3558" y="2322"/>
                </a:lnTo>
                <a:lnTo>
                  <a:pt x="3554" y="2324"/>
                </a:lnTo>
                <a:lnTo>
                  <a:pt x="3546" y="2318"/>
                </a:lnTo>
                <a:lnTo>
                  <a:pt x="3536" y="2312"/>
                </a:lnTo>
                <a:lnTo>
                  <a:pt x="3530" y="2306"/>
                </a:lnTo>
                <a:lnTo>
                  <a:pt x="3522" y="2292"/>
                </a:lnTo>
                <a:lnTo>
                  <a:pt x="3516" y="2282"/>
                </a:lnTo>
                <a:lnTo>
                  <a:pt x="3508" y="2270"/>
                </a:lnTo>
                <a:lnTo>
                  <a:pt x="3494" y="2256"/>
                </a:lnTo>
                <a:lnTo>
                  <a:pt x="3474" y="2238"/>
                </a:lnTo>
                <a:lnTo>
                  <a:pt x="3464" y="2226"/>
                </a:lnTo>
                <a:lnTo>
                  <a:pt x="3458" y="2216"/>
                </a:lnTo>
                <a:lnTo>
                  <a:pt x="3456" y="2204"/>
                </a:lnTo>
                <a:lnTo>
                  <a:pt x="3456" y="2194"/>
                </a:lnTo>
                <a:lnTo>
                  <a:pt x="3458" y="2172"/>
                </a:lnTo>
                <a:lnTo>
                  <a:pt x="3456" y="2160"/>
                </a:lnTo>
                <a:lnTo>
                  <a:pt x="3454" y="2148"/>
                </a:lnTo>
                <a:lnTo>
                  <a:pt x="3450" y="2134"/>
                </a:lnTo>
                <a:lnTo>
                  <a:pt x="3452" y="2122"/>
                </a:lnTo>
                <a:lnTo>
                  <a:pt x="3454" y="2110"/>
                </a:lnTo>
                <a:lnTo>
                  <a:pt x="3456" y="2102"/>
                </a:lnTo>
                <a:lnTo>
                  <a:pt x="3458" y="2094"/>
                </a:lnTo>
                <a:lnTo>
                  <a:pt x="3456" y="2088"/>
                </a:lnTo>
                <a:lnTo>
                  <a:pt x="3452" y="2082"/>
                </a:lnTo>
                <a:lnTo>
                  <a:pt x="3440" y="2078"/>
                </a:lnTo>
                <a:lnTo>
                  <a:pt x="3414" y="2072"/>
                </a:lnTo>
                <a:lnTo>
                  <a:pt x="3394" y="2070"/>
                </a:lnTo>
                <a:lnTo>
                  <a:pt x="3378" y="2070"/>
                </a:lnTo>
                <a:lnTo>
                  <a:pt x="3368" y="2070"/>
                </a:lnTo>
                <a:lnTo>
                  <a:pt x="3354" y="2072"/>
                </a:lnTo>
                <a:lnTo>
                  <a:pt x="3348" y="2072"/>
                </a:lnTo>
                <a:lnTo>
                  <a:pt x="3340" y="2070"/>
                </a:lnTo>
                <a:lnTo>
                  <a:pt x="3334" y="2068"/>
                </a:lnTo>
                <a:lnTo>
                  <a:pt x="3330" y="2064"/>
                </a:lnTo>
                <a:lnTo>
                  <a:pt x="3322" y="2054"/>
                </a:lnTo>
                <a:lnTo>
                  <a:pt x="3316" y="2050"/>
                </a:lnTo>
                <a:lnTo>
                  <a:pt x="3306" y="2044"/>
                </a:lnTo>
                <a:lnTo>
                  <a:pt x="3290" y="2038"/>
                </a:lnTo>
                <a:lnTo>
                  <a:pt x="3268" y="2030"/>
                </a:lnTo>
                <a:lnTo>
                  <a:pt x="3248" y="2024"/>
                </a:lnTo>
                <a:lnTo>
                  <a:pt x="3236" y="2018"/>
                </a:lnTo>
                <a:lnTo>
                  <a:pt x="3232" y="2012"/>
                </a:lnTo>
                <a:lnTo>
                  <a:pt x="3230" y="2004"/>
                </a:lnTo>
                <a:lnTo>
                  <a:pt x="3226" y="1996"/>
                </a:lnTo>
                <a:lnTo>
                  <a:pt x="3216" y="1988"/>
                </a:lnTo>
                <a:lnTo>
                  <a:pt x="3198" y="1976"/>
                </a:lnTo>
                <a:lnTo>
                  <a:pt x="3166" y="1962"/>
                </a:lnTo>
                <a:lnTo>
                  <a:pt x="3146" y="1956"/>
                </a:lnTo>
                <a:lnTo>
                  <a:pt x="3130" y="1952"/>
                </a:lnTo>
                <a:lnTo>
                  <a:pt x="3114" y="1950"/>
                </a:lnTo>
                <a:lnTo>
                  <a:pt x="3102" y="1950"/>
                </a:lnTo>
                <a:lnTo>
                  <a:pt x="3090" y="1950"/>
                </a:lnTo>
                <a:lnTo>
                  <a:pt x="3080" y="1952"/>
                </a:lnTo>
                <a:lnTo>
                  <a:pt x="3064" y="1958"/>
                </a:lnTo>
                <a:lnTo>
                  <a:pt x="3052" y="1964"/>
                </a:lnTo>
                <a:lnTo>
                  <a:pt x="3046" y="1966"/>
                </a:lnTo>
                <a:lnTo>
                  <a:pt x="3044" y="1966"/>
                </a:lnTo>
                <a:lnTo>
                  <a:pt x="3042" y="1962"/>
                </a:lnTo>
                <a:lnTo>
                  <a:pt x="3040" y="1948"/>
                </a:lnTo>
                <a:lnTo>
                  <a:pt x="3040" y="1930"/>
                </a:lnTo>
                <a:lnTo>
                  <a:pt x="3038" y="1918"/>
                </a:lnTo>
                <a:lnTo>
                  <a:pt x="3032" y="1902"/>
                </a:lnTo>
                <a:lnTo>
                  <a:pt x="3026" y="1888"/>
                </a:lnTo>
                <a:lnTo>
                  <a:pt x="3024" y="1878"/>
                </a:lnTo>
                <a:lnTo>
                  <a:pt x="3020" y="1866"/>
                </a:lnTo>
                <a:lnTo>
                  <a:pt x="3020" y="1860"/>
                </a:lnTo>
                <a:lnTo>
                  <a:pt x="3016" y="1856"/>
                </a:lnTo>
                <a:lnTo>
                  <a:pt x="3012" y="1854"/>
                </a:lnTo>
                <a:lnTo>
                  <a:pt x="3008" y="1852"/>
                </a:lnTo>
                <a:lnTo>
                  <a:pt x="2998" y="1852"/>
                </a:lnTo>
                <a:lnTo>
                  <a:pt x="2986" y="1852"/>
                </a:lnTo>
                <a:lnTo>
                  <a:pt x="2974" y="1850"/>
                </a:lnTo>
                <a:lnTo>
                  <a:pt x="2968" y="1846"/>
                </a:lnTo>
                <a:lnTo>
                  <a:pt x="2964" y="1844"/>
                </a:lnTo>
                <a:lnTo>
                  <a:pt x="2958" y="1838"/>
                </a:lnTo>
                <a:lnTo>
                  <a:pt x="2954" y="1830"/>
                </a:lnTo>
                <a:lnTo>
                  <a:pt x="2952" y="1820"/>
                </a:lnTo>
                <a:lnTo>
                  <a:pt x="2948" y="1808"/>
                </a:lnTo>
                <a:lnTo>
                  <a:pt x="2948" y="1794"/>
                </a:lnTo>
                <a:lnTo>
                  <a:pt x="2950" y="1778"/>
                </a:lnTo>
                <a:lnTo>
                  <a:pt x="2952" y="1764"/>
                </a:lnTo>
                <a:lnTo>
                  <a:pt x="2956" y="1748"/>
                </a:lnTo>
                <a:lnTo>
                  <a:pt x="2968" y="1718"/>
                </a:lnTo>
                <a:lnTo>
                  <a:pt x="2982" y="1688"/>
                </a:lnTo>
                <a:lnTo>
                  <a:pt x="2998" y="1664"/>
                </a:lnTo>
                <a:lnTo>
                  <a:pt x="3014" y="1644"/>
                </a:lnTo>
                <a:lnTo>
                  <a:pt x="3026" y="1632"/>
                </a:lnTo>
                <a:lnTo>
                  <a:pt x="3032" y="1630"/>
                </a:lnTo>
                <a:lnTo>
                  <a:pt x="3034" y="1628"/>
                </a:lnTo>
                <a:lnTo>
                  <a:pt x="3040" y="1628"/>
                </a:lnTo>
                <a:lnTo>
                  <a:pt x="3042" y="1624"/>
                </a:lnTo>
                <a:lnTo>
                  <a:pt x="3046" y="1610"/>
                </a:lnTo>
                <a:lnTo>
                  <a:pt x="3048" y="1602"/>
                </a:lnTo>
                <a:lnTo>
                  <a:pt x="3052" y="1594"/>
                </a:lnTo>
                <a:lnTo>
                  <a:pt x="3060" y="1588"/>
                </a:lnTo>
                <a:lnTo>
                  <a:pt x="3072" y="1586"/>
                </a:lnTo>
                <a:lnTo>
                  <a:pt x="3096" y="1582"/>
                </a:lnTo>
                <a:lnTo>
                  <a:pt x="3108" y="1580"/>
                </a:lnTo>
                <a:lnTo>
                  <a:pt x="3116" y="1576"/>
                </a:lnTo>
                <a:lnTo>
                  <a:pt x="3120" y="1570"/>
                </a:lnTo>
                <a:lnTo>
                  <a:pt x="3122" y="1562"/>
                </a:lnTo>
                <a:lnTo>
                  <a:pt x="3116" y="1554"/>
                </a:lnTo>
                <a:lnTo>
                  <a:pt x="3106" y="1544"/>
                </a:lnTo>
                <a:lnTo>
                  <a:pt x="3098" y="1536"/>
                </a:lnTo>
                <a:lnTo>
                  <a:pt x="3098" y="1532"/>
                </a:lnTo>
                <a:lnTo>
                  <a:pt x="3104" y="1530"/>
                </a:lnTo>
                <a:lnTo>
                  <a:pt x="3114" y="1530"/>
                </a:lnTo>
                <a:lnTo>
                  <a:pt x="3124" y="1528"/>
                </a:lnTo>
                <a:lnTo>
                  <a:pt x="3136" y="1526"/>
                </a:lnTo>
                <a:lnTo>
                  <a:pt x="3142" y="1524"/>
                </a:lnTo>
                <a:lnTo>
                  <a:pt x="3146" y="1520"/>
                </a:lnTo>
                <a:lnTo>
                  <a:pt x="3148" y="1514"/>
                </a:lnTo>
                <a:lnTo>
                  <a:pt x="3150" y="1508"/>
                </a:lnTo>
                <a:lnTo>
                  <a:pt x="3152" y="1502"/>
                </a:lnTo>
                <a:lnTo>
                  <a:pt x="3154" y="1498"/>
                </a:lnTo>
                <a:lnTo>
                  <a:pt x="3156" y="1496"/>
                </a:lnTo>
                <a:lnTo>
                  <a:pt x="3160" y="1496"/>
                </a:lnTo>
                <a:lnTo>
                  <a:pt x="3168" y="1500"/>
                </a:lnTo>
                <a:lnTo>
                  <a:pt x="3176" y="1506"/>
                </a:lnTo>
                <a:lnTo>
                  <a:pt x="3188" y="1510"/>
                </a:lnTo>
                <a:lnTo>
                  <a:pt x="3194" y="1510"/>
                </a:lnTo>
                <a:lnTo>
                  <a:pt x="3200" y="1510"/>
                </a:lnTo>
                <a:lnTo>
                  <a:pt x="3206" y="1506"/>
                </a:lnTo>
                <a:lnTo>
                  <a:pt x="3214" y="1502"/>
                </a:lnTo>
                <a:lnTo>
                  <a:pt x="3222" y="1494"/>
                </a:lnTo>
                <a:lnTo>
                  <a:pt x="3228" y="1482"/>
                </a:lnTo>
                <a:lnTo>
                  <a:pt x="3242" y="1460"/>
                </a:lnTo>
                <a:lnTo>
                  <a:pt x="3252" y="1446"/>
                </a:lnTo>
                <a:lnTo>
                  <a:pt x="3258" y="1436"/>
                </a:lnTo>
                <a:lnTo>
                  <a:pt x="3260" y="1430"/>
                </a:lnTo>
                <a:lnTo>
                  <a:pt x="3258" y="1428"/>
                </a:lnTo>
                <a:lnTo>
                  <a:pt x="3256" y="1428"/>
                </a:lnTo>
                <a:lnTo>
                  <a:pt x="3246" y="1426"/>
                </a:lnTo>
                <a:lnTo>
                  <a:pt x="3228" y="1422"/>
                </a:lnTo>
                <a:lnTo>
                  <a:pt x="3204" y="1418"/>
                </a:lnTo>
                <a:lnTo>
                  <a:pt x="3188" y="1414"/>
                </a:lnTo>
                <a:lnTo>
                  <a:pt x="3176" y="1408"/>
                </a:lnTo>
                <a:lnTo>
                  <a:pt x="3170" y="1404"/>
                </a:lnTo>
                <a:lnTo>
                  <a:pt x="3164" y="1400"/>
                </a:lnTo>
                <a:lnTo>
                  <a:pt x="3154" y="1390"/>
                </a:lnTo>
                <a:lnTo>
                  <a:pt x="3146" y="1384"/>
                </a:lnTo>
                <a:lnTo>
                  <a:pt x="3132" y="1378"/>
                </a:lnTo>
                <a:lnTo>
                  <a:pt x="3140" y="1376"/>
                </a:lnTo>
                <a:lnTo>
                  <a:pt x="3150" y="1376"/>
                </a:lnTo>
                <a:lnTo>
                  <a:pt x="3158" y="1378"/>
                </a:lnTo>
                <a:lnTo>
                  <a:pt x="3168" y="1382"/>
                </a:lnTo>
                <a:lnTo>
                  <a:pt x="3186" y="1392"/>
                </a:lnTo>
                <a:lnTo>
                  <a:pt x="3204" y="1400"/>
                </a:lnTo>
                <a:lnTo>
                  <a:pt x="3220" y="1410"/>
                </a:lnTo>
                <a:lnTo>
                  <a:pt x="3230" y="1412"/>
                </a:lnTo>
                <a:lnTo>
                  <a:pt x="3238" y="1414"/>
                </a:lnTo>
                <a:lnTo>
                  <a:pt x="3246" y="1412"/>
                </a:lnTo>
                <a:lnTo>
                  <a:pt x="3256" y="1410"/>
                </a:lnTo>
                <a:lnTo>
                  <a:pt x="3264" y="1406"/>
                </a:lnTo>
                <a:lnTo>
                  <a:pt x="3272" y="1398"/>
                </a:lnTo>
                <a:lnTo>
                  <a:pt x="3296" y="1372"/>
                </a:lnTo>
                <a:lnTo>
                  <a:pt x="3302" y="1366"/>
                </a:lnTo>
                <a:lnTo>
                  <a:pt x="3304" y="1360"/>
                </a:lnTo>
                <a:lnTo>
                  <a:pt x="3304" y="1356"/>
                </a:lnTo>
                <a:lnTo>
                  <a:pt x="3300" y="1352"/>
                </a:lnTo>
                <a:lnTo>
                  <a:pt x="3280" y="1340"/>
                </a:lnTo>
                <a:lnTo>
                  <a:pt x="3270" y="1334"/>
                </a:lnTo>
                <a:lnTo>
                  <a:pt x="3270" y="1332"/>
                </a:lnTo>
                <a:lnTo>
                  <a:pt x="3270" y="1330"/>
                </a:lnTo>
                <a:lnTo>
                  <a:pt x="3278" y="1326"/>
                </a:lnTo>
                <a:lnTo>
                  <a:pt x="3290" y="1326"/>
                </a:lnTo>
                <a:lnTo>
                  <a:pt x="3302" y="1328"/>
                </a:lnTo>
                <a:lnTo>
                  <a:pt x="3316" y="1330"/>
                </a:lnTo>
                <a:lnTo>
                  <a:pt x="3328" y="1334"/>
                </a:lnTo>
                <a:lnTo>
                  <a:pt x="3336" y="1340"/>
                </a:lnTo>
                <a:lnTo>
                  <a:pt x="3346" y="1348"/>
                </a:lnTo>
                <a:lnTo>
                  <a:pt x="3356" y="1358"/>
                </a:lnTo>
                <a:lnTo>
                  <a:pt x="3366" y="1366"/>
                </a:lnTo>
                <a:lnTo>
                  <a:pt x="3374" y="1376"/>
                </a:lnTo>
                <a:lnTo>
                  <a:pt x="3382" y="1386"/>
                </a:lnTo>
                <a:lnTo>
                  <a:pt x="3388" y="1392"/>
                </a:lnTo>
                <a:lnTo>
                  <a:pt x="3398" y="1394"/>
                </a:lnTo>
                <a:lnTo>
                  <a:pt x="3410" y="1390"/>
                </a:lnTo>
                <a:lnTo>
                  <a:pt x="3412" y="1390"/>
                </a:lnTo>
                <a:lnTo>
                  <a:pt x="3414" y="1388"/>
                </a:lnTo>
                <a:lnTo>
                  <a:pt x="3412" y="1384"/>
                </a:lnTo>
                <a:lnTo>
                  <a:pt x="3400" y="1376"/>
                </a:lnTo>
                <a:lnTo>
                  <a:pt x="3392" y="1370"/>
                </a:lnTo>
                <a:lnTo>
                  <a:pt x="3386" y="1366"/>
                </a:lnTo>
                <a:lnTo>
                  <a:pt x="3386" y="1362"/>
                </a:lnTo>
                <a:lnTo>
                  <a:pt x="3386" y="1360"/>
                </a:lnTo>
                <a:lnTo>
                  <a:pt x="3386" y="1358"/>
                </a:lnTo>
                <a:lnTo>
                  <a:pt x="3390" y="1356"/>
                </a:lnTo>
                <a:lnTo>
                  <a:pt x="3398" y="1352"/>
                </a:lnTo>
                <a:lnTo>
                  <a:pt x="3404" y="1346"/>
                </a:lnTo>
                <a:lnTo>
                  <a:pt x="3416" y="1336"/>
                </a:lnTo>
                <a:lnTo>
                  <a:pt x="3426" y="1328"/>
                </a:lnTo>
                <a:lnTo>
                  <a:pt x="3432" y="1326"/>
                </a:lnTo>
                <a:lnTo>
                  <a:pt x="3438" y="1326"/>
                </a:lnTo>
                <a:lnTo>
                  <a:pt x="3446" y="1326"/>
                </a:lnTo>
                <a:lnTo>
                  <a:pt x="3450" y="1322"/>
                </a:lnTo>
                <a:lnTo>
                  <a:pt x="3456" y="1318"/>
                </a:lnTo>
                <a:lnTo>
                  <a:pt x="3460" y="1314"/>
                </a:lnTo>
                <a:lnTo>
                  <a:pt x="3468" y="1304"/>
                </a:lnTo>
                <a:lnTo>
                  <a:pt x="3474" y="1300"/>
                </a:lnTo>
                <a:lnTo>
                  <a:pt x="3480" y="1298"/>
                </a:lnTo>
                <a:lnTo>
                  <a:pt x="3486" y="1296"/>
                </a:lnTo>
                <a:lnTo>
                  <a:pt x="3490" y="1294"/>
                </a:lnTo>
                <a:lnTo>
                  <a:pt x="3492" y="1288"/>
                </a:lnTo>
                <a:lnTo>
                  <a:pt x="3494" y="1280"/>
                </a:lnTo>
                <a:lnTo>
                  <a:pt x="3494" y="1274"/>
                </a:lnTo>
                <a:lnTo>
                  <a:pt x="3490" y="1264"/>
                </a:lnTo>
                <a:lnTo>
                  <a:pt x="3482" y="1254"/>
                </a:lnTo>
                <a:lnTo>
                  <a:pt x="3472" y="1246"/>
                </a:lnTo>
                <a:lnTo>
                  <a:pt x="3464" y="1238"/>
                </a:lnTo>
                <a:lnTo>
                  <a:pt x="3460" y="1232"/>
                </a:lnTo>
                <a:lnTo>
                  <a:pt x="3460" y="1226"/>
                </a:lnTo>
                <a:lnTo>
                  <a:pt x="3462" y="1224"/>
                </a:lnTo>
                <a:lnTo>
                  <a:pt x="3466" y="1220"/>
                </a:lnTo>
                <a:lnTo>
                  <a:pt x="3466" y="1216"/>
                </a:lnTo>
                <a:lnTo>
                  <a:pt x="3464" y="1212"/>
                </a:lnTo>
                <a:lnTo>
                  <a:pt x="3458" y="1206"/>
                </a:lnTo>
                <a:lnTo>
                  <a:pt x="3452" y="1200"/>
                </a:lnTo>
                <a:lnTo>
                  <a:pt x="3452" y="1198"/>
                </a:lnTo>
                <a:lnTo>
                  <a:pt x="3454" y="1196"/>
                </a:lnTo>
                <a:lnTo>
                  <a:pt x="3458" y="1196"/>
                </a:lnTo>
                <a:lnTo>
                  <a:pt x="3466" y="1196"/>
                </a:lnTo>
                <a:lnTo>
                  <a:pt x="3476" y="1196"/>
                </a:lnTo>
                <a:lnTo>
                  <a:pt x="3484" y="1194"/>
                </a:lnTo>
                <a:lnTo>
                  <a:pt x="3492" y="1190"/>
                </a:lnTo>
                <a:lnTo>
                  <a:pt x="3496" y="1186"/>
                </a:lnTo>
                <a:lnTo>
                  <a:pt x="3496" y="1182"/>
                </a:lnTo>
                <a:lnTo>
                  <a:pt x="3498" y="1174"/>
                </a:lnTo>
                <a:lnTo>
                  <a:pt x="3496" y="1170"/>
                </a:lnTo>
                <a:lnTo>
                  <a:pt x="3492" y="1166"/>
                </a:lnTo>
                <a:lnTo>
                  <a:pt x="3490" y="1164"/>
                </a:lnTo>
                <a:lnTo>
                  <a:pt x="3486" y="1164"/>
                </a:lnTo>
                <a:lnTo>
                  <a:pt x="3484" y="1162"/>
                </a:lnTo>
                <a:lnTo>
                  <a:pt x="3486" y="1158"/>
                </a:lnTo>
                <a:lnTo>
                  <a:pt x="3490" y="1152"/>
                </a:lnTo>
                <a:lnTo>
                  <a:pt x="3494" y="1146"/>
                </a:lnTo>
                <a:lnTo>
                  <a:pt x="3492" y="1142"/>
                </a:lnTo>
                <a:lnTo>
                  <a:pt x="3488" y="1140"/>
                </a:lnTo>
                <a:lnTo>
                  <a:pt x="3480" y="1140"/>
                </a:lnTo>
                <a:lnTo>
                  <a:pt x="3472" y="1138"/>
                </a:lnTo>
                <a:lnTo>
                  <a:pt x="3466" y="1136"/>
                </a:lnTo>
                <a:lnTo>
                  <a:pt x="3458" y="1130"/>
                </a:lnTo>
                <a:lnTo>
                  <a:pt x="3456" y="1122"/>
                </a:lnTo>
                <a:lnTo>
                  <a:pt x="3452" y="1114"/>
                </a:lnTo>
                <a:lnTo>
                  <a:pt x="3446" y="1110"/>
                </a:lnTo>
                <a:lnTo>
                  <a:pt x="3438" y="1108"/>
                </a:lnTo>
                <a:lnTo>
                  <a:pt x="3428" y="1106"/>
                </a:lnTo>
                <a:lnTo>
                  <a:pt x="3406" y="1106"/>
                </a:lnTo>
                <a:lnTo>
                  <a:pt x="3392" y="1104"/>
                </a:lnTo>
                <a:lnTo>
                  <a:pt x="3378" y="1098"/>
                </a:lnTo>
                <a:lnTo>
                  <a:pt x="3362" y="1090"/>
                </a:lnTo>
                <a:lnTo>
                  <a:pt x="3358" y="1090"/>
                </a:lnTo>
                <a:lnTo>
                  <a:pt x="3354" y="1092"/>
                </a:lnTo>
                <a:lnTo>
                  <a:pt x="3348" y="1096"/>
                </a:lnTo>
                <a:lnTo>
                  <a:pt x="3344" y="1096"/>
                </a:lnTo>
                <a:lnTo>
                  <a:pt x="3334" y="1098"/>
                </a:lnTo>
                <a:lnTo>
                  <a:pt x="3326" y="1098"/>
                </a:lnTo>
                <a:lnTo>
                  <a:pt x="3320" y="1104"/>
                </a:lnTo>
                <a:lnTo>
                  <a:pt x="3318" y="1112"/>
                </a:lnTo>
                <a:lnTo>
                  <a:pt x="3318" y="1120"/>
                </a:lnTo>
                <a:lnTo>
                  <a:pt x="3322" y="1130"/>
                </a:lnTo>
                <a:lnTo>
                  <a:pt x="3326" y="1138"/>
                </a:lnTo>
                <a:lnTo>
                  <a:pt x="3332" y="1144"/>
                </a:lnTo>
                <a:lnTo>
                  <a:pt x="3338" y="1150"/>
                </a:lnTo>
                <a:lnTo>
                  <a:pt x="3344" y="1152"/>
                </a:lnTo>
                <a:lnTo>
                  <a:pt x="3346" y="1156"/>
                </a:lnTo>
                <a:lnTo>
                  <a:pt x="3346" y="1160"/>
                </a:lnTo>
                <a:lnTo>
                  <a:pt x="3346" y="1166"/>
                </a:lnTo>
                <a:lnTo>
                  <a:pt x="3342" y="1170"/>
                </a:lnTo>
                <a:lnTo>
                  <a:pt x="3338" y="1172"/>
                </a:lnTo>
                <a:lnTo>
                  <a:pt x="3334" y="1174"/>
                </a:lnTo>
                <a:lnTo>
                  <a:pt x="3328" y="1174"/>
                </a:lnTo>
                <a:lnTo>
                  <a:pt x="3322" y="1174"/>
                </a:lnTo>
                <a:lnTo>
                  <a:pt x="3320" y="1180"/>
                </a:lnTo>
                <a:lnTo>
                  <a:pt x="3320" y="1196"/>
                </a:lnTo>
                <a:lnTo>
                  <a:pt x="3318" y="1206"/>
                </a:lnTo>
                <a:lnTo>
                  <a:pt x="3316" y="1216"/>
                </a:lnTo>
                <a:lnTo>
                  <a:pt x="3310" y="1226"/>
                </a:lnTo>
                <a:lnTo>
                  <a:pt x="3302" y="1234"/>
                </a:lnTo>
                <a:lnTo>
                  <a:pt x="3292" y="1242"/>
                </a:lnTo>
                <a:lnTo>
                  <a:pt x="3286" y="1248"/>
                </a:lnTo>
                <a:lnTo>
                  <a:pt x="3284" y="1256"/>
                </a:lnTo>
                <a:lnTo>
                  <a:pt x="3282" y="1262"/>
                </a:lnTo>
                <a:lnTo>
                  <a:pt x="3282" y="1268"/>
                </a:lnTo>
                <a:lnTo>
                  <a:pt x="3278" y="1272"/>
                </a:lnTo>
                <a:lnTo>
                  <a:pt x="3274" y="1276"/>
                </a:lnTo>
                <a:lnTo>
                  <a:pt x="3264" y="1280"/>
                </a:lnTo>
                <a:lnTo>
                  <a:pt x="3250" y="1284"/>
                </a:lnTo>
                <a:lnTo>
                  <a:pt x="3246" y="1282"/>
                </a:lnTo>
                <a:lnTo>
                  <a:pt x="3244" y="1280"/>
                </a:lnTo>
                <a:lnTo>
                  <a:pt x="3238" y="1268"/>
                </a:lnTo>
                <a:lnTo>
                  <a:pt x="3232" y="1262"/>
                </a:lnTo>
                <a:lnTo>
                  <a:pt x="3222" y="1252"/>
                </a:lnTo>
                <a:lnTo>
                  <a:pt x="3214" y="1242"/>
                </a:lnTo>
                <a:lnTo>
                  <a:pt x="3212" y="1236"/>
                </a:lnTo>
                <a:lnTo>
                  <a:pt x="3212" y="1232"/>
                </a:lnTo>
                <a:lnTo>
                  <a:pt x="3216" y="1228"/>
                </a:lnTo>
                <a:lnTo>
                  <a:pt x="3228" y="1220"/>
                </a:lnTo>
                <a:lnTo>
                  <a:pt x="3232" y="1216"/>
                </a:lnTo>
                <a:lnTo>
                  <a:pt x="3234" y="1210"/>
                </a:lnTo>
                <a:lnTo>
                  <a:pt x="3232" y="1200"/>
                </a:lnTo>
                <a:lnTo>
                  <a:pt x="3228" y="1188"/>
                </a:lnTo>
                <a:lnTo>
                  <a:pt x="3220" y="1174"/>
                </a:lnTo>
                <a:lnTo>
                  <a:pt x="3212" y="1160"/>
                </a:lnTo>
                <a:lnTo>
                  <a:pt x="3200" y="1148"/>
                </a:lnTo>
                <a:lnTo>
                  <a:pt x="3190" y="1142"/>
                </a:lnTo>
                <a:lnTo>
                  <a:pt x="3184" y="1140"/>
                </a:lnTo>
                <a:lnTo>
                  <a:pt x="3178" y="1140"/>
                </a:lnTo>
                <a:lnTo>
                  <a:pt x="3172" y="1142"/>
                </a:lnTo>
                <a:lnTo>
                  <a:pt x="3168" y="1144"/>
                </a:lnTo>
                <a:lnTo>
                  <a:pt x="3160" y="1156"/>
                </a:lnTo>
                <a:lnTo>
                  <a:pt x="3154" y="1168"/>
                </a:lnTo>
                <a:lnTo>
                  <a:pt x="3148" y="1192"/>
                </a:lnTo>
                <a:lnTo>
                  <a:pt x="3146" y="1202"/>
                </a:lnTo>
                <a:lnTo>
                  <a:pt x="3142" y="1208"/>
                </a:lnTo>
                <a:lnTo>
                  <a:pt x="3140" y="1208"/>
                </a:lnTo>
                <a:lnTo>
                  <a:pt x="3138" y="1208"/>
                </a:lnTo>
                <a:lnTo>
                  <a:pt x="3130" y="1200"/>
                </a:lnTo>
                <a:lnTo>
                  <a:pt x="3124" y="1192"/>
                </a:lnTo>
                <a:lnTo>
                  <a:pt x="3122" y="1186"/>
                </a:lnTo>
                <a:lnTo>
                  <a:pt x="3122" y="1182"/>
                </a:lnTo>
                <a:lnTo>
                  <a:pt x="3126" y="1178"/>
                </a:lnTo>
                <a:lnTo>
                  <a:pt x="3128" y="1174"/>
                </a:lnTo>
                <a:lnTo>
                  <a:pt x="3128" y="1170"/>
                </a:lnTo>
                <a:lnTo>
                  <a:pt x="3126" y="1164"/>
                </a:lnTo>
                <a:lnTo>
                  <a:pt x="3118" y="1156"/>
                </a:lnTo>
                <a:lnTo>
                  <a:pt x="3112" y="1146"/>
                </a:lnTo>
                <a:lnTo>
                  <a:pt x="3110" y="1144"/>
                </a:lnTo>
                <a:lnTo>
                  <a:pt x="3112" y="1140"/>
                </a:lnTo>
                <a:lnTo>
                  <a:pt x="3116" y="1136"/>
                </a:lnTo>
                <a:lnTo>
                  <a:pt x="3120" y="1134"/>
                </a:lnTo>
                <a:lnTo>
                  <a:pt x="3126" y="1132"/>
                </a:lnTo>
                <a:lnTo>
                  <a:pt x="3128" y="1130"/>
                </a:lnTo>
                <a:lnTo>
                  <a:pt x="3126" y="1126"/>
                </a:lnTo>
                <a:lnTo>
                  <a:pt x="3116" y="1120"/>
                </a:lnTo>
                <a:lnTo>
                  <a:pt x="3104" y="1114"/>
                </a:lnTo>
                <a:lnTo>
                  <a:pt x="3094" y="1112"/>
                </a:lnTo>
                <a:lnTo>
                  <a:pt x="3088" y="1112"/>
                </a:lnTo>
                <a:lnTo>
                  <a:pt x="3082" y="1114"/>
                </a:lnTo>
                <a:lnTo>
                  <a:pt x="3076" y="1116"/>
                </a:lnTo>
                <a:lnTo>
                  <a:pt x="3072" y="1116"/>
                </a:lnTo>
                <a:lnTo>
                  <a:pt x="3064" y="1116"/>
                </a:lnTo>
                <a:lnTo>
                  <a:pt x="3054" y="1112"/>
                </a:lnTo>
                <a:lnTo>
                  <a:pt x="3050" y="1110"/>
                </a:lnTo>
                <a:lnTo>
                  <a:pt x="3048" y="1106"/>
                </a:lnTo>
                <a:lnTo>
                  <a:pt x="3048" y="1104"/>
                </a:lnTo>
                <a:lnTo>
                  <a:pt x="3048" y="1100"/>
                </a:lnTo>
                <a:lnTo>
                  <a:pt x="3054" y="1094"/>
                </a:lnTo>
                <a:lnTo>
                  <a:pt x="3062" y="1088"/>
                </a:lnTo>
                <a:lnTo>
                  <a:pt x="3078" y="1074"/>
                </a:lnTo>
                <a:lnTo>
                  <a:pt x="3080" y="1068"/>
                </a:lnTo>
                <a:lnTo>
                  <a:pt x="3080" y="1066"/>
                </a:lnTo>
                <a:lnTo>
                  <a:pt x="3078" y="1064"/>
                </a:lnTo>
                <a:lnTo>
                  <a:pt x="3064" y="1054"/>
                </a:lnTo>
                <a:lnTo>
                  <a:pt x="3046" y="1042"/>
                </a:lnTo>
                <a:lnTo>
                  <a:pt x="3038" y="1034"/>
                </a:lnTo>
                <a:lnTo>
                  <a:pt x="3032" y="1026"/>
                </a:lnTo>
                <a:lnTo>
                  <a:pt x="3028" y="1016"/>
                </a:lnTo>
                <a:lnTo>
                  <a:pt x="3028" y="1006"/>
                </a:lnTo>
                <a:lnTo>
                  <a:pt x="3028" y="1000"/>
                </a:lnTo>
                <a:lnTo>
                  <a:pt x="3026" y="994"/>
                </a:lnTo>
                <a:lnTo>
                  <a:pt x="3020" y="984"/>
                </a:lnTo>
                <a:lnTo>
                  <a:pt x="3010" y="972"/>
                </a:lnTo>
                <a:lnTo>
                  <a:pt x="3000" y="962"/>
                </a:lnTo>
                <a:lnTo>
                  <a:pt x="2986" y="954"/>
                </a:lnTo>
                <a:lnTo>
                  <a:pt x="2972" y="948"/>
                </a:lnTo>
                <a:lnTo>
                  <a:pt x="2960" y="942"/>
                </a:lnTo>
                <a:lnTo>
                  <a:pt x="2948" y="940"/>
                </a:lnTo>
                <a:lnTo>
                  <a:pt x="2940" y="940"/>
                </a:lnTo>
                <a:lnTo>
                  <a:pt x="2936" y="942"/>
                </a:lnTo>
                <a:lnTo>
                  <a:pt x="2934" y="944"/>
                </a:lnTo>
                <a:lnTo>
                  <a:pt x="2932" y="948"/>
                </a:lnTo>
                <a:lnTo>
                  <a:pt x="2932" y="952"/>
                </a:lnTo>
                <a:lnTo>
                  <a:pt x="2930" y="956"/>
                </a:lnTo>
                <a:lnTo>
                  <a:pt x="2924" y="960"/>
                </a:lnTo>
                <a:lnTo>
                  <a:pt x="2916" y="962"/>
                </a:lnTo>
                <a:lnTo>
                  <a:pt x="2908" y="964"/>
                </a:lnTo>
                <a:lnTo>
                  <a:pt x="2904" y="968"/>
                </a:lnTo>
                <a:lnTo>
                  <a:pt x="2902" y="970"/>
                </a:lnTo>
                <a:lnTo>
                  <a:pt x="2902" y="974"/>
                </a:lnTo>
                <a:lnTo>
                  <a:pt x="2902" y="978"/>
                </a:lnTo>
                <a:lnTo>
                  <a:pt x="2900" y="980"/>
                </a:lnTo>
                <a:lnTo>
                  <a:pt x="2896" y="986"/>
                </a:lnTo>
                <a:lnTo>
                  <a:pt x="2886" y="990"/>
                </a:lnTo>
                <a:lnTo>
                  <a:pt x="2878" y="994"/>
                </a:lnTo>
                <a:lnTo>
                  <a:pt x="2876" y="1002"/>
                </a:lnTo>
                <a:lnTo>
                  <a:pt x="2876" y="1010"/>
                </a:lnTo>
                <a:lnTo>
                  <a:pt x="2878" y="1018"/>
                </a:lnTo>
                <a:lnTo>
                  <a:pt x="2886" y="1036"/>
                </a:lnTo>
                <a:lnTo>
                  <a:pt x="2888" y="1046"/>
                </a:lnTo>
                <a:lnTo>
                  <a:pt x="2888" y="1052"/>
                </a:lnTo>
                <a:lnTo>
                  <a:pt x="2884" y="1068"/>
                </a:lnTo>
                <a:lnTo>
                  <a:pt x="2884" y="1074"/>
                </a:lnTo>
                <a:lnTo>
                  <a:pt x="2886" y="1082"/>
                </a:lnTo>
                <a:lnTo>
                  <a:pt x="2890" y="1088"/>
                </a:lnTo>
                <a:lnTo>
                  <a:pt x="2898" y="1096"/>
                </a:lnTo>
                <a:lnTo>
                  <a:pt x="2910" y="1102"/>
                </a:lnTo>
                <a:lnTo>
                  <a:pt x="2926" y="1106"/>
                </a:lnTo>
                <a:lnTo>
                  <a:pt x="2942" y="1112"/>
                </a:lnTo>
                <a:lnTo>
                  <a:pt x="2954" y="1118"/>
                </a:lnTo>
                <a:lnTo>
                  <a:pt x="2964" y="1126"/>
                </a:lnTo>
                <a:lnTo>
                  <a:pt x="2972" y="1134"/>
                </a:lnTo>
                <a:lnTo>
                  <a:pt x="2974" y="1140"/>
                </a:lnTo>
                <a:lnTo>
                  <a:pt x="2976" y="1148"/>
                </a:lnTo>
                <a:lnTo>
                  <a:pt x="2972" y="1152"/>
                </a:lnTo>
                <a:lnTo>
                  <a:pt x="2966" y="1158"/>
                </a:lnTo>
                <a:lnTo>
                  <a:pt x="2958" y="1162"/>
                </a:lnTo>
                <a:lnTo>
                  <a:pt x="2956" y="1166"/>
                </a:lnTo>
                <a:lnTo>
                  <a:pt x="2954" y="1170"/>
                </a:lnTo>
                <a:lnTo>
                  <a:pt x="2956" y="1174"/>
                </a:lnTo>
                <a:lnTo>
                  <a:pt x="2960" y="1176"/>
                </a:lnTo>
                <a:lnTo>
                  <a:pt x="2966" y="1178"/>
                </a:lnTo>
                <a:lnTo>
                  <a:pt x="2972" y="1176"/>
                </a:lnTo>
                <a:lnTo>
                  <a:pt x="2980" y="1172"/>
                </a:lnTo>
                <a:lnTo>
                  <a:pt x="2988" y="1170"/>
                </a:lnTo>
                <a:lnTo>
                  <a:pt x="2992" y="1170"/>
                </a:lnTo>
                <a:lnTo>
                  <a:pt x="2996" y="1172"/>
                </a:lnTo>
                <a:lnTo>
                  <a:pt x="2996" y="1178"/>
                </a:lnTo>
                <a:lnTo>
                  <a:pt x="2994" y="1184"/>
                </a:lnTo>
                <a:lnTo>
                  <a:pt x="2990" y="1192"/>
                </a:lnTo>
                <a:lnTo>
                  <a:pt x="2980" y="1202"/>
                </a:lnTo>
                <a:lnTo>
                  <a:pt x="2968" y="1212"/>
                </a:lnTo>
                <a:lnTo>
                  <a:pt x="2956" y="1218"/>
                </a:lnTo>
                <a:lnTo>
                  <a:pt x="2946" y="1222"/>
                </a:lnTo>
                <a:lnTo>
                  <a:pt x="2940" y="1222"/>
                </a:lnTo>
                <a:lnTo>
                  <a:pt x="2934" y="1222"/>
                </a:lnTo>
                <a:lnTo>
                  <a:pt x="2932" y="1220"/>
                </a:lnTo>
                <a:lnTo>
                  <a:pt x="2928" y="1220"/>
                </a:lnTo>
                <a:lnTo>
                  <a:pt x="2926" y="1224"/>
                </a:lnTo>
                <a:lnTo>
                  <a:pt x="2922" y="1230"/>
                </a:lnTo>
                <a:lnTo>
                  <a:pt x="2922" y="1240"/>
                </a:lnTo>
                <a:lnTo>
                  <a:pt x="2924" y="1252"/>
                </a:lnTo>
                <a:lnTo>
                  <a:pt x="2932" y="1274"/>
                </a:lnTo>
                <a:lnTo>
                  <a:pt x="2934" y="1282"/>
                </a:lnTo>
                <a:lnTo>
                  <a:pt x="2934" y="1288"/>
                </a:lnTo>
                <a:lnTo>
                  <a:pt x="2932" y="1288"/>
                </a:lnTo>
                <a:lnTo>
                  <a:pt x="2922" y="1284"/>
                </a:lnTo>
                <a:lnTo>
                  <a:pt x="2902" y="1270"/>
                </a:lnTo>
                <a:lnTo>
                  <a:pt x="2896" y="1264"/>
                </a:lnTo>
                <a:lnTo>
                  <a:pt x="2892" y="1260"/>
                </a:lnTo>
                <a:lnTo>
                  <a:pt x="2892" y="1256"/>
                </a:lnTo>
                <a:lnTo>
                  <a:pt x="2892" y="1250"/>
                </a:lnTo>
                <a:lnTo>
                  <a:pt x="2896" y="1238"/>
                </a:lnTo>
                <a:lnTo>
                  <a:pt x="2902" y="1226"/>
                </a:lnTo>
                <a:lnTo>
                  <a:pt x="2902" y="1220"/>
                </a:lnTo>
                <a:lnTo>
                  <a:pt x="2900" y="1216"/>
                </a:lnTo>
                <a:lnTo>
                  <a:pt x="2898" y="1212"/>
                </a:lnTo>
                <a:lnTo>
                  <a:pt x="2894" y="1210"/>
                </a:lnTo>
                <a:lnTo>
                  <a:pt x="2886" y="1208"/>
                </a:lnTo>
                <a:lnTo>
                  <a:pt x="2876" y="1210"/>
                </a:lnTo>
                <a:lnTo>
                  <a:pt x="2866" y="1208"/>
                </a:lnTo>
                <a:lnTo>
                  <a:pt x="2858" y="1206"/>
                </a:lnTo>
                <a:lnTo>
                  <a:pt x="2844" y="1198"/>
                </a:lnTo>
                <a:lnTo>
                  <a:pt x="2838" y="1196"/>
                </a:lnTo>
                <a:lnTo>
                  <a:pt x="2830" y="1194"/>
                </a:lnTo>
                <a:lnTo>
                  <a:pt x="2822" y="1194"/>
                </a:lnTo>
                <a:lnTo>
                  <a:pt x="2810" y="1198"/>
                </a:lnTo>
                <a:lnTo>
                  <a:pt x="2800" y="1204"/>
                </a:lnTo>
                <a:lnTo>
                  <a:pt x="2796" y="1210"/>
                </a:lnTo>
                <a:lnTo>
                  <a:pt x="2796" y="1218"/>
                </a:lnTo>
                <a:lnTo>
                  <a:pt x="2796" y="1226"/>
                </a:lnTo>
                <a:lnTo>
                  <a:pt x="2798" y="1232"/>
                </a:lnTo>
                <a:lnTo>
                  <a:pt x="2798" y="1238"/>
                </a:lnTo>
                <a:lnTo>
                  <a:pt x="2794" y="1244"/>
                </a:lnTo>
                <a:lnTo>
                  <a:pt x="2788" y="1246"/>
                </a:lnTo>
                <a:lnTo>
                  <a:pt x="2778" y="1248"/>
                </a:lnTo>
                <a:lnTo>
                  <a:pt x="2772" y="1248"/>
                </a:lnTo>
                <a:lnTo>
                  <a:pt x="2760" y="1242"/>
                </a:lnTo>
                <a:lnTo>
                  <a:pt x="2752" y="1240"/>
                </a:lnTo>
                <a:lnTo>
                  <a:pt x="2742" y="1238"/>
                </a:lnTo>
                <a:lnTo>
                  <a:pt x="2728" y="1238"/>
                </a:lnTo>
                <a:lnTo>
                  <a:pt x="2708" y="1242"/>
                </a:lnTo>
                <a:lnTo>
                  <a:pt x="2680" y="1246"/>
                </a:lnTo>
                <a:lnTo>
                  <a:pt x="2658" y="1246"/>
                </a:lnTo>
                <a:lnTo>
                  <a:pt x="2640" y="1242"/>
                </a:lnTo>
                <a:lnTo>
                  <a:pt x="2628" y="1236"/>
                </a:lnTo>
                <a:lnTo>
                  <a:pt x="2606" y="1226"/>
                </a:lnTo>
                <a:lnTo>
                  <a:pt x="2598" y="1224"/>
                </a:lnTo>
                <a:lnTo>
                  <a:pt x="2590" y="1224"/>
                </a:lnTo>
                <a:lnTo>
                  <a:pt x="2582" y="1226"/>
                </a:lnTo>
                <a:lnTo>
                  <a:pt x="2572" y="1226"/>
                </a:lnTo>
                <a:lnTo>
                  <a:pt x="2564" y="1226"/>
                </a:lnTo>
                <a:lnTo>
                  <a:pt x="2556" y="1222"/>
                </a:lnTo>
                <a:lnTo>
                  <a:pt x="2544" y="1212"/>
                </a:lnTo>
                <a:lnTo>
                  <a:pt x="2532" y="1198"/>
                </a:lnTo>
                <a:lnTo>
                  <a:pt x="2520" y="1186"/>
                </a:lnTo>
                <a:lnTo>
                  <a:pt x="2510" y="1174"/>
                </a:lnTo>
                <a:lnTo>
                  <a:pt x="2504" y="1168"/>
                </a:lnTo>
                <a:lnTo>
                  <a:pt x="2498" y="1166"/>
                </a:lnTo>
                <a:lnTo>
                  <a:pt x="2494" y="1164"/>
                </a:lnTo>
                <a:lnTo>
                  <a:pt x="2486" y="1164"/>
                </a:lnTo>
                <a:lnTo>
                  <a:pt x="2456" y="1170"/>
                </a:lnTo>
                <a:lnTo>
                  <a:pt x="2438" y="1174"/>
                </a:lnTo>
                <a:lnTo>
                  <a:pt x="2422" y="1178"/>
                </a:lnTo>
                <a:lnTo>
                  <a:pt x="2408" y="1186"/>
                </a:lnTo>
                <a:lnTo>
                  <a:pt x="2398" y="1192"/>
                </a:lnTo>
                <a:lnTo>
                  <a:pt x="2394" y="1196"/>
                </a:lnTo>
                <a:lnTo>
                  <a:pt x="2392" y="1200"/>
                </a:lnTo>
                <a:lnTo>
                  <a:pt x="2392" y="1206"/>
                </a:lnTo>
                <a:lnTo>
                  <a:pt x="2394" y="1210"/>
                </a:lnTo>
                <a:lnTo>
                  <a:pt x="2398" y="1214"/>
                </a:lnTo>
                <a:lnTo>
                  <a:pt x="2402" y="1216"/>
                </a:lnTo>
                <a:lnTo>
                  <a:pt x="2406" y="1218"/>
                </a:lnTo>
                <a:lnTo>
                  <a:pt x="2410" y="1218"/>
                </a:lnTo>
                <a:lnTo>
                  <a:pt x="2422" y="1216"/>
                </a:lnTo>
                <a:lnTo>
                  <a:pt x="2432" y="1212"/>
                </a:lnTo>
                <a:lnTo>
                  <a:pt x="2456" y="1204"/>
                </a:lnTo>
                <a:lnTo>
                  <a:pt x="2466" y="1202"/>
                </a:lnTo>
                <a:lnTo>
                  <a:pt x="2470" y="1202"/>
                </a:lnTo>
                <a:lnTo>
                  <a:pt x="2472" y="1204"/>
                </a:lnTo>
                <a:lnTo>
                  <a:pt x="2474" y="1206"/>
                </a:lnTo>
                <a:lnTo>
                  <a:pt x="2476" y="1208"/>
                </a:lnTo>
                <a:lnTo>
                  <a:pt x="2472" y="1212"/>
                </a:lnTo>
                <a:lnTo>
                  <a:pt x="2456" y="1218"/>
                </a:lnTo>
                <a:lnTo>
                  <a:pt x="2436" y="1226"/>
                </a:lnTo>
                <a:lnTo>
                  <a:pt x="2428" y="1232"/>
                </a:lnTo>
                <a:lnTo>
                  <a:pt x="2422" y="1238"/>
                </a:lnTo>
                <a:lnTo>
                  <a:pt x="2422" y="1242"/>
                </a:lnTo>
                <a:lnTo>
                  <a:pt x="2424" y="1248"/>
                </a:lnTo>
                <a:lnTo>
                  <a:pt x="2428" y="1260"/>
                </a:lnTo>
                <a:lnTo>
                  <a:pt x="2442" y="1282"/>
                </a:lnTo>
                <a:lnTo>
                  <a:pt x="2446" y="1290"/>
                </a:lnTo>
                <a:lnTo>
                  <a:pt x="2446" y="1292"/>
                </a:lnTo>
                <a:lnTo>
                  <a:pt x="2444" y="1292"/>
                </a:lnTo>
                <a:lnTo>
                  <a:pt x="2436" y="1290"/>
                </a:lnTo>
                <a:lnTo>
                  <a:pt x="2418" y="1278"/>
                </a:lnTo>
                <a:lnTo>
                  <a:pt x="2398" y="1266"/>
                </a:lnTo>
                <a:lnTo>
                  <a:pt x="2382" y="1258"/>
                </a:lnTo>
                <a:lnTo>
                  <a:pt x="2364" y="1250"/>
                </a:lnTo>
                <a:lnTo>
                  <a:pt x="2354" y="1246"/>
                </a:lnTo>
                <a:lnTo>
                  <a:pt x="2348" y="1242"/>
                </a:lnTo>
                <a:lnTo>
                  <a:pt x="2340" y="1234"/>
                </a:lnTo>
                <a:lnTo>
                  <a:pt x="2334" y="1228"/>
                </a:lnTo>
                <a:lnTo>
                  <a:pt x="2330" y="1226"/>
                </a:lnTo>
                <a:lnTo>
                  <a:pt x="2326" y="1226"/>
                </a:lnTo>
                <a:lnTo>
                  <a:pt x="2322" y="1230"/>
                </a:lnTo>
                <a:lnTo>
                  <a:pt x="2314" y="1234"/>
                </a:lnTo>
                <a:lnTo>
                  <a:pt x="2304" y="1240"/>
                </a:lnTo>
                <a:lnTo>
                  <a:pt x="2286" y="1244"/>
                </a:lnTo>
                <a:lnTo>
                  <a:pt x="2264" y="1246"/>
                </a:lnTo>
                <a:lnTo>
                  <a:pt x="2206" y="1248"/>
                </a:lnTo>
                <a:lnTo>
                  <a:pt x="2180" y="1246"/>
                </a:lnTo>
                <a:lnTo>
                  <a:pt x="2158" y="1244"/>
                </a:lnTo>
                <a:lnTo>
                  <a:pt x="2140" y="1242"/>
                </a:lnTo>
                <a:lnTo>
                  <a:pt x="2128" y="1238"/>
                </a:lnTo>
                <a:lnTo>
                  <a:pt x="2126" y="1234"/>
                </a:lnTo>
                <a:lnTo>
                  <a:pt x="2124" y="1232"/>
                </a:lnTo>
                <a:lnTo>
                  <a:pt x="2126" y="1228"/>
                </a:lnTo>
                <a:lnTo>
                  <a:pt x="2132" y="1224"/>
                </a:lnTo>
                <a:lnTo>
                  <a:pt x="2144" y="1216"/>
                </a:lnTo>
                <a:lnTo>
                  <a:pt x="2154" y="1214"/>
                </a:lnTo>
                <a:lnTo>
                  <a:pt x="2172" y="1210"/>
                </a:lnTo>
                <a:lnTo>
                  <a:pt x="2178" y="1210"/>
                </a:lnTo>
                <a:lnTo>
                  <a:pt x="2180" y="1208"/>
                </a:lnTo>
                <a:lnTo>
                  <a:pt x="2178" y="1204"/>
                </a:lnTo>
                <a:lnTo>
                  <a:pt x="2172" y="1196"/>
                </a:lnTo>
                <a:lnTo>
                  <a:pt x="2154" y="1180"/>
                </a:lnTo>
                <a:lnTo>
                  <a:pt x="2144" y="1172"/>
                </a:lnTo>
                <a:lnTo>
                  <a:pt x="2134" y="1166"/>
                </a:lnTo>
                <a:lnTo>
                  <a:pt x="2124" y="1162"/>
                </a:lnTo>
                <a:lnTo>
                  <a:pt x="2112" y="1160"/>
                </a:lnTo>
                <a:lnTo>
                  <a:pt x="2098" y="1158"/>
                </a:lnTo>
                <a:lnTo>
                  <a:pt x="2080" y="1160"/>
                </a:lnTo>
                <a:lnTo>
                  <a:pt x="2064" y="1160"/>
                </a:lnTo>
                <a:lnTo>
                  <a:pt x="2046" y="1160"/>
                </a:lnTo>
                <a:lnTo>
                  <a:pt x="2030" y="1156"/>
                </a:lnTo>
                <a:lnTo>
                  <a:pt x="2014" y="1152"/>
                </a:lnTo>
                <a:lnTo>
                  <a:pt x="1982" y="1142"/>
                </a:lnTo>
                <a:lnTo>
                  <a:pt x="1950" y="1134"/>
                </a:lnTo>
                <a:lnTo>
                  <a:pt x="1934" y="1130"/>
                </a:lnTo>
                <a:lnTo>
                  <a:pt x="1918" y="1124"/>
                </a:lnTo>
                <a:lnTo>
                  <a:pt x="1890" y="1110"/>
                </a:lnTo>
                <a:lnTo>
                  <a:pt x="1876" y="1104"/>
                </a:lnTo>
                <a:lnTo>
                  <a:pt x="1862" y="1100"/>
                </a:lnTo>
                <a:lnTo>
                  <a:pt x="1848" y="1098"/>
                </a:lnTo>
                <a:lnTo>
                  <a:pt x="1832" y="1096"/>
                </a:lnTo>
                <a:lnTo>
                  <a:pt x="1820" y="1100"/>
                </a:lnTo>
                <a:lnTo>
                  <a:pt x="1812" y="1104"/>
                </a:lnTo>
                <a:lnTo>
                  <a:pt x="1808" y="1110"/>
                </a:lnTo>
                <a:lnTo>
                  <a:pt x="1806" y="1116"/>
                </a:lnTo>
                <a:lnTo>
                  <a:pt x="1804" y="1122"/>
                </a:lnTo>
                <a:lnTo>
                  <a:pt x="1800" y="1126"/>
                </a:lnTo>
                <a:lnTo>
                  <a:pt x="1794" y="1128"/>
                </a:lnTo>
                <a:lnTo>
                  <a:pt x="1780" y="1128"/>
                </a:lnTo>
                <a:lnTo>
                  <a:pt x="1774" y="1126"/>
                </a:lnTo>
                <a:lnTo>
                  <a:pt x="1768" y="1122"/>
                </a:lnTo>
                <a:lnTo>
                  <a:pt x="1764" y="1120"/>
                </a:lnTo>
                <a:lnTo>
                  <a:pt x="1762" y="1114"/>
                </a:lnTo>
                <a:lnTo>
                  <a:pt x="1760" y="1104"/>
                </a:lnTo>
                <a:lnTo>
                  <a:pt x="1762" y="1094"/>
                </a:lnTo>
                <a:lnTo>
                  <a:pt x="1762" y="1084"/>
                </a:lnTo>
                <a:lnTo>
                  <a:pt x="1758" y="1076"/>
                </a:lnTo>
                <a:lnTo>
                  <a:pt x="1756" y="1074"/>
                </a:lnTo>
                <a:lnTo>
                  <a:pt x="1752" y="1072"/>
                </a:lnTo>
                <a:lnTo>
                  <a:pt x="1746" y="1072"/>
                </a:lnTo>
                <a:lnTo>
                  <a:pt x="1738" y="1074"/>
                </a:lnTo>
                <a:lnTo>
                  <a:pt x="1732" y="1076"/>
                </a:lnTo>
                <a:lnTo>
                  <a:pt x="1730" y="1078"/>
                </a:lnTo>
                <a:lnTo>
                  <a:pt x="1726" y="1088"/>
                </a:lnTo>
                <a:lnTo>
                  <a:pt x="1724" y="1112"/>
                </a:lnTo>
                <a:lnTo>
                  <a:pt x="1722" y="1122"/>
                </a:lnTo>
                <a:lnTo>
                  <a:pt x="1720" y="1126"/>
                </a:lnTo>
                <a:lnTo>
                  <a:pt x="1716" y="1128"/>
                </a:lnTo>
                <a:lnTo>
                  <a:pt x="1712" y="1130"/>
                </a:lnTo>
                <a:lnTo>
                  <a:pt x="1706" y="1130"/>
                </a:lnTo>
                <a:lnTo>
                  <a:pt x="1698" y="1128"/>
                </a:lnTo>
                <a:lnTo>
                  <a:pt x="1690" y="1124"/>
                </a:lnTo>
                <a:lnTo>
                  <a:pt x="1684" y="1120"/>
                </a:lnTo>
                <a:lnTo>
                  <a:pt x="1678" y="1116"/>
                </a:lnTo>
                <a:lnTo>
                  <a:pt x="1668" y="1102"/>
                </a:lnTo>
                <a:lnTo>
                  <a:pt x="1650" y="1070"/>
                </a:lnTo>
                <a:lnTo>
                  <a:pt x="1640" y="1056"/>
                </a:lnTo>
                <a:lnTo>
                  <a:pt x="1630" y="1046"/>
                </a:lnTo>
                <a:lnTo>
                  <a:pt x="1626" y="1042"/>
                </a:lnTo>
                <a:lnTo>
                  <a:pt x="1620" y="1042"/>
                </a:lnTo>
                <a:lnTo>
                  <a:pt x="1614" y="1042"/>
                </a:lnTo>
                <a:lnTo>
                  <a:pt x="1610" y="1044"/>
                </a:lnTo>
                <a:lnTo>
                  <a:pt x="1600" y="1052"/>
                </a:lnTo>
                <a:lnTo>
                  <a:pt x="1600" y="1054"/>
                </a:lnTo>
                <a:lnTo>
                  <a:pt x="1600" y="1056"/>
                </a:lnTo>
                <a:lnTo>
                  <a:pt x="1604" y="1060"/>
                </a:lnTo>
                <a:lnTo>
                  <a:pt x="1610" y="1062"/>
                </a:lnTo>
                <a:lnTo>
                  <a:pt x="1616" y="1064"/>
                </a:lnTo>
                <a:lnTo>
                  <a:pt x="1618" y="1066"/>
                </a:lnTo>
                <a:lnTo>
                  <a:pt x="1618" y="1068"/>
                </a:lnTo>
                <a:lnTo>
                  <a:pt x="1610" y="1076"/>
                </a:lnTo>
                <a:lnTo>
                  <a:pt x="1592" y="1090"/>
                </a:lnTo>
                <a:lnTo>
                  <a:pt x="1574" y="1100"/>
                </a:lnTo>
                <a:lnTo>
                  <a:pt x="1572" y="1098"/>
                </a:lnTo>
                <a:lnTo>
                  <a:pt x="1568" y="1096"/>
                </a:lnTo>
                <a:lnTo>
                  <a:pt x="1560" y="1096"/>
                </a:lnTo>
                <a:lnTo>
                  <a:pt x="1546" y="1098"/>
                </a:lnTo>
                <a:lnTo>
                  <a:pt x="1522" y="1106"/>
                </a:lnTo>
                <a:lnTo>
                  <a:pt x="1482" y="1120"/>
                </a:lnTo>
                <a:lnTo>
                  <a:pt x="1476" y="1120"/>
                </a:lnTo>
                <a:lnTo>
                  <a:pt x="1476" y="1118"/>
                </a:lnTo>
                <a:lnTo>
                  <a:pt x="1494" y="1108"/>
                </a:lnTo>
                <a:lnTo>
                  <a:pt x="1526" y="1092"/>
                </a:lnTo>
                <a:lnTo>
                  <a:pt x="1552" y="1078"/>
                </a:lnTo>
                <a:lnTo>
                  <a:pt x="1558" y="1074"/>
                </a:lnTo>
                <a:lnTo>
                  <a:pt x="1560" y="1072"/>
                </a:lnTo>
                <a:lnTo>
                  <a:pt x="1560" y="1070"/>
                </a:lnTo>
                <a:lnTo>
                  <a:pt x="1556" y="1070"/>
                </a:lnTo>
                <a:lnTo>
                  <a:pt x="1538" y="1074"/>
                </a:lnTo>
                <a:lnTo>
                  <a:pt x="1530" y="1074"/>
                </a:lnTo>
                <a:lnTo>
                  <a:pt x="1522" y="1074"/>
                </a:lnTo>
                <a:lnTo>
                  <a:pt x="1512" y="1072"/>
                </a:lnTo>
                <a:lnTo>
                  <a:pt x="1506" y="1072"/>
                </a:lnTo>
                <a:lnTo>
                  <a:pt x="1498" y="1074"/>
                </a:lnTo>
                <a:lnTo>
                  <a:pt x="1488" y="1080"/>
                </a:lnTo>
                <a:lnTo>
                  <a:pt x="1476" y="1088"/>
                </a:lnTo>
                <a:lnTo>
                  <a:pt x="1462" y="1096"/>
                </a:lnTo>
                <a:lnTo>
                  <a:pt x="1454" y="1100"/>
                </a:lnTo>
                <a:lnTo>
                  <a:pt x="1448" y="1100"/>
                </a:lnTo>
                <a:lnTo>
                  <a:pt x="1444" y="1100"/>
                </a:lnTo>
                <a:lnTo>
                  <a:pt x="1438" y="1100"/>
                </a:lnTo>
                <a:lnTo>
                  <a:pt x="1432" y="1102"/>
                </a:lnTo>
                <a:lnTo>
                  <a:pt x="1422" y="1108"/>
                </a:lnTo>
                <a:lnTo>
                  <a:pt x="1408" y="1118"/>
                </a:lnTo>
                <a:lnTo>
                  <a:pt x="1378" y="1138"/>
                </a:lnTo>
                <a:lnTo>
                  <a:pt x="1358" y="1148"/>
                </a:lnTo>
                <a:lnTo>
                  <a:pt x="1352" y="1154"/>
                </a:lnTo>
                <a:lnTo>
                  <a:pt x="1350" y="1158"/>
                </a:lnTo>
                <a:lnTo>
                  <a:pt x="1350" y="1162"/>
                </a:lnTo>
                <a:lnTo>
                  <a:pt x="1352" y="1168"/>
                </a:lnTo>
                <a:lnTo>
                  <a:pt x="1354" y="1174"/>
                </a:lnTo>
                <a:lnTo>
                  <a:pt x="1352" y="1174"/>
                </a:lnTo>
                <a:lnTo>
                  <a:pt x="1342" y="1172"/>
                </a:lnTo>
                <a:lnTo>
                  <a:pt x="1334" y="1170"/>
                </a:lnTo>
                <a:lnTo>
                  <a:pt x="1324" y="1168"/>
                </a:lnTo>
                <a:lnTo>
                  <a:pt x="1316" y="1168"/>
                </a:lnTo>
                <a:lnTo>
                  <a:pt x="1308" y="1172"/>
                </a:lnTo>
                <a:lnTo>
                  <a:pt x="1302" y="1176"/>
                </a:lnTo>
                <a:lnTo>
                  <a:pt x="1298" y="1176"/>
                </a:lnTo>
                <a:lnTo>
                  <a:pt x="1294" y="1174"/>
                </a:lnTo>
                <a:lnTo>
                  <a:pt x="1290" y="1172"/>
                </a:lnTo>
                <a:lnTo>
                  <a:pt x="1286" y="1168"/>
                </a:lnTo>
                <a:lnTo>
                  <a:pt x="1280" y="1164"/>
                </a:lnTo>
                <a:lnTo>
                  <a:pt x="1272" y="1162"/>
                </a:lnTo>
                <a:lnTo>
                  <a:pt x="1258" y="1162"/>
                </a:lnTo>
                <a:lnTo>
                  <a:pt x="1236" y="1160"/>
                </a:lnTo>
                <a:lnTo>
                  <a:pt x="1218" y="1154"/>
                </a:lnTo>
                <a:lnTo>
                  <a:pt x="1198" y="1144"/>
                </a:lnTo>
                <a:lnTo>
                  <a:pt x="1180" y="1134"/>
                </a:lnTo>
                <a:lnTo>
                  <a:pt x="1160" y="1126"/>
                </a:lnTo>
                <a:lnTo>
                  <a:pt x="1138" y="1118"/>
                </a:lnTo>
                <a:lnTo>
                  <a:pt x="1116" y="1112"/>
                </a:lnTo>
                <a:lnTo>
                  <a:pt x="1102" y="1110"/>
                </a:lnTo>
                <a:lnTo>
                  <a:pt x="1090" y="1110"/>
                </a:lnTo>
                <a:lnTo>
                  <a:pt x="1074" y="1110"/>
                </a:lnTo>
                <a:lnTo>
                  <a:pt x="1062" y="1106"/>
                </a:lnTo>
                <a:lnTo>
                  <a:pt x="1054" y="1102"/>
                </a:lnTo>
                <a:lnTo>
                  <a:pt x="1044" y="1096"/>
                </a:lnTo>
                <a:lnTo>
                  <a:pt x="1036" y="1092"/>
                </a:lnTo>
                <a:lnTo>
                  <a:pt x="1026" y="1086"/>
                </a:lnTo>
                <a:lnTo>
                  <a:pt x="1014" y="1082"/>
                </a:lnTo>
                <a:lnTo>
                  <a:pt x="998" y="1078"/>
                </a:lnTo>
                <a:lnTo>
                  <a:pt x="982" y="1078"/>
                </a:lnTo>
                <a:lnTo>
                  <a:pt x="970" y="1078"/>
                </a:lnTo>
                <a:lnTo>
                  <a:pt x="950" y="1084"/>
                </a:lnTo>
                <a:lnTo>
                  <a:pt x="940" y="1084"/>
                </a:lnTo>
                <a:lnTo>
                  <a:pt x="932" y="1086"/>
                </a:lnTo>
                <a:lnTo>
                  <a:pt x="922" y="1084"/>
                </a:lnTo>
                <a:lnTo>
                  <a:pt x="912" y="1080"/>
                </a:lnTo>
                <a:lnTo>
                  <a:pt x="898" y="1076"/>
                </a:lnTo>
                <a:lnTo>
                  <a:pt x="884" y="1074"/>
                </a:lnTo>
                <a:lnTo>
                  <a:pt x="854" y="1072"/>
                </a:lnTo>
                <a:lnTo>
                  <a:pt x="816" y="1066"/>
                </a:lnTo>
                <a:lnTo>
                  <a:pt x="798" y="1062"/>
                </a:lnTo>
                <a:lnTo>
                  <a:pt x="778" y="1054"/>
                </a:lnTo>
                <a:lnTo>
                  <a:pt x="760" y="1048"/>
                </a:lnTo>
                <a:lnTo>
                  <a:pt x="744" y="1046"/>
                </a:lnTo>
                <a:lnTo>
                  <a:pt x="732" y="1048"/>
                </a:lnTo>
                <a:lnTo>
                  <a:pt x="722" y="1050"/>
                </a:lnTo>
                <a:lnTo>
                  <a:pt x="710" y="1052"/>
                </a:lnTo>
                <a:lnTo>
                  <a:pt x="698" y="1054"/>
                </a:lnTo>
                <a:lnTo>
                  <a:pt x="682" y="1054"/>
                </a:lnTo>
                <a:lnTo>
                  <a:pt x="664" y="1050"/>
                </a:lnTo>
                <a:lnTo>
                  <a:pt x="648" y="1044"/>
                </a:lnTo>
                <a:lnTo>
                  <a:pt x="640" y="1038"/>
                </a:lnTo>
                <a:lnTo>
                  <a:pt x="636" y="1034"/>
                </a:lnTo>
                <a:lnTo>
                  <a:pt x="636" y="1028"/>
                </a:lnTo>
                <a:lnTo>
                  <a:pt x="634" y="1024"/>
                </a:lnTo>
                <a:lnTo>
                  <a:pt x="632" y="1022"/>
                </a:lnTo>
                <a:lnTo>
                  <a:pt x="622" y="1020"/>
                </a:lnTo>
                <a:lnTo>
                  <a:pt x="606" y="1020"/>
                </a:lnTo>
                <a:lnTo>
                  <a:pt x="572" y="1020"/>
                </a:lnTo>
                <a:lnTo>
                  <a:pt x="558" y="1022"/>
                </a:lnTo>
                <a:lnTo>
                  <a:pt x="552" y="1020"/>
                </a:lnTo>
                <a:lnTo>
                  <a:pt x="550" y="1018"/>
                </a:lnTo>
                <a:lnTo>
                  <a:pt x="540" y="1010"/>
                </a:lnTo>
                <a:lnTo>
                  <a:pt x="534" y="1006"/>
                </a:lnTo>
                <a:lnTo>
                  <a:pt x="528" y="1004"/>
                </a:lnTo>
                <a:lnTo>
                  <a:pt x="524" y="1006"/>
                </a:lnTo>
                <a:lnTo>
                  <a:pt x="520" y="1006"/>
                </a:lnTo>
                <a:lnTo>
                  <a:pt x="510" y="1010"/>
                </a:lnTo>
                <a:lnTo>
                  <a:pt x="506" y="1010"/>
                </a:lnTo>
                <a:lnTo>
                  <a:pt x="500" y="1006"/>
                </a:lnTo>
                <a:lnTo>
                  <a:pt x="488" y="996"/>
                </a:lnTo>
                <a:lnTo>
                  <a:pt x="482" y="992"/>
                </a:lnTo>
                <a:lnTo>
                  <a:pt x="474" y="990"/>
                </a:lnTo>
                <a:lnTo>
                  <a:pt x="466" y="988"/>
                </a:lnTo>
                <a:lnTo>
                  <a:pt x="456" y="990"/>
                </a:lnTo>
                <a:lnTo>
                  <a:pt x="446" y="996"/>
                </a:lnTo>
                <a:lnTo>
                  <a:pt x="432" y="1008"/>
                </a:lnTo>
                <a:lnTo>
                  <a:pt x="418" y="1018"/>
                </a:lnTo>
                <a:lnTo>
                  <a:pt x="404" y="1022"/>
                </a:lnTo>
                <a:lnTo>
                  <a:pt x="392" y="1022"/>
                </a:lnTo>
                <a:lnTo>
                  <a:pt x="378" y="1022"/>
                </a:lnTo>
                <a:lnTo>
                  <a:pt x="364" y="1024"/>
                </a:lnTo>
                <a:lnTo>
                  <a:pt x="348" y="1026"/>
                </a:lnTo>
                <a:lnTo>
                  <a:pt x="332" y="1032"/>
                </a:lnTo>
                <a:lnTo>
                  <a:pt x="310" y="1046"/>
                </a:lnTo>
                <a:lnTo>
                  <a:pt x="300" y="1054"/>
                </a:lnTo>
                <a:lnTo>
                  <a:pt x="290" y="1058"/>
                </a:lnTo>
                <a:lnTo>
                  <a:pt x="282" y="1062"/>
                </a:lnTo>
                <a:lnTo>
                  <a:pt x="274" y="1064"/>
                </a:lnTo>
                <a:lnTo>
                  <a:pt x="262" y="1064"/>
                </a:lnTo>
                <a:lnTo>
                  <a:pt x="250" y="1064"/>
                </a:lnTo>
                <a:lnTo>
                  <a:pt x="240" y="1062"/>
                </a:lnTo>
                <a:lnTo>
                  <a:pt x="236" y="1064"/>
                </a:lnTo>
                <a:lnTo>
                  <a:pt x="232" y="1066"/>
                </a:lnTo>
                <a:lnTo>
                  <a:pt x="226" y="1068"/>
                </a:lnTo>
                <a:lnTo>
                  <a:pt x="222" y="1074"/>
                </a:lnTo>
                <a:lnTo>
                  <a:pt x="212" y="1090"/>
                </a:lnTo>
                <a:lnTo>
                  <a:pt x="202" y="1110"/>
                </a:lnTo>
                <a:lnTo>
                  <a:pt x="192" y="1128"/>
                </a:lnTo>
                <a:lnTo>
                  <a:pt x="182" y="1140"/>
                </a:lnTo>
                <a:lnTo>
                  <a:pt x="172" y="1152"/>
                </a:lnTo>
                <a:lnTo>
                  <a:pt x="158" y="1158"/>
                </a:lnTo>
                <a:lnTo>
                  <a:pt x="142" y="1164"/>
                </a:lnTo>
                <a:lnTo>
                  <a:pt x="122" y="1166"/>
                </a:lnTo>
                <a:lnTo>
                  <a:pt x="96" y="1168"/>
                </a:lnTo>
                <a:lnTo>
                  <a:pt x="84" y="1168"/>
                </a:lnTo>
                <a:lnTo>
                  <a:pt x="78" y="1170"/>
                </a:lnTo>
                <a:lnTo>
                  <a:pt x="76" y="1174"/>
                </a:lnTo>
                <a:lnTo>
                  <a:pt x="74" y="1178"/>
                </a:lnTo>
                <a:lnTo>
                  <a:pt x="74" y="1184"/>
                </a:lnTo>
                <a:lnTo>
                  <a:pt x="72" y="1188"/>
                </a:lnTo>
                <a:lnTo>
                  <a:pt x="68" y="1194"/>
                </a:lnTo>
                <a:lnTo>
                  <a:pt x="58" y="1198"/>
                </a:lnTo>
                <a:lnTo>
                  <a:pt x="54" y="1200"/>
                </a:lnTo>
                <a:lnTo>
                  <a:pt x="54" y="1202"/>
                </a:lnTo>
                <a:lnTo>
                  <a:pt x="54" y="1204"/>
                </a:lnTo>
                <a:lnTo>
                  <a:pt x="58" y="1208"/>
                </a:lnTo>
                <a:lnTo>
                  <a:pt x="74" y="1214"/>
                </a:lnTo>
                <a:lnTo>
                  <a:pt x="94" y="1222"/>
                </a:lnTo>
                <a:lnTo>
                  <a:pt x="116" y="1232"/>
                </a:lnTo>
                <a:lnTo>
                  <a:pt x="138" y="1244"/>
                </a:lnTo>
                <a:lnTo>
                  <a:pt x="156" y="1258"/>
                </a:lnTo>
                <a:lnTo>
                  <a:pt x="164" y="1264"/>
                </a:lnTo>
                <a:lnTo>
                  <a:pt x="168" y="1272"/>
                </a:lnTo>
                <a:lnTo>
                  <a:pt x="172" y="1280"/>
                </a:lnTo>
                <a:lnTo>
                  <a:pt x="178" y="1286"/>
                </a:lnTo>
                <a:lnTo>
                  <a:pt x="186" y="1294"/>
                </a:lnTo>
                <a:lnTo>
                  <a:pt x="196" y="1296"/>
                </a:lnTo>
                <a:lnTo>
                  <a:pt x="206" y="1296"/>
                </a:lnTo>
                <a:lnTo>
                  <a:pt x="214" y="1294"/>
                </a:lnTo>
                <a:lnTo>
                  <a:pt x="218" y="1294"/>
                </a:lnTo>
                <a:lnTo>
                  <a:pt x="220" y="1296"/>
                </a:lnTo>
                <a:lnTo>
                  <a:pt x="222" y="1296"/>
                </a:lnTo>
                <a:lnTo>
                  <a:pt x="222" y="1304"/>
                </a:lnTo>
                <a:lnTo>
                  <a:pt x="220" y="1312"/>
                </a:lnTo>
                <a:lnTo>
                  <a:pt x="222" y="1316"/>
                </a:lnTo>
                <a:lnTo>
                  <a:pt x="224" y="1318"/>
                </a:lnTo>
                <a:lnTo>
                  <a:pt x="228" y="1318"/>
                </a:lnTo>
                <a:lnTo>
                  <a:pt x="232" y="1320"/>
                </a:lnTo>
                <a:lnTo>
                  <a:pt x="236" y="1322"/>
                </a:lnTo>
                <a:lnTo>
                  <a:pt x="240" y="1326"/>
                </a:lnTo>
                <a:lnTo>
                  <a:pt x="242" y="1332"/>
                </a:lnTo>
                <a:lnTo>
                  <a:pt x="244" y="1338"/>
                </a:lnTo>
                <a:lnTo>
                  <a:pt x="248" y="1342"/>
                </a:lnTo>
                <a:lnTo>
                  <a:pt x="254" y="1342"/>
                </a:lnTo>
                <a:lnTo>
                  <a:pt x="260" y="1342"/>
                </a:lnTo>
                <a:lnTo>
                  <a:pt x="266" y="1342"/>
                </a:lnTo>
                <a:lnTo>
                  <a:pt x="272" y="1342"/>
                </a:lnTo>
                <a:lnTo>
                  <a:pt x="274" y="1344"/>
                </a:lnTo>
                <a:lnTo>
                  <a:pt x="276" y="1350"/>
                </a:lnTo>
                <a:lnTo>
                  <a:pt x="274" y="1358"/>
                </a:lnTo>
                <a:lnTo>
                  <a:pt x="272" y="1358"/>
                </a:lnTo>
                <a:lnTo>
                  <a:pt x="270" y="1356"/>
                </a:lnTo>
                <a:lnTo>
                  <a:pt x="268" y="1356"/>
                </a:lnTo>
                <a:lnTo>
                  <a:pt x="264" y="1356"/>
                </a:lnTo>
                <a:lnTo>
                  <a:pt x="258" y="1358"/>
                </a:lnTo>
                <a:lnTo>
                  <a:pt x="252" y="1362"/>
                </a:lnTo>
                <a:lnTo>
                  <a:pt x="250" y="1364"/>
                </a:lnTo>
                <a:lnTo>
                  <a:pt x="248" y="1364"/>
                </a:lnTo>
                <a:lnTo>
                  <a:pt x="240" y="1362"/>
                </a:lnTo>
                <a:lnTo>
                  <a:pt x="234" y="1360"/>
                </a:lnTo>
                <a:lnTo>
                  <a:pt x="224" y="1358"/>
                </a:lnTo>
                <a:lnTo>
                  <a:pt x="212" y="1358"/>
                </a:lnTo>
                <a:lnTo>
                  <a:pt x="194" y="1360"/>
                </a:lnTo>
                <a:lnTo>
                  <a:pt x="186" y="1362"/>
                </a:lnTo>
                <a:lnTo>
                  <a:pt x="180" y="1360"/>
                </a:lnTo>
                <a:lnTo>
                  <a:pt x="176" y="1358"/>
                </a:lnTo>
                <a:lnTo>
                  <a:pt x="174" y="1356"/>
                </a:lnTo>
                <a:lnTo>
                  <a:pt x="174" y="1348"/>
                </a:lnTo>
                <a:lnTo>
                  <a:pt x="176" y="1338"/>
                </a:lnTo>
                <a:lnTo>
                  <a:pt x="176" y="1330"/>
                </a:lnTo>
                <a:lnTo>
                  <a:pt x="176" y="1326"/>
                </a:lnTo>
                <a:lnTo>
                  <a:pt x="172" y="1324"/>
                </a:lnTo>
                <a:lnTo>
                  <a:pt x="168" y="1322"/>
                </a:lnTo>
                <a:lnTo>
                  <a:pt x="162" y="1322"/>
                </a:lnTo>
                <a:lnTo>
                  <a:pt x="142" y="1328"/>
                </a:lnTo>
                <a:lnTo>
                  <a:pt x="116" y="1336"/>
                </a:lnTo>
                <a:lnTo>
                  <a:pt x="94" y="1346"/>
                </a:lnTo>
                <a:lnTo>
                  <a:pt x="56" y="1364"/>
                </a:lnTo>
                <a:lnTo>
                  <a:pt x="30" y="1378"/>
                </a:lnTo>
                <a:lnTo>
                  <a:pt x="18" y="1384"/>
                </a:lnTo>
                <a:lnTo>
                  <a:pt x="10" y="1386"/>
                </a:lnTo>
                <a:lnTo>
                  <a:pt x="4" y="1388"/>
                </a:lnTo>
                <a:lnTo>
                  <a:pt x="0" y="1392"/>
                </a:lnTo>
                <a:lnTo>
                  <a:pt x="0" y="1396"/>
                </a:lnTo>
                <a:lnTo>
                  <a:pt x="2" y="1400"/>
                </a:lnTo>
                <a:lnTo>
                  <a:pt x="8" y="1404"/>
                </a:lnTo>
                <a:lnTo>
                  <a:pt x="18" y="1408"/>
                </a:lnTo>
                <a:lnTo>
                  <a:pt x="28" y="1412"/>
                </a:lnTo>
                <a:lnTo>
                  <a:pt x="44" y="1414"/>
                </a:lnTo>
                <a:lnTo>
                  <a:pt x="54" y="1414"/>
                </a:lnTo>
                <a:lnTo>
                  <a:pt x="60" y="1416"/>
                </a:lnTo>
                <a:lnTo>
                  <a:pt x="60" y="1420"/>
                </a:lnTo>
                <a:lnTo>
                  <a:pt x="56" y="1424"/>
                </a:lnTo>
                <a:lnTo>
                  <a:pt x="52" y="1428"/>
                </a:lnTo>
                <a:lnTo>
                  <a:pt x="50" y="1432"/>
                </a:lnTo>
                <a:lnTo>
                  <a:pt x="50" y="1436"/>
                </a:lnTo>
                <a:lnTo>
                  <a:pt x="56" y="1442"/>
                </a:lnTo>
                <a:lnTo>
                  <a:pt x="64" y="1446"/>
                </a:lnTo>
                <a:lnTo>
                  <a:pt x="68" y="1450"/>
                </a:lnTo>
                <a:lnTo>
                  <a:pt x="68" y="1460"/>
                </a:lnTo>
                <a:lnTo>
                  <a:pt x="70" y="1464"/>
                </a:lnTo>
                <a:lnTo>
                  <a:pt x="74" y="1468"/>
                </a:lnTo>
                <a:lnTo>
                  <a:pt x="82" y="1470"/>
                </a:lnTo>
                <a:lnTo>
                  <a:pt x="94" y="1474"/>
                </a:lnTo>
                <a:lnTo>
                  <a:pt x="110" y="1474"/>
                </a:lnTo>
                <a:lnTo>
                  <a:pt x="122" y="1472"/>
                </a:lnTo>
                <a:lnTo>
                  <a:pt x="144" y="1466"/>
                </a:lnTo>
                <a:lnTo>
                  <a:pt x="156" y="1464"/>
                </a:lnTo>
                <a:lnTo>
                  <a:pt x="166" y="1464"/>
                </a:lnTo>
                <a:lnTo>
                  <a:pt x="178" y="1466"/>
                </a:lnTo>
                <a:lnTo>
                  <a:pt x="190" y="1474"/>
                </a:lnTo>
                <a:lnTo>
                  <a:pt x="198" y="1476"/>
                </a:lnTo>
                <a:lnTo>
                  <a:pt x="204" y="1478"/>
                </a:lnTo>
                <a:lnTo>
                  <a:pt x="212" y="1478"/>
                </a:lnTo>
                <a:lnTo>
                  <a:pt x="218" y="1476"/>
                </a:lnTo>
                <a:lnTo>
                  <a:pt x="230" y="1470"/>
                </a:lnTo>
                <a:lnTo>
                  <a:pt x="242" y="1460"/>
                </a:lnTo>
                <a:lnTo>
                  <a:pt x="254" y="1452"/>
                </a:lnTo>
                <a:lnTo>
                  <a:pt x="266" y="1446"/>
                </a:lnTo>
                <a:lnTo>
                  <a:pt x="272" y="1444"/>
                </a:lnTo>
                <a:lnTo>
                  <a:pt x="276" y="1444"/>
                </a:lnTo>
                <a:lnTo>
                  <a:pt x="282" y="1446"/>
                </a:lnTo>
                <a:lnTo>
                  <a:pt x="286" y="1450"/>
                </a:lnTo>
                <a:lnTo>
                  <a:pt x="290" y="1454"/>
                </a:lnTo>
                <a:lnTo>
                  <a:pt x="292" y="1458"/>
                </a:lnTo>
                <a:lnTo>
                  <a:pt x="290" y="1460"/>
                </a:lnTo>
                <a:lnTo>
                  <a:pt x="288" y="1464"/>
                </a:lnTo>
                <a:lnTo>
                  <a:pt x="282" y="1466"/>
                </a:lnTo>
                <a:lnTo>
                  <a:pt x="274" y="1468"/>
                </a:lnTo>
                <a:lnTo>
                  <a:pt x="266" y="1470"/>
                </a:lnTo>
                <a:lnTo>
                  <a:pt x="262" y="1472"/>
                </a:lnTo>
                <a:lnTo>
                  <a:pt x="262" y="1474"/>
                </a:lnTo>
                <a:lnTo>
                  <a:pt x="262" y="1478"/>
                </a:lnTo>
                <a:lnTo>
                  <a:pt x="274" y="1484"/>
                </a:lnTo>
                <a:lnTo>
                  <a:pt x="282" y="1488"/>
                </a:lnTo>
                <a:lnTo>
                  <a:pt x="286" y="1494"/>
                </a:lnTo>
                <a:lnTo>
                  <a:pt x="290" y="1498"/>
                </a:lnTo>
                <a:lnTo>
                  <a:pt x="292" y="1504"/>
                </a:lnTo>
                <a:lnTo>
                  <a:pt x="294" y="1508"/>
                </a:lnTo>
                <a:lnTo>
                  <a:pt x="292" y="1514"/>
                </a:lnTo>
                <a:lnTo>
                  <a:pt x="288" y="1522"/>
                </a:lnTo>
                <a:lnTo>
                  <a:pt x="280" y="1530"/>
                </a:lnTo>
                <a:lnTo>
                  <a:pt x="270" y="1536"/>
                </a:lnTo>
                <a:lnTo>
                  <a:pt x="258" y="1540"/>
                </a:lnTo>
                <a:lnTo>
                  <a:pt x="246" y="1538"/>
                </a:lnTo>
                <a:lnTo>
                  <a:pt x="240" y="1538"/>
                </a:lnTo>
                <a:lnTo>
                  <a:pt x="234" y="1538"/>
                </a:lnTo>
                <a:lnTo>
                  <a:pt x="226" y="1542"/>
                </a:lnTo>
                <a:lnTo>
                  <a:pt x="220" y="1548"/>
                </a:lnTo>
                <a:lnTo>
                  <a:pt x="216" y="1556"/>
                </a:lnTo>
                <a:lnTo>
                  <a:pt x="210" y="1564"/>
                </a:lnTo>
                <a:lnTo>
                  <a:pt x="202" y="1568"/>
                </a:lnTo>
                <a:lnTo>
                  <a:pt x="198" y="1570"/>
                </a:lnTo>
                <a:lnTo>
                  <a:pt x="192" y="1568"/>
                </a:lnTo>
                <a:lnTo>
                  <a:pt x="186" y="1566"/>
                </a:lnTo>
                <a:lnTo>
                  <a:pt x="180" y="1562"/>
                </a:lnTo>
                <a:lnTo>
                  <a:pt x="172" y="1558"/>
                </a:lnTo>
                <a:lnTo>
                  <a:pt x="166" y="1558"/>
                </a:lnTo>
                <a:lnTo>
                  <a:pt x="160" y="1558"/>
                </a:lnTo>
                <a:lnTo>
                  <a:pt x="154" y="1558"/>
                </a:lnTo>
                <a:lnTo>
                  <a:pt x="144" y="1564"/>
                </a:lnTo>
                <a:lnTo>
                  <a:pt x="138" y="1574"/>
                </a:lnTo>
                <a:lnTo>
                  <a:pt x="124" y="1596"/>
                </a:lnTo>
                <a:lnTo>
                  <a:pt x="118" y="1606"/>
                </a:lnTo>
                <a:lnTo>
                  <a:pt x="112" y="1610"/>
                </a:lnTo>
                <a:lnTo>
                  <a:pt x="106" y="1614"/>
                </a:lnTo>
                <a:lnTo>
                  <a:pt x="102" y="1618"/>
                </a:lnTo>
                <a:lnTo>
                  <a:pt x="96" y="1628"/>
                </a:lnTo>
                <a:lnTo>
                  <a:pt x="92" y="1640"/>
                </a:lnTo>
                <a:lnTo>
                  <a:pt x="88" y="1646"/>
                </a:lnTo>
                <a:lnTo>
                  <a:pt x="82" y="1652"/>
                </a:lnTo>
                <a:lnTo>
                  <a:pt x="76" y="1656"/>
                </a:lnTo>
                <a:lnTo>
                  <a:pt x="74" y="1660"/>
                </a:lnTo>
                <a:lnTo>
                  <a:pt x="74" y="1664"/>
                </a:lnTo>
                <a:lnTo>
                  <a:pt x="76" y="1670"/>
                </a:lnTo>
                <a:lnTo>
                  <a:pt x="88" y="1680"/>
                </a:lnTo>
                <a:lnTo>
                  <a:pt x="108" y="1696"/>
                </a:lnTo>
                <a:lnTo>
                  <a:pt x="116" y="1704"/>
                </a:lnTo>
                <a:lnTo>
                  <a:pt x="120" y="1712"/>
                </a:lnTo>
                <a:lnTo>
                  <a:pt x="118" y="1718"/>
                </a:lnTo>
                <a:lnTo>
                  <a:pt x="116" y="1724"/>
                </a:lnTo>
                <a:lnTo>
                  <a:pt x="114" y="1728"/>
                </a:lnTo>
                <a:lnTo>
                  <a:pt x="112" y="1734"/>
                </a:lnTo>
                <a:lnTo>
                  <a:pt x="112" y="1738"/>
                </a:lnTo>
                <a:lnTo>
                  <a:pt x="118" y="1744"/>
                </a:lnTo>
                <a:lnTo>
                  <a:pt x="132" y="1758"/>
                </a:lnTo>
                <a:lnTo>
                  <a:pt x="148" y="1772"/>
                </a:lnTo>
                <a:lnTo>
                  <a:pt x="158" y="1778"/>
                </a:lnTo>
                <a:lnTo>
                  <a:pt x="168" y="1782"/>
                </a:lnTo>
                <a:lnTo>
                  <a:pt x="180" y="1784"/>
                </a:lnTo>
                <a:lnTo>
                  <a:pt x="194" y="1780"/>
                </a:lnTo>
                <a:lnTo>
                  <a:pt x="208" y="1776"/>
                </a:lnTo>
                <a:lnTo>
                  <a:pt x="220" y="1774"/>
                </a:lnTo>
                <a:lnTo>
                  <a:pt x="228" y="1774"/>
                </a:lnTo>
                <a:lnTo>
                  <a:pt x="236" y="1776"/>
                </a:lnTo>
                <a:lnTo>
                  <a:pt x="240" y="1782"/>
                </a:lnTo>
                <a:lnTo>
                  <a:pt x="242" y="1788"/>
                </a:lnTo>
                <a:lnTo>
                  <a:pt x="242" y="1798"/>
                </a:lnTo>
                <a:lnTo>
                  <a:pt x="240" y="1808"/>
                </a:lnTo>
                <a:lnTo>
                  <a:pt x="236" y="1818"/>
                </a:lnTo>
                <a:lnTo>
                  <a:pt x="236" y="1824"/>
                </a:lnTo>
                <a:lnTo>
                  <a:pt x="238" y="1828"/>
                </a:lnTo>
                <a:lnTo>
                  <a:pt x="242" y="1830"/>
                </a:lnTo>
                <a:lnTo>
                  <a:pt x="244" y="1832"/>
                </a:lnTo>
                <a:lnTo>
                  <a:pt x="246" y="1834"/>
                </a:lnTo>
                <a:lnTo>
                  <a:pt x="246" y="1840"/>
                </a:lnTo>
                <a:lnTo>
                  <a:pt x="244" y="1848"/>
                </a:lnTo>
                <a:lnTo>
                  <a:pt x="242" y="1856"/>
                </a:lnTo>
                <a:lnTo>
                  <a:pt x="244" y="1862"/>
                </a:lnTo>
                <a:lnTo>
                  <a:pt x="248" y="1864"/>
                </a:lnTo>
                <a:lnTo>
                  <a:pt x="254" y="1862"/>
                </a:lnTo>
                <a:lnTo>
                  <a:pt x="262" y="1860"/>
                </a:lnTo>
                <a:lnTo>
                  <a:pt x="270" y="1856"/>
                </a:lnTo>
                <a:lnTo>
                  <a:pt x="284" y="1844"/>
                </a:lnTo>
                <a:lnTo>
                  <a:pt x="292" y="1840"/>
                </a:lnTo>
                <a:lnTo>
                  <a:pt x="300" y="1838"/>
                </a:lnTo>
                <a:lnTo>
                  <a:pt x="308" y="1838"/>
                </a:lnTo>
                <a:lnTo>
                  <a:pt x="318" y="1842"/>
                </a:lnTo>
                <a:lnTo>
                  <a:pt x="326" y="1846"/>
                </a:lnTo>
                <a:lnTo>
                  <a:pt x="336" y="1852"/>
                </a:lnTo>
                <a:lnTo>
                  <a:pt x="352" y="1866"/>
                </a:lnTo>
                <a:lnTo>
                  <a:pt x="358" y="1870"/>
                </a:lnTo>
                <a:lnTo>
                  <a:pt x="364" y="1870"/>
                </a:lnTo>
                <a:lnTo>
                  <a:pt x="368" y="1868"/>
                </a:lnTo>
                <a:lnTo>
                  <a:pt x="370" y="1864"/>
                </a:lnTo>
                <a:lnTo>
                  <a:pt x="376" y="1858"/>
                </a:lnTo>
                <a:lnTo>
                  <a:pt x="380" y="1856"/>
                </a:lnTo>
                <a:lnTo>
                  <a:pt x="386" y="1858"/>
                </a:lnTo>
                <a:lnTo>
                  <a:pt x="392" y="1860"/>
                </a:lnTo>
                <a:lnTo>
                  <a:pt x="402" y="1858"/>
                </a:lnTo>
                <a:lnTo>
                  <a:pt x="420" y="1852"/>
                </a:lnTo>
                <a:lnTo>
                  <a:pt x="432" y="1846"/>
                </a:lnTo>
                <a:lnTo>
                  <a:pt x="434" y="1848"/>
                </a:lnTo>
                <a:lnTo>
                  <a:pt x="430" y="1854"/>
                </a:lnTo>
                <a:lnTo>
                  <a:pt x="420" y="1872"/>
                </a:lnTo>
                <a:lnTo>
                  <a:pt x="414" y="1886"/>
                </a:lnTo>
                <a:lnTo>
                  <a:pt x="410" y="1900"/>
                </a:lnTo>
                <a:lnTo>
                  <a:pt x="410" y="1918"/>
                </a:lnTo>
                <a:lnTo>
                  <a:pt x="410" y="1924"/>
                </a:lnTo>
                <a:lnTo>
                  <a:pt x="406" y="1930"/>
                </a:lnTo>
                <a:lnTo>
                  <a:pt x="402" y="1932"/>
                </a:lnTo>
                <a:lnTo>
                  <a:pt x="398" y="1934"/>
                </a:lnTo>
                <a:lnTo>
                  <a:pt x="392" y="1936"/>
                </a:lnTo>
                <a:lnTo>
                  <a:pt x="386" y="1940"/>
                </a:lnTo>
                <a:lnTo>
                  <a:pt x="380" y="1946"/>
                </a:lnTo>
                <a:lnTo>
                  <a:pt x="374" y="1958"/>
                </a:lnTo>
                <a:lnTo>
                  <a:pt x="368" y="1968"/>
                </a:lnTo>
                <a:lnTo>
                  <a:pt x="360" y="1974"/>
                </a:lnTo>
                <a:lnTo>
                  <a:pt x="352" y="1980"/>
                </a:lnTo>
                <a:lnTo>
                  <a:pt x="342" y="1984"/>
                </a:lnTo>
                <a:lnTo>
                  <a:pt x="334" y="1988"/>
                </a:lnTo>
                <a:lnTo>
                  <a:pt x="324" y="1992"/>
                </a:lnTo>
                <a:lnTo>
                  <a:pt x="314" y="2000"/>
                </a:lnTo>
                <a:lnTo>
                  <a:pt x="306" y="2012"/>
                </a:lnTo>
                <a:lnTo>
                  <a:pt x="300" y="2022"/>
                </a:lnTo>
                <a:lnTo>
                  <a:pt x="296" y="2026"/>
                </a:lnTo>
                <a:lnTo>
                  <a:pt x="292" y="2028"/>
                </a:lnTo>
                <a:lnTo>
                  <a:pt x="288" y="2028"/>
                </a:lnTo>
                <a:lnTo>
                  <a:pt x="276" y="2026"/>
                </a:lnTo>
                <a:lnTo>
                  <a:pt x="268" y="2026"/>
                </a:lnTo>
                <a:lnTo>
                  <a:pt x="256" y="2030"/>
                </a:lnTo>
                <a:lnTo>
                  <a:pt x="244" y="2034"/>
                </a:lnTo>
                <a:lnTo>
                  <a:pt x="236" y="2040"/>
                </a:lnTo>
                <a:lnTo>
                  <a:pt x="232" y="2044"/>
                </a:lnTo>
                <a:lnTo>
                  <a:pt x="228" y="2048"/>
                </a:lnTo>
                <a:lnTo>
                  <a:pt x="224" y="2058"/>
                </a:lnTo>
                <a:lnTo>
                  <a:pt x="218" y="2062"/>
                </a:lnTo>
                <a:lnTo>
                  <a:pt x="210" y="2066"/>
                </a:lnTo>
                <a:lnTo>
                  <a:pt x="200" y="2072"/>
                </a:lnTo>
                <a:lnTo>
                  <a:pt x="194" y="2078"/>
                </a:lnTo>
                <a:lnTo>
                  <a:pt x="190" y="2082"/>
                </a:lnTo>
                <a:lnTo>
                  <a:pt x="188" y="2088"/>
                </a:lnTo>
                <a:lnTo>
                  <a:pt x="188" y="2092"/>
                </a:lnTo>
                <a:lnTo>
                  <a:pt x="192" y="2092"/>
                </a:lnTo>
                <a:lnTo>
                  <a:pt x="200" y="2092"/>
                </a:lnTo>
                <a:lnTo>
                  <a:pt x="212" y="2088"/>
                </a:lnTo>
                <a:lnTo>
                  <a:pt x="226" y="2084"/>
                </a:lnTo>
                <a:lnTo>
                  <a:pt x="236" y="2076"/>
                </a:lnTo>
                <a:lnTo>
                  <a:pt x="248" y="2064"/>
                </a:lnTo>
                <a:lnTo>
                  <a:pt x="256" y="2056"/>
                </a:lnTo>
                <a:lnTo>
                  <a:pt x="258" y="2056"/>
                </a:lnTo>
                <a:lnTo>
                  <a:pt x="262" y="2060"/>
                </a:lnTo>
                <a:lnTo>
                  <a:pt x="266" y="2064"/>
                </a:lnTo>
                <a:lnTo>
                  <a:pt x="270" y="2064"/>
                </a:lnTo>
                <a:lnTo>
                  <a:pt x="278" y="2062"/>
                </a:lnTo>
                <a:lnTo>
                  <a:pt x="282" y="2060"/>
                </a:lnTo>
                <a:lnTo>
                  <a:pt x="286" y="2060"/>
                </a:lnTo>
                <a:lnTo>
                  <a:pt x="288" y="2062"/>
                </a:lnTo>
                <a:lnTo>
                  <a:pt x="290" y="2068"/>
                </a:lnTo>
                <a:lnTo>
                  <a:pt x="292" y="2074"/>
                </a:lnTo>
                <a:lnTo>
                  <a:pt x="296" y="2078"/>
                </a:lnTo>
                <a:lnTo>
                  <a:pt x="300" y="2078"/>
                </a:lnTo>
                <a:lnTo>
                  <a:pt x="302" y="2078"/>
                </a:lnTo>
                <a:lnTo>
                  <a:pt x="306" y="2074"/>
                </a:lnTo>
                <a:lnTo>
                  <a:pt x="308" y="2070"/>
                </a:lnTo>
                <a:lnTo>
                  <a:pt x="308" y="2066"/>
                </a:lnTo>
                <a:lnTo>
                  <a:pt x="308" y="2060"/>
                </a:lnTo>
                <a:lnTo>
                  <a:pt x="306" y="2054"/>
                </a:lnTo>
                <a:lnTo>
                  <a:pt x="308" y="2050"/>
                </a:lnTo>
                <a:lnTo>
                  <a:pt x="312" y="2044"/>
                </a:lnTo>
                <a:lnTo>
                  <a:pt x="318" y="2042"/>
                </a:lnTo>
                <a:lnTo>
                  <a:pt x="322" y="2040"/>
                </a:lnTo>
                <a:lnTo>
                  <a:pt x="328" y="2040"/>
                </a:lnTo>
                <a:lnTo>
                  <a:pt x="332" y="2042"/>
                </a:lnTo>
                <a:lnTo>
                  <a:pt x="334" y="2046"/>
                </a:lnTo>
                <a:lnTo>
                  <a:pt x="334" y="2048"/>
                </a:lnTo>
                <a:lnTo>
                  <a:pt x="336" y="2050"/>
                </a:lnTo>
                <a:lnTo>
                  <a:pt x="340" y="2048"/>
                </a:lnTo>
                <a:lnTo>
                  <a:pt x="354" y="2040"/>
                </a:lnTo>
                <a:lnTo>
                  <a:pt x="372" y="2028"/>
                </a:lnTo>
                <a:lnTo>
                  <a:pt x="380" y="2022"/>
                </a:lnTo>
                <a:lnTo>
                  <a:pt x="390" y="2022"/>
                </a:lnTo>
                <a:lnTo>
                  <a:pt x="394" y="2020"/>
                </a:lnTo>
                <a:lnTo>
                  <a:pt x="396" y="2020"/>
                </a:lnTo>
                <a:lnTo>
                  <a:pt x="394" y="2012"/>
                </a:lnTo>
                <a:lnTo>
                  <a:pt x="396" y="2008"/>
                </a:lnTo>
                <a:lnTo>
                  <a:pt x="400" y="2000"/>
                </a:lnTo>
                <a:lnTo>
                  <a:pt x="408" y="1992"/>
                </a:lnTo>
                <a:lnTo>
                  <a:pt x="424" y="1982"/>
                </a:lnTo>
                <a:lnTo>
                  <a:pt x="440" y="1972"/>
                </a:lnTo>
                <a:lnTo>
                  <a:pt x="454" y="1964"/>
                </a:lnTo>
                <a:lnTo>
                  <a:pt x="462" y="1956"/>
                </a:lnTo>
                <a:lnTo>
                  <a:pt x="468" y="1950"/>
                </a:lnTo>
                <a:lnTo>
                  <a:pt x="478" y="1938"/>
                </a:lnTo>
                <a:lnTo>
                  <a:pt x="484" y="1932"/>
                </a:lnTo>
                <a:lnTo>
                  <a:pt x="494" y="1926"/>
                </a:lnTo>
                <a:lnTo>
                  <a:pt x="516" y="1916"/>
                </a:lnTo>
                <a:lnTo>
                  <a:pt x="538" y="1902"/>
                </a:lnTo>
                <a:lnTo>
                  <a:pt x="548" y="1896"/>
                </a:lnTo>
                <a:lnTo>
                  <a:pt x="556" y="1888"/>
                </a:lnTo>
                <a:lnTo>
                  <a:pt x="562" y="1882"/>
                </a:lnTo>
                <a:lnTo>
                  <a:pt x="566" y="1874"/>
                </a:lnTo>
                <a:lnTo>
                  <a:pt x="568" y="1866"/>
                </a:lnTo>
                <a:lnTo>
                  <a:pt x="572" y="1862"/>
                </a:lnTo>
                <a:lnTo>
                  <a:pt x="580" y="1856"/>
                </a:lnTo>
                <a:lnTo>
                  <a:pt x="588" y="1850"/>
                </a:lnTo>
                <a:lnTo>
                  <a:pt x="592" y="1846"/>
                </a:lnTo>
                <a:lnTo>
                  <a:pt x="592" y="1840"/>
                </a:lnTo>
                <a:lnTo>
                  <a:pt x="592" y="1836"/>
                </a:lnTo>
                <a:lnTo>
                  <a:pt x="590" y="1834"/>
                </a:lnTo>
                <a:lnTo>
                  <a:pt x="584" y="1832"/>
                </a:lnTo>
                <a:lnTo>
                  <a:pt x="564" y="1832"/>
                </a:lnTo>
                <a:lnTo>
                  <a:pt x="556" y="1830"/>
                </a:lnTo>
                <a:lnTo>
                  <a:pt x="554" y="1828"/>
                </a:lnTo>
                <a:lnTo>
                  <a:pt x="554" y="1824"/>
                </a:lnTo>
                <a:lnTo>
                  <a:pt x="558" y="1820"/>
                </a:lnTo>
                <a:lnTo>
                  <a:pt x="570" y="1810"/>
                </a:lnTo>
                <a:lnTo>
                  <a:pt x="598" y="1786"/>
                </a:lnTo>
                <a:lnTo>
                  <a:pt x="618" y="1766"/>
                </a:lnTo>
                <a:lnTo>
                  <a:pt x="632" y="1748"/>
                </a:lnTo>
                <a:lnTo>
                  <a:pt x="646" y="1726"/>
                </a:lnTo>
                <a:lnTo>
                  <a:pt x="654" y="1714"/>
                </a:lnTo>
                <a:lnTo>
                  <a:pt x="666" y="1704"/>
                </a:lnTo>
                <a:lnTo>
                  <a:pt x="680" y="1696"/>
                </a:lnTo>
                <a:lnTo>
                  <a:pt x="694" y="1690"/>
                </a:lnTo>
                <a:lnTo>
                  <a:pt x="710" y="1688"/>
                </a:lnTo>
                <a:lnTo>
                  <a:pt x="726" y="1692"/>
                </a:lnTo>
                <a:lnTo>
                  <a:pt x="744" y="1698"/>
                </a:lnTo>
                <a:lnTo>
                  <a:pt x="752" y="1704"/>
                </a:lnTo>
                <a:lnTo>
                  <a:pt x="758" y="1710"/>
                </a:lnTo>
                <a:lnTo>
                  <a:pt x="770" y="1720"/>
                </a:lnTo>
                <a:lnTo>
                  <a:pt x="770" y="1722"/>
                </a:lnTo>
                <a:lnTo>
                  <a:pt x="770" y="1724"/>
                </a:lnTo>
                <a:lnTo>
                  <a:pt x="752" y="1714"/>
                </a:lnTo>
                <a:lnTo>
                  <a:pt x="738" y="1708"/>
                </a:lnTo>
                <a:lnTo>
                  <a:pt x="722" y="1702"/>
                </a:lnTo>
                <a:lnTo>
                  <a:pt x="712" y="1702"/>
                </a:lnTo>
                <a:lnTo>
                  <a:pt x="704" y="1702"/>
                </a:lnTo>
                <a:lnTo>
                  <a:pt x="696" y="1704"/>
                </a:lnTo>
                <a:lnTo>
                  <a:pt x="690" y="1706"/>
                </a:lnTo>
                <a:lnTo>
                  <a:pt x="680" y="1716"/>
                </a:lnTo>
                <a:lnTo>
                  <a:pt x="674" y="1722"/>
                </a:lnTo>
                <a:lnTo>
                  <a:pt x="672" y="1728"/>
                </a:lnTo>
                <a:lnTo>
                  <a:pt x="672" y="1734"/>
                </a:lnTo>
                <a:lnTo>
                  <a:pt x="672" y="1742"/>
                </a:lnTo>
                <a:lnTo>
                  <a:pt x="670" y="1748"/>
                </a:lnTo>
                <a:lnTo>
                  <a:pt x="668" y="1756"/>
                </a:lnTo>
                <a:lnTo>
                  <a:pt x="658" y="1766"/>
                </a:lnTo>
                <a:lnTo>
                  <a:pt x="652" y="1776"/>
                </a:lnTo>
                <a:lnTo>
                  <a:pt x="650" y="1782"/>
                </a:lnTo>
                <a:lnTo>
                  <a:pt x="652" y="1788"/>
                </a:lnTo>
                <a:lnTo>
                  <a:pt x="656" y="1792"/>
                </a:lnTo>
                <a:lnTo>
                  <a:pt x="660" y="1794"/>
                </a:lnTo>
                <a:lnTo>
                  <a:pt x="662" y="1798"/>
                </a:lnTo>
                <a:lnTo>
                  <a:pt x="662" y="1800"/>
                </a:lnTo>
                <a:lnTo>
                  <a:pt x="656" y="1806"/>
                </a:lnTo>
                <a:lnTo>
                  <a:pt x="646" y="1812"/>
                </a:lnTo>
                <a:lnTo>
                  <a:pt x="644" y="1816"/>
                </a:lnTo>
                <a:lnTo>
                  <a:pt x="644" y="1818"/>
                </a:lnTo>
                <a:lnTo>
                  <a:pt x="646" y="1820"/>
                </a:lnTo>
                <a:lnTo>
                  <a:pt x="650" y="1822"/>
                </a:lnTo>
                <a:lnTo>
                  <a:pt x="658" y="1824"/>
                </a:lnTo>
                <a:lnTo>
                  <a:pt x="670" y="1824"/>
                </a:lnTo>
                <a:lnTo>
                  <a:pt x="684" y="1820"/>
                </a:lnTo>
                <a:lnTo>
                  <a:pt x="700" y="1814"/>
                </a:lnTo>
                <a:lnTo>
                  <a:pt x="712" y="1806"/>
                </a:lnTo>
                <a:lnTo>
                  <a:pt x="732" y="1788"/>
                </a:lnTo>
                <a:lnTo>
                  <a:pt x="748" y="1778"/>
                </a:lnTo>
                <a:lnTo>
                  <a:pt x="762" y="1774"/>
                </a:lnTo>
                <a:lnTo>
                  <a:pt x="778" y="1772"/>
                </a:lnTo>
                <a:lnTo>
                  <a:pt x="786" y="1772"/>
                </a:lnTo>
                <a:lnTo>
                  <a:pt x="790" y="1770"/>
                </a:lnTo>
                <a:lnTo>
                  <a:pt x="790" y="1768"/>
                </a:lnTo>
                <a:lnTo>
                  <a:pt x="790" y="1764"/>
                </a:lnTo>
                <a:lnTo>
                  <a:pt x="790" y="1760"/>
                </a:lnTo>
                <a:lnTo>
                  <a:pt x="790" y="1756"/>
                </a:lnTo>
                <a:lnTo>
                  <a:pt x="794" y="1754"/>
                </a:lnTo>
                <a:lnTo>
                  <a:pt x="800" y="1750"/>
                </a:lnTo>
                <a:lnTo>
                  <a:pt x="806" y="1746"/>
                </a:lnTo>
                <a:lnTo>
                  <a:pt x="806" y="1742"/>
                </a:lnTo>
                <a:lnTo>
                  <a:pt x="804" y="1736"/>
                </a:lnTo>
                <a:lnTo>
                  <a:pt x="802" y="1730"/>
                </a:lnTo>
                <a:lnTo>
                  <a:pt x="800" y="1724"/>
                </a:lnTo>
                <a:lnTo>
                  <a:pt x="800" y="1720"/>
                </a:lnTo>
                <a:lnTo>
                  <a:pt x="804" y="1716"/>
                </a:lnTo>
                <a:lnTo>
                  <a:pt x="812" y="1714"/>
                </a:lnTo>
                <a:lnTo>
                  <a:pt x="824" y="1712"/>
                </a:lnTo>
                <a:lnTo>
                  <a:pt x="834" y="1710"/>
                </a:lnTo>
                <a:lnTo>
                  <a:pt x="850" y="1704"/>
                </a:lnTo>
                <a:lnTo>
                  <a:pt x="856" y="1702"/>
                </a:lnTo>
                <a:lnTo>
                  <a:pt x="860" y="1704"/>
                </a:lnTo>
                <a:lnTo>
                  <a:pt x="862" y="1706"/>
                </a:lnTo>
                <a:lnTo>
                  <a:pt x="862" y="1712"/>
                </a:lnTo>
                <a:lnTo>
                  <a:pt x="864" y="1720"/>
                </a:lnTo>
                <a:lnTo>
                  <a:pt x="866" y="1724"/>
                </a:lnTo>
                <a:lnTo>
                  <a:pt x="870" y="1728"/>
                </a:lnTo>
                <a:lnTo>
                  <a:pt x="874" y="1730"/>
                </a:lnTo>
                <a:lnTo>
                  <a:pt x="888" y="1734"/>
                </a:lnTo>
                <a:lnTo>
                  <a:pt x="896" y="1738"/>
                </a:lnTo>
                <a:lnTo>
                  <a:pt x="906" y="1742"/>
                </a:lnTo>
                <a:lnTo>
                  <a:pt x="914" y="1746"/>
                </a:lnTo>
                <a:lnTo>
                  <a:pt x="918" y="1746"/>
                </a:lnTo>
                <a:lnTo>
                  <a:pt x="922" y="1744"/>
                </a:lnTo>
                <a:lnTo>
                  <a:pt x="924" y="1742"/>
                </a:lnTo>
                <a:lnTo>
                  <a:pt x="928" y="1740"/>
                </a:lnTo>
                <a:lnTo>
                  <a:pt x="930" y="1740"/>
                </a:lnTo>
                <a:lnTo>
                  <a:pt x="934" y="1742"/>
                </a:lnTo>
                <a:lnTo>
                  <a:pt x="940" y="1750"/>
                </a:lnTo>
                <a:lnTo>
                  <a:pt x="948" y="1758"/>
                </a:lnTo>
                <a:lnTo>
                  <a:pt x="958" y="1764"/>
                </a:lnTo>
                <a:lnTo>
                  <a:pt x="968" y="1766"/>
                </a:lnTo>
                <a:lnTo>
                  <a:pt x="978" y="1768"/>
                </a:lnTo>
                <a:lnTo>
                  <a:pt x="1002" y="1766"/>
                </a:lnTo>
                <a:lnTo>
                  <a:pt x="1026" y="1764"/>
                </a:lnTo>
                <a:lnTo>
                  <a:pt x="1036" y="1764"/>
                </a:lnTo>
                <a:lnTo>
                  <a:pt x="1050" y="1768"/>
                </a:lnTo>
                <a:lnTo>
                  <a:pt x="1078" y="1780"/>
                </a:lnTo>
                <a:lnTo>
                  <a:pt x="1090" y="1786"/>
                </a:lnTo>
                <a:lnTo>
                  <a:pt x="1104" y="1788"/>
                </a:lnTo>
                <a:lnTo>
                  <a:pt x="1116" y="1788"/>
                </a:lnTo>
                <a:lnTo>
                  <a:pt x="1122" y="1788"/>
                </a:lnTo>
                <a:lnTo>
                  <a:pt x="1126" y="1786"/>
                </a:lnTo>
                <a:lnTo>
                  <a:pt x="1136" y="1780"/>
                </a:lnTo>
                <a:lnTo>
                  <a:pt x="1142" y="1778"/>
                </a:lnTo>
                <a:lnTo>
                  <a:pt x="1148" y="1780"/>
                </a:lnTo>
                <a:lnTo>
                  <a:pt x="1150" y="1782"/>
                </a:lnTo>
                <a:lnTo>
                  <a:pt x="1150" y="1786"/>
                </a:lnTo>
                <a:lnTo>
                  <a:pt x="1150" y="1790"/>
                </a:lnTo>
                <a:lnTo>
                  <a:pt x="1146" y="1794"/>
                </a:lnTo>
                <a:lnTo>
                  <a:pt x="1142" y="1796"/>
                </a:lnTo>
                <a:lnTo>
                  <a:pt x="1138" y="1800"/>
                </a:lnTo>
                <a:lnTo>
                  <a:pt x="1140" y="1804"/>
                </a:lnTo>
                <a:lnTo>
                  <a:pt x="1146" y="1808"/>
                </a:lnTo>
                <a:lnTo>
                  <a:pt x="1154" y="1812"/>
                </a:lnTo>
                <a:lnTo>
                  <a:pt x="1174" y="1822"/>
                </a:lnTo>
                <a:lnTo>
                  <a:pt x="1192" y="1830"/>
                </a:lnTo>
                <a:lnTo>
                  <a:pt x="1206" y="1840"/>
                </a:lnTo>
                <a:lnTo>
                  <a:pt x="1216" y="1852"/>
                </a:lnTo>
                <a:lnTo>
                  <a:pt x="1228" y="1862"/>
                </a:lnTo>
                <a:lnTo>
                  <a:pt x="1246" y="1874"/>
                </a:lnTo>
                <a:lnTo>
                  <a:pt x="1254" y="1878"/>
                </a:lnTo>
                <a:lnTo>
                  <a:pt x="1264" y="1880"/>
                </a:lnTo>
                <a:lnTo>
                  <a:pt x="1272" y="1880"/>
                </a:lnTo>
                <a:lnTo>
                  <a:pt x="1278" y="1880"/>
                </a:lnTo>
                <a:lnTo>
                  <a:pt x="1282" y="1878"/>
                </a:lnTo>
                <a:lnTo>
                  <a:pt x="1284" y="1874"/>
                </a:lnTo>
                <a:lnTo>
                  <a:pt x="1284" y="1868"/>
                </a:lnTo>
                <a:lnTo>
                  <a:pt x="1280" y="1864"/>
                </a:lnTo>
                <a:lnTo>
                  <a:pt x="1272" y="1852"/>
                </a:lnTo>
                <a:lnTo>
                  <a:pt x="1268" y="1844"/>
                </a:lnTo>
                <a:lnTo>
                  <a:pt x="1268" y="1842"/>
                </a:lnTo>
                <a:lnTo>
                  <a:pt x="1270" y="1842"/>
                </a:lnTo>
                <a:lnTo>
                  <a:pt x="1282" y="1852"/>
                </a:lnTo>
                <a:lnTo>
                  <a:pt x="1298" y="1866"/>
                </a:lnTo>
                <a:lnTo>
                  <a:pt x="1314" y="1878"/>
                </a:lnTo>
                <a:lnTo>
                  <a:pt x="1320" y="1880"/>
                </a:lnTo>
                <a:lnTo>
                  <a:pt x="1324" y="1880"/>
                </a:lnTo>
                <a:lnTo>
                  <a:pt x="1326" y="1876"/>
                </a:lnTo>
                <a:lnTo>
                  <a:pt x="1326" y="1870"/>
                </a:lnTo>
                <a:lnTo>
                  <a:pt x="1322" y="1854"/>
                </a:lnTo>
                <a:lnTo>
                  <a:pt x="1322" y="1846"/>
                </a:lnTo>
                <a:lnTo>
                  <a:pt x="1324" y="1848"/>
                </a:lnTo>
                <a:lnTo>
                  <a:pt x="1334" y="1862"/>
                </a:lnTo>
                <a:lnTo>
                  <a:pt x="1338" y="1870"/>
                </a:lnTo>
                <a:lnTo>
                  <a:pt x="1344" y="1874"/>
                </a:lnTo>
                <a:lnTo>
                  <a:pt x="1350" y="1876"/>
                </a:lnTo>
                <a:lnTo>
                  <a:pt x="1354" y="1876"/>
                </a:lnTo>
                <a:lnTo>
                  <a:pt x="1358" y="1878"/>
                </a:lnTo>
                <a:lnTo>
                  <a:pt x="1364" y="1878"/>
                </a:lnTo>
                <a:lnTo>
                  <a:pt x="1368" y="1882"/>
                </a:lnTo>
                <a:lnTo>
                  <a:pt x="1372" y="1890"/>
                </a:lnTo>
                <a:lnTo>
                  <a:pt x="1378" y="1904"/>
                </a:lnTo>
                <a:lnTo>
                  <a:pt x="1382" y="1914"/>
                </a:lnTo>
                <a:lnTo>
                  <a:pt x="1386" y="1922"/>
                </a:lnTo>
                <a:lnTo>
                  <a:pt x="1392" y="1928"/>
                </a:lnTo>
                <a:lnTo>
                  <a:pt x="1394" y="1932"/>
                </a:lnTo>
                <a:lnTo>
                  <a:pt x="1394" y="1934"/>
                </a:lnTo>
                <a:lnTo>
                  <a:pt x="1390" y="1942"/>
                </a:lnTo>
                <a:lnTo>
                  <a:pt x="1388" y="1944"/>
                </a:lnTo>
                <a:lnTo>
                  <a:pt x="1390" y="1948"/>
                </a:lnTo>
                <a:lnTo>
                  <a:pt x="1392" y="1950"/>
                </a:lnTo>
                <a:lnTo>
                  <a:pt x="1400" y="1954"/>
                </a:lnTo>
                <a:lnTo>
                  <a:pt x="1412" y="1960"/>
                </a:lnTo>
                <a:lnTo>
                  <a:pt x="1414" y="1962"/>
                </a:lnTo>
                <a:lnTo>
                  <a:pt x="1416" y="1966"/>
                </a:lnTo>
                <a:lnTo>
                  <a:pt x="1422" y="1976"/>
                </a:lnTo>
                <a:lnTo>
                  <a:pt x="1426" y="1982"/>
                </a:lnTo>
                <a:lnTo>
                  <a:pt x="1434" y="1990"/>
                </a:lnTo>
                <a:lnTo>
                  <a:pt x="1452" y="2004"/>
                </a:lnTo>
                <a:lnTo>
                  <a:pt x="1464" y="2010"/>
                </a:lnTo>
                <a:lnTo>
                  <a:pt x="1468" y="2012"/>
                </a:lnTo>
                <a:lnTo>
                  <a:pt x="1460" y="2016"/>
                </a:lnTo>
                <a:lnTo>
                  <a:pt x="1452" y="2020"/>
                </a:lnTo>
                <a:lnTo>
                  <a:pt x="1450" y="2026"/>
                </a:lnTo>
                <a:lnTo>
                  <a:pt x="1448" y="2032"/>
                </a:lnTo>
                <a:lnTo>
                  <a:pt x="1442" y="2038"/>
                </a:lnTo>
                <a:lnTo>
                  <a:pt x="1440" y="2042"/>
                </a:lnTo>
                <a:lnTo>
                  <a:pt x="1440" y="2046"/>
                </a:lnTo>
                <a:lnTo>
                  <a:pt x="1440" y="2050"/>
                </a:lnTo>
                <a:lnTo>
                  <a:pt x="1444" y="2054"/>
                </a:lnTo>
                <a:lnTo>
                  <a:pt x="1446" y="2054"/>
                </a:lnTo>
                <a:lnTo>
                  <a:pt x="1450" y="2054"/>
                </a:lnTo>
                <a:lnTo>
                  <a:pt x="1452" y="2050"/>
                </a:lnTo>
                <a:lnTo>
                  <a:pt x="1456" y="2044"/>
                </a:lnTo>
                <a:lnTo>
                  <a:pt x="1462" y="2032"/>
                </a:lnTo>
                <a:lnTo>
                  <a:pt x="1466" y="2026"/>
                </a:lnTo>
                <a:lnTo>
                  <a:pt x="1470" y="2024"/>
                </a:lnTo>
                <a:lnTo>
                  <a:pt x="1474" y="2022"/>
                </a:lnTo>
                <a:lnTo>
                  <a:pt x="1480" y="2024"/>
                </a:lnTo>
                <a:lnTo>
                  <a:pt x="1484" y="2028"/>
                </a:lnTo>
                <a:lnTo>
                  <a:pt x="1488" y="2034"/>
                </a:lnTo>
                <a:lnTo>
                  <a:pt x="1492" y="2044"/>
                </a:lnTo>
                <a:lnTo>
                  <a:pt x="1494" y="2052"/>
                </a:lnTo>
                <a:lnTo>
                  <a:pt x="1494" y="2058"/>
                </a:lnTo>
                <a:lnTo>
                  <a:pt x="1492" y="2064"/>
                </a:lnTo>
                <a:lnTo>
                  <a:pt x="1488" y="2074"/>
                </a:lnTo>
                <a:lnTo>
                  <a:pt x="1488" y="2078"/>
                </a:lnTo>
                <a:lnTo>
                  <a:pt x="1488" y="2082"/>
                </a:lnTo>
                <a:lnTo>
                  <a:pt x="1492" y="2092"/>
                </a:lnTo>
                <a:lnTo>
                  <a:pt x="1494" y="2100"/>
                </a:lnTo>
                <a:lnTo>
                  <a:pt x="1496" y="2102"/>
                </a:lnTo>
                <a:lnTo>
                  <a:pt x="1500" y="2104"/>
                </a:lnTo>
                <a:lnTo>
                  <a:pt x="1504" y="2102"/>
                </a:lnTo>
                <a:lnTo>
                  <a:pt x="1508" y="2098"/>
                </a:lnTo>
                <a:lnTo>
                  <a:pt x="1518" y="2088"/>
                </a:lnTo>
                <a:lnTo>
                  <a:pt x="1524" y="2080"/>
                </a:lnTo>
                <a:lnTo>
                  <a:pt x="1526" y="2076"/>
                </a:lnTo>
                <a:lnTo>
                  <a:pt x="1526" y="2072"/>
                </a:lnTo>
                <a:lnTo>
                  <a:pt x="1524" y="2058"/>
                </a:lnTo>
                <a:lnTo>
                  <a:pt x="1522" y="2044"/>
                </a:lnTo>
                <a:lnTo>
                  <a:pt x="1524" y="2038"/>
                </a:lnTo>
                <a:lnTo>
                  <a:pt x="1528" y="2034"/>
                </a:lnTo>
                <a:lnTo>
                  <a:pt x="1530" y="2030"/>
                </a:lnTo>
                <a:lnTo>
                  <a:pt x="1530" y="2038"/>
                </a:lnTo>
                <a:lnTo>
                  <a:pt x="1530" y="2044"/>
                </a:lnTo>
                <a:lnTo>
                  <a:pt x="1532" y="2058"/>
                </a:lnTo>
                <a:lnTo>
                  <a:pt x="1534" y="2070"/>
                </a:lnTo>
                <a:lnTo>
                  <a:pt x="1534" y="2074"/>
                </a:lnTo>
                <a:lnTo>
                  <a:pt x="1530" y="2078"/>
                </a:lnTo>
                <a:lnTo>
                  <a:pt x="1526" y="2082"/>
                </a:lnTo>
                <a:lnTo>
                  <a:pt x="1526" y="2084"/>
                </a:lnTo>
                <a:lnTo>
                  <a:pt x="1526" y="2092"/>
                </a:lnTo>
                <a:lnTo>
                  <a:pt x="1526" y="2098"/>
                </a:lnTo>
                <a:lnTo>
                  <a:pt x="1524" y="2102"/>
                </a:lnTo>
                <a:lnTo>
                  <a:pt x="1522" y="2106"/>
                </a:lnTo>
                <a:lnTo>
                  <a:pt x="1516" y="2112"/>
                </a:lnTo>
                <a:lnTo>
                  <a:pt x="1512" y="2118"/>
                </a:lnTo>
                <a:lnTo>
                  <a:pt x="1512" y="2122"/>
                </a:lnTo>
                <a:lnTo>
                  <a:pt x="1514" y="2124"/>
                </a:lnTo>
                <a:lnTo>
                  <a:pt x="1518" y="2130"/>
                </a:lnTo>
                <a:lnTo>
                  <a:pt x="1522" y="2134"/>
                </a:lnTo>
                <a:lnTo>
                  <a:pt x="1524" y="2138"/>
                </a:lnTo>
                <a:lnTo>
                  <a:pt x="1528" y="2148"/>
                </a:lnTo>
                <a:lnTo>
                  <a:pt x="1534" y="2160"/>
                </a:lnTo>
                <a:lnTo>
                  <a:pt x="1544" y="2172"/>
                </a:lnTo>
                <a:lnTo>
                  <a:pt x="1554" y="2182"/>
                </a:lnTo>
                <a:lnTo>
                  <a:pt x="1558" y="2186"/>
                </a:lnTo>
                <a:lnTo>
                  <a:pt x="1560" y="2184"/>
                </a:lnTo>
                <a:lnTo>
                  <a:pt x="1562" y="2176"/>
                </a:lnTo>
                <a:lnTo>
                  <a:pt x="1564" y="2168"/>
                </a:lnTo>
                <a:lnTo>
                  <a:pt x="1568" y="2162"/>
                </a:lnTo>
                <a:lnTo>
                  <a:pt x="1574" y="2158"/>
                </a:lnTo>
                <a:lnTo>
                  <a:pt x="1584" y="2156"/>
                </a:lnTo>
                <a:lnTo>
                  <a:pt x="1592" y="2154"/>
                </a:lnTo>
                <a:lnTo>
                  <a:pt x="1594" y="2156"/>
                </a:lnTo>
                <a:lnTo>
                  <a:pt x="1588" y="2162"/>
                </a:lnTo>
                <a:lnTo>
                  <a:pt x="1582" y="2166"/>
                </a:lnTo>
                <a:lnTo>
                  <a:pt x="1578" y="2172"/>
                </a:lnTo>
                <a:lnTo>
                  <a:pt x="1576" y="2180"/>
                </a:lnTo>
                <a:lnTo>
                  <a:pt x="1576" y="2188"/>
                </a:lnTo>
                <a:lnTo>
                  <a:pt x="1582" y="2196"/>
                </a:lnTo>
                <a:lnTo>
                  <a:pt x="1586" y="2200"/>
                </a:lnTo>
                <a:lnTo>
                  <a:pt x="1588" y="2202"/>
                </a:lnTo>
                <a:lnTo>
                  <a:pt x="1590" y="2212"/>
                </a:lnTo>
                <a:lnTo>
                  <a:pt x="1592" y="2218"/>
                </a:lnTo>
                <a:lnTo>
                  <a:pt x="1596" y="2220"/>
                </a:lnTo>
                <a:lnTo>
                  <a:pt x="1600" y="2220"/>
                </a:lnTo>
                <a:lnTo>
                  <a:pt x="1604" y="2218"/>
                </a:lnTo>
                <a:lnTo>
                  <a:pt x="1608" y="2216"/>
                </a:lnTo>
                <a:lnTo>
                  <a:pt x="1610" y="2216"/>
                </a:lnTo>
                <a:lnTo>
                  <a:pt x="1610" y="2220"/>
                </a:lnTo>
                <a:lnTo>
                  <a:pt x="1606" y="2228"/>
                </a:lnTo>
                <a:lnTo>
                  <a:pt x="1600" y="2246"/>
                </a:lnTo>
                <a:lnTo>
                  <a:pt x="1596" y="2256"/>
                </a:lnTo>
                <a:lnTo>
                  <a:pt x="1598" y="2262"/>
                </a:lnTo>
                <a:lnTo>
                  <a:pt x="1600" y="2262"/>
                </a:lnTo>
                <a:lnTo>
                  <a:pt x="1602" y="2262"/>
                </a:lnTo>
                <a:lnTo>
                  <a:pt x="1602" y="2268"/>
                </a:lnTo>
                <a:lnTo>
                  <a:pt x="1604" y="2276"/>
                </a:lnTo>
                <a:lnTo>
                  <a:pt x="1606" y="2278"/>
                </a:lnTo>
                <a:lnTo>
                  <a:pt x="1608" y="2280"/>
                </a:lnTo>
                <a:lnTo>
                  <a:pt x="1612" y="2280"/>
                </a:lnTo>
                <a:lnTo>
                  <a:pt x="1614" y="2278"/>
                </a:lnTo>
                <a:lnTo>
                  <a:pt x="1614" y="2270"/>
                </a:lnTo>
                <a:lnTo>
                  <a:pt x="1616" y="2260"/>
                </a:lnTo>
                <a:lnTo>
                  <a:pt x="1618" y="2256"/>
                </a:lnTo>
                <a:lnTo>
                  <a:pt x="1622" y="2254"/>
                </a:lnTo>
                <a:lnTo>
                  <a:pt x="1632" y="2248"/>
                </a:lnTo>
                <a:lnTo>
                  <a:pt x="1638" y="2242"/>
                </a:lnTo>
                <a:lnTo>
                  <a:pt x="1642" y="2240"/>
                </a:lnTo>
                <a:lnTo>
                  <a:pt x="1644" y="2240"/>
                </a:lnTo>
                <a:lnTo>
                  <a:pt x="1644" y="2242"/>
                </a:lnTo>
                <a:lnTo>
                  <a:pt x="1646" y="2246"/>
                </a:lnTo>
                <a:lnTo>
                  <a:pt x="1648" y="2246"/>
                </a:lnTo>
                <a:lnTo>
                  <a:pt x="1654" y="2246"/>
                </a:lnTo>
                <a:lnTo>
                  <a:pt x="1660" y="2248"/>
                </a:lnTo>
                <a:lnTo>
                  <a:pt x="1660" y="2250"/>
                </a:lnTo>
                <a:lnTo>
                  <a:pt x="1660" y="2254"/>
                </a:lnTo>
                <a:lnTo>
                  <a:pt x="1660" y="2258"/>
                </a:lnTo>
                <a:lnTo>
                  <a:pt x="1656" y="2254"/>
                </a:lnTo>
                <a:lnTo>
                  <a:pt x="1652" y="2252"/>
                </a:lnTo>
                <a:lnTo>
                  <a:pt x="1648" y="2252"/>
                </a:lnTo>
                <a:lnTo>
                  <a:pt x="1642" y="2254"/>
                </a:lnTo>
                <a:lnTo>
                  <a:pt x="1636" y="2258"/>
                </a:lnTo>
                <a:lnTo>
                  <a:pt x="1624" y="2268"/>
                </a:lnTo>
                <a:lnTo>
                  <a:pt x="1618" y="2276"/>
                </a:lnTo>
                <a:lnTo>
                  <a:pt x="1618" y="2282"/>
                </a:lnTo>
                <a:lnTo>
                  <a:pt x="1618" y="2290"/>
                </a:lnTo>
                <a:lnTo>
                  <a:pt x="1620" y="2294"/>
                </a:lnTo>
                <a:lnTo>
                  <a:pt x="1622" y="2298"/>
                </a:lnTo>
                <a:lnTo>
                  <a:pt x="1626" y="2300"/>
                </a:lnTo>
                <a:lnTo>
                  <a:pt x="1628" y="2302"/>
                </a:lnTo>
                <a:lnTo>
                  <a:pt x="1626" y="2306"/>
                </a:lnTo>
                <a:lnTo>
                  <a:pt x="1622" y="2308"/>
                </a:lnTo>
                <a:lnTo>
                  <a:pt x="1622" y="2310"/>
                </a:lnTo>
                <a:lnTo>
                  <a:pt x="1624" y="2312"/>
                </a:lnTo>
                <a:lnTo>
                  <a:pt x="1626" y="2312"/>
                </a:lnTo>
                <a:lnTo>
                  <a:pt x="1624" y="2316"/>
                </a:lnTo>
                <a:lnTo>
                  <a:pt x="1620" y="2318"/>
                </a:lnTo>
                <a:lnTo>
                  <a:pt x="1620" y="2320"/>
                </a:lnTo>
                <a:lnTo>
                  <a:pt x="1622" y="2324"/>
                </a:lnTo>
                <a:lnTo>
                  <a:pt x="1624" y="2326"/>
                </a:lnTo>
                <a:lnTo>
                  <a:pt x="1632" y="2332"/>
                </a:lnTo>
                <a:lnTo>
                  <a:pt x="1642" y="2336"/>
                </a:lnTo>
                <a:lnTo>
                  <a:pt x="1650" y="2338"/>
                </a:lnTo>
                <a:lnTo>
                  <a:pt x="1656" y="2336"/>
                </a:lnTo>
                <a:lnTo>
                  <a:pt x="1662" y="2334"/>
                </a:lnTo>
                <a:lnTo>
                  <a:pt x="1670" y="2332"/>
                </a:lnTo>
                <a:lnTo>
                  <a:pt x="1676" y="2334"/>
                </a:lnTo>
                <a:lnTo>
                  <a:pt x="1676" y="2338"/>
                </a:lnTo>
                <a:lnTo>
                  <a:pt x="1676" y="2340"/>
                </a:lnTo>
                <a:lnTo>
                  <a:pt x="1682" y="2340"/>
                </a:lnTo>
                <a:lnTo>
                  <a:pt x="1688" y="2340"/>
                </a:lnTo>
                <a:lnTo>
                  <a:pt x="1688" y="2344"/>
                </a:lnTo>
                <a:lnTo>
                  <a:pt x="1686" y="2352"/>
                </a:lnTo>
                <a:lnTo>
                  <a:pt x="1686" y="2356"/>
                </a:lnTo>
                <a:lnTo>
                  <a:pt x="1686" y="2358"/>
                </a:lnTo>
                <a:lnTo>
                  <a:pt x="1688" y="2360"/>
                </a:lnTo>
                <a:lnTo>
                  <a:pt x="1694" y="2360"/>
                </a:lnTo>
                <a:lnTo>
                  <a:pt x="1700" y="2360"/>
                </a:lnTo>
                <a:lnTo>
                  <a:pt x="1704" y="2362"/>
                </a:lnTo>
                <a:lnTo>
                  <a:pt x="1706" y="2364"/>
                </a:lnTo>
                <a:lnTo>
                  <a:pt x="1714" y="2362"/>
                </a:lnTo>
                <a:lnTo>
                  <a:pt x="1718" y="2360"/>
                </a:lnTo>
                <a:lnTo>
                  <a:pt x="1724" y="2362"/>
                </a:lnTo>
                <a:lnTo>
                  <a:pt x="1730" y="2364"/>
                </a:lnTo>
                <a:lnTo>
                  <a:pt x="1736" y="2368"/>
                </a:lnTo>
                <a:lnTo>
                  <a:pt x="1738" y="2370"/>
                </a:lnTo>
                <a:lnTo>
                  <a:pt x="1742" y="2368"/>
                </a:lnTo>
                <a:lnTo>
                  <a:pt x="1746" y="2368"/>
                </a:lnTo>
                <a:lnTo>
                  <a:pt x="1748" y="2368"/>
                </a:lnTo>
                <a:lnTo>
                  <a:pt x="1750" y="2374"/>
                </a:lnTo>
                <a:lnTo>
                  <a:pt x="1750" y="2382"/>
                </a:lnTo>
                <a:lnTo>
                  <a:pt x="1748" y="2384"/>
                </a:lnTo>
                <a:lnTo>
                  <a:pt x="1744" y="2386"/>
                </a:lnTo>
                <a:lnTo>
                  <a:pt x="1742" y="2388"/>
                </a:lnTo>
                <a:lnTo>
                  <a:pt x="1742" y="2390"/>
                </a:lnTo>
                <a:lnTo>
                  <a:pt x="1748" y="2398"/>
                </a:lnTo>
                <a:lnTo>
                  <a:pt x="1758" y="2402"/>
                </a:lnTo>
                <a:lnTo>
                  <a:pt x="1764" y="2404"/>
                </a:lnTo>
                <a:lnTo>
                  <a:pt x="1768" y="2402"/>
                </a:lnTo>
                <a:lnTo>
                  <a:pt x="1776" y="2398"/>
                </a:lnTo>
                <a:lnTo>
                  <a:pt x="1778" y="2392"/>
                </a:lnTo>
                <a:lnTo>
                  <a:pt x="1780" y="2392"/>
                </a:lnTo>
                <a:lnTo>
                  <a:pt x="1780" y="2398"/>
                </a:lnTo>
                <a:lnTo>
                  <a:pt x="1780" y="2406"/>
                </a:lnTo>
                <a:lnTo>
                  <a:pt x="1784" y="2408"/>
                </a:lnTo>
                <a:lnTo>
                  <a:pt x="1786" y="2410"/>
                </a:lnTo>
                <a:lnTo>
                  <a:pt x="1786" y="2414"/>
                </a:lnTo>
                <a:lnTo>
                  <a:pt x="1784" y="2416"/>
                </a:lnTo>
                <a:lnTo>
                  <a:pt x="1780" y="2412"/>
                </a:lnTo>
                <a:lnTo>
                  <a:pt x="1776" y="2408"/>
                </a:lnTo>
                <a:lnTo>
                  <a:pt x="1774" y="2408"/>
                </a:lnTo>
                <a:lnTo>
                  <a:pt x="1772" y="2408"/>
                </a:lnTo>
                <a:lnTo>
                  <a:pt x="1772" y="2412"/>
                </a:lnTo>
                <a:lnTo>
                  <a:pt x="1774" y="2416"/>
                </a:lnTo>
                <a:lnTo>
                  <a:pt x="1782" y="2422"/>
                </a:lnTo>
                <a:lnTo>
                  <a:pt x="1790" y="2426"/>
                </a:lnTo>
                <a:lnTo>
                  <a:pt x="1794" y="2426"/>
                </a:lnTo>
                <a:lnTo>
                  <a:pt x="1796" y="2424"/>
                </a:lnTo>
                <a:lnTo>
                  <a:pt x="1798" y="2418"/>
                </a:lnTo>
                <a:lnTo>
                  <a:pt x="1800" y="2414"/>
                </a:lnTo>
                <a:lnTo>
                  <a:pt x="1804" y="2414"/>
                </a:lnTo>
                <a:lnTo>
                  <a:pt x="1804" y="2418"/>
                </a:lnTo>
                <a:lnTo>
                  <a:pt x="1804" y="2424"/>
                </a:lnTo>
                <a:lnTo>
                  <a:pt x="1806" y="2432"/>
                </a:lnTo>
                <a:lnTo>
                  <a:pt x="1810" y="2438"/>
                </a:lnTo>
                <a:lnTo>
                  <a:pt x="1810" y="2444"/>
                </a:lnTo>
                <a:lnTo>
                  <a:pt x="1808" y="2450"/>
                </a:lnTo>
                <a:lnTo>
                  <a:pt x="1810" y="2450"/>
                </a:lnTo>
                <a:lnTo>
                  <a:pt x="1814" y="2450"/>
                </a:lnTo>
                <a:lnTo>
                  <a:pt x="1816" y="2446"/>
                </a:lnTo>
                <a:lnTo>
                  <a:pt x="1818" y="2444"/>
                </a:lnTo>
                <a:lnTo>
                  <a:pt x="1820" y="2444"/>
                </a:lnTo>
                <a:lnTo>
                  <a:pt x="1824" y="2448"/>
                </a:lnTo>
                <a:lnTo>
                  <a:pt x="1824" y="2454"/>
                </a:lnTo>
                <a:lnTo>
                  <a:pt x="1824" y="2460"/>
                </a:lnTo>
                <a:lnTo>
                  <a:pt x="1828" y="2464"/>
                </a:lnTo>
                <a:lnTo>
                  <a:pt x="1832" y="2468"/>
                </a:lnTo>
                <a:lnTo>
                  <a:pt x="1832" y="2470"/>
                </a:lnTo>
                <a:lnTo>
                  <a:pt x="1834" y="2474"/>
                </a:lnTo>
                <a:lnTo>
                  <a:pt x="1832" y="2476"/>
                </a:lnTo>
                <a:lnTo>
                  <a:pt x="1830" y="2478"/>
                </a:lnTo>
                <a:lnTo>
                  <a:pt x="1826" y="2478"/>
                </a:lnTo>
                <a:lnTo>
                  <a:pt x="1826" y="2480"/>
                </a:lnTo>
                <a:lnTo>
                  <a:pt x="1830" y="2490"/>
                </a:lnTo>
                <a:lnTo>
                  <a:pt x="1838" y="2500"/>
                </a:lnTo>
                <a:lnTo>
                  <a:pt x="1840" y="2510"/>
                </a:lnTo>
                <a:lnTo>
                  <a:pt x="1842" y="2520"/>
                </a:lnTo>
                <a:lnTo>
                  <a:pt x="1840" y="2538"/>
                </a:lnTo>
                <a:lnTo>
                  <a:pt x="1838" y="2546"/>
                </a:lnTo>
                <a:lnTo>
                  <a:pt x="1836" y="2550"/>
                </a:lnTo>
                <a:lnTo>
                  <a:pt x="1836" y="2548"/>
                </a:lnTo>
                <a:lnTo>
                  <a:pt x="1834" y="2544"/>
                </a:lnTo>
                <a:lnTo>
                  <a:pt x="1828" y="2510"/>
                </a:lnTo>
                <a:lnTo>
                  <a:pt x="1824" y="2504"/>
                </a:lnTo>
                <a:lnTo>
                  <a:pt x="1818" y="2500"/>
                </a:lnTo>
                <a:lnTo>
                  <a:pt x="1808" y="2496"/>
                </a:lnTo>
                <a:lnTo>
                  <a:pt x="1798" y="2496"/>
                </a:lnTo>
                <a:lnTo>
                  <a:pt x="1776" y="2494"/>
                </a:lnTo>
                <a:lnTo>
                  <a:pt x="1766" y="2492"/>
                </a:lnTo>
                <a:lnTo>
                  <a:pt x="1758" y="2488"/>
                </a:lnTo>
                <a:lnTo>
                  <a:pt x="1752" y="2484"/>
                </a:lnTo>
                <a:lnTo>
                  <a:pt x="1748" y="2484"/>
                </a:lnTo>
                <a:lnTo>
                  <a:pt x="1744" y="2486"/>
                </a:lnTo>
                <a:lnTo>
                  <a:pt x="1744" y="2490"/>
                </a:lnTo>
                <a:lnTo>
                  <a:pt x="1744" y="2496"/>
                </a:lnTo>
                <a:lnTo>
                  <a:pt x="1746" y="2502"/>
                </a:lnTo>
                <a:lnTo>
                  <a:pt x="1754" y="2516"/>
                </a:lnTo>
                <a:lnTo>
                  <a:pt x="1760" y="2526"/>
                </a:lnTo>
                <a:lnTo>
                  <a:pt x="1764" y="2536"/>
                </a:lnTo>
                <a:lnTo>
                  <a:pt x="1770" y="2564"/>
                </a:lnTo>
                <a:lnTo>
                  <a:pt x="1774" y="2596"/>
                </a:lnTo>
                <a:lnTo>
                  <a:pt x="1774" y="2628"/>
                </a:lnTo>
                <a:lnTo>
                  <a:pt x="1774" y="2666"/>
                </a:lnTo>
                <a:lnTo>
                  <a:pt x="1770" y="2708"/>
                </a:lnTo>
                <a:lnTo>
                  <a:pt x="1766" y="2750"/>
                </a:lnTo>
                <a:lnTo>
                  <a:pt x="1762" y="2766"/>
                </a:lnTo>
                <a:lnTo>
                  <a:pt x="1758" y="2780"/>
                </a:lnTo>
                <a:lnTo>
                  <a:pt x="1754" y="2794"/>
                </a:lnTo>
                <a:lnTo>
                  <a:pt x="1754" y="2810"/>
                </a:lnTo>
                <a:lnTo>
                  <a:pt x="1756" y="2826"/>
                </a:lnTo>
                <a:lnTo>
                  <a:pt x="1760" y="2842"/>
                </a:lnTo>
                <a:lnTo>
                  <a:pt x="1764" y="2860"/>
                </a:lnTo>
                <a:lnTo>
                  <a:pt x="1766" y="2878"/>
                </a:lnTo>
                <a:lnTo>
                  <a:pt x="1766" y="2894"/>
                </a:lnTo>
                <a:lnTo>
                  <a:pt x="1764" y="2912"/>
                </a:lnTo>
                <a:lnTo>
                  <a:pt x="1760" y="2924"/>
                </a:lnTo>
                <a:lnTo>
                  <a:pt x="1760" y="2936"/>
                </a:lnTo>
                <a:lnTo>
                  <a:pt x="1762" y="2944"/>
                </a:lnTo>
                <a:lnTo>
                  <a:pt x="1766" y="2952"/>
                </a:lnTo>
                <a:lnTo>
                  <a:pt x="1774" y="2970"/>
                </a:lnTo>
                <a:lnTo>
                  <a:pt x="1778" y="2980"/>
                </a:lnTo>
                <a:lnTo>
                  <a:pt x="1782" y="2996"/>
                </a:lnTo>
                <a:lnTo>
                  <a:pt x="1784" y="3010"/>
                </a:lnTo>
                <a:lnTo>
                  <a:pt x="1788" y="3022"/>
                </a:lnTo>
                <a:lnTo>
                  <a:pt x="1792" y="3028"/>
                </a:lnTo>
                <a:lnTo>
                  <a:pt x="1798" y="3034"/>
                </a:lnTo>
                <a:lnTo>
                  <a:pt x="1808" y="3044"/>
                </a:lnTo>
                <a:lnTo>
                  <a:pt x="1812" y="3050"/>
                </a:lnTo>
                <a:lnTo>
                  <a:pt x="1814" y="3056"/>
                </a:lnTo>
                <a:lnTo>
                  <a:pt x="1816" y="3064"/>
                </a:lnTo>
                <a:lnTo>
                  <a:pt x="1818" y="3068"/>
                </a:lnTo>
                <a:lnTo>
                  <a:pt x="1826" y="3072"/>
                </a:lnTo>
                <a:lnTo>
                  <a:pt x="1828" y="3074"/>
                </a:lnTo>
                <a:lnTo>
                  <a:pt x="1832" y="3078"/>
                </a:lnTo>
                <a:lnTo>
                  <a:pt x="1834" y="3086"/>
                </a:lnTo>
                <a:lnTo>
                  <a:pt x="1836" y="3098"/>
                </a:lnTo>
                <a:lnTo>
                  <a:pt x="1838" y="3110"/>
                </a:lnTo>
                <a:lnTo>
                  <a:pt x="1842" y="3118"/>
                </a:lnTo>
                <a:lnTo>
                  <a:pt x="1848" y="3122"/>
                </a:lnTo>
                <a:lnTo>
                  <a:pt x="1852" y="3124"/>
                </a:lnTo>
                <a:lnTo>
                  <a:pt x="1856" y="3128"/>
                </a:lnTo>
                <a:lnTo>
                  <a:pt x="1860" y="3130"/>
                </a:lnTo>
                <a:lnTo>
                  <a:pt x="1862" y="3134"/>
                </a:lnTo>
                <a:lnTo>
                  <a:pt x="1860" y="3140"/>
                </a:lnTo>
                <a:lnTo>
                  <a:pt x="1858" y="3146"/>
                </a:lnTo>
                <a:lnTo>
                  <a:pt x="1858" y="3152"/>
                </a:lnTo>
                <a:lnTo>
                  <a:pt x="1860" y="3158"/>
                </a:lnTo>
                <a:lnTo>
                  <a:pt x="1862" y="3164"/>
                </a:lnTo>
                <a:lnTo>
                  <a:pt x="1874" y="3178"/>
                </a:lnTo>
                <a:lnTo>
                  <a:pt x="1890" y="3200"/>
                </a:lnTo>
                <a:lnTo>
                  <a:pt x="1900" y="3212"/>
                </a:lnTo>
                <a:lnTo>
                  <a:pt x="1904" y="3222"/>
                </a:lnTo>
                <a:lnTo>
                  <a:pt x="1908" y="3230"/>
                </a:lnTo>
                <a:lnTo>
                  <a:pt x="1910" y="3238"/>
                </a:lnTo>
                <a:lnTo>
                  <a:pt x="1910" y="3250"/>
                </a:lnTo>
                <a:lnTo>
                  <a:pt x="1912" y="3254"/>
                </a:lnTo>
                <a:lnTo>
                  <a:pt x="1916" y="3258"/>
                </a:lnTo>
                <a:lnTo>
                  <a:pt x="1920" y="3260"/>
                </a:lnTo>
                <a:lnTo>
                  <a:pt x="1926" y="3262"/>
                </a:lnTo>
                <a:lnTo>
                  <a:pt x="1940" y="3264"/>
                </a:lnTo>
                <a:lnTo>
                  <a:pt x="1950" y="3266"/>
                </a:lnTo>
                <a:lnTo>
                  <a:pt x="1958" y="3270"/>
                </a:lnTo>
                <a:lnTo>
                  <a:pt x="1968" y="3276"/>
                </a:lnTo>
                <a:lnTo>
                  <a:pt x="1978" y="3284"/>
                </a:lnTo>
                <a:lnTo>
                  <a:pt x="1988" y="3292"/>
                </a:lnTo>
                <a:lnTo>
                  <a:pt x="1994" y="3296"/>
                </a:lnTo>
                <a:lnTo>
                  <a:pt x="2006" y="3300"/>
                </a:lnTo>
                <a:lnTo>
                  <a:pt x="2016" y="3302"/>
                </a:lnTo>
                <a:lnTo>
                  <a:pt x="2022" y="3306"/>
                </a:lnTo>
                <a:lnTo>
                  <a:pt x="2030" y="3312"/>
                </a:lnTo>
                <a:lnTo>
                  <a:pt x="2036" y="3320"/>
                </a:lnTo>
                <a:lnTo>
                  <a:pt x="2042" y="3326"/>
                </a:lnTo>
                <a:lnTo>
                  <a:pt x="2046" y="3338"/>
                </a:lnTo>
                <a:lnTo>
                  <a:pt x="2048" y="3350"/>
                </a:lnTo>
                <a:lnTo>
                  <a:pt x="2052" y="3362"/>
                </a:lnTo>
                <a:lnTo>
                  <a:pt x="2068" y="3394"/>
                </a:lnTo>
                <a:lnTo>
                  <a:pt x="2078" y="3420"/>
                </a:lnTo>
                <a:lnTo>
                  <a:pt x="2092" y="3460"/>
                </a:lnTo>
                <a:lnTo>
                  <a:pt x="2100" y="3488"/>
                </a:lnTo>
                <a:lnTo>
                  <a:pt x="2106" y="3498"/>
                </a:lnTo>
                <a:lnTo>
                  <a:pt x="2112" y="3508"/>
                </a:lnTo>
                <a:lnTo>
                  <a:pt x="2120" y="3518"/>
                </a:lnTo>
                <a:lnTo>
                  <a:pt x="2130" y="3526"/>
                </a:lnTo>
                <a:lnTo>
                  <a:pt x="2150" y="3544"/>
                </a:lnTo>
                <a:lnTo>
                  <a:pt x="2160" y="3552"/>
                </a:lnTo>
                <a:lnTo>
                  <a:pt x="2166" y="3564"/>
                </a:lnTo>
                <a:lnTo>
                  <a:pt x="2170" y="3576"/>
                </a:lnTo>
                <a:lnTo>
                  <a:pt x="2170" y="3590"/>
                </a:lnTo>
                <a:lnTo>
                  <a:pt x="2170" y="3596"/>
                </a:lnTo>
                <a:lnTo>
                  <a:pt x="2168" y="3600"/>
                </a:lnTo>
                <a:lnTo>
                  <a:pt x="2164" y="3604"/>
                </a:lnTo>
                <a:lnTo>
                  <a:pt x="2162" y="3606"/>
                </a:lnTo>
                <a:lnTo>
                  <a:pt x="2154" y="3608"/>
                </a:lnTo>
                <a:lnTo>
                  <a:pt x="2148" y="3608"/>
                </a:lnTo>
                <a:lnTo>
                  <a:pt x="2142" y="3608"/>
                </a:lnTo>
                <a:lnTo>
                  <a:pt x="2140" y="3608"/>
                </a:lnTo>
                <a:lnTo>
                  <a:pt x="2140" y="3612"/>
                </a:lnTo>
                <a:lnTo>
                  <a:pt x="2146" y="3620"/>
                </a:lnTo>
                <a:lnTo>
                  <a:pt x="2156" y="3632"/>
                </a:lnTo>
                <a:lnTo>
                  <a:pt x="2166" y="3640"/>
                </a:lnTo>
                <a:lnTo>
                  <a:pt x="2188" y="3654"/>
                </a:lnTo>
                <a:lnTo>
                  <a:pt x="2214" y="3668"/>
                </a:lnTo>
                <a:lnTo>
                  <a:pt x="2226" y="3676"/>
                </a:lnTo>
                <a:lnTo>
                  <a:pt x="2240" y="3686"/>
                </a:lnTo>
                <a:lnTo>
                  <a:pt x="2244" y="3692"/>
                </a:lnTo>
                <a:lnTo>
                  <a:pt x="2248" y="3698"/>
                </a:lnTo>
                <a:lnTo>
                  <a:pt x="2250" y="3704"/>
                </a:lnTo>
                <a:lnTo>
                  <a:pt x="2252" y="3710"/>
                </a:lnTo>
                <a:lnTo>
                  <a:pt x="2252" y="3722"/>
                </a:lnTo>
                <a:lnTo>
                  <a:pt x="2250" y="3734"/>
                </a:lnTo>
                <a:lnTo>
                  <a:pt x="2248" y="3746"/>
                </a:lnTo>
                <a:lnTo>
                  <a:pt x="2250" y="3754"/>
                </a:lnTo>
                <a:lnTo>
                  <a:pt x="2252" y="3760"/>
                </a:lnTo>
                <a:lnTo>
                  <a:pt x="2256" y="3768"/>
                </a:lnTo>
                <a:lnTo>
                  <a:pt x="2262" y="3774"/>
                </a:lnTo>
                <a:lnTo>
                  <a:pt x="2270" y="3782"/>
                </a:lnTo>
                <a:lnTo>
                  <a:pt x="2280" y="3790"/>
                </a:lnTo>
                <a:lnTo>
                  <a:pt x="2302" y="3806"/>
                </a:lnTo>
                <a:lnTo>
                  <a:pt x="2316" y="3820"/>
                </a:lnTo>
                <a:lnTo>
                  <a:pt x="2326" y="3834"/>
                </a:lnTo>
                <a:lnTo>
                  <a:pt x="2332" y="3844"/>
                </a:lnTo>
                <a:lnTo>
                  <a:pt x="2336" y="3852"/>
                </a:lnTo>
                <a:lnTo>
                  <a:pt x="2340" y="3858"/>
                </a:lnTo>
                <a:lnTo>
                  <a:pt x="2344" y="3858"/>
                </a:lnTo>
                <a:lnTo>
                  <a:pt x="2352" y="3856"/>
                </a:lnTo>
                <a:lnTo>
                  <a:pt x="2358" y="3850"/>
                </a:lnTo>
                <a:lnTo>
                  <a:pt x="2362" y="3844"/>
                </a:lnTo>
                <a:lnTo>
                  <a:pt x="2364" y="3840"/>
                </a:lnTo>
                <a:lnTo>
                  <a:pt x="2364" y="3836"/>
                </a:lnTo>
                <a:lnTo>
                  <a:pt x="2358" y="3822"/>
                </a:lnTo>
                <a:lnTo>
                  <a:pt x="2346" y="3804"/>
                </a:lnTo>
                <a:lnTo>
                  <a:pt x="2342" y="3794"/>
                </a:lnTo>
                <a:lnTo>
                  <a:pt x="2336" y="3790"/>
                </a:lnTo>
                <a:lnTo>
                  <a:pt x="2332" y="3788"/>
                </a:lnTo>
                <a:lnTo>
                  <a:pt x="2330" y="3790"/>
                </a:lnTo>
                <a:lnTo>
                  <a:pt x="2324" y="3792"/>
                </a:lnTo>
                <a:lnTo>
                  <a:pt x="2320" y="3792"/>
                </a:lnTo>
                <a:lnTo>
                  <a:pt x="2316" y="3790"/>
                </a:lnTo>
                <a:lnTo>
                  <a:pt x="2312" y="3784"/>
                </a:lnTo>
                <a:lnTo>
                  <a:pt x="2312" y="3780"/>
                </a:lnTo>
                <a:lnTo>
                  <a:pt x="2312" y="3772"/>
                </a:lnTo>
                <a:lnTo>
                  <a:pt x="2310" y="3766"/>
                </a:lnTo>
                <a:lnTo>
                  <a:pt x="2310" y="3758"/>
                </a:lnTo>
                <a:lnTo>
                  <a:pt x="2306" y="3750"/>
                </a:lnTo>
                <a:lnTo>
                  <a:pt x="2300" y="3736"/>
                </a:lnTo>
                <a:lnTo>
                  <a:pt x="2290" y="3716"/>
                </a:lnTo>
                <a:lnTo>
                  <a:pt x="2286" y="3702"/>
                </a:lnTo>
                <a:lnTo>
                  <a:pt x="2282" y="3688"/>
                </a:lnTo>
                <a:lnTo>
                  <a:pt x="2276" y="3668"/>
                </a:lnTo>
                <a:lnTo>
                  <a:pt x="2270" y="3656"/>
                </a:lnTo>
                <a:lnTo>
                  <a:pt x="2264" y="3646"/>
                </a:lnTo>
                <a:lnTo>
                  <a:pt x="2250" y="3630"/>
                </a:lnTo>
                <a:lnTo>
                  <a:pt x="2236" y="3612"/>
                </a:lnTo>
                <a:lnTo>
                  <a:pt x="2230" y="3600"/>
                </a:lnTo>
                <a:lnTo>
                  <a:pt x="2226" y="3588"/>
                </a:lnTo>
                <a:lnTo>
                  <a:pt x="2220" y="3576"/>
                </a:lnTo>
                <a:lnTo>
                  <a:pt x="2214" y="3564"/>
                </a:lnTo>
                <a:lnTo>
                  <a:pt x="2200" y="3544"/>
                </a:lnTo>
                <a:lnTo>
                  <a:pt x="2182" y="3524"/>
                </a:lnTo>
                <a:lnTo>
                  <a:pt x="2168" y="3504"/>
                </a:lnTo>
                <a:lnTo>
                  <a:pt x="2160" y="3490"/>
                </a:lnTo>
                <a:lnTo>
                  <a:pt x="2154" y="3474"/>
                </a:lnTo>
                <a:lnTo>
                  <a:pt x="2148" y="3456"/>
                </a:lnTo>
                <a:lnTo>
                  <a:pt x="2144" y="3438"/>
                </a:lnTo>
                <a:lnTo>
                  <a:pt x="2142" y="3422"/>
                </a:lnTo>
                <a:lnTo>
                  <a:pt x="2142" y="3410"/>
                </a:lnTo>
                <a:lnTo>
                  <a:pt x="2144" y="3406"/>
                </a:lnTo>
                <a:lnTo>
                  <a:pt x="2146" y="3404"/>
                </a:lnTo>
                <a:lnTo>
                  <a:pt x="2150" y="3404"/>
                </a:lnTo>
                <a:lnTo>
                  <a:pt x="2154" y="3406"/>
                </a:lnTo>
                <a:lnTo>
                  <a:pt x="2168" y="3414"/>
                </a:lnTo>
                <a:lnTo>
                  <a:pt x="2174" y="3414"/>
                </a:lnTo>
                <a:lnTo>
                  <a:pt x="2178" y="3414"/>
                </a:lnTo>
                <a:lnTo>
                  <a:pt x="2188" y="3418"/>
                </a:lnTo>
                <a:lnTo>
                  <a:pt x="2198" y="3424"/>
                </a:lnTo>
                <a:lnTo>
                  <a:pt x="2204" y="3426"/>
                </a:lnTo>
                <a:lnTo>
                  <a:pt x="2208" y="3432"/>
                </a:lnTo>
                <a:lnTo>
                  <a:pt x="2214" y="3448"/>
                </a:lnTo>
                <a:lnTo>
                  <a:pt x="2224" y="3476"/>
                </a:lnTo>
                <a:lnTo>
                  <a:pt x="2230" y="3494"/>
                </a:lnTo>
                <a:lnTo>
                  <a:pt x="2236" y="3514"/>
                </a:lnTo>
                <a:lnTo>
                  <a:pt x="2246" y="3532"/>
                </a:lnTo>
                <a:lnTo>
                  <a:pt x="2254" y="3550"/>
                </a:lnTo>
                <a:lnTo>
                  <a:pt x="2266" y="3568"/>
                </a:lnTo>
                <a:lnTo>
                  <a:pt x="2276" y="3582"/>
                </a:lnTo>
                <a:lnTo>
                  <a:pt x="2288" y="3594"/>
                </a:lnTo>
                <a:lnTo>
                  <a:pt x="2300" y="3604"/>
                </a:lnTo>
                <a:lnTo>
                  <a:pt x="2310" y="3612"/>
                </a:lnTo>
                <a:lnTo>
                  <a:pt x="2314" y="3618"/>
                </a:lnTo>
                <a:lnTo>
                  <a:pt x="2320" y="3632"/>
                </a:lnTo>
                <a:lnTo>
                  <a:pt x="2324" y="3640"/>
                </a:lnTo>
                <a:lnTo>
                  <a:pt x="2328" y="3646"/>
                </a:lnTo>
                <a:lnTo>
                  <a:pt x="2338" y="3654"/>
                </a:lnTo>
                <a:lnTo>
                  <a:pt x="2352" y="3660"/>
                </a:lnTo>
                <a:lnTo>
                  <a:pt x="2360" y="3664"/>
                </a:lnTo>
                <a:lnTo>
                  <a:pt x="2364" y="3668"/>
                </a:lnTo>
                <a:lnTo>
                  <a:pt x="2368" y="3672"/>
                </a:lnTo>
                <a:lnTo>
                  <a:pt x="2370" y="3676"/>
                </a:lnTo>
                <a:lnTo>
                  <a:pt x="2370" y="3684"/>
                </a:lnTo>
                <a:lnTo>
                  <a:pt x="2366" y="3694"/>
                </a:lnTo>
                <a:lnTo>
                  <a:pt x="2364" y="3702"/>
                </a:lnTo>
                <a:lnTo>
                  <a:pt x="2364" y="3712"/>
                </a:lnTo>
                <a:lnTo>
                  <a:pt x="2364" y="3716"/>
                </a:lnTo>
                <a:lnTo>
                  <a:pt x="2368" y="3720"/>
                </a:lnTo>
                <a:lnTo>
                  <a:pt x="2372" y="3726"/>
                </a:lnTo>
                <a:lnTo>
                  <a:pt x="2380" y="3730"/>
                </a:lnTo>
                <a:lnTo>
                  <a:pt x="2394" y="3738"/>
                </a:lnTo>
                <a:lnTo>
                  <a:pt x="2402" y="3744"/>
                </a:lnTo>
                <a:lnTo>
                  <a:pt x="2408" y="3750"/>
                </a:lnTo>
                <a:lnTo>
                  <a:pt x="2412" y="3756"/>
                </a:lnTo>
                <a:lnTo>
                  <a:pt x="2422" y="3774"/>
                </a:lnTo>
                <a:lnTo>
                  <a:pt x="2434" y="3786"/>
                </a:lnTo>
                <a:lnTo>
                  <a:pt x="2450" y="3804"/>
                </a:lnTo>
                <a:lnTo>
                  <a:pt x="2476" y="3830"/>
                </a:lnTo>
                <a:lnTo>
                  <a:pt x="2494" y="3850"/>
                </a:lnTo>
                <a:lnTo>
                  <a:pt x="2506" y="3868"/>
                </a:lnTo>
                <a:lnTo>
                  <a:pt x="2512" y="3882"/>
                </a:lnTo>
                <a:lnTo>
                  <a:pt x="2516" y="3894"/>
                </a:lnTo>
                <a:lnTo>
                  <a:pt x="2518" y="3904"/>
                </a:lnTo>
                <a:lnTo>
                  <a:pt x="2522" y="3914"/>
                </a:lnTo>
                <a:lnTo>
                  <a:pt x="2526" y="3926"/>
                </a:lnTo>
                <a:lnTo>
                  <a:pt x="2532" y="3938"/>
                </a:lnTo>
                <a:lnTo>
                  <a:pt x="2532" y="3948"/>
                </a:lnTo>
                <a:lnTo>
                  <a:pt x="2528" y="3958"/>
                </a:lnTo>
                <a:lnTo>
                  <a:pt x="2524" y="3968"/>
                </a:lnTo>
                <a:lnTo>
                  <a:pt x="2520" y="3978"/>
                </a:lnTo>
                <a:lnTo>
                  <a:pt x="2516" y="3988"/>
                </a:lnTo>
                <a:lnTo>
                  <a:pt x="2516" y="4000"/>
                </a:lnTo>
                <a:lnTo>
                  <a:pt x="2520" y="4012"/>
                </a:lnTo>
                <a:lnTo>
                  <a:pt x="2528" y="4024"/>
                </a:lnTo>
                <a:lnTo>
                  <a:pt x="2536" y="4032"/>
                </a:lnTo>
                <a:lnTo>
                  <a:pt x="2552" y="4046"/>
                </a:lnTo>
                <a:lnTo>
                  <a:pt x="2570" y="4060"/>
                </a:lnTo>
                <a:lnTo>
                  <a:pt x="2582" y="4068"/>
                </a:lnTo>
                <a:lnTo>
                  <a:pt x="2594" y="4080"/>
                </a:lnTo>
                <a:lnTo>
                  <a:pt x="2606" y="4090"/>
                </a:lnTo>
                <a:lnTo>
                  <a:pt x="2618" y="4098"/>
                </a:lnTo>
                <a:lnTo>
                  <a:pt x="2628" y="4102"/>
                </a:lnTo>
                <a:lnTo>
                  <a:pt x="2638" y="4104"/>
                </a:lnTo>
                <a:lnTo>
                  <a:pt x="2648" y="4106"/>
                </a:lnTo>
                <a:lnTo>
                  <a:pt x="2658" y="4110"/>
                </a:lnTo>
                <a:lnTo>
                  <a:pt x="2668" y="4116"/>
                </a:lnTo>
                <a:lnTo>
                  <a:pt x="2680" y="4126"/>
                </a:lnTo>
                <a:lnTo>
                  <a:pt x="2694" y="4138"/>
                </a:lnTo>
                <a:lnTo>
                  <a:pt x="2714" y="4150"/>
                </a:lnTo>
                <a:lnTo>
                  <a:pt x="2736" y="4162"/>
                </a:lnTo>
                <a:lnTo>
                  <a:pt x="2762" y="4176"/>
                </a:lnTo>
                <a:lnTo>
                  <a:pt x="2814" y="4198"/>
                </a:lnTo>
                <a:lnTo>
                  <a:pt x="2862" y="4218"/>
                </a:lnTo>
                <a:lnTo>
                  <a:pt x="2880" y="4222"/>
                </a:lnTo>
                <a:lnTo>
                  <a:pt x="2894" y="4222"/>
                </a:lnTo>
                <a:lnTo>
                  <a:pt x="2906" y="4218"/>
                </a:lnTo>
                <a:lnTo>
                  <a:pt x="2916" y="4212"/>
                </a:lnTo>
                <a:lnTo>
                  <a:pt x="2926" y="4206"/>
                </a:lnTo>
                <a:lnTo>
                  <a:pt x="2938" y="4200"/>
                </a:lnTo>
                <a:lnTo>
                  <a:pt x="2952" y="4198"/>
                </a:lnTo>
                <a:lnTo>
                  <a:pt x="2968" y="4198"/>
                </a:lnTo>
                <a:lnTo>
                  <a:pt x="2984" y="4204"/>
                </a:lnTo>
                <a:lnTo>
                  <a:pt x="2996" y="4210"/>
                </a:lnTo>
                <a:lnTo>
                  <a:pt x="3006" y="4220"/>
                </a:lnTo>
                <a:lnTo>
                  <a:pt x="3016" y="4230"/>
                </a:lnTo>
                <a:lnTo>
                  <a:pt x="3032" y="4252"/>
                </a:lnTo>
                <a:lnTo>
                  <a:pt x="3042" y="4264"/>
                </a:lnTo>
                <a:lnTo>
                  <a:pt x="3054" y="4278"/>
                </a:lnTo>
                <a:lnTo>
                  <a:pt x="3074" y="4294"/>
                </a:lnTo>
                <a:lnTo>
                  <a:pt x="3086" y="4304"/>
                </a:lnTo>
                <a:lnTo>
                  <a:pt x="3096" y="4306"/>
                </a:lnTo>
                <a:lnTo>
                  <a:pt x="3104" y="4306"/>
                </a:lnTo>
                <a:lnTo>
                  <a:pt x="3116" y="4306"/>
                </a:lnTo>
                <a:lnTo>
                  <a:pt x="3124" y="4310"/>
                </a:lnTo>
                <a:lnTo>
                  <a:pt x="3140" y="4316"/>
                </a:lnTo>
                <a:lnTo>
                  <a:pt x="3146" y="4322"/>
                </a:lnTo>
                <a:lnTo>
                  <a:pt x="3150" y="4326"/>
                </a:lnTo>
                <a:lnTo>
                  <a:pt x="3154" y="4328"/>
                </a:lnTo>
                <a:lnTo>
                  <a:pt x="3162" y="4328"/>
                </a:lnTo>
                <a:lnTo>
                  <a:pt x="3174" y="4332"/>
                </a:lnTo>
                <a:lnTo>
                  <a:pt x="3186" y="4338"/>
                </a:lnTo>
                <a:lnTo>
                  <a:pt x="3196" y="4342"/>
                </a:lnTo>
                <a:lnTo>
                  <a:pt x="3204" y="4346"/>
                </a:lnTo>
                <a:lnTo>
                  <a:pt x="3206" y="4346"/>
                </a:lnTo>
                <a:lnTo>
                  <a:pt x="3206" y="4344"/>
                </a:lnTo>
                <a:lnTo>
                  <a:pt x="3204" y="4342"/>
                </a:lnTo>
                <a:lnTo>
                  <a:pt x="3202" y="4340"/>
                </a:lnTo>
                <a:lnTo>
                  <a:pt x="3210" y="4344"/>
                </a:lnTo>
                <a:lnTo>
                  <a:pt x="3214" y="4346"/>
                </a:lnTo>
                <a:lnTo>
                  <a:pt x="3218" y="4346"/>
                </a:lnTo>
                <a:lnTo>
                  <a:pt x="3228" y="4344"/>
                </a:lnTo>
                <a:lnTo>
                  <a:pt x="3234" y="4342"/>
                </a:lnTo>
                <a:lnTo>
                  <a:pt x="3236" y="4340"/>
                </a:lnTo>
                <a:lnTo>
                  <a:pt x="3234" y="4340"/>
                </a:lnTo>
                <a:lnTo>
                  <a:pt x="3232" y="4338"/>
                </a:lnTo>
                <a:lnTo>
                  <a:pt x="3230" y="4336"/>
                </a:lnTo>
                <a:lnTo>
                  <a:pt x="3230" y="4334"/>
                </a:lnTo>
                <a:lnTo>
                  <a:pt x="3234" y="4334"/>
                </a:lnTo>
                <a:lnTo>
                  <a:pt x="3236" y="4334"/>
                </a:lnTo>
                <a:lnTo>
                  <a:pt x="3238" y="4334"/>
                </a:lnTo>
                <a:lnTo>
                  <a:pt x="3240" y="4332"/>
                </a:lnTo>
                <a:lnTo>
                  <a:pt x="3240" y="4330"/>
                </a:lnTo>
                <a:lnTo>
                  <a:pt x="3244" y="4336"/>
                </a:lnTo>
                <a:lnTo>
                  <a:pt x="3248" y="4344"/>
                </a:lnTo>
                <a:lnTo>
                  <a:pt x="3252" y="4348"/>
                </a:lnTo>
                <a:lnTo>
                  <a:pt x="3254" y="4352"/>
                </a:lnTo>
                <a:lnTo>
                  <a:pt x="3252" y="4354"/>
                </a:lnTo>
                <a:lnTo>
                  <a:pt x="3252" y="4358"/>
                </a:lnTo>
                <a:lnTo>
                  <a:pt x="3250" y="4358"/>
                </a:lnTo>
                <a:lnTo>
                  <a:pt x="3246" y="4354"/>
                </a:lnTo>
                <a:lnTo>
                  <a:pt x="3244" y="4352"/>
                </a:lnTo>
                <a:lnTo>
                  <a:pt x="3242" y="4352"/>
                </a:lnTo>
                <a:lnTo>
                  <a:pt x="3240" y="4354"/>
                </a:lnTo>
                <a:lnTo>
                  <a:pt x="3238" y="4358"/>
                </a:lnTo>
                <a:lnTo>
                  <a:pt x="3242" y="4362"/>
                </a:lnTo>
                <a:lnTo>
                  <a:pt x="3248" y="4366"/>
                </a:lnTo>
                <a:lnTo>
                  <a:pt x="3252" y="4374"/>
                </a:lnTo>
                <a:lnTo>
                  <a:pt x="3260" y="4382"/>
                </a:lnTo>
                <a:lnTo>
                  <a:pt x="3266" y="4388"/>
                </a:lnTo>
                <a:lnTo>
                  <a:pt x="3274" y="4394"/>
                </a:lnTo>
                <a:lnTo>
                  <a:pt x="3278" y="4398"/>
                </a:lnTo>
                <a:lnTo>
                  <a:pt x="3282" y="4406"/>
                </a:lnTo>
                <a:lnTo>
                  <a:pt x="3288" y="4418"/>
                </a:lnTo>
                <a:lnTo>
                  <a:pt x="3296" y="4426"/>
                </a:lnTo>
                <a:lnTo>
                  <a:pt x="3304" y="4434"/>
                </a:lnTo>
                <a:lnTo>
                  <a:pt x="3316" y="4446"/>
                </a:lnTo>
                <a:lnTo>
                  <a:pt x="3318" y="4450"/>
                </a:lnTo>
                <a:lnTo>
                  <a:pt x="3318" y="4452"/>
                </a:lnTo>
                <a:lnTo>
                  <a:pt x="3314" y="4454"/>
                </a:lnTo>
                <a:lnTo>
                  <a:pt x="3310" y="4456"/>
                </a:lnTo>
                <a:lnTo>
                  <a:pt x="3310" y="4458"/>
                </a:lnTo>
                <a:lnTo>
                  <a:pt x="3316" y="4460"/>
                </a:lnTo>
                <a:lnTo>
                  <a:pt x="3318" y="4460"/>
                </a:lnTo>
                <a:lnTo>
                  <a:pt x="3320" y="4462"/>
                </a:lnTo>
                <a:lnTo>
                  <a:pt x="3320" y="4468"/>
                </a:lnTo>
                <a:lnTo>
                  <a:pt x="3318" y="4474"/>
                </a:lnTo>
                <a:lnTo>
                  <a:pt x="3316" y="4474"/>
                </a:lnTo>
                <a:lnTo>
                  <a:pt x="3314" y="4474"/>
                </a:lnTo>
                <a:lnTo>
                  <a:pt x="3312" y="4480"/>
                </a:lnTo>
                <a:lnTo>
                  <a:pt x="3312" y="4490"/>
                </a:lnTo>
                <a:lnTo>
                  <a:pt x="3314" y="4498"/>
                </a:lnTo>
                <a:lnTo>
                  <a:pt x="3318" y="4504"/>
                </a:lnTo>
                <a:lnTo>
                  <a:pt x="3322" y="4506"/>
                </a:lnTo>
                <a:lnTo>
                  <a:pt x="3330" y="4510"/>
                </a:lnTo>
                <a:lnTo>
                  <a:pt x="3336" y="4514"/>
                </a:lnTo>
                <a:lnTo>
                  <a:pt x="3338" y="4518"/>
                </a:lnTo>
                <a:lnTo>
                  <a:pt x="3340" y="4520"/>
                </a:lnTo>
                <a:lnTo>
                  <a:pt x="3342" y="4520"/>
                </a:lnTo>
                <a:lnTo>
                  <a:pt x="3348" y="4512"/>
                </a:lnTo>
                <a:lnTo>
                  <a:pt x="3350" y="4510"/>
                </a:lnTo>
                <a:lnTo>
                  <a:pt x="3352" y="4508"/>
                </a:lnTo>
                <a:lnTo>
                  <a:pt x="3348" y="4506"/>
                </a:lnTo>
                <a:lnTo>
                  <a:pt x="3338" y="4498"/>
                </a:lnTo>
                <a:lnTo>
                  <a:pt x="3336" y="4494"/>
                </a:lnTo>
                <a:lnTo>
                  <a:pt x="3336" y="4492"/>
                </a:lnTo>
                <a:lnTo>
                  <a:pt x="3336" y="4490"/>
                </a:lnTo>
                <a:lnTo>
                  <a:pt x="3338" y="4492"/>
                </a:lnTo>
                <a:lnTo>
                  <a:pt x="3342" y="4494"/>
                </a:lnTo>
                <a:lnTo>
                  <a:pt x="3348" y="4496"/>
                </a:lnTo>
                <a:lnTo>
                  <a:pt x="3354" y="4500"/>
                </a:lnTo>
                <a:lnTo>
                  <a:pt x="3358" y="4506"/>
                </a:lnTo>
                <a:lnTo>
                  <a:pt x="3360" y="4514"/>
                </a:lnTo>
                <a:lnTo>
                  <a:pt x="3360" y="4518"/>
                </a:lnTo>
                <a:lnTo>
                  <a:pt x="3362" y="4522"/>
                </a:lnTo>
                <a:lnTo>
                  <a:pt x="3366" y="4524"/>
                </a:lnTo>
                <a:lnTo>
                  <a:pt x="3370" y="4524"/>
                </a:lnTo>
                <a:lnTo>
                  <a:pt x="3374" y="4526"/>
                </a:lnTo>
                <a:lnTo>
                  <a:pt x="3384" y="4532"/>
                </a:lnTo>
                <a:lnTo>
                  <a:pt x="3400" y="4544"/>
                </a:lnTo>
                <a:lnTo>
                  <a:pt x="3402" y="4548"/>
                </a:lnTo>
                <a:lnTo>
                  <a:pt x="3402" y="4552"/>
                </a:lnTo>
                <a:lnTo>
                  <a:pt x="3402" y="4558"/>
                </a:lnTo>
                <a:lnTo>
                  <a:pt x="3402" y="4562"/>
                </a:lnTo>
                <a:lnTo>
                  <a:pt x="3398" y="4566"/>
                </a:lnTo>
                <a:lnTo>
                  <a:pt x="3398" y="4568"/>
                </a:lnTo>
                <a:lnTo>
                  <a:pt x="3400" y="4572"/>
                </a:lnTo>
                <a:lnTo>
                  <a:pt x="3404" y="4576"/>
                </a:lnTo>
                <a:lnTo>
                  <a:pt x="3408" y="4578"/>
                </a:lnTo>
                <a:lnTo>
                  <a:pt x="3412" y="4578"/>
                </a:lnTo>
                <a:lnTo>
                  <a:pt x="3414" y="4580"/>
                </a:lnTo>
                <a:lnTo>
                  <a:pt x="3416" y="4580"/>
                </a:lnTo>
                <a:lnTo>
                  <a:pt x="3416" y="4576"/>
                </a:lnTo>
                <a:lnTo>
                  <a:pt x="3414" y="4574"/>
                </a:lnTo>
                <a:lnTo>
                  <a:pt x="3410" y="4570"/>
                </a:lnTo>
                <a:lnTo>
                  <a:pt x="3408" y="4566"/>
                </a:lnTo>
                <a:lnTo>
                  <a:pt x="3408" y="4564"/>
                </a:lnTo>
                <a:lnTo>
                  <a:pt x="3410" y="4562"/>
                </a:lnTo>
                <a:lnTo>
                  <a:pt x="3414" y="4562"/>
                </a:lnTo>
                <a:lnTo>
                  <a:pt x="3414" y="4564"/>
                </a:lnTo>
                <a:lnTo>
                  <a:pt x="3416" y="4566"/>
                </a:lnTo>
                <a:lnTo>
                  <a:pt x="3418" y="4568"/>
                </a:lnTo>
                <a:lnTo>
                  <a:pt x="3420" y="4570"/>
                </a:lnTo>
                <a:lnTo>
                  <a:pt x="3422" y="4572"/>
                </a:lnTo>
                <a:lnTo>
                  <a:pt x="3422" y="4576"/>
                </a:lnTo>
                <a:lnTo>
                  <a:pt x="3422" y="4582"/>
                </a:lnTo>
                <a:lnTo>
                  <a:pt x="3422" y="4586"/>
                </a:lnTo>
                <a:lnTo>
                  <a:pt x="3428" y="4592"/>
                </a:lnTo>
                <a:lnTo>
                  <a:pt x="3430" y="4596"/>
                </a:lnTo>
                <a:lnTo>
                  <a:pt x="3432" y="4594"/>
                </a:lnTo>
                <a:lnTo>
                  <a:pt x="3434" y="4588"/>
                </a:lnTo>
                <a:lnTo>
                  <a:pt x="3436" y="4584"/>
                </a:lnTo>
                <a:lnTo>
                  <a:pt x="3440" y="4584"/>
                </a:lnTo>
                <a:lnTo>
                  <a:pt x="3454" y="4586"/>
                </a:lnTo>
                <a:lnTo>
                  <a:pt x="3464" y="4590"/>
                </a:lnTo>
                <a:lnTo>
                  <a:pt x="3472" y="4592"/>
                </a:lnTo>
                <a:lnTo>
                  <a:pt x="3478" y="4592"/>
                </a:lnTo>
                <a:lnTo>
                  <a:pt x="3480" y="4594"/>
                </a:lnTo>
                <a:lnTo>
                  <a:pt x="3482" y="4602"/>
                </a:lnTo>
                <a:lnTo>
                  <a:pt x="3484" y="4606"/>
                </a:lnTo>
                <a:lnTo>
                  <a:pt x="3484" y="4608"/>
                </a:lnTo>
                <a:lnTo>
                  <a:pt x="3486" y="4612"/>
                </a:lnTo>
                <a:lnTo>
                  <a:pt x="3490" y="4614"/>
                </a:lnTo>
                <a:lnTo>
                  <a:pt x="3498" y="4618"/>
                </a:lnTo>
                <a:lnTo>
                  <a:pt x="3498" y="4616"/>
                </a:lnTo>
                <a:lnTo>
                  <a:pt x="3498" y="4612"/>
                </a:lnTo>
                <a:lnTo>
                  <a:pt x="3500" y="4608"/>
                </a:lnTo>
                <a:lnTo>
                  <a:pt x="3502" y="4606"/>
                </a:lnTo>
                <a:lnTo>
                  <a:pt x="3504" y="4606"/>
                </a:lnTo>
                <a:lnTo>
                  <a:pt x="3506" y="4608"/>
                </a:lnTo>
                <a:lnTo>
                  <a:pt x="3506" y="4612"/>
                </a:lnTo>
                <a:lnTo>
                  <a:pt x="3508" y="4618"/>
                </a:lnTo>
                <a:lnTo>
                  <a:pt x="3510" y="4626"/>
                </a:lnTo>
                <a:lnTo>
                  <a:pt x="3510" y="4634"/>
                </a:lnTo>
                <a:lnTo>
                  <a:pt x="3510" y="4636"/>
                </a:lnTo>
                <a:lnTo>
                  <a:pt x="3512" y="4638"/>
                </a:lnTo>
                <a:lnTo>
                  <a:pt x="3516" y="4638"/>
                </a:lnTo>
                <a:lnTo>
                  <a:pt x="3528" y="4636"/>
                </a:lnTo>
                <a:lnTo>
                  <a:pt x="3530" y="4636"/>
                </a:lnTo>
                <a:lnTo>
                  <a:pt x="3532" y="4634"/>
                </a:lnTo>
                <a:lnTo>
                  <a:pt x="3532" y="4632"/>
                </a:lnTo>
                <a:lnTo>
                  <a:pt x="3534" y="4628"/>
                </a:lnTo>
                <a:lnTo>
                  <a:pt x="3538" y="4628"/>
                </a:lnTo>
                <a:lnTo>
                  <a:pt x="3544" y="4626"/>
                </a:lnTo>
                <a:lnTo>
                  <a:pt x="3548" y="4624"/>
                </a:lnTo>
                <a:lnTo>
                  <a:pt x="3548" y="4622"/>
                </a:lnTo>
                <a:lnTo>
                  <a:pt x="3548" y="4620"/>
                </a:lnTo>
                <a:lnTo>
                  <a:pt x="3542" y="4612"/>
                </a:lnTo>
                <a:lnTo>
                  <a:pt x="3536" y="4604"/>
                </a:lnTo>
                <a:lnTo>
                  <a:pt x="3534" y="4600"/>
                </a:lnTo>
                <a:lnTo>
                  <a:pt x="3534" y="4598"/>
                </a:lnTo>
                <a:lnTo>
                  <a:pt x="3532" y="4598"/>
                </a:lnTo>
                <a:lnTo>
                  <a:pt x="3530" y="4598"/>
                </a:lnTo>
                <a:lnTo>
                  <a:pt x="3528" y="4596"/>
                </a:lnTo>
                <a:lnTo>
                  <a:pt x="3526" y="4592"/>
                </a:lnTo>
                <a:lnTo>
                  <a:pt x="3528" y="4586"/>
                </a:lnTo>
                <a:lnTo>
                  <a:pt x="3530" y="4586"/>
                </a:lnTo>
                <a:lnTo>
                  <a:pt x="3534" y="4584"/>
                </a:lnTo>
                <a:lnTo>
                  <a:pt x="3538" y="4584"/>
                </a:lnTo>
                <a:lnTo>
                  <a:pt x="3544" y="4582"/>
                </a:lnTo>
                <a:lnTo>
                  <a:pt x="3550" y="4576"/>
                </a:lnTo>
                <a:lnTo>
                  <a:pt x="3558" y="4566"/>
                </a:lnTo>
                <a:lnTo>
                  <a:pt x="3558" y="4564"/>
                </a:lnTo>
                <a:lnTo>
                  <a:pt x="3558" y="4562"/>
                </a:lnTo>
                <a:lnTo>
                  <a:pt x="3558" y="4558"/>
                </a:lnTo>
                <a:lnTo>
                  <a:pt x="3562" y="4556"/>
                </a:lnTo>
                <a:lnTo>
                  <a:pt x="3568" y="4554"/>
                </a:lnTo>
                <a:lnTo>
                  <a:pt x="3568" y="4552"/>
                </a:lnTo>
                <a:lnTo>
                  <a:pt x="3572" y="4550"/>
                </a:lnTo>
                <a:lnTo>
                  <a:pt x="3578" y="4548"/>
                </a:lnTo>
                <a:lnTo>
                  <a:pt x="3588" y="4552"/>
                </a:lnTo>
                <a:lnTo>
                  <a:pt x="3598" y="4558"/>
                </a:lnTo>
                <a:lnTo>
                  <a:pt x="3606" y="4566"/>
                </a:lnTo>
                <a:lnTo>
                  <a:pt x="3608" y="4568"/>
                </a:lnTo>
                <a:lnTo>
                  <a:pt x="3608" y="4570"/>
                </a:lnTo>
                <a:lnTo>
                  <a:pt x="3608" y="4574"/>
                </a:lnTo>
                <a:lnTo>
                  <a:pt x="3608" y="4578"/>
                </a:lnTo>
                <a:lnTo>
                  <a:pt x="3610" y="4580"/>
                </a:lnTo>
                <a:lnTo>
                  <a:pt x="3612" y="4580"/>
                </a:lnTo>
                <a:lnTo>
                  <a:pt x="3616" y="4576"/>
                </a:lnTo>
                <a:lnTo>
                  <a:pt x="3616" y="4578"/>
                </a:lnTo>
                <a:lnTo>
                  <a:pt x="3618" y="4578"/>
                </a:lnTo>
                <a:lnTo>
                  <a:pt x="3620" y="4578"/>
                </a:lnTo>
                <a:lnTo>
                  <a:pt x="3622" y="4576"/>
                </a:lnTo>
                <a:lnTo>
                  <a:pt x="3620" y="4578"/>
                </a:lnTo>
                <a:lnTo>
                  <a:pt x="3618" y="4586"/>
                </a:lnTo>
                <a:lnTo>
                  <a:pt x="3614" y="4596"/>
                </a:lnTo>
                <a:lnTo>
                  <a:pt x="3614" y="4600"/>
                </a:lnTo>
                <a:lnTo>
                  <a:pt x="3614" y="4604"/>
                </a:lnTo>
                <a:lnTo>
                  <a:pt x="3622" y="4620"/>
                </a:lnTo>
                <a:lnTo>
                  <a:pt x="3628" y="4628"/>
                </a:lnTo>
                <a:lnTo>
                  <a:pt x="3634" y="4636"/>
                </a:lnTo>
                <a:lnTo>
                  <a:pt x="3636" y="4640"/>
                </a:lnTo>
                <a:lnTo>
                  <a:pt x="3638" y="4642"/>
                </a:lnTo>
                <a:lnTo>
                  <a:pt x="3640" y="4644"/>
                </a:lnTo>
                <a:lnTo>
                  <a:pt x="3642" y="4648"/>
                </a:lnTo>
                <a:lnTo>
                  <a:pt x="3642" y="4658"/>
                </a:lnTo>
                <a:lnTo>
                  <a:pt x="3644" y="4660"/>
                </a:lnTo>
                <a:lnTo>
                  <a:pt x="3648" y="4664"/>
                </a:lnTo>
                <a:lnTo>
                  <a:pt x="3652" y="4666"/>
                </a:lnTo>
                <a:lnTo>
                  <a:pt x="3654" y="4670"/>
                </a:lnTo>
                <a:lnTo>
                  <a:pt x="3654" y="4674"/>
                </a:lnTo>
                <a:lnTo>
                  <a:pt x="3652" y="4678"/>
                </a:lnTo>
                <a:lnTo>
                  <a:pt x="3650" y="4688"/>
                </a:lnTo>
                <a:lnTo>
                  <a:pt x="3650" y="4692"/>
                </a:lnTo>
                <a:lnTo>
                  <a:pt x="3652" y="4698"/>
                </a:lnTo>
                <a:lnTo>
                  <a:pt x="3658" y="4704"/>
                </a:lnTo>
                <a:lnTo>
                  <a:pt x="3658" y="4708"/>
                </a:lnTo>
                <a:lnTo>
                  <a:pt x="3656" y="4710"/>
                </a:lnTo>
                <a:lnTo>
                  <a:pt x="3654" y="4714"/>
                </a:lnTo>
                <a:lnTo>
                  <a:pt x="3650" y="4716"/>
                </a:lnTo>
                <a:lnTo>
                  <a:pt x="3648" y="4722"/>
                </a:lnTo>
                <a:lnTo>
                  <a:pt x="3646" y="4730"/>
                </a:lnTo>
                <a:lnTo>
                  <a:pt x="3648" y="4744"/>
                </a:lnTo>
                <a:lnTo>
                  <a:pt x="3650" y="4758"/>
                </a:lnTo>
                <a:lnTo>
                  <a:pt x="3650" y="4770"/>
                </a:lnTo>
                <a:lnTo>
                  <a:pt x="3648" y="4790"/>
                </a:lnTo>
                <a:lnTo>
                  <a:pt x="3648" y="4802"/>
                </a:lnTo>
                <a:lnTo>
                  <a:pt x="3650" y="4806"/>
                </a:lnTo>
                <a:lnTo>
                  <a:pt x="3652" y="4808"/>
                </a:lnTo>
                <a:lnTo>
                  <a:pt x="3654" y="4812"/>
                </a:lnTo>
                <a:lnTo>
                  <a:pt x="3656" y="4818"/>
                </a:lnTo>
                <a:lnTo>
                  <a:pt x="3654" y="4826"/>
                </a:lnTo>
                <a:lnTo>
                  <a:pt x="3650" y="4836"/>
                </a:lnTo>
                <a:lnTo>
                  <a:pt x="3646" y="4846"/>
                </a:lnTo>
                <a:lnTo>
                  <a:pt x="3640" y="4856"/>
                </a:lnTo>
                <a:lnTo>
                  <a:pt x="3634" y="4862"/>
                </a:lnTo>
                <a:lnTo>
                  <a:pt x="3628" y="4864"/>
                </a:lnTo>
                <a:lnTo>
                  <a:pt x="3616" y="4866"/>
                </a:lnTo>
                <a:lnTo>
                  <a:pt x="3606" y="4870"/>
                </a:lnTo>
                <a:lnTo>
                  <a:pt x="3602" y="4872"/>
                </a:lnTo>
                <a:lnTo>
                  <a:pt x="3600" y="4876"/>
                </a:lnTo>
                <a:lnTo>
                  <a:pt x="3600" y="4882"/>
                </a:lnTo>
                <a:lnTo>
                  <a:pt x="3600" y="4888"/>
                </a:lnTo>
                <a:lnTo>
                  <a:pt x="3602" y="4892"/>
                </a:lnTo>
                <a:lnTo>
                  <a:pt x="3600" y="4896"/>
                </a:lnTo>
                <a:lnTo>
                  <a:pt x="3592" y="4898"/>
                </a:lnTo>
                <a:lnTo>
                  <a:pt x="3590" y="4900"/>
                </a:lnTo>
                <a:lnTo>
                  <a:pt x="3588" y="4904"/>
                </a:lnTo>
                <a:lnTo>
                  <a:pt x="3590" y="4910"/>
                </a:lnTo>
                <a:lnTo>
                  <a:pt x="3594" y="4918"/>
                </a:lnTo>
                <a:lnTo>
                  <a:pt x="3594" y="4922"/>
                </a:lnTo>
                <a:lnTo>
                  <a:pt x="3594" y="4926"/>
                </a:lnTo>
                <a:lnTo>
                  <a:pt x="3588" y="4932"/>
                </a:lnTo>
                <a:lnTo>
                  <a:pt x="3580" y="4934"/>
                </a:lnTo>
                <a:lnTo>
                  <a:pt x="3570" y="4938"/>
                </a:lnTo>
                <a:lnTo>
                  <a:pt x="3560" y="4942"/>
                </a:lnTo>
                <a:lnTo>
                  <a:pt x="3552" y="4946"/>
                </a:lnTo>
                <a:lnTo>
                  <a:pt x="3546" y="4952"/>
                </a:lnTo>
                <a:lnTo>
                  <a:pt x="3546" y="4956"/>
                </a:lnTo>
                <a:lnTo>
                  <a:pt x="3546" y="4962"/>
                </a:lnTo>
                <a:lnTo>
                  <a:pt x="3546" y="4974"/>
                </a:lnTo>
                <a:lnTo>
                  <a:pt x="3546" y="4984"/>
                </a:lnTo>
                <a:lnTo>
                  <a:pt x="3542" y="4990"/>
                </a:lnTo>
                <a:lnTo>
                  <a:pt x="3540" y="4994"/>
                </a:lnTo>
                <a:lnTo>
                  <a:pt x="3532" y="5002"/>
                </a:lnTo>
                <a:lnTo>
                  <a:pt x="3530" y="5008"/>
                </a:lnTo>
                <a:lnTo>
                  <a:pt x="3530" y="5016"/>
                </a:lnTo>
                <a:lnTo>
                  <a:pt x="3530" y="5024"/>
                </a:lnTo>
                <a:lnTo>
                  <a:pt x="3528" y="5030"/>
                </a:lnTo>
                <a:lnTo>
                  <a:pt x="3524" y="5032"/>
                </a:lnTo>
                <a:lnTo>
                  <a:pt x="3520" y="5032"/>
                </a:lnTo>
                <a:lnTo>
                  <a:pt x="3516" y="5034"/>
                </a:lnTo>
                <a:lnTo>
                  <a:pt x="3512" y="5038"/>
                </a:lnTo>
                <a:lnTo>
                  <a:pt x="3510" y="5044"/>
                </a:lnTo>
                <a:lnTo>
                  <a:pt x="3512" y="5054"/>
                </a:lnTo>
                <a:lnTo>
                  <a:pt x="3516" y="5070"/>
                </a:lnTo>
                <a:lnTo>
                  <a:pt x="3516" y="5082"/>
                </a:lnTo>
                <a:lnTo>
                  <a:pt x="3516" y="5090"/>
                </a:lnTo>
                <a:lnTo>
                  <a:pt x="3514" y="5094"/>
                </a:lnTo>
                <a:lnTo>
                  <a:pt x="3514" y="5098"/>
                </a:lnTo>
                <a:lnTo>
                  <a:pt x="3514" y="5100"/>
                </a:lnTo>
                <a:lnTo>
                  <a:pt x="3524" y="5112"/>
                </a:lnTo>
                <a:lnTo>
                  <a:pt x="3532" y="5118"/>
                </a:lnTo>
                <a:lnTo>
                  <a:pt x="3538" y="5120"/>
                </a:lnTo>
                <a:lnTo>
                  <a:pt x="3542" y="5118"/>
                </a:lnTo>
                <a:lnTo>
                  <a:pt x="3546" y="5116"/>
                </a:lnTo>
                <a:lnTo>
                  <a:pt x="3550" y="5110"/>
                </a:lnTo>
                <a:lnTo>
                  <a:pt x="3552" y="5110"/>
                </a:lnTo>
                <a:lnTo>
                  <a:pt x="3552" y="5114"/>
                </a:lnTo>
                <a:lnTo>
                  <a:pt x="3552" y="5128"/>
                </a:lnTo>
                <a:lnTo>
                  <a:pt x="3550" y="5140"/>
                </a:lnTo>
                <a:lnTo>
                  <a:pt x="3548" y="5144"/>
                </a:lnTo>
                <a:lnTo>
                  <a:pt x="3544" y="5148"/>
                </a:lnTo>
                <a:lnTo>
                  <a:pt x="3540" y="5152"/>
                </a:lnTo>
                <a:lnTo>
                  <a:pt x="3534" y="5154"/>
                </a:lnTo>
                <a:lnTo>
                  <a:pt x="3520" y="5170"/>
                </a:lnTo>
                <a:lnTo>
                  <a:pt x="3508" y="5184"/>
                </a:lnTo>
                <a:lnTo>
                  <a:pt x="3502" y="5196"/>
                </a:lnTo>
                <a:lnTo>
                  <a:pt x="3498" y="5208"/>
                </a:lnTo>
                <a:lnTo>
                  <a:pt x="3496" y="5218"/>
                </a:lnTo>
                <a:lnTo>
                  <a:pt x="3496" y="5228"/>
                </a:lnTo>
                <a:lnTo>
                  <a:pt x="3498" y="5244"/>
                </a:lnTo>
                <a:lnTo>
                  <a:pt x="3502" y="5250"/>
                </a:lnTo>
                <a:lnTo>
                  <a:pt x="3504" y="5254"/>
                </a:lnTo>
                <a:lnTo>
                  <a:pt x="3512" y="5260"/>
                </a:lnTo>
                <a:lnTo>
                  <a:pt x="3514" y="5262"/>
                </a:lnTo>
                <a:lnTo>
                  <a:pt x="3516" y="5264"/>
                </a:lnTo>
                <a:lnTo>
                  <a:pt x="3514" y="5268"/>
                </a:lnTo>
                <a:lnTo>
                  <a:pt x="3508" y="5272"/>
                </a:lnTo>
                <a:lnTo>
                  <a:pt x="3504" y="5276"/>
                </a:lnTo>
                <a:lnTo>
                  <a:pt x="3502" y="5280"/>
                </a:lnTo>
                <a:lnTo>
                  <a:pt x="3502" y="5282"/>
                </a:lnTo>
                <a:lnTo>
                  <a:pt x="3504" y="5286"/>
                </a:lnTo>
                <a:lnTo>
                  <a:pt x="3510" y="5292"/>
                </a:lnTo>
                <a:lnTo>
                  <a:pt x="3518" y="5298"/>
                </a:lnTo>
                <a:lnTo>
                  <a:pt x="3540" y="5310"/>
                </a:lnTo>
                <a:lnTo>
                  <a:pt x="3550" y="5318"/>
                </a:lnTo>
                <a:lnTo>
                  <a:pt x="3552" y="5322"/>
                </a:lnTo>
                <a:lnTo>
                  <a:pt x="3554" y="5328"/>
                </a:lnTo>
                <a:lnTo>
                  <a:pt x="3558" y="5342"/>
                </a:lnTo>
                <a:lnTo>
                  <a:pt x="3564" y="5354"/>
                </a:lnTo>
                <a:lnTo>
                  <a:pt x="3570" y="5364"/>
                </a:lnTo>
                <a:lnTo>
                  <a:pt x="3576" y="5372"/>
                </a:lnTo>
                <a:lnTo>
                  <a:pt x="3588" y="5388"/>
                </a:lnTo>
                <a:lnTo>
                  <a:pt x="3592" y="5398"/>
                </a:lnTo>
                <a:lnTo>
                  <a:pt x="3596" y="5410"/>
                </a:lnTo>
                <a:lnTo>
                  <a:pt x="3600" y="5424"/>
                </a:lnTo>
                <a:lnTo>
                  <a:pt x="3606" y="5438"/>
                </a:lnTo>
                <a:lnTo>
                  <a:pt x="3618" y="5468"/>
                </a:lnTo>
                <a:lnTo>
                  <a:pt x="3632" y="5498"/>
                </a:lnTo>
                <a:lnTo>
                  <a:pt x="3638" y="5512"/>
                </a:lnTo>
                <a:lnTo>
                  <a:pt x="3642" y="5526"/>
                </a:lnTo>
                <a:lnTo>
                  <a:pt x="3644" y="5536"/>
                </a:lnTo>
                <a:lnTo>
                  <a:pt x="3648" y="5544"/>
                </a:lnTo>
                <a:lnTo>
                  <a:pt x="3654" y="5554"/>
                </a:lnTo>
                <a:lnTo>
                  <a:pt x="3660" y="5564"/>
                </a:lnTo>
                <a:lnTo>
                  <a:pt x="3660" y="5570"/>
                </a:lnTo>
                <a:lnTo>
                  <a:pt x="3662" y="5576"/>
                </a:lnTo>
                <a:lnTo>
                  <a:pt x="3664" y="5584"/>
                </a:lnTo>
                <a:lnTo>
                  <a:pt x="3668" y="5594"/>
                </a:lnTo>
                <a:lnTo>
                  <a:pt x="3682" y="5612"/>
                </a:lnTo>
                <a:lnTo>
                  <a:pt x="3688" y="5622"/>
                </a:lnTo>
                <a:lnTo>
                  <a:pt x="3694" y="5632"/>
                </a:lnTo>
                <a:lnTo>
                  <a:pt x="3698" y="5644"/>
                </a:lnTo>
                <a:lnTo>
                  <a:pt x="3698" y="5656"/>
                </a:lnTo>
                <a:lnTo>
                  <a:pt x="3698" y="5670"/>
                </a:lnTo>
                <a:lnTo>
                  <a:pt x="3700" y="5680"/>
                </a:lnTo>
                <a:lnTo>
                  <a:pt x="3704" y="5690"/>
                </a:lnTo>
                <a:lnTo>
                  <a:pt x="3712" y="5700"/>
                </a:lnTo>
                <a:lnTo>
                  <a:pt x="3724" y="5714"/>
                </a:lnTo>
                <a:lnTo>
                  <a:pt x="3730" y="5720"/>
                </a:lnTo>
                <a:lnTo>
                  <a:pt x="3734" y="5728"/>
                </a:lnTo>
                <a:lnTo>
                  <a:pt x="3742" y="5738"/>
                </a:lnTo>
                <a:lnTo>
                  <a:pt x="3752" y="5750"/>
                </a:lnTo>
                <a:lnTo>
                  <a:pt x="3776" y="5766"/>
                </a:lnTo>
                <a:lnTo>
                  <a:pt x="3814" y="5790"/>
                </a:lnTo>
                <a:lnTo>
                  <a:pt x="3854" y="5812"/>
                </a:lnTo>
                <a:lnTo>
                  <a:pt x="3878" y="5826"/>
                </a:lnTo>
                <a:lnTo>
                  <a:pt x="3884" y="5832"/>
                </a:lnTo>
                <a:lnTo>
                  <a:pt x="3888" y="5836"/>
                </a:lnTo>
                <a:lnTo>
                  <a:pt x="3892" y="5844"/>
                </a:lnTo>
                <a:lnTo>
                  <a:pt x="3894" y="5850"/>
                </a:lnTo>
                <a:lnTo>
                  <a:pt x="3896" y="5858"/>
                </a:lnTo>
                <a:lnTo>
                  <a:pt x="3900" y="5864"/>
                </a:lnTo>
                <a:lnTo>
                  <a:pt x="3906" y="5868"/>
                </a:lnTo>
                <a:lnTo>
                  <a:pt x="3910" y="5872"/>
                </a:lnTo>
                <a:lnTo>
                  <a:pt x="3924" y="5880"/>
                </a:lnTo>
                <a:lnTo>
                  <a:pt x="3930" y="5884"/>
                </a:lnTo>
                <a:lnTo>
                  <a:pt x="3936" y="5890"/>
                </a:lnTo>
                <a:lnTo>
                  <a:pt x="3936" y="5916"/>
                </a:lnTo>
                <a:lnTo>
                  <a:pt x="3938" y="5926"/>
                </a:lnTo>
                <a:lnTo>
                  <a:pt x="3940" y="5928"/>
                </a:lnTo>
                <a:lnTo>
                  <a:pt x="3940" y="5936"/>
                </a:lnTo>
                <a:lnTo>
                  <a:pt x="3940" y="5948"/>
                </a:lnTo>
                <a:lnTo>
                  <a:pt x="3942" y="5956"/>
                </a:lnTo>
                <a:lnTo>
                  <a:pt x="3944" y="5968"/>
                </a:lnTo>
                <a:lnTo>
                  <a:pt x="3944" y="5976"/>
                </a:lnTo>
                <a:lnTo>
                  <a:pt x="3944" y="5988"/>
                </a:lnTo>
                <a:lnTo>
                  <a:pt x="3942" y="5998"/>
                </a:lnTo>
                <a:lnTo>
                  <a:pt x="3942" y="6006"/>
                </a:lnTo>
                <a:lnTo>
                  <a:pt x="3946" y="6022"/>
                </a:lnTo>
                <a:lnTo>
                  <a:pt x="3948" y="6042"/>
                </a:lnTo>
                <a:lnTo>
                  <a:pt x="3948" y="6054"/>
                </a:lnTo>
                <a:lnTo>
                  <a:pt x="3946" y="6070"/>
                </a:lnTo>
                <a:lnTo>
                  <a:pt x="3940" y="6098"/>
                </a:lnTo>
                <a:lnTo>
                  <a:pt x="3938" y="6116"/>
                </a:lnTo>
                <a:lnTo>
                  <a:pt x="3936" y="6126"/>
                </a:lnTo>
                <a:lnTo>
                  <a:pt x="3934" y="6126"/>
                </a:lnTo>
                <a:lnTo>
                  <a:pt x="3932" y="6126"/>
                </a:lnTo>
                <a:lnTo>
                  <a:pt x="3930" y="6128"/>
                </a:lnTo>
                <a:lnTo>
                  <a:pt x="3926" y="6136"/>
                </a:lnTo>
                <a:lnTo>
                  <a:pt x="3926" y="6142"/>
                </a:lnTo>
                <a:lnTo>
                  <a:pt x="3926" y="6146"/>
                </a:lnTo>
                <a:lnTo>
                  <a:pt x="3930" y="6148"/>
                </a:lnTo>
                <a:lnTo>
                  <a:pt x="3932" y="6150"/>
                </a:lnTo>
                <a:lnTo>
                  <a:pt x="3932" y="6156"/>
                </a:lnTo>
                <a:lnTo>
                  <a:pt x="3930" y="6170"/>
                </a:lnTo>
                <a:lnTo>
                  <a:pt x="3928" y="6192"/>
                </a:lnTo>
                <a:lnTo>
                  <a:pt x="3928" y="6204"/>
                </a:lnTo>
                <a:lnTo>
                  <a:pt x="3930" y="6216"/>
                </a:lnTo>
                <a:lnTo>
                  <a:pt x="3932" y="6228"/>
                </a:lnTo>
                <a:lnTo>
                  <a:pt x="3932" y="6238"/>
                </a:lnTo>
                <a:lnTo>
                  <a:pt x="3932" y="6246"/>
                </a:lnTo>
                <a:lnTo>
                  <a:pt x="3928" y="6254"/>
                </a:lnTo>
                <a:lnTo>
                  <a:pt x="3924" y="6266"/>
                </a:lnTo>
                <a:lnTo>
                  <a:pt x="3924" y="6270"/>
                </a:lnTo>
                <a:lnTo>
                  <a:pt x="3926" y="6276"/>
                </a:lnTo>
                <a:lnTo>
                  <a:pt x="3928" y="6284"/>
                </a:lnTo>
                <a:lnTo>
                  <a:pt x="3926" y="6292"/>
                </a:lnTo>
                <a:lnTo>
                  <a:pt x="3922" y="6310"/>
                </a:lnTo>
                <a:lnTo>
                  <a:pt x="3914" y="6330"/>
                </a:lnTo>
                <a:lnTo>
                  <a:pt x="3912" y="6340"/>
                </a:lnTo>
                <a:lnTo>
                  <a:pt x="3912" y="6348"/>
                </a:lnTo>
                <a:lnTo>
                  <a:pt x="3914" y="6358"/>
                </a:lnTo>
                <a:lnTo>
                  <a:pt x="3910" y="6362"/>
                </a:lnTo>
                <a:lnTo>
                  <a:pt x="3908" y="6368"/>
                </a:lnTo>
                <a:lnTo>
                  <a:pt x="3904" y="6388"/>
                </a:lnTo>
                <a:lnTo>
                  <a:pt x="3904" y="6400"/>
                </a:lnTo>
                <a:lnTo>
                  <a:pt x="3900" y="6408"/>
                </a:lnTo>
                <a:lnTo>
                  <a:pt x="3898" y="6414"/>
                </a:lnTo>
                <a:lnTo>
                  <a:pt x="3894" y="6418"/>
                </a:lnTo>
                <a:lnTo>
                  <a:pt x="3890" y="6422"/>
                </a:lnTo>
                <a:lnTo>
                  <a:pt x="3888" y="6426"/>
                </a:lnTo>
                <a:lnTo>
                  <a:pt x="3888" y="6432"/>
                </a:lnTo>
                <a:lnTo>
                  <a:pt x="3890" y="6438"/>
                </a:lnTo>
                <a:lnTo>
                  <a:pt x="3896" y="6454"/>
                </a:lnTo>
                <a:lnTo>
                  <a:pt x="3900" y="6470"/>
                </a:lnTo>
                <a:lnTo>
                  <a:pt x="3898" y="6482"/>
                </a:lnTo>
                <a:lnTo>
                  <a:pt x="3896" y="6486"/>
                </a:lnTo>
                <a:lnTo>
                  <a:pt x="3894" y="6492"/>
                </a:lnTo>
                <a:lnTo>
                  <a:pt x="3888" y="6498"/>
                </a:lnTo>
                <a:lnTo>
                  <a:pt x="3882" y="6508"/>
                </a:lnTo>
                <a:lnTo>
                  <a:pt x="3882" y="6514"/>
                </a:lnTo>
                <a:lnTo>
                  <a:pt x="3880" y="6522"/>
                </a:lnTo>
                <a:lnTo>
                  <a:pt x="3884" y="6546"/>
                </a:lnTo>
                <a:lnTo>
                  <a:pt x="3888" y="6568"/>
                </a:lnTo>
                <a:lnTo>
                  <a:pt x="3888" y="6584"/>
                </a:lnTo>
                <a:lnTo>
                  <a:pt x="3890" y="6596"/>
                </a:lnTo>
                <a:lnTo>
                  <a:pt x="3894" y="6608"/>
                </a:lnTo>
                <a:lnTo>
                  <a:pt x="3896" y="6614"/>
                </a:lnTo>
                <a:lnTo>
                  <a:pt x="3894" y="6620"/>
                </a:lnTo>
                <a:lnTo>
                  <a:pt x="3890" y="6632"/>
                </a:lnTo>
                <a:lnTo>
                  <a:pt x="3884" y="6646"/>
                </a:lnTo>
                <a:lnTo>
                  <a:pt x="3882" y="6654"/>
                </a:lnTo>
                <a:lnTo>
                  <a:pt x="3882" y="6662"/>
                </a:lnTo>
                <a:lnTo>
                  <a:pt x="3884" y="6670"/>
                </a:lnTo>
                <a:lnTo>
                  <a:pt x="3884" y="6676"/>
                </a:lnTo>
                <a:lnTo>
                  <a:pt x="3882" y="6678"/>
                </a:lnTo>
                <a:lnTo>
                  <a:pt x="3880" y="6680"/>
                </a:lnTo>
                <a:lnTo>
                  <a:pt x="3878" y="6684"/>
                </a:lnTo>
                <a:lnTo>
                  <a:pt x="3874" y="6690"/>
                </a:lnTo>
                <a:lnTo>
                  <a:pt x="3872" y="6698"/>
                </a:lnTo>
                <a:lnTo>
                  <a:pt x="3870" y="6710"/>
                </a:lnTo>
                <a:lnTo>
                  <a:pt x="3868" y="6726"/>
                </a:lnTo>
                <a:lnTo>
                  <a:pt x="3866" y="6738"/>
                </a:lnTo>
                <a:lnTo>
                  <a:pt x="3858" y="6758"/>
                </a:lnTo>
                <a:lnTo>
                  <a:pt x="3850" y="6774"/>
                </a:lnTo>
                <a:lnTo>
                  <a:pt x="3846" y="6786"/>
                </a:lnTo>
                <a:lnTo>
                  <a:pt x="3844" y="6794"/>
                </a:lnTo>
                <a:lnTo>
                  <a:pt x="3840" y="6798"/>
                </a:lnTo>
                <a:lnTo>
                  <a:pt x="3838" y="6802"/>
                </a:lnTo>
                <a:lnTo>
                  <a:pt x="3834" y="6818"/>
                </a:lnTo>
                <a:lnTo>
                  <a:pt x="3834" y="6830"/>
                </a:lnTo>
                <a:lnTo>
                  <a:pt x="3832" y="6836"/>
                </a:lnTo>
                <a:lnTo>
                  <a:pt x="3830" y="6838"/>
                </a:lnTo>
                <a:lnTo>
                  <a:pt x="3828" y="6836"/>
                </a:lnTo>
                <a:lnTo>
                  <a:pt x="3826" y="6836"/>
                </a:lnTo>
                <a:lnTo>
                  <a:pt x="3826" y="6834"/>
                </a:lnTo>
                <a:lnTo>
                  <a:pt x="3824" y="6846"/>
                </a:lnTo>
                <a:lnTo>
                  <a:pt x="3822" y="6858"/>
                </a:lnTo>
                <a:lnTo>
                  <a:pt x="3820" y="6864"/>
                </a:lnTo>
                <a:lnTo>
                  <a:pt x="3818" y="6866"/>
                </a:lnTo>
                <a:lnTo>
                  <a:pt x="3814" y="6866"/>
                </a:lnTo>
                <a:lnTo>
                  <a:pt x="3806" y="6864"/>
                </a:lnTo>
                <a:lnTo>
                  <a:pt x="3804" y="6864"/>
                </a:lnTo>
                <a:lnTo>
                  <a:pt x="3804" y="6870"/>
                </a:lnTo>
                <a:lnTo>
                  <a:pt x="3802" y="6882"/>
                </a:lnTo>
                <a:lnTo>
                  <a:pt x="3804" y="6890"/>
                </a:lnTo>
                <a:lnTo>
                  <a:pt x="3806" y="6898"/>
                </a:lnTo>
                <a:lnTo>
                  <a:pt x="3810" y="6906"/>
                </a:lnTo>
                <a:lnTo>
                  <a:pt x="3810" y="6914"/>
                </a:lnTo>
                <a:lnTo>
                  <a:pt x="3810" y="6924"/>
                </a:lnTo>
                <a:lnTo>
                  <a:pt x="3808" y="6936"/>
                </a:lnTo>
                <a:lnTo>
                  <a:pt x="3810" y="6944"/>
                </a:lnTo>
                <a:lnTo>
                  <a:pt x="3814" y="6954"/>
                </a:lnTo>
                <a:lnTo>
                  <a:pt x="3818" y="6960"/>
                </a:lnTo>
                <a:lnTo>
                  <a:pt x="3820" y="6968"/>
                </a:lnTo>
                <a:lnTo>
                  <a:pt x="3820" y="6976"/>
                </a:lnTo>
                <a:lnTo>
                  <a:pt x="3818" y="6990"/>
                </a:lnTo>
                <a:lnTo>
                  <a:pt x="3816" y="7002"/>
                </a:lnTo>
                <a:lnTo>
                  <a:pt x="3812" y="7008"/>
                </a:lnTo>
                <a:lnTo>
                  <a:pt x="3810" y="7010"/>
                </a:lnTo>
                <a:lnTo>
                  <a:pt x="3808" y="7010"/>
                </a:lnTo>
                <a:lnTo>
                  <a:pt x="3804" y="7010"/>
                </a:lnTo>
                <a:lnTo>
                  <a:pt x="3802" y="7012"/>
                </a:lnTo>
                <a:lnTo>
                  <a:pt x="3800" y="7016"/>
                </a:lnTo>
                <a:lnTo>
                  <a:pt x="3800" y="7026"/>
                </a:lnTo>
                <a:lnTo>
                  <a:pt x="3798" y="7042"/>
                </a:lnTo>
                <a:lnTo>
                  <a:pt x="3796" y="7054"/>
                </a:lnTo>
                <a:lnTo>
                  <a:pt x="3790" y="7068"/>
                </a:lnTo>
                <a:lnTo>
                  <a:pt x="3790" y="7074"/>
                </a:lnTo>
                <a:lnTo>
                  <a:pt x="3790" y="7080"/>
                </a:lnTo>
                <a:lnTo>
                  <a:pt x="3790" y="7086"/>
                </a:lnTo>
                <a:lnTo>
                  <a:pt x="3794" y="7096"/>
                </a:lnTo>
                <a:lnTo>
                  <a:pt x="3798" y="7104"/>
                </a:lnTo>
                <a:lnTo>
                  <a:pt x="3804" y="7112"/>
                </a:lnTo>
                <a:lnTo>
                  <a:pt x="3808" y="7116"/>
                </a:lnTo>
                <a:lnTo>
                  <a:pt x="3814" y="7118"/>
                </a:lnTo>
                <a:lnTo>
                  <a:pt x="3818" y="7116"/>
                </a:lnTo>
                <a:lnTo>
                  <a:pt x="3820" y="7116"/>
                </a:lnTo>
                <a:lnTo>
                  <a:pt x="3824" y="7112"/>
                </a:lnTo>
                <a:lnTo>
                  <a:pt x="3826" y="7108"/>
                </a:lnTo>
                <a:lnTo>
                  <a:pt x="3830" y="7100"/>
                </a:lnTo>
                <a:lnTo>
                  <a:pt x="3832" y="7100"/>
                </a:lnTo>
                <a:lnTo>
                  <a:pt x="3834" y="7100"/>
                </a:lnTo>
                <a:lnTo>
                  <a:pt x="3838" y="7106"/>
                </a:lnTo>
                <a:lnTo>
                  <a:pt x="3842" y="7110"/>
                </a:lnTo>
                <a:lnTo>
                  <a:pt x="3846" y="7112"/>
                </a:lnTo>
                <a:lnTo>
                  <a:pt x="3848" y="7112"/>
                </a:lnTo>
                <a:lnTo>
                  <a:pt x="3846" y="7116"/>
                </a:lnTo>
                <a:lnTo>
                  <a:pt x="3840" y="7122"/>
                </a:lnTo>
                <a:lnTo>
                  <a:pt x="3836" y="7126"/>
                </a:lnTo>
                <a:lnTo>
                  <a:pt x="3836" y="7128"/>
                </a:lnTo>
                <a:lnTo>
                  <a:pt x="3842" y="7130"/>
                </a:lnTo>
                <a:lnTo>
                  <a:pt x="3846" y="7132"/>
                </a:lnTo>
                <a:lnTo>
                  <a:pt x="3850" y="7134"/>
                </a:lnTo>
                <a:lnTo>
                  <a:pt x="3852" y="7138"/>
                </a:lnTo>
                <a:lnTo>
                  <a:pt x="3854" y="7142"/>
                </a:lnTo>
                <a:lnTo>
                  <a:pt x="3852" y="7148"/>
                </a:lnTo>
                <a:lnTo>
                  <a:pt x="3850" y="7150"/>
                </a:lnTo>
                <a:lnTo>
                  <a:pt x="3848" y="7148"/>
                </a:lnTo>
                <a:lnTo>
                  <a:pt x="3844" y="7142"/>
                </a:lnTo>
                <a:lnTo>
                  <a:pt x="3840" y="7140"/>
                </a:lnTo>
                <a:lnTo>
                  <a:pt x="3838" y="7144"/>
                </a:lnTo>
                <a:lnTo>
                  <a:pt x="3838" y="7150"/>
                </a:lnTo>
                <a:lnTo>
                  <a:pt x="3840" y="7156"/>
                </a:lnTo>
                <a:lnTo>
                  <a:pt x="3838" y="7160"/>
                </a:lnTo>
                <a:lnTo>
                  <a:pt x="3836" y="7166"/>
                </a:lnTo>
                <a:lnTo>
                  <a:pt x="3838" y="7176"/>
                </a:lnTo>
                <a:lnTo>
                  <a:pt x="3840" y="7182"/>
                </a:lnTo>
                <a:lnTo>
                  <a:pt x="3838" y="7188"/>
                </a:lnTo>
                <a:lnTo>
                  <a:pt x="3832" y="7196"/>
                </a:lnTo>
                <a:lnTo>
                  <a:pt x="3826" y="7202"/>
                </a:lnTo>
                <a:lnTo>
                  <a:pt x="3826" y="7208"/>
                </a:lnTo>
                <a:lnTo>
                  <a:pt x="3826" y="7212"/>
                </a:lnTo>
                <a:lnTo>
                  <a:pt x="3830" y="7224"/>
                </a:lnTo>
                <a:lnTo>
                  <a:pt x="3830" y="7234"/>
                </a:lnTo>
                <a:lnTo>
                  <a:pt x="3826" y="7242"/>
                </a:lnTo>
                <a:lnTo>
                  <a:pt x="3822" y="7248"/>
                </a:lnTo>
                <a:lnTo>
                  <a:pt x="3820" y="7250"/>
                </a:lnTo>
                <a:lnTo>
                  <a:pt x="3822" y="7254"/>
                </a:lnTo>
                <a:lnTo>
                  <a:pt x="3826" y="7256"/>
                </a:lnTo>
                <a:lnTo>
                  <a:pt x="3832" y="7258"/>
                </a:lnTo>
                <a:lnTo>
                  <a:pt x="3840" y="7262"/>
                </a:lnTo>
                <a:lnTo>
                  <a:pt x="3844" y="7266"/>
                </a:lnTo>
                <a:lnTo>
                  <a:pt x="3844" y="7272"/>
                </a:lnTo>
                <a:lnTo>
                  <a:pt x="3842" y="7280"/>
                </a:lnTo>
                <a:lnTo>
                  <a:pt x="3838" y="7286"/>
                </a:lnTo>
                <a:lnTo>
                  <a:pt x="3834" y="7292"/>
                </a:lnTo>
                <a:lnTo>
                  <a:pt x="3828" y="7296"/>
                </a:lnTo>
                <a:lnTo>
                  <a:pt x="3822" y="7298"/>
                </a:lnTo>
                <a:lnTo>
                  <a:pt x="3816" y="7302"/>
                </a:lnTo>
                <a:lnTo>
                  <a:pt x="3814" y="7304"/>
                </a:lnTo>
                <a:lnTo>
                  <a:pt x="3816" y="7308"/>
                </a:lnTo>
                <a:lnTo>
                  <a:pt x="3818" y="7312"/>
                </a:lnTo>
                <a:lnTo>
                  <a:pt x="3820" y="7314"/>
                </a:lnTo>
                <a:lnTo>
                  <a:pt x="3820" y="7316"/>
                </a:lnTo>
                <a:lnTo>
                  <a:pt x="3816" y="7318"/>
                </a:lnTo>
                <a:lnTo>
                  <a:pt x="3812" y="7322"/>
                </a:lnTo>
                <a:lnTo>
                  <a:pt x="3808" y="7330"/>
                </a:lnTo>
                <a:lnTo>
                  <a:pt x="3808" y="7336"/>
                </a:lnTo>
                <a:lnTo>
                  <a:pt x="3808" y="7340"/>
                </a:lnTo>
                <a:lnTo>
                  <a:pt x="3808" y="7346"/>
                </a:lnTo>
                <a:lnTo>
                  <a:pt x="3806" y="7356"/>
                </a:lnTo>
                <a:lnTo>
                  <a:pt x="3804" y="7370"/>
                </a:lnTo>
                <a:lnTo>
                  <a:pt x="3804" y="7378"/>
                </a:lnTo>
                <a:lnTo>
                  <a:pt x="3802" y="7384"/>
                </a:lnTo>
                <a:lnTo>
                  <a:pt x="3798" y="7388"/>
                </a:lnTo>
                <a:lnTo>
                  <a:pt x="3794" y="7390"/>
                </a:lnTo>
                <a:lnTo>
                  <a:pt x="3796" y="7382"/>
                </a:lnTo>
                <a:lnTo>
                  <a:pt x="3796" y="7372"/>
                </a:lnTo>
                <a:lnTo>
                  <a:pt x="3796" y="7366"/>
                </a:lnTo>
                <a:lnTo>
                  <a:pt x="3792" y="7364"/>
                </a:lnTo>
                <a:lnTo>
                  <a:pt x="3788" y="7360"/>
                </a:lnTo>
                <a:lnTo>
                  <a:pt x="3786" y="7358"/>
                </a:lnTo>
                <a:lnTo>
                  <a:pt x="3786" y="7352"/>
                </a:lnTo>
                <a:lnTo>
                  <a:pt x="3786" y="7346"/>
                </a:lnTo>
                <a:lnTo>
                  <a:pt x="3784" y="7346"/>
                </a:lnTo>
                <a:lnTo>
                  <a:pt x="3780" y="7346"/>
                </a:lnTo>
                <a:lnTo>
                  <a:pt x="3772" y="7346"/>
                </a:lnTo>
                <a:lnTo>
                  <a:pt x="3772" y="7348"/>
                </a:lnTo>
                <a:lnTo>
                  <a:pt x="3770" y="7350"/>
                </a:lnTo>
                <a:lnTo>
                  <a:pt x="3766" y="7348"/>
                </a:lnTo>
                <a:lnTo>
                  <a:pt x="3764" y="7346"/>
                </a:lnTo>
                <a:lnTo>
                  <a:pt x="3762" y="7346"/>
                </a:lnTo>
                <a:lnTo>
                  <a:pt x="3762" y="7352"/>
                </a:lnTo>
                <a:lnTo>
                  <a:pt x="3762" y="7354"/>
                </a:lnTo>
                <a:lnTo>
                  <a:pt x="3760" y="7360"/>
                </a:lnTo>
                <a:lnTo>
                  <a:pt x="3756" y="7364"/>
                </a:lnTo>
                <a:lnTo>
                  <a:pt x="3750" y="7368"/>
                </a:lnTo>
                <a:lnTo>
                  <a:pt x="3736" y="7378"/>
                </a:lnTo>
                <a:lnTo>
                  <a:pt x="3724" y="7386"/>
                </a:lnTo>
                <a:lnTo>
                  <a:pt x="3722" y="7390"/>
                </a:lnTo>
                <a:lnTo>
                  <a:pt x="3720" y="7394"/>
                </a:lnTo>
                <a:lnTo>
                  <a:pt x="3720" y="7398"/>
                </a:lnTo>
                <a:lnTo>
                  <a:pt x="3722" y="7402"/>
                </a:lnTo>
                <a:lnTo>
                  <a:pt x="3728" y="7408"/>
                </a:lnTo>
                <a:lnTo>
                  <a:pt x="3732" y="7410"/>
                </a:lnTo>
                <a:lnTo>
                  <a:pt x="3734" y="7406"/>
                </a:lnTo>
                <a:lnTo>
                  <a:pt x="3734" y="7400"/>
                </a:lnTo>
                <a:lnTo>
                  <a:pt x="3736" y="7392"/>
                </a:lnTo>
                <a:lnTo>
                  <a:pt x="3738" y="7390"/>
                </a:lnTo>
                <a:lnTo>
                  <a:pt x="3742" y="7388"/>
                </a:lnTo>
                <a:lnTo>
                  <a:pt x="3744" y="7390"/>
                </a:lnTo>
                <a:lnTo>
                  <a:pt x="3748" y="7396"/>
                </a:lnTo>
                <a:lnTo>
                  <a:pt x="3752" y="7402"/>
                </a:lnTo>
                <a:lnTo>
                  <a:pt x="3760" y="7406"/>
                </a:lnTo>
                <a:lnTo>
                  <a:pt x="3768" y="7408"/>
                </a:lnTo>
                <a:lnTo>
                  <a:pt x="3770" y="7406"/>
                </a:lnTo>
                <a:lnTo>
                  <a:pt x="3772" y="7404"/>
                </a:lnTo>
                <a:lnTo>
                  <a:pt x="3772" y="7400"/>
                </a:lnTo>
                <a:lnTo>
                  <a:pt x="3776" y="7400"/>
                </a:lnTo>
                <a:lnTo>
                  <a:pt x="3778" y="7402"/>
                </a:lnTo>
                <a:lnTo>
                  <a:pt x="3782" y="7406"/>
                </a:lnTo>
                <a:lnTo>
                  <a:pt x="3786" y="7410"/>
                </a:lnTo>
                <a:lnTo>
                  <a:pt x="3790" y="7412"/>
                </a:lnTo>
                <a:lnTo>
                  <a:pt x="3792" y="7414"/>
                </a:lnTo>
                <a:lnTo>
                  <a:pt x="3792" y="7420"/>
                </a:lnTo>
                <a:lnTo>
                  <a:pt x="3790" y="7422"/>
                </a:lnTo>
                <a:lnTo>
                  <a:pt x="3788" y="7424"/>
                </a:lnTo>
                <a:lnTo>
                  <a:pt x="3784" y="7426"/>
                </a:lnTo>
                <a:lnTo>
                  <a:pt x="3778" y="7426"/>
                </a:lnTo>
                <a:lnTo>
                  <a:pt x="3774" y="7428"/>
                </a:lnTo>
                <a:lnTo>
                  <a:pt x="3772" y="7432"/>
                </a:lnTo>
                <a:lnTo>
                  <a:pt x="3770" y="7436"/>
                </a:lnTo>
                <a:lnTo>
                  <a:pt x="3772" y="7440"/>
                </a:lnTo>
                <a:lnTo>
                  <a:pt x="3776" y="7444"/>
                </a:lnTo>
                <a:lnTo>
                  <a:pt x="3780" y="7446"/>
                </a:lnTo>
                <a:lnTo>
                  <a:pt x="3778" y="7446"/>
                </a:lnTo>
                <a:lnTo>
                  <a:pt x="3770" y="7446"/>
                </a:lnTo>
                <a:lnTo>
                  <a:pt x="3766" y="7446"/>
                </a:lnTo>
                <a:lnTo>
                  <a:pt x="3764" y="7450"/>
                </a:lnTo>
                <a:lnTo>
                  <a:pt x="3762" y="7454"/>
                </a:lnTo>
                <a:lnTo>
                  <a:pt x="3764" y="7458"/>
                </a:lnTo>
                <a:lnTo>
                  <a:pt x="3770" y="7458"/>
                </a:lnTo>
                <a:lnTo>
                  <a:pt x="3778" y="7458"/>
                </a:lnTo>
                <a:lnTo>
                  <a:pt x="3786" y="7458"/>
                </a:lnTo>
                <a:lnTo>
                  <a:pt x="3794" y="7460"/>
                </a:lnTo>
                <a:lnTo>
                  <a:pt x="3796" y="7460"/>
                </a:lnTo>
                <a:lnTo>
                  <a:pt x="3798" y="7460"/>
                </a:lnTo>
                <a:lnTo>
                  <a:pt x="3800" y="7458"/>
                </a:lnTo>
                <a:lnTo>
                  <a:pt x="3800" y="7456"/>
                </a:lnTo>
                <a:lnTo>
                  <a:pt x="3802" y="7456"/>
                </a:lnTo>
                <a:lnTo>
                  <a:pt x="3806" y="7458"/>
                </a:lnTo>
                <a:lnTo>
                  <a:pt x="3808" y="7464"/>
                </a:lnTo>
                <a:lnTo>
                  <a:pt x="3808" y="7466"/>
                </a:lnTo>
                <a:lnTo>
                  <a:pt x="3806" y="7466"/>
                </a:lnTo>
                <a:lnTo>
                  <a:pt x="3806" y="7468"/>
                </a:lnTo>
                <a:lnTo>
                  <a:pt x="3806" y="7472"/>
                </a:lnTo>
                <a:lnTo>
                  <a:pt x="3810" y="7478"/>
                </a:lnTo>
                <a:lnTo>
                  <a:pt x="3814" y="7484"/>
                </a:lnTo>
                <a:lnTo>
                  <a:pt x="3810" y="7484"/>
                </a:lnTo>
                <a:lnTo>
                  <a:pt x="3796" y="7474"/>
                </a:lnTo>
                <a:lnTo>
                  <a:pt x="3790" y="7472"/>
                </a:lnTo>
                <a:lnTo>
                  <a:pt x="3784" y="7470"/>
                </a:lnTo>
                <a:lnTo>
                  <a:pt x="3768" y="7470"/>
                </a:lnTo>
                <a:lnTo>
                  <a:pt x="3764" y="7472"/>
                </a:lnTo>
                <a:lnTo>
                  <a:pt x="3762" y="7472"/>
                </a:lnTo>
                <a:lnTo>
                  <a:pt x="3764" y="7474"/>
                </a:lnTo>
                <a:lnTo>
                  <a:pt x="3766" y="7476"/>
                </a:lnTo>
                <a:lnTo>
                  <a:pt x="3768" y="7476"/>
                </a:lnTo>
                <a:lnTo>
                  <a:pt x="3770" y="7476"/>
                </a:lnTo>
                <a:lnTo>
                  <a:pt x="3772" y="7478"/>
                </a:lnTo>
                <a:lnTo>
                  <a:pt x="3774" y="7484"/>
                </a:lnTo>
                <a:lnTo>
                  <a:pt x="3778" y="7488"/>
                </a:lnTo>
                <a:lnTo>
                  <a:pt x="3788" y="7494"/>
                </a:lnTo>
                <a:lnTo>
                  <a:pt x="3792" y="7496"/>
                </a:lnTo>
                <a:lnTo>
                  <a:pt x="3790" y="7500"/>
                </a:lnTo>
                <a:lnTo>
                  <a:pt x="3790" y="7502"/>
                </a:lnTo>
                <a:lnTo>
                  <a:pt x="3790" y="7504"/>
                </a:lnTo>
                <a:lnTo>
                  <a:pt x="3784" y="7500"/>
                </a:lnTo>
                <a:lnTo>
                  <a:pt x="3780" y="7500"/>
                </a:lnTo>
                <a:lnTo>
                  <a:pt x="3778" y="7500"/>
                </a:lnTo>
                <a:lnTo>
                  <a:pt x="3776" y="7504"/>
                </a:lnTo>
                <a:lnTo>
                  <a:pt x="3772" y="7516"/>
                </a:lnTo>
                <a:lnTo>
                  <a:pt x="3772" y="7522"/>
                </a:lnTo>
                <a:lnTo>
                  <a:pt x="3772" y="7530"/>
                </a:lnTo>
                <a:lnTo>
                  <a:pt x="3774" y="7550"/>
                </a:lnTo>
                <a:lnTo>
                  <a:pt x="3776" y="7558"/>
                </a:lnTo>
                <a:lnTo>
                  <a:pt x="3778" y="7560"/>
                </a:lnTo>
                <a:lnTo>
                  <a:pt x="3780" y="7560"/>
                </a:lnTo>
                <a:lnTo>
                  <a:pt x="3780" y="7558"/>
                </a:lnTo>
                <a:lnTo>
                  <a:pt x="3782" y="7552"/>
                </a:lnTo>
                <a:lnTo>
                  <a:pt x="3784" y="7544"/>
                </a:lnTo>
                <a:lnTo>
                  <a:pt x="3786" y="7538"/>
                </a:lnTo>
                <a:lnTo>
                  <a:pt x="3788" y="7538"/>
                </a:lnTo>
                <a:lnTo>
                  <a:pt x="3788" y="7542"/>
                </a:lnTo>
                <a:lnTo>
                  <a:pt x="3788" y="7546"/>
                </a:lnTo>
                <a:lnTo>
                  <a:pt x="3788" y="7554"/>
                </a:lnTo>
                <a:lnTo>
                  <a:pt x="3790" y="7560"/>
                </a:lnTo>
                <a:lnTo>
                  <a:pt x="3794" y="7566"/>
                </a:lnTo>
                <a:lnTo>
                  <a:pt x="3796" y="7568"/>
                </a:lnTo>
                <a:lnTo>
                  <a:pt x="3792" y="7566"/>
                </a:lnTo>
                <a:lnTo>
                  <a:pt x="3786" y="7564"/>
                </a:lnTo>
                <a:lnTo>
                  <a:pt x="3780" y="7564"/>
                </a:lnTo>
                <a:lnTo>
                  <a:pt x="3778" y="7568"/>
                </a:lnTo>
                <a:lnTo>
                  <a:pt x="3778" y="7570"/>
                </a:lnTo>
                <a:lnTo>
                  <a:pt x="3780" y="7574"/>
                </a:lnTo>
                <a:lnTo>
                  <a:pt x="3778" y="7576"/>
                </a:lnTo>
                <a:lnTo>
                  <a:pt x="3776" y="7578"/>
                </a:lnTo>
                <a:lnTo>
                  <a:pt x="3780" y="7582"/>
                </a:lnTo>
                <a:lnTo>
                  <a:pt x="3792" y="7588"/>
                </a:lnTo>
                <a:lnTo>
                  <a:pt x="3792" y="7590"/>
                </a:lnTo>
                <a:lnTo>
                  <a:pt x="3784" y="7588"/>
                </a:lnTo>
                <a:lnTo>
                  <a:pt x="3776" y="7588"/>
                </a:lnTo>
                <a:lnTo>
                  <a:pt x="3776" y="7590"/>
                </a:lnTo>
                <a:lnTo>
                  <a:pt x="3784" y="7600"/>
                </a:lnTo>
                <a:lnTo>
                  <a:pt x="3788" y="7604"/>
                </a:lnTo>
                <a:lnTo>
                  <a:pt x="3786" y="7604"/>
                </a:lnTo>
                <a:lnTo>
                  <a:pt x="3776" y="7598"/>
                </a:lnTo>
                <a:lnTo>
                  <a:pt x="3770" y="7596"/>
                </a:lnTo>
                <a:lnTo>
                  <a:pt x="3764" y="7596"/>
                </a:lnTo>
                <a:lnTo>
                  <a:pt x="3760" y="7598"/>
                </a:lnTo>
                <a:lnTo>
                  <a:pt x="3762" y="7600"/>
                </a:lnTo>
                <a:lnTo>
                  <a:pt x="3764" y="7600"/>
                </a:lnTo>
                <a:lnTo>
                  <a:pt x="3768" y="7604"/>
                </a:lnTo>
                <a:lnTo>
                  <a:pt x="3770" y="7606"/>
                </a:lnTo>
                <a:lnTo>
                  <a:pt x="3772" y="7610"/>
                </a:lnTo>
                <a:lnTo>
                  <a:pt x="3774" y="7612"/>
                </a:lnTo>
                <a:lnTo>
                  <a:pt x="3778" y="7614"/>
                </a:lnTo>
                <a:lnTo>
                  <a:pt x="3782" y="7612"/>
                </a:lnTo>
                <a:lnTo>
                  <a:pt x="3784" y="7614"/>
                </a:lnTo>
                <a:lnTo>
                  <a:pt x="3788" y="7616"/>
                </a:lnTo>
                <a:lnTo>
                  <a:pt x="3792" y="7620"/>
                </a:lnTo>
                <a:lnTo>
                  <a:pt x="3792" y="7622"/>
                </a:lnTo>
                <a:lnTo>
                  <a:pt x="3784" y="7620"/>
                </a:lnTo>
                <a:lnTo>
                  <a:pt x="3782" y="7620"/>
                </a:lnTo>
                <a:lnTo>
                  <a:pt x="3780" y="7620"/>
                </a:lnTo>
                <a:lnTo>
                  <a:pt x="3784" y="7630"/>
                </a:lnTo>
                <a:lnTo>
                  <a:pt x="3788" y="7636"/>
                </a:lnTo>
                <a:lnTo>
                  <a:pt x="3790" y="7636"/>
                </a:lnTo>
                <a:lnTo>
                  <a:pt x="3794" y="7632"/>
                </a:lnTo>
                <a:lnTo>
                  <a:pt x="3798" y="7624"/>
                </a:lnTo>
                <a:lnTo>
                  <a:pt x="3802" y="7616"/>
                </a:lnTo>
                <a:lnTo>
                  <a:pt x="3804" y="7614"/>
                </a:lnTo>
                <a:lnTo>
                  <a:pt x="3804" y="7618"/>
                </a:lnTo>
                <a:lnTo>
                  <a:pt x="3802" y="7626"/>
                </a:lnTo>
                <a:lnTo>
                  <a:pt x="3796" y="7638"/>
                </a:lnTo>
                <a:lnTo>
                  <a:pt x="3794" y="7640"/>
                </a:lnTo>
                <a:lnTo>
                  <a:pt x="3790" y="7642"/>
                </a:lnTo>
                <a:lnTo>
                  <a:pt x="3784" y="7640"/>
                </a:lnTo>
                <a:lnTo>
                  <a:pt x="3782" y="7642"/>
                </a:lnTo>
                <a:lnTo>
                  <a:pt x="3782" y="7644"/>
                </a:lnTo>
                <a:lnTo>
                  <a:pt x="3782" y="7648"/>
                </a:lnTo>
                <a:lnTo>
                  <a:pt x="3782" y="7650"/>
                </a:lnTo>
                <a:lnTo>
                  <a:pt x="3784" y="7650"/>
                </a:lnTo>
                <a:lnTo>
                  <a:pt x="3784" y="7654"/>
                </a:lnTo>
                <a:lnTo>
                  <a:pt x="3784" y="7660"/>
                </a:lnTo>
                <a:lnTo>
                  <a:pt x="3786" y="7660"/>
                </a:lnTo>
                <a:lnTo>
                  <a:pt x="3788" y="7658"/>
                </a:lnTo>
                <a:lnTo>
                  <a:pt x="3792" y="7660"/>
                </a:lnTo>
                <a:lnTo>
                  <a:pt x="3798" y="7662"/>
                </a:lnTo>
                <a:lnTo>
                  <a:pt x="3802" y="7670"/>
                </a:lnTo>
                <a:lnTo>
                  <a:pt x="3804" y="7676"/>
                </a:lnTo>
                <a:lnTo>
                  <a:pt x="3804" y="7680"/>
                </a:lnTo>
                <a:lnTo>
                  <a:pt x="3802" y="7680"/>
                </a:lnTo>
                <a:lnTo>
                  <a:pt x="3798" y="7676"/>
                </a:lnTo>
                <a:lnTo>
                  <a:pt x="3796" y="7672"/>
                </a:lnTo>
                <a:lnTo>
                  <a:pt x="3792" y="7672"/>
                </a:lnTo>
                <a:lnTo>
                  <a:pt x="3792" y="7674"/>
                </a:lnTo>
                <a:lnTo>
                  <a:pt x="3794" y="7678"/>
                </a:lnTo>
                <a:lnTo>
                  <a:pt x="3794" y="7682"/>
                </a:lnTo>
                <a:lnTo>
                  <a:pt x="3794" y="7684"/>
                </a:lnTo>
                <a:lnTo>
                  <a:pt x="3794" y="7688"/>
                </a:lnTo>
                <a:lnTo>
                  <a:pt x="3796" y="7692"/>
                </a:lnTo>
                <a:lnTo>
                  <a:pt x="3798" y="7694"/>
                </a:lnTo>
                <a:lnTo>
                  <a:pt x="3800" y="7694"/>
                </a:lnTo>
                <a:lnTo>
                  <a:pt x="3802" y="7692"/>
                </a:lnTo>
                <a:lnTo>
                  <a:pt x="3806" y="7690"/>
                </a:lnTo>
                <a:lnTo>
                  <a:pt x="3808" y="7692"/>
                </a:lnTo>
                <a:lnTo>
                  <a:pt x="3810" y="7700"/>
                </a:lnTo>
                <a:lnTo>
                  <a:pt x="3806" y="7700"/>
                </a:lnTo>
                <a:lnTo>
                  <a:pt x="3804" y="7700"/>
                </a:lnTo>
                <a:lnTo>
                  <a:pt x="3806" y="7702"/>
                </a:lnTo>
                <a:lnTo>
                  <a:pt x="3810" y="7708"/>
                </a:lnTo>
                <a:lnTo>
                  <a:pt x="3816" y="7714"/>
                </a:lnTo>
                <a:lnTo>
                  <a:pt x="3818" y="7716"/>
                </a:lnTo>
                <a:lnTo>
                  <a:pt x="3820" y="7714"/>
                </a:lnTo>
                <a:lnTo>
                  <a:pt x="3824" y="7706"/>
                </a:lnTo>
                <a:lnTo>
                  <a:pt x="3826" y="7702"/>
                </a:lnTo>
                <a:lnTo>
                  <a:pt x="3828" y="7700"/>
                </a:lnTo>
                <a:lnTo>
                  <a:pt x="3830" y="7698"/>
                </a:lnTo>
                <a:lnTo>
                  <a:pt x="3830" y="7696"/>
                </a:lnTo>
                <a:lnTo>
                  <a:pt x="3832" y="7694"/>
                </a:lnTo>
                <a:lnTo>
                  <a:pt x="3838" y="7696"/>
                </a:lnTo>
                <a:lnTo>
                  <a:pt x="3846" y="7696"/>
                </a:lnTo>
                <a:lnTo>
                  <a:pt x="3846" y="7694"/>
                </a:lnTo>
                <a:lnTo>
                  <a:pt x="3846" y="7692"/>
                </a:lnTo>
                <a:lnTo>
                  <a:pt x="3840" y="7688"/>
                </a:lnTo>
                <a:lnTo>
                  <a:pt x="3832" y="7682"/>
                </a:lnTo>
                <a:lnTo>
                  <a:pt x="3822" y="7678"/>
                </a:lnTo>
                <a:lnTo>
                  <a:pt x="3820" y="7674"/>
                </a:lnTo>
                <a:lnTo>
                  <a:pt x="3824" y="7674"/>
                </a:lnTo>
                <a:lnTo>
                  <a:pt x="3832" y="7678"/>
                </a:lnTo>
                <a:lnTo>
                  <a:pt x="3846" y="7686"/>
                </a:lnTo>
                <a:lnTo>
                  <a:pt x="3850" y="7690"/>
                </a:lnTo>
                <a:lnTo>
                  <a:pt x="3852" y="7698"/>
                </a:lnTo>
                <a:lnTo>
                  <a:pt x="3850" y="7704"/>
                </a:lnTo>
                <a:lnTo>
                  <a:pt x="3846" y="7706"/>
                </a:lnTo>
                <a:lnTo>
                  <a:pt x="3844" y="7708"/>
                </a:lnTo>
                <a:lnTo>
                  <a:pt x="3846" y="7714"/>
                </a:lnTo>
                <a:lnTo>
                  <a:pt x="3848" y="7716"/>
                </a:lnTo>
                <a:lnTo>
                  <a:pt x="3844" y="7710"/>
                </a:lnTo>
                <a:lnTo>
                  <a:pt x="3838" y="7706"/>
                </a:lnTo>
                <a:lnTo>
                  <a:pt x="3836" y="7706"/>
                </a:lnTo>
                <a:lnTo>
                  <a:pt x="3834" y="7708"/>
                </a:lnTo>
                <a:lnTo>
                  <a:pt x="3832" y="7720"/>
                </a:lnTo>
                <a:lnTo>
                  <a:pt x="3830" y="7720"/>
                </a:lnTo>
                <a:lnTo>
                  <a:pt x="3830" y="7718"/>
                </a:lnTo>
                <a:lnTo>
                  <a:pt x="3828" y="7714"/>
                </a:lnTo>
                <a:lnTo>
                  <a:pt x="3826" y="7714"/>
                </a:lnTo>
                <a:lnTo>
                  <a:pt x="3820" y="7722"/>
                </a:lnTo>
                <a:lnTo>
                  <a:pt x="3818" y="7724"/>
                </a:lnTo>
                <a:lnTo>
                  <a:pt x="3816" y="7722"/>
                </a:lnTo>
                <a:lnTo>
                  <a:pt x="3812" y="7718"/>
                </a:lnTo>
                <a:lnTo>
                  <a:pt x="3808" y="7714"/>
                </a:lnTo>
                <a:lnTo>
                  <a:pt x="3802" y="7710"/>
                </a:lnTo>
                <a:lnTo>
                  <a:pt x="3800" y="7710"/>
                </a:lnTo>
                <a:lnTo>
                  <a:pt x="3800" y="7712"/>
                </a:lnTo>
                <a:lnTo>
                  <a:pt x="3802" y="7714"/>
                </a:lnTo>
                <a:lnTo>
                  <a:pt x="3806" y="7720"/>
                </a:lnTo>
                <a:lnTo>
                  <a:pt x="3806" y="7724"/>
                </a:lnTo>
                <a:lnTo>
                  <a:pt x="3806" y="7726"/>
                </a:lnTo>
                <a:lnTo>
                  <a:pt x="3802" y="7732"/>
                </a:lnTo>
                <a:lnTo>
                  <a:pt x="3806" y="7734"/>
                </a:lnTo>
                <a:lnTo>
                  <a:pt x="3808" y="7736"/>
                </a:lnTo>
                <a:lnTo>
                  <a:pt x="3806" y="7740"/>
                </a:lnTo>
                <a:lnTo>
                  <a:pt x="3802" y="7746"/>
                </a:lnTo>
                <a:lnTo>
                  <a:pt x="3802" y="7752"/>
                </a:lnTo>
                <a:lnTo>
                  <a:pt x="3804" y="7752"/>
                </a:lnTo>
                <a:lnTo>
                  <a:pt x="3810" y="7748"/>
                </a:lnTo>
                <a:lnTo>
                  <a:pt x="3812" y="7746"/>
                </a:lnTo>
                <a:lnTo>
                  <a:pt x="3816" y="7746"/>
                </a:lnTo>
                <a:lnTo>
                  <a:pt x="3820" y="7750"/>
                </a:lnTo>
                <a:lnTo>
                  <a:pt x="3820" y="7754"/>
                </a:lnTo>
                <a:lnTo>
                  <a:pt x="3818" y="7756"/>
                </a:lnTo>
                <a:lnTo>
                  <a:pt x="3816" y="7756"/>
                </a:lnTo>
                <a:lnTo>
                  <a:pt x="3812" y="7756"/>
                </a:lnTo>
                <a:lnTo>
                  <a:pt x="3812" y="7758"/>
                </a:lnTo>
                <a:lnTo>
                  <a:pt x="3818" y="7762"/>
                </a:lnTo>
                <a:lnTo>
                  <a:pt x="3818" y="7764"/>
                </a:lnTo>
                <a:lnTo>
                  <a:pt x="3818" y="7766"/>
                </a:lnTo>
                <a:lnTo>
                  <a:pt x="3814" y="7768"/>
                </a:lnTo>
                <a:lnTo>
                  <a:pt x="3812" y="7770"/>
                </a:lnTo>
                <a:lnTo>
                  <a:pt x="3816" y="7772"/>
                </a:lnTo>
                <a:lnTo>
                  <a:pt x="3824" y="7774"/>
                </a:lnTo>
                <a:lnTo>
                  <a:pt x="3828" y="7772"/>
                </a:lnTo>
                <a:lnTo>
                  <a:pt x="3830" y="7768"/>
                </a:lnTo>
                <a:lnTo>
                  <a:pt x="3830" y="7762"/>
                </a:lnTo>
                <a:lnTo>
                  <a:pt x="3830" y="7760"/>
                </a:lnTo>
                <a:lnTo>
                  <a:pt x="3832" y="7756"/>
                </a:lnTo>
                <a:lnTo>
                  <a:pt x="3836" y="7754"/>
                </a:lnTo>
                <a:lnTo>
                  <a:pt x="3840" y="7752"/>
                </a:lnTo>
                <a:lnTo>
                  <a:pt x="3842" y="7750"/>
                </a:lnTo>
                <a:lnTo>
                  <a:pt x="3842" y="7748"/>
                </a:lnTo>
                <a:lnTo>
                  <a:pt x="3840" y="7744"/>
                </a:lnTo>
                <a:lnTo>
                  <a:pt x="3836" y="7742"/>
                </a:lnTo>
                <a:lnTo>
                  <a:pt x="3840" y="7740"/>
                </a:lnTo>
                <a:lnTo>
                  <a:pt x="3848" y="7742"/>
                </a:lnTo>
                <a:lnTo>
                  <a:pt x="3850" y="7744"/>
                </a:lnTo>
                <a:lnTo>
                  <a:pt x="3852" y="7746"/>
                </a:lnTo>
                <a:lnTo>
                  <a:pt x="3856" y="7744"/>
                </a:lnTo>
                <a:lnTo>
                  <a:pt x="3860" y="7740"/>
                </a:lnTo>
                <a:lnTo>
                  <a:pt x="3864" y="7740"/>
                </a:lnTo>
                <a:lnTo>
                  <a:pt x="3878" y="7740"/>
                </a:lnTo>
                <a:lnTo>
                  <a:pt x="3888" y="7742"/>
                </a:lnTo>
                <a:lnTo>
                  <a:pt x="3892" y="7744"/>
                </a:lnTo>
                <a:lnTo>
                  <a:pt x="3892" y="7746"/>
                </a:lnTo>
                <a:lnTo>
                  <a:pt x="3888" y="7750"/>
                </a:lnTo>
                <a:lnTo>
                  <a:pt x="3884" y="7750"/>
                </a:lnTo>
                <a:lnTo>
                  <a:pt x="3876" y="7750"/>
                </a:lnTo>
                <a:lnTo>
                  <a:pt x="3868" y="7748"/>
                </a:lnTo>
                <a:lnTo>
                  <a:pt x="3864" y="7748"/>
                </a:lnTo>
                <a:lnTo>
                  <a:pt x="3862" y="7748"/>
                </a:lnTo>
                <a:lnTo>
                  <a:pt x="3858" y="7754"/>
                </a:lnTo>
                <a:lnTo>
                  <a:pt x="3854" y="7760"/>
                </a:lnTo>
                <a:lnTo>
                  <a:pt x="3852" y="7760"/>
                </a:lnTo>
                <a:lnTo>
                  <a:pt x="3850" y="7758"/>
                </a:lnTo>
                <a:lnTo>
                  <a:pt x="3844" y="7756"/>
                </a:lnTo>
                <a:lnTo>
                  <a:pt x="3838" y="7756"/>
                </a:lnTo>
                <a:lnTo>
                  <a:pt x="3834" y="7762"/>
                </a:lnTo>
                <a:lnTo>
                  <a:pt x="3834" y="7766"/>
                </a:lnTo>
                <a:lnTo>
                  <a:pt x="3836" y="7772"/>
                </a:lnTo>
                <a:lnTo>
                  <a:pt x="3834" y="7774"/>
                </a:lnTo>
                <a:lnTo>
                  <a:pt x="3834" y="7776"/>
                </a:lnTo>
                <a:lnTo>
                  <a:pt x="3836" y="7778"/>
                </a:lnTo>
                <a:lnTo>
                  <a:pt x="3838" y="7782"/>
                </a:lnTo>
                <a:lnTo>
                  <a:pt x="3836" y="7782"/>
                </a:lnTo>
                <a:lnTo>
                  <a:pt x="3830" y="7780"/>
                </a:lnTo>
                <a:lnTo>
                  <a:pt x="3824" y="7780"/>
                </a:lnTo>
                <a:lnTo>
                  <a:pt x="3820" y="7780"/>
                </a:lnTo>
                <a:lnTo>
                  <a:pt x="3824" y="7784"/>
                </a:lnTo>
                <a:lnTo>
                  <a:pt x="3838" y="7794"/>
                </a:lnTo>
                <a:lnTo>
                  <a:pt x="3850" y="7802"/>
                </a:lnTo>
                <a:lnTo>
                  <a:pt x="3852" y="7800"/>
                </a:lnTo>
                <a:lnTo>
                  <a:pt x="3850" y="7796"/>
                </a:lnTo>
                <a:lnTo>
                  <a:pt x="3848" y="7790"/>
                </a:lnTo>
                <a:lnTo>
                  <a:pt x="3850" y="7786"/>
                </a:lnTo>
                <a:lnTo>
                  <a:pt x="3854" y="7782"/>
                </a:lnTo>
                <a:lnTo>
                  <a:pt x="3860" y="7780"/>
                </a:lnTo>
                <a:lnTo>
                  <a:pt x="3860" y="7778"/>
                </a:lnTo>
                <a:lnTo>
                  <a:pt x="3856" y="7774"/>
                </a:lnTo>
                <a:lnTo>
                  <a:pt x="3852" y="7772"/>
                </a:lnTo>
                <a:lnTo>
                  <a:pt x="3858" y="7772"/>
                </a:lnTo>
                <a:lnTo>
                  <a:pt x="3868" y="7774"/>
                </a:lnTo>
                <a:lnTo>
                  <a:pt x="3872" y="7774"/>
                </a:lnTo>
                <a:lnTo>
                  <a:pt x="3874" y="7770"/>
                </a:lnTo>
                <a:lnTo>
                  <a:pt x="3880" y="7766"/>
                </a:lnTo>
                <a:lnTo>
                  <a:pt x="3888" y="7762"/>
                </a:lnTo>
                <a:lnTo>
                  <a:pt x="3894" y="7758"/>
                </a:lnTo>
                <a:lnTo>
                  <a:pt x="3898" y="7756"/>
                </a:lnTo>
                <a:lnTo>
                  <a:pt x="3902" y="7756"/>
                </a:lnTo>
                <a:lnTo>
                  <a:pt x="3904" y="7758"/>
                </a:lnTo>
                <a:lnTo>
                  <a:pt x="3904" y="7762"/>
                </a:lnTo>
                <a:lnTo>
                  <a:pt x="3902" y="7768"/>
                </a:lnTo>
                <a:lnTo>
                  <a:pt x="3896" y="7774"/>
                </a:lnTo>
                <a:lnTo>
                  <a:pt x="3888" y="7780"/>
                </a:lnTo>
                <a:lnTo>
                  <a:pt x="3882" y="7782"/>
                </a:lnTo>
                <a:lnTo>
                  <a:pt x="3880" y="7786"/>
                </a:lnTo>
                <a:lnTo>
                  <a:pt x="3878" y="7788"/>
                </a:lnTo>
                <a:lnTo>
                  <a:pt x="3876" y="7786"/>
                </a:lnTo>
                <a:lnTo>
                  <a:pt x="3872" y="7784"/>
                </a:lnTo>
                <a:lnTo>
                  <a:pt x="3872" y="7786"/>
                </a:lnTo>
                <a:lnTo>
                  <a:pt x="3870" y="7788"/>
                </a:lnTo>
                <a:lnTo>
                  <a:pt x="3866" y="7786"/>
                </a:lnTo>
                <a:lnTo>
                  <a:pt x="3860" y="7786"/>
                </a:lnTo>
                <a:lnTo>
                  <a:pt x="3854" y="7788"/>
                </a:lnTo>
                <a:lnTo>
                  <a:pt x="3854" y="7792"/>
                </a:lnTo>
                <a:lnTo>
                  <a:pt x="3856" y="7796"/>
                </a:lnTo>
                <a:lnTo>
                  <a:pt x="3862" y="7804"/>
                </a:lnTo>
                <a:lnTo>
                  <a:pt x="3868" y="7810"/>
                </a:lnTo>
                <a:lnTo>
                  <a:pt x="3874" y="7814"/>
                </a:lnTo>
                <a:lnTo>
                  <a:pt x="3878" y="7814"/>
                </a:lnTo>
                <a:lnTo>
                  <a:pt x="3882" y="7818"/>
                </a:lnTo>
                <a:lnTo>
                  <a:pt x="3888" y="7820"/>
                </a:lnTo>
                <a:lnTo>
                  <a:pt x="3898" y="7822"/>
                </a:lnTo>
                <a:lnTo>
                  <a:pt x="3906" y="7820"/>
                </a:lnTo>
                <a:lnTo>
                  <a:pt x="3910" y="7818"/>
                </a:lnTo>
                <a:lnTo>
                  <a:pt x="3912" y="7810"/>
                </a:lnTo>
                <a:lnTo>
                  <a:pt x="3912" y="7796"/>
                </a:lnTo>
                <a:lnTo>
                  <a:pt x="3914" y="7782"/>
                </a:lnTo>
                <a:lnTo>
                  <a:pt x="3916" y="7776"/>
                </a:lnTo>
                <a:lnTo>
                  <a:pt x="3918" y="7772"/>
                </a:lnTo>
                <a:lnTo>
                  <a:pt x="3920" y="7762"/>
                </a:lnTo>
                <a:lnTo>
                  <a:pt x="3920" y="7756"/>
                </a:lnTo>
                <a:lnTo>
                  <a:pt x="3922" y="7752"/>
                </a:lnTo>
                <a:lnTo>
                  <a:pt x="3924" y="7750"/>
                </a:lnTo>
                <a:lnTo>
                  <a:pt x="3928" y="7748"/>
                </a:lnTo>
                <a:lnTo>
                  <a:pt x="3936" y="7746"/>
                </a:lnTo>
                <a:lnTo>
                  <a:pt x="3942" y="7746"/>
                </a:lnTo>
                <a:lnTo>
                  <a:pt x="3946" y="7742"/>
                </a:lnTo>
                <a:lnTo>
                  <a:pt x="3950" y="7738"/>
                </a:lnTo>
                <a:lnTo>
                  <a:pt x="3954" y="7738"/>
                </a:lnTo>
                <a:lnTo>
                  <a:pt x="3958" y="7738"/>
                </a:lnTo>
                <a:lnTo>
                  <a:pt x="3962" y="7738"/>
                </a:lnTo>
                <a:lnTo>
                  <a:pt x="3968" y="7734"/>
                </a:lnTo>
                <a:lnTo>
                  <a:pt x="3972" y="7726"/>
                </a:lnTo>
                <a:lnTo>
                  <a:pt x="3978" y="7724"/>
                </a:lnTo>
                <a:lnTo>
                  <a:pt x="3984" y="7724"/>
                </a:lnTo>
                <a:lnTo>
                  <a:pt x="3992" y="7724"/>
                </a:lnTo>
                <a:lnTo>
                  <a:pt x="4006" y="7728"/>
                </a:lnTo>
                <a:lnTo>
                  <a:pt x="4014" y="7732"/>
                </a:lnTo>
                <a:lnTo>
                  <a:pt x="4016" y="7730"/>
                </a:lnTo>
                <a:lnTo>
                  <a:pt x="4014" y="7724"/>
                </a:lnTo>
                <a:lnTo>
                  <a:pt x="4008" y="7712"/>
                </a:lnTo>
                <a:lnTo>
                  <a:pt x="3996" y="7692"/>
                </a:lnTo>
                <a:lnTo>
                  <a:pt x="3992" y="7680"/>
                </a:lnTo>
                <a:lnTo>
                  <a:pt x="3988" y="7666"/>
                </a:lnTo>
                <a:lnTo>
                  <a:pt x="3986" y="7648"/>
                </a:lnTo>
                <a:lnTo>
                  <a:pt x="3986" y="7640"/>
                </a:lnTo>
                <a:lnTo>
                  <a:pt x="3986" y="7630"/>
                </a:lnTo>
                <a:lnTo>
                  <a:pt x="3990" y="7620"/>
                </a:lnTo>
                <a:lnTo>
                  <a:pt x="3996" y="7612"/>
                </a:lnTo>
                <a:lnTo>
                  <a:pt x="4002" y="7606"/>
                </a:lnTo>
                <a:lnTo>
                  <a:pt x="4014" y="7600"/>
                </a:lnTo>
                <a:lnTo>
                  <a:pt x="4024" y="7596"/>
                </a:lnTo>
                <a:lnTo>
                  <a:pt x="4032" y="7592"/>
                </a:lnTo>
                <a:lnTo>
                  <a:pt x="4038" y="7586"/>
                </a:lnTo>
                <a:lnTo>
                  <a:pt x="4042" y="7580"/>
                </a:lnTo>
                <a:lnTo>
                  <a:pt x="4046" y="7564"/>
                </a:lnTo>
                <a:lnTo>
                  <a:pt x="4050" y="7540"/>
                </a:lnTo>
                <a:lnTo>
                  <a:pt x="4054" y="7528"/>
                </a:lnTo>
                <a:lnTo>
                  <a:pt x="4060" y="7518"/>
                </a:lnTo>
                <a:lnTo>
                  <a:pt x="4068" y="7510"/>
                </a:lnTo>
                <a:lnTo>
                  <a:pt x="4076" y="7504"/>
                </a:lnTo>
                <a:lnTo>
                  <a:pt x="4092" y="7496"/>
                </a:lnTo>
                <a:lnTo>
                  <a:pt x="4098" y="7492"/>
                </a:lnTo>
                <a:lnTo>
                  <a:pt x="4102" y="7488"/>
                </a:lnTo>
                <a:lnTo>
                  <a:pt x="4104" y="7484"/>
                </a:lnTo>
                <a:lnTo>
                  <a:pt x="4106" y="7480"/>
                </a:lnTo>
                <a:lnTo>
                  <a:pt x="4114" y="7474"/>
                </a:lnTo>
                <a:lnTo>
                  <a:pt x="4118" y="7470"/>
                </a:lnTo>
                <a:lnTo>
                  <a:pt x="4120" y="7466"/>
                </a:lnTo>
                <a:lnTo>
                  <a:pt x="4118" y="7462"/>
                </a:lnTo>
                <a:lnTo>
                  <a:pt x="4118" y="7458"/>
                </a:lnTo>
                <a:lnTo>
                  <a:pt x="4118" y="7454"/>
                </a:lnTo>
                <a:lnTo>
                  <a:pt x="4120" y="7450"/>
                </a:lnTo>
                <a:lnTo>
                  <a:pt x="4122" y="7442"/>
                </a:lnTo>
                <a:lnTo>
                  <a:pt x="4124" y="7436"/>
                </a:lnTo>
                <a:lnTo>
                  <a:pt x="4122" y="7428"/>
                </a:lnTo>
                <a:lnTo>
                  <a:pt x="4120" y="7422"/>
                </a:lnTo>
                <a:lnTo>
                  <a:pt x="4116" y="7420"/>
                </a:lnTo>
                <a:lnTo>
                  <a:pt x="4104" y="7418"/>
                </a:lnTo>
                <a:lnTo>
                  <a:pt x="4096" y="7418"/>
                </a:lnTo>
                <a:lnTo>
                  <a:pt x="4086" y="7414"/>
                </a:lnTo>
                <a:lnTo>
                  <a:pt x="4076" y="7408"/>
                </a:lnTo>
                <a:lnTo>
                  <a:pt x="4066" y="7398"/>
                </a:lnTo>
                <a:lnTo>
                  <a:pt x="4050" y="7378"/>
                </a:lnTo>
                <a:lnTo>
                  <a:pt x="4046" y="7372"/>
                </a:lnTo>
                <a:lnTo>
                  <a:pt x="4046" y="7366"/>
                </a:lnTo>
                <a:lnTo>
                  <a:pt x="4046" y="7360"/>
                </a:lnTo>
                <a:lnTo>
                  <a:pt x="4050" y="7352"/>
                </a:lnTo>
                <a:lnTo>
                  <a:pt x="4060" y="7332"/>
                </a:lnTo>
                <a:lnTo>
                  <a:pt x="4068" y="7320"/>
                </a:lnTo>
                <a:lnTo>
                  <a:pt x="4072" y="7314"/>
                </a:lnTo>
                <a:lnTo>
                  <a:pt x="4078" y="7310"/>
                </a:lnTo>
                <a:lnTo>
                  <a:pt x="4082" y="7310"/>
                </a:lnTo>
                <a:lnTo>
                  <a:pt x="4088" y="7310"/>
                </a:lnTo>
                <a:lnTo>
                  <a:pt x="4092" y="7308"/>
                </a:lnTo>
                <a:lnTo>
                  <a:pt x="4094" y="7306"/>
                </a:lnTo>
                <a:lnTo>
                  <a:pt x="4098" y="7302"/>
                </a:lnTo>
                <a:lnTo>
                  <a:pt x="4104" y="7300"/>
                </a:lnTo>
                <a:lnTo>
                  <a:pt x="4118" y="7300"/>
                </a:lnTo>
                <a:lnTo>
                  <a:pt x="4124" y="7298"/>
                </a:lnTo>
                <a:lnTo>
                  <a:pt x="4128" y="7298"/>
                </a:lnTo>
                <a:lnTo>
                  <a:pt x="4130" y="7296"/>
                </a:lnTo>
                <a:lnTo>
                  <a:pt x="4128" y="7290"/>
                </a:lnTo>
                <a:lnTo>
                  <a:pt x="4124" y="7286"/>
                </a:lnTo>
                <a:lnTo>
                  <a:pt x="4126" y="7282"/>
                </a:lnTo>
                <a:lnTo>
                  <a:pt x="4134" y="7274"/>
                </a:lnTo>
                <a:lnTo>
                  <a:pt x="4140" y="7268"/>
                </a:lnTo>
                <a:lnTo>
                  <a:pt x="4142" y="7262"/>
                </a:lnTo>
                <a:lnTo>
                  <a:pt x="4144" y="7252"/>
                </a:lnTo>
                <a:lnTo>
                  <a:pt x="4140" y="7240"/>
                </a:lnTo>
                <a:lnTo>
                  <a:pt x="4140" y="7234"/>
                </a:lnTo>
                <a:lnTo>
                  <a:pt x="4140" y="7228"/>
                </a:lnTo>
                <a:lnTo>
                  <a:pt x="4142" y="7220"/>
                </a:lnTo>
                <a:lnTo>
                  <a:pt x="4144" y="7212"/>
                </a:lnTo>
                <a:lnTo>
                  <a:pt x="4150" y="7206"/>
                </a:lnTo>
                <a:lnTo>
                  <a:pt x="4156" y="7200"/>
                </a:lnTo>
                <a:lnTo>
                  <a:pt x="4164" y="7194"/>
                </a:lnTo>
                <a:lnTo>
                  <a:pt x="4174" y="7188"/>
                </a:lnTo>
                <a:lnTo>
                  <a:pt x="4180" y="7186"/>
                </a:lnTo>
                <a:lnTo>
                  <a:pt x="4178" y="7184"/>
                </a:lnTo>
                <a:lnTo>
                  <a:pt x="4170" y="7182"/>
                </a:lnTo>
                <a:lnTo>
                  <a:pt x="4160" y="7178"/>
                </a:lnTo>
                <a:lnTo>
                  <a:pt x="4154" y="7172"/>
                </a:lnTo>
                <a:lnTo>
                  <a:pt x="4154" y="7168"/>
                </a:lnTo>
                <a:lnTo>
                  <a:pt x="4156" y="7166"/>
                </a:lnTo>
                <a:lnTo>
                  <a:pt x="4160" y="7164"/>
                </a:lnTo>
                <a:lnTo>
                  <a:pt x="4166" y="7162"/>
                </a:lnTo>
                <a:lnTo>
                  <a:pt x="4172" y="7164"/>
                </a:lnTo>
                <a:lnTo>
                  <a:pt x="4178" y="7166"/>
                </a:lnTo>
                <a:lnTo>
                  <a:pt x="4182" y="7170"/>
                </a:lnTo>
                <a:lnTo>
                  <a:pt x="4186" y="7176"/>
                </a:lnTo>
                <a:lnTo>
                  <a:pt x="4188" y="7180"/>
                </a:lnTo>
                <a:lnTo>
                  <a:pt x="4192" y="7180"/>
                </a:lnTo>
                <a:lnTo>
                  <a:pt x="4196" y="7182"/>
                </a:lnTo>
                <a:lnTo>
                  <a:pt x="4200" y="7180"/>
                </a:lnTo>
                <a:lnTo>
                  <a:pt x="4204" y="7176"/>
                </a:lnTo>
                <a:lnTo>
                  <a:pt x="4208" y="7170"/>
                </a:lnTo>
                <a:lnTo>
                  <a:pt x="4212" y="7162"/>
                </a:lnTo>
                <a:lnTo>
                  <a:pt x="4212" y="7154"/>
                </a:lnTo>
                <a:lnTo>
                  <a:pt x="4210" y="7144"/>
                </a:lnTo>
                <a:lnTo>
                  <a:pt x="4206" y="7136"/>
                </a:lnTo>
                <a:lnTo>
                  <a:pt x="4202" y="7134"/>
                </a:lnTo>
                <a:lnTo>
                  <a:pt x="4198" y="7134"/>
                </a:lnTo>
                <a:lnTo>
                  <a:pt x="4174" y="7142"/>
                </a:lnTo>
                <a:lnTo>
                  <a:pt x="4166" y="7142"/>
                </a:lnTo>
                <a:lnTo>
                  <a:pt x="4160" y="7142"/>
                </a:lnTo>
                <a:lnTo>
                  <a:pt x="4154" y="7140"/>
                </a:lnTo>
                <a:lnTo>
                  <a:pt x="4152" y="7134"/>
                </a:lnTo>
                <a:lnTo>
                  <a:pt x="4150" y="7128"/>
                </a:lnTo>
                <a:lnTo>
                  <a:pt x="4152" y="7118"/>
                </a:lnTo>
                <a:lnTo>
                  <a:pt x="4152" y="7108"/>
                </a:lnTo>
                <a:lnTo>
                  <a:pt x="4152" y="7100"/>
                </a:lnTo>
                <a:lnTo>
                  <a:pt x="4146" y="7084"/>
                </a:lnTo>
                <a:lnTo>
                  <a:pt x="4144" y="7078"/>
                </a:lnTo>
                <a:lnTo>
                  <a:pt x="4142" y="7072"/>
                </a:lnTo>
                <a:lnTo>
                  <a:pt x="4144" y="7068"/>
                </a:lnTo>
                <a:lnTo>
                  <a:pt x="4150" y="7064"/>
                </a:lnTo>
                <a:lnTo>
                  <a:pt x="4158" y="7064"/>
                </a:lnTo>
                <a:lnTo>
                  <a:pt x="4166" y="7064"/>
                </a:lnTo>
                <a:lnTo>
                  <a:pt x="4180" y="7072"/>
                </a:lnTo>
                <a:lnTo>
                  <a:pt x="4196" y="7080"/>
                </a:lnTo>
                <a:lnTo>
                  <a:pt x="4204" y="7082"/>
                </a:lnTo>
                <a:lnTo>
                  <a:pt x="4212" y="7082"/>
                </a:lnTo>
                <a:lnTo>
                  <a:pt x="4222" y="7084"/>
                </a:lnTo>
                <a:lnTo>
                  <a:pt x="4226" y="7084"/>
                </a:lnTo>
                <a:lnTo>
                  <a:pt x="4230" y="7082"/>
                </a:lnTo>
                <a:lnTo>
                  <a:pt x="4244" y="7076"/>
                </a:lnTo>
                <a:lnTo>
                  <a:pt x="4258" y="7068"/>
                </a:lnTo>
                <a:lnTo>
                  <a:pt x="4264" y="7064"/>
                </a:lnTo>
                <a:lnTo>
                  <a:pt x="4266" y="7060"/>
                </a:lnTo>
                <a:lnTo>
                  <a:pt x="4268" y="7056"/>
                </a:lnTo>
                <a:lnTo>
                  <a:pt x="4266" y="7052"/>
                </a:lnTo>
                <a:lnTo>
                  <a:pt x="4262" y="7046"/>
                </a:lnTo>
                <a:lnTo>
                  <a:pt x="4258" y="7044"/>
                </a:lnTo>
                <a:lnTo>
                  <a:pt x="4256" y="7040"/>
                </a:lnTo>
                <a:lnTo>
                  <a:pt x="4256" y="7034"/>
                </a:lnTo>
                <a:lnTo>
                  <a:pt x="4258" y="7024"/>
                </a:lnTo>
                <a:lnTo>
                  <a:pt x="4266" y="7016"/>
                </a:lnTo>
                <a:lnTo>
                  <a:pt x="4272" y="7006"/>
                </a:lnTo>
                <a:lnTo>
                  <a:pt x="4274" y="6996"/>
                </a:lnTo>
                <a:lnTo>
                  <a:pt x="4272" y="6986"/>
                </a:lnTo>
                <a:lnTo>
                  <a:pt x="4270" y="6982"/>
                </a:lnTo>
                <a:lnTo>
                  <a:pt x="4266" y="6978"/>
                </a:lnTo>
                <a:lnTo>
                  <a:pt x="4262" y="6976"/>
                </a:lnTo>
                <a:lnTo>
                  <a:pt x="4260" y="6972"/>
                </a:lnTo>
                <a:lnTo>
                  <a:pt x="4256" y="6962"/>
                </a:lnTo>
                <a:lnTo>
                  <a:pt x="4256" y="6958"/>
                </a:lnTo>
                <a:lnTo>
                  <a:pt x="4260" y="6956"/>
                </a:lnTo>
                <a:lnTo>
                  <a:pt x="4264" y="6956"/>
                </a:lnTo>
                <a:lnTo>
                  <a:pt x="4270" y="6958"/>
                </a:lnTo>
                <a:lnTo>
                  <a:pt x="4280" y="6964"/>
                </a:lnTo>
                <a:lnTo>
                  <a:pt x="4288" y="6966"/>
                </a:lnTo>
                <a:lnTo>
                  <a:pt x="4320" y="6962"/>
                </a:lnTo>
                <a:lnTo>
                  <a:pt x="4352" y="6958"/>
                </a:lnTo>
                <a:lnTo>
                  <a:pt x="4386" y="6950"/>
                </a:lnTo>
                <a:lnTo>
                  <a:pt x="4416" y="6940"/>
                </a:lnTo>
                <a:lnTo>
                  <a:pt x="4430" y="6934"/>
                </a:lnTo>
                <a:lnTo>
                  <a:pt x="4440" y="6928"/>
                </a:lnTo>
                <a:lnTo>
                  <a:pt x="4448" y="6922"/>
                </a:lnTo>
                <a:lnTo>
                  <a:pt x="4452" y="6916"/>
                </a:lnTo>
                <a:lnTo>
                  <a:pt x="4456" y="6912"/>
                </a:lnTo>
                <a:lnTo>
                  <a:pt x="4456" y="6908"/>
                </a:lnTo>
                <a:lnTo>
                  <a:pt x="4458" y="6898"/>
                </a:lnTo>
                <a:lnTo>
                  <a:pt x="4462" y="6894"/>
                </a:lnTo>
                <a:lnTo>
                  <a:pt x="4466" y="6888"/>
                </a:lnTo>
                <a:lnTo>
                  <a:pt x="4478" y="6876"/>
                </a:lnTo>
                <a:lnTo>
                  <a:pt x="4484" y="6862"/>
                </a:lnTo>
                <a:lnTo>
                  <a:pt x="4486" y="6846"/>
                </a:lnTo>
                <a:lnTo>
                  <a:pt x="4488" y="6828"/>
                </a:lnTo>
                <a:lnTo>
                  <a:pt x="4486" y="6820"/>
                </a:lnTo>
                <a:lnTo>
                  <a:pt x="4486" y="6816"/>
                </a:lnTo>
                <a:lnTo>
                  <a:pt x="4484" y="6816"/>
                </a:lnTo>
                <a:lnTo>
                  <a:pt x="4480" y="6816"/>
                </a:lnTo>
                <a:lnTo>
                  <a:pt x="4476" y="6816"/>
                </a:lnTo>
                <a:lnTo>
                  <a:pt x="4472" y="6814"/>
                </a:lnTo>
                <a:lnTo>
                  <a:pt x="4466" y="6810"/>
                </a:lnTo>
                <a:lnTo>
                  <a:pt x="4462" y="6802"/>
                </a:lnTo>
                <a:lnTo>
                  <a:pt x="4458" y="6794"/>
                </a:lnTo>
                <a:lnTo>
                  <a:pt x="4458" y="6788"/>
                </a:lnTo>
                <a:lnTo>
                  <a:pt x="4460" y="6784"/>
                </a:lnTo>
                <a:lnTo>
                  <a:pt x="4464" y="6780"/>
                </a:lnTo>
                <a:lnTo>
                  <a:pt x="4466" y="6776"/>
                </a:lnTo>
                <a:lnTo>
                  <a:pt x="4468" y="6770"/>
                </a:lnTo>
                <a:lnTo>
                  <a:pt x="4464" y="6762"/>
                </a:lnTo>
                <a:lnTo>
                  <a:pt x="4458" y="6750"/>
                </a:lnTo>
                <a:lnTo>
                  <a:pt x="4450" y="6744"/>
                </a:lnTo>
                <a:lnTo>
                  <a:pt x="4442" y="6738"/>
                </a:lnTo>
                <a:lnTo>
                  <a:pt x="4424" y="6728"/>
                </a:lnTo>
                <a:lnTo>
                  <a:pt x="4418" y="6722"/>
                </a:lnTo>
                <a:lnTo>
                  <a:pt x="4416" y="6716"/>
                </a:lnTo>
                <a:lnTo>
                  <a:pt x="4416" y="6712"/>
                </a:lnTo>
                <a:lnTo>
                  <a:pt x="4416" y="6708"/>
                </a:lnTo>
                <a:lnTo>
                  <a:pt x="4424" y="6700"/>
                </a:lnTo>
                <a:lnTo>
                  <a:pt x="4426" y="6702"/>
                </a:lnTo>
                <a:lnTo>
                  <a:pt x="4432" y="6710"/>
                </a:lnTo>
                <a:lnTo>
                  <a:pt x="4442" y="6716"/>
                </a:lnTo>
                <a:lnTo>
                  <a:pt x="4448" y="6718"/>
                </a:lnTo>
                <a:lnTo>
                  <a:pt x="4456" y="6718"/>
                </a:lnTo>
                <a:lnTo>
                  <a:pt x="4464" y="6718"/>
                </a:lnTo>
                <a:lnTo>
                  <a:pt x="4472" y="6722"/>
                </a:lnTo>
                <a:lnTo>
                  <a:pt x="4490" y="6732"/>
                </a:lnTo>
                <a:lnTo>
                  <a:pt x="4498" y="6736"/>
                </a:lnTo>
                <a:lnTo>
                  <a:pt x="4506" y="6740"/>
                </a:lnTo>
                <a:lnTo>
                  <a:pt x="4514" y="6740"/>
                </a:lnTo>
                <a:lnTo>
                  <a:pt x="4522" y="6738"/>
                </a:lnTo>
                <a:lnTo>
                  <a:pt x="4528" y="6736"/>
                </a:lnTo>
                <a:lnTo>
                  <a:pt x="4534" y="6736"/>
                </a:lnTo>
                <a:lnTo>
                  <a:pt x="4546" y="6740"/>
                </a:lnTo>
                <a:lnTo>
                  <a:pt x="4552" y="6742"/>
                </a:lnTo>
                <a:lnTo>
                  <a:pt x="4558" y="6742"/>
                </a:lnTo>
                <a:lnTo>
                  <a:pt x="4564" y="6740"/>
                </a:lnTo>
                <a:lnTo>
                  <a:pt x="4572" y="6738"/>
                </a:lnTo>
                <a:lnTo>
                  <a:pt x="4586" y="6728"/>
                </a:lnTo>
                <a:lnTo>
                  <a:pt x="4596" y="6718"/>
                </a:lnTo>
                <a:lnTo>
                  <a:pt x="4608" y="6704"/>
                </a:lnTo>
                <a:lnTo>
                  <a:pt x="4618" y="6682"/>
                </a:lnTo>
                <a:lnTo>
                  <a:pt x="4616" y="6676"/>
                </a:lnTo>
                <a:lnTo>
                  <a:pt x="4620" y="6670"/>
                </a:lnTo>
                <a:lnTo>
                  <a:pt x="4626" y="6666"/>
                </a:lnTo>
                <a:lnTo>
                  <a:pt x="4638" y="6660"/>
                </a:lnTo>
                <a:lnTo>
                  <a:pt x="4648" y="6652"/>
                </a:lnTo>
                <a:lnTo>
                  <a:pt x="4652" y="6648"/>
                </a:lnTo>
                <a:lnTo>
                  <a:pt x="4654" y="6640"/>
                </a:lnTo>
                <a:lnTo>
                  <a:pt x="4662" y="6616"/>
                </a:lnTo>
                <a:lnTo>
                  <a:pt x="4666" y="6608"/>
                </a:lnTo>
                <a:lnTo>
                  <a:pt x="4670" y="6600"/>
                </a:lnTo>
                <a:lnTo>
                  <a:pt x="4684" y="6586"/>
                </a:lnTo>
                <a:lnTo>
                  <a:pt x="4708" y="6568"/>
                </a:lnTo>
                <a:lnTo>
                  <a:pt x="4716" y="6558"/>
                </a:lnTo>
                <a:lnTo>
                  <a:pt x="4724" y="6548"/>
                </a:lnTo>
                <a:lnTo>
                  <a:pt x="4738" y="6522"/>
                </a:lnTo>
                <a:lnTo>
                  <a:pt x="4750" y="6494"/>
                </a:lnTo>
                <a:lnTo>
                  <a:pt x="4766" y="6458"/>
                </a:lnTo>
                <a:lnTo>
                  <a:pt x="4774" y="6442"/>
                </a:lnTo>
                <a:lnTo>
                  <a:pt x="4780" y="6432"/>
                </a:lnTo>
                <a:lnTo>
                  <a:pt x="4786" y="6426"/>
                </a:lnTo>
                <a:lnTo>
                  <a:pt x="4792" y="6420"/>
                </a:lnTo>
                <a:lnTo>
                  <a:pt x="4800" y="6412"/>
                </a:lnTo>
                <a:lnTo>
                  <a:pt x="4804" y="6406"/>
                </a:lnTo>
                <a:lnTo>
                  <a:pt x="4810" y="6396"/>
                </a:lnTo>
                <a:lnTo>
                  <a:pt x="4816" y="6382"/>
                </a:lnTo>
                <a:lnTo>
                  <a:pt x="4818" y="6368"/>
                </a:lnTo>
                <a:lnTo>
                  <a:pt x="4820" y="6354"/>
                </a:lnTo>
                <a:lnTo>
                  <a:pt x="4820" y="6340"/>
                </a:lnTo>
                <a:lnTo>
                  <a:pt x="4818" y="6310"/>
                </a:lnTo>
                <a:lnTo>
                  <a:pt x="4818" y="6294"/>
                </a:lnTo>
                <a:lnTo>
                  <a:pt x="4818" y="6278"/>
                </a:lnTo>
                <a:lnTo>
                  <a:pt x="4822" y="6260"/>
                </a:lnTo>
                <a:lnTo>
                  <a:pt x="4828" y="6246"/>
                </a:lnTo>
                <a:lnTo>
                  <a:pt x="4836" y="6232"/>
                </a:lnTo>
                <a:lnTo>
                  <a:pt x="4848" y="6220"/>
                </a:lnTo>
                <a:lnTo>
                  <a:pt x="4860" y="6208"/>
                </a:lnTo>
                <a:lnTo>
                  <a:pt x="4872" y="6198"/>
                </a:lnTo>
                <a:lnTo>
                  <a:pt x="4884" y="6190"/>
                </a:lnTo>
                <a:lnTo>
                  <a:pt x="4894" y="6186"/>
                </a:lnTo>
                <a:lnTo>
                  <a:pt x="4918" y="6174"/>
                </a:lnTo>
                <a:lnTo>
                  <a:pt x="4936" y="6164"/>
                </a:lnTo>
                <a:lnTo>
                  <a:pt x="4948" y="6156"/>
                </a:lnTo>
                <a:lnTo>
                  <a:pt x="4958" y="6146"/>
                </a:lnTo>
                <a:lnTo>
                  <a:pt x="4972" y="6132"/>
                </a:lnTo>
                <a:lnTo>
                  <a:pt x="4978" y="6128"/>
                </a:lnTo>
                <a:lnTo>
                  <a:pt x="4986" y="6124"/>
                </a:lnTo>
                <a:lnTo>
                  <a:pt x="4994" y="6122"/>
                </a:lnTo>
                <a:lnTo>
                  <a:pt x="4998" y="6122"/>
                </a:lnTo>
                <a:lnTo>
                  <a:pt x="5002" y="6124"/>
                </a:lnTo>
                <a:lnTo>
                  <a:pt x="5006" y="6126"/>
                </a:lnTo>
                <a:lnTo>
                  <a:pt x="5010" y="6126"/>
                </a:lnTo>
                <a:lnTo>
                  <a:pt x="5016" y="6126"/>
                </a:lnTo>
                <a:lnTo>
                  <a:pt x="5028" y="6124"/>
                </a:lnTo>
                <a:lnTo>
                  <a:pt x="5040" y="6122"/>
                </a:lnTo>
                <a:lnTo>
                  <a:pt x="5052" y="6122"/>
                </a:lnTo>
                <a:lnTo>
                  <a:pt x="5072" y="6122"/>
                </a:lnTo>
                <a:lnTo>
                  <a:pt x="5080" y="6120"/>
                </a:lnTo>
                <a:lnTo>
                  <a:pt x="5086" y="6120"/>
                </a:lnTo>
                <a:lnTo>
                  <a:pt x="5088" y="6116"/>
                </a:lnTo>
                <a:lnTo>
                  <a:pt x="5086" y="6110"/>
                </a:lnTo>
                <a:lnTo>
                  <a:pt x="5086" y="6108"/>
                </a:lnTo>
                <a:lnTo>
                  <a:pt x="5086" y="6104"/>
                </a:lnTo>
                <a:lnTo>
                  <a:pt x="5090" y="6098"/>
                </a:lnTo>
                <a:lnTo>
                  <a:pt x="5104" y="6086"/>
                </a:lnTo>
                <a:lnTo>
                  <a:pt x="5112" y="6080"/>
                </a:lnTo>
                <a:lnTo>
                  <a:pt x="5118" y="6072"/>
                </a:lnTo>
                <a:lnTo>
                  <a:pt x="5122" y="6064"/>
                </a:lnTo>
                <a:lnTo>
                  <a:pt x="5122" y="6060"/>
                </a:lnTo>
                <a:lnTo>
                  <a:pt x="5120" y="6056"/>
                </a:lnTo>
                <a:lnTo>
                  <a:pt x="5120" y="6046"/>
                </a:lnTo>
                <a:lnTo>
                  <a:pt x="5120" y="6036"/>
                </a:lnTo>
                <a:lnTo>
                  <a:pt x="5124" y="6028"/>
                </a:lnTo>
                <a:lnTo>
                  <a:pt x="5130" y="6018"/>
                </a:lnTo>
                <a:lnTo>
                  <a:pt x="5146" y="5994"/>
                </a:lnTo>
                <a:lnTo>
                  <a:pt x="5164" y="5964"/>
                </a:lnTo>
                <a:lnTo>
                  <a:pt x="5170" y="5948"/>
                </a:lnTo>
                <a:lnTo>
                  <a:pt x="5174" y="5932"/>
                </a:lnTo>
                <a:lnTo>
                  <a:pt x="5176" y="5920"/>
                </a:lnTo>
                <a:lnTo>
                  <a:pt x="5176" y="5908"/>
                </a:lnTo>
                <a:lnTo>
                  <a:pt x="5176" y="5898"/>
                </a:lnTo>
                <a:lnTo>
                  <a:pt x="5176" y="5888"/>
                </a:lnTo>
                <a:lnTo>
                  <a:pt x="5178" y="5882"/>
                </a:lnTo>
                <a:lnTo>
                  <a:pt x="5184" y="5878"/>
                </a:lnTo>
                <a:lnTo>
                  <a:pt x="5190" y="5872"/>
                </a:lnTo>
                <a:lnTo>
                  <a:pt x="5194" y="5864"/>
                </a:lnTo>
                <a:lnTo>
                  <a:pt x="5196" y="5854"/>
                </a:lnTo>
                <a:lnTo>
                  <a:pt x="5196" y="5842"/>
                </a:lnTo>
                <a:lnTo>
                  <a:pt x="5196" y="5816"/>
                </a:lnTo>
                <a:lnTo>
                  <a:pt x="5198" y="5802"/>
                </a:lnTo>
                <a:lnTo>
                  <a:pt x="5202" y="5786"/>
                </a:lnTo>
                <a:lnTo>
                  <a:pt x="5204" y="5772"/>
                </a:lnTo>
                <a:lnTo>
                  <a:pt x="5206" y="5762"/>
                </a:lnTo>
                <a:lnTo>
                  <a:pt x="5204" y="5752"/>
                </a:lnTo>
                <a:lnTo>
                  <a:pt x="5202" y="5742"/>
                </a:lnTo>
                <a:lnTo>
                  <a:pt x="5198" y="5726"/>
                </a:lnTo>
                <a:lnTo>
                  <a:pt x="5198" y="5716"/>
                </a:lnTo>
                <a:lnTo>
                  <a:pt x="5198" y="5706"/>
                </a:lnTo>
                <a:lnTo>
                  <a:pt x="5202" y="5634"/>
                </a:lnTo>
                <a:lnTo>
                  <a:pt x="5204" y="5618"/>
                </a:lnTo>
                <a:lnTo>
                  <a:pt x="5208" y="5606"/>
                </a:lnTo>
                <a:lnTo>
                  <a:pt x="5208" y="5604"/>
                </a:lnTo>
                <a:lnTo>
                  <a:pt x="5212" y="5602"/>
                </a:lnTo>
                <a:lnTo>
                  <a:pt x="5214" y="5604"/>
                </a:lnTo>
                <a:lnTo>
                  <a:pt x="5216" y="5608"/>
                </a:lnTo>
                <a:lnTo>
                  <a:pt x="5222" y="5618"/>
                </a:lnTo>
                <a:lnTo>
                  <a:pt x="5228" y="5622"/>
                </a:lnTo>
                <a:lnTo>
                  <a:pt x="5232" y="5622"/>
                </a:lnTo>
                <a:lnTo>
                  <a:pt x="5238" y="5616"/>
                </a:lnTo>
                <a:lnTo>
                  <a:pt x="5242" y="5608"/>
                </a:lnTo>
                <a:lnTo>
                  <a:pt x="5248" y="5594"/>
                </a:lnTo>
                <a:lnTo>
                  <a:pt x="5262" y="5558"/>
                </a:lnTo>
                <a:lnTo>
                  <a:pt x="5270" y="5540"/>
                </a:lnTo>
                <a:lnTo>
                  <a:pt x="5278" y="5528"/>
                </a:lnTo>
                <a:lnTo>
                  <a:pt x="5284" y="5520"/>
                </a:lnTo>
                <a:lnTo>
                  <a:pt x="5290" y="5512"/>
                </a:lnTo>
                <a:lnTo>
                  <a:pt x="5306" y="5496"/>
                </a:lnTo>
                <a:lnTo>
                  <a:pt x="5316" y="5484"/>
                </a:lnTo>
                <a:lnTo>
                  <a:pt x="5328" y="5466"/>
                </a:lnTo>
                <a:lnTo>
                  <a:pt x="5348" y="5428"/>
                </a:lnTo>
                <a:lnTo>
                  <a:pt x="5356" y="5412"/>
                </a:lnTo>
                <a:lnTo>
                  <a:pt x="5364" y="5398"/>
                </a:lnTo>
                <a:lnTo>
                  <a:pt x="5368" y="5384"/>
                </a:lnTo>
                <a:lnTo>
                  <a:pt x="5370" y="5370"/>
                </a:lnTo>
                <a:lnTo>
                  <a:pt x="5370" y="5356"/>
                </a:lnTo>
                <a:lnTo>
                  <a:pt x="5370" y="5340"/>
                </a:lnTo>
                <a:lnTo>
                  <a:pt x="5366" y="5308"/>
                </a:lnTo>
                <a:lnTo>
                  <a:pt x="5362" y="5282"/>
                </a:lnTo>
                <a:lnTo>
                  <a:pt x="5358" y="5270"/>
                </a:lnTo>
                <a:lnTo>
                  <a:pt x="5354" y="5260"/>
                </a:lnTo>
                <a:lnTo>
                  <a:pt x="5348" y="5250"/>
                </a:lnTo>
                <a:lnTo>
                  <a:pt x="5340" y="5242"/>
                </a:lnTo>
                <a:close/>
                <a:moveTo>
                  <a:pt x="3590" y="2808"/>
                </a:moveTo>
                <a:lnTo>
                  <a:pt x="3590" y="2808"/>
                </a:lnTo>
                <a:lnTo>
                  <a:pt x="3570" y="2824"/>
                </a:lnTo>
                <a:lnTo>
                  <a:pt x="3558" y="2834"/>
                </a:lnTo>
                <a:lnTo>
                  <a:pt x="3548" y="2840"/>
                </a:lnTo>
                <a:lnTo>
                  <a:pt x="3538" y="2844"/>
                </a:lnTo>
                <a:lnTo>
                  <a:pt x="3526" y="2850"/>
                </a:lnTo>
                <a:lnTo>
                  <a:pt x="3510" y="2860"/>
                </a:lnTo>
                <a:lnTo>
                  <a:pt x="3488" y="2870"/>
                </a:lnTo>
                <a:lnTo>
                  <a:pt x="3468" y="2878"/>
                </a:lnTo>
                <a:lnTo>
                  <a:pt x="3448" y="2882"/>
                </a:lnTo>
                <a:lnTo>
                  <a:pt x="3434" y="2882"/>
                </a:lnTo>
                <a:lnTo>
                  <a:pt x="3426" y="2880"/>
                </a:lnTo>
                <a:lnTo>
                  <a:pt x="3424" y="2878"/>
                </a:lnTo>
                <a:lnTo>
                  <a:pt x="3426" y="2878"/>
                </a:lnTo>
                <a:lnTo>
                  <a:pt x="3430" y="2876"/>
                </a:lnTo>
                <a:lnTo>
                  <a:pt x="3434" y="2874"/>
                </a:lnTo>
                <a:lnTo>
                  <a:pt x="3436" y="2874"/>
                </a:lnTo>
                <a:lnTo>
                  <a:pt x="3434" y="2872"/>
                </a:lnTo>
                <a:lnTo>
                  <a:pt x="3428" y="2870"/>
                </a:lnTo>
                <a:lnTo>
                  <a:pt x="3418" y="2870"/>
                </a:lnTo>
                <a:lnTo>
                  <a:pt x="3410" y="2868"/>
                </a:lnTo>
                <a:lnTo>
                  <a:pt x="3408" y="2868"/>
                </a:lnTo>
                <a:lnTo>
                  <a:pt x="3406" y="2866"/>
                </a:lnTo>
                <a:lnTo>
                  <a:pt x="3408" y="2860"/>
                </a:lnTo>
                <a:lnTo>
                  <a:pt x="3410" y="2856"/>
                </a:lnTo>
                <a:lnTo>
                  <a:pt x="3414" y="2850"/>
                </a:lnTo>
                <a:lnTo>
                  <a:pt x="3416" y="2840"/>
                </a:lnTo>
                <a:lnTo>
                  <a:pt x="3420" y="2832"/>
                </a:lnTo>
                <a:lnTo>
                  <a:pt x="3424" y="2828"/>
                </a:lnTo>
                <a:lnTo>
                  <a:pt x="3426" y="2826"/>
                </a:lnTo>
                <a:lnTo>
                  <a:pt x="3430" y="2818"/>
                </a:lnTo>
                <a:lnTo>
                  <a:pt x="3434" y="2812"/>
                </a:lnTo>
                <a:lnTo>
                  <a:pt x="3436" y="2810"/>
                </a:lnTo>
                <a:lnTo>
                  <a:pt x="3440" y="2812"/>
                </a:lnTo>
                <a:lnTo>
                  <a:pt x="3440" y="2818"/>
                </a:lnTo>
                <a:lnTo>
                  <a:pt x="3446" y="2820"/>
                </a:lnTo>
                <a:lnTo>
                  <a:pt x="3448" y="2822"/>
                </a:lnTo>
                <a:lnTo>
                  <a:pt x="3450" y="2826"/>
                </a:lnTo>
                <a:lnTo>
                  <a:pt x="3448" y="2828"/>
                </a:lnTo>
                <a:lnTo>
                  <a:pt x="3442" y="2832"/>
                </a:lnTo>
                <a:lnTo>
                  <a:pt x="3432" y="2832"/>
                </a:lnTo>
                <a:lnTo>
                  <a:pt x="3426" y="2834"/>
                </a:lnTo>
                <a:lnTo>
                  <a:pt x="3424" y="2834"/>
                </a:lnTo>
                <a:lnTo>
                  <a:pt x="3422" y="2838"/>
                </a:lnTo>
                <a:lnTo>
                  <a:pt x="3422" y="2840"/>
                </a:lnTo>
                <a:lnTo>
                  <a:pt x="3422" y="2844"/>
                </a:lnTo>
                <a:lnTo>
                  <a:pt x="3426" y="2846"/>
                </a:lnTo>
                <a:lnTo>
                  <a:pt x="3428" y="2848"/>
                </a:lnTo>
                <a:lnTo>
                  <a:pt x="3432" y="2848"/>
                </a:lnTo>
                <a:lnTo>
                  <a:pt x="3440" y="2848"/>
                </a:lnTo>
                <a:lnTo>
                  <a:pt x="3442" y="2850"/>
                </a:lnTo>
                <a:lnTo>
                  <a:pt x="3444" y="2850"/>
                </a:lnTo>
                <a:lnTo>
                  <a:pt x="3446" y="2848"/>
                </a:lnTo>
                <a:lnTo>
                  <a:pt x="3450" y="2844"/>
                </a:lnTo>
                <a:lnTo>
                  <a:pt x="3456" y="2840"/>
                </a:lnTo>
                <a:lnTo>
                  <a:pt x="3468" y="2836"/>
                </a:lnTo>
                <a:lnTo>
                  <a:pt x="3472" y="2832"/>
                </a:lnTo>
                <a:lnTo>
                  <a:pt x="3474" y="2828"/>
                </a:lnTo>
                <a:lnTo>
                  <a:pt x="3482" y="2820"/>
                </a:lnTo>
                <a:lnTo>
                  <a:pt x="3488" y="2816"/>
                </a:lnTo>
                <a:lnTo>
                  <a:pt x="3496" y="2814"/>
                </a:lnTo>
                <a:lnTo>
                  <a:pt x="3506" y="2812"/>
                </a:lnTo>
                <a:lnTo>
                  <a:pt x="3518" y="2814"/>
                </a:lnTo>
                <a:lnTo>
                  <a:pt x="3536" y="2818"/>
                </a:lnTo>
                <a:lnTo>
                  <a:pt x="3538" y="2818"/>
                </a:lnTo>
                <a:lnTo>
                  <a:pt x="3534" y="2814"/>
                </a:lnTo>
                <a:lnTo>
                  <a:pt x="3532" y="2812"/>
                </a:lnTo>
                <a:lnTo>
                  <a:pt x="3532" y="2810"/>
                </a:lnTo>
                <a:lnTo>
                  <a:pt x="3536" y="2806"/>
                </a:lnTo>
                <a:lnTo>
                  <a:pt x="3542" y="2804"/>
                </a:lnTo>
                <a:lnTo>
                  <a:pt x="3560" y="2800"/>
                </a:lnTo>
                <a:lnTo>
                  <a:pt x="3580" y="2800"/>
                </a:lnTo>
                <a:lnTo>
                  <a:pt x="3584" y="2800"/>
                </a:lnTo>
                <a:lnTo>
                  <a:pt x="3586" y="2796"/>
                </a:lnTo>
                <a:lnTo>
                  <a:pt x="3586" y="2794"/>
                </a:lnTo>
                <a:lnTo>
                  <a:pt x="3586" y="2790"/>
                </a:lnTo>
                <a:lnTo>
                  <a:pt x="3588" y="2790"/>
                </a:lnTo>
                <a:lnTo>
                  <a:pt x="3590" y="2790"/>
                </a:lnTo>
                <a:lnTo>
                  <a:pt x="3592" y="2792"/>
                </a:lnTo>
                <a:lnTo>
                  <a:pt x="3594" y="2798"/>
                </a:lnTo>
                <a:lnTo>
                  <a:pt x="3592" y="2804"/>
                </a:lnTo>
                <a:lnTo>
                  <a:pt x="3590" y="2808"/>
                </a:lnTo>
                <a:close/>
                <a:moveTo>
                  <a:pt x="3578" y="2752"/>
                </a:moveTo>
                <a:lnTo>
                  <a:pt x="3578" y="2752"/>
                </a:lnTo>
                <a:lnTo>
                  <a:pt x="3586" y="2746"/>
                </a:lnTo>
                <a:lnTo>
                  <a:pt x="3596" y="2742"/>
                </a:lnTo>
                <a:lnTo>
                  <a:pt x="3626" y="2738"/>
                </a:lnTo>
                <a:lnTo>
                  <a:pt x="3638" y="2734"/>
                </a:lnTo>
                <a:lnTo>
                  <a:pt x="3642" y="2734"/>
                </a:lnTo>
                <a:lnTo>
                  <a:pt x="3656" y="2742"/>
                </a:lnTo>
                <a:lnTo>
                  <a:pt x="3662" y="2744"/>
                </a:lnTo>
                <a:lnTo>
                  <a:pt x="3666" y="2744"/>
                </a:lnTo>
                <a:lnTo>
                  <a:pt x="3668" y="2742"/>
                </a:lnTo>
                <a:lnTo>
                  <a:pt x="3670" y="2740"/>
                </a:lnTo>
                <a:lnTo>
                  <a:pt x="3672" y="2734"/>
                </a:lnTo>
                <a:lnTo>
                  <a:pt x="3674" y="2730"/>
                </a:lnTo>
                <a:lnTo>
                  <a:pt x="3678" y="2726"/>
                </a:lnTo>
                <a:lnTo>
                  <a:pt x="3686" y="2722"/>
                </a:lnTo>
                <a:lnTo>
                  <a:pt x="3696" y="2718"/>
                </a:lnTo>
                <a:lnTo>
                  <a:pt x="3706" y="2714"/>
                </a:lnTo>
                <a:lnTo>
                  <a:pt x="3716" y="2710"/>
                </a:lnTo>
                <a:lnTo>
                  <a:pt x="3716" y="2714"/>
                </a:lnTo>
                <a:lnTo>
                  <a:pt x="3712" y="2718"/>
                </a:lnTo>
                <a:lnTo>
                  <a:pt x="3708" y="2720"/>
                </a:lnTo>
                <a:lnTo>
                  <a:pt x="3702" y="2724"/>
                </a:lnTo>
                <a:lnTo>
                  <a:pt x="3698" y="2726"/>
                </a:lnTo>
                <a:lnTo>
                  <a:pt x="3696" y="2730"/>
                </a:lnTo>
                <a:lnTo>
                  <a:pt x="3696" y="2732"/>
                </a:lnTo>
                <a:lnTo>
                  <a:pt x="3700" y="2736"/>
                </a:lnTo>
                <a:lnTo>
                  <a:pt x="3702" y="2740"/>
                </a:lnTo>
                <a:lnTo>
                  <a:pt x="3702" y="2742"/>
                </a:lnTo>
                <a:lnTo>
                  <a:pt x="3700" y="2746"/>
                </a:lnTo>
                <a:lnTo>
                  <a:pt x="3700" y="2752"/>
                </a:lnTo>
                <a:lnTo>
                  <a:pt x="3700" y="2758"/>
                </a:lnTo>
                <a:lnTo>
                  <a:pt x="3696" y="2762"/>
                </a:lnTo>
                <a:lnTo>
                  <a:pt x="3690" y="2764"/>
                </a:lnTo>
                <a:lnTo>
                  <a:pt x="3684" y="2770"/>
                </a:lnTo>
                <a:lnTo>
                  <a:pt x="3680" y="2774"/>
                </a:lnTo>
                <a:lnTo>
                  <a:pt x="3676" y="2776"/>
                </a:lnTo>
                <a:lnTo>
                  <a:pt x="3662" y="2778"/>
                </a:lnTo>
                <a:lnTo>
                  <a:pt x="3650" y="2776"/>
                </a:lnTo>
                <a:lnTo>
                  <a:pt x="3638" y="2774"/>
                </a:lnTo>
                <a:lnTo>
                  <a:pt x="3628" y="2772"/>
                </a:lnTo>
                <a:lnTo>
                  <a:pt x="3616" y="2770"/>
                </a:lnTo>
                <a:lnTo>
                  <a:pt x="3604" y="2770"/>
                </a:lnTo>
                <a:lnTo>
                  <a:pt x="3596" y="2774"/>
                </a:lnTo>
                <a:lnTo>
                  <a:pt x="3588" y="2778"/>
                </a:lnTo>
                <a:lnTo>
                  <a:pt x="3582" y="2780"/>
                </a:lnTo>
                <a:lnTo>
                  <a:pt x="3574" y="2782"/>
                </a:lnTo>
                <a:lnTo>
                  <a:pt x="3568" y="2782"/>
                </a:lnTo>
                <a:lnTo>
                  <a:pt x="3562" y="2780"/>
                </a:lnTo>
                <a:lnTo>
                  <a:pt x="3560" y="2780"/>
                </a:lnTo>
                <a:lnTo>
                  <a:pt x="3558" y="2776"/>
                </a:lnTo>
                <a:lnTo>
                  <a:pt x="3558" y="2772"/>
                </a:lnTo>
                <a:lnTo>
                  <a:pt x="3560" y="2768"/>
                </a:lnTo>
                <a:lnTo>
                  <a:pt x="3566" y="2760"/>
                </a:lnTo>
                <a:lnTo>
                  <a:pt x="3570" y="2756"/>
                </a:lnTo>
                <a:lnTo>
                  <a:pt x="3574" y="2756"/>
                </a:lnTo>
                <a:lnTo>
                  <a:pt x="3578" y="2752"/>
                </a:lnTo>
                <a:close/>
                <a:moveTo>
                  <a:pt x="3092" y="2546"/>
                </a:moveTo>
                <a:lnTo>
                  <a:pt x="3092" y="2546"/>
                </a:lnTo>
                <a:lnTo>
                  <a:pt x="3106" y="2534"/>
                </a:lnTo>
                <a:lnTo>
                  <a:pt x="3118" y="2526"/>
                </a:lnTo>
                <a:lnTo>
                  <a:pt x="3160" y="2506"/>
                </a:lnTo>
                <a:lnTo>
                  <a:pt x="3164" y="2504"/>
                </a:lnTo>
                <a:lnTo>
                  <a:pt x="3168" y="2500"/>
                </a:lnTo>
                <a:lnTo>
                  <a:pt x="3172" y="2496"/>
                </a:lnTo>
                <a:lnTo>
                  <a:pt x="3176" y="2484"/>
                </a:lnTo>
                <a:lnTo>
                  <a:pt x="3180" y="2478"/>
                </a:lnTo>
                <a:lnTo>
                  <a:pt x="3186" y="2474"/>
                </a:lnTo>
                <a:lnTo>
                  <a:pt x="3188" y="2474"/>
                </a:lnTo>
                <a:lnTo>
                  <a:pt x="3190" y="2474"/>
                </a:lnTo>
                <a:lnTo>
                  <a:pt x="3190" y="2478"/>
                </a:lnTo>
                <a:lnTo>
                  <a:pt x="3190" y="2482"/>
                </a:lnTo>
                <a:lnTo>
                  <a:pt x="3188" y="2486"/>
                </a:lnTo>
                <a:lnTo>
                  <a:pt x="3192" y="2484"/>
                </a:lnTo>
                <a:lnTo>
                  <a:pt x="3196" y="2476"/>
                </a:lnTo>
                <a:lnTo>
                  <a:pt x="3202" y="2464"/>
                </a:lnTo>
                <a:lnTo>
                  <a:pt x="3206" y="2456"/>
                </a:lnTo>
                <a:lnTo>
                  <a:pt x="3208" y="2456"/>
                </a:lnTo>
                <a:lnTo>
                  <a:pt x="3210" y="2462"/>
                </a:lnTo>
                <a:lnTo>
                  <a:pt x="3206" y="2470"/>
                </a:lnTo>
                <a:lnTo>
                  <a:pt x="3204" y="2478"/>
                </a:lnTo>
                <a:lnTo>
                  <a:pt x="3216" y="2472"/>
                </a:lnTo>
                <a:lnTo>
                  <a:pt x="3220" y="2468"/>
                </a:lnTo>
                <a:lnTo>
                  <a:pt x="3220" y="2466"/>
                </a:lnTo>
                <a:lnTo>
                  <a:pt x="3218" y="2458"/>
                </a:lnTo>
                <a:lnTo>
                  <a:pt x="3216" y="2452"/>
                </a:lnTo>
                <a:lnTo>
                  <a:pt x="3216" y="2450"/>
                </a:lnTo>
                <a:lnTo>
                  <a:pt x="3218" y="2448"/>
                </a:lnTo>
                <a:lnTo>
                  <a:pt x="3220" y="2448"/>
                </a:lnTo>
                <a:lnTo>
                  <a:pt x="3224" y="2448"/>
                </a:lnTo>
                <a:lnTo>
                  <a:pt x="3236" y="2454"/>
                </a:lnTo>
                <a:lnTo>
                  <a:pt x="3248" y="2458"/>
                </a:lnTo>
                <a:lnTo>
                  <a:pt x="3254" y="2460"/>
                </a:lnTo>
                <a:lnTo>
                  <a:pt x="3260" y="2460"/>
                </a:lnTo>
                <a:lnTo>
                  <a:pt x="3268" y="2460"/>
                </a:lnTo>
                <a:lnTo>
                  <a:pt x="3272" y="2462"/>
                </a:lnTo>
                <a:lnTo>
                  <a:pt x="3276" y="2462"/>
                </a:lnTo>
                <a:lnTo>
                  <a:pt x="3284" y="2462"/>
                </a:lnTo>
                <a:lnTo>
                  <a:pt x="3288" y="2462"/>
                </a:lnTo>
                <a:lnTo>
                  <a:pt x="3292" y="2466"/>
                </a:lnTo>
                <a:lnTo>
                  <a:pt x="3296" y="2482"/>
                </a:lnTo>
                <a:lnTo>
                  <a:pt x="3300" y="2490"/>
                </a:lnTo>
                <a:lnTo>
                  <a:pt x="3302" y="2498"/>
                </a:lnTo>
                <a:lnTo>
                  <a:pt x="3308" y="2504"/>
                </a:lnTo>
                <a:lnTo>
                  <a:pt x="3316" y="2510"/>
                </a:lnTo>
                <a:lnTo>
                  <a:pt x="3322" y="2510"/>
                </a:lnTo>
                <a:lnTo>
                  <a:pt x="3328" y="2510"/>
                </a:lnTo>
                <a:lnTo>
                  <a:pt x="3340" y="2508"/>
                </a:lnTo>
                <a:lnTo>
                  <a:pt x="3344" y="2508"/>
                </a:lnTo>
                <a:lnTo>
                  <a:pt x="3348" y="2510"/>
                </a:lnTo>
                <a:lnTo>
                  <a:pt x="3350" y="2514"/>
                </a:lnTo>
                <a:lnTo>
                  <a:pt x="3348" y="2520"/>
                </a:lnTo>
                <a:lnTo>
                  <a:pt x="3344" y="2528"/>
                </a:lnTo>
                <a:lnTo>
                  <a:pt x="3346" y="2532"/>
                </a:lnTo>
                <a:lnTo>
                  <a:pt x="3358" y="2542"/>
                </a:lnTo>
                <a:lnTo>
                  <a:pt x="3360" y="2546"/>
                </a:lnTo>
                <a:lnTo>
                  <a:pt x="3360" y="2550"/>
                </a:lnTo>
                <a:lnTo>
                  <a:pt x="3358" y="2556"/>
                </a:lnTo>
                <a:lnTo>
                  <a:pt x="3356" y="2564"/>
                </a:lnTo>
                <a:lnTo>
                  <a:pt x="3356" y="2566"/>
                </a:lnTo>
                <a:lnTo>
                  <a:pt x="3358" y="2568"/>
                </a:lnTo>
                <a:lnTo>
                  <a:pt x="3362" y="2570"/>
                </a:lnTo>
                <a:lnTo>
                  <a:pt x="3364" y="2570"/>
                </a:lnTo>
                <a:lnTo>
                  <a:pt x="3366" y="2570"/>
                </a:lnTo>
                <a:lnTo>
                  <a:pt x="3368" y="2572"/>
                </a:lnTo>
                <a:lnTo>
                  <a:pt x="3370" y="2574"/>
                </a:lnTo>
                <a:lnTo>
                  <a:pt x="3368" y="2576"/>
                </a:lnTo>
                <a:lnTo>
                  <a:pt x="3364" y="2578"/>
                </a:lnTo>
                <a:lnTo>
                  <a:pt x="3364" y="2582"/>
                </a:lnTo>
                <a:lnTo>
                  <a:pt x="3362" y="2586"/>
                </a:lnTo>
                <a:lnTo>
                  <a:pt x="3362" y="2590"/>
                </a:lnTo>
                <a:lnTo>
                  <a:pt x="3366" y="2592"/>
                </a:lnTo>
                <a:lnTo>
                  <a:pt x="3372" y="2592"/>
                </a:lnTo>
                <a:lnTo>
                  <a:pt x="3380" y="2590"/>
                </a:lnTo>
                <a:lnTo>
                  <a:pt x="3382" y="2592"/>
                </a:lnTo>
                <a:lnTo>
                  <a:pt x="3382" y="2596"/>
                </a:lnTo>
                <a:lnTo>
                  <a:pt x="3382" y="2602"/>
                </a:lnTo>
                <a:lnTo>
                  <a:pt x="3386" y="2604"/>
                </a:lnTo>
                <a:lnTo>
                  <a:pt x="3392" y="2604"/>
                </a:lnTo>
                <a:lnTo>
                  <a:pt x="3402" y="2608"/>
                </a:lnTo>
                <a:lnTo>
                  <a:pt x="3416" y="2612"/>
                </a:lnTo>
                <a:lnTo>
                  <a:pt x="3432" y="2612"/>
                </a:lnTo>
                <a:lnTo>
                  <a:pt x="3446" y="2614"/>
                </a:lnTo>
                <a:lnTo>
                  <a:pt x="3460" y="2616"/>
                </a:lnTo>
                <a:lnTo>
                  <a:pt x="3470" y="2616"/>
                </a:lnTo>
                <a:lnTo>
                  <a:pt x="3478" y="2616"/>
                </a:lnTo>
                <a:lnTo>
                  <a:pt x="3484" y="2616"/>
                </a:lnTo>
                <a:lnTo>
                  <a:pt x="3484" y="2618"/>
                </a:lnTo>
                <a:lnTo>
                  <a:pt x="3484" y="2620"/>
                </a:lnTo>
                <a:lnTo>
                  <a:pt x="3484" y="2622"/>
                </a:lnTo>
                <a:lnTo>
                  <a:pt x="3484" y="2624"/>
                </a:lnTo>
                <a:lnTo>
                  <a:pt x="3490" y="2626"/>
                </a:lnTo>
                <a:lnTo>
                  <a:pt x="3508" y="2626"/>
                </a:lnTo>
                <a:lnTo>
                  <a:pt x="3514" y="2626"/>
                </a:lnTo>
                <a:lnTo>
                  <a:pt x="3518" y="2630"/>
                </a:lnTo>
                <a:lnTo>
                  <a:pt x="3526" y="2644"/>
                </a:lnTo>
                <a:lnTo>
                  <a:pt x="3532" y="2654"/>
                </a:lnTo>
                <a:lnTo>
                  <a:pt x="3536" y="2658"/>
                </a:lnTo>
                <a:lnTo>
                  <a:pt x="3538" y="2658"/>
                </a:lnTo>
                <a:lnTo>
                  <a:pt x="3540" y="2656"/>
                </a:lnTo>
                <a:lnTo>
                  <a:pt x="3542" y="2656"/>
                </a:lnTo>
                <a:lnTo>
                  <a:pt x="3544" y="2660"/>
                </a:lnTo>
                <a:lnTo>
                  <a:pt x="3544" y="2666"/>
                </a:lnTo>
                <a:lnTo>
                  <a:pt x="3544" y="2670"/>
                </a:lnTo>
                <a:lnTo>
                  <a:pt x="3546" y="2674"/>
                </a:lnTo>
                <a:lnTo>
                  <a:pt x="3552" y="2682"/>
                </a:lnTo>
                <a:lnTo>
                  <a:pt x="3558" y="2688"/>
                </a:lnTo>
                <a:lnTo>
                  <a:pt x="3560" y="2694"/>
                </a:lnTo>
                <a:lnTo>
                  <a:pt x="3560" y="2696"/>
                </a:lnTo>
                <a:lnTo>
                  <a:pt x="3558" y="2696"/>
                </a:lnTo>
                <a:lnTo>
                  <a:pt x="3554" y="2694"/>
                </a:lnTo>
                <a:lnTo>
                  <a:pt x="3548" y="2690"/>
                </a:lnTo>
                <a:lnTo>
                  <a:pt x="3546" y="2688"/>
                </a:lnTo>
                <a:lnTo>
                  <a:pt x="3544" y="2690"/>
                </a:lnTo>
                <a:lnTo>
                  <a:pt x="3544" y="2692"/>
                </a:lnTo>
                <a:lnTo>
                  <a:pt x="3544" y="2694"/>
                </a:lnTo>
                <a:lnTo>
                  <a:pt x="3546" y="2700"/>
                </a:lnTo>
                <a:lnTo>
                  <a:pt x="3548" y="2704"/>
                </a:lnTo>
                <a:lnTo>
                  <a:pt x="3548" y="2708"/>
                </a:lnTo>
                <a:lnTo>
                  <a:pt x="3546" y="2710"/>
                </a:lnTo>
                <a:lnTo>
                  <a:pt x="3542" y="2710"/>
                </a:lnTo>
                <a:lnTo>
                  <a:pt x="3538" y="2710"/>
                </a:lnTo>
                <a:lnTo>
                  <a:pt x="3530" y="2704"/>
                </a:lnTo>
                <a:lnTo>
                  <a:pt x="3520" y="2698"/>
                </a:lnTo>
                <a:lnTo>
                  <a:pt x="3516" y="2698"/>
                </a:lnTo>
                <a:lnTo>
                  <a:pt x="3514" y="2700"/>
                </a:lnTo>
                <a:lnTo>
                  <a:pt x="3510" y="2702"/>
                </a:lnTo>
                <a:lnTo>
                  <a:pt x="3510" y="2698"/>
                </a:lnTo>
                <a:lnTo>
                  <a:pt x="3508" y="2694"/>
                </a:lnTo>
                <a:lnTo>
                  <a:pt x="3508" y="2692"/>
                </a:lnTo>
                <a:lnTo>
                  <a:pt x="3506" y="2694"/>
                </a:lnTo>
                <a:lnTo>
                  <a:pt x="3502" y="2694"/>
                </a:lnTo>
                <a:lnTo>
                  <a:pt x="3502" y="2692"/>
                </a:lnTo>
                <a:lnTo>
                  <a:pt x="3504" y="2688"/>
                </a:lnTo>
                <a:lnTo>
                  <a:pt x="3506" y="2684"/>
                </a:lnTo>
                <a:lnTo>
                  <a:pt x="3502" y="2682"/>
                </a:lnTo>
                <a:lnTo>
                  <a:pt x="3498" y="2682"/>
                </a:lnTo>
                <a:lnTo>
                  <a:pt x="3496" y="2678"/>
                </a:lnTo>
                <a:lnTo>
                  <a:pt x="3496" y="2674"/>
                </a:lnTo>
                <a:lnTo>
                  <a:pt x="3494" y="2668"/>
                </a:lnTo>
                <a:lnTo>
                  <a:pt x="3494" y="2666"/>
                </a:lnTo>
                <a:lnTo>
                  <a:pt x="3492" y="2666"/>
                </a:lnTo>
                <a:lnTo>
                  <a:pt x="3486" y="2666"/>
                </a:lnTo>
                <a:lnTo>
                  <a:pt x="3482" y="2664"/>
                </a:lnTo>
                <a:lnTo>
                  <a:pt x="3480" y="2664"/>
                </a:lnTo>
                <a:lnTo>
                  <a:pt x="3478" y="2664"/>
                </a:lnTo>
                <a:lnTo>
                  <a:pt x="3480" y="2668"/>
                </a:lnTo>
                <a:lnTo>
                  <a:pt x="3486" y="2674"/>
                </a:lnTo>
                <a:lnTo>
                  <a:pt x="3492" y="2684"/>
                </a:lnTo>
                <a:lnTo>
                  <a:pt x="3496" y="2694"/>
                </a:lnTo>
                <a:lnTo>
                  <a:pt x="3496" y="2700"/>
                </a:lnTo>
                <a:lnTo>
                  <a:pt x="3494" y="2706"/>
                </a:lnTo>
                <a:lnTo>
                  <a:pt x="3486" y="2714"/>
                </a:lnTo>
                <a:lnTo>
                  <a:pt x="3482" y="2720"/>
                </a:lnTo>
                <a:lnTo>
                  <a:pt x="3480" y="2728"/>
                </a:lnTo>
                <a:lnTo>
                  <a:pt x="3478" y="2736"/>
                </a:lnTo>
                <a:lnTo>
                  <a:pt x="3478" y="2746"/>
                </a:lnTo>
                <a:lnTo>
                  <a:pt x="3478" y="2764"/>
                </a:lnTo>
                <a:lnTo>
                  <a:pt x="3476" y="2772"/>
                </a:lnTo>
                <a:lnTo>
                  <a:pt x="3474" y="2776"/>
                </a:lnTo>
                <a:lnTo>
                  <a:pt x="3470" y="2780"/>
                </a:lnTo>
                <a:lnTo>
                  <a:pt x="3464" y="2784"/>
                </a:lnTo>
                <a:lnTo>
                  <a:pt x="3450" y="2792"/>
                </a:lnTo>
                <a:lnTo>
                  <a:pt x="3444" y="2778"/>
                </a:lnTo>
                <a:lnTo>
                  <a:pt x="3440" y="2758"/>
                </a:lnTo>
                <a:lnTo>
                  <a:pt x="3438" y="2748"/>
                </a:lnTo>
                <a:lnTo>
                  <a:pt x="3434" y="2740"/>
                </a:lnTo>
                <a:lnTo>
                  <a:pt x="3430" y="2736"/>
                </a:lnTo>
                <a:lnTo>
                  <a:pt x="3424" y="2734"/>
                </a:lnTo>
                <a:lnTo>
                  <a:pt x="3418" y="2736"/>
                </a:lnTo>
                <a:lnTo>
                  <a:pt x="3414" y="2740"/>
                </a:lnTo>
                <a:lnTo>
                  <a:pt x="3408" y="2748"/>
                </a:lnTo>
                <a:lnTo>
                  <a:pt x="3404" y="2754"/>
                </a:lnTo>
                <a:lnTo>
                  <a:pt x="3402" y="2758"/>
                </a:lnTo>
                <a:lnTo>
                  <a:pt x="3398" y="2758"/>
                </a:lnTo>
                <a:lnTo>
                  <a:pt x="3394" y="2758"/>
                </a:lnTo>
                <a:lnTo>
                  <a:pt x="3392" y="2756"/>
                </a:lnTo>
                <a:lnTo>
                  <a:pt x="3388" y="2750"/>
                </a:lnTo>
                <a:lnTo>
                  <a:pt x="3390" y="2742"/>
                </a:lnTo>
                <a:lnTo>
                  <a:pt x="3392" y="2738"/>
                </a:lnTo>
                <a:lnTo>
                  <a:pt x="3394" y="2734"/>
                </a:lnTo>
                <a:lnTo>
                  <a:pt x="3402" y="2730"/>
                </a:lnTo>
                <a:lnTo>
                  <a:pt x="3406" y="2724"/>
                </a:lnTo>
                <a:lnTo>
                  <a:pt x="3410" y="2716"/>
                </a:lnTo>
                <a:lnTo>
                  <a:pt x="3412" y="2704"/>
                </a:lnTo>
                <a:lnTo>
                  <a:pt x="3414" y="2698"/>
                </a:lnTo>
                <a:lnTo>
                  <a:pt x="3412" y="2692"/>
                </a:lnTo>
                <a:lnTo>
                  <a:pt x="3410" y="2684"/>
                </a:lnTo>
                <a:lnTo>
                  <a:pt x="3408" y="2680"/>
                </a:lnTo>
                <a:lnTo>
                  <a:pt x="3408" y="2678"/>
                </a:lnTo>
                <a:lnTo>
                  <a:pt x="3412" y="2676"/>
                </a:lnTo>
                <a:lnTo>
                  <a:pt x="3414" y="2676"/>
                </a:lnTo>
                <a:lnTo>
                  <a:pt x="3414" y="2672"/>
                </a:lnTo>
                <a:lnTo>
                  <a:pt x="3412" y="2666"/>
                </a:lnTo>
                <a:lnTo>
                  <a:pt x="3402" y="2660"/>
                </a:lnTo>
                <a:lnTo>
                  <a:pt x="3392" y="2656"/>
                </a:lnTo>
                <a:lnTo>
                  <a:pt x="3384" y="2652"/>
                </a:lnTo>
                <a:lnTo>
                  <a:pt x="3380" y="2648"/>
                </a:lnTo>
                <a:lnTo>
                  <a:pt x="3378" y="2644"/>
                </a:lnTo>
                <a:lnTo>
                  <a:pt x="3374" y="2644"/>
                </a:lnTo>
                <a:lnTo>
                  <a:pt x="3366" y="2642"/>
                </a:lnTo>
                <a:lnTo>
                  <a:pt x="3362" y="2638"/>
                </a:lnTo>
                <a:lnTo>
                  <a:pt x="3358" y="2636"/>
                </a:lnTo>
                <a:lnTo>
                  <a:pt x="3356" y="2636"/>
                </a:lnTo>
                <a:lnTo>
                  <a:pt x="3352" y="2638"/>
                </a:lnTo>
                <a:lnTo>
                  <a:pt x="3346" y="2642"/>
                </a:lnTo>
                <a:lnTo>
                  <a:pt x="3342" y="2646"/>
                </a:lnTo>
                <a:lnTo>
                  <a:pt x="3342" y="2648"/>
                </a:lnTo>
                <a:lnTo>
                  <a:pt x="3342" y="2652"/>
                </a:lnTo>
                <a:lnTo>
                  <a:pt x="3344" y="2654"/>
                </a:lnTo>
                <a:lnTo>
                  <a:pt x="3346" y="2656"/>
                </a:lnTo>
                <a:lnTo>
                  <a:pt x="3340" y="2658"/>
                </a:lnTo>
                <a:lnTo>
                  <a:pt x="3334" y="2662"/>
                </a:lnTo>
                <a:lnTo>
                  <a:pt x="3330" y="2666"/>
                </a:lnTo>
                <a:lnTo>
                  <a:pt x="3328" y="2670"/>
                </a:lnTo>
                <a:lnTo>
                  <a:pt x="3328" y="2676"/>
                </a:lnTo>
                <a:lnTo>
                  <a:pt x="3326" y="2686"/>
                </a:lnTo>
                <a:lnTo>
                  <a:pt x="3324" y="2690"/>
                </a:lnTo>
                <a:lnTo>
                  <a:pt x="3322" y="2692"/>
                </a:lnTo>
                <a:lnTo>
                  <a:pt x="3320" y="2690"/>
                </a:lnTo>
                <a:lnTo>
                  <a:pt x="3318" y="2686"/>
                </a:lnTo>
                <a:lnTo>
                  <a:pt x="3318" y="2678"/>
                </a:lnTo>
                <a:lnTo>
                  <a:pt x="3318" y="2674"/>
                </a:lnTo>
                <a:lnTo>
                  <a:pt x="3318" y="2672"/>
                </a:lnTo>
                <a:lnTo>
                  <a:pt x="3314" y="2676"/>
                </a:lnTo>
                <a:lnTo>
                  <a:pt x="3308" y="2682"/>
                </a:lnTo>
                <a:lnTo>
                  <a:pt x="3300" y="2692"/>
                </a:lnTo>
                <a:lnTo>
                  <a:pt x="3296" y="2694"/>
                </a:lnTo>
                <a:lnTo>
                  <a:pt x="3294" y="2696"/>
                </a:lnTo>
                <a:lnTo>
                  <a:pt x="3296" y="2704"/>
                </a:lnTo>
                <a:lnTo>
                  <a:pt x="3296" y="2712"/>
                </a:lnTo>
                <a:lnTo>
                  <a:pt x="3294" y="2716"/>
                </a:lnTo>
                <a:lnTo>
                  <a:pt x="3290" y="2724"/>
                </a:lnTo>
                <a:lnTo>
                  <a:pt x="3288" y="2732"/>
                </a:lnTo>
                <a:lnTo>
                  <a:pt x="3286" y="2736"/>
                </a:lnTo>
                <a:lnTo>
                  <a:pt x="3288" y="2740"/>
                </a:lnTo>
                <a:lnTo>
                  <a:pt x="3288" y="2748"/>
                </a:lnTo>
                <a:lnTo>
                  <a:pt x="3286" y="2752"/>
                </a:lnTo>
                <a:lnTo>
                  <a:pt x="3284" y="2756"/>
                </a:lnTo>
                <a:lnTo>
                  <a:pt x="3288" y="2768"/>
                </a:lnTo>
                <a:lnTo>
                  <a:pt x="3292" y="2780"/>
                </a:lnTo>
                <a:lnTo>
                  <a:pt x="3294" y="2792"/>
                </a:lnTo>
                <a:lnTo>
                  <a:pt x="3296" y="2802"/>
                </a:lnTo>
                <a:lnTo>
                  <a:pt x="3296" y="2812"/>
                </a:lnTo>
                <a:lnTo>
                  <a:pt x="3294" y="2820"/>
                </a:lnTo>
                <a:lnTo>
                  <a:pt x="3290" y="2830"/>
                </a:lnTo>
                <a:lnTo>
                  <a:pt x="3282" y="2848"/>
                </a:lnTo>
                <a:lnTo>
                  <a:pt x="3276" y="2856"/>
                </a:lnTo>
                <a:lnTo>
                  <a:pt x="3272" y="2862"/>
                </a:lnTo>
                <a:lnTo>
                  <a:pt x="3266" y="2866"/>
                </a:lnTo>
                <a:lnTo>
                  <a:pt x="3260" y="2868"/>
                </a:lnTo>
                <a:lnTo>
                  <a:pt x="3254" y="2868"/>
                </a:lnTo>
                <a:lnTo>
                  <a:pt x="3248" y="2866"/>
                </a:lnTo>
                <a:lnTo>
                  <a:pt x="3242" y="2860"/>
                </a:lnTo>
                <a:lnTo>
                  <a:pt x="3236" y="2852"/>
                </a:lnTo>
                <a:lnTo>
                  <a:pt x="3232" y="2844"/>
                </a:lnTo>
                <a:lnTo>
                  <a:pt x="3230" y="2836"/>
                </a:lnTo>
                <a:lnTo>
                  <a:pt x="3230" y="2824"/>
                </a:lnTo>
                <a:lnTo>
                  <a:pt x="3230" y="2810"/>
                </a:lnTo>
                <a:lnTo>
                  <a:pt x="3230" y="2804"/>
                </a:lnTo>
                <a:lnTo>
                  <a:pt x="3230" y="2796"/>
                </a:lnTo>
                <a:lnTo>
                  <a:pt x="3228" y="2782"/>
                </a:lnTo>
                <a:lnTo>
                  <a:pt x="3230" y="2774"/>
                </a:lnTo>
                <a:lnTo>
                  <a:pt x="3232" y="2764"/>
                </a:lnTo>
                <a:lnTo>
                  <a:pt x="3234" y="2748"/>
                </a:lnTo>
                <a:lnTo>
                  <a:pt x="3234" y="2740"/>
                </a:lnTo>
                <a:lnTo>
                  <a:pt x="3236" y="2736"/>
                </a:lnTo>
                <a:lnTo>
                  <a:pt x="3238" y="2732"/>
                </a:lnTo>
                <a:lnTo>
                  <a:pt x="3240" y="2730"/>
                </a:lnTo>
                <a:lnTo>
                  <a:pt x="3244" y="2728"/>
                </a:lnTo>
                <a:lnTo>
                  <a:pt x="3242" y="2724"/>
                </a:lnTo>
                <a:lnTo>
                  <a:pt x="3242" y="2720"/>
                </a:lnTo>
                <a:lnTo>
                  <a:pt x="3242" y="2714"/>
                </a:lnTo>
                <a:lnTo>
                  <a:pt x="3246" y="2704"/>
                </a:lnTo>
                <a:lnTo>
                  <a:pt x="3250" y="2694"/>
                </a:lnTo>
                <a:lnTo>
                  <a:pt x="3248" y="2690"/>
                </a:lnTo>
                <a:lnTo>
                  <a:pt x="3246" y="2688"/>
                </a:lnTo>
                <a:lnTo>
                  <a:pt x="3240" y="2688"/>
                </a:lnTo>
                <a:lnTo>
                  <a:pt x="3238" y="2690"/>
                </a:lnTo>
                <a:lnTo>
                  <a:pt x="3234" y="2696"/>
                </a:lnTo>
                <a:lnTo>
                  <a:pt x="3230" y="2704"/>
                </a:lnTo>
                <a:lnTo>
                  <a:pt x="3226" y="2706"/>
                </a:lnTo>
                <a:lnTo>
                  <a:pt x="3224" y="2706"/>
                </a:lnTo>
                <a:lnTo>
                  <a:pt x="3224" y="2698"/>
                </a:lnTo>
                <a:lnTo>
                  <a:pt x="3228" y="2688"/>
                </a:lnTo>
                <a:lnTo>
                  <a:pt x="3230" y="2684"/>
                </a:lnTo>
                <a:lnTo>
                  <a:pt x="3234" y="2682"/>
                </a:lnTo>
                <a:lnTo>
                  <a:pt x="3238" y="2678"/>
                </a:lnTo>
                <a:lnTo>
                  <a:pt x="3238" y="2676"/>
                </a:lnTo>
                <a:lnTo>
                  <a:pt x="3240" y="2672"/>
                </a:lnTo>
                <a:lnTo>
                  <a:pt x="3244" y="2666"/>
                </a:lnTo>
                <a:lnTo>
                  <a:pt x="3252" y="2654"/>
                </a:lnTo>
                <a:lnTo>
                  <a:pt x="3258" y="2640"/>
                </a:lnTo>
                <a:lnTo>
                  <a:pt x="3264" y="2630"/>
                </a:lnTo>
                <a:lnTo>
                  <a:pt x="3266" y="2630"/>
                </a:lnTo>
                <a:lnTo>
                  <a:pt x="3266" y="2632"/>
                </a:lnTo>
                <a:lnTo>
                  <a:pt x="3268" y="2634"/>
                </a:lnTo>
                <a:lnTo>
                  <a:pt x="3270" y="2636"/>
                </a:lnTo>
                <a:lnTo>
                  <a:pt x="3274" y="2632"/>
                </a:lnTo>
                <a:lnTo>
                  <a:pt x="3278" y="2630"/>
                </a:lnTo>
                <a:lnTo>
                  <a:pt x="3280" y="2632"/>
                </a:lnTo>
                <a:lnTo>
                  <a:pt x="3280" y="2636"/>
                </a:lnTo>
                <a:lnTo>
                  <a:pt x="3278" y="2640"/>
                </a:lnTo>
                <a:lnTo>
                  <a:pt x="3280" y="2642"/>
                </a:lnTo>
                <a:lnTo>
                  <a:pt x="3284" y="2636"/>
                </a:lnTo>
                <a:lnTo>
                  <a:pt x="3292" y="2628"/>
                </a:lnTo>
                <a:lnTo>
                  <a:pt x="3296" y="2624"/>
                </a:lnTo>
                <a:lnTo>
                  <a:pt x="3302" y="2624"/>
                </a:lnTo>
                <a:lnTo>
                  <a:pt x="3310" y="2624"/>
                </a:lnTo>
                <a:lnTo>
                  <a:pt x="3316" y="2622"/>
                </a:lnTo>
                <a:lnTo>
                  <a:pt x="3322" y="2618"/>
                </a:lnTo>
                <a:lnTo>
                  <a:pt x="3324" y="2616"/>
                </a:lnTo>
                <a:lnTo>
                  <a:pt x="3328" y="2616"/>
                </a:lnTo>
                <a:lnTo>
                  <a:pt x="3336" y="2620"/>
                </a:lnTo>
                <a:lnTo>
                  <a:pt x="3346" y="2626"/>
                </a:lnTo>
                <a:lnTo>
                  <a:pt x="3352" y="2628"/>
                </a:lnTo>
                <a:lnTo>
                  <a:pt x="3356" y="2628"/>
                </a:lnTo>
                <a:lnTo>
                  <a:pt x="3358" y="2628"/>
                </a:lnTo>
                <a:lnTo>
                  <a:pt x="3358" y="2626"/>
                </a:lnTo>
                <a:lnTo>
                  <a:pt x="3358" y="2620"/>
                </a:lnTo>
                <a:lnTo>
                  <a:pt x="3360" y="2620"/>
                </a:lnTo>
                <a:lnTo>
                  <a:pt x="3362" y="2620"/>
                </a:lnTo>
                <a:lnTo>
                  <a:pt x="3370" y="2624"/>
                </a:lnTo>
                <a:lnTo>
                  <a:pt x="3380" y="2624"/>
                </a:lnTo>
                <a:lnTo>
                  <a:pt x="3386" y="2624"/>
                </a:lnTo>
                <a:lnTo>
                  <a:pt x="3388" y="2622"/>
                </a:lnTo>
                <a:lnTo>
                  <a:pt x="3388" y="2618"/>
                </a:lnTo>
                <a:lnTo>
                  <a:pt x="3384" y="2614"/>
                </a:lnTo>
                <a:lnTo>
                  <a:pt x="3380" y="2612"/>
                </a:lnTo>
                <a:lnTo>
                  <a:pt x="3378" y="2610"/>
                </a:lnTo>
                <a:lnTo>
                  <a:pt x="3376" y="2602"/>
                </a:lnTo>
                <a:lnTo>
                  <a:pt x="3374" y="2598"/>
                </a:lnTo>
                <a:lnTo>
                  <a:pt x="3374" y="2596"/>
                </a:lnTo>
                <a:lnTo>
                  <a:pt x="3368" y="2596"/>
                </a:lnTo>
                <a:lnTo>
                  <a:pt x="3360" y="2596"/>
                </a:lnTo>
                <a:lnTo>
                  <a:pt x="3348" y="2594"/>
                </a:lnTo>
                <a:lnTo>
                  <a:pt x="3346" y="2592"/>
                </a:lnTo>
                <a:lnTo>
                  <a:pt x="3344" y="2590"/>
                </a:lnTo>
                <a:lnTo>
                  <a:pt x="3346" y="2582"/>
                </a:lnTo>
                <a:lnTo>
                  <a:pt x="3346" y="2578"/>
                </a:lnTo>
                <a:lnTo>
                  <a:pt x="3344" y="2578"/>
                </a:lnTo>
                <a:lnTo>
                  <a:pt x="3342" y="2578"/>
                </a:lnTo>
                <a:lnTo>
                  <a:pt x="3330" y="2582"/>
                </a:lnTo>
                <a:lnTo>
                  <a:pt x="3314" y="2584"/>
                </a:lnTo>
                <a:lnTo>
                  <a:pt x="3300" y="2586"/>
                </a:lnTo>
                <a:lnTo>
                  <a:pt x="3294" y="2588"/>
                </a:lnTo>
                <a:lnTo>
                  <a:pt x="3288" y="2590"/>
                </a:lnTo>
                <a:lnTo>
                  <a:pt x="3282" y="2596"/>
                </a:lnTo>
                <a:lnTo>
                  <a:pt x="3274" y="2596"/>
                </a:lnTo>
                <a:lnTo>
                  <a:pt x="3268" y="2594"/>
                </a:lnTo>
                <a:lnTo>
                  <a:pt x="3258" y="2594"/>
                </a:lnTo>
                <a:lnTo>
                  <a:pt x="3254" y="2594"/>
                </a:lnTo>
                <a:lnTo>
                  <a:pt x="3250" y="2592"/>
                </a:lnTo>
                <a:lnTo>
                  <a:pt x="3244" y="2584"/>
                </a:lnTo>
                <a:lnTo>
                  <a:pt x="3238" y="2576"/>
                </a:lnTo>
                <a:lnTo>
                  <a:pt x="3234" y="2572"/>
                </a:lnTo>
                <a:lnTo>
                  <a:pt x="3228" y="2568"/>
                </a:lnTo>
                <a:lnTo>
                  <a:pt x="3222" y="2568"/>
                </a:lnTo>
                <a:lnTo>
                  <a:pt x="3218" y="2568"/>
                </a:lnTo>
                <a:lnTo>
                  <a:pt x="3212" y="2572"/>
                </a:lnTo>
                <a:lnTo>
                  <a:pt x="3208" y="2574"/>
                </a:lnTo>
                <a:lnTo>
                  <a:pt x="3206" y="2574"/>
                </a:lnTo>
                <a:lnTo>
                  <a:pt x="3206" y="2572"/>
                </a:lnTo>
                <a:lnTo>
                  <a:pt x="3204" y="2566"/>
                </a:lnTo>
                <a:lnTo>
                  <a:pt x="3202" y="2558"/>
                </a:lnTo>
                <a:lnTo>
                  <a:pt x="3200" y="2554"/>
                </a:lnTo>
                <a:lnTo>
                  <a:pt x="3198" y="2554"/>
                </a:lnTo>
                <a:lnTo>
                  <a:pt x="3192" y="2558"/>
                </a:lnTo>
                <a:lnTo>
                  <a:pt x="3180" y="2566"/>
                </a:lnTo>
                <a:lnTo>
                  <a:pt x="3176" y="2570"/>
                </a:lnTo>
                <a:lnTo>
                  <a:pt x="3172" y="2574"/>
                </a:lnTo>
                <a:lnTo>
                  <a:pt x="3164" y="2574"/>
                </a:lnTo>
                <a:lnTo>
                  <a:pt x="3156" y="2576"/>
                </a:lnTo>
                <a:lnTo>
                  <a:pt x="3152" y="2578"/>
                </a:lnTo>
                <a:lnTo>
                  <a:pt x="3146" y="2582"/>
                </a:lnTo>
                <a:lnTo>
                  <a:pt x="3134" y="2588"/>
                </a:lnTo>
                <a:lnTo>
                  <a:pt x="3126" y="2588"/>
                </a:lnTo>
                <a:lnTo>
                  <a:pt x="3120" y="2588"/>
                </a:lnTo>
                <a:lnTo>
                  <a:pt x="3110" y="2588"/>
                </a:lnTo>
                <a:lnTo>
                  <a:pt x="3106" y="2588"/>
                </a:lnTo>
                <a:lnTo>
                  <a:pt x="3106" y="2586"/>
                </a:lnTo>
                <a:lnTo>
                  <a:pt x="3108" y="2580"/>
                </a:lnTo>
                <a:lnTo>
                  <a:pt x="3112" y="2572"/>
                </a:lnTo>
                <a:lnTo>
                  <a:pt x="3112" y="2570"/>
                </a:lnTo>
                <a:lnTo>
                  <a:pt x="3108" y="2568"/>
                </a:lnTo>
                <a:lnTo>
                  <a:pt x="3104" y="2568"/>
                </a:lnTo>
                <a:lnTo>
                  <a:pt x="3098" y="2570"/>
                </a:lnTo>
                <a:lnTo>
                  <a:pt x="3088" y="2576"/>
                </a:lnTo>
                <a:lnTo>
                  <a:pt x="3076" y="2580"/>
                </a:lnTo>
                <a:lnTo>
                  <a:pt x="3070" y="2582"/>
                </a:lnTo>
                <a:lnTo>
                  <a:pt x="3064" y="2582"/>
                </a:lnTo>
                <a:lnTo>
                  <a:pt x="3060" y="2580"/>
                </a:lnTo>
                <a:lnTo>
                  <a:pt x="3058" y="2578"/>
                </a:lnTo>
                <a:lnTo>
                  <a:pt x="3060" y="2574"/>
                </a:lnTo>
                <a:lnTo>
                  <a:pt x="3064" y="2570"/>
                </a:lnTo>
                <a:lnTo>
                  <a:pt x="3076" y="2560"/>
                </a:lnTo>
                <a:lnTo>
                  <a:pt x="3092" y="2546"/>
                </a:lnTo>
                <a:close/>
                <a:moveTo>
                  <a:pt x="4624" y="6618"/>
                </a:moveTo>
                <a:lnTo>
                  <a:pt x="4624" y="6618"/>
                </a:lnTo>
                <a:lnTo>
                  <a:pt x="4628" y="6626"/>
                </a:lnTo>
                <a:lnTo>
                  <a:pt x="4624" y="6618"/>
                </a:lnTo>
                <a:close/>
                <a:moveTo>
                  <a:pt x="3752" y="4008"/>
                </a:moveTo>
                <a:lnTo>
                  <a:pt x="3752" y="4008"/>
                </a:lnTo>
                <a:lnTo>
                  <a:pt x="3760" y="4004"/>
                </a:lnTo>
                <a:lnTo>
                  <a:pt x="3768" y="4002"/>
                </a:lnTo>
                <a:lnTo>
                  <a:pt x="3776" y="4002"/>
                </a:lnTo>
                <a:lnTo>
                  <a:pt x="3782" y="4002"/>
                </a:lnTo>
                <a:lnTo>
                  <a:pt x="3786" y="3998"/>
                </a:lnTo>
                <a:lnTo>
                  <a:pt x="3788" y="3994"/>
                </a:lnTo>
                <a:lnTo>
                  <a:pt x="3790" y="3992"/>
                </a:lnTo>
                <a:lnTo>
                  <a:pt x="3786" y="3990"/>
                </a:lnTo>
                <a:lnTo>
                  <a:pt x="3778" y="3990"/>
                </a:lnTo>
                <a:lnTo>
                  <a:pt x="3774" y="3988"/>
                </a:lnTo>
                <a:lnTo>
                  <a:pt x="3770" y="3984"/>
                </a:lnTo>
                <a:lnTo>
                  <a:pt x="3766" y="3978"/>
                </a:lnTo>
                <a:lnTo>
                  <a:pt x="3760" y="3974"/>
                </a:lnTo>
                <a:lnTo>
                  <a:pt x="3752" y="3970"/>
                </a:lnTo>
                <a:lnTo>
                  <a:pt x="3736" y="3968"/>
                </a:lnTo>
                <a:lnTo>
                  <a:pt x="3722" y="3966"/>
                </a:lnTo>
                <a:lnTo>
                  <a:pt x="3722" y="3964"/>
                </a:lnTo>
                <a:lnTo>
                  <a:pt x="3726" y="3960"/>
                </a:lnTo>
                <a:lnTo>
                  <a:pt x="3726" y="3958"/>
                </a:lnTo>
                <a:lnTo>
                  <a:pt x="3728" y="3954"/>
                </a:lnTo>
                <a:lnTo>
                  <a:pt x="3726" y="3950"/>
                </a:lnTo>
                <a:lnTo>
                  <a:pt x="3724" y="3948"/>
                </a:lnTo>
                <a:lnTo>
                  <a:pt x="3720" y="3948"/>
                </a:lnTo>
                <a:lnTo>
                  <a:pt x="3712" y="3948"/>
                </a:lnTo>
                <a:lnTo>
                  <a:pt x="3708" y="3948"/>
                </a:lnTo>
                <a:lnTo>
                  <a:pt x="3706" y="3944"/>
                </a:lnTo>
                <a:lnTo>
                  <a:pt x="3702" y="3942"/>
                </a:lnTo>
                <a:lnTo>
                  <a:pt x="3700" y="3942"/>
                </a:lnTo>
                <a:lnTo>
                  <a:pt x="3696" y="3942"/>
                </a:lnTo>
                <a:lnTo>
                  <a:pt x="3692" y="3944"/>
                </a:lnTo>
                <a:lnTo>
                  <a:pt x="3690" y="3944"/>
                </a:lnTo>
                <a:lnTo>
                  <a:pt x="3688" y="3940"/>
                </a:lnTo>
                <a:lnTo>
                  <a:pt x="3684" y="3936"/>
                </a:lnTo>
                <a:lnTo>
                  <a:pt x="3682" y="3936"/>
                </a:lnTo>
                <a:lnTo>
                  <a:pt x="3678" y="3934"/>
                </a:lnTo>
                <a:lnTo>
                  <a:pt x="3670" y="3928"/>
                </a:lnTo>
                <a:lnTo>
                  <a:pt x="3656" y="3912"/>
                </a:lnTo>
                <a:lnTo>
                  <a:pt x="3650" y="3910"/>
                </a:lnTo>
                <a:lnTo>
                  <a:pt x="3650" y="3914"/>
                </a:lnTo>
                <a:lnTo>
                  <a:pt x="3650" y="3916"/>
                </a:lnTo>
                <a:lnTo>
                  <a:pt x="3650" y="3918"/>
                </a:lnTo>
                <a:lnTo>
                  <a:pt x="3646" y="3916"/>
                </a:lnTo>
                <a:lnTo>
                  <a:pt x="3644" y="3912"/>
                </a:lnTo>
                <a:lnTo>
                  <a:pt x="3644" y="3906"/>
                </a:lnTo>
                <a:lnTo>
                  <a:pt x="3644" y="3902"/>
                </a:lnTo>
                <a:lnTo>
                  <a:pt x="3642" y="3902"/>
                </a:lnTo>
                <a:lnTo>
                  <a:pt x="3636" y="3900"/>
                </a:lnTo>
                <a:lnTo>
                  <a:pt x="3626" y="3898"/>
                </a:lnTo>
                <a:lnTo>
                  <a:pt x="3618" y="3894"/>
                </a:lnTo>
                <a:lnTo>
                  <a:pt x="3610" y="3890"/>
                </a:lnTo>
                <a:lnTo>
                  <a:pt x="3602" y="3884"/>
                </a:lnTo>
                <a:lnTo>
                  <a:pt x="3594" y="3882"/>
                </a:lnTo>
                <a:lnTo>
                  <a:pt x="3584" y="3882"/>
                </a:lnTo>
                <a:lnTo>
                  <a:pt x="3580" y="3880"/>
                </a:lnTo>
                <a:lnTo>
                  <a:pt x="3576" y="3880"/>
                </a:lnTo>
                <a:lnTo>
                  <a:pt x="3572" y="3876"/>
                </a:lnTo>
                <a:lnTo>
                  <a:pt x="3566" y="3868"/>
                </a:lnTo>
                <a:lnTo>
                  <a:pt x="3560" y="3862"/>
                </a:lnTo>
                <a:lnTo>
                  <a:pt x="3554" y="3858"/>
                </a:lnTo>
                <a:lnTo>
                  <a:pt x="3550" y="3856"/>
                </a:lnTo>
                <a:lnTo>
                  <a:pt x="3544" y="3856"/>
                </a:lnTo>
                <a:lnTo>
                  <a:pt x="3536" y="3854"/>
                </a:lnTo>
                <a:lnTo>
                  <a:pt x="3534" y="3854"/>
                </a:lnTo>
                <a:lnTo>
                  <a:pt x="3530" y="3850"/>
                </a:lnTo>
                <a:lnTo>
                  <a:pt x="3526" y="3846"/>
                </a:lnTo>
                <a:lnTo>
                  <a:pt x="3524" y="3846"/>
                </a:lnTo>
                <a:lnTo>
                  <a:pt x="3520" y="3846"/>
                </a:lnTo>
                <a:lnTo>
                  <a:pt x="3514" y="3848"/>
                </a:lnTo>
                <a:lnTo>
                  <a:pt x="3510" y="3848"/>
                </a:lnTo>
                <a:lnTo>
                  <a:pt x="3506" y="3844"/>
                </a:lnTo>
                <a:lnTo>
                  <a:pt x="3502" y="3840"/>
                </a:lnTo>
                <a:lnTo>
                  <a:pt x="3498" y="3842"/>
                </a:lnTo>
                <a:lnTo>
                  <a:pt x="3496" y="3844"/>
                </a:lnTo>
                <a:lnTo>
                  <a:pt x="3492" y="3846"/>
                </a:lnTo>
                <a:lnTo>
                  <a:pt x="3486" y="3846"/>
                </a:lnTo>
                <a:lnTo>
                  <a:pt x="3478" y="3844"/>
                </a:lnTo>
                <a:lnTo>
                  <a:pt x="3468" y="3842"/>
                </a:lnTo>
                <a:lnTo>
                  <a:pt x="3462" y="3842"/>
                </a:lnTo>
                <a:lnTo>
                  <a:pt x="3458" y="3842"/>
                </a:lnTo>
                <a:lnTo>
                  <a:pt x="3456" y="3844"/>
                </a:lnTo>
                <a:lnTo>
                  <a:pt x="3448" y="3850"/>
                </a:lnTo>
                <a:lnTo>
                  <a:pt x="3444" y="3850"/>
                </a:lnTo>
                <a:lnTo>
                  <a:pt x="3436" y="3852"/>
                </a:lnTo>
                <a:lnTo>
                  <a:pt x="3420" y="3854"/>
                </a:lnTo>
                <a:lnTo>
                  <a:pt x="3406" y="3858"/>
                </a:lnTo>
                <a:lnTo>
                  <a:pt x="3394" y="3864"/>
                </a:lnTo>
                <a:lnTo>
                  <a:pt x="3386" y="3870"/>
                </a:lnTo>
                <a:lnTo>
                  <a:pt x="3380" y="3876"/>
                </a:lnTo>
                <a:lnTo>
                  <a:pt x="3376" y="3882"/>
                </a:lnTo>
                <a:lnTo>
                  <a:pt x="3374" y="3888"/>
                </a:lnTo>
                <a:lnTo>
                  <a:pt x="3374" y="3894"/>
                </a:lnTo>
                <a:lnTo>
                  <a:pt x="3374" y="3898"/>
                </a:lnTo>
                <a:lnTo>
                  <a:pt x="3372" y="3902"/>
                </a:lnTo>
                <a:lnTo>
                  <a:pt x="3364" y="3904"/>
                </a:lnTo>
                <a:lnTo>
                  <a:pt x="3354" y="3904"/>
                </a:lnTo>
                <a:lnTo>
                  <a:pt x="3352" y="3906"/>
                </a:lnTo>
                <a:lnTo>
                  <a:pt x="3352" y="3910"/>
                </a:lnTo>
                <a:lnTo>
                  <a:pt x="3352" y="3912"/>
                </a:lnTo>
                <a:lnTo>
                  <a:pt x="3354" y="3912"/>
                </a:lnTo>
                <a:lnTo>
                  <a:pt x="3360" y="3914"/>
                </a:lnTo>
                <a:lnTo>
                  <a:pt x="3364" y="3912"/>
                </a:lnTo>
                <a:lnTo>
                  <a:pt x="3366" y="3912"/>
                </a:lnTo>
                <a:lnTo>
                  <a:pt x="3368" y="3914"/>
                </a:lnTo>
                <a:lnTo>
                  <a:pt x="3370" y="3916"/>
                </a:lnTo>
                <a:lnTo>
                  <a:pt x="3374" y="3914"/>
                </a:lnTo>
                <a:lnTo>
                  <a:pt x="3380" y="3910"/>
                </a:lnTo>
                <a:lnTo>
                  <a:pt x="3390" y="3908"/>
                </a:lnTo>
                <a:lnTo>
                  <a:pt x="3390" y="3904"/>
                </a:lnTo>
                <a:lnTo>
                  <a:pt x="3394" y="3900"/>
                </a:lnTo>
                <a:lnTo>
                  <a:pt x="3402" y="3894"/>
                </a:lnTo>
                <a:lnTo>
                  <a:pt x="3414" y="3890"/>
                </a:lnTo>
                <a:lnTo>
                  <a:pt x="3420" y="3886"/>
                </a:lnTo>
                <a:lnTo>
                  <a:pt x="3426" y="3880"/>
                </a:lnTo>
                <a:lnTo>
                  <a:pt x="3434" y="3876"/>
                </a:lnTo>
                <a:lnTo>
                  <a:pt x="3442" y="3872"/>
                </a:lnTo>
                <a:lnTo>
                  <a:pt x="3450" y="3870"/>
                </a:lnTo>
                <a:lnTo>
                  <a:pt x="3460" y="3868"/>
                </a:lnTo>
                <a:lnTo>
                  <a:pt x="3474" y="3870"/>
                </a:lnTo>
                <a:lnTo>
                  <a:pt x="3482" y="3874"/>
                </a:lnTo>
                <a:lnTo>
                  <a:pt x="3484" y="3876"/>
                </a:lnTo>
                <a:lnTo>
                  <a:pt x="3482" y="3876"/>
                </a:lnTo>
                <a:lnTo>
                  <a:pt x="3474" y="3880"/>
                </a:lnTo>
                <a:lnTo>
                  <a:pt x="3466" y="3884"/>
                </a:lnTo>
                <a:lnTo>
                  <a:pt x="3466" y="3886"/>
                </a:lnTo>
                <a:lnTo>
                  <a:pt x="3468" y="3888"/>
                </a:lnTo>
                <a:lnTo>
                  <a:pt x="3478" y="3894"/>
                </a:lnTo>
                <a:lnTo>
                  <a:pt x="3486" y="3898"/>
                </a:lnTo>
                <a:lnTo>
                  <a:pt x="3496" y="3900"/>
                </a:lnTo>
                <a:lnTo>
                  <a:pt x="3514" y="3900"/>
                </a:lnTo>
                <a:lnTo>
                  <a:pt x="3524" y="3900"/>
                </a:lnTo>
                <a:lnTo>
                  <a:pt x="3532" y="3902"/>
                </a:lnTo>
                <a:lnTo>
                  <a:pt x="3536" y="3904"/>
                </a:lnTo>
                <a:lnTo>
                  <a:pt x="3540" y="3908"/>
                </a:lnTo>
                <a:lnTo>
                  <a:pt x="3550" y="3914"/>
                </a:lnTo>
                <a:lnTo>
                  <a:pt x="3556" y="3918"/>
                </a:lnTo>
                <a:lnTo>
                  <a:pt x="3564" y="3922"/>
                </a:lnTo>
                <a:lnTo>
                  <a:pt x="3574" y="3924"/>
                </a:lnTo>
                <a:lnTo>
                  <a:pt x="3580" y="3926"/>
                </a:lnTo>
                <a:lnTo>
                  <a:pt x="3592" y="3926"/>
                </a:lnTo>
                <a:lnTo>
                  <a:pt x="3596" y="3926"/>
                </a:lnTo>
                <a:lnTo>
                  <a:pt x="3600" y="3926"/>
                </a:lnTo>
                <a:lnTo>
                  <a:pt x="3604" y="3930"/>
                </a:lnTo>
                <a:lnTo>
                  <a:pt x="3606" y="3934"/>
                </a:lnTo>
                <a:lnTo>
                  <a:pt x="3610" y="3946"/>
                </a:lnTo>
                <a:lnTo>
                  <a:pt x="3616" y="3958"/>
                </a:lnTo>
                <a:lnTo>
                  <a:pt x="3620" y="3962"/>
                </a:lnTo>
                <a:lnTo>
                  <a:pt x="3624" y="3966"/>
                </a:lnTo>
                <a:lnTo>
                  <a:pt x="3630" y="3968"/>
                </a:lnTo>
                <a:lnTo>
                  <a:pt x="3638" y="3968"/>
                </a:lnTo>
                <a:lnTo>
                  <a:pt x="3654" y="3970"/>
                </a:lnTo>
                <a:lnTo>
                  <a:pt x="3662" y="3972"/>
                </a:lnTo>
                <a:lnTo>
                  <a:pt x="3666" y="3974"/>
                </a:lnTo>
                <a:lnTo>
                  <a:pt x="3668" y="3978"/>
                </a:lnTo>
                <a:lnTo>
                  <a:pt x="3668" y="3982"/>
                </a:lnTo>
                <a:lnTo>
                  <a:pt x="3666" y="3986"/>
                </a:lnTo>
                <a:lnTo>
                  <a:pt x="3662" y="3990"/>
                </a:lnTo>
                <a:lnTo>
                  <a:pt x="3648" y="4000"/>
                </a:lnTo>
                <a:lnTo>
                  <a:pt x="3642" y="4004"/>
                </a:lnTo>
                <a:lnTo>
                  <a:pt x="3640" y="4008"/>
                </a:lnTo>
                <a:lnTo>
                  <a:pt x="3642" y="4010"/>
                </a:lnTo>
                <a:lnTo>
                  <a:pt x="3648" y="4010"/>
                </a:lnTo>
                <a:lnTo>
                  <a:pt x="3678" y="4008"/>
                </a:lnTo>
                <a:lnTo>
                  <a:pt x="3698" y="4006"/>
                </a:lnTo>
                <a:lnTo>
                  <a:pt x="3712" y="4006"/>
                </a:lnTo>
                <a:lnTo>
                  <a:pt x="3720" y="4008"/>
                </a:lnTo>
                <a:lnTo>
                  <a:pt x="3728" y="4010"/>
                </a:lnTo>
                <a:lnTo>
                  <a:pt x="3732" y="4012"/>
                </a:lnTo>
                <a:lnTo>
                  <a:pt x="3736" y="4012"/>
                </a:lnTo>
                <a:lnTo>
                  <a:pt x="3742" y="4012"/>
                </a:lnTo>
                <a:lnTo>
                  <a:pt x="3752" y="4008"/>
                </a:lnTo>
                <a:close/>
                <a:moveTo>
                  <a:pt x="3664" y="4082"/>
                </a:moveTo>
                <a:lnTo>
                  <a:pt x="3664" y="4082"/>
                </a:lnTo>
                <a:lnTo>
                  <a:pt x="3646" y="4080"/>
                </a:lnTo>
                <a:lnTo>
                  <a:pt x="3634" y="4078"/>
                </a:lnTo>
                <a:lnTo>
                  <a:pt x="3624" y="4082"/>
                </a:lnTo>
                <a:lnTo>
                  <a:pt x="3618" y="4088"/>
                </a:lnTo>
                <a:lnTo>
                  <a:pt x="3616" y="4092"/>
                </a:lnTo>
                <a:lnTo>
                  <a:pt x="3614" y="4094"/>
                </a:lnTo>
                <a:lnTo>
                  <a:pt x="3626" y="4098"/>
                </a:lnTo>
                <a:lnTo>
                  <a:pt x="3632" y="4102"/>
                </a:lnTo>
                <a:lnTo>
                  <a:pt x="3634" y="4106"/>
                </a:lnTo>
                <a:lnTo>
                  <a:pt x="3638" y="4110"/>
                </a:lnTo>
                <a:lnTo>
                  <a:pt x="3652" y="4116"/>
                </a:lnTo>
                <a:lnTo>
                  <a:pt x="3664" y="4118"/>
                </a:lnTo>
                <a:lnTo>
                  <a:pt x="3668" y="4116"/>
                </a:lnTo>
                <a:lnTo>
                  <a:pt x="3670" y="4112"/>
                </a:lnTo>
                <a:lnTo>
                  <a:pt x="3672" y="4110"/>
                </a:lnTo>
                <a:lnTo>
                  <a:pt x="3676" y="4110"/>
                </a:lnTo>
                <a:lnTo>
                  <a:pt x="3688" y="4110"/>
                </a:lnTo>
                <a:lnTo>
                  <a:pt x="3696" y="4112"/>
                </a:lnTo>
                <a:lnTo>
                  <a:pt x="3702" y="4112"/>
                </a:lnTo>
                <a:lnTo>
                  <a:pt x="3702" y="4110"/>
                </a:lnTo>
                <a:lnTo>
                  <a:pt x="3702" y="4106"/>
                </a:lnTo>
                <a:lnTo>
                  <a:pt x="3698" y="4100"/>
                </a:lnTo>
                <a:lnTo>
                  <a:pt x="3692" y="4092"/>
                </a:lnTo>
                <a:lnTo>
                  <a:pt x="3680" y="4088"/>
                </a:lnTo>
                <a:lnTo>
                  <a:pt x="3664" y="4082"/>
                </a:lnTo>
                <a:close/>
                <a:moveTo>
                  <a:pt x="4016" y="4068"/>
                </a:moveTo>
                <a:lnTo>
                  <a:pt x="4016" y="4068"/>
                </a:lnTo>
                <a:lnTo>
                  <a:pt x="4004" y="4058"/>
                </a:lnTo>
                <a:lnTo>
                  <a:pt x="4000" y="4054"/>
                </a:lnTo>
                <a:lnTo>
                  <a:pt x="3992" y="4054"/>
                </a:lnTo>
                <a:lnTo>
                  <a:pt x="3982" y="4054"/>
                </a:lnTo>
                <a:lnTo>
                  <a:pt x="3976" y="4052"/>
                </a:lnTo>
                <a:lnTo>
                  <a:pt x="3974" y="4050"/>
                </a:lnTo>
                <a:lnTo>
                  <a:pt x="3974" y="4048"/>
                </a:lnTo>
                <a:lnTo>
                  <a:pt x="3976" y="4046"/>
                </a:lnTo>
                <a:lnTo>
                  <a:pt x="3980" y="4046"/>
                </a:lnTo>
                <a:lnTo>
                  <a:pt x="3988" y="4042"/>
                </a:lnTo>
                <a:lnTo>
                  <a:pt x="3988" y="4040"/>
                </a:lnTo>
                <a:lnTo>
                  <a:pt x="3982" y="4038"/>
                </a:lnTo>
                <a:lnTo>
                  <a:pt x="3970" y="4040"/>
                </a:lnTo>
                <a:lnTo>
                  <a:pt x="3964" y="4040"/>
                </a:lnTo>
                <a:lnTo>
                  <a:pt x="3960" y="4038"/>
                </a:lnTo>
                <a:lnTo>
                  <a:pt x="3958" y="4034"/>
                </a:lnTo>
                <a:lnTo>
                  <a:pt x="3956" y="4030"/>
                </a:lnTo>
                <a:lnTo>
                  <a:pt x="3954" y="4024"/>
                </a:lnTo>
                <a:lnTo>
                  <a:pt x="3952" y="4022"/>
                </a:lnTo>
                <a:lnTo>
                  <a:pt x="3948" y="4022"/>
                </a:lnTo>
                <a:lnTo>
                  <a:pt x="3944" y="4022"/>
                </a:lnTo>
                <a:lnTo>
                  <a:pt x="3938" y="4022"/>
                </a:lnTo>
                <a:lnTo>
                  <a:pt x="3928" y="4016"/>
                </a:lnTo>
                <a:lnTo>
                  <a:pt x="3918" y="4010"/>
                </a:lnTo>
                <a:lnTo>
                  <a:pt x="3914" y="4008"/>
                </a:lnTo>
                <a:lnTo>
                  <a:pt x="3910" y="4010"/>
                </a:lnTo>
                <a:lnTo>
                  <a:pt x="3906" y="4012"/>
                </a:lnTo>
                <a:lnTo>
                  <a:pt x="3902" y="4012"/>
                </a:lnTo>
                <a:lnTo>
                  <a:pt x="3894" y="4010"/>
                </a:lnTo>
                <a:lnTo>
                  <a:pt x="3888" y="4012"/>
                </a:lnTo>
                <a:lnTo>
                  <a:pt x="3886" y="4014"/>
                </a:lnTo>
                <a:lnTo>
                  <a:pt x="3882" y="4018"/>
                </a:lnTo>
                <a:lnTo>
                  <a:pt x="3874" y="4016"/>
                </a:lnTo>
                <a:lnTo>
                  <a:pt x="3868" y="4018"/>
                </a:lnTo>
                <a:lnTo>
                  <a:pt x="3862" y="4016"/>
                </a:lnTo>
                <a:lnTo>
                  <a:pt x="3856" y="4014"/>
                </a:lnTo>
                <a:lnTo>
                  <a:pt x="3844" y="4008"/>
                </a:lnTo>
                <a:lnTo>
                  <a:pt x="3830" y="4008"/>
                </a:lnTo>
                <a:lnTo>
                  <a:pt x="3818" y="4010"/>
                </a:lnTo>
                <a:lnTo>
                  <a:pt x="3814" y="4012"/>
                </a:lnTo>
                <a:lnTo>
                  <a:pt x="3812" y="4016"/>
                </a:lnTo>
                <a:lnTo>
                  <a:pt x="3814" y="4022"/>
                </a:lnTo>
                <a:lnTo>
                  <a:pt x="3818" y="4024"/>
                </a:lnTo>
                <a:lnTo>
                  <a:pt x="3826" y="4024"/>
                </a:lnTo>
                <a:lnTo>
                  <a:pt x="3838" y="4028"/>
                </a:lnTo>
                <a:lnTo>
                  <a:pt x="3842" y="4032"/>
                </a:lnTo>
                <a:lnTo>
                  <a:pt x="3844" y="4034"/>
                </a:lnTo>
                <a:lnTo>
                  <a:pt x="3842" y="4040"/>
                </a:lnTo>
                <a:lnTo>
                  <a:pt x="3840" y="4044"/>
                </a:lnTo>
                <a:lnTo>
                  <a:pt x="3842" y="4050"/>
                </a:lnTo>
                <a:lnTo>
                  <a:pt x="3844" y="4056"/>
                </a:lnTo>
                <a:lnTo>
                  <a:pt x="3852" y="4064"/>
                </a:lnTo>
                <a:lnTo>
                  <a:pt x="3860" y="4074"/>
                </a:lnTo>
                <a:lnTo>
                  <a:pt x="3860" y="4076"/>
                </a:lnTo>
                <a:lnTo>
                  <a:pt x="3854" y="4076"/>
                </a:lnTo>
                <a:lnTo>
                  <a:pt x="3846" y="4078"/>
                </a:lnTo>
                <a:lnTo>
                  <a:pt x="3838" y="4080"/>
                </a:lnTo>
                <a:lnTo>
                  <a:pt x="3828" y="4080"/>
                </a:lnTo>
                <a:lnTo>
                  <a:pt x="3804" y="4076"/>
                </a:lnTo>
                <a:lnTo>
                  <a:pt x="3794" y="4074"/>
                </a:lnTo>
                <a:lnTo>
                  <a:pt x="3784" y="4072"/>
                </a:lnTo>
                <a:lnTo>
                  <a:pt x="3776" y="4074"/>
                </a:lnTo>
                <a:lnTo>
                  <a:pt x="3774" y="4074"/>
                </a:lnTo>
                <a:lnTo>
                  <a:pt x="3772" y="4078"/>
                </a:lnTo>
                <a:lnTo>
                  <a:pt x="3770" y="4082"/>
                </a:lnTo>
                <a:lnTo>
                  <a:pt x="3770" y="4086"/>
                </a:lnTo>
                <a:lnTo>
                  <a:pt x="3772" y="4088"/>
                </a:lnTo>
                <a:lnTo>
                  <a:pt x="3776" y="4090"/>
                </a:lnTo>
                <a:lnTo>
                  <a:pt x="3784" y="4092"/>
                </a:lnTo>
                <a:lnTo>
                  <a:pt x="3788" y="4094"/>
                </a:lnTo>
                <a:lnTo>
                  <a:pt x="3794" y="4100"/>
                </a:lnTo>
                <a:lnTo>
                  <a:pt x="3798" y="4102"/>
                </a:lnTo>
                <a:lnTo>
                  <a:pt x="3800" y="4102"/>
                </a:lnTo>
                <a:lnTo>
                  <a:pt x="3802" y="4098"/>
                </a:lnTo>
                <a:lnTo>
                  <a:pt x="3804" y="4094"/>
                </a:lnTo>
                <a:lnTo>
                  <a:pt x="3808" y="4094"/>
                </a:lnTo>
                <a:lnTo>
                  <a:pt x="3816" y="4094"/>
                </a:lnTo>
                <a:lnTo>
                  <a:pt x="3828" y="4098"/>
                </a:lnTo>
                <a:lnTo>
                  <a:pt x="3836" y="4100"/>
                </a:lnTo>
                <a:lnTo>
                  <a:pt x="3842" y="4098"/>
                </a:lnTo>
                <a:lnTo>
                  <a:pt x="3852" y="4096"/>
                </a:lnTo>
                <a:lnTo>
                  <a:pt x="3858" y="4096"/>
                </a:lnTo>
                <a:lnTo>
                  <a:pt x="3864" y="4096"/>
                </a:lnTo>
                <a:lnTo>
                  <a:pt x="3872" y="4098"/>
                </a:lnTo>
                <a:lnTo>
                  <a:pt x="3882" y="4102"/>
                </a:lnTo>
                <a:lnTo>
                  <a:pt x="3886" y="4110"/>
                </a:lnTo>
                <a:lnTo>
                  <a:pt x="3890" y="4114"/>
                </a:lnTo>
                <a:lnTo>
                  <a:pt x="3894" y="4118"/>
                </a:lnTo>
                <a:lnTo>
                  <a:pt x="3896" y="4118"/>
                </a:lnTo>
                <a:lnTo>
                  <a:pt x="3900" y="4116"/>
                </a:lnTo>
                <a:lnTo>
                  <a:pt x="3902" y="4112"/>
                </a:lnTo>
                <a:lnTo>
                  <a:pt x="3908" y="4104"/>
                </a:lnTo>
                <a:lnTo>
                  <a:pt x="3914" y="4094"/>
                </a:lnTo>
                <a:lnTo>
                  <a:pt x="3920" y="4086"/>
                </a:lnTo>
                <a:lnTo>
                  <a:pt x="3926" y="4084"/>
                </a:lnTo>
                <a:lnTo>
                  <a:pt x="3928" y="4086"/>
                </a:lnTo>
                <a:lnTo>
                  <a:pt x="3930" y="4088"/>
                </a:lnTo>
                <a:lnTo>
                  <a:pt x="3932" y="4094"/>
                </a:lnTo>
                <a:lnTo>
                  <a:pt x="3936" y="4096"/>
                </a:lnTo>
                <a:lnTo>
                  <a:pt x="3942" y="4092"/>
                </a:lnTo>
                <a:lnTo>
                  <a:pt x="3952" y="4086"/>
                </a:lnTo>
                <a:lnTo>
                  <a:pt x="3956" y="4084"/>
                </a:lnTo>
                <a:lnTo>
                  <a:pt x="3964" y="4082"/>
                </a:lnTo>
                <a:lnTo>
                  <a:pt x="3978" y="4082"/>
                </a:lnTo>
                <a:lnTo>
                  <a:pt x="3992" y="4084"/>
                </a:lnTo>
                <a:lnTo>
                  <a:pt x="4002" y="4090"/>
                </a:lnTo>
                <a:lnTo>
                  <a:pt x="4004" y="4090"/>
                </a:lnTo>
                <a:lnTo>
                  <a:pt x="4008" y="4090"/>
                </a:lnTo>
                <a:lnTo>
                  <a:pt x="4012" y="4088"/>
                </a:lnTo>
                <a:lnTo>
                  <a:pt x="4016" y="4086"/>
                </a:lnTo>
                <a:lnTo>
                  <a:pt x="4018" y="4082"/>
                </a:lnTo>
                <a:lnTo>
                  <a:pt x="4018" y="4078"/>
                </a:lnTo>
                <a:lnTo>
                  <a:pt x="4018" y="4072"/>
                </a:lnTo>
                <a:lnTo>
                  <a:pt x="4016" y="4068"/>
                </a:lnTo>
                <a:close/>
                <a:moveTo>
                  <a:pt x="4132" y="7870"/>
                </a:moveTo>
                <a:lnTo>
                  <a:pt x="4132" y="7870"/>
                </a:lnTo>
                <a:lnTo>
                  <a:pt x="4124" y="7870"/>
                </a:lnTo>
                <a:lnTo>
                  <a:pt x="4118" y="7870"/>
                </a:lnTo>
                <a:lnTo>
                  <a:pt x="4112" y="7866"/>
                </a:lnTo>
                <a:lnTo>
                  <a:pt x="4106" y="7864"/>
                </a:lnTo>
                <a:lnTo>
                  <a:pt x="4098" y="7860"/>
                </a:lnTo>
                <a:lnTo>
                  <a:pt x="4090" y="7854"/>
                </a:lnTo>
                <a:lnTo>
                  <a:pt x="4080" y="7846"/>
                </a:lnTo>
                <a:lnTo>
                  <a:pt x="4070" y="7840"/>
                </a:lnTo>
                <a:lnTo>
                  <a:pt x="4058" y="7832"/>
                </a:lnTo>
                <a:lnTo>
                  <a:pt x="4046" y="7820"/>
                </a:lnTo>
                <a:lnTo>
                  <a:pt x="4034" y="7808"/>
                </a:lnTo>
                <a:lnTo>
                  <a:pt x="4028" y="7798"/>
                </a:lnTo>
                <a:lnTo>
                  <a:pt x="4026" y="7788"/>
                </a:lnTo>
                <a:lnTo>
                  <a:pt x="4024" y="7786"/>
                </a:lnTo>
                <a:lnTo>
                  <a:pt x="4020" y="7786"/>
                </a:lnTo>
                <a:lnTo>
                  <a:pt x="4012" y="7784"/>
                </a:lnTo>
                <a:lnTo>
                  <a:pt x="4010" y="7782"/>
                </a:lnTo>
                <a:lnTo>
                  <a:pt x="4010" y="7778"/>
                </a:lnTo>
                <a:lnTo>
                  <a:pt x="4012" y="7774"/>
                </a:lnTo>
                <a:lnTo>
                  <a:pt x="4018" y="7768"/>
                </a:lnTo>
                <a:lnTo>
                  <a:pt x="4018" y="7770"/>
                </a:lnTo>
                <a:lnTo>
                  <a:pt x="4020" y="7772"/>
                </a:lnTo>
                <a:lnTo>
                  <a:pt x="4022" y="7776"/>
                </a:lnTo>
                <a:lnTo>
                  <a:pt x="4024" y="7776"/>
                </a:lnTo>
                <a:lnTo>
                  <a:pt x="4024" y="7772"/>
                </a:lnTo>
                <a:lnTo>
                  <a:pt x="4020" y="7762"/>
                </a:lnTo>
                <a:lnTo>
                  <a:pt x="4006" y="7748"/>
                </a:lnTo>
                <a:lnTo>
                  <a:pt x="4006" y="7884"/>
                </a:lnTo>
                <a:lnTo>
                  <a:pt x="4014" y="7882"/>
                </a:lnTo>
                <a:lnTo>
                  <a:pt x="4016" y="7880"/>
                </a:lnTo>
                <a:lnTo>
                  <a:pt x="4020" y="7878"/>
                </a:lnTo>
                <a:lnTo>
                  <a:pt x="4026" y="7880"/>
                </a:lnTo>
                <a:lnTo>
                  <a:pt x="4040" y="7884"/>
                </a:lnTo>
                <a:lnTo>
                  <a:pt x="4056" y="7886"/>
                </a:lnTo>
                <a:lnTo>
                  <a:pt x="4074" y="7888"/>
                </a:lnTo>
                <a:lnTo>
                  <a:pt x="4080" y="7888"/>
                </a:lnTo>
                <a:lnTo>
                  <a:pt x="4084" y="7890"/>
                </a:lnTo>
                <a:lnTo>
                  <a:pt x="4092" y="7894"/>
                </a:lnTo>
                <a:lnTo>
                  <a:pt x="4096" y="7894"/>
                </a:lnTo>
                <a:lnTo>
                  <a:pt x="4098" y="7892"/>
                </a:lnTo>
                <a:lnTo>
                  <a:pt x="4104" y="7890"/>
                </a:lnTo>
                <a:lnTo>
                  <a:pt x="4110" y="7888"/>
                </a:lnTo>
                <a:lnTo>
                  <a:pt x="4116" y="7886"/>
                </a:lnTo>
                <a:lnTo>
                  <a:pt x="4120" y="7884"/>
                </a:lnTo>
                <a:lnTo>
                  <a:pt x="4122" y="7886"/>
                </a:lnTo>
                <a:lnTo>
                  <a:pt x="4126" y="7890"/>
                </a:lnTo>
                <a:lnTo>
                  <a:pt x="4128" y="7888"/>
                </a:lnTo>
                <a:lnTo>
                  <a:pt x="4130" y="7886"/>
                </a:lnTo>
                <a:lnTo>
                  <a:pt x="4134" y="7886"/>
                </a:lnTo>
                <a:lnTo>
                  <a:pt x="4136" y="7886"/>
                </a:lnTo>
                <a:lnTo>
                  <a:pt x="4138" y="7886"/>
                </a:lnTo>
                <a:lnTo>
                  <a:pt x="4144" y="7878"/>
                </a:lnTo>
                <a:lnTo>
                  <a:pt x="4146" y="7872"/>
                </a:lnTo>
                <a:lnTo>
                  <a:pt x="4144" y="7868"/>
                </a:lnTo>
                <a:lnTo>
                  <a:pt x="4140" y="7868"/>
                </a:lnTo>
                <a:lnTo>
                  <a:pt x="4132" y="7870"/>
                </a:lnTo>
                <a:close/>
                <a:moveTo>
                  <a:pt x="3988" y="7750"/>
                </a:moveTo>
                <a:lnTo>
                  <a:pt x="3988" y="7750"/>
                </a:lnTo>
                <a:lnTo>
                  <a:pt x="3984" y="7750"/>
                </a:lnTo>
                <a:lnTo>
                  <a:pt x="3982" y="7748"/>
                </a:lnTo>
                <a:lnTo>
                  <a:pt x="3980" y="7742"/>
                </a:lnTo>
                <a:lnTo>
                  <a:pt x="3976" y="7738"/>
                </a:lnTo>
                <a:lnTo>
                  <a:pt x="3974" y="7736"/>
                </a:lnTo>
                <a:lnTo>
                  <a:pt x="3972" y="7736"/>
                </a:lnTo>
                <a:lnTo>
                  <a:pt x="3968" y="7740"/>
                </a:lnTo>
                <a:lnTo>
                  <a:pt x="3964" y="7746"/>
                </a:lnTo>
                <a:lnTo>
                  <a:pt x="3960" y="7754"/>
                </a:lnTo>
                <a:lnTo>
                  <a:pt x="3956" y="7758"/>
                </a:lnTo>
                <a:lnTo>
                  <a:pt x="3952" y="7758"/>
                </a:lnTo>
                <a:lnTo>
                  <a:pt x="3946" y="7754"/>
                </a:lnTo>
                <a:lnTo>
                  <a:pt x="3942" y="7752"/>
                </a:lnTo>
                <a:lnTo>
                  <a:pt x="3936" y="7752"/>
                </a:lnTo>
                <a:lnTo>
                  <a:pt x="3934" y="7754"/>
                </a:lnTo>
                <a:lnTo>
                  <a:pt x="3936" y="7756"/>
                </a:lnTo>
                <a:lnTo>
                  <a:pt x="3938" y="7756"/>
                </a:lnTo>
                <a:lnTo>
                  <a:pt x="3940" y="7760"/>
                </a:lnTo>
                <a:lnTo>
                  <a:pt x="3940" y="7762"/>
                </a:lnTo>
                <a:lnTo>
                  <a:pt x="3944" y="7762"/>
                </a:lnTo>
                <a:lnTo>
                  <a:pt x="3946" y="7764"/>
                </a:lnTo>
                <a:lnTo>
                  <a:pt x="3946" y="7768"/>
                </a:lnTo>
                <a:lnTo>
                  <a:pt x="3942" y="7772"/>
                </a:lnTo>
                <a:lnTo>
                  <a:pt x="3940" y="7772"/>
                </a:lnTo>
                <a:lnTo>
                  <a:pt x="3936" y="7766"/>
                </a:lnTo>
                <a:lnTo>
                  <a:pt x="3934" y="7766"/>
                </a:lnTo>
                <a:lnTo>
                  <a:pt x="3932" y="7772"/>
                </a:lnTo>
                <a:lnTo>
                  <a:pt x="3932" y="7782"/>
                </a:lnTo>
                <a:lnTo>
                  <a:pt x="3936" y="7792"/>
                </a:lnTo>
                <a:lnTo>
                  <a:pt x="3940" y="7796"/>
                </a:lnTo>
                <a:lnTo>
                  <a:pt x="3944" y="7796"/>
                </a:lnTo>
                <a:lnTo>
                  <a:pt x="3958" y="7792"/>
                </a:lnTo>
                <a:lnTo>
                  <a:pt x="3970" y="7788"/>
                </a:lnTo>
                <a:lnTo>
                  <a:pt x="3974" y="7788"/>
                </a:lnTo>
                <a:lnTo>
                  <a:pt x="3978" y="7792"/>
                </a:lnTo>
                <a:lnTo>
                  <a:pt x="3978" y="7798"/>
                </a:lnTo>
                <a:lnTo>
                  <a:pt x="3974" y="7802"/>
                </a:lnTo>
                <a:lnTo>
                  <a:pt x="3968" y="7804"/>
                </a:lnTo>
                <a:lnTo>
                  <a:pt x="3962" y="7806"/>
                </a:lnTo>
                <a:lnTo>
                  <a:pt x="3948" y="7812"/>
                </a:lnTo>
                <a:lnTo>
                  <a:pt x="3944" y="7816"/>
                </a:lnTo>
                <a:lnTo>
                  <a:pt x="3944" y="7822"/>
                </a:lnTo>
                <a:lnTo>
                  <a:pt x="3948" y="7830"/>
                </a:lnTo>
                <a:lnTo>
                  <a:pt x="3954" y="7836"/>
                </a:lnTo>
                <a:lnTo>
                  <a:pt x="3962" y="7842"/>
                </a:lnTo>
                <a:lnTo>
                  <a:pt x="3970" y="7846"/>
                </a:lnTo>
                <a:lnTo>
                  <a:pt x="3984" y="7852"/>
                </a:lnTo>
                <a:lnTo>
                  <a:pt x="3990" y="7856"/>
                </a:lnTo>
                <a:lnTo>
                  <a:pt x="3992" y="7858"/>
                </a:lnTo>
                <a:lnTo>
                  <a:pt x="3978" y="7856"/>
                </a:lnTo>
                <a:lnTo>
                  <a:pt x="3972" y="7852"/>
                </a:lnTo>
                <a:lnTo>
                  <a:pt x="3970" y="7850"/>
                </a:lnTo>
                <a:lnTo>
                  <a:pt x="3968" y="7852"/>
                </a:lnTo>
                <a:lnTo>
                  <a:pt x="3966" y="7854"/>
                </a:lnTo>
                <a:lnTo>
                  <a:pt x="3964" y="7852"/>
                </a:lnTo>
                <a:lnTo>
                  <a:pt x="3958" y="7850"/>
                </a:lnTo>
                <a:lnTo>
                  <a:pt x="3952" y="7846"/>
                </a:lnTo>
                <a:lnTo>
                  <a:pt x="3950" y="7846"/>
                </a:lnTo>
                <a:lnTo>
                  <a:pt x="3946" y="7848"/>
                </a:lnTo>
                <a:lnTo>
                  <a:pt x="3944" y="7850"/>
                </a:lnTo>
                <a:lnTo>
                  <a:pt x="3944" y="7852"/>
                </a:lnTo>
                <a:lnTo>
                  <a:pt x="3946" y="7854"/>
                </a:lnTo>
                <a:lnTo>
                  <a:pt x="3946" y="7856"/>
                </a:lnTo>
                <a:lnTo>
                  <a:pt x="3944" y="7856"/>
                </a:lnTo>
                <a:lnTo>
                  <a:pt x="3938" y="7852"/>
                </a:lnTo>
                <a:lnTo>
                  <a:pt x="3918" y="7838"/>
                </a:lnTo>
                <a:lnTo>
                  <a:pt x="3914" y="7836"/>
                </a:lnTo>
                <a:lnTo>
                  <a:pt x="3912" y="7838"/>
                </a:lnTo>
                <a:lnTo>
                  <a:pt x="3914" y="7840"/>
                </a:lnTo>
                <a:lnTo>
                  <a:pt x="3920" y="7846"/>
                </a:lnTo>
                <a:lnTo>
                  <a:pt x="3924" y="7848"/>
                </a:lnTo>
                <a:lnTo>
                  <a:pt x="3926" y="7850"/>
                </a:lnTo>
                <a:lnTo>
                  <a:pt x="3922" y="7850"/>
                </a:lnTo>
                <a:lnTo>
                  <a:pt x="3918" y="7850"/>
                </a:lnTo>
                <a:lnTo>
                  <a:pt x="3914" y="7852"/>
                </a:lnTo>
                <a:lnTo>
                  <a:pt x="3912" y="7856"/>
                </a:lnTo>
                <a:lnTo>
                  <a:pt x="3910" y="7858"/>
                </a:lnTo>
                <a:lnTo>
                  <a:pt x="3904" y="7858"/>
                </a:lnTo>
                <a:lnTo>
                  <a:pt x="3896" y="7852"/>
                </a:lnTo>
                <a:lnTo>
                  <a:pt x="3894" y="7854"/>
                </a:lnTo>
                <a:lnTo>
                  <a:pt x="3894" y="7856"/>
                </a:lnTo>
                <a:lnTo>
                  <a:pt x="3892" y="7856"/>
                </a:lnTo>
                <a:lnTo>
                  <a:pt x="3888" y="7856"/>
                </a:lnTo>
                <a:lnTo>
                  <a:pt x="3878" y="7854"/>
                </a:lnTo>
                <a:lnTo>
                  <a:pt x="3876" y="7854"/>
                </a:lnTo>
                <a:lnTo>
                  <a:pt x="3876" y="7856"/>
                </a:lnTo>
                <a:lnTo>
                  <a:pt x="3880" y="7858"/>
                </a:lnTo>
                <a:lnTo>
                  <a:pt x="3882" y="7862"/>
                </a:lnTo>
                <a:lnTo>
                  <a:pt x="3882" y="7864"/>
                </a:lnTo>
                <a:lnTo>
                  <a:pt x="3878" y="7862"/>
                </a:lnTo>
                <a:lnTo>
                  <a:pt x="3874" y="7860"/>
                </a:lnTo>
                <a:lnTo>
                  <a:pt x="3870" y="7858"/>
                </a:lnTo>
                <a:lnTo>
                  <a:pt x="3870" y="7860"/>
                </a:lnTo>
                <a:lnTo>
                  <a:pt x="3872" y="7864"/>
                </a:lnTo>
                <a:lnTo>
                  <a:pt x="3872" y="7868"/>
                </a:lnTo>
                <a:lnTo>
                  <a:pt x="3872" y="7870"/>
                </a:lnTo>
                <a:lnTo>
                  <a:pt x="3876" y="7870"/>
                </a:lnTo>
                <a:lnTo>
                  <a:pt x="3880" y="7870"/>
                </a:lnTo>
                <a:lnTo>
                  <a:pt x="3886" y="7870"/>
                </a:lnTo>
                <a:lnTo>
                  <a:pt x="3890" y="7870"/>
                </a:lnTo>
                <a:lnTo>
                  <a:pt x="3890" y="7872"/>
                </a:lnTo>
                <a:lnTo>
                  <a:pt x="3892" y="7872"/>
                </a:lnTo>
                <a:lnTo>
                  <a:pt x="3894" y="7868"/>
                </a:lnTo>
                <a:lnTo>
                  <a:pt x="3896" y="7864"/>
                </a:lnTo>
                <a:lnTo>
                  <a:pt x="3898" y="7862"/>
                </a:lnTo>
                <a:lnTo>
                  <a:pt x="3900" y="7864"/>
                </a:lnTo>
                <a:lnTo>
                  <a:pt x="3900" y="7866"/>
                </a:lnTo>
                <a:lnTo>
                  <a:pt x="3898" y="7870"/>
                </a:lnTo>
                <a:lnTo>
                  <a:pt x="3900" y="7872"/>
                </a:lnTo>
                <a:lnTo>
                  <a:pt x="3904" y="7872"/>
                </a:lnTo>
                <a:lnTo>
                  <a:pt x="3908" y="7870"/>
                </a:lnTo>
                <a:lnTo>
                  <a:pt x="3912" y="7868"/>
                </a:lnTo>
                <a:lnTo>
                  <a:pt x="3910" y="7872"/>
                </a:lnTo>
                <a:lnTo>
                  <a:pt x="3908" y="7876"/>
                </a:lnTo>
                <a:lnTo>
                  <a:pt x="3910" y="7876"/>
                </a:lnTo>
                <a:lnTo>
                  <a:pt x="3912" y="7876"/>
                </a:lnTo>
                <a:lnTo>
                  <a:pt x="3916" y="7876"/>
                </a:lnTo>
                <a:lnTo>
                  <a:pt x="3918" y="7880"/>
                </a:lnTo>
                <a:lnTo>
                  <a:pt x="3920" y="7882"/>
                </a:lnTo>
                <a:lnTo>
                  <a:pt x="3924" y="7880"/>
                </a:lnTo>
                <a:lnTo>
                  <a:pt x="3928" y="7880"/>
                </a:lnTo>
                <a:lnTo>
                  <a:pt x="3934" y="7880"/>
                </a:lnTo>
                <a:lnTo>
                  <a:pt x="3938" y="7882"/>
                </a:lnTo>
                <a:lnTo>
                  <a:pt x="3942" y="7880"/>
                </a:lnTo>
                <a:lnTo>
                  <a:pt x="3946" y="7880"/>
                </a:lnTo>
                <a:lnTo>
                  <a:pt x="3948" y="7880"/>
                </a:lnTo>
                <a:lnTo>
                  <a:pt x="3950" y="7882"/>
                </a:lnTo>
                <a:lnTo>
                  <a:pt x="3952" y="7882"/>
                </a:lnTo>
                <a:lnTo>
                  <a:pt x="3954" y="7880"/>
                </a:lnTo>
                <a:lnTo>
                  <a:pt x="3958" y="7880"/>
                </a:lnTo>
                <a:lnTo>
                  <a:pt x="3960" y="7880"/>
                </a:lnTo>
                <a:lnTo>
                  <a:pt x="3962" y="7876"/>
                </a:lnTo>
                <a:lnTo>
                  <a:pt x="3962" y="7874"/>
                </a:lnTo>
                <a:lnTo>
                  <a:pt x="3964" y="7876"/>
                </a:lnTo>
                <a:lnTo>
                  <a:pt x="3966" y="7880"/>
                </a:lnTo>
                <a:lnTo>
                  <a:pt x="3974" y="7884"/>
                </a:lnTo>
                <a:lnTo>
                  <a:pt x="3994" y="7888"/>
                </a:lnTo>
                <a:lnTo>
                  <a:pt x="3998" y="7888"/>
                </a:lnTo>
                <a:lnTo>
                  <a:pt x="4000" y="7886"/>
                </a:lnTo>
                <a:lnTo>
                  <a:pt x="4000" y="7882"/>
                </a:lnTo>
                <a:lnTo>
                  <a:pt x="4002" y="7882"/>
                </a:lnTo>
                <a:lnTo>
                  <a:pt x="4006" y="7884"/>
                </a:lnTo>
                <a:lnTo>
                  <a:pt x="4006" y="7748"/>
                </a:lnTo>
                <a:lnTo>
                  <a:pt x="4004" y="7744"/>
                </a:lnTo>
                <a:lnTo>
                  <a:pt x="4000" y="7744"/>
                </a:lnTo>
                <a:lnTo>
                  <a:pt x="3996" y="7744"/>
                </a:lnTo>
                <a:lnTo>
                  <a:pt x="3992" y="7748"/>
                </a:lnTo>
                <a:lnTo>
                  <a:pt x="3988" y="7750"/>
                </a:lnTo>
                <a:close/>
                <a:moveTo>
                  <a:pt x="3812" y="7278"/>
                </a:moveTo>
                <a:lnTo>
                  <a:pt x="3812" y="7278"/>
                </a:lnTo>
                <a:lnTo>
                  <a:pt x="3812" y="7282"/>
                </a:lnTo>
                <a:lnTo>
                  <a:pt x="3814" y="7286"/>
                </a:lnTo>
                <a:lnTo>
                  <a:pt x="3814" y="7288"/>
                </a:lnTo>
                <a:lnTo>
                  <a:pt x="3814" y="7290"/>
                </a:lnTo>
                <a:lnTo>
                  <a:pt x="3816" y="7292"/>
                </a:lnTo>
                <a:lnTo>
                  <a:pt x="3820" y="7294"/>
                </a:lnTo>
                <a:lnTo>
                  <a:pt x="3826" y="7292"/>
                </a:lnTo>
                <a:lnTo>
                  <a:pt x="3834" y="7286"/>
                </a:lnTo>
                <a:lnTo>
                  <a:pt x="3836" y="7282"/>
                </a:lnTo>
                <a:lnTo>
                  <a:pt x="3834" y="7280"/>
                </a:lnTo>
                <a:lnTo>
                  <a:pt x="3834" y="7278"/>
                </a:lnTo>
                <a:lnTo>
                  <a:pt x="3838" y="7278"/>
                </a:lnTo>
                <a:lnTo>
                  <a:pt x="3840" y="7274"/>
                </a:lnTo>
                <a:lnTo>
                  <a:pt x="3840" y="7270"/>
                </a:lnTo>
                <a:lnTo>
                  <a:pt x="3834" y="7264"/>
                </a:lnTo>
                <a:lnTo>
                  <a:pt x="3830" y="7262"/>
                </a:lnTo>
                <a:lnTo>
                  <a:pt x="3826" y="7264"/>
                </a:lnTo>
                <a:lnTo>
                  <a:pt x="3826" y="7266"/>
                </a:lnTo>
                <a:lnTo>
                  <a:pt x="3824" y="7266"/>
                </a:lnTo>
                <a:lnTo>
                  <a:pt x="3822" y="7266"/>
                </a:lnTo>
                <a:lnTo>
                  <a:pt x="3820" y="7266"/>
                </a:lnTo>
                <a:lnTo>
                  <a:pt x="3820" y="7268"/>
                </a:lnTo>
                <a:lnTo>
                  <a:pt x="3820" y="7272"/>
                </a:lnTo>
                <a:lnTo>
                  <a:pt x="3818" y="7276"/>
                </a:lnTo>
                <a:lnTo>
                  <a:pt x="3816" y="7276"/>
                </a:lnTo>
                <a:lnTo>
                  <a:pt x="3814" y="7276"/>
                </a:lnTo>
                <a:lnTo>
                  <a:pt x="3812" y="7278"/>
                </a:lnTo>
                <a:close/>
                <a:moveTo>
                  <a:pt x="3916" y="7824"/>
                </a:moveTo>
                <a:lnTo>
                  <a:pt x="3916" y="7824"/>
                </a:lnTo>
                <a:lnTo>
                  <a:pt x="3916" y="7830"/>
                </a:lnTo>
                <a:lnTo>
                  <a:pt x="3920" y="7834"/>
                </a:lnTo>
                <a:lnTo>
                  <a:pt x="3938" y="7846"/>
                </a:lnTo>
                <a:lnTo>
                  <a:pt x="3940" y="7846"/>
                </a:lnTo>
                <a:lnTo>
                  <a:pt x="3940" y="7844"/>
                </a:lnTo>
                <a:lnTo>
                  <a:pt x="3938" y="7840"/>
                </a:lnTo>
                <a:lnTo>
                  <a:pt x="3934" y="7836"/>
                </a:lnTo>
                <a:lnTo>
                  <a:pt x="3926" y="7830"/>
                </a:lnTo>
                <a:lnTo>
                  <a:pt x="3928" y="7828"/>
                </a:lnTo>
                <a:lnTo>
                  <a:pt x="3930" y="7830"/>
                </a:lnTo>
                <a:lnTo>
                  <a:pt x="3936" y="7834"/>
                </a:lnTo>
                <a:lnTo>
                  <a:pt x="3938" y="7834"/>
                </a:lnTo>
                <a:lnTo>
                  <a:pt x="3938" y="7830"/>
                </a:lnTo>
                <a:lnTo>
                  <a:pt x="3936" y="7826"/>
                </a:lnTo>
                <a:lnTo>
                  <a:pt x="3932" y="7822"/>
                </a:lnTo>
                <a:lnTo>
                  <a:pt x="3932" y="7816"/>
                </a:lnTo>
                <a:lnTo>
                  <a:pt x="3932" y="7804"/>
                </a:lnTo>
                <a:lnTo>
                  <a:pt x="3930" y="7802"/>
                </a:lnTo>
                <a:lnTo>
                  <a:pt x="3926" y="7806"/>
                </a:lnTo>
                <a:lnTo>
                  <a:pt x="3924" y="7810"/>
                </a:lnTo>
                <a:lnTo>
                  <a:pt x="3922" y="7816"/>
                </a:lnTo>
                <a:lnTo>
                  <a:pt x="3924" y="7820"/>
                </a:lnTo>
                <a:lnTo>
                  <a:pt x="3922" y="7820"/>
                </a:lnTo>
                <a:lnTo>
                  <a:pt x="3918" y="7820"/>
                </a:lnTo>
                <a:lnTo>
                  <a:pt x="3916" y="7824"/>
                </a:lnTo>
                <a:close/>
                <a:moveTo>
                  <a:pt x="3886" y="7846"/>
                </a:moveTo>
                <a:lnTo>
                  <a:pt x="3886" y="7846"/>
                </a:lnTo>
                <a:lnTo>
                  <a:pt x="3890" y="7846"/>
                </a:lnTo>
                <a:lnTo>
                  <a:pt x="3890" y="7844"/>
                </a:lnTo>
                <a:lnTo>
                  <a:pt x="3892" y="7842"/>
                </a:lnTo>
                <a:lnTo>
                  <a:pt x="3896" y="7842"/>
                </a:lnTo>
                <a:lnTo>
                  <a:pt x="3898" y="7846"/>
                </a:lnTo>
                <a:lnTo>
                  <a:pt x="3898" y="7848"/>
                </a:lnTo>
                <a:lnTo>
                  <a:pt x="3898" y="7850"/>
                </a:lnTo>
                <a:lnTo>
                  <a:pt x="3904" y="7852"/>
                </a:lnTo>
                <a:lnTo>
                  <a:pt x="3906" y="7852"/>
                </a:lnTo>
                <a:lnTo>
                  <a:pt x="3908" y="7848"/>
                </a:lnTo>
                <a:lnTo>
                  <a:pt x="3908" y="7838"/>
                </a:lnTo>
                <a:lnTo>
                  <a:pt x="3908" y="7834"/>
                </a:lnTo>
                <a:lnTo>
                  <a:pt x="3904" y="7834"/>
                </a:lnTo>
                <a:lnTo>
                  <a:pt x="3902" y="7834"/>
                </a:lnTo>
                <a:lnTo>
                  <a:pt x="3900" y="7830"/>
                </a:lnTo>
                <a:lnTo>
                  <a:pt x="3896" y="7828"/>
                </a:lnTo>
                <a:lnTo>
                  <a:pt x="3890" y="7826"/>
                </a:lnTo>
                <a:lnTo>
                  <a:pt x="3886" y="7828"/>
                </a:lnTo>
                <a:lnTo>
                  <a:pt x="3884" y="7828"/>
                </a:lnTo>
                <a:lnTo>
                  <a:pt x="3886" y="7832"/>
                </a:lnTo>
                <a:lnTo>
                  <a:pt x="3886" y="7836"/>
                </a:lnTo>
                <a:lnTo>
                  <a:pt x="3884" y="7840"/>
                </a:lnTo>
                <a:lnTo>
                  <a:pt x="3884" y="7842"/>
                </a:lnTo>
                <a:lnTo>
                  <a:pt x="3886" y="7846"/>
                </a:lnTo>
                <a:close/>
                <a:moveTo>
                  <a:pt x="3794" y="7210"/>
                </a:moveTo>
                <a:lnTo>
                  <a:pt x="3794" y="7210"/>
                </a:lnTo>
                <a:lnTo>
                  <a:pt x="3800" y="7210"/>
                </a:lnTo>
                <a:lnTo>
                  <a:pt x="3802" y="7208"/>
                </a:lnTo>
                <a:lnTo>
                  <a:pt x="3802" y="7206"/>
                </a:lnTo>
                <a:lnTo>
                  <a:pt x="3802" y="7204"/>
                </a:lnTo>
                <a:lnTo>
                  <a:pt x="3800" y="7198"/>
                </a:lnTo>
                <a:lnTo>
                  <a:pt x="3800" y="7196"/>
                </a:lnTo>
                <a:lnTo>
                  <a:pt x="3804" y="7194"/>
                </a:lnTo>
                <a:lnTo>
                  <a:pt x="3808" y="7194"/>
                </a:lnTo>
                <a:lnTo>
                  <a:pt x="3808" y="7188"/>
                </a:lnTo>
                <a:lnTo>
                  <a:pt x="3804" y="7184"/>
                </a:lnTo>
                <a:lnTo>
                  <a:pt x="3804" y="7182"/>
                </a:lnTo>
                <a:lnTo>
                  <a:pt x="3806" y="7182"/>
                </a:lnTo>
                <a:lnTo>
                  <a:pt x="3810" y="7180"/>
                </a:lnTo>
                <a:lnTo>
                  <a:pt x="3810" y="7178"/>
                </a:lnTo>
                <a:lnTo>
                  <a:pt x="3802" y="7168"/>
                </a:lnTo>
                <a:lnTo>
                  <a:pt x="3798" y="7162"/>
                </a:lnTo>
                <a:lnTo>
                  <a:pt x="3800" y="7160"/>
                </a:lnTo>
                <a:lnTo>
                  <a:pt x="3802" y="7160"/>
                </a:lnTo>
                <a:lnTo>
                  <a:pt x="3804" y="7158"/>
                </a:lnTo>
                <a:lnTo>
                  <a:pt x="3802" y="7156"/>
                </a:lnTo>
                <a:lnTo>
                  <a:pt x="3802" y="7152"/>
                </a:lnTo>
                <a:lnTo>
                  <a:pt x="3802" y="7150"/>
                </a:lnTo>
                <a:lnTo>
                  <a:pt x="3812" y="7148"/>
                </a:lnTo>
                <a:lnTo>
                  <a:pt x="3814" y="7148"/>
                </a:lnTo>
                <a:lnTo>
                  <a:pt x="3816" y="7146"/>
                </a:lnTo>
                <a:lnTo>
                  <a:pt x="3816" y="7142"/>
                </a:lnTo>
                <a:lnTo>
                  <a:pt x="3810" y="7130"/>
                </a:lnTo>
                <a:lnTo>
                  <a:pt x="3808" y="7122"/>
                </a:lnTo>
                <a:lnTo>
                  <a:pt x="3804" y="7122"/>
                </a:lnTo>
                <a:lnTo>
                  <a:pt x="3800" y="7122"/>
                </a:lnTo>
                <a:lnTo>
                  <a:pt x="3794" y="7122"/>
                </a:lnTo>
                <a:lnTo>
                  <a:pt x="3794" y="7120"/>
                </a:lnTo>
                <a:lnTo>
                  <a:pt x="3792" y="7118"/>
                </a:lnTo>
                <a:lnTo>
                  <a:pt x="3790" y="7118"/>
                </a:lnTo>
                <a:lnTo>
                  <a:pt x="3786" y="7120"/>
                </a:lnTo>
                <a:lnTo>
                  <a:pt x="3786" y="7122"/>
                </a:lnTo>
                <a:lnTo>
                  <a:pt x="3786" y="7128"/>
                </a:lnTo>
                <a:lnTo>
                  <a:pt x="3788" y="7134"/>
                </a:lnTo>
                <a:lnTo>
                  <a:pt x="3786" y="7140"/>
                </a:lnTo>
                <a:lnTo>
                  <a:pt x="3782" y="7146"/>
                </a:lnTo>
                <a:lnTo>
                  <a:pt x="3780" y="7152"/>
                </a:lnTo>
                <a:lnTo>
                  <a:pt x="3780" y="7160"/>
                </a:lnTo>
                <a:lnTo>
                  <a:pt x="3782" y="7166"/>
                </a:lnTo>
                <a:lnTo>
                  <a:pt x="3782" y="7172"/>
                </a:lnTo>
                <a:lnTo>
                  <a:pt x="3778" y="7186"/>
                </a:lnTo>
                <a:lnTo>
                  <a:pt x="3774" y="7198"/>
                </a:lnTo>
                <a:lnTo>
                  <a:pt x="3776" y="7202"/>
                </a:lnTo>
                <a:lnTo>
                  <a:pt x="3776" y="7204"/>
                </a:lnTo>
                <a:lnTo>
                  <a:pt x="3784" y="7208"/>
                </a:lnTo>
                <a:lnTo>
                  <a:pt x="3794" y="7210"/>
                </a:lnTo>
                <a:close/>
                <a:moveTo>
                  <a:pt x="3820" y="7234"/>
                </a:moveTo>
                <a:lnTo>
                  <a:pt x="3820" y="7234"/>
                </a:lnTo>
                <a:lnTo>
                  <a:pt x="3818" y="7238"/>
                </a:lnTo>
                <a:lnTo>
                  <a:pt x="3818" y="7240"/>
                </a:lnTo>
                <a:lnTo>
                  <a:pt x="3820" y="7242"/>
                </a:lnTo>
                <a:lnTo>
                  <a:pt x="3822" y="7242"/>
                </a:lnTo>
                <a:lnTo>
                  <a:pt x="3822" y="7238"/>
                </a:lnTo>
                <a:lnTo>
                  <a:pt x="3822" y="7234"/>
                </a:lnTo>
                <a:lnTo>
                  <a:pt x="3820" y="7234"/>
                </a:lnTo>
                <a:close/>
                <a:moveTo>
                  <a:pt x="3798" y="7230"/>
                </a:moveTo>
                <a:lnTo>
                  <a:pt x="3798" y="7230"/>
                </a:lnTo>
                <a:lnTo>
                  <a:pt x="3796" y="7228"/>
                </a:lnTo>
                <a:lnTo>
                  <a:pt x="3794" y="7228"/>
                </a:lnTo>
                <a:lnTo>
                  <a:pt x="3792" y="7230"/>
                </a:lnTo>
                <a:lnTo>
                  <a:pt x="3788" y="7230"/>
                </a:lnTo>
                <a:lnTo>
                  <a:pt x="3784" y="7230"/>
                </a:lnTo>
                <a:lnTo>
                  <a:pt x="3782" y="7232"/>
                </a:lnTo>
                <a:lnTo>
                  <a:pt x="3784" y="7234"/>
                </a:lnTo>
                <a:lnTo>
                  <a:pt x="3788" y="7238"/>
                </a:lnTo>
                <a:lnTo>
                  <a:pt x="3790" y="7238"/>
                </a:lnTo>
                <a:lnTo>
                  <a:pt x="3792" y="7236"/>
                </a:lnTo>
                <a:lnTo>
                  <a:pt x="3798" y="7236"/>
                </a:lnTo>
                <a:lnTo>
                  <a:pt x="3798" y="7234"/>
                </a:lnTo>
                <a:lnTo>
                  <a:pt x="3798" y="7230"/>
                </a:lnTo>
                <a:close/>
                <a:moveTo>
                  <a:pt x="3790" y="7312"/>
                </a:moveTo>
                <a:lnTo>
                  <a:pt x="3790" y="7312"/>
                </a:lnTo>
                <a:lnTo>
                  <a:pt x="3792" y="7312"/>
                </a:lnTo>
                <a:lnTo>
                  <a:pt x="3796" y="7312"/>
                </a:lnTo>
                <a:lnTo>
                  <a:pt x="3798" y="7314"/>
                </a:lnTo>
                <a:lnTo>
                  <a:pt x="3802" y="7314"/>
                </a:lnTo>
                <a:lnTo>
                  <a:pt x="3802" y="7312"/>
                </a:lnTo>
                <a:lnTo>
                  <a:pt x="3798" y="7302"/>
                </a:lnTo>
                <a:lnTo>
                  <a:pt x="3796" y="7300"/>
                </a:lnTo>
                <a:lnTo>
                  <a:pt x="3794" y="7300"/>
                </a:lnTo>
                <a:lnTo>
                  <a:pt x="3790" y="7302"/>
                </a:lnTo>
                <a:lnTo>
                  <a:pt x="3786" y="7302"/>
                </a:lnTo>
                <a:lnTo>
                  <a:pt x="3782" y="7302"/>
                </a:lnTo>
                <a:lnTo>
                  <a:pt x="3780" y="7304"/>
                </a:lnTo>
                <a:lnTo>
                  <a:pt x="3782" y="7306"/>
                </a:lnTo>
                <a:lnTo>
                  <a:pt x="3784" y="7308"/>
                </a:lnTo>
                <a:lnTo>
                  <a:pt x="3788" y="7308"/>
                </a:lnTo>
                <a:lnTo>
                  <a:pt x="3790" y="7312"/>
                </a:lnTo>
                <a:close/>
                <a:moveTo>
                  <a:pt x="3774" y="7298"/>
                </a:moveTo>
                <a:lnTo>
                  <a:pt x="3774" y="7298"/>
                </a:lnTo>
                <a:lnTo>
                  <a:pt x="3774" y="7300"/>
                </a:lnTo>
                <a:lnTo>
                  <a:pt x="3778" y="7298"/>
                </a:lnTo>
                <a:lnTo>
                  <a:pt x="3782" y="7298"/>
                </a:lnTo>
                <a:lnTo>
                  <a:pt x="3790" y="7296"/>
                </a:lnTo>
                <a:lnTo>
                  <a:pt x="3792" y="7296"/>
                </a:lnTo>
                <a:lnTo>
                  <a:pt x="3790" y="7296"/>
                </a:lnTo>
                <a:lnTo>
                  <a:pt x="3786" y="7292"/>
                </a:lnTo>
                <a:lnTo>
                  <a:pt x="3782" y="7290"/>
                </a:lnTo>
                <a:lnTo>
                  <a:pt x="3778" y="7292"/>
                </a:lnTo>
                <a:lnTo>
                  <a:pt x="3774" y="7298"/>
                </a:lnTo>
                <a:close/>
                <a:moveTo>
                  <a:pt x="3778" y="7284"/>
                </a:moveTo>
                <a:lnTo>
                  <a:pt x="3778" y="7284"/>
                </a:lnTo>
                <a:lnTo>
                  <a:pt x="3782" y="7284"/>
                </a:lnTo>
                <a:lnTo>
                  <a:pt x="3786" y="7284"/>
                </a:lnTo>
                <a:lnTo>
                  <a:pt x="3792" y="7282"/>
                </a:lnTo>
                <a:lnTo>
                  <a:pt x="3794" y="7280"/>
                </a:lnTo>
                <a:lnTo>
                  <a:pt x="3794" y="7278"/>
                </a:lnTo>
                <a:lnTo>
                  <a:pt x="3792" y="7278"/>
                </a:lnTo>
                <a:lnTo>
                  <a:pt x="3788" y="7276"/>
                </a:lnTo>
                <a:lnTo>
                  <a:pt x="3778" y="7276"/>
                </a:lnTo>
                <a:lnTo>
                  <a:pt x="3774" y="7278"/>
                </a:lnTo>
                <a:lnTo>
                  <a:pt x="3772" y="7280"/>
                </a:lnTo>
                <a:lnTo>
                  <a:pt x="3774" y="7282"/>
                </a:lnTo>
                <a:lnTo>
                  <a:pt x="3778" y="7284"/>
                </a:lnTo>
                <a:close/>
                <a:moveTo>
                  <a:pt x="3800" y="7272"/>
                </a:moveTo>
                <a:lnTo>
                  <a:pt x="3800" y="7272"/>
                </a:lnTo>
                <a:lnTo>
                  <a:pt x="3796" y="7274"/>
                </a:lnTo>
                <a:lnTo>
                  <a:pt x="3796" y="7276"/>
                </a:lnTo>
                <a:lnTo>
                  <a:pt x="3798" y="7282"/>
                </a:lnTo>
                <a:lnTo>
                  <a:pt x="3800" y="7284"/>
                </a:lnTo>
                <a:lnTo>
                  <a:pt x="3804" y="7282"/>
                </a:lnTo>
                <a:lnTo>
                  <a:pt x="3806" y="7280"/>
                </a:lnTo>
                <a:lnTo>
                  <a:pt x="3806" y="7276"/>
                </a:lnTo>
                <a:lnTo>
                  <a:pt x="3802" y="7274"/>
                </a:lnTo>
                <a:lnTo>
                  <a:pt x="3800" y="7272"/>
                </a:lnTo>
                <a:close/>
                <a:moveTo>
                  <a:pt x="3804" y="7324"/>
                </a:moveTo>
                <a:lnTo>
                  <a:pt x="3804" y="7324"/>
                </a:lnTo>
                <a:lnTo>
                  <a:pt x="3800" y="7326"/>
                </a:lnTo>
                <a:lnTo>
                  <a:pt x="3798" y="7330"/>
                </a:lnTo>
                <a:lnTo>
                  <a:pt x="3798" y="7336"/>
                </a:lnTo>
                <a:lnTo>
                  <a:pt x="3800" y="7340"/>
                </a:lnTo>
                <a:lnTo>
                  <a:pt x="3802" y="7342"/>
                </a:lnTo>
                <a:lnTo>
                  <a:pt x="3804" y="7340"/>
                </a:lnTo>
                <a:lnTo>
                  <a:pt x="3804" y="7334"/>
                </a:lnTo>
                <a:lnTo>
                  <a:pt x="3806" y="7328"/>
                </a:lnTo>
                <a:lnTo>
                  <a:pt x="3806" y="7326"/>
                </a:lnTo>
                <a:lnTo>
                  <a:pt x="3804" y="7324"/>
                </a:lnTo>
                <a:close/>
                <a:moveTo>
                  <a:pt x="3774" y="7342"/>
                </a:moveTo>
                <a:lnTo>
                  <a:pt x="3774" y="7342"/>
                </a:lnTo>
                <a:lnTo>
                  <a:pt x="3776" y="7340"/>
                </a:lnTo>
                <a:lnTo>
                  <a:pt x="3780" y="7334"/>
                </a:lnTo>
                <a:lnTo>
                  <a:pt x="3782" y="7332"/>
                </a:lnTo>
                <a:lnTo>
                  <a:pt x="3780" y="7330"/>
                </a:lnTo>
                <a:lnTo>
                  <a:pt x="3776" y="7326"/>
                </a:lnTo>
                <a:lnTo>
                  <a:pt x="3772" y="7326"/>
                </a:lnTo>
                <a:lnTo>
                  <a:pt x="3770" y="7328"/>
                </a:lnTo>
                <a:lnTo>
                  <a:pt x="3770" y="7330"/>
                </a:lnTo>
                <a:lnTo>
                  <a:pt x="3770" y="7332"/>
                </a:lnTo>
                <a:lnTo>
                  <a:pt x="3772" y="7336"/>
                </a:lnTo>
                <a:lnTo>
                  <a:pt x="3772" y="7340"/>
                </a:lnTo>
                <a:lnTo>
                  <a:pt x="3772" y="7342"/>
                </a:lnTo>
                <a:lnTo>
                  <a:pt x="3774" y="7342"/>
                </a:lnTo>
                <a:close/>
                <a:moveTo>
                  <a:pt x="3792" y="7332"/>
                </a:moveTo>
                <a:lnTo>
                  <a:pt x="3792" y="7332"/>
                </a:lnTo>
                <a:lnTo>
                  <a:pt x="3790" y="7332"/>
                </a:lnTo>
                <a:lnTo>
                  <a:pt x="3786" y="7332"/>
                </a:lnTo>
                <a:lnTo>
                  <a:pt x="3786" y="7336"/>
                </a:lnTo>
                <a:lnTo>
                  <a:pt x="3786" y="7338"/>
                </a:lnTo>
                <a:lnTo>
                  <a:pt x="3788" y="7340"/>
                </a:lnTo>
                <a:lnTo>
                  <a:pt x="3792" y="7338"/>
                </a:lnTo>
                <a:lnTo>
                  <a:pt x="3792" y="7336"/>
                </a:lnTo>
                <a:lnTo>
                  <a:pt x="3792" y="7332"/>
                </a:lnTo>
                <a:close/>
                <a:moveTo>
                  <a:pt x="3796" y="7352"/>
                </a:moveTo>
                <a:lnTo>
                  <a:pt x="3796" y="7352"/>
                </a:lnTo>
                <a:lnTo>
                  <a:pt x="3800" y="7348"/>
                </a:lnTo>
                <a:lnTo>
                  <a:pt x="3802" y="7346"/>
                </a:lnTo>
                <a:lnTo>
                  <a:pt x="3800" y="7344"/>
                </a:lnTo>
                <a:lnTo>
                  <a:pt x="3796" y="7344"/>
                </a:lnTo>
                <a:lnTo>
                  <a:pt x="3794" y="7346"/>
                </a:lnTo>
                <a:lnTo>
                  <a:pt x="3792" y="7350"/>
                </a:lnTo>
                <a:lnTo>
                  <a:pt x="3792" y="7354"/>
                </a:lnTo>
                <a:lnTo>
                  <a:pt x="3796" y="7352"/>
                </a:lnTo>
                <a:close/>
                <a:moveTo>
                  <a:pt x="3746" y="7354"/>
                </a:moveTo>
                <a:lnTo>
                  <a:pt x="3746" y="7354"/>
                </a:lnTo>
                <a:lnTo>
                  <a:pt x="3746" y="7356"/>
                </a:lnTo>
                <a:lnTo>
                  <a:pt x="3746" y="7358"/>
                </a:lnTo>
                <a:lnTo>
                  <a:pt x="3744" y="7358"/>
                </a:lnTo>
                <a:lnTo>
                  <a:pt x="3746" y="7360"/>
                </a:lnTo>
                <a:lnTo>
                  <a:pt x="3748" y="7362"/>
                </a:lnTo>
                <a:lnTo>
                  <a:pt x="3750" y="7362"/>
                </a:lnTo>
                <a:lnTo>
                  <a:pt x="3756" y="7358"/>
                </a:lnTo>
                <a:lnTo>
                  <a:pt x="3758" y="7354"/>
                </a:lnTo>
                <a:lnTo>
                  <a:pt x="3758" y="7350"/>
                </a:lnTo>
                <a:lnTo>
                  <a:pt x="3758" y="7348"/>
                </a:lnTo>
                <a:lnTo>
                  <a:pt x="3758" y="7346"/>
                </a:lnTo>
                <a:lnTo>
                  <a:pt x="3754" y="7346"/>
                </a:lnTo>
                <a:lnTo>
                  <a:pt x="3746" y="7348"/>
                </a:lnTo>
                <a:lnTo>
                  <a:pt x="3744" y="7350"/>
                </a:lnTo>
                <a:lnTo>
                  <a:pt x="3746" y="7354"/>
                </a:lnTo>
                <a:close/>
                <a:moveTo>
                  <a:pt x="3772" y="7272"/>
                </a:moveTo>
                <a:lnTo>
                  <a:pt x="3772" y="7272"/>
                </a:lnTo>
                <a:lnTo>
                  <a:pt x="3776" y="7270"/>
                </a:lnTo>
                <a:lnTo>
                  <a:pt x="3778" y="7268"/>
                </a:lnTo>
                <a:lnTo>
                  <a:pt x="3780" y="7266"/>
                </a:lnTo>
                <a:lnTo>
                  <a:pt x="3778" y="7264"/>
                </a:lnTo>
                <a:lnTo>
                  <a:pt x="3776" y="7264"/>
                </a:lnTo>
                <a:lnTo>
                  <a:pt x="3770" y="7266"/>
                </a:lnTo>
                <a:lnTo>
                  <a:pt x="3768" y="7268"/>
                </a:lnTo>
                <a:lnTo>
                  <a:pt x="3768" y="7270"/>
                </a:lnTo>
                <a:lnTo>
                  <a:pt x="3768" y="7272"/>
                </a:lnTo>
                <a:lnTo>
                  <a:pt x="3772" y="7272"/>
                </a:lnTo>
                <a:close/>
                <a:moveTo>
                  <a:pt x="3786" y="7272"/>
                </a:moveTo>
                <a:lnTo>
                  <a:pt x="3786" y="7272"/>
                </a:lnTo>
                <a:lnTo>
                  <a:pt x="3792" y="7272"/>
                </a:lnTo>
                <a:lnTo>
                  <a:pt x="3792" y="7268"/>
                </a:lnTo>
                <a:lnTo>
                  <a:pt x="3790" y="7268"/>
                </a:lnTo>
                <a:lnTo>
                  <a:pt x="3786" y="7268"/>
                </a:lnTo>
                <a:lnTo>
                  <a:pt x="3778" y="7272"/>
                </a:lnTo>
                <a:lnTo>
                  <a:pt x="3786" y="7272"/>
                </a:lnTo>
                <a:close/>
                <a:moveTo>
                  <a:pt x="3786" y="7256"/>
                </a:moveTo>
                <a:lnTo>
                  <a:pt x="3786" y="7256"/>
                </a:lnTo>
                <a:lnTo>
                  <a:pt x="3788" y="7260"/>
                </a:lnTo>
                <a:lnTo>
                  <a:pt x="3790" y="7258"/>
                </a:lnTo>
                <a:lnTo>
                  <a:pt x="3792" y="7256"/>
                </a:lnTo>
                <a:lnTo>
                  <a:pt x="3790" y="7252"/>
                </a:lnTo>
                <a:lnTo>
                  <a:pt x="3786" y="7252"/>
                </a:lnTo>
                <a:lnTo>
                  <a:pt x="3786" y="7256"/>
                </a:lnTo>
                <a:close/>
                <a:moveTo>
                  <a:pt x="3800" y="7238"/>
                </a:moveTo>
                <a:lnTo>
                  <a:pt x="3800" y="7238"/>
                </a:lnTo>
                <a:lnTo>
                  <a:pt x="3800" y="7242"/>
                </a:lnTo>
                <a:lnTo>
                  <a:pt x="3800" y="7244"/>
                </a:lnTo>
                <a:lnTo>
                  <a:pt x="3802" y="7248"/>
                </a:lnTo>
                <a:lnTo>
                  <a:pt x="3804" y="7248"/>
                </a:lnTo>
                <a:lnTo>
                  <a:pt x="3806" y="7246"/>
                </a:lnTo>
                <a:lnTo>
                  <a:pt x="3804" y="7242"/>
                </a:lnTo>
                <a:lnTo>
                  <a:pt x="3802" y="7240"/>
                </a:lnTo>
                <a:lnTo>
                  <a:pt x="3800" y="7238"/>
                </a:lnTo>
                <a:close/>
                <a:moveTo>
                  <a:pt x="3756" y="7220"/>
                </a:moveTo>
                <a:lnTo>
                  <a:pt x="3756" y="7220"/>
                </a:lnTo>
                <a:lnTo>
                  <a:pt x="3758" y="7222"/>
                </a:lnTo>
                <a:lnTo>
                  <a:pt x="3762" y="7220"/>
                </a:lnTo>
                <a:lnTo>
                  <a:pt x="3764" y="7220"/>
                </a:lnTo>
                <a:lnTo>
                  <a:pt x="3762" y="7216"/>
                </a:lnTo>
                <a:lnTo>
                  <a:pt x="3760" y="7216"/>
                </a:lnTo>
                <a:lnTo>
                  <a:pt x="3756" y="7216"/>
                </a:lnTo>
                <a:lnTo>
                  <a:pt x="3754" y="7218"/>
                </a:lnTo>
                <a:lnTo>
                  <a:pt x="3756" y="7220"/>
                </a:lnTo>
                <a:close/>
                <a:moveTo>
                  <a:pt x="3762" y="7342"/>
                </a:moveTo>
                <a:lnTo>
                  <a:pt x="3762" y="7342"/>
                </a:lnTo>
                <a:lnTo>
                  <a:pt x="3766" y="7340"/>
                </a:lnTo>
                <a:lnTo>
                  <a:pt x="3766" y="7338"/>
                </a:lnTo>
                <a:lnTo>
                  <a:pt x="3766" y="7334"/>
                </a:lnTo>
                <a:lnTo>
                  <a:pt x="3764" y="7332"/>
                </a:lnTo>
                <a:lnTo>
                  <a:pt x="3762" y="7334"/>
                </a:lnTo>
                <a:lnTo>
                  <a:pt x="3760" y="7338"/>
                </a:lnTo>
                <a:lnTo>
                  <a:pt x="3760" y="7340"/>
                </a:lnTo>
                <a:lnTo>
                  <a:pt x="3762" y="7342"/>
                </a:lnTo>
                <a:close/>
                <a:moveTo>
                  <a:pt x="3790" y="7328"/>
                </a:moveTo>
                <a:lnTo>
                  <a:pt x="3790" y="7328"/>
                </a:lnTo>
                <a:lnTo>
                  <a:pt x="3792" y="7328"/>
                </a:lnTo>
                <a:lnTo>
                  <a:pt x="3794" y="7326"/>
                </a:lnTo>
                <a:lnTo>
                  <a:pt x="3796" y="7324"/>
                </a:lnTo>
                <a:lnTo>
                  <a:pt x="3794" y="7324"/>
                </a:lnTo>
                <a:lnTo>
                  <a:pt x="3790" y="7322"/>
                </a:lnTo>
                <a:lnTo>
                  <a:pt x="3788" y="7322"/>
                </a:lnTo>
                <a:lnTo>
                  <a:pt x="3786" y="7324"/>
                </a:lnTo>
                <a:lnTo>
                  <a:pt x="3786" y="7328"/>
                </a:lnTo>
                <a:lnTo>
                  <a:pt x="3790" y="7328"/>
                </a:lnTo>
                <a:close/>
                <a:moveTo>
                  <a:pt x="3800" y="7296"/>
                </a:moveTo>
                <a:lnTo>
                  <a:pt x="3800" y="7296"/>
                </a:lnTo>
                <a:lnTo>
                  <a:pt x="3800" y="7294"/>
                </a:lnTo>
                <a:lnTo>
                  <a:pt x="3798" y="7290"/>
                </a:lnTo>
                <a:lnTo>
                  <a:pt x="3796" y="7286"/>
                </a:lnTo>
                <a:lnTo>
                  <a:pt x="3794" y="7286"/>
                </a:lnTo>
                <a:lnTo>
                  <a:pt x="3792" y="7290"/>
                </a:lnTo>
                <a:lnTo>
                  <a:pt x="3794" y="7292"/>
                </a:lnTo>
                <a:lnTo>
                  <a:pt x="3796" y="7296"/>
                </a:lnTo>
                <a:lnTo>
                  <a:pt x="3800" y="7296"/>
                </a:lnTo>
                <a:close/>
                <a:moveTo>
                  <a:pt x="4018" y="7914"/>
                </a:moveTo>
                <a:lnTo>
                  <a:pt x="4018" y="7914"/>
                </a:lnTo>
                <a:lnTo>
                  <a:pt x="4014" y="7912"/>
                </a:lnTo>
                <a:lnTo>
                  <a:pt x="4016" y="7910"/>
                </a:lnTo>
                <a:lnTo>
                  <a:pt x="4020" y="7910"/>
                </a:lnTo>
                <a:lnTo>
                  <a:pt x="4022" y="7908"/>
                </a:lnTo>
                <a:lnTo>
                  <a:pt x="4020" y="7908"/>
                </a:lnTo>
                <a:lnTo>
                  <a:pt x="4016" y="7904"/>
                </a:lnTo>
                <a:lnTo>
                  <a:pt x="4006" y="7904"/>
                </a:lnTo>
                <a:lnTo>
                  <a:pt x="4002" y="7902"/>
                </a:lnTo>
                <a:lnTo>
                  <a:pt x="4010" y="7900"/>
                </a:lnTo>
                <a:lnTo>
                  <a:pt x="4016" y="7898"/>
                </a:lnTo>
                <a:lnTo>
                  <a:pt x="4018" y="7896"/>
                </a:lnTo>
                <a:lnTo>
                  <a:pt x="4016" y="7892"/>
                </a:lnTo>
                <a:lnTo>
                  <a:pt x="4014" y="7890"/>
                </a:lnTo>
                <a:lnTo>
                  <a:pt x="4008" y="7890"/>
                </a:lnTo>
                <a:lnTo>
                  <a:pt x="4002" y="7890"/>
                </a:lnTo>
                <a:lnTo>
                  <a:pt x="3994" y="7892"/>
                </a:lnTo>
                <a:lnTo>
                  <a:pt x="3988" y="7892"/>
                </a:lnTo>
                <a:lnTo>
                  <a:pt x="3982" y="7892"/>
                </a:lnTo>
                <a:lnTo>
                  <a:pt x="3976" y="7894"/>
                </a:lnTo>
                <a:lnTo>
                  <a:pt x="3958" y="7898"/>
                </a:lnTo>
                <a:lnTo>
                  <a:pt x="3952" y="7900"/>
                </a:lnTo>
                <a:lnTo>
                  <a:pt x="3950" y="7900"/>
                </a:lnTo>
                <a:lnTo>
                  <a:pt x="3950" y="7902"/>
                </a:lnTo>
                <a:lnTo>
                  <a:pt x="3960" y="7908"/>
                </a:lnTo>
                <a:lnTo>
                  <a:pt x="3962" y="7908"/>
                </a:lnTo>
                <a:lnTo>
                  <a:pt x="3962" y="7910"/>
                </a:lnTo>
                <a:lnTo>
                  <a:pt x="3960" y="7910"/>
                </a:lnTo>
                <a:lnTo>
                  <a:pt x="3958" y="7912"/>
                </a:lnTo>
                <a:lnTo>
                  <a:pt x="3966" y="7916"/>
                </a:lnTo>
                <a:lnTo>
                  <a:pt x="3972" y="7918"/>
                </a:lnTo>
                <a:lnTo>
                  <a:pt x="3976" y="7920"/>
                </a:lnTo>
                <a:lnTo>
                  <a:pt x="3982" y="7924"/>
                </a:lnTo>
                <a:lnTo>
                  <a:pt x="3986" y="7924"/>
                </a:lnTo>
                <a:lnTo>
                  <a:pt x="3986" y="7922"/>
                </a:lnTo>
                <a:lnTo>
                  <a:pt x="3978" y="7912"/>
                </a:lnTo>
                <a:lnTo>
                  <a:pt x="3976" y="7908"/>
                </a:lnTo>
                <a:lnTo>
                  <a:pt x="3978" y="7906"/>
                </a:lnTo>
                <a:lnTo>
                  <a:pt x="3982" y="7906"/>
                </a:lnTo>
                <a:lnTo>
                  <a:pt x="3986" y="7908"/>
                </a:lnTo>
                <a:lnTo>
                  <a:pt x="3990" y="7908"/>
                </a:lnTo>
                <a:lnTo>
                  <a:pt x="3994" y="7908"/>
                </a:lnTo>
                <a:lnTo>
                  <a:pt x="3996" y="7906"/>
                </a:lnTo>
                <a:lnTo>
                  <a:pt x="3996" y="7908"/>
                </a:lnTo>
                <a:lnTo>
                  <a:pt x="3994" y="7916"/>
                </a:lnTo>
                <a:lnTo>
                  <a:pt x="3994" y="7920"/>
                </a:lnTo>
                <a:lnTo>
                  <a:pt x="3996" y="7922"/>
                </a:lnTo>
                <a:lnTo>
                  <a:pt x="3998" y="7924"/>
                </a:lnTo>
                <a:lnTo>
                  <a:pt x="4000" y="7924"/>
                </a:lnTo>
                <a:lnTo>
                  <a:pt x="4002" y="7922"/>
                </a:lnTo>
                <a:lnTo>
                  <a:pt x="4006" y="7920"/>
                </a:lnTo>
                <a:lnTo>
                  <a:pt x="4008" y="7920"/>
                </a:lnTo>
                <a:lnTo>
                  <a:pt x="4008" y="7922"/>
                </a:lnTo>
                <a:lnTo>
                  <a:pt x="4012" y="7924"/>
                </a:lnTo>
                <a:lnTo>
                  <a:pt x="4014" y="7924"/>
                </a:lnTo>
                <a:lnTo>
                  <a:pt x="4018" y="7924"/>
                </a:lnTo>
                <a:lnTo>
                  <a:pt x="4020" y="7928"/>
                </a:lnTo>
                <a:lnTo>
                  <a:pt x="4020" y="7930"/>
                </a:lnTo>
                <a:lnTo>
                  <a:pt x="4022" y="7930"/>
                </a:lnTo>
                <a:lnTo>
                  <a:pt x="4026" y="7934"/>
                </a:lnTo>
                <a:lnTo>
                  <a:pt x="4028" y="7936"/>
                </a:lnTo>
                <a:lnTo>
                  <a:pt x="4030" y="7934"/>
                </a:lnTo>
                <a:lnTo>
                  <a:pt x="4032" y="7930"/>
                </a:lnTo>
                <a:lnTo>
                  <a:pt x="4030" y="7926"/>
                </a:lnTo>
                <a:lnTo>
                  <a:pt x="4028" y="7924"/>
                </a:lnTo>
                <a:lnTo>
                  <a:pt x="4028" y="7922"/>
                </a:lnTo>
                <a:lnTo>
                  <a:pt x="4026" y="7918"/>
                </a:lnTo>
                <a:lnTo>
                  <a:pt x="4018" y="7914"/>
                </a:lnTo>
                <a:close/>
                <a:moveTo>
                  <a:pt x="3972" y="7890"/>
                </a:moveTo>
                <a:lnTo>
                  <a:pt x="3972" y="7890"/>
                </a:lnTo>
                <a:lnTo>
                  <a:pt x="3980" y="7888"/>
                </a:lnTo>
                <a:lnTo>
                  <a:pt x="3968" y="7886"/>
                </a:lnTo>
                <a:lnTo>
                  <a:pt x="3962" y="7884"/>
                </a:lnTo>
                <a:lnTo>
                  <a:pt x="3956" y="7886"/>
                </a:lnTo>
                <a:lnTo>
                  <a:pt x="3946" y="7888"/>
                </a:lnTo>
                <a:lnTo>
                  <a:pt x="3944" y="7890"/>
                </a:lnTo>
                <a:lnTo>
                  <a:pt x="3944" y="7892"/>
                </a:lnTo>
                <a:lnTo>
                  <a:pt x="3952" y="7894"/>
                </a:lnTo>
                <a:lnTo>
                  <a:pt x="3958" y="7894"/>
                </a:lnTo>
                <a:lnTo>
                  <a:pt x="3972" y="7890"/>
                </a:lnTo>
                <a:close/>
                <a:moveTo>
                  <a:pt x="3932" y="7886"/>
                </a:moveTo>
                <a:lnTo>
                  <a:pt x="3932" y="7886"/>
                </a:lnTo>
                <a:lnTo>
                  <a:pt x="3924" y="7888"/>
                </a:lnTo>
                <a:lnTo>
                  <a:pt x="3922" y="7890"/>
                </a:lnTo>
                <a:lnTo>
                  <a:pt x="3918" y="7890"/>
                </a:lnTo>
                <a:lnTo>
                  <a:pt x="3910" y="7890"/>
                </a:lnTo>
                <a:lnTo>
                  <a:pt x="3910" y="7892"/>
                </a:lnTo>
                <a:lnTo>
                  <a:pt x="3910" y="7894"/>
                </a:lnTo>
                <a:lnTo>
                  <a:pt x="3912" y="7896"/>
                </a:lnTo>
                <a:lnTo>
                  <a:pt x="3914" y="7898"/>
                </a:lnTo>
                <a:lnTo>
                  <a:pt x="3924" y="7898"/>
                </a:lnTo>
                <a:lnTo>
                  <a:pt x="3928" y="7900"/>
                </a:lnTo>
                <a:lnTo>
                  <a:pt x="3928" y="7904"/>
                </a:lnTo>
                <a:lnTo>
                  <a:pt x="3928" y="7906"/>
                </a:lnTo>
                <a:lnTo>
                  <a:pt x="3934" y="7904"/>
                </a:lnTo>
                <a:lnTo>
                  <a:pt x="3938" y="7902"/>
                </a:lnTo>
                <a:lnTo>
                  <a:pt x="3938" y="7898"/>
                </a:lnTo>
                <a:lnTo>
                  <a:pt x="3938" y="7896"/>
                </a:lnTo>
                <a:lnTo>
                  <a:pt x="3934" y="7894"/>
                </a:lnTo>
                <a:lnTo>
                  <a:pt x="3928" y="7894"/>
                </a:lnTo>
                <a:lnTo>
                  <a:pt x="3930" y="7892"/>
                </a:lnTo>
                <a:lnTo>
                  <a:pt x="3934" y="7892"/>
                </a:lnTo>
                <a:lnTo>
                  <a:pt x="3940" y="7890"/>
                </a:lnTo>
                <a:lnTo>
                  <a:pt x="3940" y="7888"/>
                </a:lnTo>
                <a:lnTo>
                  <a:pt x="3938" y="7886"/>
                </a:lnTo>
                <a:lnTo>
                  <a:pt x="3932" y="7886"/>
                </a:lnTo>
                <a:close/>
                <a:moveTo>
                  <a:pt x="3908" y="7882"/>
                </a:moveTo>
                <a:lnTo>
                  <a:pt x="3908" y="7882"/>
                </a:lnTo>
                <a:lnTo>
                  <a:pt x="3902" y="7880"/>
                </a:lnTo>
                <a:lnTo>
                  <a:pt x="3898" y="7880"/>
                </a:lnTo>
                <a:lnTo>
                  <a:pt x="3894" y="7882"/>
                </a:lnTo>
                <a:lnTo>
                  <a:pt x="3892" y="7884"/>
                </a:lnTo>
                <a:lnTo>
                  <a:pt x="3892" y="7886"/>
                </a:lnTo>
                <a:lnTo>
                  <a:pt x="3894" y="7886"/>
                </a:lnTo>
                <a:lnTo>
                  <a:pt x="3898" y="7886"/>
                </a:lnTo>
                <a:lnTo>
                  <a:pt x="3902" y="7884"/>
                </a:lnTo>
                <a:lnTo>
                  <a:pt x="3904" y="7884"/>
                </a:lnTo>
                <a:lnTo>
                  <a:pt x="3906" y="7886"/>
                </a:lnTo>
                <a:lnTo>
                  <a:pt x="3910" y="7886"/>
                </a:lnTo>
                <a:lnTo>
                  <a:pt x="3912" y="7886"/>
                </a:lnTo>
                <a:lnTo>
                  <a:pt x="3912" y="7884"/>
                </a:lnTo>
                <a:lnTo>
                  <a:pt x="3910" y="7882"/>
                </a:lnTo>
                <a:lnTo>
                  <a:pt x="3908" y="7882"/>
                </a:lnTo>
                <a:close/>
                <a:moveTo>
                  <a:pt x="4038" y="7944"/>
                </a:moveTo>
                <a:lnTo>
                  <a:pt x="4038" y="7944"/>
                </a:lnTo>
                <a:lnTo>
                  <a:pt x="4040" y="7946"/>
                </a:lnTo>
                <a:lnTo>
                  <a:pt x="4046" y="7946"/>
                </a:lnTo>
                <a:lnTo>
                  <a:pt x="4050" y="7944"/>
                </a:lnTo>
                <a:lnTo>
                  <a:pt x="4052" y="7942"/>
                </a:lnTo>
                <a:lnTo>
                  <a:pt x="4048" y="7940"/>
                </a:lnTo>
                <a:lnTo>
                  <a:pt x="4044" y="7940"/>
                </a:lnTo>
                <a:lnTo>
                  <a:pt x="4038" y="7942"/>
                </a:lnTo>
                <a:lnTo>
                  <a:pt x="4038" y="7944"/>
                </a:lnTo>
                <a:close/>
                <a:moveTo>
                  <a:pt x="4056" y="7930"/>
                </a:moveTo>
                <a:lnTo>
                  <a:pt x="4056" y="7930"/>
                </a:lnTo>
                <a:lnTo>
                  <a:pt x="4054" y="7932"/>
                </a:lnTo>
                <a:lnTo>
                  <a:pt x="4052" y="7932"/>
                </a:lnTo>
                <a:lnTo>
                  <a:pt x="4050" y="7934"/>
                </a:lnTo>
                <a:lnTo>
                  <a:pt x="4050" y="7936"/>
                </a:lnTo>
                <a:lnTo>
                  <a:pt x="4056" y="7940"/>
                </a:lnTo>
                <a:lnTo>
                  <a:pt x="4060" y="7940"/>
                </a:lnTo>
                <a:lnTo>
                  <a:pt x="4060" y="7938"/>
                </a:lnTo>
                <a:lnTo>
                  <a:pt x="4058" y="7932"/>
                </a:lnTo>
                <a:lnTo>
                  <a:pt x="4056" y="7928"/>
                </a:lnTo>
                <a:lnTo>
                  <a:pt x="4056" y="7930"/>
                </a:lnTo>
                <a:close/>
                <a:moveTo>
                  <a:pt x="3872" y="7846"/>
                </a:moveTo>
                <a:lnTo>
                  <a:pt x="3872" y="7846"/>
                </a:lnTo>
                <a:lnTo>
                  <a:pt x="3872" y="7850"/>
                </a:lnTo>
                <a:lnTo>
                  <a:pt x="3874" y="7850"/>
                </a:lnTo>
                <a:lnTo>
                  <a:pt x="3876" y="7850"/>
                </a:lnTo>
                <a:lnTo>
                  <a:pt x="3876" y="7848"/>
                </a:lnTo>
                <a:lnTo>
                  <a:pt x="3876" y="7846"/>
                </a:lnTo>
                <a:lnTo>
                  <a:pt x="3878" y="7844"/>
                </a:lnTo>
                <a:lnTo>
                  <a:pt x="3880" y="7844"/>
                </a:lnTo>
                <a:lnTo>
                  <a:pt x="3880" y="7840"/>
                </a:lnTo>
                <a:lnTo>
                  <a:pt x="3882" y="7838"/>
                </a:lnTo>
                <a:lnTo>
                  <a:pt x="3882" y="7836"/>
                </a:lnTo>
                <a:lnTo>
                  <a:pt x="3882" y="7834"/>
                </a:lnTo>
                <a:lnTo>
                  <a:pt x="3882" y="7832"/>
                </a:lnTo>
                <a:lnTo>
                  <a:pt x="3882" y="7828"/>
                </a:lnTo>
                <a:lnTo>
                  <a:pt x="3884" y="7826"/>
                </a:lnTo>
                <a:lnTo>
                  <a:pt x="3880" y="7824"/>
                </a:lnTo>
                <a:lnTo>
                  <a:pt x="3874" y="7822"/>
                </a:lnTo>
                <a:lnTo>
                  <a:pt x="3872" y="7822"/>
                </a:lnTo>
                <a:lnTo>
                  <a:pt x="3870" y="7824"/>
                </a:lnTo>
                <a:lnTo>
                  <a:pt x="3868" y="7826"/>
                </a:lnTo>
                <a:lnTo>
                  <a:pt x="3866" y="7826"/>
                </a:lnTo>
                <a:lnTo>
                  <a:pt x="3864" y="7824"/>
                </a:lnTo>
                <a:lnTo>
                  <a:pt x="3860" y="7824"/>
                </a:lnTo>
                <a:lnTo>
                  <a:pt x="3860" y="7826"/>
                </a:lnTo>
                <a:lnTo>
                  <a:pt x="3860" y="7828"/>
                </a:lnTo>
                <a:lnTo>
                  <a:pt x="3864" y="7836"/>
                </a:lnTo>
                <a:lnTo>
                  <a:pt x="3872" y="7840"/>
                </a:lnTo>
                <a:lnTo>
                  <a:pt x="3874" y="7842"/>
                </a:lnTo>
                <a:lnTo>
                  <a:pt x="3872" y="7846"/>
                </a:lnTo>
                <a:close/>
                <a:moveTo>
                  <a:pt x="3834" y="7700"/>
                </a:moveTo>
                <a:lnTo>
                  <a:pt x="3834" y="7700"/>
                </a:lnTo>
                <a:lnTo>
                  <a:pt x="3828" y="7706"/>
                </a:lnTo>
                <a:lnTo>
                  <a:pt x="3826" y="7708"/>
                </a:lnTo>
                <a:lnTo>
                  <a:pt x="3826" y="7710"/>
                </a:lnTo>
                <a:lnTo>
                  <a:pt x="3828" y="7710"/>
                </a:lnTo>
                <a:lnTo>
                  <a:pt x="3830" y="7710"/>
                </a:lnTo>
                <a:lnTo>
                  <a:pt x="3834" y="7706"/>
                </a:lnTo>
                <a:lnTo>
                  <a:pt x="3836" y="7702"/>
                </a:lnTo>
                <a:lnTo>
                  <a:pt x="3834" y="7700"/>
                </a:lnTo>
                <a:close/>
                <a:moveTo>
                  <a:pt x="3852" y="7832"/>
                </a:moveTo>
                <a:lnTo>
                  <a:pt x="3852" y="7832"/>
                </a:lnTo>
                <a:lnTo>
                  <a:pt x="3854" y="7834"/>
                </a:lnTo>
                <a:lnTo>
                  <a:pt x="3856" y="7834"/>
                </a:lnTo>
                <a:lnTo>
                  <a:pt x="3854" y="7828"/>
                </a:lnTo>
                <a:lnTo>
                  <a:pt x="3854" y="7826"/>
                </a:lnTo>
                <a:lnTo>
                  <a:pt x="3856" y="7824"/>
                </a:lnTo>
                <a:lnTo>
                  <a:pt x="3858" y="7822"/>
                </a:lnTo>
                <a:lnTo>
                  <a:pt x="3862" y="7820"/>
                </a:lnTo>
                <a:lnTo>
                  <a:pt x="3864" y="7818"/>
                </a:lnTo>
                <a:lnTo>
                  <a:pt x="3862" y="7816"/>
                </a:lnTo>
                <a:lnTo>
                  <a:pt x="3860" y="7814"/>
                </a:lnTo>
                <a:lnTo>
                  <a:pt x="3856" y="7812"/>
                </a:lnTo>
                <a:lnTo>
                  <a:pt x="3854" y="7812"/>
                </a:lnTo>
                <a:lnTo>
                  <a:pt x="3852" y="7808"/>
                </a:lnTo>
                <a:lnTo>
                  <a:pt x="3852" y="7806"/>
                </a:lnTo>
                <a:lnTo>
                  <a:pt x="3848" y="7804"/>
                </a:lnTo>
                <a:lnTo>
                  <a:pt x="3846" y="7802"/>
                </a:lnTo>
                <a:lnTo>
                  <a:pt x="3842" y="7802"/>
                </a:lnTo>
                <a:lnTo>
                  <a:pt x="3840" y="7804"/>
                </a:lnTo>
                <a:lnTo>
                  <a:pt x="3840" y="7802"/>
                </a:lnTo>
                <a:lnTo>
                  <a:pt x="3838" y="7800"/>
                </a:lnTo>
                <a:lnTo>
                  <a:pt x="3836" y="7802"/>
                </a:lnTo>
                <a:lnTo>
                  <a:pt x="3834" y="7804"/>
                </a:lnTo>
                <a:lnTo>
                  <a:pt x="3834" y="7802"/>
                </a:lnTo>
                <a:lnTo>
                  <a:pt x="3834" y="7798"/>
                </a:lnTo>
                <a:lnTo>
                  <a:pt x="3830" y="7794"/>
                </a:lnTo>
                <a:lnTo>
                  <a:pt x="3826" y="7792"/>
                </a:lnTo>
                <a:lnTo>
                  <a:pt x="3824" y="7796"/>
                </a:lnTo>
                <a:lnTo>
                  <a:pt x="3824" y="7798"/>
                </a:lnTo>
                <a:lnTo>
                  <a:pt x="3818" y="7798"/>
                </a:lnTo>
                <a:lnTo>
                  <a:pt x="3816" y="7796"/>
                </a:lnTo>
                <a:lnTo>
                  <a:pt x="3814" y="7798"/>
                </a:lnTo>
                <a:lnTo>
                  <a:pt x="3816" y="7802"/>
                </a:lnTo>
                <a:lnTo>
                  <a:pt x="3818" y="7804"/>
                </a:lnTo>
                <a:lnTo>
                  <a:pt x="3818" y="7806"/>
                </a:lnTo>
                <a:lnTo>
                  <a:pt x="3816" y="7806"/>
                </a:lnTo>
                <a:lnTo>
                  <a:pt x="3810" y="7804"/>
                </a:lnTo>
                <a:lnTo>
                  <a:pt x="3808" y="7804"/>
                </a:lnTo>
                <a:lnTo>
                  <a:pt x="3804" y="7808"/>
                </a:lnTo>
                <a:lnTo>
                  <a:pt x="3804" y="7810"/>
                </a:lnTo>
                <a:lnTo>
                  <a:pt x="3806" y="7810"/>
                </a:lnTo>
                <a:lnTo>
                  <a:pt x="3808" y="7812"/>
                </a:lnTo>
                <a:lnTo>
                  <a:pt x="3808" y="7814"/>
                </a:lnTo>
                <a:lnTo>
                  <a:pt x="3808" y="7816"/>
                </a:lnTo>
                <a:lnTo>
                  <a:pt x="3812" y="7814"/>
                </a:lnTo>
                <a:lnTo>
                  <a:pt x="3816" y="7814"/>
                </a:lnTo>
                <a:lnTo>
                  <a:pt x="3818" y="7814"/>
                </a:lnTo>
                <a:lnTo>
                  <a:pt x="3818" y="7818"/>
                </a:lnTo>
                <a:lnTo>
                  <a:pt x="3818" y="7824"/>
                </a:lnTo>
                <a:lnTo>
                  <a:pt x="3820" y="7828"/>
                </a:lnTo>
                <a:lnTo>
                  <a:pt x="3824" y="7830"/>
                </a:lnTo>
                <a:lnTo>
                  <a:pt x="3826" y="7832"/>
                </a:lnTo>
                <a:lnTo>
                  <a:pt x="3828" y="7830"/>
                </a:lnTo>
                <a:lnTo>
                  <a:pt x="3828" y="7826"/>
                </a:lnTo>
                <a:lnTo>
                  <a:pt x="3828" y="7822"/>
                </a:lnTo>
                <a:lnTo>
                  <a:pt x="3828" y="7820"/>
                </a:lnTo>
                <a:lnTo>
                  <a:pt x="3830" y="7822"/>
                </a:lnTo>
                <a:lnTo>
                  <a:pt x="3834" y="7822"/>
                </a:lnTo>
                <a:lnTo>
                  <a:pt x="3836" y="7822"/>
                </a:lnTo>
                <a:lnTo>
                  <a:pt x="3838" y="7822"/>
                </a:lnTo>
                <a:lnTo>
                  <a:pt x="3838" y="7826"/>
                </a:lnTo>
                <a:lnTo>
                  <a:pt x="3836" y="7830"/>
                </a:lnTo>
                <a:lnTo>
                  <a:pt x="3832" y="7834"/>
                </a:lnTo>
                <a:lnTo>
                  <a:pt x="3830" y="7836"/>
                </a:lnTo>
                <a:lnTo>
                  <a:pt x="3834" y="7838"/>
                </a:lnTo>
                <a:lnTo>
                  <a:pt x="3838" y="7838"/>
                </a:lnTo>
                <a:lnTo>
                  <a:pt x="3842" y="7836"/>
                </a:lnTo>
                <a:lnTo>
                  <a:pt x="3844" y="7834"/>
                </a:lnTo>
                <a:lnTo>
                  <a:pt x="3846" y="7834"/>
                </a:lnTo>
                <a:lnTo>
                  <a:pt x="3848" y="7834"/>
                </a:lnTo>
                <a:lnTo>
                  <a:pt x="3848" y="7832"/>
                </a:lnTo>
                <a:lnTo>
                  <a:pt x="3850" y="7832"/>
                </a:lnTo>
                <a:lnTo>
                  <a:pt x="3852" y="7832"/>
                </a:lnTo>
                <a:close/>
                <a:moveTo>
                  <a:pt x="3856" y="7838"/>
                </a:moveTo>
                <a:lnTo>
                  <a:pt x="3856" y="7838"/>
                </a:lnTo>
                <a:lnTo>
                  <a:pt x="3854" y="7840"/>
                </a:lnTo>
                <a:lnTo>
                  <a:pt x="3850" y="7842"/>
                </a:lnTo>
                <a:lnTo>
                  <a:pt x="3850" y="7846"/>
                </a:lnTo>
                <a:lnTo>
                  <a:pt x="3852" y="7846"/>
                </a:lnTo>
                <a:lnTo>
                  <a:pt x="3854" y="7846"/>
                </a:lnTo>
                <a:lnTo>
                  <a:pt x="3860" y="7842"/>
                </a:lnTo>
                <a:lnTo>
                  <a:pt x="3860" y="7838"/>
                </a:lnTo>
                <a:lnTo>
                  <a:pt x="3860" y="7836"/>
                </a:lnTo>
                <a:lnTo>
                  <a:pt x="3858" y="7836"/>
                </a:lnTo>
                <a:lnTo>
                  <a:pt x="3856" y="7838"/>
                </a:lnTo>
                <a:close/>
                <a:moveTo>
                  <a:pt x="3780" y="7788"/>
                </a:moveTo>
                <a:lnTo>
                  <a:pt x="3780" y="7788"/>
                </a:lnTo>
                <a:lnTo>
                  <a:pt x="3782" y="7788"/>
                </a:lnTo>
                <a:lnTo>
                  <a:pt x="3786" y="7788"/>
                </a:lnTo>
                <a:lnTo>
                  <a:pt x="3786" y="7784"/>
                </a:lnTo>
                <a:lnTo>
                  <a:pt x="3786" y="7782"/>
                </a:lnTo>
                <a:lnTo>
                  <a:pt x="3784" y="7782"/>
                </a:lnTo>
                <a:lnTo>
                  <a:pt x="3782" y="7784"/>
                </a:lnTo>
                <a:lnTo>
                  <a:pt x="3780" y="7786"/>
                </a:lnTo>
                <a:lnTo>
                  <a:pt x="3780" y="7788"/>
                </a:lnTo>
                <a:close/>
                <a:moveTo>
                  <a:pt x="3800" y="7744"/>
                </a:moveTo>
                <a:lnTo>
                  <a:pt x="3800" y="7744"/>
                </a:lnTo>
                <a:lnTo>
                  <a:pt x="3800" y="7742"/>
                </a:lnTo>
                <a:lnTo>
                  <a:pt x="3802" y="7740"/>
                </a:lnTo>
                <a:lnTo>
                  <a:pt x="3802" y="7738"/>
                </a:lnTo>
                <a:lnTo>
                  <a:pt x="3802" y="7734"/>
                </a:lnTo>
                <a:lnTo>
                  <a:pt x="3800" y="7732"/>
                </a:lnTo>
                <a:lnTo>
                  <a:pt x="3798" y="7732"/>
                </a:lnTo>
                <a:lnTo>
                  <a:pt x="3790" y="7740"/>
                </a:lnTo>
                <a:lnTo>
                  <a:pt x="3788" y="7742"/>
                </a:lnTo>
                <a:lnTo>
                  <a:pt x="3788" y="7744"/>
                </a:lnTo>
                <a:lnTo>
                  <a:pt x="3792" y="7752"/>
                </a:lnTo>
                <a:lnTo>
                  <a:pt x="3794" y="7752"/>
                </a:lnTo>
                <a:lnTo>
                  <a:pt x="3796" y="7752"/>
                </a:lnTo>
                <a:lnTo>
                  <a:pt x="3798" y="7748"/>
                </a:lnTo>
                <a:lnTo>
                  <a:pt x="3800" y="7744"/>
                </a:lnTo>
                <a:close/>
                <a:moveTo>
                  <a:pt x="3808" y="7788"/>
                </a:moveTo>
                <a:lnTo>
                  <a:pt x="3808" y="7788"/>
                </a:lnTo>
                <a:lnTo>
                  <a:pt x="3810" y="7790"/>
                </a:lnTo>
                <a:lnTo>
                  <a:pt x="3812" y="7788"/>
                </a:lnTo>
                <a:lnTo>
                  <a:pt x="3814" y="7788"/>
                </a:lnTo>
                <a:lnTo>
                  <a:pt x="3818" y="7790"/>
                </a:lnTo>
                <a:lnTo>
                  <a:pt x="3822" y="7792"/>
                </a:lnTo>
                <a:lnTo>
                  <a:pt x="3824" y="7790"/>
                </a:lnTo>
                <a:lnTo>
                  <a:pt x="3820" y="7786"/>
                </a:lnTo>
                <a:lnTo>
                  <a:pt x="3814" y="7780"/>
                </a:lnTo>
                <a:lnTo>
                  <a:pt x="3812" y="7778"/>
                </a:lnTo>
                <a:lnTo>
                  <a:pt x="3810" y="7778"/>
                </a:lnTo>
                <a:lnTo>
                  <a:pt x="3808" y="7776"/>
                </a:lnTo>
                <a:lnTo>
                  <a:pt x="3806" y="7774"/>
                </a:lnTo>
                <a:lnTo>
                  <a:pt x="3804" y="7772"/>
                </a:lnTo>
                <a:lnTo>
                  <a:pt x="3804" y="7774"/>
                </a:lnTo>
                <a:lnTo>
                  <a:pt x="3802" y="7774"/>
                </a:lnTo>
                <a:lnTo>
                  <a:pt x="3800" y="7774"/>
                </a:lnTo>
                <a:lnTo>
                  <a:pt x="3792" y="7768"/>
                </a:lnTo>
                <a:lnTo>
                  <a:pt x="3780" y="7764"/>
                </a:lnTo>
                <a:lnTo>
                  <a:pt x="3776" y="7762"/>
                </a:lnTo>
                <a:lnTo>
                  <a:pt x="3770" y="7758"/>
                </a:lnTo>
                <a:lnTo>
                  <a:pt x="3764" y="7754"/>
                </a:lnTo>
                <a:lnTo>
                  <a:pt x="3760" y="7752"/>
                </a:lnTo>
                <a:lnTo>
                  <a:pt x="3762" y="7756"/>
                </a:lnTo>
                <a:lnTo>
                  <a:pt x="3766" y="7760"/>
                </a:lnTo>
                <a:lnTo>
                  <a:pt x="3766" y="7762"/>
                </a:lnTo>
                <a:lnTo>
                  <a:pt x="3766" y="7764"/>
                </a:lnTo>
                <a:lnTo>
                  <a:pt x="3768" y="7766"/>
                </a:lnTo>
                <a:lnTo>
                  <a:pt x="3772" y="7768"/>
                </a:lnTo>
                <a:lnTo>
                  <a:pt x="3774" y="7770"/>
                </a:lnTo>
                <a:lnTo>
                  <a:pt x="3778" y="7772"/>
                </a:lnTo>
                <a:lnTo>
                  <a:pt x="3784" y="7774"/>
                </a:lnTo>
                <a:lnTo>
                  <a:pt x="3790" y="7776"/>
                </a:lnTo>
                <a:lnTo>
                  <a:pt x="3792" y="7778"/>
                </a:lnTo>
                <a:lnTo>
                  <a:pt x="3796" y="7780"/>
                </a:lnTo>
                <a:lnTo>
                  <a:pt x="3798" y="7782"/>
                </a:lnTo>
                <a:lnTo>
                  <a:pt x="3800" y="7782"/>
                </a:lnTo>
                <a:lnTo>
                  <a:pt x="3800" y="7780"/>
                </a:lnTo>
                <a:lnTo>
                  <a:pt x="3804" y="7782"/>
                </a:lnTo>
                <a:lnTo>
                  <a:pt x="3806" y="7784"/>
                </a:lnTo>
                <a:lnTo>
                  <a:pt x="3806" y="7786"/>
                </a:lnTo>
                <a:lnTo>
                  <a:pt x="3806" y="7788"/>
                </a:lnTo>
                <a:lnTo>
                  <a:pt x="3808" y="7788"/>
                </a:lnTo>
                <a:close/>
                <a:moveTo>
                  <a:pt x="3790" y="7696"/>
                </a:moveTo>
                <a:lnTo>
                  <a:pt x="3790" y="7696"/>
                </a:lnTo>
                <a:lnTo>
                  <a:pt x="3790" y="7694"/>
                </a:lnTo>
                <a:lnTo>
                  <a:pt x="3790" y="7690"/>
                </a:lnTo>
                <a:lnTo>
                  <a:pt x="3786" y="7680"/>
                </a:lnTo>
                <a:lnTo>
                  <a:pt x="3784" y="7682"/>
                </a:lnTo>
                <a:lnTo>
                  <a:pt x="3784" y="7686"/>
                </a:lnTo>
                <a:lnTo>
                  <a:pt x="3782" y="7688"/>
                </a:lnTo>
                <a:lnTo>
                  <a:pt x="3780" y="7692"/>
                </a:lnTo>
                <a:lnTo>
                  <a:pt x="3784" y="7694"/>
                </a:lnTo>
                <a:lnTo>
                  <a:pt x="3786" y="7696"/>
                </a:lnTo>
                <a:lnTo>
                  <a:pt x="3790" y="7696"/>
                </a:lnTo>
                <a:close/>
                <a:moveTo>
                  <a:pt x="3758" y="7690"/>
                </a:moveTo>
                <a:lnTo>
                  <a:pt x="3758" y="7690"/>
                </a:lnTo>
                <a:lnTo>
                  <a:pt x="3756" y="7686"/>
                </a:lnTo>
                <a:lnTo>
                  <a:pt x="3754" y="7688"/>
                </a:lnTo>
                <a:lnTo>
                  <a:pt x="3754" y="7692"/>
                </a:lnTo>
                <a:lnTo>
                  <a:pt x="3754" y="7696"/>
                </a:lnTo>
                <a:lnTo>
                  <a:pt x="3750" y="7692"/>
                </a:lnTo>
                <a:lnTo>
                  <a:pt x="3750" y="7690"/>
                </a:lnTo>
                <a:lnTo>
                  <a:pt x="3748" y="7690"/>
                </a:lnTo>
                <a:lnTo>
                  <a:pt x="3746" y="7694"/>
                </a:lnTo>
                <a:lnTo>
                  <a:pt x="3746" y="7698"/>
                </a:lnTo>
                <a:lnTo>
                  <a:pt x="3746" y="7702"/>
                </a:lnTo>
                <a:lnTo>
                  <a:pt x="3748" y="7704"/>
                </a:lnTo>
                <a:lnTo>
                  <a:pt x="3748" y="7706"/>
                </a:lnTo>
                <a:lnTo>
                  <a:pt x="3746" y="7708"/>
                </a:lnTo>
                <a:lnTo>
                  <a:pt x="3748" y="7712"/>
                </a:lnTo>
                <a:lnTo>
                  <a:pt x="3750" y="7714"/>
                </a:lnTo>
                <a:lnTo>
                  <a:pt x="3750" y="7716"/>
                </a:lnTo>
                <a:lnTo>
                  <a:pt x="3754" y="7708"/>
                </a:lnTo>
                <a:lnTo>
                  <a:pt x="3758" y="7698"/>
                </a:lnTo>
                <a:lnTo>
                  <a:pt x="3758" y="7694"/>
                </a:lnTo>
                <a:lnTo>
                  <a:pt x="3758" y="7690"/>
                </a:lnTo>
                <a:close/>
                <a:moveTo>
                  <a:pt x="3778" y="7704"/>
                </a:moveTo>
                <a:lnTo>
                  <a:pt x="3778" y="7704"/>
                </a:lnTo>
                <a:lnTo>
                  <a:pt x="3782" y="7704"/>
                </a:lnTo>
                <a:lnTo>
                  <a:pt x="3782" y="7702"/>
                </a:lnTo>
                <a:lnTo>
                  <a:pt x="3782" y="7700"/>
                </a:lnTo>
                <a:lnTo>
                  <a:pt x="3778" y="7694"/>
                </a:lnTo>
                <a:lnTo>
                  <a:pt x="3774" y="7692"/>
                </a:lnTo>
                <a:lnTo>
                  <a:pt x="3772" y="7690"/>
                </a:lnTo>
                <a:lnTo>
                  <a:pt x="3770" y="7692"/>
                </a:lnTo>
                <a:lnTo>
                  <a:pt x="3772" y="7694"/>
                </a:lnTo>
                <a:lnTo>
                  <a:pt x="3772" y="7696"/>
                </a:lnTo>
                <a:lnTo>
                  <a:pt x="3772" y="7698"/>
                </a:lnTo>
                <a:lnTo>
                  <a:pt x="3774" y="7700"/>
                </a:lnTo>
                <a:lnTo>
                  <a:pt x="3778" y="7704"/>
                </a:lnTo>
                <a:close/>
                <a:moveTo>
                  <a:pt x="3786" y="7706"/>
                </a:moveTo>
                <a:lnTo>
                  <a:pt x="3786" y="7706"/>
                </a:lnTo>
                <a:lnTo>
                  <a:pt x="3786" y="7708"/>
                </a:lnTo>
                <a:lnTo>
                  <a:pt x="3788" y="7710"/>
                </a:lnTo>
                <a:lnTo>
                  <a:pt x="3796" y="7716"/>
                </a:lnTo>
                <a:lnTo>
                  <a:pt x="3800" y="7722"/>
                </a:lnTo>
                <a:lnTo>
                  <a:pt x="3802" y="7720"/>
                </a:lnTo>
                <a:lnTo>
                  <a:pt x="3798" y="7714"/>
                </a:lnTo>
                <a:lnTo>
                  <a:pt x="3792" y="7706"/>
                </a:lnTo>
                <a:lnTo>
                  <a:pt x="3788" y="7704"/>
                </a:lnTo>
                <a:lnTo>
                  <a:pt x="3786" y="7706"/>
                </a:lnTo>
                <a:close/>
                <a:moveTo>
                  <a:pt x="3782" y="7732"/>
                </a:moveTo>
                <a:lnTo>
                  <a:pt x="3782" y="7732"/>
                </a:lnTo>
                <a:lnTo>
                  <a:pt x="3784" y="7732"/>
                </a:lnTo>
                <a:lnTo>
                  <a:pt x="3786" y="7732"/>
                </a:lnTo>
                <a:lnTo>
                  <a:pt x="3792" y="7728"/>
                </a:lnTo>
                <a:lnTo>
                  <a:pt x="3794" y="7726"/>
                </a:lnTo>
                <a:lnTo>
                  <a:pt x="3792" y="7724"/>
                </a:lnTo>
                <a:lnTo>
                  <a:pt x="3782" y="7718"/>
                </a:lnTo>
                <a:lnTo>
                  <a:pt x="3778" y="7714"/>
                </a:lnTo>
                <a:lnTo>
                  <a:pt x="3774" y="7714"/>
                </a:lnTo>
                <a:lnTo>
                  <a:pt x="3772" y="7714"/>
                </a:lnTo>
                <a:lnTo>
                  <a:pt x="3774" y="7718"/>
                </a:lnTo>
                <a:lnTo>
                  <a:pt x="3776" y="7718"/>
                </a:lnTo>
                <a:lnTo>
                  <a:pt x="3778" y="7718"/>
                </a:lnTo>
                <a:lnTo>
                  <a:pt x="3780" y="7720"/>
                </a:lnTo>
                <a:lnTo>
                  <a:pt x="3782" y="7722"/>
                </a:lnTo>
                <a:lnTo>
                  <a:pt x="3780" y="7724"/>
                </a:lnTo>
                <a:lnTo>
                  <a:pt x="3780" y="7726"/>
                </a:lnTo>
                <a:lnTo>
                  <a:pt x="3782" y="7732"/>
                </a:lnTo>
                <a:close/>
                <a:moveTo>
                  <a:pt x="3760" y="7702"/>
                </a:moveTo>
                <a:lnTo>
                  <a:pt x="3760" y="7702"/>
                </a:lnTo>
                <a:lnTo>
                  <a:pt x="3756" y="7712"/>
                </a:lnTo>
                <a:lnTo>
                  <a:pt x="3756" y="7716"/>
                </a:lnTo>
                <a:lnTo>
                  <a:pt x="3758" y="7714"/>
                </a:lnTo>
                <a:lnTo>
                  <a:pt x="3760" y="7710"/>
                </a:lnTo>
                <a:lnTo>
                  <a:pt x="3764" y="7704"/>
                </a:lnTo>
                <a:lnTo>
                  <a:pt x="3764" y="7700"/>
                </a:lnTo>
                <a:lnTo>
                  <a:pt x="3764" y="7698"/>
                </a:lnTo>
                <a:lnTo>
                  <a:pt x="3762" y="7698"/>
                </a:lnTo>
                <a:lnTo>
                  <a:pt x="3760" y="7702"/>
                </a:lnTo>
                <a:close/>
                <a:moveTo>
                  <a:pt x="3764" y="7720"/>
                </a:moveTo>
                <a:lnTo>
                  <a:pt x="3764" y="7720"/>
                </a:lnTo>
                <a:lnTo>
                  <a:pt x="3756" y="7720"/>
                </a:lnTo>
                <a:lnTo>
                  <a:pt x="3754" y="7720"/>
                </a:lnTo>
                <a:lnTo>
                  <a:pt x="3752" y="7722"/>
                </a:lnTo>
                <a:lnTo>
                  <a:pt x="3754" y="7724"/>
                </a:lnTo>
                <a:lnTo>
                  <a:pt x="3758" y="7726"/>
                </a:lnTo>
                <a:lnTo>
                  <a:pt x="3762" y="7726"/>
                </a:lnTo>
                <a:lnTo>
                  <a:pt x="3764" y="7724"/>
                </a:lnTo>
                <a:lnTo>
                  <a:pt x="3766" y="7722"/>
                </a:lnTo>
                <a:lnTo>
                  <a:pt x="3764" y="7720"/>
                </a:lnTo>
                <a:close/>
                <a:moveTo>
                  <a:pt x="3744" y="7666"/>
                </a:moveTo>
                <a:lnTo>
                  <a:pt x="3744" y="7666"/>
                </a:lnTo>
                <a:lnTo>
                  <a:pt x="3742" y="7666"/>
                </a:lnTo>
                <a:lnTo>
                  <a:pt x="3740" y="7668"/>
                </a:lnTo>
                <a:lnTo>
                  <a:pt x="3740" y="7676"/>
                </a:lnTo>
                <a:lnTo>
                  <a:pt x="3736" y="7682"/>
                </a:lnTo>
                <a:lnTo>
                  <a:pt x="3736" y="7686"/>
                </a:lnTo>
                <a:lnTo>
                  <a:pt x="3740" y="7686"/>
                </a:lnTo>
                <a:lnTo>
                  <a:pt x="3742" y="7684"/>
                </a:lnTo>
                <a:lnTo>
                  <a:pt x="3744" y="7682"/>
                </a:lnTo>
                <a:lnTo>
                  <a:pt x="3744" y="7678"/>
                </a:lnTo>
                <a:lnTo>
                  <a:pt x="3746" y="7674"/>
                </a:lnTo>
                <a:lnTo>
                  <a:pt x="3748" y="7670"/>
                </a:lnTo>
                <a:lnTo>
                  <a:pt x="3744" y="7666"/>
                </a:lnTo>
                <a:close/>
                <a:moveTo>
                  <a:pt x="3780" y="7668"/>
                </a:moveTo>
                <a:lnTo>
                  <a:pt x="3780" y="7668"/>
                </a:lnTo>
                <a:lnTo>
                  <a:pt x="3778" y="7668"/>
                </a:lnTo>
                <a:lnTo>
                  <a:pt x="3778" y="7670"/>
                </a:lnTo>
                <a:lnTo>
                  <a:pt x="3778" y="7672"/>
                </a:lnTo>
                <a:lnTo>
                  <a:pt x="3782" y="7674"/>
                </a:lnTo>
                <a:lnTo>
                  <a:pt x="3784" y="7674"/>
                </a:lnTo>
                <a:lnTo>
                  <a:pt x="3784" y="7672"/>
                </a:lnTo>
                <a:lnTo>
                  <a:pt x="3782" y="7668"/>
                </a:lnTo>
                <a:lnTo>
                  <a:pt x="3780" y="7668"/>
                </a:lnTo>
                <a:close/>
                <a:moveTo>
                  <a:pt x="3792" y="7664"/>
                </a:moveTo>
                <a:lnTo>
                  <a:pt x="3792" y="7664"/>
                </a:lnTo>
                <a:lnTo>
                  <a:pt x="3790" y="7662"/>
                </a:lnTo>
                <a:lnTo>
                  <a:pt x="3788" y="7662"/>
                </a:lnTo>
                <a:lnTo>
                  <a:pt x="3784" y="7664"/>
                </a:lnTo>
                <a:lnTo>
                  <a:pt x="3784" y="7668"/>
                </a:lnTo>
                <a:lnTo>
                  <a:pt x="3786" y="7670"/>
                </a:lnTo>
                <a:lnTo>
                  <a:pt x="3788" y="7670"/>
                </a:lnTo>
                <a:lnTo>
                  <a:pt x="3790" y="7668"/>
                </a:lnTo>
                <a:lnTo>
                  <a:pt x="3792" y="7664"/>
                </a:lnTo>
                <a:close/>
                <a:moveTo>
                  <a:pt x="3766" y="7668"/>
                </a:moveTo>
                <a:lnTo>
                  <a:pt x="3766" y="7668"/>
                </a:lnTo>
                <a:lnTo>
                  <a:pt x="3766" y="7664"/>
                </a:lnTo>
                <a:lnTo>
                  <a:pt x="3766" y="7662"/>
                </a:lnTo>
                <a:lnTo>
                  <a:pt x="3762" y="7662"/>
                </a:lnTo>
                <a:lnTo>
                  <a:pt x="3758" y="7662"/>
                </a:lnTo>
                <a:lnTo>
                  <a:pt x="3756" y="7664"/>
                </a:lnTo>
                <a:lnTo>
                  <a:pt x="3752" y="7670"/>
                </a:lnTo>
                <a:lnTo>
                  <a:pt x="3748" y="7674"/>
                </a:lnTo>
                <a:lnTo>
                  <a:pt x="3750" y="7676"/>
                </a:lnTo>
                <a:lnTo>
                  <a:pt x="3756" y="7674"/>
                </a:lnTo>
                <a:lnTo>
                  <a:pt x="3758" y="7674"/>
                </a:lnTo>
                <a:lnTo>
                  <a:pt x="3760" y="7670"/>
                </a:lnTo>
                <a:lnTo>
                  <a:pt x="3760" y="7668"/>
                </a:lnTo>
                <a:lnTo>
                  <a:pt x="3762" y="7670"/>
                </a:lnTo>
                <a:lnTo>
                  <a:pt x="3764" y="7672"/>
                </a:lnTo>
                <a:lnTo>
                  <a:pt x="3766" y="7672"/>
                </a:lnTo>
                <a:lnTo>
                  <a:pt x="3766" y="7670"/>
                </a:lnTo>
                <a:lnTo>
                  <a:pt x="3766" y="7668"/>
                </a:lnTo>
                <a:close/>
                <a:moveTo>
                  <a:pt x="3780" y="7662"/>
                </a:moveTo>
                <a:lnTo>
                  <a:pt x="3780" y="7662"/>
                </a:lnTo>
                <a:lnTo>
                  <a:pt x="3780" y="7660"/>
                </a:lnTo>
                <a:lnTo>
                  <a:pt x="3780" y="7652"/>
                </a:lnTo>
                <a:lnTo>
                  <a:pt x="3778" y="7646"/>
                </a:lnTo>
                <a:lnTo>
                  <a:pt x="3776" y="7644"/>
                </a:lnTo>
                <a:lnTo>
                  <a:pt x="3774" y="7648"/>
                </a:lnTo>
                <a:lnTo>
                  <a:pt x="3776" y="7654"/>
                </a:lnTo>
                <a:lnTo>
                  <a:pt x="3776" y="7660"/>
                </a:lnTo>
                <a:lnTo>
                  <a:pt x="3778" y="7662"/>
                </a:lnTo>
                <a:lnTo>
                  <a:pt x="3780" y="7662"/>
                </a:lnTo>
                <a:close/>
                <a:moveTo>
                  <a:pt x="3770" y="7568"/>
                </a:moveTo>
                <a:lnTo>
                  <a:pt x="3770" y="7568"/>
                </a:lnTo>
                <a:lnTo>
                  <a:pt x="3768" y="7570"/>
                </a:lnTo>
                <a:lnTo>
                  <a:pt x="3766" y="7568"/>
                </a:lnTo>
                <a:lnTo>
                  <a:pt x="3768" y="7562"/>
                </a:lnTo>
                <a:lnTo>
                  <a:pt x="3770" y="7558"/>
                </a:lnTo>
                <a:lnTo>
                  <a:pt x="3770" y="7552"/>
                </a:lnTo>
                <a:lnTo>
                  <a:pt x="3770" y="7534"/>
                </a:lnTo>
                <a:lnTo>
                  <a:pt x="3770" y="7520"/>
                </a:lnTo>
                <a:lnTo>
                  <a:pt x="3768" y="7516"/>
                </a:lnTo>
                <a:lnTo>
                  <a:pt x="3766" y="7514"/>
                </a:lnTo>
                <a:lnTo>
                  <a:pt x="3762" y="7514"/>
                </a:lnTo>
                <a:lnTo>
                  <a:pt x="3760" y="7514"/>
                </a:lnTo>
                <a:lnTo>
                  <a:pt x="3758" y="7512"/>
                </a:lnTo>
                <a:lnTo>
                  <a:pt x="3756" y="7514"/>
                </a:lnTo>
                <a:lnTo>
                  <a:pt x="3748" y="7520"/>
                </a:lnTo>
                <a:lnTo>
                  <a:pt x="3746" y="7522"/>
                </a:lnTo>
                <a:lnTo>
                  <a:pt x="3748" y="7524"/>
                </a:lnTo>
                <a:lnTo>
                  <a:pt x="3750" y="7526"/>
                </a:lnTo>
                <a:lnTo>
                  <a:pt x="3750" y="7528"/>
                </a:lnTo>
                <a:lnTo>
                  <a:pt x="3752" y="7530"/>
                </a:lnTo>
                <a:lnTo>
                  <a:pt x="3756" y="7534"/>
                </a:lnTo>
                <a:lnTo>
                  <a:pt x="3756" y="7538"/>
                </a:lnTo>
                <a:lnTo>
                  <a:pt x="3754" y="7548"/>
                </a:lnTo>
                <a:lnTo>
                  <a:pt x="3752" y="7550"/>
                </a:lnTo>
                <a:lnTo>
                  <a:pt x="3748" y="7548"/>
                </a:lnTo>
                <a:lnTo>
                  <a:pt x="3746" y="7546"/>
                </a:lnTo>
                <a:lnTo>
                  <a:pt x="3742" y="7546"/>
                </a:lnTo>
                <a:lnTo>
                  <a:pt x="3740" y="7548"/>
                </a:lnTo>
                <a:lnTo>
                  <a:pt x="3740" y="7546"/>
                </a:lnTo>
                <a:lnTo>
                  <a:pt x="3738" y="7546"/>
                </a:lnTo>
                <a:lnTo>
                  <a:pt x="3734" y="7546"/>
                </a:lnTo>
                <a:lnTo>
                  <a:pt x="3732" y="7548"/>
                </a:lnTo>
                <a:lnTo>
                  <a:pt x="3730" y="7550"/>
                </a:lnTo>
                <a:lnTo>
                  <a:pt x="3732" y="7556"/>
                </a:lnTo>
                <a:lnTo>
                  <a:pt x="3736" y="7560"/>
                </a:lnTo>
                <a:lnTo>
                  <a:pt x="3738" y="7568"/>
                </a:lnTo>
                <a:lnTo>
                  <a:pt x="3740" y="7572"/>
                </a:lnTo>
                <a:lnTo>
                  <a:pt x="3742" y="7578"/>
                </a:lnTo>
                <a:lnTo>
                  <a:pt x="3746" y="7582"/>
                </a:lnTo>
                <a:lnTo>
                  <a:pt x="3748" y="7584"/>
                </a:lnTo>
                <a:lnTo>
                  <a:pt x="3750" y="7580"/>
                </a:lnTo>
                <a:lnTo>
                  <a:pt x="3750" y="7572"/>
                </a:lnTo>
                <a:lnTo>
                  <a:pt x="3748" y="7568"/>
                </a:lnTo>
                <a:lnTo>
                  <a:pt x="3748" y="7564"/>
                </a:lnTo>
                <a:lnTo>
                  <a:pt x="3748" y="7562"/>
                </a:lnTo>
                <a:lnTo>
                  <a:pt x="3750" y="7562"/>
                </a:lnTo>
                <a:lnTo>
                  <a:pt x="3754" y="7564"/>
                </a:lnTo>
                <a:lnTo>
                  <a:pt x="3758" y="7568"/>
                </a:lnTo>
                <a:lnTo>
                  <a:pt x="3756" y="7570"/>
                </a:lnTo>
                <a:lnTo>
                  <a:pt x="3754" y="7572"/>
                </a:lnTo>
                <a:lnTo>
                  <a:pt x="3754" y="7576"/>
                </a:lnTo>
                <a:lnTo>
                  <a:pt x="3756" y="7578"/>
                </a:lnTo>
                <a:lnTo>
                  <a:pt x="3754" y="7580"/>
                </a:lnTo>
                <a:lnTo>
                  <a:pt x="3754" y="7586"/>
                </a:lnTo>
                <a:lnTo>
                  <a:pt x="3754" y="7588"/>
                </a:lnTo>
                <a:lnTo>
                  <a:pt x="3756" y="7590"/>
                </a:lnTo>
                <a:lnTo>
                  <a:pt x="3762" y="7592"/>
                </a:lnTo>
                <a:lnTo>
                  <a:pt x="3766" y="7590"/>
                </a:lnTo>
                <a:lnTo>
                  <a:pt x="3768" y="7588"/>
                </a:lnTo>
                <a:lnTo>
                  <a:pt x="3770" y="7584"/>
                </a:lnTo>
                <a:lnTo>
                  <a:pt x="3770" y="7578"/>
                </a:lnTo>
                <a:lnTo>
                  <a:pt x="3772" y="7574"/>
                </a:lnTo>
                <a:lnTo>
                  <a:pt x="3774" y="7572"/>
                </a:lnTo>
                <a:lnTo>
                  <a:pt x="3774" y="7570"/>
                </a:lnTo>
                <a:lnTo>
                  <a:pt x="3772" y="7568"/>
                </a:lnTo>
                <a:lnTo>
                  <a:pt x="3770" y="7568"/>
                </a:lnTo>
                <a:close/>
                <a:moveTo>
                  <a:pt x="3742" y="7626"/>
                </a:moveTo>
                <a:lnTo>
                  <a:pt x="3742" y="7626"/>
                </a:lnTo>
                <a:lnTo>
                  <a:pt x="3744" y="7622"/>
                </a:lnTo>
                <a:lnTo>
                  <a:pt x="3746" y="7620"/>
                </a:lnTo>
                <a:lnTo>
                  <a:pt x="3742" y="7618"/>
                </a:lnTo>
                <a:lnTo>
                  <a:pt x="3736" y="7618"/>
                </a:lnTo>
                <a:lnTo>
                  <a:pt x="3730" y="7618"/>
                </a:lnTo>
                <a:lnTo>
                  <a:pt x="3730" y="7620"/>
                </a:lnTo>
                <a:lnTo>
                  <a:pt x="3732" y="7624"/>
                </a:lnTo>
                <a:lnTo>
                  <a:pt x="3732" y="7626"/>
                </a:lnTo>
                <a:lnTo>
                  <a:pt x="3728" y="7632"/>
                </a:lnTo>
                <a:lnTo>
                  <a:pt x="3730" y="7634"/>
                </a:lnTo>
                <a:lnTo>
                  <a:pt x="3734" y="7636"/>
                </a:lnTo>
                <a:lnTo>
                  <a:pt x="3738" y="7636"/>
                </a:lnTo>
                <a:lnTo>
                  <a:pt x="3738" y="7634"/>
                </a:lnTo>
                <a:lnTo>
                  <a:pt x="3738" y="7630"/>
                </a:lnTo>
                <a:lnTo>
                  <a:pt x="3742" y="7626"/>
                </a:lnTo>
                <a:close/>
                <a:moveTo>
                  <a:pt x="3778" y="7630"/>
                </a:moveTo>
                <a:lnTo>
                  <a:pt x="3778" y="7630"/>
                </a:lnTo>
                <a:lnTo>
                  <a:pt x="3776" y="7626"/>
                </a:lnTo>
                <a:lnTo>
                  <a:pt x="3776" y="7622"/>
                </a:lnTo>
                <a:lnTo>
                  <a:pt x="3774" y="7620"/>
                </a:lnTo>
                <a:lnTo>
                  <a:pt x="3772" y="7616"/>
                </a:lnTo>
                <a:lnTo>
                  <a:pt x="3768" y="7616"/>
                </a:lnTo>
                <a:lnTo>
                  <a:pt x="3766" y="7616"/>
                </a:lnTo>
                <a:lnTo>
                  <a:pt x="3766" y="7618"/>
                </a:lnTo>
                <a:lnTo>
                  <a:pt x="3770" y="7622"/>
                </a:lnTo>
                <a:lnTo>
                  <a:pt x="3770" y="7624"/>
                </a:lnTo>
                <a:lnTo>
                  <a:pt x="3768" y="7624"/>
                </a:lnTo>
                <a:lnTo>
                  <a:pt x="3768" y="7628"/>
                </a:lnTo>
                <a:lnTo>
                  <a:pt x="3772" y="7636"/>
                </a:lnTo>
                <a:lnTo>
                  <a:pt x="3776" y="7638"/>
                </a:lnTo>
                <a:lnTo>
                  <a:pt x="3780" y="7638"/>
                </a:lnTo>
                <a:lnTo>
                  <a:pt x="3782" y="7638"/>
                </a:lnTo>
                <a:lnTo>
                  <a:pt x="3784" y="7636"/>
                </a:lnTo>
                <a:lnTo>
                  <a:pt x="3778" y="7630"/>
                </a:lnTo>
                <a:close/>
                <a:moveTo>
                  <a:pt x="3736" y="7582"/>
                </a:moveTo>
                <a:lnTo>
                  <a:pt x="3736" y="7582"/>
                </a:lnTo>
                <a:lnTo>
                  <a:pt x="3738" y="7584"/>
                </a:lnTo>
                <a:lnTo>
                  <a:pt x="3740" y="7584"/>
                </a:lnTo>
                <a:lnTo>
                  <a:pt x="3738" y="7576"/>
                </a:lnTo>
                <a:lnTo>
                  <a:pt x="3736" y="7568"/>
                </a:lnTo>
                <a:lnTo>
                  <a:pt x="3734" y="7566"/>
                </a:lnTo>
                <a:lnTo>
                  <a:pt x="3730" y="7566"/>
                </a:lnTo>
                <a:lnTo>
                  <a:pt x="3728" y="7566"/>
                </a:lnTo>
                <a:lnTo>
                  <a:pt x="3726" y="7568"/>
                </a:lnTo>
                <a:lnTo>
                  <a:pt x="3726" y="7578"/>
                </a:lnTo>
                <a:lnTo>
                  <a:pt x="3726" y="7580"/>
                </a:lnTo>
                <a:lnTo>
                  <a:pt x="3728" y="7580"/>
                </a:lnTo>
                <a:lnTo>
                  <a:pt x="3732" y="7576"/>
                </a:lnTo>
                <a:lnTo>
                  <a:pt x="3734" y="7576"/>
                </a:lnTo>
                <a:lnTo>
                  <a:pt x="3734" y="7578"/>
                </a:lnTo>
                <a:lnTo>
                  <a:pt x="3734" y="7580"/>
                </a:lnTo>
                <a:lnTo>
                  <a:pt x="3736" y="7582"/>
                </a:lnTo>
                <a:close/>
                <a:moveTo>
                  <a:pt x="3742" y="7612"/>
                </a:moveTo>
                <a:lnTo>
                  <a:pt x="3742" y="7612"/>
                </a:lnTo>
                <a:lnTo>
                  <a:pt x="3746" y="7610"/>
                </a:lnTo>
                <a:lnTo>
                  <a:pt x="3746" y="7612"/>
                </a:lnTo>
                <a:lnTo>
                  <a:pt x="3748" y="7612"/>
                </a:lnTo>
                <a:lnTo>
                  <a:pt x="3752" y="7610"/>
                </a:lnTo>
                <a:lnTo>
                  <a:pt x="3754" y="7608"/>
                </a:lnTo>
                <a:lnTo>
                  <a:pt x="3752" y="7606"/>
                </a:lnTo>
                <a:lnTo>
                  <a:pt x="3752" y="7604"/>
                </a:lnTo>
                <a:lnTo>
                  <a:pt x="3754" y="7602"/>
                </a:lnTo>
                <a:lnTo>
                  <a:pt x="3758" y="7600"/>
                </a:lnTo>
                <a:lnTo>
                  <a:pt x="3758" y="7598"/>
                </a:lnTo>
                <a:lnTo>
                  <a:pt x="3756" y="7598"/>
                </a:lnTo>
                <a:lnTo>
                  <a:pt x="3752" y="7598"/>
                </a:lnTo>
                <a:lnTo>
                  <a:pt x="3750" y="7600"/>
                </a:lnTo>
                <a:lnTo>
                  <a:pt x="3750" y="7598"/>
                </a:lnTo>
                <a:lnTo>
                  <a:pt x="3750" y="7596"/>
                </a:lnTo>
                <a:lnTo>
                  <a:pt x="3748" y="7594"/>
                </a:lnTo>
                <a:lnTo>
                  <a:pt x="3746" y="7594"/>
                </a:lnTo>
                <a:lnTo>
                  <a:pt x="3742" y="7592"/>
                </a:lnTo>
                <a:lnTo>
                  <a:pt x="3740" y="7590"/>
                </a:lnTo>
                <a:lnTo>
                  <a:pt x="3734" y="7590"/>
                </a:lnTo>
                <a:lnTo>
                  <a:pt x="3732" y="7592"/>
                </a:lnTo>
                <a:lnTo>
                  <a:pt x="3736" y="7596"/>
                </a:lnTo>
                <a:lnTo>
                  <a:pt x="3740" y="7598"/>
                </a:lnTo>
                <a:lnTo>
                  <a:pt x="3742" y="7600"/>
                </a:lnTo>
                <a:lnTo>
                  <a:pt x="3742" y="7602"/>
                </a:lnTo>
                <a:lnTo>
                  <a:pt x="3738" y="7602"/>
                </a:lnTo>
                <a:lnTo>
                  <a:pt x="3736" y="7600"/>
                </a:lnTo>
                <a:lnTo>
                  <a:pt x="3732" y="7600"/>
                </a:lnTo>
                <a:lnTo>
                  <a:pt x="3730" y="7606"/>
                </a:lnTo>
                <a:lnTo>
                  <a:pt x="3730" y="7608"/>
                </a:lnTo>
                <a:lnTo>
                  <a:pt x="3730" y="7610"/>
                </a:lnTo>
                <a:lnTo>
                  <a:pt x="3734" y="7610"/>
                </a:lnTo>
                <a:lnTo>
                  <a:pt x="3738" y="7608"/>
                </a:lnTo>
                <a:lnTo>
                  <a:pt x="3738" y="7610"/>
                </a:lnTo>
                <a:lnTo>
                  <a:pt x="3736" y="7612"/>
                </a:lnTo>
                <a:lnTo>
                  <a:pt x="3738" y="7614"/>
                </a:lnTo>
                <a:lnTo>
                  <a:pt x="3740" y="7614"/>
                </a:lnTo>
                <a:lnTo>
                  <a:pt x="3742" y="7612"/>
                </a:lnTo>
                <a:close/>
                <a:moveTo>
                  <a:pt x="3758" y="7644"/>
                </a:moveTo>
                <a:lnTo>
                  <a:pt x="3758" y="7644"/>
                </a:lnTo>
                <a:lnTo>
                  <a:pt x="3754" y="7644"/>
                </a:lnTo>
                <a:lnTo>
                  <a:pt x="3750" y="7644"/>
                </a:lnTo>
                <a:lnTo>
                  <a:pt x="3750" y="7646"/>
                </a:lnTo>
                <a:lnTo>
                  <a:pt x="3752" y="7646"/>
                </a:lnTo>
                <a:lnTo>
                  <a:pt x="3756" y="7648"/>
                </a:lnTo>
                <a:lnTo>
                  <a:pt x="3756" y="7650"/>
                </a:lnTo>
                <a:lnTo>
                  <a:pt x="3756" y="7652"/>
                </a:lnTo>
                <a:lnTo>
                  <a:pt x="3760" y="7654"/>
                </a:lnTo>
                <a:lnTo>
                  <a:pt x="3762" y="7654"/>
                </a:lnTo>
                <a:lnTo>
                  <a:pt x="3764" y="7652"/>
                </a:lnTo>
                <a:lnTo>
                  <a:pt x="3768" y="7650"/>
                </a:lnTo>
                <a:lnTo>
                  <a:pt x="3770" y="7650"/>
                </a:lnTo>
                <a:lnTo>
                  <a:pt x="3772" y="7650"/>
                </a:lnTo>
                <a:lnTo>
                  <a:pt x="3772" y="7648"/>
                </a:lnTo>
                <a:lnTo>
                  <a:pt x="3772" y="7642"/>
                </a:lnTo>
                <a:lnTo>
                  <a:pt x="3770" y="7638"/>
                </a:lnTo>
                <a:lnTo>
                  <a:pt x="3766" y="7634"/>
                </a:lnTo>
                <a:lnTo>
                  <a:pt x="3764" y="7634"/>
                </a:lnTo>
                <a:lnTo>
                  <a:pt x="3762" y="7636"/>
                </a:lnTo>
                <a:lnTo>
                  <a:pt x="3764" y="7642"/>
                </a:lnTo>
                <a:lnTo>
                  <a:pt x="3764" y="7644"/>
                </a:lnTo>
                <a:lnTo>
                  <a:pt x="3758" y="7644"/>
                </a:lnTo>
                <a:close/>
                <a:moveTo>
                  <a:pt x="3752" y="7630"/>
                </a:moveTo>
                <a:lnTo>
                  <a:pt x="3752" y="7630"/>
                </a:lnTo>
                <a:lnTo>
                  <a:pt x="3750" y="7634"/>
                </a:lnTo>
                <a:lnTo>
                  <a:pt x="3752" y="7636"/>
                </a:lnTo>
                <a:lnTo>
                  <a:pt x="3754" y="7640"/>
                </a:lnTo>
                <a:lnTo>
                  <a:pt x="3758" y="7640"/>
                </a:lnTo>
                <a:lnTo>
                  <a:pt x="3760" y="7640"/>
                </a:lnTo>
                <a:lnTo>
                  <a:pt x="3760" y="7636"/>
                </a:lnTo>
                <a:lnTo>
                  <a:pt x="3756" y="7632"/>
                </a:lnTo>
                <a:lnTo>
                  <a:pt x="3754" y="7630"/>
                </a:lnTo>
                <a:lnTo>
                  <a:pt x="3752" y="7630"/>
                </a:lnTo>
                <a:close/>
                <a:moveTo>
                  <a:pt x="3770" y="7654"/>
                </a:moveTo>
                <a:lnTo>
                  <a:pt x="3770" y="7654"/>
                </a:lnTo>
                <a:lnTo>
                  <a:pt x="3768" y="7654"/>
                </a:lnTo>
                <a:lnTo>
                  <a:pt x="3766" y="7654"/>
                </a:lnTo>
                <a:lnTo>
                  <a:pt x="3766" y="7656"/>
                </a:lnTo>
                <a:lnTo>
                  <a:pt x="3770" y="7660"/>
                </a:lnTo>
                <a:lnTo>
                  <a:pt x="3772" y="7660"/>
                </a:lnTo>
                <a:lnTo>
                  <a:pt x="3772" y="7658"/>
                </a:lnTo>
                <a:lnTo>
                  <a:pt x="3772" y="7656"/>
                </a:lnTo>
                <a:lnTo>
                  <a:pt x="3770" y="7654"/>
                </a:lnTo>
                <a:close/>
                <a:moveTo>
                  <a:pt x="3750" y="7544"/>
                </a:moveTo>
                <a:lnTo>
                  <a:pt x="3750" y="7544"/>
                </a:lnTo>
                <a:lnTo>
                  <a:pt x="3752" y="7542"/>
                </a:lnTo>
                <a:lnTo>
                  <a:pt x="3752" y="7536"/>
                </a:lnTo>
                <a:lnTo>
                  <a:pt x="3750" y="7534"/>
                </a:lnTo>
                <a:lnTo>
                  <a:pt x="3746" y="7534"/>
                </a:lnTo>
                <a:lnTo>
                  <a:pt x="3742" y="7534"/>
                </a:lnTo>
                <a:lnTo>
                  <a:pt x="3740" y="7538"/>
                </a:lnTo>
                <a:lnTo>
                  <a:pt x="3740" y="7540"/>
                </a:lnTo>
                <a:lnTo>
                  <a:pt x="3742" y="7540"/>
                </a:lnTo>
                <a:lnTo>
                  <a:pt x="3746" y="7540"/>
                </a:lnTo>
                <a:lnTo>
                  <a:pt x="3750" y="7544"/>
                </a:lnTo>
                <a:close/>
                <a:moveTo>
                  <a:pt x="3750" y="7500"/>
                </a:moveTo>
                <a:lnTo>
                  <a:pt x="3750" y="7500"/>
                </a:lnTo>
                <a:lnTo>
                  <a:pt x="3748" y="7504"/>
                </a:lnTo>
                <a:lnTo>
                  <a:pt x="3750" y="7506"/>
                </a:lnTo>
                <a:lnTo>
                  <a:pt x="3762" y="7510"/>
                </a:lnTo>
                <a:lnTo>
                  <a:pt x="3768" y="7512"/>
                </a:lnTo>
                <a:lnTo>
                  <a:pt x="3770" y="7508"/>
                </a:lnTo>
                <a:lnTo>
                  <a:pt x="3772" y="7506"/>
                </a:lnTo>
                <a:lnTo>
                  <a:pt x="3770" y="7506"/>
                </a:lnTo>
                <a:lnTo>
                  <a:pt x="3768" y="7506"/>
                </a:lnTo>
                <a:lnTo>
                  <a:pt x="3766" y="7504"/>
                </a:lnTo>
                <a:lnTo>
                  <a:pt x="3766" y="7502"/>
                </a:lnTo>
                <a:lnTo>
                  <a:pt x="3766" y="7500"/>
                </a:lnTo>
                <a:lnTo>
                  <a:pt x="3766" y="7496"/>
                </a:lnTo>
                <a:lnTo>
                  <a:pt x="3766" y="7492"/>
                </a:lnTo>
                <a:lnTo>
                  <a:pt x="3762" y="7482"/>
                </a:lnTo>
                <a:lnTo>
                  <a:pt x="3760" y="7482"/>
                </a:lnTo>
                <a:lnTo>
                  <a:pt x="3758" y="7484"/>
                </a:lnTo>
                <a:lnTo>
                  <a:pt x="3758" y="7490"/>
                </a:lnTo>
                <a:lnTo>
                  <a:pt x="3758" y="7492"/>
                </a:lnTo>
                <a:lnTo>
                  <a:pt x="3760" y="7498"/>
                </a:lnTo>
                <a:lnTo>
                  <a:pt x="3758" y="7500"/>
                </a:lnTo>
                <a:lnTo>
                  <a:pt x="3756" y="7498"/>
                </a:lnTo>
                <a:lnTo>
                  <a:pt x="3754" y="7498"/>
                </a:lnTo>
                <a:lnTo>
                  <a:pt x="3750" y="7500"/>
                </a:lnTo>
                <a:close/>
                <a:moveTo>
                  <a:pt x="3790" y="7468"/>
                </a:moveTo>
                <a:lnTo>
                  <a:pt x="3790" y="7468"/>
                </a:lnTo>
                <a:lnTo>
                  <a:pt x="3794" y="7470"/>
                </a:lnTo>
                <a:lnTo>
                  <a:pt x="3796" y="7466"/>
                </a:lnTo>
                <a:lnTo>
                  <a:pt x="3794" y="7464"/>
                </a:lnTo>
                <a:lnTo>
                  <a:pt x="3788" y="7462"/>
                </a:lnTo>
                <a:lnTo>
                  <a:pt x="3784" y="7462"/>
                </a:lnTo>
                <a:lnTo>
                  <a:pt x="3778" y="7462"/>
                </a:lnTo>
                <a:lnTo>
                  <a:pt x="3772" y="7462"/>
                </a:lnTo>
                <a:lnTo>
                  <a:pt x="3770" y="7464"/>
                </a:lnTo>
                <a:lnTo>
                  <a:pt x="3770" y="7466"/>
                </a:lnTo>
                <a:lnTo>
                  <a:pt x="3772" y="7468"/>
                </a:lnTo>
                <a:lnTo>
                  <a:pt x="3778" y="7468"/>
                </a:lnTo>
                <a:lnTo>
                  <a:pt x="3784" y="7466"/>
                </a:lnTo>
                <a:lnTo>
                  <a:pt x="3790" y="7468"/>
                </a:lnTo>
                <a:close/>
                <a:moveTo>
                  <a:pt x="3742" y="7476"/>
                </a:moveTo>
                <a:lnTo>
                  <a:pt x="3742" y="7476"/>
                </a:lnTo>
                <a:lnTo>
                  <a:pt x="3740" y="7476"/>
                </a:lnTo>
                <a:lnTo>
                  <a:pt x="3738" y="7478"/>
                </a:lnTo>
                <a:lnTo>
                  <a:pt x="3740" y="7482"/>
                </a:lnTo>
                <a:lnTo>
                  <a:pt x="3746" y="7496"/>
                </a:lnTo>
                <a:lnTo>
                  <a:pt x="3748" y="7496"/>
                </a:lnTo>
                <a:lnTo>
                  <a:pt x="3750" y="7496"/>
                </a:lnTo>
                <a:lnTo>
                  <a:pt x="3754" y="7494"/>
                </a:lnTo>
                <a:lnTo>
                  <a:pt x="3754" y="7492"/>
                </a:lnTo>
                <a:lnTo>
                  <a:pt x="3754" y="7490"/>
                </a:lnTo>
                <a:lnTo>
                  <a:pt x="3756" y="7484"/>
                </a:lnTo>
                <a:lnTo>
                  <a:pt x="3754" y="7482"/>
                </a:lnTo>
                <a:lnTo>
                  <a:pt x="3752" y="7480"/>
                </a:lnTo>
                <a:lnTo>
                  <a:pt x="3742" y="7476"/>
                </a:lnTo>
                <a:close/>
                <a:moveTo>
                  <a:pt x="3730" y="7544"/>
                </a:moveTo>
                <a:lnTo>
                  <a:pt x="3730" y="7544"/>
                </a:lnTo>
                <a:lnTo>
                  <a:pt x="3730" y="7542"/>
                </a:lnTo>
                <a:lnTo>
                  <a:pt x="3732" y="7540"/>
                </a:lnTo>
                <a:lnTo>
                  <a:pt x="3734" y="7538"/>
                </a:lnTo>
                <a:lnTo>
                  <a:pt x="3734" y="7534"/>
                </a:lnTo>
                <a:lnTo>
                  <a:pt x="3734" y="7532"/>
                </a:lnTo>
                <a:lnTo>
                  <a:pt x="3732" y="7534"/>
                </a:lnTo>
                <a:lnTo>
                  <a:pt x="3730" y="7536"/>
                </a:lnTo>
                <a:lnTo>
                  <a:pt x="3726" y="7538"/>
                </a:lnTo>
                <a:lnTo>
                  <a:pt x="3724" y="7538"/>
                </a:lnTo>
                <a:lnTo>
                  <a:pt x="3722" y="7540"/>
                </a:lnTo>
                <a:lnTo>
                  <a:pt x="3722" y="7542"/>
                </a:lnTo>
                <a:lnTo>
                  <a:pt x="3724" y="7546"/>
                </a:lnTo>
                <a:lnTo>
                  <a:pt x="3728" y="7548"/>
                </a:lnTo>
                <a:lnTo>
                  <a:pt x="3730" y="7544"/>
                </a:lnTo>
                <a:close/>
                <a:moveTo>
                  <a:pt x="3742" y="7474"/>
                </a:moveTo>
                <a:lnTo>
                  <a:pt x="3742" y="7474"/>
                </a:lnTo>
                <a:lnTo>
                  <a:pt x="3746" y="7472"/>
                </a:lnTo>
                <a:lnTo>
                  <a:pt x="3748" y="7474"/>
                </a:lnTo>
                <a:lnTo>
                  <a:pt x="3750" y="7476"/>
                </a:lnTo>
                <a:lnTo>
                  <a:pt x="3754" y="7476"/>
                </a:lnTo>
                <a:lnTo>
                  <a:pt x="3756" y="7474"/>
                </a:lnTo>
                <a:lnTo>
                  <a:pt x="3758" y="7468"/>
                </a:lnTo>
                <a:lnTo>
                  <a:pt x="3756" y="7462"/>
                </a:lnTo>
                <a:lnTo>
                  <a:pt x="3756" y="7460"/>
                </a:lnTo>
                <a:lnTo>
                  <a:pt x="3754" y="7460"/>
                </a:lnTo>
                <a:lnTo>
                  <a:pt x="3752" y="7464"/>
                </a:lnTo>
                <a:lnTo>
                  <a:pt x="3750" y="7466"/>
                </a:lnTo>
                <a:lnTo>
                  <a:pt x="3744" y="7468"/>
                </a:lnTo>
                <a:lnTo>
                  <a:pt x="3740" y="7470"/>
                </a:lnTo>
                <a:lnTo>
                  <a:pt x="3738" y="7472"/>
                </a:lnTo>
                <a:lnTo>
                  <a:pt x="3738" y="7474"/>
                </a:lnTo>
                <a:lnTo>
                  <a:pt x="3742" y="7474"/>
                </a:lnTo>
                <a:close/>
                <a:moveTo>
                  <a:pt x="3732" y="7494"/>
                </a:moveTo>
                <a:lnTo>
                  <a:pt x="3732" y="7494"/>
                </a:lnTo>
                <a:lnTo>
                  <a:pt x="3734" y="7494"/>
                </a:lnTo>
                <a:lnTo>
                  <a:pt x="3736" y="7494"/>
                </a:lnTo>
                <a:lnTo>
                  <a:pt x="3736" y="7502"/>
                </a:lnTo>
                <a:lnTo>
                  <a:pt x="3738" y="7510"/>
                </a:lnTo>
                <a:lnTo>
                  <a:pt x="3738" y="7512"/>
                </a:lnTo>
                <a:lnTo>
                  <a:pt x="3740" y="7512"/>
                </a:lnTo>
                <a:lnTo>
                  <a:pt x="3744" y="7508"/>
                </a:lnTo>
                <a:lnTo>
                  <a:pt x="3746" y="7504"/>
                </a:lnTo>
                <a:lnTo>
                  <a:pt x="3740" y="7492"/>
                </a:lnTo>
                <a:lnTo>
                  <a:pt x="3738" y="7486"/>
                </a:lnTo>
                <a:lnTo>
                  <a:pt x="3736" y="7480"/>
                </a:lnTo>
                <a:lnTo>
                  <a:pt x="3734" y="7472"/>
                </a:lnTo>
                <a:lnTo>
                  <a:pt x="3732" y="7472"/>
                </a:lnTo>
                <a:lnTo>
                  <a:pt x="3728" y="7474"/>
                </a:lnTo>
                <a:lnTo>
                  <a:pt x="3726" y="7478"/>
                </a:lnTo>
                <a:lnTo>
                  <a:pt x="3726" y="7480"/>
                </a:lnTo>
                <a:lnTo>
                  <a:pt x="3728" y="7484"/>
                </a:lnTo>
                <a:lnTo>
                  <a:pt x="3728" y="7488"/>
                </a:lnTo>
                <a:lnTo>
                  <a:pt x="3726" y="7490"/>
                </a:lnTo>
                <a:lnTo>
                  <a:pt x="3726" y="7494"/>
                </a:lnTo>
                <a:lnTo>
                  <a:pt x="3728" y="7494"/>
                </a:lnTo>
                <a:lnTo>
                  <a:pt x="3732" y="7494"/>
                </a:lnTo>
                <a:close/>
                <a:moveTo>
                  <a:pt x="3722" y="7504"/>
                </a:moveTo>
                <a:lnTo>
                  <a:pt x="3722" y="7504"/>
                </a:lnTo>
                <a:lnTo>
                  <a:pt x="3722" y="7508"/>
                </a:lnTo>
                <a:lnTo>
                  <a:pt x="3724" y="7510"/>
                </a:lnTo>
                <a:lnTo>
                  <a:pt x="3728" y="7510"/>
                </a:lnTo>
                <a:lnTo>
                  <a:pt x="3732" y="7510"/>
                </a:lnTo>
                <a:lnTo>
                  <a:pt x="3734" y="7506"/>
                </a:lnTo>
                <a:lnTo>
                  <a:pt x="3734" y="7502"/>
                </a:lnTo>
                <a:lnTo>
                  <a:pt x="3732" y="7498"/>
                </a:lnTo>
                <a:lnTo>
                  <a:pt x="3730" y="7498"/>
                </a:lnTo>
                <a:lnTo>
                  <a:pt x="3728" y="7500"/>
                </a:lnTo>
                <a:lnTo>
                  <a:pt x="3724" y="7498"/>
                </a:lnTo>
                <a:lnTo>
                  <a:pt x="3722" y="7500"/>
                </a:lnTo>
                <a:lnTo>
                  <a:pt x="3722" y="7504"/>
                </a:lnTo>
                <a:close/>
                <a:moveTo>
                  <a:pt x="3732" y="7530"/>
                </a:moveTo>
                <a:lnTo>
                  <a:pt x="3732" y="7530"/>
                </a:lnTo>
                <a:lnTo>
                  <a:pt x="3734" y="7530"/>
                </a:lnTo>
                <a:lnTo>
                  <a:pt x="3736" y="7530"/>
                </a:lnTo>
                <a:lnTo>
                  <a:pt x="3738" y="7532"/>
                </a:lnTo>
                <a:lnTo>
                  <a:pt x="3738" y="7530"/>
                </a:lnTo>
                <a:lnTo>
                  <a:pt x="3738" y="7524"/>
                </a:lnTo>
                <a:lnTo>
                  <a:pt x="3732" y="7522"/>
                </a:lnTo>
                <a:lnTo>
                  <a:pt x="3728" y="7522"/>
                </a:lnTo>
                <a:lnTo>
                  <a:pt x="3724" y="7522"/>
                </a:lnTo>
                <a:lnTo>
                  <a:pt x="3722" y="7524"/>
                </a:lnTo>
                <a:lnTo>
                  <a:pt x="3722" y="7528"/>
                </a:lnTo>
                <a:lnTo>
                  <a:pt x="3722" y="7530"/>
                </a:lnTo>
                <a:lnTo>
                  <a:pt x="3726" y="7530"/>
                </a:lnTo>
                <a:lnTo>
                  <a:pt x="3732" y="7530"/>
                </a:lnTo>
                <a:close/>
                <a:moveTo>
                  <a:pt x="3746" y="7456"/>
                </a:moveTo>
                <a:lnTo>
                  <a:pt x="3746" y="7456"/>
                </a:lnTo>
                <a:lnTo>
                  <a:pt x="3742" y="7454"/>
                </a:lnTo>
                <a:lnTo>
                  <a:pt x="3740" y="7456"/>
                </a:lnTo>
                <a:lnTo>
                  <a:pt x="3738" y="7458"/>
                </a:lnTo>
                <a:lnTo>
                  <a:pt x="3740" y="7462"/>
                </a:lnTo>
                <a:lnTo>
                  <a:pt x="3742" y="7462"/>
                </a:lnTo>
                <a:lnTo>
                  <a:pt x="3744" y="7462"/>
                </a:lnTo>
                <a:lnTo>
                  <a:pt x="3746" y="7460"/>
                </a:lnTo>
                <a:lnTo>
                  <a:pt x="3746" y="7456"/>
                </a:lnTo>
                <a:close/>
                <a:moveTo>
                  <a:pt x="3788" y="7418"/>
                </a:moveTo>
                <a:lnTo>
                  <a:pt x="3788" y="7418"/>
                </a:lnTo>
                <a:lnTo>
                  <a:pt x="3788" y="7414"/>
                </a:lnTo>
                <a:lnTo>
                  <a:pt x="3784" y="7414"/>
                </a:lnTo>
                <a:lnTo>
                  <a:pt x="3780" y="7414"/>
                </a:lnTo>
                <a:lnTo>
                  <a:pt x="3780" y="7416"/>
                </a:lnTo>
                <a:lnTo>
                  <a:pt x="3780" y="7420"/>
                </a:lnTo>
                <a:lnTo>
                  <a:pt x="3782" y="7420"/>
                </a:lnTo>
                <a:lnTo>
                  <a:pt x="3786" y="7420"/>
                </a:lnTo>
                <a:lnTo>
                  <a:pt x="3788" y="7418"/>
                </a:lnTo>
                <a:close/>
                <a:moveTo>
                  <a:pt x="3732" y="7512"/>
                </a:moveTo>
                <a:lnTo>
                  <a:pt x="3732" y="7512"/>
                </a:lnTo>
                <a:lnTo>
                  <a:pt x="3724" y="7514"/>
                </a:lnTo>
                <a:lnTo>
                  <a:pt x="3722" y="7518"/>
                </a:lnTo>
                <a:lnTo>
                  <a:pt x="3724" y="7518"/>
                </a:lnTo>
                <a:lnTo>
                  <a:pt x="3732" y="7516"/>
                </a:lnTo>
                <a:lnTo>
                  <a:pt x="3736" y="7514"/>
                </a:lnTo>
                <a:lnTo>
                  <a:pt x="3736" y="7512"/>
                </a:lnTo>
                <a:lnTo>
                  <a:pt x="3734" y="7512"/>
                </a:lnTo>
                <a:lnTo>
                  <a:pt x="3732" y="7512"/>
                </a:lnTo>
                <a:close/>
                <a:moveTo>
                  <a:pt x="3746" y="7528"/>
                </a:moveTo>
                <a:lnTo>
                  <a:pt x="3746" y="7528"/>
                </a:lnTo>
                <a:lnTo>
                  <a:pt x="3746" y="7526"/>
                </a:lnTo>
                <a:lnTo>
                  <a:pt x="3740" y="7520"/>
                </a:lnTo>
                <a:lnTo>
                  <a:pt x="3738" y="7518"/>
                </a:lnTo>
                <a:lnTo>
                  <a:pt x="3738" y="7520"/>
                </a:lnTo>
                <a:lnTo>
                  <a:pt x="3740" y="7524"/>
                </a:lnTo>
                <a:lnTo>
                  <a:pt x="3742" y="7528"/>
                </a:lnTo>
                <a:lnTo>
                  <a:pt x="3744" y="7530"/>
                </a:lnTo>
                <a:lnTo>
                  <a:pt x="3746" y="7528"/>
                </a:lnTo>
                <a:close/>
                <a:moveTo>
                  <a:pt x="3772" y="7494"/>
                </a:moveTo>
                <a:lnTo>
                  <a:pt x="3772" y="7494"/>
                </a:lnTo>
                <a:lnTo>
                  <a:pt x="3782" y="7496"/>
                </a:lnTo>
                <a:lnTo>
                  <a:pt x="3786" y="7496"/>
                </a:lnTo>
                <a:lnTo>
                  <a:pt x="3780" y="7492"/>
                </a:lnTo>
                <a:lnTo>
                  <a:pt x="3772" y="7486"/>
                </a:lnTo>
                <a:lnTo>
                  <a:pt x="3768" y="7480"/>
                </a:lnTo>
                <a:lnTo>
                  <a:pt x="3766" y="7482"/>
                </a:lnTo>
                <a:lnTo>
                  <a:pt x="3766" y="7486"/>
                </a:lnTo>
                <a:lnTo>
                  <a:pt x="3768" y="7492"/>
                </a:lnTo>
                <a:lnTo>
                  <a:pt x="3772" y="7494"/>
                </a:lnTo>
                <a:close/>
                <a:moveTo>
                  <a:pt x="4194" y="7874"/>
                </a:moveTo>
                <a:lnTo>
                  <a:pt x="4194" y="7874"/>
                </a:lnTo>
                <a:lnTo>
                  <a:pt x="4188" y="7874"/>
                </a:lnTo>
                <a:lnTo>
                  <a:pt x="4184" y="7874"/>
                </a:lnTo>
                <a:lnTo>
                  <a:pt x="4180" y="7874"/>
                </a:lnTo>
                <a:lnTo>
                  <a:pt x="4176" y="7876"/>
                </a:lnTo>
                <a:lnTo>
                  <a:pt x="4166" y="7878"/>
                </a:lnTo>
                <a:lnTo>
                  <a:pt x="4164" y="7880"/>
                </a:lnTo>
                <a:lnTo>
                  <a:pt x="4166" y="7884"/>
                </a:lnTo>
                <a:lnTo>
                  <a:pt x="4170" y="7884"/>
                </a:lnTo>
                <a:lnTo>
                  <a:pt x="4174" y="7880"/>
                </a:lnTo>
                <a:lnTo>
                  <a:pt x="4178" y="7878"/>
                </a:lnTo>
                <a:lnTo>
                  <a:pt x="4180" y="7878"/>
                </a:lnTo>
                <a:lnTo>
                  <a:pt x="4182" y="7880"/>
                </a:lnTo>
                <a:lnTo>
                  <a:pt x="4186" y="7880"/>
                </a:lnTo>
                <a:lnTo>
                  <a:pt x="4190" y="7878"/>
                </a:lnTo>
                <a:lnTo>
                  <a:pt x="4192" y="7880"/>
                </a:lnTo>
                <a:lnTo>
                  <a:pt x="4196" y="7880"/>
                </a:lnTo>
                <a:lnTo>
                  <a:pt x="4200" y="7878"/>
                </a:lnTo>
                <a:lnTo>
                  <a:pt x="4200" y="7876"/>
                </a:lnTo>
                <a:lnTo>
                  <a:pt x="4198" y="7874"/>
                </a:lnTo>
                <a:lnTo>
                  <a:pt x="4194" y="7874"/>
                </a:lnTo>
                <a:close/>
                <a:moveTo>
                  <a:pt x="4054" y="7888"/>
                </a:moveTo>
                <a:lnTo>
                  <a:pt x="4054" y="7888"/>
                </a:lnTo>
                <a:lnTo>
                  <a:pt x="4026" y="7886"/>
                </a:lnTo>
                <a:lnTo>
                  <a:pt x="4018" y="7888"/>
                </a:lnTo>
                <a:lnTo>
                  <a:pt x="4020" y="7890"/>
                </a:lnTo>
                <a:lnTo>
                  <a:pt x="4022" y="7892"/>
                </a:lnTo>
                <a:lnTo>
                  <a:pt x="4024" y="7894"/>
                </a:lnTo>
                <a:lnTo>
                  <a:pt x="4024" y="7896"/>
                </a:lnTo>
                <a:lnTo>
                  <a:pt x="4024" y="7898"/>
                </a:lnTo>
                <a:lnTo>
                  <a:pt x="4026" y="7906"/>
                </a:lnTo>
                <a:lnTo>
                  <a:pt x="4028" y="7906"/>
                </a:lnTo>
                <a:lnTo>
                  <a:pt x="4032" y="7908"/>
                </a:lnTo>
                <a:lnTo>
                  <a:pt x="4042" y="7908"/>
                </a:lnTo>
                <a:lnTo>
                  <a:pt x="4046" y="7906"/>
                </a:lnTo>
                <a:lnTo>
                  <a:pt x="4046" y="7904"/>
                </a:lnTo>
                <a:lnTo>
                  <a:pt x="4046" y="7902"/>
                </a:lnTo>
                <a:lnTo>
                  <a:pt x="4050" y="7902"/>
                </a:lnTo>
                <a:lnTo>
                  <a:pt x="4054" y="7904"/>
                </a:lnTo>
                <a:lnTo>
                  <a:pt x="4054" y="7906"/>
                </a:lnTo>
                <a:lnTo>
                  <a:pt x="4054" y="7910"/>
                </a:lnTo>
                <a:lnTo>
                  <a:pt x="4058" y="7910"/>
                </a:lnTo>
                <a:lnTo>
                  <a:pt x="4062" y="7910"/>
                </a:lnTo>
                <a:lnTo>
                  <a:pt x="4066" y="7908"/>
                </a:lnTo>
                <a:lnTo>
                  <a:pt x="4068" y="7898"/>
                </a:lnTo>
                <a:lnTo>
                  <a:pt x="4070" y="7894"/>
                </a:lnTo>
                <a:lnTo>
                  <a:pt x="4068" y="7892"/>
                </a:lnTo>
                <a:lnTo>
                  <a:pt x="4064" y="7890"/>
                </a:lnTo>
                <a:lnTo>
                  <a:pt x="4060" y="7888"/>
                </a:lnTo>
                <a:lnTo>
                  <a:pt x="4054" y="7888"/>
                </a:lnTo>
                <a:close/>
                <a:moveTo>
                  <a:pt x="4070" y="7910"/>
                </a:moveTo>
                <a:lnTo>
                  <a:pt x="4070" y="7910"/>
                </a:lnTo>
                <a:lnTo>
                  <a:pt x="4070" y="7912"/>
                </a:lnTo>
                <a:lnTo>
                  <a:pt x="4074" y="7912"/>
                </a:lnTo>
                <a:lnTo>
                  <a:pt x="4076" y="7910"/>
                </a:lnTo>
                <a:lnTo>
                  <a:pt x="4078" y="7908"/>
                </a:lnTo>
                <a:lnTo>
                  <a:pt x="4076" y="7904"/>
                </a:lnTo>
                <a:lnTo>
                  <a:pt x="4074" y="7906"/>
                </a:lnTo>
                <a:lnTo>
                  <a:pt x="4070" y="7908"/>
                </a:lnTo>
                <a:lnTo>
                  <a:pt x="4070" y="7910"/>
                </a:lnTo>
                <a:close/>
                <a:moveTo>
                  <a:pt x="4088" y="7908"/>
                </a:moveTo>
                <a:lnTo>
                  <a:pt x="4088" y="7908"/>
                </a:lnTo>
                <a:lnTo>
                  <a:pt x="4092" y="7908"/>
                </a:lnTo>
                <a:lnTo>
                  <a:pt x="4094" y="7906"/>
                </a:lnTo>
                <a:lnTo>
                  <a:pt x="4094" y="7904"/>
                </a:lnTo>
                <a:lnTo>
                  <a:pt x="4092" y="7902"/>
                </a:lnTo>
                <a:lnTo>
                  <a:pt x="4090" y="7902"/>
                </a:lnTo>
                <a:lnTo>
                  <a:pt x="4088" y="7904"/>
                </a:lnTo>
                <a:lnTo>
                  <a:pt x="4086" y="7906"/>
                </a:lnTo>
                <a:lnTo>
                  <a:pt x="4088" y="7908"/>
                </a:lnTo>
                <a:close/>
                <a:moveTo>
                  <a:pt x="1488" y="2116"/>
                </a:moveTo>
                <a:lnTo>
                  <a:pt x="1488" y="2116"/>
                </a:lnTo>
                <a:lnTo>
                  <a:pt x="1490" y="2118"/>
                </a:lnTo>
                <a:lnTo>
                  <a:pt x="1492" y="2118"/>
                </a:lnTo>
                <a:lnTo>
                  <a:pt x="1494" y="2118"/>
                </a:lnTo>
                <a:lnTo>
                  <a:pt x="1498" y="2114"/>
                </a:lnTo>
                <a:lnTo>
                  <a:pt x="1498" y="2110"/>
                </a:lnTo>
                <a:lnTo>
                  <a:pt x="1496" y="2108"/>
                </a:lnTo>
                <a:lnTo>
                  <a:pt x="1492" y="2110"/>
                </a:lnTo>
                <a:lnTo>
                  <a:pt x="1490" y="2112"/>
                </a:lnTo>
                <a:lnTo>
                  <a:pt x="1488" y="2116"/>
                </a:lnTo>
                <a:close/>
                <a:moveTo>
                  <a:pt x="1514" y="2102"/>
                </a:moveTo>
                <a:lnTo>
                  <a:pt x="1514" y="2102"/>
                </a:lnTo>
                <a:lnTo>
                  <a:pt x="1518" y="2098"/>
                </a:lnTo>
                <a:lnTo>
                  <a:pt x="1522" y="2092"/>
                </a:lnTo>
                <a:lnTo>
                  <a:pt x="1524" y="2088"/>
                </a:lnTo>
                <a:lnTo>
                  <a:pt x="1522" y="2088"/>
                </a:lnTo>
                <a:lnTo>
                  <a:pt x="1516" y="2094"/>
                </a:lnTo>
                <a:lnTo>
                  <a:pt x="1508" y="2100"/>
                </a:lnTo>
                <a:lnTo>
                  <a:pt x="1506" y="2102"/>
                </a:lnTo>
                <a:lnTo>
                  <a:pt x="1508" y="2106"/>
                </a:lnTo>
                <a:lnTo>
                  <a:pt x="1510" y="2106"/>
                </a:lnTo>
                <a:lnTo>
                  <a:pt x="1514" y="2102"/>
                </a:lnTo>
                <a:close/>
                <a:moveTo>
                  <a:pt x="1474" y="2094"/>
                </a:moveTo>
                <a:lnTo>
                  <a:pt x="1474" y="2094"/>
                </a:lnTo>
                <a:lnTo>
                  <a:pt x="1476" y="2096"/>
                </a:lnTo>
                <a:lnTo>
                  <a:pt x="1480" y="2092"/>
                </a:lnTo>
                <a:lnTo>
                  <a:pt x="1478" y="2088"/>
                </a:lnTo>
                <a:lnTo>
                  <a:pt x="1474" y="2088"/>
                </a:lnTo>
                <a:lnTo>
                  <a:pt x="1470" y="2090"/>
                </a:lnTo>
                <a:lnTo>
                  <a:pt x="1470" y="2092"/>
                </a:lnTo>
                <a:lnTo>
                  <a:pt x="1474" y="2094"/>
                </a:lnTo>
                <a:close/>
                <a:moveTo>
                  <a:pt x="1420" y="2104"/>
                </a:moveTo>
                <a:lnTo>
                  <a:pt x="1420" y="2104"/>
                </a:lnTo>
                <a:lnTo>
                  <a:pt x="1418" y="2100"/>
                </a:lnTo>
                <a:lnTo>
                  <a:pt x="1416" y="2096"/>
                </a:lnTo>
                <a:lnTo>
                  <a:pt x="1408" y="2088"/>
                </a:lnTo>
                <a:lnTo>
                  <a:pt x="1406" y="2084"/>
                </a:lnTo>
                <a:lnTo>
                  <a:pt x="1406" y="2082"/>
                </a:lnTo>
                <a:lnTo>
                  <a:pt x="1408" y="2080"/>
                </a:lnTo>
                <a:lnTo>
                  <a:pt x="1406" y="2078"/>
                </a:lnTo>
                <a:lnTo>
                  <a:pt x="1404" y="2072"/>
                </a:lnTo>
                <a:lnTo>
                  <a:pt x="1402" y="2074"/>
                </a:lnTo>
                <a:lnTo>
                  <a:pt x="1400" y="2076"/>
                </a:lnTo>
                <a:lnTo>
                  <a:pt x="1398" y="2080"/>
                </a:lnTo>
                <a:lnTo>
                  <a:pt x="1402" y="2088"/>
                </a:lnTo>
                <a:lnTo>
                  <a:pt x="1410" y="2100"/>
                </a:lnTo>
                <a:lnTo>
                  <a:pt x="1414" y="2106"/>
                </a:lnTo>
                <a:lnTo>
                  <a:pt x="1418" y="2108"/>
                </a:lnTo>
                <a:lnTo>
                  <a:pt x="1420" y="2108"/>
                </a:lnTo>
                <a:lnTo>
                  <a:pt x="1420" y="2104"/>
                </a:lnTo>
                <a:close/>
                <a:moveTo>
                  <a:pt x="628" y="1922"/>
                </a:moveTo>
                <a:lnTo>
                  <a:pt x="628" y="1922"/>
                </a:lnTo>
                <a:lnTo>
                  <a:pt x="624" y="1918"/>
                </a:lnTo>
                <a:lnTo>
                  <a:pt x="624" y="1916"/>
                </a:lnTo>
                <a:lnTo>
                  <a:pt x="624" y="1912"/>
                </a:lnTo>
                <a:lnTo>
                  <a:pt x="622" y="1908"/>
                </a:lnTo>
                <a:lnTo>
                  <a:pt x="618" y="1906"/>
                </a:lnTo>
                <a:lnTo>
                  <a:pt x="616" y="1906"/>
                </a:lnTo>
                <a:lnTo>
                  <a:pt x="612" y="1908"/>
                </a:lnTo>
                <a:lnTo>
                  <a:pt x="608" y="1906"/>
                </a:lnTo>
                <a:lnTo>
                  <a:pt x="602" y="1902"/>
                </a:lnTo>
                <a:lnTo>
                  <a:pt x="596" y="1900"/>
                </a:lnTo>
                <a:lnTo>
                  <a:pt x="592" y="1900"/>
                </a:lnTo>
                <a:lnTo>
                  <a:pt x="592" y="1902"/>
                </a:lnTo>
                <a:lnTo>
                  <a:pt x="592" y="1904"/>
                </a:lnTo>
                <a:lnTo>
                  <a:pt x="594" y="1908"/>
                </a:lnTo>
                <a:lnTo>
                  <a:pt x="592" y="1910"/>
                </a:lnTo>
                <a:lnTo>
                  <a:pt x="588" y="1914"/>
                </a:lnTo>
                <a:lnTo>
                  <a:pt x="580" y="1914"/>
                </a:lnTo>
                <a:lnTo>
                  <a:pt x="578" y="1912"/>
                </a:lnTo>
                <a:lnTo>
                  <a:pt x="574" y="1908"/>
                </a:lnTo>
                <a:lnTo>
                  <a:pt x="570" y="1904"/>
                </a:lnTo>
                <a:lnTo>
                  <a:pt x="568" y="1906"/>
                </a:lnTo>
                <a:lnTo>
                  <a:pt x="566" y="1912"/>
                </a:lnTo>
                <a:lnTo>
                  <a:pt x="564" y="1918"/>
                </a:lnTo>
                <a:lnTo>
                  <a:pt x="564" y="1922"/>
                </a:lnTo>
                <a:lnTo>
                  <a:pt x="562" y="1924"/>
                </a:lnTo>
                <a:lnTo>
                  <a:pt x="558" y="1922"/>
                </a:lnTo>
                <a:lnTo>
                  <a:pt x="550" y="1922"/>
                </a:lnTo>
                <a:lnTo>
                  <a:pt x="544" y="1924"/>
                </a:lnTo>
                <a:lnTo>
                  <a:pt x="538" y="1926"/>
                </a:lnTo>
                <a:lnTo>
                  <a:pt x="534" y="1932"/>
                </a:lnTo>
                <a:lnTo>
                  <a:pt x="530" y="1936"/>
                </a:lnTo>
                <a:lnTo>
                  <a:pt x="530" y="1940"/>
                </a:lnTo>
                <a:lnTo>
                  <a:pt x="530" y="1944"/>
                </a:lnTo>
                <a:lnTo>
                  <a:pt x="534" y="1952"/>
                </a:lnTo>
                <a:lnTo>
                  <a:pt x="538" y="1962"/>
                </a:lnTo>
                <a:lnTo>
                  <a:pt x="542" y="1968"/>
                </a:lnTo>
                <a:lnTo>
                  <a:pt x="544" y="1970"/>
                </a:lnTo>
                <a:lnTo>
                  <a:pt x="548" y="1970"/>
                </a:lnTo>
                <a:lnTo>
                  <a:pt x="550" y="1968"/>
                </a:lnTo>
                <a:lnTo>
                  <a:pt x="556" y="1964"/>
                </a:lnTo>
                <a:lnTo>
                  <a:pt x="560" y="1964"/>
                </a:lnTo>
                <a:lnTo>
                  <a:pt x="562" y="1964"/>
                </a:lnTo>
                <a:lnTo>
                  <a:pt x="564" y="1966"/>
                </a:lnTo>
                <a:lnTo>
                  <a:pt x="562" y="1968"/>
                </a:lnTo>
                <a:lnTo>
                  <a:pt x="560" y="1972"/>
                </a:lnTo>
                <a:lnTo>
                  <a:pt x="556" y="1978"/>
                </a:lnTo>
                <a:lnTo>
                  <a:pt x="556" y="1980"/>
                </a:lnTo>
                <a:lnTo>
                  <a:pt x="560" y="1980"/>
                </a:lnTo>
                <a:lnTo>
                  <a:pt x="566" y="1976"/>
                </a:lnTo>
                <a:lnTo>
                  <a:pt x="574" y="1970"/>
                </a:lnTo>
                <a:lnTo>
                  <a:pt x="576" y="1966"/>
                </a:lnTo>
                <a:lnTo>
                  <a:pt x="576" y="1962"/>
                </a:lnTo>
                <a:lnTo>
                  <a:pt x="578" y="1956"/>
                </a:lnTo>
                <a:lnTo>
                  <a:pt x="580" y="1954"/>
                </a:lnTo>
                <a:lnTo>
                  <a:pt x="586" y="1950"/>
                </a:lnTo>
                <a:lnTo>
                  <a:pt x="596" y="1948"/>
                </a:lnTo>
                <a:lnTo>
                  <a:pt x="610" y="1946"/>
                </a:lnTo>
                <a:lnTo>
                  <a:pt x="620" y="1940"/>
                </a:lnTo>
                <a:lnTo>
                  <a:pt x="628" y="1936"/>
                </a:lnTo>
                <a:lnTo>
                  <a:pt x="632" y="1930"/>
                </a:lnTo>
                <a:lnTo>
                  <a:pt x="632" y="1924"/>
                </a:lnTo>
                <a:lnTo>
                  <a:pt x="632" y="1922"/>
                </a:lnTo>
                <a:lnTo>
                  <a:pt x="628" y="1922"/>
                </a:lnTo>
                <a:close/>
                <a:moveTo>
                  <a:pt x="620" y="1874"/>
                </a:moveTo>
                <a:lnTo>
                  <a:pt x="620" y="1874"/>
                </a:lnTo>
                <a:lnTo>
                  <a:pt x="616" y="1870"/>
                </a:lnTo>
                <a:lnTo>
                  <a:pt x="612" y="1868"/>
                </a:lnTo>
                <a:lnTo>
                  <a:pt x="608" y="1870"/>
                </a:lnTo>
                <a:lnTo>
                  <a:pt x="608" y="1876"/>
                </a:lnTo>
                <a:lnTo>
                  <a:pt x="608" y="1880"/>
                </a:lnTo>
                <a:lnTo>
                  <a:pt x="606" y="1880"/>
                </a:lnTo>
                <a:lnTo>
                  <a:pt x="602" y="1880"/>
                </a:lnTo>
                <a:lnTo>
                  <a:pt x="596" y="1882"/>
                </a:lnTo>
                <a:lnTo>
                  <a:pt x="592" y="1886"/>
                </a:lnTo>
                <a:lnTo>
                  <a:pt x="592" y="1890"/>
                </a:lnTo>
                <a:lnTo>
                  <a:pt x="594" y="1894"/>
                </a:lnTo>
                <a:lnTo>
                  <a:pt x="600" y="1898"/>
                </a:lnTo>
                <a:lnTo>
                  <a:pt x="606" y="1900"/>
                </a:lnTo>
                <a:lnTo>
                  <a:pt x="610" y="1898"/>
                </a:lnTo>
                <a:lnTo>
                  <a:pt x="614" y="1894"/>
                </a:lnTo>
                <a:lnTo>
                  <a:pt x="618" y="1890"/>
                </a:lnTo>
                <a:lnTo>
                  <a:pt x="622" y="1890"/>
                </a:lnTo>
                <a:lnTo>
                  <a:pt x="632" y="1888"/>
                </a:lnTo>
                <a:lnTo>
                  <a:pt x="636" y="1886"/>
                </a:lnTo>
                <a:lnTo>
                  <a:pt x="640" y="1884"/>
                </a:lnTo>
                <a:lnTo>
                  <a:pt x="640" y="1880"/>
                </a:lnTo>
                <a:lnTo>
                  <a:pt x="636" y="1874"/>
                </a:lnTo>
                <a:lnTo>
                  <a:pt x="634" y="1872"/>
                </a:lnTo>
                <a:lnTo>
                  <a:pt x="632" y="1872"/>
                </a:lnTo>
                <a:lnTo>
                  <a:pt x="628" y="1874"/>
                </a:lnTo>
                <a:lnTo>
                  <a:pt x="624" y="1876"/>
                </a:lnTo>
                <a:lnTo>
                  <a:pt x="622" y="1876"/>
                </a:lnTo>
                <a:lnTo>
                  <a:pt x="620" y="1874"/>
                </a:lnTo>
                <a:close/>
                <a:moveTo>
                  <a:pt x="830" y="1754"/>
                </a:moveTo>
                <a:lnTo>
                  <a:pt x="830" y="1754"/>
                </a:lnTo>
                <a:lnTo>
                  <a:pt x="820" y="1766"/>
                </a:lnTo>
                <a:lnTo>
                  <a:pt x="804" y="1784"/>
                </a:lnTo>
                <a:lnTo>
                  <a:pt x="802" y="1786"/>
                </a:lnTo>
                <a:lnTo>
                  <a:pt x="806" y="1786"/>
                </a:lnTo>
                <a:lnTo>
                  <a:pt x="818" y="1782"/>
                </a:lnTo>
                <a:lnTo>
                  <a:pt x="822" y="1780"/>
                </a:lnTo>
                <a:lnTo>
                  <a:pt x="826" y="1776"/>
                </a:lnTo>
                <a:lnTo>
                  <a:pt x="828" y="1772"/>
                </a:lnTo>
                <a:lnTo>
                  <a:pt x="834" y="1764"/>
                </a:lnTo>
                <a:lnTo>
                  <a:pt x="840" y="1756"/>
                </a:lnTo>
                <a:lnTo>
                  <a:pt x="840" y="1752"/>
                </a:lnTo>
                <a:lnTo>
                  <a:pt x="838" y="1752"/>
                </a:lnTo>
                <a:lnTo>
                  <a:pt x="836" y="1750"/>
                </a:lnTo>
                <a:lnTo>
                  <a:pt x="830" y="1754"/>
                </a:lnTo>
                <a:close/>
                <a:moveTo>
                  <a:pt x="864" y="1744"/>
                </a:moveTo>
                <a:lnTo>
                  <a:pt x="864" y="1744"/>
                </a:lnTo>
                <a:lnTo>
                  <a:pt x="856" y="1742"/>
                </a:lnTo>
                <a:lnTo>
                  <a:pt x="852" y="1744"/>
                </a:lnTo>
                <a:lnTo>
                  <a:pt x="852" y="1748"/>
                </a:lnTo>
                <a:lnTo>
                  <a:pt x="852" y="1756"/>
                </a:lnTo>
                <a:lnTo>
                  <a:pt x="856" y="1758"/>
                </a:lnTo>
                <a:lnTo>
                  <a:pt x="860" y="1756"/>
                </a:lnTo>
                <a:lnTo>
                  <a:pt x="870" y="1752"/>
                </a:lnTo>
                <a:lnTo>
                  <a:pt x="874" y="1750"/>
                </a:lnTo>
                <a:lnTo>
                  <a:pt x="874" y="1748"/>
                </a:lnTo>
                <a:lnTo>
                  <a:pt x="872" y="1746"/>
                </a:lnTo>
                <a:lnTo>
                  <a:pt x="864" y="1744"/>
                </a:lnTo>
                <a:close/>
                <a:moveTo>
                  <a:pt x="1368" y="1942"/>
                </a:moveTo>
                <a:lnTo>
                  <a:pt x="1368" y="1942"/>
                </a:lnTo>
                <a:lnTo>
                  <a:pt x="1372" y="1942"/>
                </a:lnTo>
                <a:lnTo>
                  <a:pt x="1372" y="1940"/>
                </a:lnTo>
                <a:lnTo>
                  <a:pt x="1372" y="1934"/>
                </a:lnTo>
                <a:lnTo>
                  <a:pt x="1370" y="1928"/>
                </a:lnTo>
                <a:lnTo>
                  <a:pt x="1370" y="1924"/>
                </a:lnTo>
                <a:lnTo>
                  <a:pt x="1372" y="1922"/>
                </a:lnTo>
                <a:lnTo>
                  <a:pt x="1372" y="1920"/>
                </a:lnTo>
                <a:lnTo>
                  <a:pt x="1370" y="1912"/>
                </a:lnTo>
                <a:lnTo>
                  <a:pt x="1360" y="1892"/>
                </a:lnTo>
                <a:lnTo>
                  <a:pt x="1358" y="1888"/>
                </a:lnTo>
                <a:lnTo>
                  <a:pt x="1356" y="1886"/>
                </a:lnTo>
                <a:lnTo>
                  <a:pt x="1350" y="1886"/>
                </a:lnTo>
                <a:lnTo>
                  <a:pt x="1344" y="1884"/>
                </a:lnTo>
                <a:lnTo>
                  <a:pt x="1342" y="1884"/>
                </a:lnTo>
                <a:lnTo>
                  <a:pt x="1338" y="1880"/>
                </a:lnTo>
                <a:lnTo>
                  <a:pt x="1332" y="1876"/>
                </a:lnTo>
                <a:lnTo>
                  <a:pt x="1332" y="1878"/>
                </a:lnTo>
                <a:lnTo>
                  <a:pt x="1334" y="1894"/>
                </a:lnTo>
                <a:lnTo>
                  <a:pt x="1338" y="1912"/>
                </a:lnTo>
                <a:lnTo>
                  <a:pt x="1340" y="1922"/>
                </a:lnTo>
                <a:lnTo>
                  <a:pt x="1344" y="1932"/>
                </a:lnTo>
                <a:lnTo>
                  <a:pt x="1348" y="1940"/>
                </a:lnTo>
                <a:lnTo>
                  <a:pt x="1346" y="1942"/>
                </a:lnTo>
                <a:lnTo>
                  <a:pt x="1342" y="1946"/>
                </a:lnTo>
                <a:lnTo>
                  <a:pt x="1342" y="1950"/>
                </a:lnTo>
                <a:lnTo>
                  <a:pt x="1342" y="1956"/>
                </a:lnTo>
                <a:lnTo>
                  <a:pt x="1342" y="1960"/>
                </a:lnTo>
                <a:lnTo>
                  <a:pt x="1346" y="1960"/>
                </a:lnTo>
                <a:lnTo>
                  <a:pt x="1358" y="1954"/>
                </a:lnTo>
                <a:lnTo>
                  <a:pt x="1360" y="1952"/>
                </a:lnTo>
                <a:lnTo>
                  <a:pt x="1362" y="1950"/>
                </a:lnTo>
                <a:lnTo>
                  <a:pt x="1362" y="1946"/>
                </a:lnTo>
                <a:lnTo>
                  <a:pt x="1362" y="1944"/>
                </a:lnTo>
                <a:lnTo>
                  <a:pt x="1368" y="1942"/>
                </a:lnTo>
                <a:close/>
                <a:moveTo>
                  <a:pt x="1338" y="1970"/>
                </a:moveTo>
                <a:lnTo>
                  <a:pt x="1338" y="1970"/>
                </a:lnTo>
                <a:lnTo>
                  <a:pt x="1334" y="1956"/>
                </a:lnTo>
                <a:lnTo>
                  <a:pt x="1332" y="1946"/>
                </a:lnTo>
                <a:lnTo>
                  <a:pt x="1326" y="1938"/>
                </a:lnTo>
                <a:lnTo>
                  <a:pt x="1316" y="1932"/>
                </a:lnTo>
                <a:lnTo>
                  <a:pt x="1312" y="1930"/>
                </a:lnTo>
                <a:lnTo>
                  <a:pt x="1308" y="1930"/>
                </a:lnTo>
                <a:lnTo>
                  <a:pt x="1304" y="1932"/>
                </a:lnTo>
                <a:lnTo>
                  <a:pt x="1302" y="1934"/>
                </a:lnTo>
                <a:lnTo>
                  <a:pt x="1302" y="1942"/>
                </a:lnTo>
                <a:lnTo>
                  <a:pt x="1302" y="1946"/>
                </a:lnTo>
                <a:lnTo>
                  <a:pt x="1310" y="1952"/>
                </a:lnTo>
                <a:lnTo>
                  <a:pt x="1312" y="1958"/>
                </a:lnTo>
                <a:lnTo>
                  <a:pt x="1312" y="1966"/>
                </a:lnTo>
                <a:lnTo>
                  <a:pt x="1312" y="1970"/>
                </a:lnTo>
                <a:lnTo>
                  <a:pt x="1312" y="1972"/>
                </a:lnTo>
                <a:lnTo>
                  <a:pt x="1316" y="1976"/>
                </a:lnTo>
                <a:lnTo>
                  <a:pt x="1320" y="1978"/>
                </a:lnTo>
                <a:lnTo>
                  <a:pt x="1320" y="1980"/>
                </a:lnTo>
                <a:lnTo>
                  <a:pt x="1320" y="1984"/>
                </a:lnTo>
                <a:lnTo>
                  <a:pt x="1322" y="1988"/>
                </a:lnTo>
                <a:lnTo>
                  <a:pt x="1324" y="1988"/>
                </a:lnTo>
                <a:lnTo>
                  <a:pt x="1326" y="1988"/>
                </a:lnTo>
                <a:lnTo>
                  <a:pt x="1326" y="1992"/>
                </a:lnTo>
                <a:lnTo>
                  <a:pt x="1326" y="1998"/>
                </a:lnTo>
                <a:lnTo>
                  <a:pt x="1326" y="2002"/>
                </a:lnTo>
                <a:lnTo>
                  <a:pt x="1332" y="2006"/>
                </a:lnTo>
                <a:lnTo>
                  <a:pt x="1338" y="2016"/>
                </a:lnTo>
                <a:lnTo>
                  <a:pt x="1340" y="2016"/>
                </a:lnTo>
                <a:lnTo>
                  <a:pt x="1342" y="2014"/>
                </a:lnTo>
                <a:lnTo>
                  <a:pt x="1342" y="2008"/>
                </a:lnTo>
                <a:lnTo>
                  <a:pt x="1340" y="1998"/>
                </a:lnTo>
                <a:lnTo>
                  <a:pt x="1340" y="1992"/>
                </a:lnTo>
                <a:lnTo>
                  <a:pt x="1340" y="1990"/>
                </a:lnTo>
                <a:lnTo>
                  <a:pt x="1342" y="1984"/>
                </a:lnTo>
                <a:lnTo>
                  <a:pt x="1338" y="1970"/>
                </a:lnTo>
                <a:close/>
                <a:moveTo>
                  <a:pt x="1294" y="1940"/>
                </a:moveTo>
                <a:lnTo>
                  <a:pt x="1294" y="1940"/>
                </a:lnTo>
                <a:lnTo>
                  <a:pt x="1292" y="1942"/>
                </a:lnTo>
                <a:lnTo>
                  <a:pt x="1292" y="1946"/>
                </a:lnTo>
                <a:lnTo>
                  <a:pt x="1292" y="1954"/>
                </a:lnTo>
                <a:lnTo>
                  <a:pt x="1292" y="1962"/>
                </a:lnTo>
                <a:lnTo>
                  <a:pt x="1294" y="1962"/>
                </a:lnTo>
                <a:lnTo>
                  <a:pt x="1298" y="1962"/>
                </a:lnTo>
                <a:lnTo>
                  <a:pt x="1300" y="1960"/>
                </a:lnTo>
                <a:lnTo>
                  <a:pt x="1300" y="1956"/>
                </a:lnTo>
                <a:lnTo>
                  <a:pt x="1300" y="1948"/>
                </a:lnTo>
                <a:lnTo>
                  <a:pt x="1296" y="1942"/>
                </a:lnTo>
                <a:lnTo>
                  <a:pt x="1294" y="1940"/>
                </a:lnTo>
                <a:close/>
                <a:moveTo>
                  <a:pt x="1300" y="1922"/>
                </a:moveTo>
                <a:lnTo>
                  <a:pt x="1300" y="1922"/>
                </a:lnTo>
                <a:lnTo>
                  <a:pt x="1298" y="1916"/>
                </a:lnTo>
                <a:lnTo>
                  <a:pt x="1300" y="1914"/>
                </a:lnTo>
                <a:lnTo>
                  <a:pt x="1304" y="1916"/>
                </a:lnTo>
                <a:lnTo>
                  <a:pt x="1314" y="1922"/>
                </a:lnTo>
                <a:lnTo>
                  <a:pt x="1324" y="1928"/>
                </a:lnTo>
                <a:lnTo>
                  <a:pt x="1330" y="1930"/>
                </a:lnTo>
                <a:lnTo>
                  <a:pt x="1332" y="1930"/>
                </a:lnTo>
                <a:lnTo>
                  <a:pt x="1334" y="1928"/>
                </a:lnTo>
                <a:lnTo>
                  <a:pt x="1332" y="1920"/>
                </a:lnTo>
                <a:lnTo>
                  <a:pt x="1328" y="1910"/>
                </a:lnTo>
                <a:lnTo>
                  <a:pt x="1328" y="1908"/>
                </a:lnTo>
                <a:lnTo>
                  <a:pt x="1330" y="1902"/>
                </a:lnTo>
                <a:lnTo>
                  <a:pt x="1330" y="1900"/>
                </a:lnTo>
                <a:lnTo>
                  <a:pt x="1328" y="1896"/>
                </a:lnTo>
                <a:lnTo>
                  <a:pt x="1320" y="1890"/>
                </a:lnTo>
                <a:lnTo>
                  <a:pt x="1302" y="1882"/>
                </a:lnTo>
                <a:lnTo>
                  <a:pt x="1294" y="1880"/>
                </a:lnTo>
                <a:lnTo>
                  <a:pt x="1288" y="1882"/>
                </a:lnTo>
                <a:lnTo>
                  <a:pt x="1284" y="1884"/>
                </a:lnTo>
                <a:lnTo>
                  <a:pt x="1278" y="1884"/>
                </a:lnTo>
                <a:lnTo>
                  <a:pt x="1274" y="1884"/>
                </a:lnTo>
                <a:lnTo>
                  <a:pt x="1272" y="1886"/>
                </a:lnTo>
                <a:lnTo>
                  <a:pt x="1268" y="1892"/>
                </a:lnTo>
                <a:lnTo>
                  <a:pt x="1266" y="1898"/>
                </a:lnTo>
                <a:lnTo>
                  <a:pt x="1266" y="1902"/>
                </a:lnTo>
                <a:lnTo>
                  <a:pt x="1268" y="1906"/>
                </a:lnTo>
                <a:lnTo>
                  <a:pt x="1276" y="1910"/>
                </a:lnTo>
                <a:lnTo>
                  <a:pt x="1278" y="1912"/>
                </a:lnTo>
                <a:lnTo>
                  <a:pt x="1280" y="1914"/>
                </a:lnTo>
                <a:lnTo>
                  <a:pt x="1280" y="1918"/>
                </a:lnTo>
                <a:lnTo>
                  <a:pt x="1280" y="1924"/>
                </a:lnTo>
                <a:lnTo>
                  <a:pt x="1284" y="1928"/>
                </a:lnTo>
                <a:lnTo>
                  <a:pt x="1288" y="1932"/>
                </a:lnTo>
                <a:lnTo>
                  <a:pt x="1294" y="1934"/>
                </a:lnTo>
                <a:lnTo>
                  <a:pt x="1298" y="1932"/>
                </a:lnTo>
                <a:lnTo>
                  <a:pt x="1302" y="1926"/>
                </a:lnTo>
                <a:lnTo>
                  <a:pt x="1302" y="1924"/>
                </a:lnTo>
                <a:lnTo>
                  <a:pt x="1300" y="1922"/>
                </a:lnTo>
                <a:close/>
                <a:moveTo>
                  <a:pt x="1404" y="1984"/>
                </a:moveTo>
                <a:lnTo>
                  <a:pt x="1404" y="1984"/>
                </a:lnTo>
                <a:lnTo>
                  <a:pt x="1406" y="1982"/>
                </a:lnTo>
                <a:lnTo>
                  <a:pt x="1408" y="1976"/>
                </a:lnTo>
                <a:lnTo>
                  <a:pt x="1410" y="1970"/>
                </a:lnTo>
                <a:lnTo>
                  <a:pt x="1408" y="1964"/>
                </a:lnTo>
                <a:lnTo>
                  <a:pt x="1404" y="1962"/>
                </a:lnTo>
                <a:lnTo>
                  <a:pt x="1400" y="1962"/>
                </a:lnTo>
                <a:lnTo>
                  <a:pt x="1394" y="1962"/>
                </a:lnTo>
                <a:lnTo>
                  <a:pt x="1388" y="1960"/>
                </a:lnTo>
                <a:lnTo>
                  <a:pt x="1382" y="1956"/>
                </a:lnTo>
                <a:lnTo>
                  <a:pt x="1374" y="1956"/>
                </a:lnTo>
                <a:lnTo>
                  <a:pt x="1370" y="1958"/>
                </a:lnTo>
                <a:lnTo>
                  <a:pt x="1370" y="1962"/>
                </a:lnTo>
                <a:lnTo>
                  <a:pt x="1370" y="1966"/>
                </a:lnTo>
                <a:lnTo>
                  <a:pt x="1370" y="1970"/>
                </a:lnTo>
                <a:lnTo>
                  <a:pt x="1372" y="1970"/>
                </a:lnTo>
                <a:lnTo>
                  <a:pt x="1378" y="1970"/>
                </a:lnTo>
                <a:lnTo>
                  <a:pt x="1380" y="1970"/>
                </a:lnTo>
                <a:lnTo>
                  <a:pt x="1382" y="1972"/>
                </a:lnTo>
                <a:lnTo>
                  <a:pt x="1382" y="1976"/>
                </a:lnTo>
                <a:lnTo>
                  <a:pt x="1382" y="1982"/>
                </a:lnTo>
                <a:lnTo>
                  <a:pt x="1382" y="1992"/>
                </a:lnTo>
                <a:lnTo>
                  <a:pt x="1384" y="1994"/>
                </a:lnTo>
                <a:lnTo>
                  <a:pt x="1386" y="1996"/>
                </a:lnTo>
                <a:lnTo>
                  <a:pt x="1390" y="1996"/>
                </a:lnTo>
                <a:lnTo>
                  <a:pt x="1398" y="1996"/>
                </a:lnTo>
                <a:lnTo>
                  <a:pt x="1402" y="1996"/>
                </a:lnTo>
                <a:lnTo>
                  <a:pt x="1404" y="1996"/>
                </a:lnTo>
                <a:lnTo>
                  <a:pt x="1404" y="1992"/>
                </a:lnTo>
                <a:lnTo>
                  <a:pt x="1404" y="1988"/>
                </a:lnTo>
                <a:lnTo>
                  <a:pt x="1404" y="1986"/>
                </a:lnTo>
                <a:lnTo>
                  <a:pt x="1404" y="1984"/>
                </a:lnTo>
                <a:close/>
                <a:moveTo>
                  <a:pt x="1376" y="1988"/>
                </a:moveTo>
                <a:lnTo>
                  <a:pt x="1376" y="1988"/>
                </a:lnTo>
                <a:lnTo>
                  <a:pt x="1378" y="1980"/>
                </a:lnTo>
                <a:lnTo>
                  <a:pt x="1376" y="1978"/>
                </a:lnTo>
                <a:lnTo>
                  <a:pt x="1374" y="1976"/>
                </a:lnTo>
                <a:lnTo>
                  <a:pt x="1370" y="1974"/>
                </a:lnTo>
                <a:lnTo>
                  <a:pt x="1366" y="1970"/>
                </a:lnTo>
                <a:lnTo>
                  <a:pt x="1364" y="1966"/>
                </a:lnTo>
                <a:lnTo>
                  <a:pt x="1360" y="1966"/>
                </a:lnTo>
                <a:lnTo>
                  <a:pt x="1356" y="1968"/>
                </a:lnTo>
                <a:lnTo>
                  <a:pt x="1352" y="1972"/>
                </a:lnTo>
                <a:lnTo>
                  <a:pt x="1350" y="1974"/>
                </a:lnTo>
                <a:lnTo>
                  <a:pt x="1350" y="1978"/>
                </a:lnTo>
                <a:lnTo>
                  <a:pt x="1354" y="1984"/>
                </a:lnTo>
                <a:lnTo>
                  <a:pt x="1364" y="1996"/>
                </a:lnTo>
                <a:lnTo>
                  <a:pt x="1366" y="2000"/>
                </a:lnTo>
                <a:lnTo>
                  <a:pt x="1364" y="2000"/>
                </a:lnTo>
                <a:lnTo>
                  <a:pt x="1362" y="2000"/>
                </a:lnTo>
                <a:lnTo>
                  <a:pt x="1358" y="2000"/>
                </a:lnTo>
                <a:lnTo>
                  <a:pt x="1356" y="2004"/>
                </a:lnTo>
                <a:lnTo>
                  <a:pt x="1356" y="2010"/>
                </a:lnTo>
                <a:lnTo>
                  <a:pt x="1358" y="2020"/>
                </a:lnTo>
                <a:lnTo>
                  <a:pt x="1360" y="2022"/>
                </a:lnTo>
                <a:lnTo>
                  <a:pt x="1362" y="2022"/>
                </a:lnTo>
                <a:lnTo>
                  <a:pt x="1362" y="2018"/>
                </a:lnTo>
                <a:lnTo>
                  <a:pt x="1364" y="2014"/>
                </a:lnTo>
                <a:lnTo>
                  <a:pt x="1364" y="2012"/>
                </a:lnTo>
                <a:lnTo>
                  <a:pt x="1366" y="2014"/>
                </a:lnTo>
                <a:lnTo>
                  <a:pt x="1368" y="2020"/>
                </a:lnTo>
                <a:lnTo>
                  <a:pt x="1370" y="2020"/>
                </a:lnTo>
                <a:lnTo>
                  <a:pt x="1372" y="2012"/>
                </a:lnTo>
                <a:lnTo>
                  <a:pt x="1374" y="2008"/>
                </a:lnTo>
                <a:lnTo>
                  <a:pt x="1374" y="2002"/>
                </a:lnTo>
                <a:lnTo>
                  <a:pt x="1374" y="1996"/>
                </a:lnTo>
                <a:lnTo>
                  <a:pt x="1376" y="1988"/>
                </a:lnTo>
                <a:close/>
                <a:moveTo>
                  <a:pt x="1392" y="2016"/>
                </a:moveTo>
                <a:lnTo>
                  <a:pt x="1392" y="2016"/>
                </a:lnTo>
                <a:lnTo>
                  <a:pt x="1384" y="2016"/>
                </a:lnTo>
                <a:lnTo>
                  <a:pt x="1382" y="2016"/>
                </a:lnTo>
                <a:lnTo>
                  <a:pt x="1384" y="2018"/>
                </a:lnTo>
                <a:lnTo>
                  <a:pt x="1384" y="2020"/>
                </a:lnTo>
                <a:lnTo>
                  <a:pt x="1382" y="2020"/>
                </a:lnTo>
                <a:lnTo>
                  <a:pt x="1378" y="2022"/>
                </a:lnTo>
                <a:lnTo>
                  <a:pt x="1376" y="2024"/>
                </a:lnTo>
                <a:lnTo>
                  <a:pt x="1376" y="2028"/>
                </a:lnTo>
                <a:lnTo>
                  <a:pt x="1376" y="2030"/>
                </a:lnTo>
                <a:lnTo>
                  <a:pt x="1378" y="2030"/>
                </a:lnTo>
                <a:lnTo>
                  <a:pt x="1384" y="2028"/>
                </a:lnTo>
                <a:lnTo>
                  <a:pt x="1386" y="2026"/>
                </a:lnTo>
                <a:lnTo>
                  <a:pt x="1392" y="2026"/>
                </a:lnTo>
                <a:lnTo>
                  <a:pt x="1396" y="2024"/>
                </a:lnTo>
                <a:lnTo>
                  <a:pt x="1396" y="2022"/>
                </a:lnTo>
                <a:lnTo>
                  <a:pt x="1396" y="2018"/>
                </a:lnTo>
                <a:lnTo>
                  <a:pt x="1392" y="2016"/>
                </a:lnTo>
                <a:close/>
                <a:moveTo>
                  <a:pt x="1406" y="2070"/>
                </a:moveTo>
                <a:lnTo>
                  <a:pt x="1406" y="2070"/>
                </a:lnTo>
                <a:lnTo>
                  <a:pt x="1410" y="2070"/>
                </a:lnTo>
                <a:lnTo>
                  <a:pt x="1410" y="2072"/>
                </a:lnTo>
                <a:lnTo>
                  <a:pt x="1412" y="2074"/>
                </a:lnTo>
                <a:lnTo>
                  <a:pt x="1416" y="2072"/>
                </a:lnTo>
                <a:lnTo>
                  <a:pt x="1418" y="2074"/>
                </a:lnTo>
                <a:lnTo>
                  <a:pt x="1424" y="2080"/>
                </a:lnTo>
                <a:lnTo>
                  <a:pt x="1426" y="2084"/>
                </a:lnTo>
                <a:lnTo>
                  <a:pt x="1426" y="2086"/>
                </a:lnTo>
                <a:lnTo>
                  <a:pt x="1426" y="2088"/>
                </a:lnTo>
                <a:lnTo>
                  <a:pt x="1428" y="2090"/>
                </a:lnTo>
                <a:lnTo>
                  <a:pt x="1430" y="2092"/>
                </a:lnTo>
                <a:lnTo>
                  <a:pt x="1432" y="2090"/>
                </a:lnTo>
                <a:lnTo>
                  <a:pt x="1434" y="2090"/>
                </a:lnTo>
                <a:lnTo>
                  <a:pt x="1434" y="2094"/>
                </a:lnTo>
                <a:lnTo>
                  <a:pt x="1436" y="2102"/>
                </a:lnTo>
                <a:lnTo>
                  <a:pt x="1440" y="2106"/>
                </a:lnTo>
                <a:lnTo>
                  <a:pt x="1444" y="2106"/>
                </a:lnTo>
                <a:lnTo>
                  <a:pt x="1448" y="2104"/>
                </a:lnTo>
                <a:lnTo>
                  <a:pt x="1450" y="2100"/>
                </a:lnTo>
                <a:lnTo>
                  <a:pt x="1450" y="2096"/>
                </a:lnTo>
                <a:lnTo>
                  <a:pt x="1450" y="2092"/>
                </a:lnTo>
                <a:lnTo>
                  <a:pt x="1450" y="2088"/>
                </a:lnTo>
                <a:lnTo>
                  <a:pt x="1450" y="2084"/>
                </a:lnTo>
                <a:lnTo>
                  <a:pt x="1448" y="2084"/>
                </a:lnTo>
                <a:lnTo>
                  <a:pt x="1448" y="2082"/>
                </a:lnTo>
                <a:lnTo>
                  <a:pt x="1448" y="2076"/>
                </a:lnTo>
                <a:lnTo>
                  <a:pt x="1450" y="2070"/>
                </a:lnTo>
                <a:lnTo>
                  <a:pt x="1448" y="2070"/>
                </a:lnTo>
                <a:lnTo>
                  <a:pt x="1446" y="2070"/>
                </a:lnTo>
                <a:lnTo>
                  <a:pt x="1444" y="2068"/>
                </a:lnTo>
                <a:lnTo>
                  <a:pt x="1444" y="2066"/>
                </a:lnTo>
                <a:lnTo>
                  <a:pt x="1442" y="2062"/>
                </a:lnTo>
                <a:lnTo>
                  <a:pt x="1440" y="2062"/>
                </a:lnTo>
                <a:lnTo>
                  <a:pt x="1438" y="2062"/>
                </a:lnTo>
                <a:lnTo>
                  <a:pt x="1434" y="2060"/>
                </a:lnTo>
                <a:lnTo>
                  <a:pt x="1432" y="2058"/>
                </a:lnTo>
                <a:lnTo>
                  <a:pt x="1428" y="2058"/>
                </a:lnTo>
                <a:lnTo>
                  <a:pt x="1424" y="2060"/>
                </a:lnTo>
                <a:lnTo>
                  <a:pt x="1422" y="2058"/>
                </a:lnTo>
                <a:lnTo>
                  <a:pt x="1422" y="2056"/>
                </a:lnTo>
                <a:lnTo>
                  <a:pt x="1424" y="2052"/>
                </a:lnTo>
                <a:lnTo>
                  <a:pt x="1430" y="2052"/>
                </a:lnTo>
                <a:lnTo>
                  <a:pt x="1436" y="2056"/>
                </a:lnTo>
                <a:lnTo>
                  <a:pt x="1440" y="2058"/>
                </a:lnTo>
                <a:lnTo>
                  <a:pt x="1442" y="2058"/>
                </a:lnTo>
                <a:lnTo>
                  <a:pt x="1434" y="2050"/>
                </a:lnTo>
                <a:lnTo>
                  <a:pt x="1430" y="2044"/>
                </a:lnTo>
                <a:lnTo>
                  <a:pt x="1428" y="2038"/>
                </a:lnTo>
                <a:lnTo>
                  <a:pt x="1426" y="2032"/>
                </a:lnTo>
                <a:lnTo>
                  <a:pt x="1422" y="2026"/>
                </a:lnTo>
                <a:lnTo>
                  <a:pt x="1416" y="2022"/>
                </a:lnTo>
                <a:lnTo>
                  <a:pt x="1410" y="2022"/>
                </a:lnTo>
                <a:lnTo>
                  <a:pt x="1406" y="2022"/>
                </a:lnTo>
                <a:lnTo>
                  <a:pt x="1404" y="2020"/>
                </a:lnTo>
                <a:lnTo>
                  <a:pt x="1404" y="2018"/>
                </a:lnTo>
                <a:lnTo>
                  <a:pt x="1404" y="2014"/>
                </a:lnTo>
                <a:lnTo>
                  <a:pt x="1404" y="2008"/>
                </a:lnTo>
                <a:lnTo>
                  <a:pt x="1402" y="2004"/>
                </a:lnTo>
                <a:lnTo>
                  <a:pt x="1400" y="2002"/>
                </a:lnTo>
                <a:lnTo>
                  <a:pt x="1398" y="2002"/>
                </a:lnTo>
                <a:lnTo>
                  <a:pt x="1396" y="2004"/>
                </a:lnTo>
                <a:lnTo>
                  <a:pt x="1390" y="2004"/>
                </a:lnTo>
                <a:lnTo>
                  <a:pt x="1386" y="2002"/>
                </a:lnTo>
                <a:lnTo>
                  <a:pt x="1386" y="2004"/>
                </a:lnTo>
                <a:lnTo>
                  <a:pt x="1384" y="2006"/>
                </a:lnTo>
                <a:lnTo>
                  <a:pt x="1382" y="2008"/>
                </a:lnTo>
                <a:lnTo>
                  <a:pt x="1382" y="2010"/>
                </a:lnTo>
                <a:lnTo>
                  <a:pt x="1390" y="2012"/>
                </a:lnTo>
                <a:lnTo>
                  <a:pt x="1396" y="2014"/>
                </a:lnTo>
                <a:lnTo>
                  <a:pt x="1398" y="2018"/>
                </a:lnTo>
                <a:lnTo>
                  <a:pt x="1398" y="2022"/>
                </a:lnTo>
                <a:lnTo>
                  <a:pt x="1398" y="2028"/>
                </a:lnTo>
                <a:lnTo>
                  <a:pt x="1400" y="2030"/>
                </a:lnTo>
                <a:lnTo>
                  <a:pt x="1402" y="2034"/>
                </a:lnTo>
                <a:lnTo>
                  <a:pt x="1402" y="2038"/>
                </a:lnTo>
                <a:lnTo>
                  <a:pt x="1400" y="2040"/>
                </a:lnTo>
                <a:lnTo>
                  <a:pt x="1398" y="2040"/>
                </a:lnTo>
                <a:lnTo>
                  <a:pt x="1396" y="2040"/>
                </a:lnTo>
                <a:lnTo>
                  <a:pt x="1394" y="2042"/>
                </a:lnTo>
                <a:lnTo>
                  <a:pt x="1392" y="2046"/>
                </a:lnTo>
                <a:lnTo>
                  <a:pt x="1394" y="2048"/>
                </a:lnTo>
                <a:lnTo>
                  <a:pt x="1402" y="2050"/>
                </a:lnTo>
                <a:lnTo>
                  <a:pt x="1406" y="2050"/>
                </a:lnTo>
                <a:lnTo>
                  <a:pt x="1404" y="2052"/>
                </a:lnTo>
                <a:lnTo>
                  <a:pt x="1404" y="2056"/>
                </a:lnTo>
                <a:lnTo>
                  <a:pt x="1406" y="2060"/>
                </a:lnTo>
                <a:lnTo>
                  <a:pt x="1408" y="2062"/>
                </a:lnTo>
                <a:lnTo>
                  <a:pt x="1406" y="2064"/>
                </a:lnTo>
                <a:lnTo>
                  <a:pt x="1404" y="2064"/>
                </a:lnTo>
                <a:lnTo>
                  <a:pt x="1398" y="2064"/>
                </a:lnTo>
                <a:lnTo>
                  <a:pt x="1398" y="2066"/>
                </a:lnTo>
                <a:lnTo>
                  <a:pt x="1398" y="2068"/>
                </a:lnTo>
                <a:lnTo>
                  <a:pt x="1400" y="2070"/>
                </a:lnTo>
                <a:lnTo>
                  <a:pt x="1406" y="2070"/>
                </a:lnTo>
                <a:close/>
                <a:moveTo>
                  <a:pt x="3826" y="3942"/>
                </a:moveTo>
                <a:lnTo>
                  <a:pt x="3826" y="3942"/>
                </a:lnTo>
                <a:lnTo>
                  <a:pt x="3824" y="3946"/>
                </a:lnTo>
                <a:lnTo>
                  <a:pt x="3822" y="3946"/>
                </a:lnTo>
                <a:lnTo>
                  <a:pt x="3818" y="3946"/>
                </a:lnTo>
                <a:lnTo>
                  <a:pt x="3812" y="3946"/>
                </a:lnTo>
                <a:lnTo>
                  <a:pt x="3808" y="3948"/>
                </a:lnTo>
                <a:lnTo>
                  <a:pt x="3804" y="3952"/>
                </a:lnTo>
                <a:lnTo>
                  <a:pt x="3802" y="3956"/>
                </a:lnTo>
                <a:lnTo>
                  <a:pt x="3802" y="3960"/>
                </a:lnTo>
                <a:lnTo>
                  <a:pt x="3806" y="3960"/>
                </a:lnTo>
                <a:lnTo>
                  <a:pt x="3818" y="3958"/>
                </a:lnTo>
                <a:lnTo>
                  <a:pt x="3824" y="3956"/>
                </a:lnTo>
                <a:lnTo>
                  <a:pt x="3828" y="3952"/>
                </a:lnTo>
                <a:lnTo>
                  <a:pt x="3830" y="3948"/>
                </a:lnTo>
                <a:lnTo>
                  <a:pt x="3830" y="3944"/>
                </a:lnTo>
                <a:lnTo>
                  <a:pt x="3830" y="3940"/>
                </a:lnTo>
                <a:lnTo>
                  <a:pt x="3828" y="3940"/>
                </a:lnTo>
                <a:lnTo>
                  <a:pt x="3826" y="3942"/>
                </a:lnTo>
                <a:close/>
                <a:moveTo>
                  <a:pt x="3640" y="3780"/>
                </a:moveTo>
                <a:lnTo>
                  <a:pt x="3640" y="3780"/>
                </a:lnTo>
                <a:lnTo>
                  <a:pt x="3642" y="3776"/>
                </a:lnTo>
                <a:lnTo>
                  <a:pt x="3644" y="3772"/>
                </a:lnTo>
                <a:lnTo>
                  <a:pt x="3642" y="3766"/>
                </a:lnTo>
                <a:lnTo>
                  <a:pt x="3636" y="3760"/>
                </a:lnTo>
                <a:lnTo>
                  <a:pt x="3632" y="3754"/>
                </a:lnTo>
                <a:lnTo>
                  <a:pt x="3630" y="3748"/>
                </a:lnTo>
                <a:lnTo>
                  <a:pt x="3630" y="3744"/>
                </a:lnTo>
                <a:lnTo>
                  <a:pt x="3626" y="3742"/>
                </a:lnTo>
                <a:lnTo>
                  <a:pt x="3622" y="3744"/>
                </a:lnTo>
                <a:lnTo>
                  <a:pt x="3622" y="3748"/>
                </a:lnTo>
                <a:lnTo>
                  <a:pt x="3622" y="3754"/>
                </a:lnTo>
                <a:lnTo>
                  <a:pt x="3620" y="3764"/>
                </a:lnTo>
                <a:lnTo>
                  <a:pt x="3616" y="3772"/>
                </a:lnTo>
                <a:lnTo>
                  <a:pt x="3618" y="3776"/>
                </a:lnTo>
                <a:lnTo>
                  <a:pt x="3622" y="3780"/>
                </a:lnTo>
                <a:lnTo>
                  <a:pt x="3628" y="3786"/>
                </a:lnTo>
                <a:lnTo>
                  <a:pt x="3632" y="3788"/>
                </a:lnTo>
                <a:lnTo>
                  <a:pt x="3634" y="3786"/>
                </a:lnTo>
                <a:lnTo>
                  <a:pt x="3640" y="3780"/>
                </a:lnTo>
                <a:close/>
                <a:moveTo>
                  <a:pt x="3646" y="3816"/>
                </a:moveTo>
                <a:lnTo>
                  <a:pt x="3646" y="3816"/>
                </a:lnTo>
                <a:lnTo>
                  <a:pt x="3650" y="3814"/>
                </a:lnTo>
                <a:lnTo>
                  <a:pt x="3652" y="3810"/>
                </a:lnTo>
                <a:lnTo>
                  <a:pt x="3652" y="3804"/>
                </a:lnTo>
                <a:lnTo>
                  <a:pt x="3650" y="3796"/>
                </a:lnTo>
                <a:lnTo>
                  <a:pt x="3646" y="3790"/>
                </a:lnTo>
                <a:lnTo>
                  <a:pt x="3644" y="3792"/>
                </a:lnTo>
                <a:lnTo>
                  <a:pt x="3642" y="3792"/>
                </a:lnTo>
                <a:lnTo>
                  <a:pt x="3640" y="3792"/>
                </a:lnTo>
                <a:lnTo>
                  <a:pt x="3638" y="3790"/>
                </a:lnTo>
                <a:lnTo>
                  <a:pt x="3636" y="3790"/>
                </a:lnTo>
                <a:lnTo>
                  <a:pt x="3634" y="3794"/>
                </a:lnTo>
                <a:lnTo>
                  <a:pt x="3634" y="3802"/>
                </a:lnTo>
                <a:lnTo>
                  <a:pt x="3640" y="3808"/>
                </a:lnTo>
                <a:lnTo>
                  <a:pt x="3642" y="3814"/>
                </a:lnTo>
                <a:lnTo>
                  <a:pt x="3644" y="3816"/>
                </a:lnTo>
                <a:lnTo>
                  <a:pt x="3646" y="3816"/>
                </a:lnTo>
                <a:close/>
                <a:moveTo>
                  <a:pt x="3596" y="3668"/>
                </a:moveTo>
                <a:lnTo>
                  <a:pt x="3596" y="3668"/>
                </a:lnTo>
                <a:lnTo>
                  <a:pt x="3590" y="3666"/>
                </a:lnTo>
                <a:lnTo>
                  <a:pt x="3590" y="3670"/>
                </a:lnTo>
                <a:lnTo>
                  <a:pt x="3596" y="3674"/>
                </a:lnTo>
                <a:lnTo>
                  <a:pt x="3598" y="3676"/>
                </a:lnTo>
                <a:lnTo>
                  <a:pt x="3602" y="3676"/>
                </a:lnTo>
                <a:lnTo>
                  <a:pt x="3616" y="3670"/>
                </a:lnTo>
                <a:lnTo>
                  <a:pt x="3624" y="3668"/>
                </a:lnTo>
                <a:lnTo>
                  <a:pt x="3630" y="3668"/>
                </a:lnTo>
                <a:lnTo>
                  <a:pt x="3632" y="3668"/>
                </a:lnTo>
                <a:lnTo>
                  <a:pt x="3634" y="3666"/>
                </a:lnTo>
                <a:lnTo>
                  <a:pt x="3634" y="3664"/>
                </a:lnTo>
                <a:lnTo>
                  <a:pt x="3632" y="3662"/>
                </a:lnTo>
                <a:lnTo>
                  <a:pt x="3626" y="3662"/>
                </a:lnTo>
                <a:lnTo>
                  <a:pt x="3618" y="3664"/>
                </a:lnTo>
                <a:lnTo>
                  <a:pt x="3608" y="3662"/>
                </a:lnTo>
                <a:lnTo>
                  <a:pt x="3604" y="3660"/>
                </a:lnTo>
                <a:lnTo>
                  <a:pt x="3602" y="3660"/>
                </a:lnTo>
                <a:lnTo>
                  <a:pt x="3602" y="3664"/>
                </a:lnTo>
                <a:lnTo>
                  <a:pt x="3602" y="3668"/>
                </a:lnTo>
                <a:lnTo>
                  <a:pt x="3600" y="3670"/>
                </a:lnTo>
                <a:lnTo>
                  <a:pt x="3596" y="3668"/>
                </a:lnTo>
                <a:close/>
                <a:moveTo>
                  <a:pt x="3666" y="3688"/>
                </a:moveTo>
                <a:lnTo>
                  <a:pt x="3666" y="3688"/>
                </a:lnTo>
                <a:lnTo>
                  <a:pt x="3668" y="3686"/>
                </a:lnTo>
                <a:lnTo>
                  <a:pt x="3668" y="3680"/>
                </a:lnTo>
                <a:lnTo>
                  <a:pt x="3668" y="3674"/>
                </a:lnTo>
                <a:lnTo>
                  <a:pt x="3664" y="3670"/>
                </a:lnTo>
                <a:lnTo>
                  <a:pt x="3658" y="3666"/>
                </a:lnTo>
                <a:lnTo>
                  <a:pt x="3654" y="3660"/>
                </a:lnTo>
                <a:lnTo>
                  <a:pt x="3648" y="3656"/>
                </a:lnTo>
                <a:lnTo>
                  <a:pt x="3640" y="3654"/>
                </a:lnTo>
                <a:lnTo>
                  <a:pt x="3634" y="3654"/>
                </a:lnTo>
                <a:lnTo>
                  <a:pt x="3644" y="3658"/>
                </a:lnTo>
                <a:lnTo>
                  <a:pt x="3648" y="3660"/>
                </a:lnTo>
                <a:lnTo>
                  <a:pt x="3650" y="3662"/>
                </a:lnTo>
                <a:lnTo>
                  <a:pt x="3654" y="3666"/>
                </a:lnTo>
                <a:lnTo>
                  <a:pt x="3658" y="3672"/>
                </a:lnTo>
                <a:lnTo>
                  <a:pt x="3662" y="3676"/>
                </a:lnTo>
                <a:lnTo>
                  <a:pt x="3662" y="3678"/>
                </a:lnTo>
                <a:lnTo>
                  <a:pt x="3660" y="3682"/>
                </a:lnTo>
                <a:lnTo>
                  <a:pt x="3658" y="3690"/>
                </a:lnTo>
                <a:lnTo>
                  <a:pt x="3658" y="3694"/>
                </a:lnTo>
                <a:lnTo>
                  <a:pt x="3656" y="3696"/>
                </a:lnTo>
                <a:lnTo>
                  <a:pt x="3654" y="3698"/>
                </a:lnTo>
                <a:lnTo>
                  <a:pt x="3652" y="3700"/>
                </a:lnTo>
                <a:lnTo>
                  <a:pt x="3658" y="3706"/>
                </a:lnTo>
                <a:lnTo>
                  <a:pt x="3660" y="3708"/>
                </a:lnTo>
                <a:lnTo>
                  <a:pt x="3660" y="3706"/>
                </a:lnTo>
                <a:lnTo>
                  <a:pt x="3662" y="3700"/>
                </a:lnTo>
                <a:lnTo>
                  <a:pt x="3664" y="3694"/>
                </a:lnTo>
                <a:lnTo>
                  <a:pt x="3666" y="3688"/>
                </a:lnTo>
                <a:close/>
                <a:moveTo>
                  <a:pt x="3840" y="3888"/>
                </a:moveTo>
                <a:lnTo>
                  <a:pt x="3840" y="3888"/>
                </a:lnTo>
                <a:lnTo>
                  <a:pt x="3838" y="3886"/>
                </a:lnTo>
                <a:lnTo>
                  <a:pt x="3834" y="3884"/>
                </a:lnTo>
                <a:lnTo>
                  <a:pt x="3828" y="3882"/>
                </a:lnTo>
                <a:lnTo>
                  <a:pt x="3824" y="3884"/>
                </a:lnTo>
                <a:lnTo>
                  <a:pt x="3824" y="3886"/>
                </a:lnTo>
                <a:lnTo>
                  <a:pt x="3826" y="3888"/>
                </a:lnTo>
                <a:lnTo>
                  <a:pt x="3830" y="3888"/>
                </a:lnTo>
                <a:lnTo>
                  <a:pt x="3834" y="3890"/>
                </a:lnTo>
                <a:lnTo>
                  <a:pt x="3838" y="3890"/>
                </a:lnTo>
                <a:lnTo>
                  <a:pt x="3840" y="3890"/>
                </a:lnTo>
                <a:lnTo>
                  <a:pt x="3840" y="3888"/>
                </a:lnTo>
                <a:close/>
                <a:moveTo>
                  <a:pt x="3700" y="3740"/>
                </a:moveTo>
                <a:lnTo>
                  <a:pt x="3700" y="3740"/>
                </a:lnTo>
                <a:lnTo>
                  <a:pt x="3686" y="3726"/>
                </a:lnTo>
                <a:lnTo>
                  <a:pt x="3680" y="3724"/>
                </a:lnTo>
                <a:lnTo>
                  <a:pt x="3678" y="3726"/>
                </a:lnTo>
                <a:lnTo>
                  <a:pt x="3682" y="3730"/>
                </a:lnTo>
                <a:lnTo>
                  <a:pt x="3686" y="3734"/>
                </a:lnTo>
                <a:lnTo>
                  <a:pt x="3694" y="3740"/>
                </a:lnTo>
                <a:lnTo>
                  <a:pt x="3700" y="3746"/>
                </a:lnTo>
                <a:lnTo>
                  <a:pt x="3702" y="3750"/>
                </a:lnTo>
                <a:lnTo>
                  <a:pt x="3702" y="3752"/>
                </a:lnTo>
                <a:lnTo>
                  <a:pt x="3698" y="3756"/>
                </a:lnTo>
                <a:lnTo>
                  <a:pt x="3694" y="3760"/>
                </a:lnTo>
                <a:lnTo>
                  <a:pt x="3694" y="3762"/>
                </a:lnTo>
                <a:lnTo>
                  <a:pt x="3696" y="3764"/>
                </a:lnTo>
                <a:lnTo>
                  <a:pt x="3702" y="3774"/>
                </a:lnTo>
                <a:lnTo>
                  <a:pt x="3702" y="3776"/>
                </a:lnTo>
                <a:lnTo>
                  <a:pt x="3704" y="3776"/>
                </a:lnTo>
                <a:lnTo>
                  <a:pt x="3702" y="3766"/>
                </a:lnTo>
                <a:lnTo>
                  <a:pt x="3704" y="3758"/>
                </a:lnTo>
                <a:lnTo>
                  <a:pt x="3706" y="3752"/>
                </a:lnTo>
                <a:lnTo>
                  <a:pt x="3704" y="3746"/>
                </a:lnTo>
                <a:lnTo>
                  <a:pt x="3700" y="3740"/>
                </a:lnTo>
                <a:close/>
                <a:moveTo>
                  <a:pt x="3780" y="3864"/>
                </a:moveTo>
                <a:lnTo>
                  <a:pt x="3780" y="3864"/>
                </a:lnTo>
                <a:lnTo>
                  <a:pt x="3776" y="3862"/>
                </a:lnTo>
                <a:lnTo>
                  <a:pt x="3774" y="3864"/>
                </a:lnTo>
                <a:lnTo>
                  <a:pt x="3776" y="3868"/>
                </a:lnTo>
                <a:lnTo>
                  <a:pt x="3780" y="3872"/>
                </a:lnTo>
                <a:lnTo>
                  <a:pt x="3782" y="3872"/>
                </a:lnTo>
                <a:lnTo>
                  <a:pt x="3786" y="3872"/>
                </a:lnTo>
                <a:lnTo>
                  <a:pt x="3788" y="3874"/>
                </a:lnTo>
                <a:lnTo>
                  <a:pt x="3790" y="3876"/>
                </a:lnTo>
                <a:lnTo>
                  <a:pt x="3790" y="3880"/>
                </a:lnTo>
                <a:lnTo>
                  <a:pt x="3786" y="3886"/>
                </a:lnTo>
                <a:lnTo>
                  <a:pt x="3782" y="3890"/>
                </a:lnTo>
                <a:lnTo>
                  <a:pt x="3780" y="3894"/>
                </a:lnTo>
                <a:lnTo>
                  <a:pt x="3780" y="3896"/>
                </a:lnTo>
                <a:lnTo>
                  <a:pt x="3786" y="3892"/>
                </a:lnTo>
                <a:lnTo>
                  <a:pt x="3792" y="3886"/>
                </a:lnTo>
                <a:lnTo>
                  <a:pt x="3796" y="3882"/>
                </a:lnTo>
                <a:lnTo>
                  <a:pt x="3796" y="3876"/>
                </a:lnTo>
                <a:lnTo>
                  <a:pt x="3796" y="3870"/>
                </a:lnTo>
                <a:lnTo>
                  <a:pt x="3794" y="3866"/>
                </a:lnTo>
                <a:lnTo>
                  <a:pt x="3792" y="3866"/>
                </a:lnTo>
                <a:lnTo>
                  <a:pt x="3788" y="3866"/>
                </a:lnTo>
                <a:lnTo>
                  <a:pt x="3780" y="3864"/>
                </a:lnTo>
                <a:close/>
                <a:moveTo>
                  <a:pt x="3708" y="3820"/>
                </a:moveTo>
                <a:lnTo>
                  <a:pt x="3708" y="3820"/>
                </a:lnTo>
                <a:lnTo>
                  <a:pt x="3708" y="3824"/>
                </a:lnTo>
                <a:lnTo>
                  <a:pt x="3714" y="3828"/>
                </a:lnTo>
                <a:lnTo>
                  <a:pt x="3718" y="3832"/>
                </a:lnTo>
                <a:lnTo>
                  <a:pt x="3720" y="3832"/>
                </a:lnTo>
                <a:lnTo>
                  <a:pt x="3720" y="3830"/>
                </a:lnTo>
                <a:lnTo>
                  <a:pt x="3718" y="3828"/>
                </a:lnTo>
                <a:lnTo>
                  <a:pt x="3712" y="3820"/>
                </a:lnTo>
                <a:lnTo>
                  <a:pt x="3710" y="3818"/>
                </a:lnTo>
                <a:lnTo>
                  <a:pt x="3708" y="3820"/>
                </a:lnTo>
                <a:close/>
                <a:moveTo>
                  <a:pt x="3724" y="3770"/>
                </a:moveTo>
                <a:lnTo>
                  <a:pt x="3724" y="3770"/>
                </a:lnTo>
                <a:lnTo>
                  <a:pt x="3720" y="3768"/>
                </a:lnTo>
                <a:lnTo>
                  <a:pt x="3720" y="3770"/>
                </a:lnTo>
                <a:lnTo>
                  <a:pt x="3722" y="3772"/>
                </a:lnTo>
                <a:lnTo>
                  <a:pt x="3724" y="3778"/>
                </a:lnTo>
                <a:lnTo>
                  <a:pt x="3730" y="3788"/>
                </a:lnTo>
                <a:lnTo>
                  <a:pt x="3732" y="3794"/>
                </a:lnTo>
                <a:lnTo>
                  <a:pt x="3730" y="3798"/>
                </a:lnTo>
                <a:lnTo>
                  <a:pt x="3730" y="3800"/>
                </a:lnTo>
                <a:lnTo>
                  <a:pt x="3734" y="3798"/>
                </a:lnTo>
                <a:lnTo>
                  <a:pt x="3736" y="3796"/>
                </a:lnTo>
                <a:lnTo>
                  <a:pt x="3736" y="3794"/>
                </a:lnTo>
                <a:lnTo>
                  <a:pt x="3732" y="3788"/>
                </a:lnTo>
                <a:lnTo>
                  <a:pt x="3730" y="3780"/>
                </a:lnTo>
                <a:lnTo>
                  <a:pt x="3724" y="3770"/>
                </a:lnTo>
                <a:close/>
                <a:moveTo>
                  <a:pt x="3748" y="3850"/>
                </a:moveTo>
                <a:lnTo>
                  <a:pt x="3748" y="3850"/>
                </a:lnTo>
                <a:lnTo>
                  <a:pt x="3754" y="3858"/>
                </a:lnTo>
                <a:lnTo>
                  <a:pt x="3756" y="3862"/>
                </a:lnTo>
                <a:lnTo>
                  <a:pt x="3756" y="3856"/>
                </a:lnTo>
                <a:lnTo>
                  <a:pt x="3750" y="3848"/>
                </a:lnTo>
                <a:lnTo>
                  <a:pt x="3748" y="3844"/>
                </a:lnTo>
                <a:lnTo>
                  <a:pt x="3748" y="3842"/>
                </a:lnTo>
                <a:lnTo>
                  <a:pt x="3744" y="3832"/>
                </a:lnTo>
                <a:lnTo>
                  <a:pt x="3740" y="3826"/>
                </a:lnTo>
                <a:lnTo>
                  <a:pt x="3736" y="3820"/>
                </a:lnTo>
                <a:lnTo>
                  <a:pt x="3734" y="3820"/>
                </a:lnTo>
                <a:lnTo>
                  <a:pt x="3736" y="3824"/>
                </a:lnTo>
                <a:lnTo>
                  <a:pt x="3742" y="3838"/>
                </a:lnTo>
                <a:lnTo>
                  <a:pt x="3744" y="3844"/>
                </a:lnTo>
                <a:lnTo>
                  <a:pt x="3742" y="3844"/>
                </a:lnTo>
                <a:lnTo>
                  <a:pt x="3742" y="3846"/>
                </a:lnTo>
                <a:lnTo>
                  <a:pt x="3748" y="3850"/>
                </a:lnTo>
                <a:close/>
                <a:moveTo>
                  <a:pt x="3494" y="4042"/>
                </a:moveTo>
                <a:lnTo>
                  <a:pt x="3494" y="4042"/>
                </a:lnTo>
                <a:lnTo>
                  <a:pt x="3502" y="4042"/>
                </a:lnTo>
                <a:lnTo>
                  <a:pt x="3506" y="4040"/>
                </a:lnTo>
                <a:lnTo>
                  <a:pt x="3506" y="4038"/>
                </a:lnTo>
                <a:lnTo>
                  <a:pt x="3504" y="4036"/>
                </a:lnTo>
                <a:lnTo>
                  <a:pt x="3500" y="4036"/>
                </a:lnTo>
                <a:lnTo>
                  <a:pt x="3496" y="4038"/>
                </a:lnTo>
                <a:lnTo>
                  <a:pt x="3494" y="4040"/>
                </a:lnTo>
                <a:lnTo>
                  <a:pt x="3494" y="4042"/>
                </a:lnTo>
                <a:close/>
                <a:moveTo>
                  <a:pt x="3432" y="3908"/>
                </a:moveTo>
                <a:lnTo>
                  <a:pt x="3432" y="3908"/>
                </a:lnTo>
                <a:lnTo>
                  <a:pt x="3428" y="3908"/>
                </a:lnTo>
                <a:lnTo>
                  <a:pt x="3426" y="3912"/>
                </a:lnTo>
                <a:lnTo>
                  <a:pt x="3426" y="3916"/>
                </a:lnTo>
                <a:lnTo>
                  <a:pt x="3426" y="3920"/>
                </a:lnTo>
                <a:lnTo>
                  <a:pt x="3428" y="3926"/>
                </a:lnTo>
                <a:lnTo>
                  <a:pt x="3432" y="3928"/>
                </a:lnTo>
                <a:lnTo>
                  <a:pt x="3438" y="3930"/>
                </a:lnTo>
                <a:lnTo>
                  <a:pt x="3444" y="3930"/>
                </a:lnTo>
                <a:lnTo>
                  <a:pt x="3448" y="3928"/>
                </a:lnTo>
                <a:lnTo>
                  <a:pt x="3448" y="3926"/>
                </a:lnTo>
                <a:lnTo>
                  <a:pt x="3446" y="3918"/>
                </a:lnTo>
                <a:lnTo>
                  <a:pt x="3440" y="3910"/>
                </a:lnTo>
                <a:lnTo>
                  <a:pt x="3436" y="3908"/>
                </a:lnTo>
                <a:lnTo>
                  <a:pt x="3432" y="3908"/>
                </a:lnTo>
                <a:close/>
                <a:moveTo>
                  <a:pt x="4328" y="4390"/>
                </a:moveTo>
                <a:lnTo>
                  <a:pt x="4328" y="4390"/>
                </a:lnTo>
                <a:lnTo>
                  <a:pt x="4326" y="4392"/>
                </a:lnTo>
                <a:lnTo>
                  <a:pt x="4324" y="4394"/>
                </a:lnTo>
                <a:lnTo>
                  <a:pt x="4324" y="4402"/>
                </a:lnTo>
                <a:lnTo>
                  <a:pt x="4326" y="4406"/>
                </a:lnTo>
                <a:lnTo>
                  <a:pt x="4328" y="4408"/>
                </a:lnTo>
                <a:lnTo>
                  <a:pt x="4332" y="4410"/>
                </a:lnTo>
                <a:lnTo>
                  <a:pt x="4338" y="4410"/>
                </a:lnTo>
                <a:lnTo>
                  <a:pt x="4340" y="4408"/>
                </a:lnTo>
                <a:lnTo>
                  <a:pt x="4340" y="4406"/>
                </a:lnTo>
                <a:lnTo>
                  <a:pt x="4338" y="4400"/>
                </a:lnTo>
                <a:lnTo>
                  <a:pt x="4334" y="4392"/>
                </a:lnTo>
                <a:lnTo>
                  <a:pt x="4330" y="4390"/>
                </a:lnTo>
                <a:lnTo>
                  <a:pt x="4328" y="4390"/>
                </a:lnTo>
                <a:close/>
                <a:moveTo>
                  <a:pt x="3606" y="3880"/>
                </a:moveTo>
                <a:lnTo>
                  <a:pt x="3606" y="3880"/>
                </a:lnTo>
                <a:lnTo>
                  <a:pt x="3610" y="3882"/>
                </a:lnTo>
                <a:lnTo>
                  <a:pt x="3614" y="3882"/>
                </a:lnTo>
                <a:lnTo>
                  <a:pt x="3616" y="3880"/>
                </a:lnTo>
                <a:lnTo>
                  <a:pt x="3614" y="3878"/>
                </a:lnTo>
                <a:lnTo>
                  <a:pt x="3604" y="3876"/>
                </a:lnTo>
                <a:lnTo>
                  <a:pt x="3602" y="3878"/>
                </a:lnTo>
                <a:lnTo>
                  <a:pt x="3606" y="3880"/>
                </a:lnTo>
                <a:close/>
                <a:moveTo>
                  <a:pt x="3620" y="3884"/>
                </a:moveTo>
                <a:lnTo>
                  <a:pt x="3620" y="3884"/>
                </a:lnTo>
                <a:lnTo>
                  <a:pt x="3618" y="3886"/>
                </a:lnTo>
                <a:lnTo>
                  <a:pt x="3620" y="3888"/>
                </a:lnTo>
                <a:lnTo>
                  <a:pt x="3630" y="3892"/>
                </a:lnTo>
                <a:lnTo>
                  <a:pt x="3632" y="3892"/>
                </a:lnTo>
                <a:lnTo>
                  <a:pt x="3628" y="3888"/>
                </a:lnTo>
                <a:lnTo>
                  <a:pt x="3624" y="3884"/>
                </a:lnTo>
                <a:lnTo>
                  <a:pt x="3620" y="3884"/>
                </a:lnTo>
                <a:close/>
                <a:moveTo>
                  <a:pt x="3838" y="4066"/>
                </a:moveTo>
                <a:lnTo>
                  <a:pt x="3838" y="4066"/>
                </a:lnTo>
                <a:lnTo>
                  <a:pt x="3838" y="4064"/>
                </a:lnTo>
                <a:lnTo>
                  <a:pt x="3836" y="4062"/>
                </a:lnTo>
                <a:lnTo>
                  <a:pt x="3828" y="4058"/>
                </a:lnTo>
                <a:lnTo>
                  <a:pt x="3822" y="4056"/>
                </a:lnTo>
                <a:lnTo>
                  <a:pt x="3818" y="4058"/>
                </a:lnTo>
                <a:lnTo>
                  <a:pt x="3818" y="4060"/>
                </a:lnTo>
                <a:lnTo>
                  <a:pt x="3820" y="4064"/>
                </a:lnTo>
                <a:lnTo>
                  <a:pt x="3826" y="4066"/>
                </a:lnTo>
                <a:lnTo>
                  <a:pt x="3834" y="4068"/>
                </a:lnTo>
                <a:lnTo>
                  <a:pt x="3836" y="4068"/>
                </a:lnTo>
                <a:lnTo>
                  <a:pt x="3838" y="4066"/>
                </a:lnTo>
                <a:close/>
                <a:moveTo>
                  <a:pt x="3986" y="4384"/>
                </a:moveTo>
                <a:lnTo>
                  <a:pt x="3986" y="4384"/>
                </a:lnTo>
                <a:lnTo>
                  <a:pt x="3982" y="4384"/>
                </a:lnTo>
                <a:lnTo>
                  <a:pt x="3984" y="4386"/>
                </a:lnTo>
                <a:lnTo>
                  <a:pt x="3986" y="4392"/>
                </a:lnTo>
                <a:lnTo>
                  <a:pt x="3992" y="4396"/>
                </a:lnTo>
                <a:lnTo>
                  <a:pt x="4000" y="4402"/>
                </a:lnTo>
                <a:lnTo>
                  <a:pt x="4000" y="4400"/>
                </a:lnTo>
                <a:lnTo>
                  <a:pt x="3998" y="4396"/>
                </a:lnTo>
                <a:lnTo>
                  <a:pt x="3994" y="4392"/>
                </a:lnTo>
                <a:lnTo>
                  <a:pt x="3992" y="4390"/>
                </a:lnTo>
                <a:lnTo>
                  <a:pt x="3990" y="4388"/>
                </a:lnTo>
                <a:lnTo>
                  <a:pt x="3988" y="4386"/>
                </a:lnTo>
                <a:lnTo>
                  <a:pt x="3986" y="4384"/>
                </a:lnTo>
                <a:close/>
                <a:moveTo>
                  <a:pt x="4018" y="4394"/>
                </a:moveTo>
                <a:lnTo>
                  <a:pt x="4018" y="4394"/>
                </a:lnTo>
                <a:lnTo>
                  <a:pt x="4018" y="4396"/>
                </a:lnTo>
                <a:lnTo>
                  <a:pt x="4020" y="4402"/>
                </a:lnTo>
                <a:lnTo>
                  <a:pt x="4020" y="4404"/>
                </a:lnTo>
                <a:lnTo>
                  <a:pt x="4022" y="4402"/>
                </a:lnTo>
                <a:lnTo>
                  <a:pt x="4024" y="4398"/>
                </a:lnTo>
                <a:lnTo>
                  <a:pt x="4024" y="4392"/>
                </a:lnTo>
                <a:lnTo>
                  <a:pt x="4022" y="4390"/>
                </a:lnTo>
                <a:lnTo>
                  <a:pt x="4020" y="4388"/>
                </a:lnTo>
                <a:lnTo>
                  <a:pt x="4016" y="4388"/>
                </a:lnTo>
                <a:lnTo>
                  <a:pt x="4014" y="4388"/>
                </a:lnTo>
                <a:lnTo>
                  <a:pt x="4014" y="4392"/>
                </a:lnTo>
                <a:lnTo>
                  <a:pt x="4018" y="4394"/>
                </a:lnTo>
                <a:close/>
                <a:moveTo>
                  <a:pt x="4194" y="4446"/>
                </a:moveTo>
                <a:lnTo>
                  <a:pt x="4194" y="4446"/>
                </a:lnTo>
                <a:lnTo>
                  <a:pt x="4192" y="4448"/>
                </a:lnTo>
                <a:lnTo>
                  <a:pt x="4190" y="4448"/>
                </a:lnTo>
                <a:lnTo>
                  <a:pt x="4186" y="4446"/>
                </a:lnTo>
                <a:lnTo>
                  <a:pt x="4182" y="4446"/>
                </a:lnTo>
                <a:lnTo>
                  <a:pt x="4180" y="4446"/>
                </a:lnTo>
                <a:lnTo>
                  <a:pt x="4178" y="4450"/>
                </a:lnTo>
                <a:lnTo>
                  <a:pt x="4178" y="4452"/>
                </a:lnTo>
                <a:lnTo>
                  <a:pt x="4180" y="4454"/>
                </a:lnTo>
                <a:lnTo>
                  <a:pt x="4186" y="4454"/>
                </a:lnTo>
                <a:lnTo>
                  <a:pt x="4194" y="4456"/>
                </a:lnTo>
                <a:lnTo>
                  <a:pt x="4198" y="4456"/>
                </a:lnTo>
                <a:lnTo>
                  <a:pt x="4202" y="4454"/>
                </a:lnTo>
                <a:lnTo>
                  <a:pt x="4204" y="4448"/>
                </a:lnTo>
                <a:lnTo>
                  <a:pt x="4202" y="4444"/>
                </a:lnTo>
                <a:lnTo>
                  <a:pt x="4198" y="4444"/>
                </a:lnTo>
                <a:lnTo>
                  <a:pt x="4194" y="4446"/>
                </a:lnTo>
                <a:close/>
                <a:moveTo>
                  <a:pt x="4316" y="4544"/>
                </a:moveTo>
                <a:lnTo>
                  <a:pt x="4316" y="4544"/>
                </a:lnTo>
                <a:lnTo>
                  <a:pt x="4316" y="4546"/>
                </a:lnTo>
                <a:lnTo>
                  <a:pt x="4318" y="4546"/>
                </a:lnTo>
                <a:lnTo>
                  <a:pt x="4320" y="4542"/>
                </a:lnTo>
                <a:lnTo>
                  <a:pt x="4320" y="4540"/>
                </a:lnTo>
                <a:lnTo>
                  <a:pt x="4318" y="4540"/>
                </a:lnTo>
                <a:lnTo>
                  <a:pt x="4316" y="4544"/>
                </a:lnTo>
                <a:close/>
                <a:moveTo>
                  <a:pt x="4310" y="4554"/>
                </a:moveTo>
                <a:lnTo>
                  <a:pt x="4310" y="4554"/>
                </a:lnTo>
                <a:lnTo>
                  <a:pt x="4312" y="4556"/>
                </a:lnTo>
                <a:lnTo>
                  <a:pt x="4316" y="4552"/>
                </a:lnTo>
                <a:lnTo>
                  <a:pt x="4318" y="4548"/>
                </a:lnTo>
                <a:lnTo>
                  <a:pt x="4318" y="4546"/>
                </a:lnTo>
                <a:lnTo>
                  <a:pt x="4316" y="4548"/>
                </a:lnTo>
                <a:lnTo>
                  <a:pt x="4314" y="4550"/>
                </a:lnTo>
                <a:lnTo>
                  <a:pt x="4310" y="4554"/>
                </a:lnTo>
                <a:close/>
                <a:moveTo>
                  <a:pt x="4316" y="4558"/>
                </a:moveTo>
                <a:lnTo>
                  <a:pt x="4316" y="4558"/>
                </a:lnTo>
                <a:lnTo>
                  <a:pt x="4312" y="4558"/>
                </a:lnTo>
                <a:lnTo>
                  <a:pt x="4310" y="4562"/>
                </a:lnTo>
                <a:lnTo>
                  <a:pt x="4308" y="4564"/>
                </a:lnTo>
                <a:lnTo>
                  <a:pt x="4308" y="4566"/>
                </a:lnTo>
                <a:lnTo>
                  <a:pt x="4314" y="4568"/>
                </a:lnTo>
                <a:lnTo>
                  <a:pt x="4316" y="4566"/>
                </a:lnTo>
                <a:lnTo>
                  <a:pt x="4318" y="4562"/>
                </a:lnTo>
                <a:lnTo>
                  <a:pt x="4318" y="4560"/>
                </a:lnTo>
                <a:lnTo>
                  <a:pt x="4316" y="4558"/>
                </a:lnTo>
                <a:close/>
                <a:moveTo>
                  <a:pt x="4306" y="4570"/>
                </a:moveTo>
                <a:lnTo>
                  <a:pt x="4306" y="4570"/>
                </a:lnTo>
                <a:lnTo>
                  <a:pt x="4304" y="4572"/>
                </a:lnTo>
                <a:lnTo>
                  <a:pt x="4306" y="4572"/>
                </a:lnTo>
                <a:lnTo>
                  <a:pt x="4310" y="4574"/>
                </a:lnTo>
                <a:lnTo>
                  <a:pt x="4312" y="4572"/>
                </a:lnTo>
                <a:lnTo>
                  <a:pt x="4314" y="4570"/>
                </a:lnTo>
                <a:lnTo>
                  <a:pt x="4312" y="4570"/>
                </a:lnTo>
                <a:lnTo>
                  <a:pt x="4306" y="4570"/>
                </a:lnTo>
                <a:close/>
                <a:moveTo>
                  <a:pt x="4322" y="4564"/>
                </a:moveTo>
                <a:lnTo>
                  <a:pt x="4322" y="4564"/>
                </a:lnTo>
                <a:lnTo>
                  <a:pt x="4320" y="4564"/>
                </a:lnTo>
                <a:lnTo>
                  <a:pt x="4318" y="4566"/>
                </a:lnTo>
                <a:lnTo>
                  <a:pt x="4318" y="4568"/>
                </a:lnTo>
                <a:lnTo>
                  <a:pt x="4322" y="4566"/>
                </a:lnTo>
                <a:lnTo>
                  <a:pt x="4322" y="4564"/>
                </a:lnTo>
                <a:close/>
                <a:moveTo>
                  <a:pt x="4320" y="4550"/>
                </a:moveTo>
                <a:lnTo>
                  <a:pt x="4320" y="4550"/>
                </a:lnTo>
                <a:lnTo>
                  <a:pt x="4316" y="4550"/>
                </a:lnTo>
                <a:lnTo>
                  <a:pt x="4316" y="4552"/>
                </a:lnTo>
                <a:lnTo>
                  <a:pt x="4316" y="4556"/>
                </a:lnTo>
                <a:lnTo>
                  <a:pt x="4320" y="4554"/>
                </a:lnTo>
                <a:lnTo>
                  <a:pt x="4320" y="4552"/>
                </a:lnTo>
                <a:lnTo>
                  <a:pt x="4320" y="4550"/>
                </a:lnTo>
                <a:close/>
                <a:moveTo>
                  <a:pt x="4334" y="4434"/>
                </a:moveTo>
                <a:lnTo>
                  <a:pt x="4334" y="4434"/>
                </a:lnTo>
                <a:lnTo>
                  <a:pt x="4334" y="4432"/>
                </a:lnTo>
                <a:lnTo>
                  <a:pt x="4330" y="4432"/>
                </a:lnTo>
                <a:lnTo>
                  <a:pt x="4324" y="4436"/>
                </a:lnTo>
                <a:lnTo>
                  <a:pt x="4322" y="4442"/>
                </a:lnTo>
                <a:lnTo>
                  <a:pt x="4326" y="4442"/>
                </a:lnTo>
                <a:lnTo>
                  <a:pt x="4332" y="4438"/>
                </a:lnTo>
                <a:lnTo>
                  <a:pt x="4334" y="4434"/>
                </a:lnTo>
                <a:close/>
                <a:moveTo>
                  <a:pt x="4296" y="4460"/>
                </a:moveTo>
                <a:lnTo>
                  <a:pt x="4296" y="4460"/>
                </a:lnTo>
                <a:lnTo>
                  <a:pt x="4288" y="4462"/>
                </a:lnTo>
                <a:lnTo>
                  <a:pt x="4288" y="4464"/>
                </a:lnTo>
                <a:lnTo>
                  <a:pt x="4290" y="4466"/>
                </a:lnTo>
                <a:lnTo>
                  <a:pt x="4294" y="4470"/>
                </a:lnTo>
                <a:lnTo>
                  <a:pt x="4296" y="4472"/>
                </a:lnTo>
                <a:lnTo>
                  <a:pt x="4296" y="4476"/>
                </a:lnTo>
                <a:lnTo>
                  <a:pt x="4296" y="4482"/>
                </a:lnTo>
                <a:lnTo>
                  <a:pt x="4294" y="4486"/>
                </a:lnTo>
                <a:lnTo>
                  <a:pt x="4282" y="4492"/>
                </a:lnTo>
                <a:lnTo>
                  <a:pt x="4278" y="4496"/>
                </a:lnTo>
                <a:lnTo>
                  <a:pt x="4280" y="4498"/>
                </a:lnTo>
                <a:lnTo>
                  <a:pt x="4300" y="4496"/>
                </a:lnTo>
                <a:lnTo>
                  <a:pt x="4308" y="4496"/>
                </a:lnTo>
                <a:lnTo>
                  <a:pt x="4314" y="4492"/>
                </a:lnTo>
                <a:lnTo>
                  <a:pt x="4316" y="4488"/>
                </a:lnTo>
                <a:lnTo>
                  <a:pt x="4316" y="4482"/>
                </a:lnTo>
                <a:lnTo>
                  <a:pt x="4314" y="4472"/>
                </a:lnTo>
                <a:lnTo>
                  <a:pt x="4314" y="4468"/>
                </a:lnTo>
                <a:lnTo>
                  <a:pt x="4316" y="4464"/>
                </a:lnTo>
                <a:lnTo>
                  <a:pt x="4320" y="4460"/>
                </a:lnTo>
                <a:lnTo>
                  <a:pt x="4316" y="4458"/>
                </a:lnTo>
                <a:lnTo>
                  <a:pt x="4296" y="4460"/>
                </a:lnTo>
                <a:close/>
                <a:moveTo>
                  <a:pt x="4290" y="4390"/>
                </a:moveTo>
                <a:lnTo>
                  <a:pt x="4290" y="4390"/>
                </a:lnTo>
                <a:lnTo>
                  <a:pt x="4286" y="4392"/>
                </a:lnTo>
                <a:lnTo>
                  <a:pt x="4284" y="4396"/>
                </a:lnTo>
                <a:lnTo>
                  <a:pt x="4284" y="4400"/>
                </a:lnTo>
                <a:lnTo>
                  <a:pt x="4288" y="4400"/>
                </a:lnTo>
                <a:lnTo>
                  <a:pt x="4290" y="4398"/>
                </a:lnTo>
                <a:lnTo>
                  <a:pt x="4292" y="4394"/>
                </a:lnTo>
                <a:lnTo>
                  <a:pt x="4292" y="4390"/>
                </a:lnTo>
                <a:lnTo>
                  <a:pt x="4290" y="4390"/>
                </a:lnTo>
                <a:close/>
                <a:moveTo>
                  <a:pt x="4308" y="4332"/>
                </a:moveTo>
                <a:lnTo>
                  <a:pt x="4308" y="4332"/>
                </a:lnTo>
                <a:lnTo>
                  <a:pt x="4306" y="4332"/>
                </a:lnTo>
                <a:lnTo>
                  <a:pt x="4304" y="4336"/>
                </a:lnTo>
                <a:lnTo>
                  <a:pt x="4304" y="4340"/>
                </a:lnTo>
                <a:lnTo>
                  <a:pt x="4306" y="4344"/>
                </a:lnTo>
                <a:lnTo>
                  <a:pt x="4308" y="4344"/>
                </a:lnTo>
                <a:lnTo>
                  <a:pt x="4310" y="4340"/>
                </a:lnTo>
                <a:lnTo>
                  <a:pt x="4310" y="4336"/>
                </a:lnTo>
                <a:lnTo>
                  <a:pt x="4308" y="4332"/>
                </a:lnTo>
                <a:close/>
                <a:moveTo>
                  <a:pt x="4316" y="4300"/>
                </a:moveTo>
                <a:lnTo>
                  <a:pt x="4316" y="4300"/>
                </a:lnTo>
                <a:lnTo>
                  <a:pt x="4314" y="4302"/>
                </a:lnTo>
                <a:lnTo>
                  <a:pt x="4312" y="4306"/>
                </a:lnTo>
                <a:lnTo>
                  <a:pt x="4312" y="4312"/>
                </a:lnTo>
                <a:lnTo>
                  <a:pt x="4314" y="4316"/>
                </a:lnTo>
                <a:lnTo>
                  <a:pt x="4318" y="4316"/>
                </a:lnTo>
                <a:lnTo>
                  <a:pt x="4320" y="4314"/>
                </a:lnTo>
                <a:lnTo>
                  <a:pt x="4322" y="4308"/>
                </a:lnTo>
                <a:lnTo>
                  <a:pt x="4322" y="4304"/>
                </a:lnTo>
                <a:lnTo>
                  <a:pt x="4320" y="4300"/>
                </a:lnTo>
                <a:lnTo>
                  <a:pt x="4320" y="4298"/>
                </a:lnTo>
                <a:lnTo>
                  <a:pt x="4316" y="4300"/>
                </a:lnTo>
                <a:close/>
                <a:moveTo>
                  <a:pt x="4296" y="4230"/>
                </a:moveTo>
                <a:lnTo>
                  <a:pt x="4296" y="4230"/>
                </a:lnTo>
                <a:lnTo>
                  <a:pt x="4298" y="4236"/>
                </a:lnTo>
                <a:lnTo>
                  <a:pt x="4300" y="4240"/>
                </a:lnTo>
                <a:lnTo>
                  <a:pt x="4300" y="4242"/>
                </a:lnTo>
                <a:lnTo>
                  <a:pt x="4304" y="4242"/>
                </a:lnTo>
                <a:lnTo>
                  <a:pt x="4304" y="4238"/>
                </a:lnTo>
                <a:lnTo>
                  <a:pt x="4304" y="4232"/>
                </a:lnTo>
                <a:lnTo>
                  <a:pt x="4304" y="4226"/>
                </a:lnTo>
                <a:lnTo>
                  <a:pt x="4300" y="4222"/>
                </a:lnTo>
                <a:lnTo>
                  <a:pt x="4296" y="4222"/>
                </a:lnTo>
                <a:lnTo>
                  <a:pt x="4296" y="4224"/>
                </a:lnTo>
                <a:lnTo>
                  <a:pt x="4296" y="4228"/>
                </a:lnTo>
                <a:lnTo>
                  <a:pt x="4296" y="4230"/>
                </a:lnTo>
                <a:close/>
                <a:moveTo>
                  <a:pt x="4370" y="4338"/>
                </a:moveTo>
                <a:lnTo>
                  <a:pt x="4370" y="4338"/>
                </a:lnTo>
                <a:lnTo>
                  <a:pt x="4370" y="4344"/>
                </a:lnTo>
                <a:lnTo>
                  <a:pt x="4372" y="4348"/>
                </a:lnTo>
                <a:lnTo>
                  <a:pt x="4374" y="4350"/>
                </a:lnTo>
                <a:lnTo>
                  <a:pt x="4378" y="4348"/>
                </a:lnTo>
                <a:lnTo>
                  <a:pt x="4378" y="4344"/>
                </a:lnTo>
                <a:lnTo>
                  <a:pt x="4378" y="4342"/>
                </a:lnTo>
                <a:lnTo>
                  <a:pt x="4374" y="4338"/>
                </a:lnTo>
                <a:lnTo>
                  <a:pt x="4372" y="4334"/>
                </a:lnTo>
                <a:lnTo>
                  <a:pt x="4370" y="4336"/>
                </a:lnTo>
                <a:lnTo>
                  <a:pt x="4370" y="4338"/>
                </a:lnTo>
                <a:close/>
                <a:moveTo>
                  <a:pt x="4316" y="4280"/>
                </a:moveTo>
                <a:lnTo>
                  <a:pt x="4316" y="4280"/>
                </a:lnTo>
                <a:lnTo>
                  <a:pt x="4320" y="4280"/>
                </a:lnTo>
                <a:lnTo>
                  <a:pt x="4320" y="4282"/>
                </a:lnTo>
                <a:lnTo>
                  <a:pt x="4320" y="4284"/>
                </a:lnTo>
                <a:lnTo>
                  <a:pt x="4322" y="4284"/>
                </a:lnTo>
                <a:lnTo>
                  <a:pt x="4324" y="4280"/>
                </a:lnTo>
                <a:lnTo>
                  <a:pt x="4324" y="4276"/>
                </a:lnTo>
                <a:lnTo>
                  <a:pt x="4322" y="4270"/>
                </a:lnTo>
                <a:lnTo>
                  <a:pt x="4316" y="4264"/>
                </a:lnTo>
                <a:lnTo>
                  <a:pt x="4312" y="4260"/>
                </a:lnTo>
                <a:lnTo>
                  <a:pt x="4308" y="4258"/>
                </a:lnTo>
                <a:lnTo>
                  <a:pt x="4306" y="4262"/>
                </a:lnTo>
                <a:lnTo>
                  <a:pt x="4308" y="4266"/>
                </a:lnTo>
                <a:lnTo>
                  <a:pt x="4310" y="4270"/>
                </a:lnTo>
                <a:lnTo>
                  <a:pt x="4310" y="4274"/>
                </a:lnTo>
                <a:lnTo>
                  <a:pt x="4312" y="4278"/>
                </a:lnTo>
                <a:lnTo>
                  <a:pt x="4316" y="4280"/>
                </a:lnTo>
                <a:close/>
                <a:moveTo>
                  <a:pt x="4284" y="4188"/>
                </a:moveTo>
                <a:lnTo>
                  <a:pt x="4284" y="4188"/>
                </a:lnTo>
                <a:lnTo>
                  <a:pt x="4284" y="4196"/>
                </a:lnTo>
                <a:lnTo>
                  <a:pt x="4284" y="4200"/>
                </a:lnTo>
                <a:lnTo>
                  <a:pt x="4288" y="4204"/>
                </a:lnTo>
                <a:lnTo>
                  <a:pt x="4292" y="4204"/>
                </a:lnTo>
                <a:lnTo>
                  <a:pt x="4292" y="4202"/>
                </a:lnTo>
                <a:lnTo>
                  <a:pt x="4292" y="4200"/>
                </a:lnTo>
                <a:lnTo>
                  <a:pt x="4292" y="4194"/>
                </a:lnTo>
                <a:lnTo>
                  <a:pt x="4290" y="4190"/>
                </a:lnTo>
                <a:lnTo>
                  <a:pt x="4288" y="4186"/>
                </a:lnTo>
                <a:lnTo>
                  <a:pt x="4286" y="4186"/>
                </a:lnTo>
                <a:lnTo>
                  <a:pt x="4284" y="4186"/>
                </a:lnTo>
                <a:lnTo>
                  <a:pt x="4284" y="4188"/>
                </a:lnTo>
                <a:close/>
                <a:moveTo>
                  <a:pt x="4294" y="4192"/>
                </a:moveTo>
                <a:lnTo>
                  <a:pt x="4294" y="4192"/>
                </a:lnTo>
                <a:lnTo>
                  <a:pt x="4296" y="4194"/>
                </a:lnTo>
                <a:lnTo>
                  <a:pt x="4300" y="4192"/>
                </a:lnTo>
                <a:lnTo>
                  <a:pt x="4304" y="4192"/>
                </a:lnTo>
                <a:lnTo>
                  <a:pt x="4306" y="4192"/>
                </a:lnTo>
                <a:lnTo>
                  <a:pt x="4308" y="4192"/>
                </a:lnTo>
                <a:lnTo>
                  <a:pt x="4308" y="4190"/>
                </a:lnTo>
                <a:lnTo>
                  <a:pt x="4306" y="4188"/>
                </a:lnTo>
                <a:lnTo>
                  <a:pt x="4304" y="4188"/>
                </a:lnTo>
                <a:lnTo>
                  <a:pt x="4302" y="4186"/>
                </a:lnTo>
                <a:lnTo>
                  <a:pt x="4300" y="4184"/>
                </a:lnTo>
                <a:lnTo>
                  <a:pt x="4298" y="4180"/>
                </a:lnTo>
                <a:lnTo>
                  <a:pt x="4296" y="4178"/>
                </a:lnTo>
                <a:lnTo>
                  <a:pt x="4294" y="4180"/>
                </a:lnTo>
                <a:lnTo>
                  <a:pt x="4294" y="4182"/>
                </a:lnTo>
                <a:lnTo>
                  <a:pt x="4294" y="4186"/>
                </a:lnTo>
                <a:lnTo>
                  <a:pt x="4294" y="4188"/>
                </a:lnTo>
                <a:lnTo>
                  <a:pt x="4292" y="4188"/>
                </a:lnTo>
                <a:lnTo>
                  <a:pt x="4294" y="4192"/>
                </a:lnTo>
                <a:close/>
                <a:moveTo>
                  <a:pt x="4306" y="4210"/>
                </a:moveTo>
                <a:lnTo>
                  <a:pt x="4306" y="4210"/>
                </a:lnTo>
                <a:lnTo>
                  <a:pt x="4306" y="4208"/>
                </a:lnTo>
                <a:lnTo>
                  <a:pt x="4306" y="4206"/>
                </a:lnTo>
                <a:lnTo>
                  <a:pt x="4306" y="4204"/>
                </a:lnTo>
                <a:lnTo>
                  <a:pt x="4304" y="4204"/>
                </a:lnTo>
                <a:lnTo>
                  <a:pt x="4302" y="4206"/>
                </a:lnTo>
                <a:lnTo>
                  <a:pt x="4302" y="4208"/>
                </a:lnTo>
                <a:lnTo>
                  <a:pt x="4304" y="4208"/>
                </a:lnTo>
                <a:lnTo>
                  <a:pt x="4306" y="4210"/>
                </a:lnTo>
                <a:close/>
                <a:moveTo>
                  <a:pt x="4108" y="4082"/>
                </a:moveTo>
                <a:lnTo>
                  <a:pt x="4108" y="4082"/>
                </a:lnTo>
                <a:lnTo>
                  <a:pt x="4088" y="4080"/>
                </a:lnTo>
                <a:lnTo>
                  <a:pt x="4074" y="4080"/>
                </a:lnTo>
                <a:lnTo>
                  <a:pt x="4070" y="4082"/>
                </a:lnTo>
                <a:lnTo>
                  <a:pt x="4066" y="4086"/>
                </a:lnTo>
                <a:lnTo>
                  <a:pt x="4066" y="4090"/>
                </a:lnTo>
                <a:lnTo>
                  <a:pt x="4066" y="4098"/>
                </a:lnTo>
                <a:lnTo>
                  <a:pt x="4066" y="4104"/>
                </a:lnTo>
                <a:lnTo>
                  <a:pt x="4068" y="4106"/>
                </a:lnTo>
                <a:lnTo>
                  <a:pt x="4072" y="4108"/>
                </a:lnTo>
                <a:lnTo>
                  <a:pt x="4082" y="4106"/>
                </a:lnTo>
                <a:lnTo>
                  <a:pt x="4094" y="4106"/>
                </a:lnTo>
                <a:lnTo>
                  <a:pt x="4098" y="4106"/>
                </a:lnTo>
                <a:lnTo>
                  <a:pt x="4104" y="4108"/>
                </a:lnTo>
                <a:lnTo>
                  <a:pt x="4114" y="4106"/>
                </a:lnTo>
                <a:lnTo>
                  <a:pt x="4124" y="4100"/>
                </a:lnTo>
                <a:lnTo>
                  <a:pt x="4128" y="4096"/>
                </a:lnTo>
                <a:lnTo>
                  <a:pt x="4130" y="4092"/>
                </a:lnTo>
                <a:lnTo>
                  <a:pt x="4128" y="4088"/>
                </a:lnTo>
                <a:lnTo>
                  <a:pt x="4124" y="4086"/>
                </a:lnTo>
                <a:lnTo>
                  <a:pt x="4118" y="4084"/>
                </a:lnTo>
                <a:lnTo>
                  <a:pt x="4108" y="4082"/>
                </a:lnTo>
                <a:close/>
                <a:moveTo>
                  <a:pt x="4132" y="4100"/>
                </a:moveTo>
                <a:lnTo>
                  <a:pt x="4132" y="4100"/>
                </a:lnTo>
                <a:lnTo>
                  <a:pt x="4134" y="4100"/>
                </a:lnTo>
                <a:lnTo>
                  <a:pt x="4138" y="4100"/>
                </a:lnTo>
                <a:lnTo>
                  <a:pt x="4142" y="4098"/>
                </a:lnTo>
                <a:lnTo>
                  <a:pt x="4142" y="4096"/>
                </a:lnTo>
                <a:lnTo>
                  <a:pt x="4140" y="4096"/>
                </a:lnTo>
                <a:lnTo>
                  <a:pt x="4136" y="4096"/>
                </a:lnTo>
                <a:lnTo>
                  <a:pt x="4132" y="4098"/>
                </a:lnTo>
                <a:lnTo>
                  <a:pt x="4132" y="4100"/>
                </a:lnTo>
                <a:close/>
                <a:moveTo>
                  <a:pt x="4158" y="4118"/>
                </a:moveTo>
                <a:lnTo>
                  <a:pt x="4158" y="4118"/>
                </a:lnTo>
                <a:lnTo>
                  <a:pt x="4158" y="4120"/>
                </a:lnTo>
                <a:lnTo>
                  <a:pt x="4160" y="4120"/>
                </a:lnTo>
                <a:lnTo>
                  <a:pt x="4166" y="4118"/>
                </a:lnTo>
                <a:lnTo>
                  <a:pt x="4170" y="4116"/>
                </a:lnTo>
                <a:lnTo>
                  <a:pt x="4170" y="4114"/>
                </a:lnTo>
                <a:lnTo>
                  <a:pt x="4162" y="4114"/>
                </a:lnTo>
                <a:lnTo>
                  <a:pt x="4158" y="4116"/>
                </a:lnTo>
                <a:lnTo>
                  <a:pt x="4158" y="4118"/>
                </a:lnTo>
                <a:close/>
                <a:moveTo>
                  <a:pt x="4228" y="4096"/>
                </a:moveTo>
                <a:lnTo>
                  <a:pt x="4228" y="4096"/>
                </a:lnTo>
                <a:lnTo>
                  <a:pt x="4230" y="4096"/>
                </a:lnTo>
                <a:lnTo>
                  <a:pt x="4232" y="4096"/>
                </a:lnTo>
                <a:lnTo>
                  <a:pt x="4234" y="4094"/>
                </a:lnTo>
                <a:lnTo>
                  <a:pt x="4236" y="4090"/>
                </a:lnTo>
                <a:lnTo>
                  <a:pt x="4234" y="4090"/>
                </a:lnTo>
                <a:lnTo>
                  <a:pt x="4232" y="4090"/>
                </a:lnTo>
                <a:lnTo>
                  <a:pt x="4228" y="4094"/>
                </a:lnTo>
                <a:lnTo>
                  <a:pt x="4228" y="4096"/>
                </a:lnTo>
                <a:close/>
                <a:moveTo>
                  <a:pt x="4232" y="4104"/>
                </a:moveTo>
                <a:lnTo>
                  <a:pt x="4232" y="4104"/>
                </a:lnTo>
                <a:lnTo>
                  <a:pt x="4234" y="4104"/>
                </a:lnTo>
                <a:lnTo>
                  <a:pt x="4234" y="4102"/>
                </a:lnTo>
                <a:lnTo>
                  <a:pt x="4234" y="4100"/>
                </a:lnTo>
                <a:lnTo>
                  <a:pt x="4234" y="4098"/>
                </a:lnTo>
                <a:lnTo>
                  <a:pt x="4232" y="4098"/>
                </a:lnTo>
                <a:lnTo>
                  <a:pt x="4230" y="4100"/>
                </a:lnTo>
                <a:lnTo>
                  <a:pt x="4230" y="4102"/>
                </a:lnTo>
                <a:lnTo>
                  <a:pt x="4232" y="4104"/>
                </a:lnTo>
                <a:close/>
                <a:moveTo>
                  <a:pt x="4266" y="4164"/>
                </a:moveTo>
                <a:lnTo>
                  <a:pt x="4266" y="4164"/>
                </a:lnTo>
                <a:lnTo>
                  <a:pt x="4266" y="4166"/>
                </a:lnTo>
                <a:lnTo>
                  <a:pt x="4264" y="4168"/>
                </a:lnTo>
                <a:lnTo>
                  <a:pt x="4266" y="4170"/>
                </a:lnTo>
                <a:lnTo>
                  <a:pt x="4268" y="4170"/>
                </a:lnTo>
                <a:lnTo>
                  <a:pt x="4268" y="4166"/>
                </a:lnTo>
                <a:lnTo>
                  <a:pt x="4268" y="4164"/>
                </a:lnTo>
                <a:lnTo>
                  <a:pt x="4266" y="4164"/>
                </a:lnTo>
                <a:close/>
                <a:moveTo>
                  <a:pt x="4250" y="4144"/>
                </a:moveTo>
                <a:lnTo>
                  <a:pt x="4250" y="4144"/>
                </a:lnTo>
                <a:lnTo>
                  <a:pt x="4250" y="4148"/>
                </a:lnTo>
                <a:lnTo>
                  <a:pt x="4252" y="4148"/>
                </a:lnTo>
                <a:lnTo>
                  <a:pt x="4254" y="4148"/>
                </a:lnTo>
                <a:lnTo>
                  <a:pt x="4254" y="4146"/>
                </a:lnTo>
                <a:lnTo>
                  <a:pt x="4254" y="4144"/>
                </a:lnTo>
                <a:lnTo>
                  <a:pt x="4252" y="4144"/>
                </a:lnTo>
                <a:lnTo>
                  <a:pt x="4250" y="4144"/>
                </a:lnTo>
                <a:close/>
                <a:moveTo>
                  <a:pt x="4242" y="4134"/>
                </a:moveTo>
                <a:lnTo>
                  <a:pt x="4242" y="4134"/>
                </a:lnTo>
                <a:lnTo>
                  <a:pt x="4242" y="4138"/>
                </a:lnTo>
                <a:lnTo>
                  <a:pt x="4244" y="4140"/>
                </a:lnTo>
                <a:lnTo>
                  <a:pt x="4246" y="4142"/>
                </a:lnTo>
                <a:lnTo>
                  <a:pt x="4248" y="4140"/>
                </a:lnTo>
                <a:lnTo>
                  <a:pt x="4248" y="4138"/>
                </a:lnTo>
                <a:lnTo>
                  <a:pt x="4246" y="4134"/>
                </a:lnTo>
                <a:lnTo>
                  <a:pt x="4242" y="4134"/>
                </a:lnTo>
                <a:close/>
                <a:moveTo>
                  <a:pt x="4282" y="4154"/>
                </a:moveTo>
                <a:lnTo>
                  <a:pt x="4282" y="4154"/>
                </a:lnTo>
                <a:lnTo>
                  <a:pt x="4286" y="4154"/>
                </a:lnTo>
                <a:lnTo>
                  <a:pt x="4288" y="4152"/>
                </a:lnTo>
                <a:lnTo>
                  <a:pt x="4288" y="4150"/>
                </a:lnTo>
                <a:lnTo>
                  <a:pt x="4286" y="4146"/>
                </a:lnTo>
                <a:lnTo>
                  <a:pt x="4282" y="4146"/>
                </a:lnTo>
                <a:lnTo>
                  <a:pt x="4280" y="4148"/>
                </a:lnTo>
                <a:lnTo>
                  <a:pt x="4280" y="4152"/>
                </a:lnTo>
                <a:lnTo>
                  <a:pt x="4282" y="4154"/>
                </a:lnTo>
                <a:close/>
                <a:moveTo>
                  <a:pt x="4284" y="4126"/>
                </a:moveTo>
                <a:lnTo>
                  <a:pt x="4284" y="4126"/>
                </a:lnTo>
                <a:lnTo>
                  <a:pt x="4286" y="4124"/>
                </a:lnTo>
                <a:lnTo>
                  <a:pt x="4286" y="4122"/>
                </a:lnTo>
                <a:lnTo>
                  <a:pt x="4284" y="4118"/>
                </a:lnTo>
                <a:lnTo>
                  <a:pt x="4282" y="4118"/>
                </a:lnTo>
                <a:lnTo>
                  <a:pt x="4280" y="4120"/>
                </a:lnTo>
                <a:lnTo>
                  <a:pt x="4280" y="4124"/>
                </a:lnTo>
                <a:lnTo>
                  <a:pt x="4284" y="4126"/>
                </a:lnTo>
                <a:close/>
                <a:moveTo>
                  <a:pt x="1780" y="2486"/>
                </a:moveTo>
                <a:lnTo>
                  <a:pt x="1780" y="2486"/>
                </a:lnTo>
                <a:lnTo>
                  <a:pt x="1790" y="2488"/>
                </a:lnTo>
                <a:lnTo>
                  <a:pt x="1794" y="2486"/>
                </a:lnTo>
                <a:lnTo>
                  <a:pt x="1796" y="2484"/>
                </a:lnTo>
                <a:lnTo>
                  <a:pt x="1800" y="2484"/>
                </a:lnTo>
                <a:lnTo>
                  <a:pt x="1802" y="2484"/>
                </a:lnTo>
                <a:lnTo>
                  <a:pt x="1802" y="2480"/>
                </a:lnTo>
                <a:lnTo>
                  <a:pt x="1800" y="2474"/>
                </a:lnTo>
                <a:lnTo>
                  <a:pt x="1796" y="2470"/>
                </a:lnTo>
                <a:lnTo>
                  <a:pt x="1794" y="2466"/>
                </a:lnTo>
                <a:lnTo>
                  <a:pt x="1794" y="2464"/>
                </a:lnTo>
                <a:lnTo>
                  <a:pt x="1792" y="2460"/>
                </a:lnTo>
                <a:lnTo>
                  <a:pt x="1788" y="2456"/>
                </a:lnTo>
                <a:lnTo>
                  <a:pt x="1782" y="2448"/>
                </a:lnTo>
                <a:lnTo>
                  <a:pt x="1778" y="2440"/>
                </a:lnTo>
                <a:lnTo>
                  <a:pt x="1774" y="2434"/>
                </a:lnTo>
                <a:lnTo>
                  <a:pt x="1770" y="2430"/>
                </a:lnTo>
                <a:lnTo>
                  <a:pt x="1766" y="2428"/>
                </a:lnTo>
                <a:lnTo>
                  <a:pt x="1754" y="2426"/>
                </a:lnTo>
                <a:lnTo>
                  <a:pt x="1744" y="2420"/>
                </a:lnTo>
                <a:lnTo>
                  <a:pt x="1738" y="2414"/>
                </a:lnTo>
                <a:lnTo>
                  <a:pt x="1738" y="2412"/>
                </a:lnTo>
                <a:lnTo>
                  <a:pt x="1738" y="2408"/>
                </a:lnTo>
                <a:lnTo>
                  <a:pt x="1740" y="2406"/>
                </a:lnTo>
                <a:lnTo>
                  <a:pt x="1738" y="2404"/>
                </a:lnTo>
                <a:lnTo>
                  <a:pt x="1732" y="2398"/>
                </a:lnTo>
                <a:lnTo>
                  <a:pt x="1724" y="2390"/>
                </a:lnTo>
                <a:lnTo>
                  <a:pt x="1720" y="2384"/>
                </a:lnTo>
                <a:lnTo>
                  <a:pt x="1716" y="2376"/>
                </a:lnTo>
                <a:lnTo>
                  <a:pt x="1712" y="2372"/>
                </a:lnTo>
                <a:lnTo>
                  <a:pt x="1704" y="2368"/>
                </a:lnTo>
                <a:lnTo>
                  <a:pt x="1680" y="2362"/>
                </a:lnTo>
                <a:lnTo>
                  <a:pt x="1656" y="2356"/>
                </a:lnTo>
                <a:lnTo>
                  <a:pt x="1646" y="2354"/>
                </a:lnTo>
                <a:lnTo>
                  <a:pt x="1640" y="2350"/>
                </a:lnTo>
                <a:lnTo>
                  <a:pt x="1632" y="2344"/>
                </a:lnTo>
                <a:lnTo>
                  <a:pt x="1620" y="2340"/>
                </a:lnTo>
                <a:lnTo>
                  <a:pt x="1608" y="2340"/>
                </a:lnTo>
                <a:lnTo>
                  <a:pt x="1602" y="2340"/>
                </a:lnTo>
                <a:lnTo>
                  <a:pt x="1596" y="2342"/>
                </a:lnTo>
                <a:lnTo>
                  <a:pt x="1596" y="2344"/>
                </a:lnTo>
                <a:lnTo>
                  <a:pt x="1596" y="2346"/>
                </a:lnTo>
                <a:lnTo>
                  <a:pt x="1600" y="2354"/>
                </a:lnTo>
                <a:lnTo>
                  <a:pt x="1608" y="2358"/>
                </a:lnTo>
                <a:lnTo>
                  <a:pt x="1612" y="2360"/>
                </a:lnTo>
                <a:lnTo>
                  <a:pt x="1618" y="2358"/>
                </a:lnTo>
                <a:lnTo>
                  <a:pt x="1626" y="2358"/>
                </a:lnTo>
                <a:lnTo>
                  <a:pt x="1632" y="2358"/>
                </a:lnTo>
                <a:lnTo>
                  <a:pt x="1634" y="2360"/>
                </a:lnTo>
                <a:lnTo>
                  <a:pt x="1630" y="2360"/>
                </a:lnTo>
                <a:lnTo>
                  <a:pt x="1624" y="2362"/>
                </a:lnTo>
                <a:lnTo>
                  <a:pt x="1618" y="2364"/>
                </a:lnTo>
                <a:lnTo>
                  <a:pt x="1616" y="2366"/>
                </a:lnTo>
                <a:lnTo>
                  <a:pt x="1616" y="2368"/>
                </a:lnTo>
                <a:lnTo>
                  <a:pt x="1618" y="2372"/>
                </a:lnTo>
                <a:lnTo>
                  <a:pt x="1622" y="2374"/>
                </a:lnTo>
                <a:lnTo>
                  <a:pt x="1622" y="2376"/>
                </a:lnTo>
                <a:lnTo>
                  <a:pt x="1620" y="2378"/>
                </a:lnTo>
                <a:lnTo>
                  <a:pt x="1616" y="2380"/>
                </a:lnTo>
                <a:lnTo>
                  <a:pt x="1614" y="2382"/>
                </a:lnTo>
                <a:lnTo>
                  <a:pt x="1616" y="2384"/>
                </a:lnTo>
                <a:lnTo>
                  <a:pt x="1618" y="2384"/>
                </a:lnTo>
                <a:lnTo>
                  <a:pt x="1620" y="2384"/>
                </a:lnTo>
                <a:lnTo>
                  <a:pt x="1624" y="2382"/>
                </a:lnTo>
                <a:lnTo>
                  <a:pt x="1630" y="2380"/>
                </a:lnTo>
                <a:lnTo>
                  <a:pt x="1632" y="2382"/>
                </a:lnTo>
                <a:lnTo>
                  <a:pt x="1634" y="2384"/>
                </a:lnTo>
                <a:lnTo>
                  <a:pt x="1636" y="2388"/>
                </a:lnTo>
                <a:lnTo>
                  <a:pt x="1638" y="2386"/>
                </a:lnTo>
                <a:lnTo>
                  <a:pt x="1642" y="2382"/>
                </a:lnTo>
                <a:lnTo>
                  <a:pt x="1644" y="2382"/>
                </a:lnTo>
                <a:lnTo>
                  <a:pt x="1646" y="2382"/>
                </a:lnTo>
                <a:lnTo>
                  <a:pt x="1648" y="2384"/>
                </a:lnTo>
                <a:lnTo>
                  <a:pt x="1646" y="2388"/>
                </a:lnTo>
                <a:lnTo>
                  <a:pt x="1644" y="2392"/>
                </a:lnTo>
                <a:lnTo>
                  <a:pt x="1644" y="2396"/>
                </a:lnTo>
                <a:lnTo>
                  <a:pt x="1646" y="2398"/>
                </a:lnTo>
                <a:lnTo>
                  <a:pt x="1648" y="2398"/>
                </a:lnTo>
                <a:lnTo>
                  <a:pt x="1652" y="2398"/>
                </a:lnTo>
                <a:lnTo>
                  <a:pt x="1656" y="2394"/>
                </a:lnTo>
                <a:lnTo>
                  <a:pt x="1662" y="2392"/>
                </a:lnTo>
                <a:lnTo>
                  <a:pt x="1664" y="2394"/>
                </a:lnTo>
                <a:lnTo>
                  <a:pt x="1666" y="2398"/>
                </a:lnTo>
                <a:lnTo>
                  <a:pt x="1668" y="2402"/>
                </a:lnTo>
                <a:lnTo>
                  <a:pt x="1670" y="2404"/>
                </a:lnTo>
                <a:lnTo>
                  <a:pt x="1676" y="2408"/>
                </a:lnTo>
                <a:lnTo>
                  <a:pt x="1678" y="2410"/>
                </a:lnTo>
                <a:lnTo>
                  <a:pt x="1674" y="2412"/>
                </a:lnTo>
                <a:lnTo>
                  <a:pt x="1670" y="2416"/>
                </a:lnTo>
                <a:lnTo>
                  <a:pt x="1668" y="2420"/>
                </a:lnTo>
                <a:lnTo>
                  <a:pt x="1670" y="2424"/>
                </a:lnTo>
                <a:lnTo>
                  <a:pt x="1676" y="2424"/>
                </a:lnTo>
                <a:lnTo>
                  <a:pt x="1688" y="2422"/>
                </a:lnTo>
                <a:lnTo>
                  <a:pt x="1692" y="2424"/>
                </a:lnTo>
                <a:lnTo>
                  <a:pt x="1694" y="2428"/>
                </a:lnTo>
                <a:lnTo>
                  <a:pt x="1696" y="2432"/>
                </a:lnTo>
                <a:lnTo>
                  <a:pt x="1700" y="2434"/>
                </a:lnTo>
                <a:lnTo>
                  <a:pt x="1702" y="2434"/>
                </a:lnTo>
                <a:lnTo>
                  <a:pt x="1702" y="2438"/>
                </a:lnTo>
                <a:lnTo>
                  <a:pt x="1702" y="2444"/>
                </a:lnTo>
                <a:lnTo>
                  <a:pt x="1706" y="2448"/>
                </a:lnTo>
                <a:lnTo>
                  <a:pt x="1710" y="2452"/>
                </a:lnTo>
                <a:lnTo>
                  <a:pt x="1716" y="2452"/>
                </a:lnTo>
                <a:lnTo>
                  <a:pt x="1722" y="2450"/>
                </a:lnTo>
                <a:lnTo>
                  <a:pt x="1728" y="2450"/>
                </a:lnTo>
                <a:lnTo>
                  <a:pt x="1730" y="2452"/>
                </a:lnTo>
                <a:lnTo>
                  <a:pt x="1728" y="2456"/>
                </a:lnTo>
                <a:lnTo>
                  <a:pt x="1728" y="2458"/>
                </a:lnTo>
                <a:lnTo>
                  <a:pt x="1728" y="2460"/>
                </a:lnTo>
                <a:lnTo>
                  <a:pt x="1730" y="2466"/>
                </a:lnTo>
                <a:lnTo>
                  <a:pt x="1738" y="2472"/>
                </a:lnTo>
                <a:lnTo>
                  <a:pt x="1750" y="2474"/>
                </a:lnTo>
                <a:lnTo>
                  <a:pt x="1758" y="2476"/>
                </a:lnTo>
                <a:lnTo>
                  <a:pt x="1764" y="2480"/>
                </a:lnTo>
                <a:lnTo>
                  <a:pt x="1770" y="2482"/>
                </a:lnTo>
                <a:lnTo>
                  <a:pt x="1780" y="2486"/>
                </a:lnTo>
                <a:close/>
                <a:moveTo>
                  <a:pt x="1446" y="2194"/>
                </a:moveTo>
                <a:lnTo>
                  <a:pt x="1446" y="2194"/>
                </a:lnTo>
                <a:lnTo>
                  <a:pt x="1450" y="2192"/>
                </a:lnTo>
                <a:lnTo>
                  <a:pt x="1452" y="2188"/>
                </a:lnTo>
                <a:lnTo>
                  <a:pt x="1454" y="2178"/>
                </a:lnTo>
                <a:lnTo>
                  <a:pt x="1452" y="2168"/>
                </a:lnTo>
                <a:lnTo>
                  <a:pt x="1454" y="2162"/>
                </a:lnTo>
                <a:lnTo>
                  <a:pt x="1454" y="2158"/>
                </a:lnTo>
                <a:lnTo>
                  <a:pt x="1460" y="2144"/>
                </a:lnTo>
                <a:lnTo>
                  <a:pt x="1460" y="2140"/>
                </a:lnTo>
                <a:lnTo>
                  <a:pt x="1458" y="2140"/>
                </a:lnTo>
                <a:lnTo>
                  <a:pt x="1452" y="2144"/>
                </a:lnTo>
                <a:lnTo>
                  <a:pt x="1446" y="2144"/>
                </a:lnTo>
                <a:lnTo>
                  <a:pt x="1442" y="2146"/>
                </a:lnTo>
                <a:lnTo>
                  <a:pt x="1444" y="2148"/>
                </a:lnTo>
                <a:lnTo>
                  <a:pt x="1446" y="2154"/>
                </a:lnTo>
                <a:lnTo>
                  <a:pt x="1446" y="2160"/>
                </a:lnTo>
                <a:lnTo>
                  <a:pt x="1442" y="2166"/>
                </a:lnTo>
                <a:lnTo>
                  <a:pt x="1434" y="2168"/>
                </a:lnTo>
                <a:lnTo>
                  <a:pt x="1428" y="2170"/>
                </a:lnTo>
                <a:lnTo>
                  <a:pt x="1422" y="2168"/>
                </a:lnTo>
                <a:lnTo>
                  <a:pt x="1422" y="2166"/>
                </a:lnTo>
                <a:lnTo>
                  <a:pt x="1428" y="2164"/>
                </a:lnTo>
                <a:lnTo>
                  <a:pt x="1436" y="2162"/>
                </a:lnTo>
                <a:lnTo>
                  <a:pt x="1440" y="2156"/>
                </a:lnTo>
                <a:lnTo>
                  <a:pt x="1440" y="2152"/>
                </a:lnTo>
                <a:lnTo>
                  <a:pt x="1436" y="2144"/>
                </a:lnTo>
                <a:lnTo>
                  <a:pt x="1432" y="2142"/>
                </a:lnTo>
                <a:lnTo>
                  <a:pt x="1430" y="2142"/>
                </a:lnTo>
                <a:lnTo>
                  <a:pt x="1428" y="2142"/>
                </a:lnTo>
                <a:lnTo>
                  <a:pt x="1426" y="2140"/>
                </a:lnTo>
                <a:lnTo>
                  <a:pt x="1422" y="2138"/>
                </a:lnTo>
                <a:lnTo>
                  <a:pt x="1420" y="2140"/>
                </a:lnTo>
                <a:lnTo>
                  <a:pt x="1418" y="2140"/>
                </a:lnTo>
                <a:lnTo>
                  <a:pt x="1414" y="2138"/>
                </a:lnTo>
                <a:lnTo>
                  <a:pt x="1410" y="2136"/>
                </a:lnTo>
                <a:lnTo>
                  <a:pt x="1406" y="2136"/>
                </a:lnTo>
                <a:lnTo>
                  <a:pt x="1404" y="2138"/>
                </a:lnTo>
                <a:lnTo>
                  <a:pt x="1406" y="2142"/>
                </a:lnTo>
                <a:lnTo>
                  <a:pt x="1404" y="2146"/>
                </a:lnTo>
                <a:lnTo>
                  <a:pt x="1404" y="2152"/>
                </a:lnTo>
                <a:lnTo>
                  <a:pt x="1404" y="2156"/>
                </a:lnTo>
                <a:lnTo>
                  <a:pt x="1406" y="2164"/>
                </a:lnTo>
                <a:lnTo>
                  <a:pt x="1410" y="2170"/>
                </a:lnTo>
                <a:lnTo>
                  <a:pt x="1408" y="2172"/>
                </a:lnTo>
                <a:lnTo>
                  <a:pt x="1410" y="2178"/>
                </a:lnTo>
                <a:lnTo>
                  <a:pt x="1414" y="2180"/>
                </a:lnTo>
                <a:lnTo>
                  <a:pt x="1418" y="2180"/>
                </a:lnTo>
                <a:lnTo>
                  <a:pt x="1422" y="2180"/>
                </a:lnTo>
                <a:lnTo>
                  <a:pt x="1426" y="2184"/>
                </a:lnTo>
                <a:lnTo>
                  <a:pt x="1428" y="2186"/>
                </a:lnTo>
                <a:lnTo>
                  <a:pt x="1426" y="2186"/>
                </a:lnTo>
                <a:lnTo>
                  <a:pt x="1422" y="2186"/>
                </a:lnTo>
                <a:lnTo>
                  <a:pt x="1418" y="2186"/>
                </a:lnTo>
                <a:lnTo>
                  <a:pt x="1418" y="2188"/>
                </a:lnTo>
                <a:lnTo>
                  <a:pt x="1422" y="2192"/>
                </a:lnTo>
                <a:lnTo>
                  <a:pt x="1426" y="2196"/>
                </a:lnTo>
                <a:lnTo>
                  <a:pt x="1426" y="2198"/>
                </a:lnTo>
                <a:lnTo>
                  <a:pt x="1428" y="2198"/>
                </a:lnTo>
                <a:lnTo>
                  <a:pt x="1434" y="2200"/>
                </a:lnTo>
                <a:lnTo>
                  <a:pt x="1438" y="2198"/>
                </a:lnTo>
                <a:lnTo>
                  <a:pt x="1440" y="2198"/>
                </a:lnTo>
                <a:lnTo>
                  <a:pt x="1442" y="2196"/>
                </a:lnTo>
                <a:lnTo>
                  <a:pt x="1446" y="2194"/>
                </a:lnTo>
                <a:close/>
                <a:moveTo>
                  <a:pt x="1478" y="2250"/>
                </a:moveTo>
                <a:lnTo>
                  <a:pt x="1478" y="2250"/>
                </a:lnTo>
                <a:lnTo>
                  <a:pt x="1480" y="2246"/>
                </a:lnTo>
                <a:lnTo>
                  <a:pt x="1480" y="2244"/>
                </a:lnTo>
                <a:lnTo>
                  <a:pt x="1478" y="2244"/>
                </a:lnTo>
                <a:lnTo>
                  <a:pt x="1476" y="2244"/>
                </a:lnTo>
                <a:lnTo>
                  <a:pt x="1472" y="2246"/>
                </a:lnTo>
                <a:lnTo>
                  <a:pt x="1472" y="2244"/>
                </a:lnTo>
                <a:lnTo>
                  <a:pt x="1470" y="2242"/>
                </a:lnTo>
                <a:lnTo>
                  <a:pt x="1468" y="2240"/>
                </a:lnTo>
                <a:lnTo>
                  <a:pt x="1464" y="2238"/>
                </a:lnTo>
                <a:lnTo>
                  <a:pt x="1460" y="2234"/>
                </a:lnTo>
                <a:lnTo>
                  <a:pt x="1458" y="2230"/>
                </a:lnTo>
                <a:lnTo>
                  <a:pt x="1460" y="2224"/>
                </a:lnTo>
                <a:lnTo>
                  <a:pt x="1460" y="2222"/>
                </a:lnTo>
                <a:lnTo>
                  <a:pt x="1458" y="2222"/>
                </a:lnTo>
                <a:lnTo>
                  <a:pt x="1454" y="2220"/>
                </a:lnTo>
                <a:lnTo>
                  <a:pt x="1452" y="2216"/>
                </a:lnTo>
                <a:lnTo>
                  <a:pt x="1456" y="2216"/>
                </a:lnTo>
                <a:lnTo>
                  <a:pt x="1460" y="2216"/>
                </a:lnTo>
                <a:lnTo>
                  <a:pt x="1464" y="2214"/>
                </a:lnTo>
                <a:lnTo>
                  <a:pt x="1464" y="2212"/>
                </a:lnTo>
                <a:lnTo>
                  <a:pt x="1464" y="2210"/>
                </a:lnTo>
                <a:lnTo>
                  <a:pt x="1462" y="2210"/>
                </a:lnTo>
                <a:lnTo>
                  <a:pt x="1464" y="2206"/>
                </a:lnTo>
                <a:lnTo>
                  <a:pt x="1464" y="2204"/>
                </a:lnTo>
                <a:lnTo>
                  <a:pt x="1462" y="2202"/>
                </a:lnTo>
                <a:lnTo>
                  <a:pt x="1460" y="2200"/>
                </a:lnTo>
                <a:lnTo>
                  <a:pt x="1458" y="2198"/>
                </a:lnTo>
                <a:lnTo>
                  <a:pt x="1458" y="2196"/>
                </a:lnTo>
                <a:lnTo>
                  <a:pt x="1456" y="2194"/>
                </a:lnTo>
                <a:lnTo>
                  <a:pt x="1454" y="2194"/>
                </a:lnTo>
                <a:lnTo>
                  <a:pt x="1448" y="2198"/>
                </a:lnTo>
                <a:lnTo>
                  <a:pt x="1446" y="2200"/>
                </a:lnTo>
                <a:lnTo>
                  <a:pt x="1442" y="2202"/>
                </a:lnTo>
                <a:lnTo>
                  <a:pt x="1434" y="2204"/>
                </a:lnTo>
                <a:lnTo>
                  <a:pt x="1428" y="2204"/>
                </a:lnTo>
                <a:lnTo>
                  <a:pt x="1426" y="2204"/>
                </a:lnTo>
                <a:lnTo>
                  <a:pt x="1428" y="2206"/>
                </a:lnTo>
                <a:lnTo>
                  <a:pt x="1430" y="2208"/>
                </a:lnTo>
                <a:lnTo>
                  <a:pt x="1436" y="2208"/>
                </a:lnTo>
                <a:lnTo>
                  <a:pt x="1440" y="2208"/>
                </a:lnTo>
                <a:lnTo>
                  <a:pt x="1442" y="2210"/>
                </a:lnTo>
                <a:lnTo>
                  <a:pt x="1442" y="2212"/>
                </a:lnTo>
                <a:lnTo>
                  <a:pt x="1438" y="2212"/>
                </a:lnTo>
                <a:lnTo>
                  <a:pt x="1436" y="2214"/>
                </a:lnTo>
                <a:lnTo>
                  <a:pt x="1436" y="2218"/>
                </a:lnTo>
                <a:lnTo>
                  <a:pt x="1440" y="2222"/>
                </a:lnTo>
                <a:lnTo>
                  <a:pt x="1444" y="2222"/>
                </a:lnTo>
                <a:lnTo>
                  <a:pt x="1448" y="2222"/>
                </a:lnTo>
                <a:lnTo>
                  <a:pt x="1448" y="2224"/>
                </a:lnTo>
                <a:lnTo>
                  <a:pt x="1446" y="2226"/>
                </a:lnTo>
                <a:lnTo>
                  <a:pt x="1446" y="2228"/>
                </a:lnTo>
                <a:lnTo>
                  <a:pt x="1450" y="2232"/>
                </a:lnTo>
                <a:lnTo>
                  <a:pt x="1460" y="2242"/>
                </a:lnTo>
                <a:lnTo>
                  <a:pt x="1466" y="2246"/>
                </a:lnTo>
                <a:lnTo>
                  <a:pt x="1466" y="2248"/>
                </a:lnTo>
                <a:lnTo>
                  <a:pt x="1466" y="2250"/>
                </a:lnTo>
                <a:lnTo>
                  <a:pt x="1468" y="2252"/>
                </a:lnTo>
                <a:lnTo>
                  <a:pt x="1470" y="2256"/>
                </a:lnTo>
                <a:lnTo>
                  <a:pt x="1472" y="2258"/>
                </a:lnTo>
                <a:lnTo>
                  <a:pt x="1476" y="2260"/>
                </a:lnTo>
                <a:lnTo>
                  <a:pt x="1480" y="2262"/>
                </a:lnTo>
                <a:lnTo>
                  <a:pt x="1486" y="2262"/>
                </a:lnTo>
                <a:lnTo>
                  <a:pt x="1488" y="2260"/>
                </a:lnTo>
                <a:lnTo>
                  <a:pt x="1488" y="2258"/>
                </a:lnTo>
                <a:lnTo>
                  <a:pt x="1486" y="2254"/>
                </a:lnTo>
                <a:lnTo>
                  <a:pt x="1482" y="2252"/>
                </a:lnTo>
                <a:lnTo>
                  <a:pt x="1480" y="2252"/>
                </a:lnTo>
                <a:lnTo>
                  <a:pt x="1478" y="2252"/>
                </a:lnTo>
                <a:lnTo>
                  <a:pt x="1478" y="2250"/>
                </a:lnTo>
                <a:close/>
                <a:moveTo>
                  <a:pt x="1658" y="2400"/>
                </a:moveTo>
                <a:lnTo>
                  <a:pt x="1658" y="2400"/>
                </a:lnTo>
                <a:lnTo>
                  <a:pt x="1656" y="2402"/>
                </a:lnTo>
                <a:lnTo>
                  <a:pt x="1656" y="2406"/>
                </a:lnTo>
                <a:lnTo>
                  <a:pt x="1660" y="2410"/>
                </a:lnTo>
                <a:lnTo>
                  <a:pt x="1664" y="2412"/>
                </a:lnTo>
                <a:lnTo>
                  <a:pt x="1668" y="2412"/>
                </a:lnTo>
                <a:lnTo>
                  <a:pt x="1668" y="2408"/>
                </a:lnTo>
                <a:lnTo>
                  <a:pt x="1666" y="2402"/>
                </a:lnTo>
                <a:lnTo>
                  <a:pt x="1662" y="2400"/>
                </a:lnTo>
                <a:lnTo>
                  <a:pt x="1660" y="2398"/>
                </a:lnTo>
                <a:lnTo>
                  <a:pt x="1658" y="2400"/>
                </a:lnTo>
                <a:close/>
                <a:moveTo>
                  <a:pt x="1514" y="2172"/>
                </a:moveTo>
                <a:lnTo>
                  <a:pt x="1514" y="2172"/>
                </a:lnTo>
                <a:lnTo>
                  <a:pt x="1508" y="2170"/>
                </a:lnTo>
                <a:lnTo>
                  <a:pt x="1508" y="2172"/>
                </a:lnTo>
                <a:lnTo>
                  <a:pt x="1512" y="2182"/>
                </a:lnTo>
                <a:lnTo>
                  <a:pt x="1516" y="2184"/>
                </a:lnTo>
                <a:lnTo>
                  <a:pt x="1520" y="2186"/>
                </a:lnTo>
                <a:lnTo>
                  <a:pt x="1524" y="2190"/>
                </a:lnTo>
                <a:lnTo>
                  <a:pt x="1528" y="2196"/>
                </a:lnTo>
                <a:lnTo>
                  <a:pt x="1532" y="2200"/>
                </a:lnTo>
                <a:lnTo>
                  <a:pt x="1534" y="2200"/>
                </a:lnTo>
                <a:lnTo>
                  <a:pt x="1536" y="2196"/>
                </a:lnTo>
                <a:lnTo>
                  <a:pt x="1536" y="2190"/>
                </a:lnTo>
                <a:lnTo>
                  <a:pt x="1532" y="2186"/>
                </a:lnTo>
                <a:lnTo>
                  <a:pt x="1528" y="2180"/>
                </a:lnTo>
                <a:lnTo>
                  <a:pt x="1514" y="2172"/>
                </a:lnTo>
                <a:close/>
                <a:moveTo>
                  <a:pt x="1548" y="2182"/>
                </a:moveTo>
                <a:lnTo>
                  <a:pt x="1548" y="2182"/>
                </a:lnTo>
                <a:lnTo>
                  <a:pt x="1538" y="2170"/>
                </a:lnTo>
                <a:lnTo>
                  <a:pt x="1526" y="2158"/>
                </a:lnTo>
                <a:lnTo>
                  <a:pt x="1520" y="2156"/>
                </a:lnTo>
                <a:lnTo>
                  <a:pt x="1518" y="2156"/>
                </a:lnTo>
                <a:lnTo>
                  <a:pt x="1518" y="2160"/>
                </a:lnTo>
                <a:lnTo>
                  <a:pt x="1520" y="2164"/>
                </a:lnTo>
                <a:lnTo>
                  <a:pt x="1524" y="2172"/>
                </a:lnTo>
                <a:lnTo>
                  <a:pt x="1526" y="2174"/>
                </a:lnTo>
                <a:lnTo>
                  <a:pt x="1530" y="2176"/>
                </a:lnTo>
                <a:lnTo>
                  <a:pt x="1532" y="2176"/>
                </a:lnTo>
                <a:lnTo>
                  <a:pt x="1536" y="2180"/>
                </a:lnTo>
                <a:lnTo>
                  <a:pt x="1542" y="2194"/>
                </a:lnTo>
                <a:lnTo>
                  <a:pt x="1544" y="2196"/>
                </a:lnTo>
                <a:lnTo>
                  <a:pt x="1548" y="2196"/>
                </a:lnTo>
                <a:lnTo>
                  <a:pt x="1550" y="2196"/>
                </a:lnTo>
                <a:lnTo>
                  <a:pt x="1550" y="2194"/>
                </a:lnTo>
                <a:lnTo>
                  <a:pt x="1548" y="2192"/>
                </a:lnTo>
                <a:lnTo>
                  <a:pt x="1550" y="2190"/>
                </a:lnTo>
                <a:lnTo>
                  <a:pt x="1550" y="2186"/>
                </a:lnTo>
                <a:lnTo>
                  <a:pt x="1548" y="2182"/>
                </a:lnTo>
                <a:close/>
                <a:moveTo>
                  <a:pt x="1518" y="2154"/>
                </a:moveTo>
                <a:lnTo>
                  <a:pt x="1518" y="2154"/>
                </a:lnTo>
                <a:lnTo>
                  <a:pt x="1520" y="2152"/>
                </a:lnTo>
                <a:lnTo>
                  <a:pt x="1518" y="2148"/>
                </a:lnTo>
                <a:lnTo>
                  <a:pt x="1516" y="2144"/>
                </a:lnTo>
                <a:lnTo>
                  <a:pt x="1510" y="2144"/>
                </a:lnTo>
                <a:lnTo>
                  <a:pt x="1506" y="2144"/>
                </a:lnTo>
                <a:lnTo>
                  <a:pt x="1502" y="2146"/>
                </a:lnTo>
                <a:lnTo>
                  <a:pt x="1500" y="2150"/>
                </a:lnTo>
                <a:lnTo>
                  <a:pt x="1500" y="2156"/>
                </a:lnTo>
                <a:lnTo>
                  <a:pt x="1500" y="2158"/>
                </a:lnTo>
                <a:lnTo>
                  <a:pt x="1502" y="2156"/>
                </a:lnTo>
                <a:lnTo>
                  <a:pt x="1504" y="2154"/>
                </a:lnTo>
                <a:lnTo>
                  <a:pt x="1508" y="2154"/>
                </a:lnTo>
                <a:lnTo>
                  <a:pt x="1512" y="2158"/>
                </a:lnTo>
                <a:lnTo>
                  <a:pt x="1514" y="2158"/>
                </a:lnTo>
                <a:lnTo>
                  <a:pt x="1518" y="2154"/>
                </a:lnTo>
                <a:close/>
                <a:moveTo>
                  <a:pt x="1568" y="2192"/>
                </a:moveTo>
                <a:lnTo>
                  <a:pt x="1568" y="2192"/>
                </a:lnTo>
                <a:lnTo>
                  <a:pt x="1566" y="2192"/>
                </a:lnTo>
                <a:lnTo>
                  <a:pt x="1566" y="2194"/>
                </a:lnTo>
                <a:lnTo>
                  <a:pt x="1566" y="2198"/>
                </a:lnTo>
                <a:lnTo>
                  <a:pt x="1566" y="2204"/>
                </a:lnTo>
                <a:lnTo>
                  <a:pt x="1564" y="2206"/>
                </a:lnTo>
                <a:lnTo>
                  <a:pt x="1562" y="2208"/>
                </a:lnTo>
                <a:lnTo>
                  <a:pt x="1560" y="2212"/>
                </a:lnTo>
                <a:lnTo>
                  <a:pt x="1560" y="2216"/>
                </a:lnTo>
                <a:lnTo>
                  <a:pt x="1562" y="2216"/>
                </a:lnTo>
                <a:lnTo>
                  <a:pt x="1566" y="2216"/>
                </a:lnTo>
                <a:lnTo>
                  <a:pt x="1570" y="2212"/>
                </a:lnTo>
                <a:lnTo>
                  <a:pt x="1572" y="2208"/>
                </a:lnTo>
                <a:lnTo>
                  <a:pt x="1574" y="2206"/>
                </a:lnTo>
                <a:lnTo>
                  <a:pt x="1576" y="2208"/>
                </a:lnTo>
                <a:lnTo>
                  <a:pt x="1576" y="2210"/>
                </a:lnTo>
                <a:lnTo>
                  <a:pt x="1576" y="2212"/>
                </a:lnTo>
                <a:lnTo>
                  <a:pt x="1572" y="2216"/>
                </a:lnTo>
                <a:lnTo>
                  <a:pt x="1566" y="2220"/>
                </a:lnTo>
                <a:lnTo>
                  <a:pt x="1566" y="2222"/>
                </a:lnTo>
                <a:lnTo>
                  <a:pt x="1568" y="2226"/>
                </a:lnTo>
                <a:lnTo>
                  <a:pt x="1572" y="2228"/>
                </a:lnTo>
                <a:lnTo>
                  <a:pt x="1576" y="2228"/>
                </a:lnTo>
                <a:lnTo>
                  <a:pt x="1578" y="2224"/>
                </a:lnTo>
                <a:lnTo>
                  <a:pt x="1580" y="2222"/>
                </a:lnTo>
                <a:lnTo>
                  <a:pt x="1580" y="2224"/>
                </a:lnTo>
                <a:lnTo>
                  <a:pt x="1580" y="2230"/>
                </a:lnTo>
                <a:lnTo>
                  <a:pt x="1580" y="2232"/>
                </a:lnTo>
                <a:lnTo>
                  <a:pt x="1582" y="2234"/>
                </a:lnTo>
                <a:lnTo>
                  <a:pt x="1586" y="2232"/>
                </a:lnTo>
                <a:lnTo>
                  <a:pt x="1586" y="2230"/>
                </a:lnTo>
                <a:lnTo>
                  <a:pt x="1588" y="2214"/>
                </a:lnTo>
                <a:lnTo>
                  <a:pt x="1586" y="2210"/>
                </a:lnTo>
                <a:lnTo>
                  <a:pt x="1584" y="2206"/>
                </a:lnTo>
                <a:lnTo>
                  <a:pt x="1578" y="2198"/>
                </a:lnTo>
                <a:lnTo>
                  <a:pt x="1572" y="2194"/>
                </a:lnTo>
                <a:lnTo>
                  <a:pt x="1568" y="2192"/>
                </a:lnTo>
                <a:close/>
                <a:moveTo>
                  <a:pt x="1560" y="2224"/>
                </a:moveTo>
                <a:lnTo>
                  <a:pt x="1560" y="2224"/>
                </a:lnTo>
                <a:lnTo>
                  <a:pt x="1562" y="2232"/>
                </a:lnTo>
                <a:lnTo>
                  <a:pt x="1570" y="2242"/>
                </a:lnTo>
                <a:lnTo>
                  <a:pt x="1572" y="2242"/>
                </a:lnTo>
                <a:lnTo>
                  <a:pt x="1572" y="2240"/>
                </a:lnTo>
                <a:lnTo>
                  <a:pt x="1572" y="2236"/>
                </a:lnTo>
                <a:lnTo>
                  <a:pt x="1568" y="2230"/>
                </a:lnTo>
                <a:lnTo>
                  <a:pt x="1562" y="2224"/>
                </a:lnTo>
                <a:lnTo>
                  <a:pt x="1560" y="2224"/>
                </a:lnTo>
                <a:close/>
                <a:moveTo>
                  <a:pt x="1582" y="2244"/>
                </a:moveTo>
                <a:lnTo>
                  <a:pt x="1582" y="2244"/>
                </a:lnTo>
                <a:lnTo>
                  <a:pt x="1580" y="2244"/>
                </a:lnTo>
                <a:lnTo>
                  <a:pt x="1580" y="2248"/>
                </a:lnTo>
                <a:lnTo>
                  <a:pt x="1582" y="2252"/>
                </a:lnTo>
                <a:lnTo>
                  <a:pt x="1584" y="2254"/>
                </a:lnTo>
                <a:lnTo>
                  <a:pt x="1586" y="2252"/>
                </a:lnTo>
                <a:lnTo>
                  <a:pt x="1586" y="2248"/>
                </a:lnTo>
                <a:lnTo>
                  <a:pt x="1586" y="2244"/>
                </a:lnTo>
                <a:lnTo>
                  <a:pt x="1582" y="2244"/>
                </a:lnTo>
                <a:close/>
                <a:moveTo>
                  <a:pt x="4140" y="1656"/>
                </a:moveTo>
                <a:lnTo>
                  <a:pt x="4140" y="1656"/>
                </a:lnTo>
                <a:lnTo>
                  <a:pt x="4136" y="1658"/>
                </a:lnTo>
                <a:lnTo>
                  <a:pt x="4134" y="1662"/>
                </a:lnTo>
                <a:lnTo>
                  <a:pt x="4136" y="1668"/>
                </a:lnTo>
                <a:lnTo>
                  <a:pt x="4142" y="1674"/>
                </a:lnTo>
                <a:lnTo>
                  <a:pt x="4148" y="1678"/>
                </a:lnTo>
                <a:lnTo>
                  <a:pt x="4154" y="1680"/>
                </a:lnTo>
                <a:lnTo>
                  <a:pt x="4160" y="1680"/>
                </a:lnTo>
                <a:lnTo>
                  <a:pt x="4164" y="1678"/>
                </a:lnTo>
                <a:lnTo>
                  <a:pt x="4166" y="1672"/>
                </a:lnTo>
                <a:lnTo>
                  <a:pt x="4168" y="1668"/>
                </a:lnTo>
                <a:lnTo>
                  <a:pt x="4166" y="1664"/>
                </a:lnTo>
                <a:lnTo>
                  <a:pt x="4164" y="1660"/>
                </a:lnTo>
                <a:lnTo>
                  <a:pt x="4160" y="1658"/>
                </a:lnTo>
                <a:lnTo>
                  <a:pt x="4154" y="1656"/>
                </a:lnTo>
                <a:lnTo>
                  <a:pt x="4148" y="1654"/>
                </a:lnTo>
                <a:lnTo>
                  <a:pt x="4140" y="1656"/>
                </a:lnTo>
                <a:close/>
                <a:moveTo>
                  <a:pt x="4268" y="2596"/>
                </a:moveTo>
                <a:lnTo>
                  <a:pt x="4268" y="2596"/>
                </a:lnTo>
                <a:lnTo>
                  <a:pt x="4260" y="2594"/>
                </a:lnTo>
                <a:lnTo>
                  <a:pt x="4244" y="2596"/>
                </a:lnTo>
                <a:lnTo>
                  <a:pt x="4226" y="2596"/>
                </a:lnTo>
                <a:lnTo>
                  <a:pt x="4216" y="2594"/>
                </a:lnTo>
                <a:lnTo>
                  <a:pt x="4206" y="2592"/>
                </a:lnTo>
                <a:lnTo>
                  <a:pt x="4198" y="2588"/>
                </a:lnTo>
                <a:lnTo>
                  <a:pt x="4194" y="2584"/>
                </a:lnTo>
                <a:lnTo>
                  <a:pt x="4192" y="2578"/>
                </a:lnTo>
                <a:lnTo>
                  <a:pt x="4190" y="2572"/>
                </a:lnTo>
                <a:lnTo>
                  <a:pt x="4190" y="2568"/>
                </a:lnTo>
                <a:lnTo>
                  <a:pt x="4188" y="2566"/>
                </a:lnTo>
                <a:lnTo>
                  <a:pt x="4186" y="2568"/>
                </a:lnTo>
                <a:lnTo>
                  <a:pt x="4180" y="2574"/>
                </a:lnTo>
                <a:lnTo>
                  <a:pt x="4174" y="2586"/>
                </a:lnTo>
                <a:lnTo>
                  <a:pt x="4174" y="2588"/>
                </a:lnTo>
                <a:lnTo>
                  <a:pt x="4176" y="2588"/>
                </a:lnTo>
                <a:lnTo>
                  <a:pt x="4180" y="2590"/>
                </a:lnTo>
                <a:lnTo>
                  <a:pt x="4182" y="2592"/>
                </a:lnTo>
                <a:lnTo>
                  <a:pt x="4184" y="2596"/>
                </a:lnTo>
                <a:lnTo>
                  <a:pt x="4184" y="2600"/>
                </a:lnTo>
                <a:lnTo>
                  <a:pt x="4184" y="2602"/>
                </a:lnTo>
                <a:lnTo>
                  <a:pt x="4190" y="2602"/>
                </a:lnTo>
                <a:lnTo>
                  <a:pt x="4196" y="2602"/>
                </a:lnTo>
                <a:lnTo>
                  <a:pt x="4198" y="2604"/>
                </a:lnTo>
                <a:lnTo>
                  <a:pt x="4202" y="2606"/>
                </a:lnTo>
                <a:lnTo>
                  <a:pt x="4208" y="2612"/>
                </a:lnTo>
                <a:lnTo>
                  <a:pt x="4214" y="2614"/>
                </a:lnTo>
                <a:lnTo>
                  <a:pt x="4226" y="2616"/>
                </a:lnTo>
                <a:lnTo>
                  <a:pt x="4248" y="2624"/>
                </a:lnTo>
                <a:lnTo>
                  <a:pt x="4252" y="2626"/>
                </a:lnTo>
                <a:lnTo>
                  <a:pt x="4256" y="2626"/>
                </a:lnTo>
                <a:lnTo>
                  <a:pt x="4256" y="2620"/>
                </a:lnTo>
                <a:lnTo>
                  <a:pt x="4256" y="2612"/>
                </a:lnTo>
                <a:lnTo>
                  <a:pt x="4256" y="2608"/>
                </a:lnTo>
                <a:lnTo>
                  <a:pt x="4258" y="2604"/>
                </a:lnTo>
                <a:lnTo>
                  <a:pt x="4264" y="2600"/>
                </a:lnTo>
                <a:lnTo>
                  <a:pt x="4268" y="2598"/>
                </a:lnTo>
                <a:lnTo>
                  <a:pt x="4270" y="2596"/>
                </a:lnTo>
                <a:lnTo>
                  <a:pt x="4268" y="2596"/>
                </a:lnTo>
                <a:close/>
                <a:moveTo>
                  <a:pt x="4356" y="2612"/>
                </a:moveTo>
                <a:lnTo>
                  <a:pt x="4356" y="2612"/>
                </a:lnTo>
                <a:lnTo>
                  <a:pt x="4346" y="2608"/>
                </a:lnTo>
                <a:lnTo>
                  <a:pt x="4342" y="2606"/>
                </a:lnTo>
                <a:lnTo>
                  <a:pt x="4340" y="2604"/>
                </a:lnTo>
                <a:lnTo>
                  <a:pt x="4338" y="2596"/>
                </a:lnTo>
                <a:lnTo>
                  <a:pt x="4340" y="2582"/>
                </a:lnTo>
                <a:lnTo>
                  <a:pt x="4340" y="2568"/>
                </a:lnTo>
                <a:lnTo>
                  <a:pt x="4338" y="2566"/>
                </a:lnTo>
                <a:lnTo>
                  <a:pt x="4336" y="2564"/>
                </a:lnTo>
                <a:lnTo>
                  <a:pt x="4334" y="2564"/>
                </a:lnTo>
                <a:lnTo>
                  <a:pt x="4330" y="2568"/>
                </a:lnTo>
                <a:lnTo>
                  <a:pt x="4318" y="2582"/>
                </a:lnTo>
                <a:lnTo>
                  <a:pt x="4306" y="2598"/>
                </a:lnTo>
                <a:lnTo>
                  <a:pt x="4298" y="2612"/>
                </a:lnTo>
                <a:lnTo>
                  <a:pt x="4296" y="2620"/>
                </a:lnTo>
                <a:lnTo>
                  <a:pt x="4294" y="2628"/>
                </a:lnTo>
                <a:lnTo>
                  <a:pt x="4296" y="2636"/>
                </a:lnTo>
                <a:lnTo>
                  <a:pt x="4298" y="2646"/>
                </a:lnTo>
                <a:lnTo>
                  <a:pt x="4302" y="2652"/>
                </a:lnTo>
                <a:lnTo>
                  <a:pt x="4304" y="2652"/>
                </a:lnTo>
                <a:lnTo>
                  <a:pt x="4306" y="2652"/>
                </a:lnTo>
                <a:lnTo>
                  <a:pt x="4312" y="2644"/>
                </a:lnTo>
                <a:lnTo>
                  <a:pt x="4314" y="2632"/>
                </a:lnTo>
                <a:lnTo>
                  <a:pt x="4320" y="2622"/>
                </a:lnTo>
                <a:lnTo>
                  <a:pt x="4322" y="2620"/>
                </a:lnTo>
                <a:lnTo>
                  <a:pt x="4324" y="2618"/>
                </a:lnTo>
                <a:lnTo>
                  <a:pt x="4326" y="2620"/>
                </a:lnTo>
                <a:lnTo>
                  <a:pt x="4326" y="2622"/>
                </a:lnTo>
                <a:lnTo>
                  <a:pt x="4324" y="2634"/>
                </a:lnTo>
                <a:lnTo>
                  <a:pt x="4324" y="2646"/>
                </a:lnTo>
                <a:lnTo>
                  <a:pt x="4324" y="2648"/>
                </a:lnTo>
                <a:lnTo>
                  <a:pt x="4326" y="2650"/>
                </a:lnTo>
                <a:lnTo>
                  <a:pt x="4334" y="2646"/>
                </a:lnTo>
                <a:lnTo>
                  <a:pt x="4344" y="2640"/>
                </a:lnTo>
                <a:lnTo>
                  <a:pt x="4354" y="2632"/>
                </a:lnTo>
                <a:lnTo>
                  <a:pt x="4362" y="2622"/>
                </a:lnTo>
                <a:lnTo>
                  <a:pt x="4364" y="2620"/>
                </a:lnTo>
                <a:lnTo>
                  <a:pt x="4364" y="2616"/>
                </a:lnTo>
                <a:lnTo>
                  <a:pt x="4360" y="2614"/>
                </a:lnTo>
                <a:lnTo>
                  <a:pt x="4356" y="2612"/>
                </a:lnTo>
                <a:close/>
                <a:moveTo>
                  <a:pt x="4284" y="2440"/>
                </a:moveTo>
                <a:lnTo>
                  <a:pt x="4284" y="2440"/>
                </a:lnTo>
                <a:lnTo>
                  <a:pt x="4286" y="2438"/>
                </a:lnTo>
                <a:lnTo>
                  <a:pt x="4284" y="2436"/>
                </a:lnTo>
                <a:lnTo>
                  <a:pt x="4280" y="2430"/>
                </a:lnTo>
                <a:lnTo>
                  <a:pt x="4272" y="2424"/>
                </a:lnTo>
                <a:lnTo>
                  <a:pt x="4260" y="2416"/>
                </a:lnTo>
                <a:lnTo>
                  <a:pt x="4246" y="2410"/>
                </a:lnTo>
                <a:lnTo>
                  <a:pt x="4230" y="2404"/>
                </a:lnTo>
                <a:lnTo>
                  <a:pt x="4212" y="2398"/>
                </a:lnTo>
                <a:lnTo>
                  <a:pt x="4194" y="2396"/>
                </a:lnTo>
                <a:lnTo>
                  <a:pt x="4178" y="2394"/>
                </a:lnTo>
                <a:lnTo>
                  <a:pt x="4170" y="2394"/>
                </a:lnTo>
                <a:lnTo>
                  <a:pt x="4168" y="2396"/>
                </a:lnTo>
                <a:lnTo>
                  <a:pt x="4172" y="2398"/>
                </a:lnTo>
                <a:lnTo>
                  <a:pt x="4186" y="2408"/>
                </a:lnTo>
                <a:lnTo>
                  <a:pt x="4202" y="2418"/>
                </a:lnTo>
                <a:lnTo>
                  <a:pt x="4220" y="2430"/>
                </a:lnTo>
                <a:lnTo>
                  <a:pt x="4246" y="2442"/>
                </a:lnTo>
                <a:lnTo>
                  <a:pt x="4258" y="2446"/>
                </a:lnTo>
                <a:lnTo>
                  <a:pt x="4270" y="2446"/>
                </a:lnTo>
                <a:lnTo>
                  <a:pt x="4278" y="2446"/>
                </a:lnTo>
                <a:lnTo>
                  <a:pt x="4282" y="2444"/>
                </a:lnTo>
                <a:lnTo>
                  <a:pt x="4284" y="2440"/>
                </a:lnTo>
                <a:close/>
                <a:moveTo>
                  <a:pt x="4640" y="2510"/>
                </a:moveTo>
                <a:lnTo>
                  <a:pt x="4640" y="2510"/>
                </a:lnTo>
                <a:lnTo>
                  <a:pt x="4646" y="2502"/>
                </a:lnTo>
                <a:lnTo>
                  <a:pt x="4646" y="2496"/>
                </a:lnTo>
                <a:lnTo>
                  <a:pt x="4644" y="2496"/>
                </a:lnTo>
                <a:lnTo>
                  <a:pt x="4640" y="2496"/>
                </a:lnTo>
                <a:lnTo>
                  <a:pt x="4628" y="2506"/>
                </a:lnTo>
                <a:lnTo>
                  <a:pt x="4622" y="2514"/>
                </a:lnTo>
                <a:lnTo>
                  <a:pt x="4616" y="2522"/>
                </a:lnTo>
                <a:lnTo>
                  <a:pt x="4612" y="2528"/>
                </a:lnTo>
                <a:lnTo>
                  <a:pt x="4608" y="2528"/>
                </a:lnTo>
                <a:lnTo>
                  <a:pt x="4608" y="2526"/>
                </a:lnTo>
                <a:lnTo>
                  <a:pt x="4608" y="2520"/>
                </a:lnTo>
                <a:lnTo>
                  <a:pt x="4608" y="2512"/>
                </a:lnTo>
                <a:lnTo>
                  <a:pt x="4612" y="2504"/>
                </a:lnTo>
                <a:lnTo>
                  <a:pt x="4616" y="2498"/>
                </a:lnTo>
                <a:lnTo>
                  <a:pt x="4622" y="2492"/>
                </a:lnTo>
                <a:lnTo>
                  <a:pt x="4630" y="2488"/>
                </a:lnTo>
                <a:lnTo>
                  <a:pt x="4634" y="2484"/>
                </a:lnTo>
                <a:lnTo>
                  <a:pt x="4636" y="2480"/>
                </a:lnTo>
                <a:lnTo>
                  <a:pt x="4638" y="2476"/>
                </a:lnTo>
                <a:lnTo>
                  <a:pt x="4636" y="2474"/>
                </a:lnTo>
                <a:lnTo>
                  <a:pt x="4634" y="2472"/>
                </a:lnTo>
                <a:lnTo>
                  <a:pt x="4630" y="2472"/>
                </a:lnTo>
                <a:lnTo>
                  <a:pt x="4626" y="2474"/>
                </a:lnTo>
                <a:lnTo>
                  <a:pt x="4620" y="2476"/>
                </a:lnTo>
                <a:lnTo>
                  <a:pt x="4614" y="2476"/>
                </a:lnTo>
                <a:lnTo>
                  <a:pt x="4608" y="2474"/>
                </a:lnTo>
                <a:lnTo>
                  <a:pt x="4602" y="2470"/>
                </a:lnTo>
                <a:lnTo>
                  <a:pt x="4600" y="2466"/>
                </a:lnTo>
                <a:lnTo>
                  <a:pt x="4600" y="2460"/>
                </a:lnTo>
                <a:lnTo>
                  <a:pt x="4602" y="2456"/>
                </a:lnTo>
                <a:lnTo>
                  <a:pt x="4610" y="2448"/>
                </a:lnTo>
                <a:lnTo>
                  <a:pt x="4616" y="2442"/>
                </a:lnTo>
                <a:lnTo>
                  <a:pt x="4618" y="2436"/>
                </a:lnTo>
                <a:lnTo>
                  <a:pt x="4614" y="2430"/>
                </a:lnTo>
                <a:lnTo>
                  <a:pt x="4610" y="2426"/>
                </a:lnTo>
                <a:lnTo>
                  <a:pt x="4602" y="2424"/>
                </a:lnTo>
                <a:lnTo>
                  <a:pt x="4590" y="2422"/>
                </a:lnTo>
                <a:lnTo>
                  <a:pt x="4578" y="2422"/>
                </a:lnTo>
                <a:lnTo>
                  <a:pt x="4566" y="2426"/>
                </a:lnTo>
                <a:lnTo>
                  <a:pt x="4554" y="2428"/>
                </a:lnTo>
                <a:lnTo>
                  <a:pt x="4548" y="2428"/>
                </a:lnTo>
                <a:lnTo>
                  <a:pt x="4546" y="2428"/>
                </a:lnTo>
                <a:lnTo>
                  <a:pt x="4546" y="2426"/>
                </a:lnTo>
                <a:lnTo>
                  <a:pt x="4546" y="2422"/>
                </a:lnTo>
                <a:lnTo>
                  <a:pt x="4542" y="2420"/>
                </a:lnTo>
                <a:lnTo>
                  <a:pt x="4536" y="2422"/>
                </a:lnTo>
                <a:lnTo>
                  <a:pt x="4528" y="2422"/>
                </a:lnTo>
                <a:lnTo>
                  <a:pt x="4524" y="2420"/>
                </a:lnTo>
                <a:lnTo>
                  <a:pt x="4520" y="2418"/>
                </a:lnTo>
                <a:lnTo>
                  <a:pt x="4518" y="2414"/>
                </a:lnTo>
                <a:lnTo>
                  <a:pt x="4518" y="2408"/>
                </a:lnTo>
                <a:lnTo>
                  <a:pt x="4520" y="2404"/>
                </a:lnTo>
                <a:lnTo>
                  <a:pt x="4524" y="2400"/>
                </a:lnTo>
                <a:lnTo>
                  <a:pt x="4528" y="2398"/>
                </a:lnTo>
                <a:lnTo>
                  <a:pt x="4532" y="2396"/>
                </a:lnTo>
                <a:lnTo>
                  <a:pt x="4532" y="2392"/>
                </a:lnTo>
                <a:lnTo>
                  <a:pt x="4530" y="2388"/>
                </a:lnTo>
                <a:lnTo>
                  <a:pt x="4526" y="2386"/>
                </a:lnTo>
                <a:lnTo>
                  <a:pt x="4522" y="2384"/>
                </a:lnTo>
                <a:lnTo>
                  <a:pt x="4514" y="2384"/>
                </a:lnTo>
                <a:lnTo>
                  <a:pt x="4506" y="2388"/>
                </a:lnTo>
                <a:lnTo>
                  <a:pt x="4496" y="2394"/>
                </a:lnTo>
                <a:lnTo>
                  <a:pt x="4490" y="2400"/>
                </a:lnTo>
                <a:lnTo>
                  <a:pt x="4486" y="2402"/>
                </a:lnTo>
                <a:lnTo>
                  <a:pt x="4484" y="2400"/>
                </a:lnTo>
                <a:lnTo>
                  <a:pt x="4486" y="2394"/>
                </a:lnTo>
                <a:lnTo>
                  <a:pt x="4496" y="2374"/>
                </a:lnTo>
                <a:lnTo>
                  <a:pt x="4508" y="2354"/>
                </a:lnTo>
                <a:lnTo>
                  <a:pt x="4518" y="2336"/>
                </a:lnTo>
                <a:lnTo>
                  <a:pt x="4526" y="2322"/>
                </a:lnTo>
                <a:lnTo>
                  <a:pt x="4536" y="2308"/>
                </a:lnTo>
                <a:lnTo>
                  <a:pt x="4538" y="2304"/>
                </a:lnTo>
                <a:lnTo>
                  <a:pt x="4540" y="2298"/>
                </a:lnTo>
                <a:lnTo>
                  <a:pt x="4538" y="2294"/>
                </a:lnTo>
                <a:lnTo>
                  <a:pt x="4536" y="2292"/>
                </a:lnTo>
                <a:lnTo>
                  <a:pt x="4530" y="2290"/>
                </a:lnTo>
                <a:lnTo>
                  <a:pt x="4524" y="2292"/>
                </a:lnTo>
                <a:lnTo>
                  <a:pt x="4514" y="2294"/>
                </a:lnTo>
                <a:lnTo>
                  <a:pt x="4504" y="2298"/>
                </a:lnTo>
                <a:lnTo>
                  <a:pt x="4494" y="2304"/>
                </a:lnTo>
                <a:lnTo>
                  <a:pt x="4488" y="2310"/>
                </a:lnTo>
                <a:lnTo>
                  <a:pt x="4484" y="2316"/>
                </a:lnTo>
                <a:lnTo>
                  <a:pt x="4482" y="2320"/>
                </a:lnTo>
                <a:lnTo>
                  <a:pt x="4480" y="2328"/>
                </a:lnTo>
                <a:lnTo>
                  <a:pt x="4478" y="2332"/>
                </a:lnTo>
                <a:lnTo>
                  <a:pt x="4472" y="2336"/>
                </a:lnTo>
                <a:lnTo>
                  <a:pt x="4466" y="2342"/>
                </a:lnTo>
                <a:lnTo>
                  <a:pt x="4460" y="2350"/>
                </a:lnTo>
                <a:lnTo>
                  <a:pt x="4448" y="2376"/>
                </a:lnTo>
                <a:lnTo>
                  <a:pt x="4434" y="2408"/>
                </a:lnTo>
                <a:lnTo>
                  <a:pt x="4420" y="2440"/>
                </a:lnTo>
                <a:lnTo>
                  <a:pt x="4410" y="2460"/>
                </a:lnTo>
                <a:lnTo>
                  <a:pt x="4408" y="2464"/>
                </a:lnTo>
                <a:lnTo>
                  <a:pt x="4406" y="2462"/>
                </a:lnTo>
                <a:lnTo>
                  <a:pt x="4406" y="2460"/>
                </a:lnTo>
                <a:lnTo>
                  <a:pt x="4402" y="2462"/>
                </a:lnTo>
                <a:lnTo>
                  <a:pt x="4396" y="2464"/>
                </a:lnTo>
                <a:lnTo>
                  <a:pt x="4386" y="2474"/>
                </a:lnTo>
                <a:lnTo>
                  <a:pt x="4384" y="2476"/>
                </a:lnTo>
                <a:lnTo>
                  <a:pt x="4384" y="2478"/>
                </a:lnTo>
                <a:lnTo>
                  <a:pt x="4384" y="2480"/>
                </a:lnTo>
                <a:lnTo>
                  <a:pt x="4388" y="2482"/>
                </a:lnTo>
                <a:lnTo>
                  <a:pt x="4402" y="2484"/>
                </a:lnTo>
                <a:lnTo>
                  <a:pt x="4406" y="2486"/>
                </a:lnTo>
                <a:lnTo>
                  <a:pt x="4406" y="2488"/>
                </a:lnTo>
                <a:lnTo>
                  <a:pt x="4394" y="2498"/>
                </a:lnTo>
                <a:lnTo>
                  <a:pt x="4386" y="2504"/>
                </a:lnTo>
                <a:lnTo>
                  <a:pt x="4380" y="2510"/>
                </a:lnTo>
                <a:lnTo>
                  <a:pt x="4378" y="2514"/>
                </a:lnTo>
                <a:lnTo>
                  <a:pt x="4378" y="2516"/>
                </a:lnTo>
                <a:lnTo>
                  <a:pt x="4378" y="2520"/>
                </a:lnTo>
                <a:lnTo>
                  <a:pt x="4382" y="2524"/>
                </a:lnTo>
                <a:lnTo>
                  <a:pt x="4384" y="2528"/>
                </a:lnTo>
                <a:lnTo>
                  <a:pt x="4390" y="2530"/>
                </a:lnTo>
                <a:lnTo>
                  <a:pt x="4398" y="2530"/>
                </a:lnTo>
                <a:lnTo>
                  <a:pt x="4416" y="2526"/>
                </a:lnTo>
                <a:lnTo>
                  <a:pt x="4426" y="2524"/>
                </a:lnTo>
                <a:lnTo>
                  <a:pt x="4434" y="2524"/>
                </a:lnTo>
                <a:lnTo>
                  <a:pt x="4446" y="2528"/>
                </a:lnTo>
                <a:lnTo>
                  <a:pt x="4452" y="2530"/>
                </a:lnTo>
                <a:lnTo>
                  <a:pt x="4462" y="2532"/>
                </a:lnTo>
                <a:lnTo>
                  <a:pt x="4474" y="2532"/>
                </a:lnTo>
                <a:lnTo>
                  <a:pt x="4490" y="2530"/>
                </a:lnTo>
                <a:lnTo>
                  <a:pt x="4504" y="2528"/>
                </a:lnTo>
                <a:lnTo>
                  <a:pt x="4512" y="2528"/>
                </a:lnTo>
                <a:lnTo>
                  <a:pt x="4514" y="2530"/>
                </a:lnTo>
                <a:lnTo>
                  <a:pt x="4512" y="2532"/>
                </a:lnTo>
                <a:lnTo>
                  <a:pt x="4512" y="2534"/>
                </a:lnTo>
                <a:lnTo>
                  <a:pt x="4514" y="2536"/>
                </a:lnTo>
                <a:lnTo>
                  <a:pt x="4520" y="2538"/>
                </a:lnTo>
                <a:lnTo>
                  <a:pt x="4532" y="2536"/>
                </a:lnTo>
                <a:lnTo>
                  <a:pt x="4544" y="2536"/>
                </a:lnTo>
                <a:lnTo>
                  <a:pt x="4548" y="2538"/>
                </a:lnTo>
                <a:lnTo>
                  <a:pt x="4546" y="2542"/>
                </a:lnTo>
                <a:lnTo>
                  <a:pt x="4540" y="2548"/>
                </a:lnTo>
                <a:lnTo>
                  <a:pt x="4522" y="2560"/>
                </a:lnTo>
                <a:lnTo>
                  <a:pt x="4516" y="2564"/>
                </a:lnTo>
                <a:lnTo>
                  <a:pt x="4514" y="2570"/>
                </a:lnTo>
                <a:lnTo>
                  <a:pt x="4514" y="2574"/>
                </a:lnTo>
                <a:lnTo>
                  <a:pt x="4518" y="2576"/>
                </a:lnTo>
                <a:lnTo>
                  <a:pt x="4522" y="2578"/>
                </a:lnTo>
                <a:lnTo>
                  <a:pt x="4526" y="2578"/>
                </a:lnTo>
                <a:lnTo>
                  <a:pt x="4532" y="2576"/>
                </a:lnTo>
                <a:lnTo>
                  <a:pt x="4540" y="2572"/>
                </a:lnTo>
                <a:lnTo>
                  <a:pt x="4546" y="2566"/>
                </a:lnTo>
                <a:lnTo>
                  <a:pt x="4552" y="2558"/>
                </a:lnTo>
                <a:lnTo>
                  <a:pt x="4558" y="2550"/>
                </a:lnTo>
                <a:lnTo>
                  <a:pt x="4564" y="2546"/>
                </a:lnTo>
                <a:lnTo>
                  <a:pt x="4566" y="2544"/>
                </a:lnTo>
                <a:lnTo>
                  <a:pt x="4570" y="2544"/>
                </a:lnTo>
                <a:lnTo>
                  <a:pt x="4572" y="2542"/>
                </a:lnTo>
                <a:lnTo>
                  <a:pt x="4576" y="2540"/>
                </a:lnTo>
                <a:lnTo>
                  <a:pt x="4578" y="2538"/>
                </a:lnTo>
                <a:lnTo>
                  <a:pt x="4582" y="2530"/>
                </a:lnTo>
                <a:lnTo>
                  <a:pt x="4586" y="2524"/>
                </a:lnTo>
                <a:lnTo>
                  <a:pt x="4590" y="2520"/>
                </a:lnTo>
                <a:lnTo>
                  <a:pt x="4594" y="2518"/>
                </a:lnTo>
                <a:lnTo>
                  <a:pt x="4596" y="2520"/>
                </a:lnTo>
                <a:lnTo>
                  <a:pt x="4598" y="2524"/>
                </a:lnTo>
                <a:lnTo>
                  <a:pt x="4598" y="2530"/>
                </a:lnTo>
                <a:lnTo>
                  <a:pt x="4598" y="2538"/>
                </a:lnTo>
                <a:lnTo>
                  <a:pt x="4594" y="2548"/>
                </a:lnTo>
                <a:lnTo>
                  <a:pt x="4590" y="2564"/>
                </a:lnTo>
                <a:lnTo>
                  <a:pt x="4588" y="2574"/>
                </a:lnTo>
                <a:lnTo>
                  <a:pt x="4588" y="2576"/>
                </a:lnTo>
                <a:lnTo>
                  <a:pt x="4592" y="2576"/>
                </a:lnTo>
                <a:lnTo>
                  <a:pt x="4600" y="2570"/>
                </a:lnTo>
                <a:lnTo>
                  <a:pt x="4606" y="2566"/>
                </a:lnTo>
                <a:lnTo>
                  <a:pt x="4608" y="2566"/>
                </a:lnTo>
                <a:lnTo>
                  <a:pt x="4610" y="2568"/>
                </a:lnTo>
                <a:lnTo>
                  <a:pt x="4612" y="2572"/>
                </a:lnTo>
                <a:lnTo>
                  <a:pt x="4614" y="2576"/>
                </a:lnTo>
                <a:lnTo>
                  <a:pt x="4618" y="2580"/>
                </a:lnTo>
                <a:lnTo>
                  <a:pt x="4624" y="2584"/>
                </a:lnTo>
                <a:lnTo>
                  <a:pt x="4630" y="2586"/>
                </a:lnTo>
                <a:lnTo>
                  <a:pt x="4638" y="2584"/>
                </a:lnTo>
                <a:lnTo>
                  <a:pt x="4642" y="2582"/>
                </a:lnTo>
                <a:lnTo>
                  <a:pt x="4644" y="2580"/>
                </a:lnTo>
                <a:lnTo>
                  <a:pt x="4644" y="2574"/>
                </a:lnTo>
                <a:lnTo>
                  <a:pt x="4644" y="2560"/>
                </a:lnTo>
                <a:lnTo>
                  <a:pt x="4644" y="2550"/>
                </a:lnTo>
                <a:lnTo>
                  <a:pt x="4648" y="2536"/>
                </a:lnTo>
                <a:lnTo>
                  <a:pt x="4650" y="2526"/>
                </a:lnTo>
                <a:lnTo>
                  <a:pt x="4650" y="2522"/>
                </a:lnTo>
                <a:lnTo>
                  <a:pt x="4648" y="2520"/>
                </a:lnTo>
                <a:lnTo>
                  <a:pt x="4644" y="2520"/>
                </a:lnTo>
                <a:lnTo>
                  <a:pt x="4640" y="2522"/>
                </a:lnTo>
                <a:lnTo>
                  <a:pt x="4636" y="2520"/>
                </a:lnTo>
                <a:lnTo>
                  <a:pt x="4636" y="2518"/>
                </a:lnTo>
                <a:lnTo>
                  <a:pt x="4640" y="2510"/>
                </a:lnTo>
                <a:close/>
                <a:moveTo>
                  <a:pt x="3266" y="1234"/>
                </a:moveTo>
                <a:lnTo>
                  <a:pt x="3266" y="1234"/>
                </a:lnTo>
                <a:lnTo>
                  <a:pt x="3276" y="1242"/>
                </a:lnTo>
                <a:lnTo>
                  <a:pt x="3278" y="1244"/>
                </a:lnTo>
                <a:lnTo>
                  <a:pt x="3280" y="1244"/>
                </a:lnTo>
                <a:lnTo>
                  <a:pt x="3284" y="1240"/>
                </a:lnTo>
                <a:lnTo>
                  <a:pt x="3286" y="1234"/>
                </a:lnTo>
                <a:lnTo>
                  <a:pt x="3286" y="1218"/>
                </a:lnTo>
                <a:lnTo>
                  <a:pt x="3282" y="1206"/>
                </a:lnTo>
                <a:lnTo>
                  <a:pt x="3280" y="1204"/>
                </a:lnTo>
                <a:lnTo>
                  <a:pt x="3276" y="1206"/>
                </a:lnTo>
                <a:lnTo>
                  <a:pt x="3272" y="1208"/>
                </a:lnTo>
                <a:lnTo>
                  <a:pt x="3268" y="1210"/>
                </a:lnTo>
                <a:lnTo>
                  <a:pt x="3264" y="1216"/>
                </a:lnTo>
                <a:lnTo>
                  <a:pt x="3262" y="1220"/>
                </a:lnTo>
                <a:lnTo>
                  <a:pt x="3264" y="1228"/>
                </a:lnTo>
                <a:lnTo>
                  <a:pt x="3266" y="1234"/>
                </a:lnTo>
                <a:close/>
                <a:moveTo>
                  <a:pt x="1702" y="940"/>
                </a:moveTo>
                <a:lnTo>
                  <a:pt x="1702" y="940"/>
                </a:lnTo>
                <a:lnTo>
                  <a:pt x="1718" y="944"/>
                </a:lnTo>
                <a:lnTo>
                  <a:pt x="1736" y="950"/>
                </a:lnTo>
                <a:lnTo>
                  <a:pt x="1766" y="960"/>
                </a:lnTo>
                <a:lnTo>
                  <a:pt x="1776" y="966"/>
                </a:lnTo>
                <a:lnTo>
                  <a:pt x="1784" y="972"/>
                </a:lnTo>
                <a:lnTo>
                  <a:pt x="1790" y="978"/>
                </a:lnTo>
                <a:lnTo>
                  <a:pt x="1794" y="984"/>
                </a:lnTo>
                <a:lnTo>
                  <a:pt x="1800" y="996"/>
                </a:lnTo>
                <a:lnTo>
                  <a:pt x="1804" y="1002"/>
                </a:lnTo>
                <a:lnTo>
                  <a:pt x="1808" y="1004"/>
                </a:lnTo>
                <a:lnTo>
                  <a:pt x="1814" y="1006"/>
                </a:lnTo>
                <a:lnTo>
                  <a:pt x="1820" y="1006"/>
                </a:lnTo>
                <a:lnTo>
                  <a:pt x="1832" y="1002"/>
                </a:lnTo>
                <a:lnTo>
                  <a:pt x="1846" y="994"/>
                </a:lnTo>
                <a:lnTo>
                  <a:pt x="1860" y="984"/>
                </a:lnTo>
                <a:lnTo>
                  <a:pt x="1866" y="982"/>
                </a:lnTo>
                <a:lnTo>
                  <a:pt x="1870" y="980"/>
                </a:lnTo>
                <a:lnTo>
                  <a:pt x="1878" y="982"/>
                </a:lnTo>
                <a:lnTo>
                  <a:pt x="1882" y="982"/>
                </a:lnTo>
                <a:lnTo>
                  <a:pt x="1888" y="984"/>
                </a:lnTo>
                <a:lnTo>
                  <a:pt x="1896" y="982"/>
                </a:lnTo>
                <a:lnTo>
                  <a:pt x="1906" y="978"/>
                </a:lnTo>
                <a:lnTo>
                  <a:pt x="1912" y="976"/>
                </a:lnTo>
                <a:lnTo>
                  <a:pt x="1914" y="972"/>
                </a:lnTo>
                <a:lnTo>
                  <a:pt x="1920" y="964"/>
                </a:lnTo>
                <a:lnTo>
                  <a:pt x="1922" y="954"/>
                </a:lnTo>
                <a:lnTo>
                  <a:pt x="1922" y="946"/>
                </a:lnTo>
                <a:lnTo>
                  <a:pt x="1922" y="936"/>
                </a:lnTo>
                <a:lnTo>
                  <a:pt x="1926" y="930"/>
                </a:lnTo>
                <a:lnTo>
                  <a:pt x="1932" y="924"/>
                </a:lnTo>
                <a:lnTo>
                  <a:pt x="1942" y="920"/>
                </a:lnTo>
                <a:lnTo>
                  <a:pt x="1952" y="918"/>
                </a:lnTo>
                <a:lnTo>
                  <a:pt x="1958" y="914"/>
                </a:lnTo>
                <a:lnTo>
                  <a:pt x="1962" y="910"/>
                </a:lnTo>
                <a:lnTo>
                  <a:pt x="1964" y="904"/>
                </a:lnTo>
                <a:lnTo>
                  <a:pt x="1966" y="898"/>
                </a:lnTo>
                <a:lnTo>
                  <a:pt x="1970" y="892"/>
                </a:lnTo>
                <a:lnTo>
                  <a:pt x="1978" y="886"/>
                </a:lnTo>
                <a:lnTo>
                  <a:pt x="1992" y="880"/>
                </a:lnTo>
                <a:lnTo>
                  <a:pt x="2020" y="868"/>
                </a:lnTo>
                <a:lnTo>
                  <a:pt x="2046" y="856"/>
                </a:lnTo>
                <a:lnTo>
                  <a:pt x="2070" y="846"/>
                </a:lnTo>
                <a:lnTo>
                  <a:pt x="2090" y="840"/>
                </a:lnTo>
                <a:lnTo>
                  <a:pt x="2106" y="836"/>
                </a:lnTo>
                <a:lnTo>
                  <a:pt x="2116" y="832"/>
                </a:lnTo>
                <a:lnTo>
                  <a:pt x="2122" y="826"/>
                </a:lnTo>
                <a:lnTo>
                  <a:pt x="2124" y="822"/>
                </a:lnTo>
                <a:lnTo>
                  <a:pt x="2122" y="818"/>
                </a:lnTo>
                <a:lnTo>
                  <a:pt x="2118" y="814"/>
                </a:lnTo>
                <a:lnTo>
                  <a:pt x="2106" y="810"/>
                </a:lnTo>
                <a:lnTo>
                  <a:pt x="2096" y="806"/>
                </a:lnTo>
                <a:lnTo>
                  <a:pt x="2088" y="800"/>
                </a:lnTo>
                <a:lnTo>
                  <a:pt x="2068" y="786"/>
                </a:lnTo>
                <a:lnTo>
                  <a:pt x="2058" y="778"/>
                </a:lnTo>
                <a:lnTo>
                  <a:pt x="2046" y="772"/>
                </a:lnTo>
                <a:lnTo>
                  <a:pt x="2032" y="768"/>
                </a:lnTo>
                <a:lnTo>
                  <a:pt x="2016" y="766"/>
                </a:lnTo>
                <a:lnTo>
                  <a:pt x="2002" y="768"/>
                </a:lnTo>
                <a:lnTo>
                  <a:pt x="1992" y="770"/>
                </a:lnTo>
                <a:lnTo>
                  <a:pt x="1986" y="772"/>
                </a:lnTo>
                <a:lnTo>
                  <a:pt x="1982" y="776"/>
                </a:lnTo>
                <a:lnTo>
                  <a:pt x="1980" y="782"/>
                </a:lnTo>
                <a:lnTo>
                  <a:pt x="1978" y="784"/>
                </a:lnTo>
                <a:lnTo>
                  <a:pt x="1974" y="786"/>
                </a:lnTo>
                <a:lnTo>
                  <a:pt x="1970" y="786"/>
                </a:lnTo>
                <a:lnTo>
                  <a:pt x="1972" y="782"/>
                </a:lnTo>
                <a:lnTo>
                  <a:pt x="1972" y="776"/>
                </a:lnTo>
                <a:lnTo>
                  <a:pt x="1970" y="774"/>
                </a:lnTo>
                <a:lnTo>
                  <a:pt x="1968" y="772"/>
                </a:lnTo>
                <a:lnTo>
                  <a:pt x="1964" y="770"/>
                </a:lnTo>
                <a:lnTo>
                  <a:pt x="1958" y="770"/>
                </a:lnTo>
                <a:lnTo>
                  <a:pt x="1948" y="770"/>
                </a:lnTo>
                <a:lnTo>
                  <a:pt x="1932" y="766"/>
                </a:lnTo>
                <a:lnTo>
                  <a:pt x="1918" y="762"/>
                </a:lnTo>
                <a:lnTo>
                  <a:pt x="1906" y="756"/>
                </a:lnTo>
                <a:lnTo>
                  <a:pt x="1890" y="748"/>
                </a:lnTo>
                <a:lnTo>
                  <a:pt x="1884" y="746"/>
                </a:lnTo>
                <a:lnTo>
                  <a:pt x="1876" y="744"/>
                </a:lnTo>
                <a:lnTo>
                  <a:pt x="1866" y="744"/>
                </a:lnTo>
                <a:lnTo>
                  <a:pt x="1854" y="748"/>
                </a:lnTo>
                <a:lnTo>
                  <a:pt x="1836" y="752"/>
                </a:lnTo>
                <a:lnTo>
                  <a:pt x="1818" y="754"/>
                </a:lnTo>
                <a:lnTo>
                  <a:pt x="1780" y="758"/>
                </a:lnTo>
                <a:lnTo>
                  <a:pt x="1754" y="760"/>
                </a:lnTo>
                <a:lnTo>
                  <a:pt x="1748" y="762"/>
                </a:lnTo>
                <a:lnTo>
                  <a:pt x="1746" y="764"/>
                </a:lnTo>
                <a:lnTo>
                  <a:pt x="1748" y="766"/>
                </a:lnTo>
                <a:lnTo>
                  <a:pt x="1752" y="770"/>
                </a:lnTo>
                <a:lnTo>
                  <a:pt x="1754" y="774"/>
                </a:lnTo>
                <a:lnTo>
                  <a:pt x="1758" y="782"/>
                </a:lnTo>
                <a:lnTo>
                  <a:pt x="1760" y="786"/>
                </a:lnTo>
                <a:lnTo>
                  <a:pt x="1762" y="790"/>
                </a:lnTo>
                <a:lnTo>
                  <a:pt x="1768" y="794"/>
                </a:lnTo>
                <a:lnTo>
                  <a:pt x="1774" y="798"/>
                </a:lnTo>
                <a:lnTo>
                  <a:pt x="1782" y="800"/>
                </a:lnTo>
                <a:lnTo>
                  <a:pt x="1784" y="804"/>
                </a:lnTo>
                <a:lnTo>
                  <a:pt x="1784" y="806"/>
                </a:lnTo>
                <a:lnTo>
                  <a:pt x="1782" y="808"/>
                </a:lnTo>
                <a:lnTo>
                  <a:pt x="1774" y="814"/>
                </a:lnTo>
                <a:lnTo>
                  <a:pt x="1772" y="818"/>
                </a:lnTo>
                <a:lnTo>
                  <a:pt x="1772" y="822"/>
                </a:lnTo>
                <a:lnTo>
                  <a:pt x="1770" y="824"/>
                </a:lnTo>
                <a:lnTo>
                  <a:pt x="1768" y="826"/>
                </a:lnTo>
                <a:lnTo>
                  <a:pt x="1764" y="828"/>
                </a:lnTo>
                <a:lnTo>
                  <a:pt x="1758" y="828"/>
                </a:lnTo>
                <a:lnTo>
                  <a:pt x="1756" y="832"/>
                </a:lnTo>
                <a:lnTo>
                  <a:pt x="1754" y="836"/>
                </a:lnTo>
                <a:lnTo>
                  <a:pt x="1754" y="840"/>
                </a:lnTo>
                <a:lnTo>
                  <a:pt x="1752" y="844"/>
                </a:lnTo>
                <a:lnTo>
                  <a:pt x="1746" y="850"/>
                </a:lnTo>
                <a:lnTo>
                  <a:pt x="1742" y="856"/>
                </a:lnTo>
                <a:lnTo>
                  <a:pt x="1742" y="858"/>
                </a:lnTo>
                <a:lnTo>
                  <a:pt x="1744" y="860"/>
                </a:lnTo>
                <a:lnTo>
                  <a:pt x="1752" y="864"/>
                </a:lnTo>
                <a:lnTo>
                  <a:pt x="1754" y="868"/>
                </a:lnTo>
                <a:lnTo>
                  <a:pt x="1752" y="870"/>
                </a:lnTo>
                <a:lnTo>
                  <a:pt x="1742" y="872"/>
                </a:lnTo>
                <a:lnTo>
                  <a:pt x="1732" y="874"/>
                </a:lnTo>
                <a:lnTo>
                  <a:pt x="1728" y="876"/>
                </a:lnTo>
                <a:lnTo>
                  <a:pt x="1728" y="880"/>
                </a:lnTo>
                <a:lnTo>
                  <a:pt x="1732" y="886"/>
                </a:lnTo>
                <a:lnTo>
                  <a:pt x="1732" y="890"/>
                </a:lnTo>
                <a:lnTo>
                  <a:pt x="1730" y="894"/>
                </a:lnTo>
                <a:lnTo>
                  <a:pt x="1720" y="906"/>
                </a:lnTo>
                <a:lnTo>
                  <a:pt x="1710" y="918"/>
                </a:lnTo>
                <a:lnTo>
                  <a:pt x="1706" y="922"/>
                </a:lnTo>
                <a:lnTo>
                  <a:pt x="1704" y="928"/>
                </a:lnTo>
                <a:lnTo>
                  <a:pt x="1702" y="934"/>
                </a:lnTo>
                <a:lnTo>
                  <a:pt x="1700" y="936"/>
                </a:lnTo>
                <a:lnTo>
                  <a:pt x="1698" y="938"/>
                </a:lnTo>
                <a:lnTo>
                  <a:pt x="1702" y="940"/>
                </a:lnTo>
                <a:close/>
                <a:moveTo>
                  <a:pt x="2646" y="1098"/>
                </a:moveTo>
                <a:lnTo>
                  <a:pt x="2646" y="1098"/>
                </a:lnTo>
                <a:lnTo>
                  <a:pt x="2652" y="1096"/>
                </a:lnTo>
                <a:lnTo>
                  <a:pt x="2656" y="1096"/>
                </a:lnTo>
                <a:lnTo>
                  <a:pt x="2660" y="1100"/>
                </a:lnTo>
                <a:lnTo>
                  <a:pt x="2664" y="1102"/>
                </a:lnTo>
                <a:lnTo>
                  <a:pt x="2670" y="1108"/>
                </a:lnTo>
                <a:lnTo>
                  <a:pt x="2672" y="1108"/>
                </a:lnTo>
                <a:lnTo>
                  <a:pt x="2676" y="1106"/>
                </a:lnTo>
                <a:lnTo>
                  <a:pt x="2680" y="1102"/>
                </a:lnTo>
                <a:lnTo>
                  <a:pt x="2684" y="1104"/>
                </a:lnTo>
                <a:lnTo>
                  <a:pt x="2688" y="1108"/>
                </a:lnTo>
                <a:lnTo>
                  <a:pt x="2692" y="1108"/>
                </a:lnTo>
                <a:lnTo>
                  <a:pt x="2696" y="1110"/>
                </a:lnTo>
                <a:lnTo>
                  <a:pt x="2700" y="1108"/>
                </a:lnTo>
                <a:lnTo>
                  <a:pt x="2704" y="1106"/>
                </a:lnTo>
                <a:lnTo>
                  <a:pt x="2706" y="1104"/>
                </a:lnTo>
                <a:lnTo>
                  <a:pt x="2706" y="1100"/>
                </a:lnTo>
                <a:lnTo>
                  <a:pt x="2706" y="1090"/>
                </a:lnTo>
                <a:lnTo>
                  <a:pt x="2704" y="1078"/>
                </a:lnTo>
                <a:lnTo>
                  <a:pt x="2702" y="1074"/>
                </a:lnTo>
                <a:lnTo>
                  <a:pt x="2698" y="1072"/>
                </a:lnTo>
                <a:lnTo>
                  <a:pt x="2690" y="1074"/>
                </a:lnTo>
                <a:lnTo>
                  <a:pt x="2682" y="1074"/>
                </a:lnTo>
                <a:lnTo>
                  <a:pt x="2678" y="1072"/>
                </a:lnTo>
                <a:lnTo>
                  <a:pt x="2678" y="1070"/>
                </a:lnTo>
                <a:lnTo>
                  <a:pt x="2676" y="1066"/>
                </a:lnTo>
                <a:lnTo>
                  <a:pt x="2676" y="1064"/>
                </a:lnTo>
                <a:lnTo>
                  <a:pt x="2668" y="1064"/>
                </a:lnTo>
                <a:lnTo>
                  <a:pt x="2662" y="1062"/>
                </a:lnTo>
                <a:lnTo>
                  <a:pt x="2654" y="1060"/>
                </a:lnTo>
                <a:lnTo>
                  <a:pt x="2644" y="1054"/>
                </a:lnTo>
                <a:lnTo>
                  <a:pt x="2630" y="1044"/>
                </a:lnTo>
                <a:lnTo>
                  <a:pt x="2624" y="1038"/>
                </a:lnTo>
                <a:lnTo>
                  <a:pt x="2618" y="1036"/>
                </a:lnTo>
                <a:lnTo>
                  <a:pt x="2616" y="1036"/>
                </a:lnTo>
                <a:lnTo>
                  <a:pt x="2616" y="1042"/>
                </a:lnTo>
                <a:lnTo>
                  <a:pt x="2616" y="1044"/>
                </a:lnTo>
                <a:lnTo>
                  <a:pt x="2612" y="1046"/>
                </a:lnTo>
                <a:lnTo>
                  <a:pt x="2602" y="1042"/>
                </a:lnTo>
                <a:lnTo>
                  <a:pt x="2588" y="1036"/>
                </a:lnTo>
                <a:lnTo>
                  <a:pt x="2582" y="1030"/>
                </a:lnTo>
                <a:lnTo>
                  <a:pt x="2578" y="1026"/>
                </a:lnTo>
                <a:lnTo>
                  <a:pt x="2574" y="1020"/>
                </a:lnTo>
                <a:lnTo>
                  <a:pt x="2568" y="1016"/>
                </a:lnTo>
                <a:lnTo>
                  <a:pt x="2560" y="1010"/>
                </a:lnTo>
                <a:lnTo>
                  <a:pt x="2556" y="1006"/>
                </a:lnTo>
                <a:lnTo>
                  <a:pt x="2556" y="1004"/>
                </a:lnTo>
                <a:lnTo>
                  <a:pt x="2556" y="1002"/>
                </a:lnTo>
                <a:lnTo>
                  <a:pt x="2558" y="998"/>
                </a:lnTo>
                <a:lnTo>
                  <a:pt x="2564" y="988"/>
                </a:lnTo>
                <a:lnTo>
                  <a:pt x="2566" y="982"/>
                </a:lnTo>
                <a:lnTo>
                  <a:pt x="2566" y="976"/>
                </a:lnTo>
                <a:lnTo>
                  <a:pt x="2566" y="970"/>
                </a:lnTo>
                <a:lnTo>
                  <a:pt x="2562" y="964"/>
                </a:lnTo>
                <a:lnTo>
                  <a:pt x="2558" y="958"/>
                </a:lnTo>
                <a:lnTo>
                  <a:pt x="2552" y="952"/>
                </a:lnTo>
                <a:lnTo>
                  <a:pt x="2546" y="946"/>
                </a:lnTo>
                <a:lnTo>
                  <a:pt x="2542" y="938"/>
                </a:lnTo>
                <a:lnTo>
                  <a:pt x="2536" y="916"/>
                </a:lnTo>
                <a:lnTo>
                  <a:pt x="2530" y="894"/>
                </a:lnTo>
                <a:lnTo>
                  <a:pt x="2526" y="882"/>
                </a:lnTo>
                <a:lnTo>
                  <a:pt x="2520" y="874"/>
                </a:lnTo>
                <a:lnTo>
                  <a:pt x="2510" y="864"/>
                </a:lnTo>
                <a:lnTo>
                  <a:pt x="2502" y="860"/>
                </a:lnTo>
                <a:lnTo>
                  <a:pt x="2494" y="856"/>
                </a:lnTo>
                <a:lnTo>
                  <a:pt x="2476" y="846"/>
                </a:lnTo>
                <a:lnTo>
                  <a:pt x="2468" y="840"/>
                </a:lnTo>
                <a:lnTo>
                  <a:pt x="2464" y="838"/>
                </a:lnTo>
                <a:lnTo>
                  <a:pt x="2460" y="840"/>
                </a:lnTo>
                <a:lnTo>
                  <a:pt x="2460" y="842"/>
                </a:lnTo>
                <a:lnTo>
                  <a:pt x="2456" y="844"/>
                </a:lnTo>
                <a:lnTo>
                  <a:pt x="2454" y="846"/>
                </a:lnTo>
                <a:lnTo>
                  <a:pt x="2446" y="844"/>
                </a:lnTo>
                <a:lnTo>
                  <a:pt x="2434" y="840"/>
                </a:lnTo>
                <a:lnTo>
                  <a:pt x="2422" y="838"/>
                </a:lnTo>
                <a:lnTo>
                  <a:pt x="2416" y="838"/>
                </a:lnTo>
                <a:lnTo>
                  <a:pt x="2412" y="840"/>
                </a:lnTo>
                <a:lnTo>
                  <a:pt x="2408" y="844"/>
                </a:lnTo>
                <a:lnTo>
                  <a:pt x="2406" y="848"/>
                </a:lnTo>
                <a:lnTo>
                  <a:pt x="2408" y="854"/>
                </a:lnTo>
                <a:lnTo>
                  <a:pt x="2410" y="864"/>
                </a:lnTo>
                <a:lnTo>
                  <a:pt x="2414" y="872"/>
                </a:lnTo>
                <a:lnTo>
                  <a:pt x="2416" y="882"/>
                </a:lnTo>
                <a:lnTo>
                  <a:pt x="2422" y="904"/>
                </a:lnTo>
                <a:lnTo>
                  <a:pt x="2424" y="914"/>
                </a:lnTo>
                <a:lnTo>
                  <a:pt x="2428" y="924"/>
                </a:lnTo>
                <a:lnTo>
                  <a:pt x="2434" y="934"/>
                </a:lnTo>
                <a:lnTo>
                  <a:pt x="2444" y="942"/>
                </a:lnTo>
                <a:lnTo>
                  <a:pt x="2448" y="946"/>
                </a:lnTo>
                <a:lnTo>
                  <a:pt x="2448" y="950"/>
                </a:lnTo>
                <a:lnTo>
                  <a:pt x="2448" y="952"/>
                </a:lnTo>
                <a:lnTo>
                  <a:pt x="2446" y="954"/>
                </a:lnTo>
                <a:lnTo>
                  <a:pt x="2438" y="958"/>
                </a:lnTo>
                <a:lnTo>
                  <a:pt x="2432" y="962"/>
                </a:lnTo>
                <a:lnTo>
                  <a:pt x="2428" y="966"/>
                </a:lnTo>
                <a:lnTo>
                  <a:pt x="2426" y="966"/>
                </a:lnTo>
                <a:lnTo>
                  <a:pt x="2424" y="964"/>
                </a:lnTo>
                <a:lnTo>
                  <a:pt x="2416" y="956"/>
                </a:lnTo>
                <a:lnTo>
                  <a:pt x="2404" y="940"/>
                </a:lnTo>
                <a:lnTo>
                  <a:pt x="2400" y="928"/>
                </a:lnTo>
                <a:lnTo>
                  <a:pt x="2396" y="918"/>
                </a:lnTo>
                <a:lnTo>
                  <a:pt x="2392" y="902"/>
                </a:lnTo>
                <a:lnTo>
                  <a:pt x="2388" y="896"/>
                </a:lnTo>
                <a:lnTo>
                  <a:pt x="2384" y="890"/>
                </a:lnTo>
                <a:lnTo>
                  <a:pt x="2376" y="886"/>
                </a:lnTo>
                <a:lnTo>
                  <a:pt x="2366" y="882"/>
                </a:lnTo>
                <a:lnTo>
                  <a:pt x="2354" y="876"/>
                </a:lnTo>
                <a:lnTo>
                  <a:pt x="2352" y="874"/>
                </a:lnTo>
                <a:lnTo>
                  <a:pt x="2354" y="874"/>
                </a:lnTo>
                <a:lnTo>
                  <a:pt x="2354" y="872"/>
                </a:lnTo>
                <a:lnTo>
                  <a:pt x="2354" y="870"/>
                </a:lnTo>
                <a:lnTo>
                  <a:pt x="2350" y="868"/>
                </a:lnTo>
                <a:lnTo>
                  <a:pt x="2344" y="866"/>
                </a:lnTo>
                <a:lnTo>
                  <a:pt x="2324" y="860"/>
                </a:lnTo>
                <a:lnTo>
                  <a:pt x="2312" y="862"/>
                </a:lnTo>
                <a:lnTo>
                  <a:pt x="2308" y="862"/>
                </a:lnTo>
                <a:lnTo>
                  <a:pt x="2308" y="864"/>
                </a:lnTo>
                <a:lnTo>
                  <a:pt x="2310" y="868"/>
                </a:lnTo>
                <a:lnTo>
                  <a:pt x="2316" y="872"/>
                </a:lnTo>
                <a:lnTo>
                  <a:pt x="2324" y="876"/>
                </a:lnTo>
                <a:lnTo>
                  <a:pt x="2326" y="878"/>
                </a:lnTo>
                <a:lnTo>
                  <a:pt x="2328" y="882"/>
                </a:lnTo>
                <a:lnTo>
                  <a:pt x="2328" y="884"/>
                </a:lnTo>
                <a:lnTo>
                  <a:pt x="2326" y="886"/>
                </a:lnTo>
                <a:lnTo>
                  <a:pt x="2332" y="888"/>
                </a:lnTo>
                <a:lnTo>
                  <a:pt x="2342" y="892"/>
                </a:lnTo>
                <a:lnTo>
                  <a:pt x="2346" y="896"/>
                </a:lnTo>
                <a:lnTo>
                  <a:pt x="2346" y="898"/>
                </a:lnTo>
                <a:lnTo>
                  <a:pt x="2342" y="900"/>
                </a:lnTo>
                <a:lnTo>
                  <a:pt x="2326" y="896"/>
                </a:lnTo>
                <a:lnTo>
                  <a:pt x="2314" y="894"/>
                </a:lnTo>
                <a:lnTo>
                  <a:pt x="2306" y="896"/>
                </a:lnTo>
                <a:lnTo>
                  <a:pt x="2302" y="900"/>
                </a:lnTo>
                <a:lnTo>
                  <a:pt x="2300" y="906"/>
                </a:lnTo>
                <a:lnTo>
                  <a:pt x="2298" y="910"/>
                </a:lnTo>
                <a:lnTo>
                  <a:pt x="2296" y="914"/>
                </a:lnTo>
                <a:lnTo>
                  <a:pt x="2292" y="914"/>
                </a:lnTo>
                <a:lnTo>
                  <a:pt x="2288" y="910"/>
                </a:lnTo>
                <a:lnTo>
                  <a:pt x="2284" y="904"/>
                </a:lnTo>
                <a:lnTo>
                  <a:pt x="2284" y="900"/>
                </a:lnTo>
                <a:lnTo>
                  <a:pt x="2288" y="892"/>
                </a:lnTo>
                <a:lnTo>
                  <a:pt x="2290" y="888"/>
                </a:lnTo>
                <a:lnTo>
                  <a:pt x="2288" y="884"/>
                </a:lnTo>
                <a:lnTo>
                  <a:pt x="2280" y="880"/>
                </a:lnTo>
                <a:lnTo>
                  <a:pt x="2266" y="876"/>
                </a:lnTo>
                <a:lnTo>
                  <a:pt x="2240" y="868"/>
                </a:lnTo>
                <a:lnTo>
                  <a:pt x="2222" y="866"/>
                </a:lnTo>
                <a:lnTo>
                  <a:pt x="2210" y="866"/>
                </a:lnTo>
                <a:lnTo>
                  <a:pt x="2200" y="870"/>
                </a:lnTo>
                <a:lnTo>
                  <a:pt x="2196" y="874"/>
                </a:lnTo>
                <a:lnTo>
                  <a:pt x="2194" y="876"/>
                </a:lnTo>
                <a:lnTo>
                  <a:pt x="2196" y="880"/>
                </a:lnTo>
                <a:lnTo>
                  <a:pt x="2196" y="884"/>
                </a:lnTo>
                <a:lnTo>
                  <a:pt x="2192" y="886"/>
                </a:lnTo>
                <a:lnTo>
                  <a:pt x="2168" y="894"/>
                </a:lnTo>
                <a:lnTo>
                  <a:pt x="2160" y="894"/>
                </a:lnTo>
                <a:lnTo>
                  <a:pt x="2158" y="894"/>
                </a:lnTo>
                <a:lnTo>
                  <a:pt x="2162" y="890"/>
                </a:lnTo>
                <a:lnTo>
                  <a:pt x="2174" y="880"/>
                </a:lnTo>
                <a:lnTo>
                  <a:pt x="2176" y="876"/>
                </a:lnTo>
                <a:lnTo>
                  <a:pt x="2178" y="872"/>
                </a:lnTo>
                <a:lnTo>
                  <a:pt x="2176" y="868"/>
                </a:lnTo>
                <a:lnTo>
                  <a:pt x="2178" y="864"/>
                </a:lnTo>
                <a:lnTo>
                  <a:pt x="2180" y="856"/>
                </a:lnTo>
                <a:lnTo>
                  <a:pt x="2180" y="852"/>
                </a:lnTo>
                <a:lnTo>
                  <a:pt x="2178" y="848"/>
                </a:lnTo>
                <a:lnTo>
                  <a:pt x="2174" y="842"/>
                </a:lnTo>
                <a:lnTo>
                  <a:pt x="2166" y="838"/>
                </a:lnTo>
                <a:lnTo>
                  <a:pt x="2158" y="836"/>
                </a:lnTo>
                <a:lnTo>
                  <a:pt x="2146" y="836"/>
                </a:lnTo>
                <a:lnTo>
                  <a:pt x="2134" y="838"/>
                </a:lnTo>
                <a:lnTo>
                  <a:pt x="2120" y="842"/>
                </a:lnTo>
                <a:lnTo>
                  <a:pt x="2094" y="854"/>
                </a:lnTo>
                <a:lnTo>
                  <a:pt x="2070" y="862"/>
                </a:lnTo>
                <a:lnTo>
                  <a:pt x="2052" y="868"/>
                </a:lnTo>
                <a:lnTo>
                  <a:pt x="2036" y="876"/>
                </a:lnTo>
                <a:lnTo>
                  <a:pt x="2004" y="896"/>
                </a:lnTo>
                <a:lnTo>
                  <a:pt x="1996" y="900"/>
                </a:lnTo>
                <a:lnTo>
                  <a:pt x="1992" y="904"/>
                </a:lnTo>
                <a:lnTo>
                  <a:pt x="1992" y="908"/>
                </a:lnTo>
                <a:lnTo>
                  <a:pt x="1996" y="910"/>
                </a:lnTo>
                <a:lnTo>
                  <a:pt x="2006" y="914"/>
                </a:lnTo>
                <a:lnTo>
                  <a:pt x="2010" y="916"/>
                </a:lnTo>
                <a:lnTo>
                  <a:pt x="2012" y="918"/>
                </a:lnTo>
                <a:lnTo>
                  <a:pt x="2012" y="920"/>
                </a:lnTo>
                <a:lnTo>
                  <a:pt x="2010" y="922"/>
                </a:lnTo>
                <a:lnTo>
                  <a:pt x="2002" y="924"/>
                </a:lnTo>
                <a:lnTo>
                  <a:pt x="1992" y="928"/>
                </a:lnTo>
                <a:lnTo>
                  <a:pt x="1986" y="932"/>
                </a:lnTo>
                <a:lnTo>
                  <a:pt x="1980" y="938"/>
                </a:lnTo>
                <a:lnTo>
                  <a:pt x="1976" y="946"/>
                </a:lnTo>
                <a:lnTo>
                  <a:pt x="1972" y="952"/>
                </a:lnTo>
                <a:lnTo>
                  <a:pt x="1972" y="958"/>
                </a:lnTo>
                <a:lnTo>
                  <a:pt x="1972" y="962"/>
                </a:lnTo>
                <a:lnTo>
                  <a:pt x="1972" y="966"/>
                </a:lnTo>
                <a:lnTo>
                  <a:pt x="1976" y="966"/>
                </a:lnTo>
                <a:lnTo>
                  <a:pt x="1980" y="966"/>
                </a:lnTo>
                <a:lnTo>
                  <a:pt x="1986" y="964"/>
                </a:lnTo>
                <a:lnTo>
                  <a:pt x="1990" y="962"/>
                </a:lnTo>
                <a:lnTo>
                  <a:pt x="1994" y="962"/>
                </a:lnTo>
                <a:lnTo>
                  <a:pt x="1996" y="964"/>
                </a:lnTo>
                <a:lnTo>
                  <a:pt x="1998" y="966"/>
                </a:lnTo>
                <a:lnTo>
                  <a:pt x="2000" y="974"/>
                </a:lnTo>
                <a:lnTo>
                  <a:pt x="2004" y="982"/>
                </a:lnTo>
                <a:lnTo>
                  <a:pt x="2008" y="984"/>
                </a:lnTo>
                <a:lnTo>
                  <a:pt x="2016" y="986"/>
                </a:lnTo>
                <a:lnTo>
                  <a:pt x="2036" y="984"/>
                </a:lnTo>
                <a:lnTo>
                  <a:pt x="2058" y="980"/>
                </a:lnTo>
                <a:lnTo>
                  <a:pt x="2074" y="976"/>
                </a:lnTo>
                <a:lnTo>
                  <a:pt x="2086" y="976"/>
                </a:lnTo>
                <a:lnTo>
                  <a:pt x="2090" y="976"/>
                </a:lnTo>
                <a:lnTo>
                  <a:pt x="2092" y="978"/>
                </a:lnTo>
                <a:lnTo>
                  <a:pt x="2092" y="982"/>
                </a:lnTo>
                <a:lnTo>
                  <a:pt x="2084" y="986"/>
                </a:lnTo>
                <a:lnTo>
                  <a:pt x="2070" y="990"/>
                </a:lnTo>
                <a:lnTo>
                  <a:pt x="2046" y="996"/>
                </a:lnTo>
                <a:lnTo>
                  <a:pt x="2016" y="1002"/>
                </a:lnTo>
                <a:lnTo>
                  <a:pt x="2008" y="1006"/>
                </a:lnTo>
                <a:lnTo>
                  <a:pt x="2004" y="1010"/>
                </a:lnTo>
                <a:lnTo>
                  <a:pt x="2002" y="1014"/>
                </a:lnTo>
                <a:lnTo>
                  <a:pt x="2004" y="1018"/>
                </a:lnTo>
                <a:lnTo>
                  <a:pt x="2008" y="1022"/>
                </a:lnTo>
                <a:lnTo>
                  <a:pt x="2014" y="1028"/>
                </a:lnTo>
                <a:lnTo>
                  <a:pt x="2028" y="1036"/>
                </a:lnTo>
                <a:lnTo>
                  <a:pt x="2036" y="1040"/>
                </a:lnTo>
                <a:lnTo>
                  <a:pt x="2048" y="1042"/>
                </a:lnTo>
                <a:lnTo>
                  <a:pt x="2066" y="1040"/>
                </a:lnTo>
                <a:lnTo>
                  <a:pt x="2082" y="1038"/>
                </a:lnTo>
                <a:lnTo>
                  <a:pt x="2090" y="1040"/>
                </a:lnTo>
                <a:lnTo>
                  <a:pt x="2102" y="1042"/>
                </a:lnTo>
                <a:lnTo>
                  <a:pt x="2124" y="1044"/>
                </a:lnTo>
                <a:lnTo>
                  <a:pt x="2148" y="1042"/>
                </a:lnTo>
                <a:lnTo>
                  <a:pt x="2164" y="1038"/>
                </a:lnTo>
                <a:lnTo>
                  <a:pt x="2180" y="1036"/>
                </a:lnTo>
                <a:lnTo>
                  <a:pt x="2190" y="1038"/>
                </a:lnTo>
                <a:lnTo>
                  <a:pt x="2202" y="1040"/>
                </a:lnTo>
                <a:lnTo>
                  <a:pt x="2220" y="1044"/>
                </a:lnTo>
                <a:lnTo>
                  <a:pt x="2232" y="1044"/>
                </a:lnTo>
                <a:lnTo>
                  <a:pt x="2238" y="1044"/>
                </a:lnTo>
                <a:lnTo>
                  <a:pt x="2248" y="1050"/>
                </a:lnTo>
                <a:lnTo>
                  <a:pt x="2260" y="1056"/>
                </a:lnTo>
                <a:lnTo>
                  <a:pt x="2272" y="1062"/>
                </a:lnTo>
                <a:lnTo>
                  <a:pt x="2276" y="1064"/>
                </a:lnTo>
                <a:lnTo>
                  <a:pt x="2276" y="1066"/>
                </a:lnTo>
                <a:lnTo>
                  <a:pt x="2264" y="1066"/>
                </a:lnTo>
                <a:lnTo>
                  <a:pt x="2252" y="1066"/>
                </a:lnTo>
                <a:lnTo>
                  <a:pt x="2246" y="1066"/>
                </a:lnTo>
                <a:lnTo>
                  <a:pt x="2238" y="1068"/>
                </a:lnTo>
                <a:lnTo>
                  <a:pt x="2218" y="1066"/>
                </a:lnTo>
                <a:lnTo>
                  <a:pt x="2180" y="1064"/>
                </a:lnTo>
                <a:lnTo>
                  <a:pt x="2138" y="1066"/>
                </a:lnTo>
                <a:lnTo>
                  <a:pt x="2096" y="1070"/>
                </a:lnTo>
                <a:lnTo>
                  <a:pt x="2060" y="1076"/>
                </a:lnTo>
                <a:lnTo>
                  <a:pt x="2048" y="1080"/>
                </a:lnTo>
                <a:lnTo>
                  <a:pt x="2042" y="1084"/>
                </a:lnTo>
                <a:lnTo>
                  <a:pt x="2040" y="1088"/>
                </a:lnTo>
                <a:lnTo>
                  <a:pt x="2040" y="1090"/>
                </a:lnTo>
                <a:lnTo>
                  <a:pt x="2044" y="1096"/>
                </a:lnTo>
                <a:lnTo>
                  <a:pt x="2048" y="1104"/>
                </a:lnTo>
                <a:lnTo>
                  <a:pt x="2056" y="1110"/>
                </a:lnTo>
                <a:lnTo>
                  <a:pt x="2072" y="1124"/>
                </a:lnTo>
                <a:lnTo>
                  <a:pt x="2080" y="1130"/>
                </a:lnTo>
                <a:lnTo>
                  <a:pt x="2092" y="1134"/>
                </a:lnTo>
                <a:lnTo>
                  <a:pt x="2108" y="1138"/>
                </a:lnTo>
                <a:lnTo>
                  <a:pt x="2126" y="1138"/>
                </a:lnTo>
                <a:lnTo>
                  <a:pt x="2160" y="1140"/>
                </a:lnTo>
                <a:lnTo>
                  <a:pt x="2184" y="1140"/>
                </a:lnTo>
                <a:lnTo>
                  <a:pt x="2190" y="1140"/>
                </a:lnTo>
                <a:lnTo>
                  <a:pt x="2194" y="1144"/>
                </a:lnTo>
                <a:lnTo>
                  <a:pt x="2194" y="1150"/>
                </a:lnTo>
                <a:lnTo>
                  <a:pt x="2194" y="1154"/>
                </a:lnTo>
                <a:lnTo>
                  <a:pt x="2192" y="1166"/>
                </a:lnTo>
                <a:lnTo>
                  <a:pt x="2192" y="1172"/>
                </a:lnTo>
                <a:lnTo>
                  <a:pt x="2196" y="1178"/>
                </a:lnTo>
                <a:lnTo>
                  <a:pt x="2202" y="1184"/>
                </a:lnTo>
                <a:lnTo>
                  <a:pt x="2208" y="1190"/>
                </a:lnTo>
                <a:lnTo>
                  <a:pt x="2216" y="1194"/>
                </a:lnTo>
                <a:lnTo>
                  <a:pt x="2230" y="1194"/>
                </a:lnTo>
                <a:lnTo>
                  <a:pt x="2254" y="1192"/>
                </a:lnTo>
                <a:lnTo>
                  <a:pt x="2270" y="1192"/>
                </a:lnTo>
                <a:lnTo>
                  <a:pt x="2284" y="1194"/>
                </a:lnTo>
                <a:lnTo>
                  <a:pt x="2294" y="1192"/>
                </a:lnTo>
                <a:lnTo>
                  <a:pt x="2312" y="1188"/>
                </a:lnTo>
                <a:lnTo>
                  <a:pt x="2340" y="1182"/>
                </a:lnTo>
                <a:lnTo>
                  <a:pt x="2370" y="1176"/>
                </a:lnTo>
                <a:lnTo>
                  <a:pt x="2382" y="1172"/>
                </a:lnTo>
                <a:lnTo>
                  <a:pt x="2392" y="1168"/>
                </a:lnTo>
                <a:lnTo>
                  <a:pt x="2398" y="1164"/>
                </a:lnTo>
                <a:lnTo>
                  <a:pt x="2406" y="1162"/>
                </a:lnTo>
                <a:lnTo>
                  <a:pt x="2420" y="1160"/>
                </a:lnTo>
                <a:lnTo>
                  <a:pt x="2434" y="1158"/>
                </a:lnTo>
                <a:lnTo>
                  <a:pt x="2440" y="1156"/>
                </a:lnTo>
                <a:lnTo>
                  <a:pt x="2450" y="1152"/>
                </a:lnTo>
                <a:lnTo>
                  <a:pt x="2456" y="1148"/>
                </a:lnTo>
                <a:lnTo>
                  <a:pt x="2460" y="1144"/>
                </a:lnTo>
                <a:lnTo>
                  <a:pt x="2460" y="1140"/>
                </a:lnTo>
                <a:lnTo>
                  <a:pt x="2460" y="1138"/>
                </a:lnTo>
                <a:lnTo>
                  <a:pt x="2460" y="1134"/>
                </a:lnTo>
                <a:lnTo>
                  <a:pt x="2460" y="1132"/>
                </a:lnTo>
                <a:lnTo>
                  <a:pt x="2464" y="1128"/>
                </a:lnTo>
                <a:lnTo>
                  <a:pt x="2470" y="1126"/>
                </a:lnTo>
                <a:lnTo>
                  <a:pt x="2478" y="1124"/>
                </a:lnTo>
                <a:lnTo>
                  <a:pt x="2482" y="1124"/>
                </a:lnTo>
                <a:lnTo>
                  <a:pt x="2484" y="1126"/>
                </a:lnTo>
                <a:lnTo>
                  <a:pt x="2486" y="1130"/>
                </a:lnTo>
                <a:lnTo>
                  <a:pt x="2484" y="1140"/>
                </a:lnTo>
                <a:lnTo>
                  <a:pt x="2484" y="1146"/>
                </a:lnTo>
                <a:lnTo>
                  <a:pt x="2486" y="1146"/>
                </a:lnTo>
                <a:lnTo>
                  <a:pt x="2488" y="1146"/>
                </a:lnTo>
                <a:lnTo>
                  <a:pt x="2500" y="1146"/>
                </a:lnTo>
                <a:lnTo>
                  <a:pt x="2510" y="1146"/>
                </a:lnTo>
                <a:lnTo>
                  <a:pt x="2524" y="1150"/>
                </a:lnTo>
                <a:lnTo>
                  <a:pt x="2534" y="1152"/>
                </a:lnTo>
                <a:lnTo>
                  <a:pt x="2540" y="1156"/>
                </a:lnTo>
                <a:lnTo>
                  <a:pt x="2538" y="1156"/>
                </a:lnTo>
                <a:lnTo>
                  <a:pt x="2536" y="1158"/>
                </a:lnTo>
                <a:lnTo>
                  <a:pt x="2532" y="1160"/>
                </a:lnTo>
                <a:lnTo>
                  <a:pt x="2532" y="1162"/>
                </a:lnTo>
                <a:lnTo>
                  <a:pt x="2540" y="1164"/>
                </a:lnTo>
                <a:lnTo>
                  <a:pt x="2548" y="1166"/>
                </a:lnTo>
                <a:lnTo>
                  <a:pt x="2552" y="1168"/>
                </a:lnTo>
                <a:lnTo>
                  <a:pt x="2558" y="1166"/>
                </a:lnTo>
                <a:lnTo>
                  <a:pt x="2562" y="1164"/>
                </a:lnTo>
                <a:lnTo>
                  <a:pt x="2566" y="1164"/>
                </a:lnTo>
                <a:lnTo>
                  <a:pt x="2572" y="1164"/>
                </a:lnTo>
                <a:lnTo>
                  <a:pt x="2582" y="1166"/>
                </a:lnTo>
                <a:lnTo>
                  <a:pt x="2600" y="1170"/>
                </a:lnTo>
                <a:lnTo>
                  <a:pt x="2606" y="1170"/>
                </a:lnTo>
                <a:lnTo>
                  <a:pt x="2610" y="1170"/>
                </a:lnTo>
                <a:lnTo>
                  <a:pt x="2618" y="1172"/>
                </a:lnTo>
                <a:lnTo>
                  <a:pt x="2624" y="1172"/>
                </a:lnTo>
                <a:lnTo>
                  <a:pt x="2630" y="1172"/>
                </a:lnTo>
                <a:lnTo>
                  <a:pt x="2638" y="1166"/>
                </a:lnTo>
                <a:lnTo>
                  <a:pt x="2646" y="1160"/>
                </a:lnTo>
                <a:lnTo>
                  <a:pt x="2650" y="1158"/>
                </a:lnTo>
                <a:lnTo>
                  <a:pt x="2656" y="1158"/>
                </a:lnTo>
                <a:lnTo>
                  <a:pt x="2664" y="1156"/>
                </a:lnTo>
                <a:lnTo>
                  <a:pt x="2670" y="1152"/>
                </a:lnTo>
                <a:lnTo>
                  <a:pt x="2672" y="1148"/>
                </a:lnTo>
                <a:lnTo>
                  <a:pt x="2672" y="1146"/>
                </a:lnTo>
                <a:lnTo>
                  <a:pt x="2670" y="1142"/>
                </a:lnTo>
                <a:lnTo>
                  <a:pt x="2666" y="1138"/>
                </a:lnTo>
                <a:lnTo>
                  <a:pt x="2662" y="1136"/>
                </a:lnTo>
                <a:lnTo>
                  <a:pt x="2660" y="1134"/>
                </a:lnTo>
                <a:lnTo>
                  <a:pt x="2662" y="1128"/>
                </a:lnTo>
                <a:lnTo>
                  <a:pt x="2664" y="1126"/>
                </a:lnTo>
                <a:lnTo>
                  <a:pt x="2662" y="1124"/>
                </a:lnTo>
                <a:lnTo>
                  <a:pt x="2658" y="1122"/>
                </a:lnTo>
                <a:lnTo>
                  <a:pt x="2652" y="1122"/>
                </a:lnTo>
                <a:lnTo>
                  <a:pt x="2644" y="1124"/>
                </a:lnTo>
                <a:lnTo>
                  <a:pt x="2630" y="1132"/>
                </a:lnTo>
                <a:lnTo>
                  <a:pt x="2620" y="1136"/>
                </a:lnTo>
                <a:lnTo>
                  <a:pt x="2618" y="1136"/>
                </a:lnTo>
                <a:lnTo>
                  <a:pt x="2620" y="1132"/>
                </a:lnTo>
                <a:lnTo>
                  <a:pt x="2622" y="1126"/>
                </a:lnTo>
                <a:lnTo>
                  <a:pt x="2620" y="1122"/>
                </a:lnTo>
                <a:lnTo>
                  <a:pt x="2616" y="1118"/>
                </a:lnTo>
                <a:lnTo>
                  <a:pt x="2612" y="1116"/>
                </a:lnTo>
                <a:lnTo>
                  <a:pt x="2604" y="1112"/>
                </a:lnTo>
                <a:lnTo>
                  <a:pt x="2600" y="1110"/>
                </a:lnTo>
                <a:lnTo>
                  <a:pt x="2602" y="1108"/>
                </a:lnTo>
                <a:lnTo>
                  <a:pt x="2604" y="1108"/>
                </a:lnTo>
                <a:lnTo>
                  <a:pt x="2608" y="1108"/>
                </a:lnTo>
                <a:lnTo>
                  <a:pt x="2620" y="1112"/>
                </a:lnTo>
                <a:lnTo>
                  <a:pt x="2632" y="1116"/>
                </a:lnTo>
                <a:lnTo>
                  <a:pt x="2636" y="1118"/>
                </a:lnTo>
                <a:lnTo>
                  <a:pt x="2640" y="1116"/>
                </a:lnTo>
                <a:lnTo>
                  <a:pt x="2644" y="1112"/>
                </a:lnTo>
                <a:lnTo>
                  <a:pt x="2640" y="1108"/>
                </a:lnTo>
                <a:lnTo>
                  <a:pt x="2638" y="1106"/>
                </a:lnTo>
                <a:lnTo>
                  <a:pt x="2638" y="1104"/>
                </a:lnTo>
                <a:lnTo>
                  <a:pt x="2640" y="1102"/>
                </a:lnTo>
                <a:lnTo>
                  <a:pt x="2646" y="1098"/>
                </a:lnTo>
                <a:close/>
                <a:moveTo>
                  <a:pt x="2506" y="806"/>
                </a:moveTo>
                <a:lnTo>
                  <a:pt x="2506" y="806"/>
                </a:lnTo>
                <a:lnTo>
                  <a:pt x="2492" y="808"/>
                </a:lnTo>
                <a:lnTo>
                  <a:pt x="2480" y="812"/>
                </a:lnTo>
                <a:lnTo>
                  <a:pt x="2470" y="814"/>
                </a:lnTo>
                <a:lnTo>
                  <a:pt x="2464" y="818"/>
                </a:lnTo>
                <a:lnTo>
                  <a:pt x="2460" y="822"/>
                </a:lnTo>
                <a:lnTo>
                  <a:pt x="2460" y="824"/>
                </a:lnTo>
                <a:lnTo>
                  <a:pt x="2462" y="828"/>
                </a:lnTo>
                <a:lnTo>
                  <a:pt x="2468" y="830"/>
                </a:lnTo>
                <a:lnTo>
                  <a:pt x="2480" y="834"/>
                </a:lnTo>
                <a:lnTo>
                  <a:pt x="2488" y="836"/>
                </a:lnTo>
                <a:lnTo>
                  <a:pt x="2492" y="840"/>
                </a:lnTo>
                <a:lnTo>
                  <a:pt x="2494" y="846"/>
                </a:lnTo>
                <a:lnTo>
                  <a:pt x="2498" y="850"/>
                </a:lnTo>
                <a:lnTo>
                  <a:pt x="2504" y="856"/>
                </a:lnTo>
                <a:lnTo>
                  <a:pt x="2514" y="862"/>
                </a:lnTo>
                <a:lnTo>
                  <a:pt x="2524" y="872"/>
                </a:lnTo>
                <a:lnTo>
                  <a:pt x="2530" y="874"/>
                </a:lnTo>
                <a:lnTo>
                  <a:pt x="2530" y="870"/>
                </a:lnTo>
                <a:lnTo>
                  <a:pt x="2532" y="868"/>
                </a:lnTo>
                <a:lnTo>
                  <a:pt x="2534" y="866"/>
                </a:lnTo>
                <a:lnTo>
                  <a:pt x="2540" y="862"/>
                </a:lnTo>
                <a:lnTo>
                  <a:pt x="2546" y="852"/>
                </a:lnTo>
                <a:lnTo>
                  <a:pt x="2560" y="830"/>
                </a:lnTo>
                <a:lnTo>
                  <a:pt x="2562" y="826"/>
                </a:lnTo>
                <a:lnTo>
                  <a:pt x="2562" y="822"/>
                </a:lnTo>
                <a:lnTo>
                  <a:pt x="2560" y="818"/>
                </a:lnTo>
                <a:lnTo>
                  <a:pt x="2554" y="816"/>
                </a:lnTo>
                <a:lnTo>
                  <a:pt x="2546" y="812"/>
                </a:lnTo>
                <a:lnTo>
                  <a:pt x="2540" y="808"/>
                </a:lnTo>
                <a:lnTo>
                  <a:pt x="2530" y="806"/>
                </a:lnTo>
                <a:lnTo>
                  <a:pt x="2506" y="806"/>
                </a:lnTo>
                <a:close/>
                <a:moveTo>
                  <a:pt x="4290" y="1312"/>
                </a:moveTo>
                <a:lnTo>
                  <a:pt x="4290" y="1312"/>
                </a:lnTo>
                <a:lnTo>
                  <a:pt x="4284" y="1304"/>
                </a:lnTo>
                <a:lnTo>
                  <a:pt x="4280" y="1300"/>
                </a:lnTo>
                <a:lnTo>
                  <a:pt x="4274" y="1296"/>
                </a:lnTo>
                <a:lnTo>
                  <a:pt x="4268" y="1296"/>
                </a:lnTo>
                <a:lnTo>
                  <a:pt x="4256" y="1296"/>
                </a:lnTo>
                <a:lnTo>
                  <a:pt x="4246" y="1300"/>
                </a:lnTo>
                <a:lnTo>
                  <a:pt x="4236" y="1304"/>
                </a:lnTo>
                <a:lnTo>
                  <a:pt x="4230" y="1304"/>
                </a:lnTo>
                <a:lnTo>
                  <a:pt x="4228" y="1304"/>
                </a:lnTo>
                <a:lnTo>
                  <a:pt x="4228" y="1302"/>
                </a:lnTo>
                <a:lnTo>
                  <a:pt x="4230" y="1292"/>
                </a:lnTo>
                <a:lnTo>
                  <a:pt x="4232" y="1282"/>
                </a:lnTo>
                <a:lnTo>
                  <a:pt x="4232" y="1280"/>
                </a:lnTo>
                <a:lnTo>
                  <a:pt x="4230" y="1278"/>
                </a:lnTo>
                <a:lnTo>
                  <a:pt x="4224" y="1278"/>
                </a:lnTo>
                <a:lnTo>
                  <a:pt x="4216" y="1280"/>
                </a:lnTo>
                <a:lnTo>
                  <a:pt x="4202" y="1284"/>
                </a:lnTo>
                <a:lnTo>
                  <a:pt x="4200" y="1284"/>
                </a:lnTo>
                <a:lnTo>
                  <a:pt x="4198" y="1282"/>
                </a:lnTo>
                <a:lnTo>
                  <a:pt x="4200" y="1276"/>
                </a:lnTo>
                <a:lnTo>
                  <a:pt x="4202" y="1268"/>
                </a:lnTo>
                <a:lnTo>
                  <a:pt x="4202" y="1264"/>
                </a:lnTo>
                <a:lnTo>
                  <a:pt x="4200" y="1258"/>
                </a:lnTo>
                <a:lnTo>
                  <a:pt x="4196" y="1254"/>
                </a:lnTo>
                <a:lnTo>
                  <a:pt x="4182" y="1248"/>
                </a:lnTo>
                <a:lnTo>
                  <a:pt x="4162" y="1234"/>
                </a:lnTo>
                <a:lnTo>
                  <a:pt x="4150" y="1228"/>
                </a:lnTo>
                <a:lnTo>
                  <a:pt x="4136" y="1224"/>
                </a:lnTo>
                <a:lnTo>
                  <a:pt x="4124" y="1224"/>
                </a:lnTo>
                <a:lnTo>
                  <a:pt x="4112" y="1224"/>
                </a:lnTo>
                <a:lnTo>
                  <a:pt x="4100" y="1224"/>
                </a:lnTo>
                <a:lnTo>
                  <a:pt x="4090" y="1222"/>
                </a:lnTo>
                <a:lnTo>
                  <a:pt x="4084" y="1216"/>
                </a:lnTo>
                <a:lnTo>
                  <a:pt x="4082" y="1214"/>
                </a:lnTo>
                <a:lnTo>
                  <a:pt x="4080" y="1208"/>
                </a:lnTo>
                <a:lnTo>
                  <a:pt x="4080" y="1204"/>
                </a:lnTo>
                <a:lnTo>
                  <a:pt x="4076" y="1200"/>
                </a:lnTo>
                <a:lnTo>
                  <a:pt x="4072" y="1196"/>
                </a:lnTo>
                <a:lnTo>
                  <a:pt x="4066" y="1194"/>
                </a:lnTo>
                <a:lnTo>
                  <a:pt x="4054" y="1192"/>
                </a:lnTo>
                <a:lnTo>
                  <a:pt x="4040" y="1192"/>
                </a:lnTo>
                <a:lnTo>
                  <a:pt x="4030" y="1192"/>
                </a:lnTo>
                <a:lnTo>
                  <a:pt x="4024" y="1192"/>
                </a:lnTo>
                <a:lnTo>
                  <a:pt x="4022" y="1190"/>
                </a:lnTo>
                <a:lnTo>
                  <a:pt x="4022" y="1188"/>
                </a:lnTo>
                <a:lnTo>
                  <a:pt x="4032" y="1182"/>
                </a:lnTo>
                <a:lnTo>
                  <a:pt x="4038" y="1178"/>
                </a:lnTo>
                <a:lnTo>
                  <a:pt x="4040" y="1172"/>
                </a:lnTo>
                <a:lnTo>
                  <a:pt x="4042" y="1168"/>
                </a:lnTo>
                <a:lnTo>
                  <a:pt x="4042" y="1164"/>
                </a:lnTo>
                <a:lnTo>
                  <a:pt x="4040" y="1156"/>
                </a:lnTo>
                <a:lnTo>
                  <a:pt x="4036" y="1150"/>
                </a:lnTo>
                <a:lnTo>
                  <a:pt x="4030" y="1144"/>
                </a:lnTo>
                <a:lnTo>
                  <a:pt x="4028" y="1142"/>
                </a:lnTo>
                <a:lnTo>
                  <a:pt x="4032" y="1140"/>
                </a:lnTo>
                <a:lnTo>
                  <a:pt x="4042" y="1142"/>
                </a:lnTo>
                <a:lnTo>
                  <a:pt x="4056" y="1144"/>
                </a:lnTo>
                <a:lnTo>
                  <a:pt x="4068" y="1144"/>
                </a:lnTo>
                <a:lnTo>
                  <a:pt x="4078" y="1142"/>
                </a:lnTo>
                <a:lnTo>
                  <a:pt x="4084" y="1140"/>
                </a:lnTo>
                <a:lnTo>
                  <a:pt x="4084" y="1138"/>
                </a:lnTo>
                <a:lnTo>
                  <a:pt x="4084" y="1136"/>
                </a:lnTo>
                <a:lnTo>
                  <a:pt x="4078" y="1130"/>
                </a:lnTo>
                <a:lnTo>
                  <a:pt x="4066" y="1126"/>
                </a:lnTo>
                <a:lnTo>
                  <a:pt x="4046" y="1122"/>
                </a:lnTo>
                <a:lnTo>
                  <a:pt x="4018" y="1116"/>
                </a:lnTo>
                <a:lnTo>
                  <a:pt x="4016" y="1116"/>
                </a:lnTo>
                <a:lnTo>
                  <a:pt x="4016" y="1114"/>
                </a:lnTo>
                <a:lnTo>
                  <a:pt x="4020" y="1112"/>
                </a:lnTo>
                <a:lnTo>
                  <a:pt x="4040" y="1110"/>
                </a:lnTo>
                <a:lnTo>
                  <a:pt x="4052" y="1106"/>
                </a:lnTo>
                <a:lnTo>
                  <a:pt x="4062" y="1102"/>
                </a:lnTo>
                <a:lnTo>
                  <a:pt x="4064" y="1098"/>
                </a:lnTo>
                <a:lnTo>
                  <a:pt x="4066" y="1094"/>
                </a:lnTo>
                <a:lnTo>
                  <a:pt x="4066" y="1092"/>
                </a:lnTo>
                <a:lnTo>
                  <a:pt x="4066" y="1088"/>
                </a:lnTo>
                <a:lnTo>
                  <a:pt x="4062" y="1082"/>
                </a:lnTo>
                <a:lnTo>
                  <a:pt x="4054" y="1074"/>
                </a:lnTo>
                <a:lnTo>
                  <a:pt x="4044" y="1070"/>
                </a:lnTo>
                <a:lnTo>
                  <a:pt x="4036" y="1066"/>
                </a:lnTo>
                <a:lnTo>
                  <a:pt x="4026" y="1066"/>
                </a:lnTo>
                <a:lnTo>
                  <a:pt x="4020" y="1068"/>
                </a:lnTo>
                <a:lnTo>
                  <a:pt x="4014" y="1070"/>
                </a:lnTo>
                <a:lnTo>
                  <a:pt x="4004" y="1074"/>
                </a:lnTo>
                <a:lnTo>
                  <a:pt x="3988" y="1074"/>
                </a:lnTo>
                <a:lnTo>
                  <a:pt x="3982" y="1072"/>
                </a:lnTo>
                <a:lnTo>
                  <a:pt x="3980" y="1070"/>
                </a:lnTo>
                <a:lnTo>
                  <a:pt x="3982" y="1066"/>
                </a:lnTo>
                <a:lnTo>
                  <a:pt x="3994" y="1062"/>
                </a:lnTo>
                <a:lnTo>
                  <a:pt x="4014" y="1054"/>
                </a:lnTo>
                <a:lnTo>
                  <a:pt x="4020" y="1052"/>
                </a:lnTo>
                <a:lnTo>
                  <a:pt x="4022" y="1050"/>
                </a:lnTo>
                <a:lnTo>
                  <a:pt x="4018" y="1046"/>
                </a:lnTo>
                <a:lnTo>
                  <a:pt x="4012" y="1042"/>
                </a:lnTo>
                <a:lnTo>
                  <a:pt x="3984" y="1030"/>
                </a:lnTo>
                <a:lnTo>
                  <a:pt x="3966" y="1024"/>
                </a:lnTo>
                <a:lnTo>
                  <a:pt x="3952" y="1022"/>
                </a:lnTo>
                <a:lnTo>
                  <a:pt x="3942" y="1024"/>
                </a:lnTo>
                <a:lnTo>
                  <a:pt x="3934" y="1028"/>
                </a:lnTo>
                <a:lnTo>
                  <a:pt x="3930" y="1030"/>
                </a:lnTo>
                <a:lnTo>
                  <a:pt x="3926" y="1030"/>
                </a:lnTo>
                <a:lnTo>
                  <a:pt x="3926" y="1026"/>
                </a:lnTo>
                <a:lnTo>
                  <a:pt x="3928" y="1018"/>
                </a:lnTo>
                <a:lnTo>
                  <a:pt x="3928" y="1008"/>
                </a:lnTo>
                <a:lnTo>
                  <a:pt x="3926" y="1004"/>
                </a:lnTo>
                <a:lnTo>
                  <a:pt x="3922" y="1002"/>
                </a:lnTo>
                <a:lnTo>
                  <a:pt x="3916" y="1002"/>
                </a:lnTo>
                <a:lnTo>
                  <a:pt x="3908" y="1004"/>
                </a:lnTo>
                <a:lnTo>
                  <a:pt x="3904" y="1002"/>
                </a:lnTo>
                <a:lnTo>
                  <a:pt x="3904" y="996"/>
                </a:lnTo>
                <a:lnTo>
                  <a:pt x="3902" y="988"/>
                </a:lnTo>
                <a:lnTo>
                  <a:pt x="3896" y="982"/>
                </a:lnTo>
                <a:lnTo>
                  <a:pt x="3888" y="974"/>
                </a:lnTo>
                <a:lnTo>
                  <a:pt x="3880" y="970"/>
                </a:lnTo>
                <a:lnTo>
                  <a:pt x="3868" y="968"/>
                </a:lnTo>
                <a:lnTo>
                  <a:pt x="3858" y="968"/>
                </a:lnTo>
                <a:lnTo>
                  <a:pt x="3846" y="972"/>
                </a:lnTo>
                <a:lnTo>
                  <a:pt x="3836" y="980"/>
                </a:lnTo>
                <a:lnTo>
                  <a:pt x="3826" y="986"/>
                </a:lnTo>
                <a:lnTo>
                  <a:pt x="3820" y="988"/>
                </a:lnTo>
                <a:lnTo>
                  <a:pt x="3814" y="988"/>
                </a:lnTo>
                <a:lnTo>
                  <a:pt x="3810" y="982"/>
                </a:lnTo>
                <a:lnTo>
                  <a:pt x="3806" y="976"/>
                </a:lnTo>
                <a:lnTo>
                  <a:pt x="3802" y="966"/>
                </a:lnTo>
                <a:lnTo>
                  <a:pt x="3792" y="944"/>
                </a:lnTo>
                <a:lnTo>
                  <a:pt x="3788" y="936"/>
                </a:lnTo>
                <a:lnTo>
                  <a:pt x="3784" y="932"/>
                </a:lnTo>
                <a:lnTo>
                  <a:pt x="3778" y="930"/>
                </a:lnTo>
                <a:lnTo>
                  <a:pt x="3774" y="932"/>
                </a:lnTo>
                <a:lnTo>
                  <a:pt x="3768" y="932"/>
                </a:lnTo>
                <a:lnTo>
                  <a:pt x="3762" y="930"/>
                </a:lnTo>
                <a:lnTo>
                  <a:pt x="3758" y="926"/>
                </a:lnTo>
                <a:lnTo>
                  <a:pt x="3750" y="918"/>
                </a:lnTo>
                <a:lnTo>
                  <a:pt x="3744" y="908"/>
                </a:lnTo>
                <a:lnTo>
                  <a:pt x="3736" y="902"/>
                </a:lnTo>
                <a:lnTo>
                  <a:pt x="3726" y="898"/>
                </a:lnTo>
                <a:lnTo>
                  <a:pt x="3718" y="896"/>
                </a:lnTo>
                <a:lnTo>
                  <a:pt x="3700" y="896"/>
                </a:lnTo>
                <a:lnTo>
                  <a:pt x="3692" y="894"/>
                </a:lnTo>
                <a:lnTo>
                  <a:pt x="3686" y="892"/>
                </a:lnTo>
                <a:lnTo>
                  <a:pt x="3668" y="884"/>
                </a:lnTo>
                <a:lnTo>
                  <a:pt x="3658" y="882"/>
                </a:lnTo>
                <a:lnTo>
                  <a:pt x="3646" y="880"/>
                </a:lnTo>
                <a:lnTo>
                  <a:pt x="3636" y="882"/>
                </a:lnTo>
                <a:lnTo>
                  <a:pt x="3624" y="884"/>
                </a:lnTo>
                <a:lnTo>
                  <a:pt x="3614" y="892"/>
                </a:lnTo>
                <a:lnTo>
                  <a:pt x="3606" y="904"/>
                </a:lnTo>
                <a:lnTo>
                  <a:pt x="3604" y="908"/>
                </a:lnTo>
                <a:lnTo>
                  <a:pt x="3600" y="912"/>
                </a:lnTo>
                <a:lnTo>
                  <a:pt x="3596" y="914"/>
                </a:lnTo>
                <a:lnTo>
                  <a:pt x="3592" y="916"/>
                </a:lnTo>
                <a:lnTo>
                  <a:pt x="3584" y="914"/>
                </a:lnTo>
                <a:lnTo>
                  <a:pt x="3578" y="908"/>
                </a:lnTo>
                <a:lnTo>
                  <a:pt x="3570" y="904"/>
                </a:lnTo>
                <a:lnTo>
                  <a:pt x="3560" y="900"/>
                </a:lnTo>
                <a:lnTo>
                  <a:pt x="3556" y="900"/>
                </a:lnTo>
                <a:lnTo>
                  <a:pt x="3552" y="900"/>
                </a:lnTo>
                <a:lnTo>
                  <a:pt x="3548" y="902"/>
                </a:lnTo>
                <a:lnTo>
                  <a:pt x="3544" y="906"/>
                </a:lnTo>
                <a:lnTo>
                  <a:pt x="3536" y="916"/>
                </a:lnTo>
                <a:lnTo>
                  <a:pt x="3528" y="922"/>
                </a:lnTo>
                <a:lnTo>
                  <a:pt x="3520" y="926"/>
                </a:lnTo>
                <a:lnTo>
                  <a:pt x="3516" y="928"/>
                </a:lnTo>
                <a:lnTo>
                  <a:pt x="3512" y="930"/>
                </a:lnTo>
                <a:lnTo>
                  <a:pt x="3510" y="928"/>
                </a:lnTo>
                <a:lnTo>
                  <a:pt x="3512" y="922"/>
                </a:lnTo>
                <a:lnTo>
                  <a:pt x="3518" y="916"/>
                </a:lnTo>
                <a:lnTo>
                  <a:pt x="3522" y="908"/>
                </a:lnTo>
                <a:lnTo>
                  <a:pt x="3526" y="898"/>
                </a:lnTo>
                <a:lnTo>
                  <a:pt x="3528" y="888"/>
                </a:lnTo>
                <a:lnTo>
                  <a:pt x="3528" y="878"/>
                </a:lnTo>
                <a:lnTo>
                  <a:pt x="3526" y="870"/>
                </a:lnTo>
                <a:lnTo>
                  <a:pt x="3522" y="862"/>
                </a:lnTo>
                <a:lnTo>
                  <a:pt x="3516" y="856"/>
                </a:lnTo>
                <a:lnTo>
                  <a:pt x="3508" y="850"/>
                </a:lnTo>
                <a:lnTo>
                  <a:pt x="3500" y="848"/>
                </a:lnTo>
                <a:lnTo>
                  <a:pt x="3498" y="842"/>
                </a:lnTo>
                <a:lnTo>
                  <a:pt x="3496" y="836"/>
                </a:lnTo>
                <a:lnTo>
                  <a:pt x="3494" y="828"/>
                </a:lnTo>
                <a:lnTo>
                  <a:pt x="3494" y="822"/>
                </a:lnTo>
                <a:lnTo>
                  <a:pt x="3492" y="816"/>
                </a:lnTo>
                <a:lnTo>
                  <a:pt x="3488" y="812"/>
                </a:lnTo>
                <a:lnTo>
                  <a:pt x="3480" y="808"/>
                </a:lnTo>
                <a:lnTo>
                  <a:pt x="3466" y="808"/>
                </a:lnTo>
                <a:lnTo>
                  <a:pt x="3446" y="808"/>
                </a:lnTo>
                <a:lnTo>
                  <a:pt x="3424" y="810"/>
                </a:lnTo>
                <a:lnTo>
                  <a:pt x="3400" y="816"/>
                </a:lnTo>
                <a:lnTo>
                  <a:pt x="3376" y="822"/>
                </a:lnTo>
                <a:lnTo>
                  <a:pt x="3358" y="830"/>
                </a:lnTo>
                <a:lnTo>
                  <a:pt x="3350" y="834"/>
                </a:lnTo>
                <a:lnTo>
                  <a:pt x="3344" y="840"/>
                </a:lnTo>
                <a:lnTo>
                  <a:pt x="3340" y="846"/>
                </a:lnTo>
                <a:lnTo>
                  <a:pt x="3340" y="854"/>
                </a:lnTo>
                <a:lnTo>
                  <a:pt x="3338" y="858"/>
                </a:lnTo>
                <a:lnTo>
                  <a:pt x="3336" y="864"/>
                </a:lnTo>
                <a:lnTo>
                  <a:pt x="3334" y="866"/>
                </a:lnTo>
                <a:lnTo>
                  <a:pt x="3332" y="868"/>
                </a:lnTo>
                <a:lnTo>
                  <a:pt x="3326" y="868"/>
                </a:lnTo>
                <a:lnTo>
                  <a:pt x="3320" y="868"/>
                </a:lnTo>
                <a:lnTo>
                  <a:pt x="3314" y="868"/>
                </a:lnTo>
                <a:lnTo>
                  <a:pt x="3312" y="870"/>
                </a:lnTo>
                <a:lnTo>
                  <a:pt x="3312" y="872"/>
                </a:lnTo>
                <a:lnTo>
                  <a:pt x="3314" y="880"/>
                </a:lnTo>
                <a:lnTo>
                  <a:pt x="3322" y="898"/>
                </a:lnTo>
                <a:lnTo>
                  <a:pt x="3328" y="914"/>
                </a:lnTo>
                <a:lnTo>
                  <a:pt x="3330" y="920"/>
                </a:lnTo>
                <a:lnTo>
                  <a:pt x="3330" y="924"/>
                </a:lnTo>
                <a:lnTo>
                  <a:pt x="3328" y="926"/>
                </a:lnTo>
                <a:lnTo>
                  <a:pt x="3326" y="928"/>
                </a:lnTo>
                <a:lnTo>
                  <a:pt x="3320" y="930"/>
                </a:lnTo>
                <a:lnTo>
                  <a:pt x="3314" y="930"/>
                </a:lnTo>
                <a:lnTo>
                  <a:pt x="3310" y="932"/>
                </a:lnTo>
                <a:lnTo>
                  <a:pt x="3308" y="934"/>
                </a:lnTo>
                <a:lnTo>
                  <a:pt x="3310" y="936"/>
                </a:lnTo>
                <a:lnTo>
                  <a:pt x="3316" y="946"/>
                </a:lnTo>
                <a:lnTo>
                  <a:pt x="3324" y="956"/>
                </a:lnTo>
                <a:lnTo>
                  <a:pt x="3334" y="960"/>
                </a:lnTo>
                <a:lnTo>
                  <a:pt x="3340" y="962"/>
                </a:lnTo>
                <a:lnTo>
                  <a:pt x="3348" y="962"/>
                </a:lnTo>
                <a:lnTo>
                  <a:pt x="3354" y="962"/>
                </a:lnTo>
                <a:lnTo>
                  <a:pt x="3358" y="962"/>
                </a:lnTo>
                <a:lnTo>
                  <a:pt x="3362" y="966"/>
                </a:lnTo>
                <a:lnTo>
                  <a:pt x="3364" y="974"/>
                </a:lnTo>
                <a:lnTo>
                  <a:pt x="3362" y="978"/>
                </a:lnTo>
                <a:lnTo>
                  <a:pt x="3360" y="980"/>
                </a:lnTo>
                <a:lnTo>
                  <a:pt x="3356" y="982"/>
                </a:lnTo>
                <a:lnTo>
                  <a:pt x="3350" y="982"/>
                </a:lnTo>
                <a:lnTo>
                  <a:pt x="3336" y="978"/>
                </a:lnTo>
                <a:lnTo>
                  <a:pt x="3320" y="970"/>
                </a:lnTo>
                <a:lnTo>
                  <a:pt x="3304" y="960"/>
                </a:lnTo>
                <a:lnTo>
                  <a:pt x="3294" y="948"/>
                </a:lnTo>
                <a:lnTo>
                  <a:pt x="3290" y="940"/>
                </a:lnTo>
                <a:lnTo>
                  <a:pt x="3288" y="934"/>
                </a:lnTo>
                <a:lnTo>
                  <a:pt x="3288" y="926"/>
                </a:lnTo>
                <a:lnTo>
                  <a:pt x="3290" y="920"/>
                </a:lnTo>
                <a:lnTo>
                  <a:pt x="3294" y="908"/>
                </a:lnTo>
                <a:lnTo>
                  <a:pt x="3294" y="900"/>
                </a:lnTo>
                <a:lnTo>
                  <a:pt x="3290" y="894"/>
                </a:lnTo>
                <a:lnTo>
                  <a:pt x="3286" y="890"/>
                </a:lnTo>
                <a:lnTo>
                  <a:pt x="3282" y="886"/>
                </a:lnTo>
                <a:lnTo>
                  <a:pt x="3280" y="880"/>
                </a:lnTo>
                <a:lnTo>
                  <a:pt x="3284" y="872"/>
                </a:lnTo>
                <a:lnTo>
                  <a:pt x="3294" y="856"/>
                </a:lnTo>
                <a:lnTo>
                  <a:pt x="3308" y="842"/>
                </a:lnTo>
                <a:lnTo>
                  <a:pt x="3320" y="832"/>
                </a:lnTo>
                <a:lnTo>
                  <a:pt x="3330" y="824"/>
                </a:lnTo>
                <a:lnTo>
                  <a:pt x="3338" y="820"/>
                </a:lnTo>
                <a:lnTo>
                  <a:pt x="3348" y="814"/>
                </a:lnTo>
                <a:lnTo>
                  <a:pt x="3352" y="812"/>
                </a:lnTo>
                <a:lnTo>
                  <a:pt x="3354" y="808"/>
                </a:lnTo>
                <a:lnTo>
                  <a:pt x="3352" y="804"/>
                </a:lnTo>
                <a:lnTo>
                  <a:pt x="3350" y="802"/>
                </a:lnTo>
                <a:lnTo>
                  <a:pt x="3340" y="800"/>
                </a:lnTo>
                <a:lnTo>
                  <a:pt x="3324" y="798"/>
                </a:lnTo>
                <a:lnTo>
                  <a:pt x="3304" y="798"/>
                </a:lnTo>
                <a:lnTo>
                  <a:pt x="3280" y="800"/>
                </a:lnTo>
                <a:lnTo>
                  <a:pt x="3256" y="806"/>
                </a:lnTo>
                <a:lnTo>
                  <a:pt x="3232" y="814"/>
                </a:lnTo>
                <a:lnTo>
                  <a:pt x="3210" y="824"/>
                </a:lnTo>
                <a:lnTo>
                  <a:pt x="3192" y="836"/>
                </a:lnTo>
                <a:lnTo>
                  <a:pt x="3182" y="846"/>
                </a:lnTo>
                <a:lnTo>
                  <a:pt x="3176" y="852"/>
                </a:lnTo>
                <a:lnTo>
                  <a:pt x="3172" y="858"/>
                </a:lnTo>
                <a:lnTo>
                  <a:pt x="3172" y="868"/>
                </a:lnTo>
                <a:lnTo>
                  <a:pt x="3170" y="874"/>
                </a:lnTo>
                <a:lnTo>
                  <a:pt x="3164" y="880"/>
                </a:lnTo>
                <a:lnTo>
                  <a:pt x="3158" y="886"/>
                </a:lnTo>
                <a:lnTo>
                  <a:pt x="3154" y="894"/>
                </a:lnTo>
                <a:lnTo>
                  <a:pt x="3148" y="910"/>
                </a:lnTo>
                <a:lnTo>
                  <a:pt x="3146" y="928"/>
                </a:lnTo>
                <a:lnTo>
                  <a:pt x="3142" y="954"/>
                </a:lnTo>
                <a:lnTo>
                  <a:pt x="3140" y="966"/>
                </a:lnTo>
                <a:lnTo>
                  <a:pt x="3140" y="976"/>
                </a:lnTo>
                <a:lnTo>
                  <a:pt x="3142" y="982"/>
                </a:lnTo>
                <a:lnTo>
                  <a:pt x="3148" y="986"/>
                </a:lnTo>
                <a:lnTo>
                  <a:pt x="3156" y="990"/>
                </a:lnTo>
                <a:lnTo>
                  <a:pt x="3166" y="992"/>
                </a:lnTo>
                <a:lnTo>
                  <a:pt x="3198" y="994"/>
                </a:lnTo>
                <a:lnTo>
                  <a:pt x="3216" y="996"/>
                </a:lnTo>
                <a:lnTo>
                  <a:pt x="3230" y="1000"/>
                </a:lnTo>
                <a:lnTo>
                  <a:pt x="3240" y="1004"/>
                </a:lnTo>
                <a:lnTo>
                  <a:pt x="3246" y="1008"/>
                </a:lnTo>
                <a:lnTo>
                  <a:pt x="3246" y="1012"/>
                </a:lnTo>
                <a:lnTo>
                  <a:pt x="3244" y="1016"/>
                </a:lnTo>
                <a:lnTo>
                  <a:pt x="3234" y="1016"/>
                </a:lnTo>
                <a:lnTo>
                  <a:pt x="3220" y="1016"/>
                </a:lnTo>
                <a:lnTo>
                  <a:pt x="3190" y="1014"/>
                </a:lnTo>
                <a:lnTo>
                  <a:pt x="3180" y="1014"/>
                </a:lnTo>
                <a:lnTo>
                  <a:pt x="3174" y="1016"/>
                </a:lnTo>
                <a:lnTo>
                  <a:pt x="3172" y="1018"/>
                </a:lnTo>
                <a:lnTo>
                  <a:pt x="3172" y="1020"/>
                </a:lnTo>
                <a:lnTo>
                  <a:pt x="3174" y="1026"/>
                </a:lnTo>
                <a:lnTo>
                  <a:pt x="3180" y="1036"/>
                </a:lnTo>
                <a:lnTo>
                  <a:pt x="3192" y="1048"/>
                </a:lnTo>
                <a:lnTo>
                  <a:pt x="3208" y="1060"/>
                </a:lnTo>
                <a:lnTo>
                  <a:pt x="3222" y="1066"/>
                </a:lnTo>
                <a:lnTo>
                  <a:pt x="3234" y="1068"/>
                </a:lnTo>
                <a:lnTo>
                  <a:pt x="3248" y="1068"/>
                </a:lnTo>
                <a:lnTo>
                  <a:pt x="3260" y="1066"/>
                </a:lnTo>
                <a:lnTo>
                  <a:pt x="3270" y="1066"/>
                </a:lnTo>
                <a:lnTo>
                  <a:pt x="3282" y="1068"/>
                </a:lnTo>
                <a:lnTo>
                  <a:pt x="3292" y="1074"/>
                </a:lnTo>
                <a:lnTo>
                  <a:pt x="3304" y="1082"/>
                </a:lnTo>
                <a:lnTo>
                  <a:pt x="3314" y="1086"/>
                </a:lnTo>
                <a:lnTo>
                  <a:pt x="3324" y="1086"/>
                </a:lnTo>
                <a:lnTo>
                  <a:pt x="3334" y="1086"/>
                </a:lnTo>
                <a:lnTo>
                  <a:pt x="3350" y="1084"/>
                </a:lnTo>
                <a:lnTo>
                  <a:pt x="3360" y="1082"/>
                </a:lnTo>
                <a:lnTo>
                  <a:pt x="3374" y="1086"/>
                </a:lnTo>
                <a:lnTo>
                  <a:pt x="3386" y="1088"/>
                </a:lnTo>
                <a:lnTo>
                  <a:pt x="3400" y="1088"/>
                </a:lnTo>
                <a:lnTo>
                  <a:pt x="3408" y="1086"/>
                </a:lnTo>
                <a:lnTo>
                  <a:pt x="3416" y="1088"/>
                </a:lnTo>
                <a:lnTo>
                  <a:pt x="3428" y="1090"/>
                </a:lnTo>
                <a:lnTo>
                  <a:pt x="3444" y="1094"/>
                </a:lnTo>
                <a:lnTo>
                  <a:pt x="3456" y="1096"/>
                </a:lnTo>
                <a:lnTo>
                  <a:pt x="3464" y="1096"/>
                </a:lnTo>
                <a:lnTo>
                  <a:pt x="3470" y="1094"/>
                </a:lnTo>
                <a:lnTo>
                  <a:pt x="3472" y="1090"/>
                </a:lnTo>
                <a:lnTo>
                  <a:pt x="3476" y="1088"/>
                </a:lnTo>
                <a:lnTo>
                  <a:pt x="3480" y="1086"/>
                </a:lnTo>
                <a:lnTo>
                  <a:pt x="3486" y="1088"/>
                </a:lnTo>
                <a:lnTo>
                  <a:pt x="3496" y="1096"/>
                </a:lnTo>
                <a:lnTo>
                  <a:pt x="3514" y="1108"/>
                </a:lnTo>
                <a:lnTo>
                  <a:pt x="3518" y="1110"/>
                </a:lnTo>
                <a:lnTo>
                  <a:pt x="3520" y="1110"/>
                </a:lnTo>
                <a:lnTo>
                  <a:pt x="3520" y="1108"/>
                </a:lnTo>
                <a:lnTo>
                  <a:pt x="3516" y="1102"/>
                </a:lnTo>
                <a:lnTo>
                  <a:pt x="3504" y="1088"/>
                </a:lnTo>
                <a:lnTo>
                  <a:pt x="3498" y="1082"/>
                </a:lnTo>
                <a:lnTo>
                  <a:pt x="3498" y="1080"/>
                </a:lnTo>
                <a:lnTo>
                  <a:pt x="3500" y="1080"/>
                </a:lnTo>
                <a:lnTo>
                  <a:pt x="3508" y="1078"/>
                </a:lnTo>
                <a:lnTo>
                  <a:pt x="3520" y="1080"/>
                </a:lnTo>
                <a:lnTo>
                  <a:pt x="3550" y="1088"/>
                </a:lnTo>
                <a:lnTo>
                  <a:pt x="3584" y="1094"/>
                </a:lnTo>
                <a:lnTo>
                  <a:pt x="3590" y="1094"/>
                </a:lnTo>
                <a:lnTo>
                  <a:pt x="3596" y="1094"/>
                </a:lnTo>
                <a:lnTo>
                  <a:pt x="3598" y="1092"/>
                </a:lnTo>
                <a:lnTo>
                  <a:pt x="3600" y="1088"/>
                </a:lnTo>
                <a:lnTo>
                  <a:pt x="3602" y="1080"/>
                </a:lnTo>
                <a:lnTo>
                  <a:pt x="3600" y="1072"/>
                </a:lnTo>
                <a:lnTo>
                  <a:pt x="3596" y="1058"/>
                </a:lnTo>
                <a:lnTo>
                  <a:pt x="3596" y="1056"/>
                </a:lnTo>
                <a:lnTo>
                  <a:pt x="3598" y="1056"/>
                </a:lnTo>
                <a:lnTo>
                  <a:pt x="3604" y="1062"/>
                </a:lnTo>
                <a:lnTo>
                  <a:pt x="3612" y="1068"/>
                </a:lnTo>
                <a:lnTo>
                  <a:pt x="3618" y="1070"/>
                </a:lnTo>
                <a:lnTo>
                  <a:pt x="3626" y="1070"/>
                </a:lnTo>
                <a:lnTo>
                  <a:pt x="3630" y="1070"/>
                </a:lnTo>
                <a:lnTo>
                  <a:pt x="3636" y="1070"/>
                </a:lnTo>
                <a:lnTo>
                  <a:pt x="3638" y="1070"/>
                </a:lnTo>
                <a:lnTo>
                  <a:pt x="3640" y="1074"/>
                </a:lnTo>
                <a:lnTo>
                  <a:pt x="3642" y="1082"/>
                </a:lnTo>
                <a:lnTo>
                  <a:pt x="3642" y="1092"/>
                </a:lnTo>
                <a:lnTo>
                  <a:pt x="3644" y="1100"/>
                </a:lnTo>
                <a:lnTo>
                  <a:pt x="3648" y="1104"/>
                </a:lnTo>
                <a:lnTo>
                  <a:pt x="3652" y="1108"/>
                </a:lnTo>
                <a:lnTo>
                  <a:pt x="3670" y="1114"/>
                </a:lnTo>
                <a:lnTo>
                  <a:pt x="3696" y="1124"/>
                </a:lnTo>
                <a:lnTo>
                  <a:pt x="3710" y="1130"/>
                </a:lnTo>
                <a:lnTo>
                  <a:pt x="3720" y="1136"/>
                </a:lnTo>
                <a:lnTo>
                  <a:pt x="3724" y="1142"/>
                </a:lnTo>
                <a:lnTo>
                  <a:pt x="3724" y="1146"/>
                </a:lnTo>
                <a:lnTo>
                  <a:pt x="3722" y="1150"/>
                </a:lnTo>
                <a:lnTo>
                  <a:pt x="3716" y="1152"/>
                </a:lnTo>
                <a:lnTo>
                  <a:pt x="3708" y="1154"/>
                </a:lnTo>
                <a:lnTo>
                  <a:pt x="3698" y="1154"/>
                </a:lnTo>
                <a:lnTo>
                  <a:pt x="3690" y="1156"/>
                </a:lnTo>
                <a:lnTo>
                  <a:pt x="3684" y="1158"/>
                </a:lnTo>
                <a:lnTo>
                  <a:pt x="3680" y="1162"/>
                </a:lnTo>
                <a:lnTo>
                  <a:pt x="3678" y="1168"/>
                </a:lnTo>
                <a:lnTo>
                  <a:pt x="3678" y="1172"/>
                </a:lnTo>
                <a:lnTo>
                  <a:pt x="3684" y="1176"/>
                </a:lnTo>
                <a:lnTo>
                  <a:pt x="3692" y="1176"/>
                </a:lnTo>
                <a:lnTo>
                  <a:pt x="3704" y="1174"/>
                </a:lnTo>
                <a:lnTo>
                  <a:pt x="3718" y="1172"/>
                </a:lnTo>
                <a:lnTo>
                  <a:pt x="3732" y="1172"/>
                </a:lnTo>
                <a:lnTo>
                  <a:pt x="3746" y="1174"/>
                </a:lnTo>
                <a:lnTo>
                  <a:pt x="3760" y="1176"/>
                </a:lnTo>
                <a:lnTo>
                  <a:pt x="3772" y="1182"/>
                </a:lnTo>
                <a:lnTo>
                  <a:pt x="3782" y="1186"/>
                </a:lnTo>
                <a:lnTo>
                  <a:pt x="3788" y="1192"/>
                </a:lnTo>
                <a:lnTo>
                  <a:pt x="3794" y="1198"/>
                </a:lnTo>
                <a:lnTo>
                  <a:pt x="3798" y="1202"/>
                </a:lnTo>
                <a:lnTo>
                  <a:pt x="3802" y="1206"/>
                </a:lnTo>
                <a:lnTo>
                  <a:pt x="3816" y="1210"/>
                </a:lnTo>
                <a:lnTo>
                  <a:pt x="3822" y="1214"/>
                </a:lnTo>
                <a:lnTo>
                  <a:pt x="3828" y="1218"/>
                </a:lnTo>
                <a:lnTo>
                  <a:pt x="3832" y="1226"/>
                </a:lnTo>
                <a:lnTo>
                  <a:pt x="3836" y="1236"/>
                </a:lnTo>
                <a:lnTo>
                  <a:pt x="3838" y="1248"/>
                </a:lnTo>
                <a:lnTo>
                  <a:pt x="3844" y="1256"/>
                </a:lnTo>
                <a:lnTo>
                  <a:pt x="3852" y="1272"/>
                </a:lnTo>
                <a:lnTo>
                  <a:pt x="3856" y="1278"/>
                </a:lnTo>
                <a:lnTo>
                  <a:pt x="3858" y="1282"/>
                </a:lnTo>
                <a:lnTo>
                  <a:pt x="3856" y="1288"/>
                </a:lnTo>
                <a:lnTo>
                  <a:pt x="3850" y="1292"/>
                </a:lnTo>
                <a:lnTo>
                  <a:pt x="3836" y="1302"/>
                </a:lnTo>
                <a:lnTo>
                  <a:pt x="3824" y="1314"/>
                </a:lnTo>
                <a:lnTo>
                  <a:pt x="3808" y="1330"/>
                </a:lnTo>
                <a:lnTo>
                  <a:pt x="3788" y="1346"/>
                </a:lnTo>
                <a:lnTo>
                  <a:pt x="3784" y="1350"/>
                </a:lnTo>
                <a:lnTo>
                  <a:pt x="3782" y="1356"/>
                </a:lnTo>
                <a:lnTo>
                  <a:pt x="3780" y="1362"/>
                </a:lnTo>
                <a:lnTo>
                  <a:pt x="3782" y="1366"/>
                </a:lnTo>
                <a:lnTo>
                  <a:pt x="3786" y="1378"/>
                </a:lnTo>
                <a:lnTo>
                  <a:pt x="3794" y="1388"/>
                </a:lnTo>
                <a:lnTo>
                  <a:pt x="3806" y="1402"/>
                </a:lnTo>
                <a:lnTo>
                  <a:pt x="3806" y="1404"/>
                </a:lnTo>
                <a:lnTo>
                  <a:pt x="3798" y="1402"/>
                </a:lnTo>
                <a:lnTo>
                  <a:pt x="3786" y="1400"/>
                </a:lnTo>
                <a:lnTo>
                  <a:pt x="3776" y="1402"/>
                </a:lnTo>
                <a:lnTo>
                  <a:pt x="3768" y="1406"/>
                </a:lnTo>
                <a:lnTo>
                  <a:pt x="3760" y="1410"/>
                </a:lnTo>
                <a:lnTo>
                  <a:pt x="3750" y="1414"/>
                </a:lnTo>
                <a:lnTo>
                  <a:pt x="3736" y="1416"/>
                </a:lnTo>
                <a:lnTo>
                  <a:pt x="3716" y="1416"/>
                </a:lnTo>
                <a:lnTo>
                  <a:pt x="3692" y="1412"/>
                </a:lnTo>
                <a:lnTo>
                  <a:pt x="3670" y="1408"/>
                </a:lnTo>
                <a:lnTo>
                  <a:pt x="3656" y="1406"/>
                </a:lnTo>
                <a:lnTo>
                  <a:pt x="3650" y="1406"/>
                </a:lnTo>
                <a:lnTo>
                  <a:pt x="3650" y="1410"/>
                </a:lnTo>
                <a:lnTo>
                  <a:pt x="3650" y="1414"/>
                </a:lnTo>
                <a:lnTo>
                  <a:pt x="3650" y="1420"/>
                </a:lnTo>
                <a:lnTo>
                  <a:pt x="3646" y="1428"/>
                </a:lnTo>
                <a:lnTo>
                  <a:pt x="3634" y="1436"/>
                </a:lnTo>
                <a:lnTo>
                  <a:pt x="3628" y="1440"/>
                </a:lnTo>
                <a:lnTo>
                  <a:pt x="3624" y="1444"/>
                </a:lnTo>
                <a:lnTo>
                  <a:pt x="3622" y="1450"/>
                </a:lnTo>
                <a:lnTo>
                  <a:pt x="3622" y="1456"/>
                </a:lnTo>
                <a:lnTo>
                  <a:pt x="3622" y="1460"/>
                </a:lnTo>
                <a:lnTo>
                  <a:pt x="3624" y="1466"/>
                </a:lnTo>
                <a:lnTo>
                  <a:pt x="3634" y="1476"/>
                </a:lnTo>
                <a:lnTo>
                  <a:pt x="3646" y="1484"/>
                </a:lnTo>
                <a:lnTo>
                  <a:pt x="3654" y="1486"/>
                </a:lnTo>
                <a:lnTo>
                  <a:pt x="3664" y="1488"/>
                </a:lnTo>
                <a:lnTo>
                  <a:pt x="3672" y="1488"/>
                </a:lnTo>
                <a:lnTo>
                  <a:pt x="3682" y="1486"/>
                </a:lnTo>
                <a:lnTo>
                  <a:pt x="3692" y="1484"/>
                </a:lnTo>
                <a:lnTo>
                  <a:pt x="3702" y="1480"/>
                </a:lnTo>
                <a:lnTo>
                  <a:pt x="3720" y="1472"/>
                </a:lnTo>
                <a:lnTo>
                  <a:pt x="3732" y="1472"/>
                </a:lnTo>
                <a:lnTo>
                  <a:pt x="3742" y="1474"/>
                </a:lnTo>
                <a:lnTo>
                  <a:pt x="3748" y="1478"/>
                </a:lnTo>
                <a:lnTo>
                  <a:pt x="3752" y="1482"/>
                </a:lnTo>
                <a:lnTo>
                  <a:pt x="3758" y="1484"/>
                </a:lnTo>
                <a:lnTo>
                  <a:pt x="3762" y="1484"/>
                </a:lnTo>
                <a:lnTo>
                  <a:pt x="3768" y="1478"/>
                </a:lnTo>
                <a:lnTo>
                  <a:pt x="3776" y="1472"/>
                </a:lnTo>
                <a:lnTo>
                  <a:pt x="3780" y="1470"/>
                </a:lnTo>
                <a:lnTo>
                  <a:pt x="3782" y="1474"/>
                </a:lnTo>
                <a:lnTo>
                  <a:pt x="3784" y="1478"/>
                </a:lnTo>
                <a:lnTo>
                  <a:pt x="3786" y="1486"/>
                </a:lnTo>
                <a:lnTo>
                  <a:pt x="3788" y="1486"/>
                </a:lnTo>
                <a:lnTo>
                  <a:pt x="3792" y="1482"/>
                </a:lnTo>
                <a:lnTo>
                  <a:pt x="3796" y="1472"/>
                </a:lnTo>
                <a:lnTo>
                  <a:pt x="3798" y="1470"/>
                </a:lnTo>
                <a:lnTo>
                  <a:pt x="3802" y="1468"/>
                </a:lnTo>
                <a:lnTo>
                  <a:pt x="3806" y="1470"/>
                </a:lnTo>
                <a:lnTo>
                  <a:pt x="3812" y="1476"/>
                </a:lnTo>
                <a:lnTo>
                  <a:pt x="3836" y="1502"/>
                </a:lnTo>
                <a:lnTo>
                  <a:pt x="3848" y="1516"/>
                </a:lnTo>
                <a:lnTo>
                  <a:pt x="3858" y="1524"/>
                </a:lnTo>
                <a:lnTo>
                  <a:pt x="3864" y="1526"/>
                </a:lnTo>
                <a:lnTo>
                  <a:pt x="3868" y="1524"/>
                </a:lnTo>
                <a:lnTo>
                  <a:pt x="3872" y="1522"/>
                </a:lnTo>
                <a:lnTo>
                  <a:pt x="3876" y="1522"/>
                </a:lnTo>
                <a:lnTo>
                  <a:pt x="3882" y="1524"/>
                </a:lnTo>
                <a:lnTo>
                  <a:pt x="3890" y="1530"/>
                </a:lnTo>
                <a:lnTo>
                  <a:pt x="3896" y="1536"/>
                </a:lnTo>
                <a:lnTo>
                  <a:pt x="3896" y="1538"/>
                </a:lnTo>
                <a:lnTo>
                  <a:pt x="3896" y="1540"/>
                </a:lnTo>
                <a:lnTo>
                  <a:pt x="3890" y="1540"/>
                </a:lnTo>
                <a:lnTo>
                  <a:pt x="3882" y="1542"/>
                </a:lnTo>
                <a:lnTo>
                  <a:pt x="3876" y="1542"/>
                </a:lnTo>
                <a:lnTo>
                  <a:pt x="3872" y="1544"/>
                </a:lnTo>
                <a:lnTo>
                  <a:pt x="3872" y="1546"/>
                </a:lnTo>
                <a:lnTo>
                  <a:pt x="3872" y="1550"/>
                </a:lnTo>
                <a:lnTo>
                  <a:pt x="3874" y="1554"/>
                </a:lnTo>
                <a:lnTo>
                  <a:pt x="3884" y="1566"/>
                </a:lnTo>
                <a:lnTo>
                  <a:pt x="3896" y="1572"/>
                </a:lnTo>
                <a:lnTo>
                  <a:pt x="3908" y="1578"/>
                </a:lnTo>
                <a:lnTo>
                  <a:pt x="3934" y="1584"/>
                </a:lnTo>
                <a:lnTo>
                  <a:pt x="3956" y="1590"/>
                </a:lnTo>
                <a:lnTo>
                  <a:pt x="3966" y="1596"/>
                </a:lnTo>
                <a:lnTo>
                  <a:pt x="3974" y="1602"/>
                </a:lnTo>
                <a:lnTo>
                  <a:pt x="3982" y="1610"/>
                </a:lnTo>
                <a:lnTo>
                  <a:pt x="3994" y="1616"/>
                </a:lnTo>
                <a:lnTo>
                  <a:pt x="4008" y="1620"/>
                </a:lnTo>
                <a:lnTo>
                  <a:pt x="4024" y="1626"/>
                </a:lnTo>
                <a:lnTo>
                  <a:pt x="4058" y="1634"/>
                </a:lnTo>
                <a:lnTo>
                  <a:pt x="4090" y="1644"/>
                </a:lnTo>
                <a:lnTo>
                  <a:pt x="4102" y="1648"/>
                </a:lnTo>
                <a:lnTo>
                  <a:pt x="4110" y="1648"/>
                </a:lnTo>
                <a:lnTo>
                  <a:pt x="4112" y="1646"/>
                </a:lnTo>
                <a:lnTo>
                  <a:pt x="4114" y="1644"/>
                </a:lnTo>
                <a:lnTo>
                  <a:pt x="4114" y="1638"/>
                </a:lnTo>
                <a:lnTo>
                  <a:pt x="4112" y="1630"/>
                </a:lnTo>
                <a:lnTo>
                  <a:pt x="4106" y="1620"/>
                </a:lnTo>
                <a:lnTo>
                  <a:pt x="4098" y="1610"/>
                </a:lnTo>
                <a:lnTo>
                  <a:pt x="4088" y="1600"/>
                </a:lnTo>
                <a:lnTo>
                  <a:pt x="4076" y="1588"/>
                </a:lnTo>
                <a:lnTo>
                  <a:pt x="4060" y="1578"/>
                </a:lnTo>
                <a:lnTo>
                  <a:pt x="4028" y="1556"/>
                </a:lnTo>
                <a:lnTo>
                  <a:pt x="4014" y="1546"/>
                </a:lnTo>
                <a:lnTo>
                  <a:pt x="4002" y="1536"/>
                </a:lnTo>
                <a:lnTo>
                  <a:pt x="3994" y="1528"/>
                </a:lnTo>
                <a:lnTo>
                  <a:pt x="3994" y="1526"/>
                </a:lnTo>
                <a:lnTo>
                  <a:pt x="3994" y="1522"/>
                </a:lnTo>
                <a:lnTo>
                  <a:pt x="3996" y="1520"/>
                </a:lnTo>
                <a:lnTo>
                  <a:pt x="3998" y="1520"/>
                </a:lnTo>
                <a:lnTo>
                  <a:pt x="4004" y="1522"/>
                </a:lnTo>
                <a:lnTo>
                  <a:pt x="4020" y="1534"/>
                </a:lnTo>
                <a:lnTo>
                  <a:pt x="4036" y="1544"/>
                </a:lnTo>
                <a:lnTo>
                  <a:pt x="4040" y="1546"/>
                </a:lnTo>
                <a:lnTo>
                  <a:pt x="4042" y="1544"/>
                </a:lnTo>
                <a:lnTo>
                  <a:pt x="4042" y="1542"/>
                </a:lnTo>
                <a:lnTo>
                  <a:pt x="4044" y="1540"/>
                </a:lnTo>
                <a:lnTo>
                  <a:pt x="4048" y="1540"/>
                </a:lnTo>
                <a:lnTo>
                  <a:pt x="4064" y="1552"/>
                </a:lnTo>
                <a:lnTo>
                  <a:pt x="4074" y="1560"/>
                </a:lnTo>
                <a:lnTo>
                  <a:pt x="4084" y="1568"/>
                </a:lnTo>
                <a:lnTo>
                  <a:pt x="4096" y="1574"/>
                </a:lnTo>
                <a:lnTo>
                  <a:pt x="4108" y="1576"/>
                </a:lnTo>
                <a:lnTo>
                  <a:pt x="4120" y="1580"/>
                </a:lnTo>
                <a:lnTo>
                  <a:pt x="4130" y="1586"/>
                </a:lnTo>
                <a:lnTo>
                  <a:pt x="4138" y="1594"/>
                </a:lnTo>
                <a:lnTo>
                  <a:pt x="4146" y="1602"/>
                </a:lnTo>
                <a:lnTo>
                  <a:pt x="4150" y="1610"/>
                </a:lnTo>
                <a:lnTo>
                  <a:pt x="4154" y="1612"/>
                </a:lnTo>
                <a:lnTo>
                  <a:pt x="4154" y="1610"/>
                </a:lnTo>
                <a:lnTo>
                  <a:pt x="4154" y="1600"/>
                </a:lnTo>
                <a:lnTo>
                  <a:pt x="4152" y="1590"/>
                </a:lnTo>
                <a:lnTo>
                  <a:pt x="4152" y="1586"/>
                </a:lnTo>
                <a:lnTo>
                  <a:pt x="4154" y="1584"/>
                </a:lnTo>
                <a:lnTo>
                  <a:pt x="4156" y="1586"/>
                </a:lnTo>
                <a:lnTo>
                  <a:pt x="4158" y="1586"/>
                </a:lnTo>
                <a:lnTo>
                  <a:pt x="4160" y="1584"/>
                </a:lnTo>
                <a:lnTo>
                  <a:pt x="4160" y="1576"/>
                </a:lnTo>
                <a:lnTo>
                  <a:pt x="4158" y="1564"/>
                </a:lnTo>
                <a:lnTo>
                  <a:pt x="4158" y="1548"/>
                </a:lnTo>
                <a:lnTo>
                  <a:pt x="4160" y="1552"/>
                </a:lnTo>
                <a:lnTo>
                  <a:pt x="4162" y="1556"/>
                </a:lnTo>
                <a:lnTo>
                  <a:pt x="4166" y="1556"/>
                </a:lnTo>
                <a:lnTo>
                  <a:pt x="4168" y="1554"/>
                </a:lnTo>
                <a:lnTo>
                  <a:pt x="4172" y="1544"/>
                </a:lnTo>
                <a:lnTo>
                  <a:pt x="4172" y="1532"/>
                </a:lnTo>
                <a:lnTo>
                  <a:pt x="4170" y="1524"/>
                </a:lnTo>
                <a:lnTo>
                  <a:pt x="4166" y="1522"/>
                </a:lnTo>
                <a:lnTo>
                  <a:pt x="4162" y="1520"/>
                </a:lnTo>
                <a:lnTo>
                  <a:pt x="4158" y="1520"/>
                </a:lnTo>
                <a:lnTo>
                  <a:pt x="4154" y="1520"/>
                </a:lnTo>
                <a:lnTo>
                  <a:pt x="4156" y="1516"/>
                </a:lnTo>
                <a:lnTo>
                  <a:pt x="4158" y="1510"/>
                </a:lnTo>
                <a:lnTo>
                  <a:pt x="4162" y="1504"/>
                </a:lnTo>
                <a:lnTo>
                  <a:pt x="4162" y="1500"/>
                </a:lnTo>
                <a:lnTo>
                  <a:pt x="4158" y="1498"/>
                </a:lnTo>
                <a:lnTo>
                  <a:pt x="4152" y="1498"/>
                </a:lnTo>
                <a:lnTo>
                  <a:pt x="4146" y="1496"/>
                </a:lnTo>
                <a:lnTo>
                  <a:pt x="4142" y="1494"/>
                </a:lnTo>
                <a:lnTo>
                  <a:pt x="4140" y="1492"/>
                </a:lnTo>
                <a:lnTo>
                  <a:pt x="4142" y="1486"/>
                </a:lnTo>
                <a:lnTo>
                  <a:pt x="4148" y="1478"/>
                </a:lnTo>
                <a:lnTo>
                  <a:pt x="4150" y="1474"/>
                </a:lnTo>
                <a:lnTo>
                  <a:pt x="4150" y="1468"/>
                </a:lnTo>
                <a:lnTo>
                  <a:pt x="4146" y="1464"/>
                </a:lnTo>
                <a:lnTo>
                  <a:pt x="4140" y="1460"/>
                </a:lnTo>
                <a:lnTo>
                  <a:pt x="4132" y="1456"/>
                </a:lnTo>
                <a:lnTo>
                  <a:pt x="4106" y="1446"/>
                </a:lnTo>
                <a:lnTo>
                  <a:pt x="4092" y="1438"/>
                </a:lnTo>
                <a:lnTo>
                  <a:pt x="4082" y="1430"/>
                </a:lnTo>
                <a:lnTo>
                  <a:pt x="4076" y="1420"/>
                </a:lnTo>
                <a:lnTo>
                  <a:pt x="4072" y="1408"/>
                </a:lnTo>
                <a:lnTo>
                  <a:pt x="4068" y="1400"/>
                </a:lnTo>
                <a:lnTo>
                  <a:pt x="4064" y="1394"/>
                </a:lnTo>
                <a:lnTo>
                  <a:pt x="4060" y="1390"/>
                </a:lnTo>
                <a:lnTo>
                  <a:pt x="4052" y="1390"/>
                </a:lnTo>
                <a:lnTo>
                  <a:pt x="4044" y="1392"/>
                </a:lnTo>
                <a:lnTo>
                  <a:pt x="4038" y="1392"/>
                </a:lnTo>
                <a:lnTo>
                  <a:pt x="4032" y="1390"/>
                </a:lnTo>
                <a:lnTo>
                  <a:pt x="4030" y="1388"/>
                </a:lnTo>
                <a:lnTo>
                  <a:pt x="4030" y="1384"/>
                </a:lnTo>
                <a:lnTo>
                  <a:pt x="4034" y="1380"/>
                </a:lnTo>
                <a:lnTo>
                  <a:pt x="4040" y="1378"/>
                </a:lnTo>
                <a:lnTo>
                  <a:pt x="4048" y="1376"/>
                </a:lnTo>
                <a:lnTo>
                  <a:pt x="4054" y="1374"/>
                </a:lnTo>
                <a:lnTo>
                  <a:pt x="4056" y="1372"/>
                </a:lnTo>
                <a:lnTo>
                  <a:pt x="4058" y="1370"/>
                </a:lnTo>
                <a:lnTo>
                  <a:pt x="4058" y="1368"/>
                </a:lnTo>
                <a:lnTo>
                  <a:pt x="4054" y="1360"/>
                </a:lnTo>
                <a:lnTo>
                  <a:pt x="4050" y="1354"/>
                </a:lnTo>
                <a:lnTo>
                  <a:pt x="4042" y="1344"/>
                </a:lnTo>
                <a:lnTo>
                  <a:pt x="4042" y="1342"/>
                </a:lnTo>
                <a:lnTo>
                  <a:pt x="4044" y="1342"/>
                </a:lnTo>
                <a:lnTo>
                  <a:pt x="4050" y="1344"/>
                </a:lnTo>
                <a:lnTo>
                  <a:pt x="4058" y="1344"/>
                </a:lnTo>
                <a:lnTo>
                  <a:pt x="4064" y="1342"/>
                </a:lnTo>
                <a:lnTo>
                  <a:pt x="4068" y="1340"/>
                </a:lnTo>
                <a:lnTo>
                  <a:pt x="4070" y="1336"/>
                </a:lnTo>
                <a:lnTo>
                  <a:pt x="4072" y="1332"/>
                </a:lnTo>
                <a:lnTo>
                  <a:pt x="4074" y="1332"/>
                </a:lnTo>
                <a:lnTo>
                  <a:pt x="4078" y="1334"/>
                </a:lnTo>
                <a:lnTo>
                  <a:pt x="4084" y="1342"/>
                </a:lnTo>
                <a:lnTo>
                  <a:pt x="4090" y="1350"/>
                </a:lnTo>
                <a:lnTo>
                  <a:pt x="4094" y="1354"/>
                </a:lnTo>
                <a:lnTo>
                  <a:pt x="4100" y="1356"/>
                </a:lnTo>
                <a:lnTo>
                  <a:pt x="4104" y="1356"/>
                </a:lnTo>
                <a:lnTo>
                  <a:pt x="4110" y="1356"/>
                </a:lnTo>
                <a:lnTo>
                  <a:pt x="4112" y="1360"/>
                </a:lnTo>
                <a:lnTo>
                  <a:pt x="4114" y="1364"/>
                </a:lnTo>
                <a:lnTo>
                  <a:pt x="4116" y="1370"/>
                </a:lnTo>
                <a:lnTo>
                  <a:pt x="4120" y="1374"/>
                </a:lnTo>
                <a:lnTo>
                  <a:pt x="4126" y="1376"/>
                </a:lnTo>
                <a:lnTo>
                  <a:pt x="4130" y="1378"/>
                </a:lnTo>
                <a:lnTo>
                  <a:pt x="4132" y="1380"/>
                </a:lnTo>
                <a:lnTo>
                  <a:pt x="4134" y="1384"/>
                </a:lnTo>
                <a:lnTo>
                  <a:pt x="4134" y="1388"/>
                </a:lnTo>
                <a:lnTo>
                  <a:pt x="4134" y="1394"/>
                </a:lnTo>
                <a:lnTo>
                  <a:pt x="4138" y="1398"/>
                </a:lnTo>
                <a:lnTo>
                  <a:pt x="4148" y="1410"/>
                </a:lnTo>
                <a:lnTo>
                  <a:pt x="4162" y="1424"/>
                </a:lnTo>
                <a:lnTo>
                  <a:pt x="4180" y="1434"/>
                </a:lnTo>
                <a:lnTo>
                  <a:pt x="4196" y="1442"/>
                </a:lnTo>
                <a:lnTo>
                  <a:pt x="4204" y="1444"/>
                </a:lnTo>
                <a:lnTo>
                  <a:pt x="4210" y="1446"/>
                </a:lnTo>
                <a:lnTo>
                  <a:pt x="4216" y="1444"/>
                </a:lnTo>
                <a:lnTo>
                  <a:pt x="4218" y="1440"/>
                </a:lnTo>
                <a:lnTo>
                  <a:pt x="4220" y="1434"/>
                </a:lnTo>
                <a:lnTo>
                  <a:pt x="4220" y="1426"/>
                </a:lnTo>
                <a:lnTo>
                  <a:pt x="4218" y="1416"/>
                </a:lnTo>
                <a:lnTo>
                  <a:pt x="4218" y="1408"/>
                </a:lnTo>
                <a:lnTo>
                  <a:pt x="4220" y="1404"/>
                </a:lnTo>
                <a:lnTo>
                  <a:pt x="4224" y="1400"/>
                </a:lnTo>
                <a:lnTo>
                  <a:pt x="4228" y="1396"/>
                </a:lnTo>
                <a:lnTo>
                  <a:pt x="4232" y="1396"/>
                </a:lnTo>
                <a:lnTo>
                  <a:pt x="4242" y="1394"/>
                </a:lnTo>
                <a:lnTo>
                  <a:pt x="4260" y="1394"/>
                </a:lnTo>
                <a:lnTo>
                  <a:pt x="4262" y="1394"/>
                </a:lnTo>
                <a:lnTo>
                  <a:pt x="4264" y="1392"/>
                </a:lnTo>
                <a:lnTo>
                  <a:pt x="4264" y="1390"/>
                </a:lnTo>
                <a:lnTo>
                  <a:pt x="4262" y="1386"/>
                </a:lnTo>
                <a:lnTo>
                  <a:pt x="4258" y="1378"/>
                </a:lnTo>
                <a:lnTo>
                  <a:pt x="4258" y="1374"/>
                </a:lnTo>
                <a:lnTo>
                  <a:pt x="4260" y="1372"/>
                </a:lnTo>
                <a:lnTo>
                  <a:pt x="4262" y="1370"/>
                </a:lnTo>
                <a:lnTo>
                  <a:pt x="4268" y="1368"/>
                </a:lnTo>
                <a:lnTo>
                  <a:pt x="4270" y="1366"/>
                </a:lnTo>
                <a:lnTo>
                  <a:pt x="4268" y="1360"/>
                </a:lnTo>
                <a:lnTo>
                  <a:pt x="4266" y="1358"/>
                </a:lnTo>
                <a:lnTo>
                  <a:pt x="4266" y="1356"/>
                </a:lnTo>
                <a:lnTo>
                  <a:pt x="4270" y="1352"/>
                </a:lnTo>
                <a:lnTo>
                  <a:pt x="4284" y="1346"/>
                </a:lnTo>
                <a:lnTo>
                  <a:pt x="4290" y="1340"/>
                </a:lnTo>
                <a:lnTo>
                  <a:pt x="4294" y="1334"/>
                </a:lnTo>
                <a:lnTo>
                  <a:pt x="4296" y="1330"/>
                </a:lnTo>
                <a:lnTo>
                  <a:pt x="4296" y="1324"/>
                </a:lnTo>
                <a:lnTo>
                  <a:pt x="4290" y="1312"/>
                </a:lnTo>
                <a:close/>
                <a:moveTo>
                  <a:pt x="3666" y="1230"/>
                </a:moveTo>
                <a:lnTo>
                  <a:pt x="3666" y="1230"/>
                </a:lnTo>
                <a:lnTo>
                  <a:pt x="3660" y="1240"/>
                </a:lnTo>
                <a:lnTo>
                  <a:pt x="3656" y="1250"/>
                </a:lnTo>
                <a:lnTo>
                  <a:pt x="3656" y="1258"/>
                </a:lnTo>
                <a:lnTo>
                  <a:pt x="3658" y="1266"/>
                </a:lnTo>
                <a:lnTo>
                  <a:pt x="3664" y="1272"/>
                </a:lnTo>
                <a:lnTo>
                  <a:pt x="3674" y="1278"/>
                </a:lnTo>
                <a:lnTo>
                  <a:pt x="3690" y="1280"/>
                </a:lnTo>
                <a:lnTo>
                  <a:pt x="3710" y="1280"/>
                </a:lnTo>
                <a:lnTo>
                  <a:pt x="3730" y="1278"/>
                </a:lnTo>
                <a:lnTo>
                  <a:pt x="3742" y="1274"/>
                </a:lnTo>
                <a:lnTo>
                  <a:pt x="3748" y="1268"/>
                </a:lnTo>
                <a:lnTo>
                  <a:pt x="3750" y="1262"/>
                </a:lnTo>
                <a:lnTo>
                  <a:pt x="3750" y="1252"/>
                </a:lnTo>
                <a:lnTo>
                  <a:pt x="3748" y="1244"/>
                </a:lnTo>
                <a:lnTo>
                  <a:pt x="3746" y="1234"/>
                </a:lnTo>
                <a:lnTo>
                  <a:pt x="3748" y="1226"/>
                </a:lnTo>
                <a:lnTo>
                  <a:pt x="3748" y="1220"/>
                </a:lnTo>
                <a:lnTo>
                  <a:pt x="3746" y="1216"/>
                </a:lnTo>
                <a:lnTo>
                  <a:pt x="3744" y="1212"/>
                </a:lnTo>
                <a:lnTo>
                  <a:pt x="3740" y="1210"/>
                </a:lnTo>
                <a:lnTo>
                  <a:pt x="3730" y="1206"/>
                </a:lnTo>
                <a:lnTo>
                  <a:pt x="3716" y="1204"/>
                </a:lnTo>
                <a:lnTo>
                  <a:pt x="3702" y="1204"/>
                </a:lnTo>
                <a:lnTo>
                  <a:pt x="3688" y="1208"/>
                </a:lnTo>
                <a:lnTo>
                  <a:pt x="3676" y="1218"/>
                </a:lnTo>
                <a:lnTo>
                  <a:pt x="3670" y="1222"/>
                </a:lnTo>
                <a:lnTo>
                  <a:pt x="3666" y="1230"/>
                </a:lnTo>
                <a:close/>
                <a:moveTo>
                  <a:pt x="3526" y="1508"/>
                </a:moveTo>
                <a:lnTo>
                  <a:pt x="3526" y="1508"/>
                </a:lnTo>
                <a:lnTo>
                  <a:pt x="3516" y="1498"/>
                </a:lnTo>
                <a:lnTo>
                  <a:pt x="3512" y="1496"/>
                </a:lnTo>
                <a:lnTo>
                  <a:pt x="3510" y="1498"/>
                </a:lnTo>
                <a:lnTo>
                  <a:pt x="3504" y="1500"/>
                </a:lnTo>
                <a:lnTo>
                  <a:pt x="3498" y="1502"/>
                </a:lnTo>
                <a:lnTo>
                  <a:pt x="3490" y="1500"/>
                </a:lnTo>
                <a:lnTo>
                  <a:pt x="3484" y="1496"/>
                </a:lnTo>
                <a:lnTo>
                  <a:pt x="3478" y="1490"/>
                </a:lnTo>
                <a:lnTo>
                  <a:pt x="3474" y="1478"/>
                </a:lnTo>
                <a:lnTo>
                  <a:pt x="3472" y="1470"/>
                </a:lnTo>
                <a:lnTo>
                  <a:pt x="3466" y="1464"/>
                </a:lnTo>
                <a:lnTo>
                  <a:pt x="3458" y="1458"/>
                </a:lnTo>
                <a:lnTo>
                  <a:pt x="3446" y="1452"/>
                </a:lnTo>
                <a:lnTo>
                  <a:pt x="3432" y="1446"/>
                </a:lnTo>
                <a:lnTo>
                  <a:pt x="3418" y="1438"/>
                </a:lnTo>
                <a:lnTo>
                  <a:pt x="3396" y="1420"/>
                </a:lnTo>
                <a:lnTo>
                  <a:pt x="3386" y="1414"/>
                </a:lnTo>
                <a:lnTo>
                  <a:pt x="3376" y="1408"/>
                </a:lnTo>
                <a:lnTo>
                  <a:pt x="3368" y="1408"/>
                </a:lnTo>
                <a:lnTo>
                  <a:pt x="3364" y="1408"/>
                </a:lnTo>
                <a:lnTo>
                  <a:pt x="3362" y="1412"/>
                </a:lnTo>
                <a:lnTo>
                  <a:pt x="3358" y="1414"/>
                </a:lnTo>
                <a:lnTo>
                  <a:pt x="3356" y="1416"/>
                </a:lnTo>
                <a:lnTo>
                  <a:pt x="3352" y="1414"/>
                </a:lnTo>
                <a:lnTo>
                  <a:pt x="3350" y="1414"/>
                </a:lnTo>
                <a:lnTo>
                  <a:pt x="3346" y="1408"/>
                </a:lnTo>
                <a:lnTo>
                  <a:pt x="3340" y="1400"/>
                </a:lnTo>
                <a:lnTo>
                  <a:pt x="3336" y="1390"/>
                </a:lnTo>
                <a:lnTo>
                  <a:pt x="3330" y="1382"/>
                </a:lnTo>
                <a:lnTo>
                  <a:pt x="3324" y="1378"/>
                </a:lnTo>
                <a:lnTo>
                  <a:pt x="3320" y="1376"/>
                </a:lnTo>
                <a:lnTo>
                  <a:pt x="3316" y="1376"/>
                </a:lnTo>
                <a:lnTo>
                  <a:pt x="3312" y="1378"/>
                </a:lnTo>
                <a:lnTo>
                  <a:pt x="3308" y="1380"/>
                </a:lnTo>
                <a:lnTo>
                  <a:pt x="3302" y="1390"/>
                </a:lnTo>
                <a:lnTo>
                  <a:pt x="3296" y="1402"/>
                </a:lnTo>
                <a:lnTo>
                  <a:pt x="3292" y="1416"/>
                </a:lnTo>
                <a:lnTo>
                  <a:pt x="3290" y="1434"/>
                </a:lnTo>
                <a:lnTo>
                  <a:pt x="3288" y="1450"/>
                </a:lnTo>
                <a:lnTo>
                  <a:pt x="3290" y="1466"/>
                </a:lnTo>
                <a:lnTo>
                  <a:pt x="3292" y="1480"/>
                </a:lnTo>
                <a:lnTo>
                  <a:pt x="3292" y="1488"/>
                </a:lnTo>
                <a:lnTo>
                  <a:pt x="3292" y="1492"/>
                </a:lnTo>
                <a:lnTo>
                  <a:pt x="3290" y="1496"/>
                </a:lnTo>
                <a:lnTo>
                  <a:pt x="3288" y="1500"/>
                </a:lnTo>
                <a:lnTo>
                  <a:pt x="3282" y="1506"/>
                </a:lnTo>
                <a:lnTo>
                  <a:pt x="3272" y="1510"/>
                </a:lnTo>
                <a:lnTo>
                  <a:pt x="3264" y="1514"/>
                </a:lnTo>
                <a:lnTo>
                  <a:pt x="3258" y="1518"/>
                </a:lnTo>
                <a:lnTo>
                  <a:pt x="3256" y="1522"/>
                </a:lnTo>
                <a:lnTo>
                  <a:pt x="3256" y="1524"/>
                </a:lnTo>
                <a:lnTo>
                  <a:pt x="3256" y="1528"/>
                </a:lnTo>
                <a:lnTo>
                  <a:pt x="3258" y="1534"/>
                </a:lnTo>
                <a:lnTo>
                  <a:pt x="3260" y="1536"/>
                </a:lnTo>
                <a:lnTo>
                  <a:pt x="3262" y="1536"/>
                </a:lnTo>
                <a:lnTo>
                  <a:pt x="3270" y="1536"/>
                </a:lnTo>
                <a:lnTo>
                  <a:pt x="3294" y="1532"/>
                </a:lnTo>
                <a:lnTo>
                  <a:pt x="3304" y="1530"/>
                </a:lnTo>
                <a:lnTo>
                  <a:pt x="3314" y="1530"/>
                </a:lnTo>
                <a:lnTo>
                  <a:pt x="3318" y="1532"/>
                </a:lnTo>
                <a:lnTo>
                  <a:pt x="3320" y="1534"/>
                </a:lnTo>
                <a:lnTo>
                  <a:pt x="3322" y="1536"/>
                </a:lnTo>
                <a:lnTo>
                  <a:pt x="3322" y="1542"/>
                </a:lnTo>
                <a:lnTo>
                  <a:pt x="3322" y="1550"/>
                </a:lnTo>
                <a:lnTo>
                  <a:pt x="3324" y="1558"/>
                </a:lnTo>
                <a:lnTo>
                  <a:pt x="3330" y="1562"/>
                </a:lnTo>
                <a:lnTo>
                  <a:pt x="3336" y="1566"/>
                </a:lnTo>
                <a:lnTo>
                  <a:pt x="3344" y="1566"/>
                </a:lnTo>
                <a:lnTo>
                  <a:pt x="3350" y="1564"/>
                </a:lnTo>
                <a:lnTo>
                  <a:pt x="3358" y="1560"/>
                </a:lnTo>
                <a:lnTo>
                  <a:pt x="3364" y="1550"/>
                </a:lnTo>
                <a:lnTo>
                  <a:pt x="3368" y="1542"/>
                </a:lnTo>
                <a:lnTo>
                  <a:pt x="3374" y="1538"/>
                </a:lnTo>
                <a:lnTo>
                  <a:pt x="3378" y="1534"/>
                </a:lnTo>
                <a:lnTo>
                  <a:pt x="3384" y="1534"/>
                </a:lnTo>
                <a:lnTo>
                  <a:pt x="3388" y="1534"/>
                </a:lnTo>
                <a:lnTo>
                  <a:pt x="3392" y="1530"/>
                </a:lnTo>
                <a:lnTo>
                  <a:pt x="3396" y="1526"/>
                </a:lnTo>
                <a:lnTo>
                  <a:pt x="3400" y="1518"/>
                </a:lnTo>
                <a:lnTo>
                  <a:pt x="3404" y="1508"/>
                </a:lnTo>
                <a:lnTo>
                  <a:pt x="3410" y="1502"/>
                </a:lnTo>
                <a:lnTo>
                  <a:pt x="3416" y="1500"/>
                </a:lnTo>
                <a:lnTo>
                  <a:pt x="3424" y="1500"/>
                </a:lnTo>
                <a:lnTo>
                  <a:pt x="3432" y="1502"/>
                </a:lnTo>
                <a:lnTo>
                  <a:pt x="3438" y="1506"/>
                </a:lnTo>
                <a:lnTo>
                  <a:pt x="3444" y="1512"/>
                </a:lnTo>
                <a:lnTo>
                  <a:pt x="3446" y="1518"/>
                </a:lnTo>
                <a:lnTo>
                  <a:pt x="3448" y="1524"/>
                </a:lnTo>
                <a:lnTo>
                  <a:pt x="3450" y="1528"/>
                </a:lnTo>
                <a:lnTo>
                  <a:pt x="3452" y="1530"/>
                </a:lnTo>
                <a:lnTo>
                  <a:pt x="3456" y="1530"/>
                </a:lnTo>
                <a:lnTo>
                  <a:pt x="3468" y="1532"/>
                </a:lnTo>
                <a:lnTo>
                  <a:pt x="3488" y="1534"/>
                </a:lnTo>
                <a:lnTo>
                  <a:pt x="3498" y="1536"/>
                </a:lnTo>
                <a:lnTo>
                  <a:pt x="3508" y="1538"/>
                </a:lnTo>
                <a:lnTo>
                  <a:pt x="3518" y="1536"/>
                </a:lnTo>
                <a:lnTo>
                  <a:pt x="3526" y="1534"/>
                </a:lnTo>
                <a:lnTo>
                  <a:pt x="3532" y="1528"/>
                </a:lnTo>
                <a:lnTo>
                  <a:pt x="3534" y="1522"/>
                </a:lnTo>
                <a:lnTo>
                  <a:pt x="3532" y="1516"/>
                </a:lnTo>
                <a:lnTo>
                  <a:pt x="3526" y="1508"/>
                </a:lnTo>
                <a:close/>
                <a:moveTo>
                  <a:pt x="3466" y="1576"/>
                </a:moveTo>
                <a:lnTo>
                  <a:pt x="3466" y="1576"/>
                </a:lnTo>
                <a:lnTo>
                  <a:pt x="3462" y="1574"/>
                </a:lnTo>
                <a:lnTo>
                  <a:pt x="3456" y="1572"/>
                </a:lnTo>
                <a:lnTo>
                  <a:pt x="3442" y="1574"/>
                </a:lnTo>
                <a:lnTo>
                  <a:pt x="3428" y="1578"/>
                </a:lnTo>
                <a:lnTo>
                  <a:pt x="3412" y="1584"/>
                </a:lnTo>
                <a:lnTo>
                  <a:pt x="3400" y="1594"/>
                </a:lnTo>
                <a:lnTo>
                  <a:pt x="3392" y="1604"/>
                </a:lnTo>
                <a:lnTo>
                  <a:pt x="3390" y="1608"/>
                </a:lnTo>
                <a:lnTo>
                  <a:pt x="3388" y="1614"/>
                </a:lnTo>
                <a:lnTo>
                  <a:pt x="3390" y="1620"/>
                </a:lnTo>
                <a:lnTo>
                  <a:pt x="3394" y="1624"/>
                </a:lnTo>
                <a:lnTo>
                  <a:pt x="3398" y="1628"/>
                </a:lnTo>
                <a:lnTo>
                  <a:pt x="3404" y="1630"/>
                </a:lnTo>
                <a:lnTo>
                  <a:pt x="3410" y="1630"/>
                </a:lnTo>
                <a:lnTo>
                  <a:pt x="3416" y="1628"/>
                </a:lnTo>
                <a:lnTo>
                  <a:pt x="3432" y="1622"/>
                </a:lnTo>
                <a:lnTo>
                  <a:pt x="3446" y="1614"/>
                </a:lnTo>
                <a:lnTo>
                  <a:pt x="3458" y="1602"/>
                </a:lnTo>
                <a:lnTo>
                  <a:pt x="3466" y="1592"/>
                </a:lnTo>
                <a:lnTo>
                  <a:pt x="3468" y="1586"/>
                </a:lnTo>
                <a:lnTo>
                  <a:pt x="3470" y="1582"/>
                </a:lnTo>
                <a:lnTo>
                  <a:pt x="3468" y="1578"/>
                </a:lnTo>
                <a:lnTo>
                  <a:pt x="3466" y="1576"/>
                </a:lnTo>
                <a:close/>
                <a:moveTo>
                  <a:pt x="3512" y="820"/>
                </a:moveTo>
                <a:lnTo>
                  <a:pt x="3512" y="820"/>
                </a:lnTo>
                <a:lnTo>
                  <a:pt x="3510" y="830"/>
                </a:lnTo>
                <a:lnTo>
                  <a:pt x="3512" y="836"/>
                </a:lnTo>
                <a:lnTo>
                  <a:pt x="3516" y="840"/>
                </a:lnTo>
                <a:lnTo>
                  <a:pt x="3528" y="844"/>
                </a:lnTo>
                <a:lnTo>
                  <a:pt x="3534" y="848"/>
                </a:lnTo>
                <a:lnTo>
                  <a:pt x="3536" y="850"/>
                </a:lnTo>
                <a:lnTo>
                  <a:pt x="3538" y="858"/>
                </a:lnTo>
                <a:lnTo>
                  <a:pt x="3538" y="862"/>
                </a:lnTo>
                <a:lnTo>
                  <a:pt x="3542" y="866"/>
                </a:lnTo>
                <a:lnTo>
                  <a:pt x="3546" y="872"/>
                </a:lnTo>
                <a:lnTo>
                  <a:pt x="3556" y="878"/>
                </a:lnTo>
                <a:lnTo>
                  <a:pt x="3568" y="882"/>
                </a:lnTo>
                <a:lnTo>
                  <a:pt x="3576" y="882"/>
                </a:lnTo>
                <a:lnTo>
                  <a:pt x="3582" y="880"/>
                </a:lnTo>
                <a:lnTo>
                  <a:pt x="3590" y="878"/>
                </a:lnTo>
                <a:lnTo>
                  <a:pt x="3604" y="872"/>
                </a:lnTo>
                <a:lnTo>
                  <a:pt x="3614" y="872"/>
                </a:lnTo>
                <a:lnTo>
                  <a:pt x="3628" y="872"/>
                </a:lnTo>
                <a:lnTo>
                  <a:pt x="3658" y="876"/>
                </a:lnTo>
                <a:lnTo>
                  <a:pt x="3686" y="876"/>
                </a:lnTo>
                <a:lnTo>
                  <a:pt x="3696" y="876"/>
                </a:lnTo>
                <a:lnTo>
                  <a:pt x="3702" y="872"/>
                </a:lnTo>
                <a:lnTo>
                  <a:pt x="3704" y="870"/>
                </a:lnTo>
                <a:lnTo>
                  <a:pt x="3704" y="868"/>
                </a:lnTo>
                <a:lnTo>
                  <a:pt x="3698" y="862"/>
                </a:lnTo>
                <a:lnTo>
                  <a:pt x="3684" y="846"/>
                </a:lnTo>
                <a:lnTo>
                  <a:pt x="3676" y="838"/>
                </a:lnTo>
                <a:lnTo>
                  <a:pt x="3666" y="830"/>
                </a:lnTo>
                <a:lnTo>
                  <a:pt x="3654" y="824"/>
                </a:lnTo>
                <a:lnTo>
                  <a:pt x="3642" y="818"/>
                </a:lnTo>
                <a:lnTo>
                  <a:pt x="3626" y="814"/>
                </a:lnTo>
                <a:lnTo>
                  <a:pt x="3606" y="814"/>
                </a:lnTo>
                <a:lnTo>
                  <a:pt x="3586" y="814"/>
                </a:lnTo>
                <a:lnTo>
                  <a:pt x="3568" y="812"/>
                </a:lnTo>
                <a:lnTo>
                  <a:pt x="3540" y="806"/>
                </a:lnTo>
                <a:lnTo>
                  <a:pt x="3528" y="806"/>
                </a:lnTo>
                <a:lnTo>
                  <a:pt x="3520" y="808"/>
                </a:lnTo>
                <a:lnTo>
                  <a:pt x="3518" y="808"/>
                </a:lnTo>
                <a:lnTo>
                  <a:pt x="3516" y="812"/>
                </a:lnTo>
                <a:lnTo>
                  <a:pt x="3512" y="820"/>
                </a:lnTo>
                <a:close/>
                <a:moveTo>
                  <a:pt x="3202" y="736"/>
                </a:moveTo>
                <a:lnTo>
                  <a:pt x="3202" y="736"/>
                </a:lnTo>
                <a:lnTo>
                  <a:pt x="3202" y="744"/>
                </a:lnTo>
                <a:lnTo>
                  <a:pt x="3202" y="748"/>
                </a:lnTo>
                <a:lnTo>
                  <a:pt x="3204" y="750"/>
                </a:lnTo>
                <a:lnTo>
                  <a:pt x="3212" y="752"/>
                </a:lnTo>
                <a:lnTo>
                  <a:pt x="3224" y="752"/>
                </a:lnTo>
                <a:lnTo>
                  <a:pt x="3266" y="752"/>
                </a:lnTo>
                <a:lnTo>
                  <a:pt x="3332" y="752"/>
                </a:lnTo>
                <a:lnTo>
                  <a:pt x="3366" y="750"/>
                </a:lnTo>
                <a:lnTo>
                  <a:pt x="3390" y="746"/>
                </a:lnTo>
                <a:lnTo>
                  <a:pt x="3406" y="740"/>
                </a:lnTo>
                <a:lnTo>
                  <a:pt x="3414" y="734"/>
                </a:lnTo>
                <a:lnTo>
                  <a:pt x="3420" y="730"/>
                </a:lnTo>
                <a:lnTo>
                  <a:pt x="3420" y="726"/>
                </a:lnTo>
                <a:lnTo>
                  <a:pt x="3422" y="726"/>
                </a:lnTo>
                <a:lnTo>
                  <a:pt x="3424" y="732"/>
                </a:lnTo>
                <a:lnTo>
                  <a:pt x="3426" y="736"/>
                </a:lnTo>
                <a:lnTo>
                  <a:pt x="3430" y="740"/>
                </a:lnTo>
                <a:lnTo>
                  <a:pt x="3444" y="746"/>
                </a:lnTo>
                <a:lnTo>
                  <a:pt x="3464" y="748"/>
                </a:lnTo>
                <a:lnTo>
                  <a:pt x="3486" y="750"/>
                </a:lnTo>
                <a:lnTo>
                  <a:pt x="3506" y="750"/>
                </a:lnTo>
                <a:lnTo>
                  <a:pt x="3524" y="746"/>
                </a:lnTo>
                <a:lnTo>
                  <a:pt x="3536" y="742"/>
                </a:lnTo>
                <a:lnTo>
                  <a:pt x="3540" y="738"/>
                </a:lnTo>
                <a:lnTo>
                  <a:pt x="3542" y="734"/>
                </a:lnTo>
                <a:lnTo>
                  <a:pt x="3544" y="728"/>
                </a:lnTo>
                <a:lnTo>
                  <a:pt x="3548" y="724"/>
                </a:lnTo>
                <a:lnTo>
                  <a:pt x="3554" y="722"/>
                </a:lnTo>
                <a:lnTo>
                  <a:pt x="3562" y="720"/>
                </a:lnTo>
                <a:lnTo>
                  <a:pt x="3566" y="718"/>
                </a:lnTo>
                <a:lnTo>
                  <a:pt x="3570" y="716"/>
                </a:lnTo>
                <a:lnTo>
                  <a:pt x="3568" y="714"/>
                </a:lnTo>
                <a:lnTo>
                  <a:pt x="3560" y="710"/>
                </a:lnTo>
                <a:lnTo>
                  <a:pt x="3554" y="706"/>
                </a:lnTo>
                <a:lnTo>
                  <a:pt x="3552" y="704"/>
                </a:lnTo>
                <a:lnTo>
                  <a:pt x="3552" y="700"/>
                </a:lnTo>
                <a:lnTo>
                  <a:pt x="3556" y="698"/>
                </a:lnTo>
                <a:lnTo>
                  <a:pt x="3560" y="694"/>
                </a:lnTo>
                <a:lnTo>
                  <a:pt x="3562" y="688"/>
                </a:lnTo>
                <a:lnTo>
                  <a:pt x="3564" y="682"/>
                </a:lnTo>
                <a:lnTo>
                  <a:pt x="3560" y="674"/>
                </a:lnTo>
                <a:lnTo>
                  <a:pt x="3554" y="668"/>
                </a:lnTo>
                <a:lnTo>
                  <a:pt x="3548" y="664"/>
                </a:lnTo>
                <a:lnTo>
                  <a:pt x="3540" y="660"/>
                </a:lnTo>
                <a:lnTo>
                  <a:pt x="3532" y="660"/>
                </a:lnTo>
                <a:lnTo>
                  <a:pt x="3516" y="658"/>
                </a:lnTo>
                <a:lnTo>
                  <a:pt x="3508" y="656"/>
                </a:lnTo>
                <a:lnTo>
                  <a:pt x="3502" y="652"/>
                </a:lnTo>
                <a:lnTo>
                  <a:pt x="3496" y="648"/>
                </a:lnTo>
                <a:lnTo>
                  <a:pt x="3486" y="646"/>
                </a:lnTo>
                <a:lnTo>
                  <a:pt x="3474" y="644"/>
                </a:lnTo>
                <a:lnTo>
                  <a:pt x="3460" y="644"/>
                </a:lnTo>
                <a:lnTo>
                  <a:pt x="3420" y="648"/>
                </a:lnTo>
                <a:lnTo>
                  <a:pt x="3366" y="654"/>
                </a:lnTo>
                <a:lnTo>
                  <a:pt x="3340" y="658"/>
                </a:lnTo>
                <a:lnTo>
                  <a:pt x="3324" y="664"/>
                </a:lnTo>
                <a:lnTo>
                  <a:pt x="3314" y="668"/>
                </a:lnTo>
                <a:lnTo>
                  <a:pt x="3308" y="672"/>
                </a:lnTo>
                <a:lnTo>
                  <a:pt x="3302" y="676"/>
                </a:lnTo>
                <a:lnTo>
                  <a:pt x="3298" y="678"/>
                </a:lnTo>
                <a:lnTo>
                  <a:pt x="3290" y="676"/>
                </a:lnTo>
                <a:lnTo>
                  <a:pt x="3276" y="672"/>
                </a:lnTo>
                <a:lnTo>
                  <a:pt x="3262" y="668"/>
                </a:lnTo>
                <a:lnTo>
                  <a:pt x="3250" y="666"/>
                </a:lnTo>
                <a:lnTo>
                  <a:pt x="3242" y="668"/>
                </a:lnTo>
                <a:lnTo>
                  <a:pt x="3236" y="670"/>
                </a:lnTo>
                <a:lnTo>
                  <a:pt x="3228" y="672"/>
                </a:lnTo>
                <a:lnTo>
                  <a:pt x="3222" y="672"/>
                </a:lnTo>
                <a:lnTo>
                  <a:pt x="3216" y="670"/>
                </a:lnTo>
                <a:lnTo>
                  <a:pt x="3206" y="664"/>
                </a:lnTo>
                <a:lnTo>
                  <a:pt x="3198" y="658"/>
                </a:lnTo>
                <a:lnTo>
                  <a:pt x="3194" y="658"/>
                </a:lnTo>
                <a:lnTo>
                  <a:pt x="3190" y="660"/>
                </a:lnTo>
                <a:lnTo>
                  <a:pt x="3190" y="664"/>
                </a:lnTo>
                <a:lnTo>
                  <a:pt x="3188" y="668"/>
                </a:lnTo>
                <a:lnTo>
                  <a:pt x="3186" y="672"/>
                </a:lnTo>
                <a:lnTo>
                  <a:pt x="3184" y="674"/>
                </a:lnTo>
                <a:lnTo>
                  <a:pt x="3178" y="672"/>
                </a:lnTo>
                <a:lnTo>
                  <a:pt x="3172" y="668"/>
                </a:lnTo>
                <a:lnTo>
                  <a:pt x="3170" y="664"/>
                </a:lnTo>
                <a:lnTo>
                  <a:pt x="3170" y="662"/>
                </a:lnTo>
                <a:lnTo>
                  <a:pt x="3170" y="658"/>
                </a:lnTo>
                <a:lnTo>
                  <a:pt x="3172" y="654"/>
                </a:lnTo>
                <a:lnTo>
                  <a:pt x="3170" y="650"/>
                </a:lnTo>
                <a:lnTo>
                  <a:pt x="3168" y="646"/>
                </a:lnTo>
                <a:lnTo>
                  <a:pt x="3162" y="638"/>
                </a:lnTo>
                <a:lnTo>
                  <a:pt x="3154" y="634"/>
                </a:lnTo>
                <a:lnTo>
                  <a:pt x="3146" y="630"/>
                </a:lnTo>
                <a:lnTo>
                  <a:pt x="3142" y="630"/>
                </a:lnTo>
                <a:lnTo>
                  <a:pt x="3136" y="632"/>
                </a:lnTo>
                <a:lnTo>
                  <a:pt x="3128" y="634"/>
                </a:lnTo>
                <a:lnTo>
                  <a:pt x="3126" y="632"/>
                </a:lnTo>
                <a:lnTo>
                  <a:pt x="3124" y="628"/>
                </a:lnTo>
                <a:lnTo>
                  <a:pt x="3124" y="624"/>
                </a:lnTo>
                <a:lnTo>
                  <a:pt x="3124" y="622"/>
                </a:lnTo>
                <a:lnTo>
                  <a:pt x="3130" y="620"/>
                </a:lnTo>
                <a:lnTo>
                  <a:pt x="3150" y="622"/>
                </a:lnTo>
                <a:lnTo>
                  <a:pt x="3170" y="622"/>
                </a:lnTo>
                <a:lnTo>
                  <a:pt x="3176" y="620"/>
                </a:lnTo>
                <a:lnTo>
                  <a:pt x="3176" y="618"/>
                </a:lnTo>
                <a:lnTo>
                  <a:pt x="3176" y="616"/>
                </a:lnTo>
                <a:lnTo>
                  <a:pt x="3174" y="610"/>
                </a:lnTo>
                <a:lnTo>
                  <a:pt x="3170" y="608"/>
                </a:lnTo>
                <a:lnTo>
                  <a:pt x="3156" y="604"/>
                </a:lnTo>
                <a:lnTo>
                  <a:pt x="3138" y="602"/>
                </a:lnTo>
                <a:lnTo>
                  <a:pt x="3130" y="598"/>
                </a:lnTo>
                <a:lnTo>
                  <a:pt x="3120" y="594"/>
                </a:lnTo>
                <a:lnTo>
                  <a:pt x="3100" y="584"/>
                </a:lnTo>
                <a:lnTo>
                  <a:pt x="3092" y="582"/>
                </a:lnTo>
                <a:lnTo>
                  <a:pt x="3084" y="580"/>
                </a:lnTo>
                <a:lnTo>
                  <a:pt x="3066" y="580"/>
                </a:lnTo>
                <a:lnTo>
                  <a:pt x="3042" y="584"/>
                </a:lnTo>
                <a:lnTo>
                  <a:pt x="3030" y="586"/>
                </a:lnTo>
                <a:lnTo>
                  <a:pt x="3022" y="582"/>
                </a:lnTo>
                <a:lnTo>
                  <a:pt x="3014" y="578"/>
                </a:lnTo>
                <a:lnTo>
                  <a:pt x="3008" y="574"/>
                </a:lnTo>
                <a:lnTo>
                  <a:pt x="2996" y="562"/>
                </a:lnTo>
                <a:lnTo>
                  <a:pt x="2990" y="560"/>
                </a:lnTo>
                <a:lnTo>
                  <a:pt x="2984" y="558"/>
                </a:lnTo>
                <a:lnTo>
                  <a:pt x="2974" y="560"/>
                </a:lnTo>
                <a:lnTo>
                  <a:pt x="2964" y="558"/>
                </a:lnTo>
                <a:lnTo>
                  <a:pt x="2938" y="556"/>
                </a:lnTo>
                <a:lnTo>
                  <a:pt x="2908" y="552"/>
                </a:lnTo>
                <a:lnTo>
                  <a:pt x="2876" y="550"/>
                </a:lnTo>
                <a:lnTo>
                  <a:pt x="2870" y="550"/>
                </a:lnTo>
                <a:lnTo>
                  <a:pt x="2866" y="552"/>
                </a:lnTo>
                <a:lnTo>
                  <a:pt x="2862" y="554"/>
                </a:lnTo>
                <a:lnTo>
                  <a:pt x="2860" y="558"/>
                </a:lnTo>
                <a:lnTo>
                  <a:pt x="2862" y="562"/>
                </a:lnTo>
                <a:lnTo>
                  <a:pt x="2864" y="568"/>
                </a:lnTo>
                <a:lnTo>
                  <a:pt x="2870" y="574"/>
                </a:lnTo>
                <a:lnTo>
                  <a:pt x="2878" y="582"/>
                </a:lnTo>
                <a:lnTo>
                  <a:pt x="2888" y="588"/>
                </a:lnTo>
                <a:lnTo>
                  <a:pt x="2896" y="592"/>
                </a:lnTo>
                <a:lnTo>
                  <a:pt x="2910" y="598"/>
                </a:lnTo>
                <a:lnTo>
                  <a:pt x="2920" y="602"/>
                </a:lnTo>
                <a:lnTo>
                  <a:pt x="2922" y="604"/>
                </a:lnTo>
                <a:lnTo>
                  <a:pt x="2924" y="610"/>
                </a:lnTo>
                <a:lnTo>
                  <a:pt x="2926" y="614"/>
                </a:lnTo>
                <a:lnTo>
                  <a:pt x="2930" y="618"/>
                </a:lnTo>
                <a:lnTo>
                  <a:pt x="2938" y="620"/>
                </a:lnTo>
                <a:lnTo>
                  <a:pt x="2948" y="620"/>
                </a:lnTo>
                <a:lnTo>
                  <a:pt x="2972" y="616"/>
                </a:lnTo>
                <a:lnTo>
                  <a:pt x="3000" y="610"/>
                </a:lnTo>
                <a:lnTo>
                  <a:pt x="3012" y="608"/>
                </a:lnTo>
                <a:lnTo>
                  <a:pt x="3020" y="610"/>
                </a:lnTo>
                <a:lnTo>
                  <a:pt x="3026" y="612"/>
                </a:lnTo>
                <a:lnTo>
                  <a:pt x="3030" y="616"/>
                </a:lnTo>
                <a:lnTo>
                  <a:pt x="3040" y="626"/>
                </a:lnTo>
                <a:lnTo>
                  <a:pt x="3046" y="634"/>
                </a:lnTo>
                <a:lnTo>
                  <a:pt x="3054" y="640"/>
                </a:lnTo>
                <a:lnTo>
                  <a:pt x="3060" y="644"/>
                </a:lnTo>
                <a:lnTo>
                  <a:pt x="3062" y="648"/>
                </a:lnTo>
                <a:lnTo>
                  <a:pt x="3064" y="650"/>
                </a:lnTo>
                <a:lnTo>
                  <a:pt x="3064" y="654"/>
                </a:lnTo>
                <a:lnTo>
                  <a:pt x="3060" y="662"/>
                </a:lnTo>
                <a:lnTo>
                  <a:pt x="3056" y="670"/>
                </a:lnTo>
                <a:lnTo>
                  <a:pt x="3050" y="678"/>
                </a:lnTo>
                <a:lnTo>
                  <a:pt x="3046" y="684"/>
                </a:lnTo>
                <a:lnTo>
                  <a:pt x="3046" y="690"/>
                </a:lnTo>
                <a:lnTo>
                  <a:pt x="3046" y="692"/>
                </a:lnTo>
                <a:lnTo>
                  <a:pt x="3050" y="694"/>
                </a:lnTo>
                <a:lnTo>
                  <a:pt x="3056" y="698"/>
                </a:lnTo>
                <a:lnTo>
                  <a:pt x="3058" y="704"/>
                </a:lnTo>
                <a:lnTo>
                  <a:pt x="3060" y="714"/>
                </a:lnTo>
                <a:lnTo>
                  <a:pt x="3060" y="720"/>
                </a:lnTo>
                <a:lnTo>
                  <a:pt x="3062" y="724"/>
                </a:lnTo>
                <a:lnTo>
                  <a:pt x="3068" y="730"/>
                </a:lnTo>
                <a:lnTo>
                  <a:pt x="3076" y="736"/>
                </a:lnTo>
                <a:lnTo>
                  <a:pt x="3086" y="740"/>
                </a:lnTo>
                <a:lnTo>
                  <a:pt x="3092" y="740"/>
                </a:lnTo>
                <a:lnTo>
                  <a:pt x="3096" y="740"/>
                </a:lnTo>
                <a:lnTo>
                  <a:pt x="3100" y="738"/>
                </a:lnTo>
                <a:lnTo>
                  <a:pt x="3104" y="736"/>
                </a:lnTo>
                <a:lnTo>
                  <a:pt x="3110" y="736"/>
                </a:lnTo>
                <a:lnTo>
                  <a:pt x="3120" y="738"/>
                </a:lnTo>
                <a:lnTo>
                  <a:pt x="3134" y="744"/>
                </a:lnTo>
                <a:lnTo>
                  <a:pt x="3142" y="746"/>
                </a:lnTo>
                <a:lnTo>
                  <a:pt x="3150" y="748"/>
                </a:lnTo>
                <a:lnTo>
                  <a:pt x="3164" y="748"/>
                </a:lnTo>
                <a:lnTo>
                  <a:pt x="3176" y="744"/>
                </a:lnTo>
                <a:lnTo>
                  <a:pt x="3186" y="738"/>
                </a:lnTo>
                <a:lnTo>
                  <a:pt x="3200" y="730"/>
                </a:lnTo>
                <a:lnTo>
                  <a:pt x="3202" y="730"/>
                </a:lnTo>
                <a:lnTo>
                  <a:pt x="3202" y="736"/>
                </a:lnTo>
                <a:close/>
                <a:moveTo>
                  <a:pt x="2978" y="738"/>
                </a:moveTo>
                <a:lnTo>
                  <a:pt x="2978" y="738"/>
                </a:lnTo>
                <a:lnTo>
                  <a:pt x="2992" y="738"/>
                </a:lnTo>
                <a:lnTo>
                  <a:pt x="3004" y="734"/>
                </a:lnTo>
                <a:lnTo>
                  <a:pt x="3008" y="728"/>
                </a:lnTo>
                <a:lnTo>
                  <a:pt x="3010" y="720"/>
                </a:lnTo>
                <a:lnTo>
                  <a:pt x="3008" y="710"/>
                </a:lnTo>
                <a:lnTo>
                  <a:pt x="3004" y="700"/>
                </a:lnTo>
                <a:lnTo>
                  <a:pt x="2996" y="688"/>
                </a:lnTo>
                <a:lnTo>
                  <a:pt x="2986" y="678"/>
                </a:lnTo>
                <a:lnTo>
                  <a:pt x="2974" y="668"/>
                </a:lnTo>
                <a:lnTo>
                  <a:pt x="2964" y="664"/>
                </a:lnTo>
                <a:lnTo>
                  <a:pt x="2952" y="660"/>
                </a:lnTo>
                <a:lnTo>
                  <a:pt x="2940" y="662"/>
                </a:lnTo>
                <a:lnTo>
                  <a:pt x="2928" y="664"/>
                </a:lnTo>
                <a:lnTo>
                  <a:pt x="2918" y="670"/>
                </a:lnTo>
                <a:lnTo>
                  <a:pt x="2908" y="676"/>
                </a:lnTo>
                <a:lnTo>
                  <a:pt x="2898" y="684"/>
                </a:lnTo>
                <a:lnTo>
                  <a:pt x="2888" y="698"/>
                </a:lnTo>
                <a:lnTo>
                  <a:pt x="2884" y="704"/>
                </a:lnTo>
                <a:lnTo>
                  <a:pt x="2882" y="708"/>
                </a:lnTo>
                <a:lnTo>
                  <a:pt x="2884" y="714"/>
                </a:lnTo>
                <a:lnTo>
                  <a:pt x="2886" y="718"/>
                </a:lnTo>
                <a:lnTo>
                  <a:pt x="2894" y="720"/>
                </a:lnTo>
                <a:lnTo>
                  <a:pt x="2904" y="722"/>
                </a:lnTo>
                <a:lnTo>
                  <a:pt x="2914" y="724"/>
                </a:lnTo>
                <a:lnTo>
                  <a:pt x="2924" y="726"/>
                </a:lnTo>
                <a:lnTo>
                  <a:pt x="2936" y="732"/>
                </a:lnTo>
                <a:lnTo>
                  <a:pt x="2950" y="736"/>
                </a:lnTo>
                <a:lnTo>
                  <a:pt x="2962" y="738"/>
                </a:lnTo>
                <a:lnTo>
                  <a:pt x="2978" y="738"/>
                </a:lnTo>
                <a:close/>
                <a:moveTo>
                  <a:pt x="3076" y="866"/>
                </a:moveTo>
                <a:lnTo>
                  <a:pt x="3076" y="866"/>
                </a:lnTo>
                <a:lnTo>
                  <a:pt x="3086" y="852"/>
                </a:lnTo>
                <a:lnTo>
                  <a:pt x="3098" y="840"/>
                </a:lnTo>
                <a:lnTo>
                  <a:pt x="3118" y="818"/>
                </a:lnTo>
                <a:lnTo>
                  <a:pt x="3126" y="810"/>
                </a:lnTo>
                <a:lnTo>
                  <a:pt x="3128" y="806"/>
                </a:lnTo>
                <a:lnTo>
                  <a:pt x="3128" y="802"/>
                </a:lnTo>
                <a:lnTo>
                  <a:pt x="3128" y="798"/>
                </a:lnTo>
                <a:lnTo>
                  <a:pt x="3126" y="794"/>
                </a:lnTo>
                <a:lnTo>
                  <a:pt x="3122" y="792"/>
                </a:lnTo>
                <a:lnTo>
                  <a:pt x="3114" y="790"/>
                </a:lnTo>
                <a:lnTo>
                  <a:pt x="3102" y="786"/>
                </a:lnTo>
                <a:lnTo>
                  <a:pt x="3090" y="784"/>
                </a:lnTo>
                <a:lnTo>
                  <a:pt x="3084" y="786"/>
                </a:lnTo>
                <a:lnTo>
                  <a:pt x="3076" y="788"/>
                </a:lnTo>
                <a:lnTo>
                  <a:pt x="3066" y="790"/>
                </a:lnTo>
                <a:lnTo>
                  <a:pt x="3058" y="790"/>
                </a:lnTo>
                <a:lnTo>
                  <a:pt x="3050" y="786"/>
                </a:lnTo>
                <a:lnTo>
                  <a:pt x="3034" y="778"/>
                </a:lnTo>
                <a:lnTo>
                  <a:pt x="3026" y="776"/>
                </a:lnTo>
                <a:lnTo>
                  <a:pt x="3016" y="774"/>
                </a:lnTo>
                <a:lnTo>
                  <a:pt x="3006" y="772"/>
                </a:lnTo>
                <a:lnTo>
                  <a:pt x="2994" y="774"/>
                </a:lnTo>
                <a:lnTo>
                  <a:pt x="2958" y="780"/>
                </a:lnTo>
                <a:lnTo>
                  <a:pt x="2940" y="784"/>
                </a:lnTo>
                <a:lnTo>
                  <a:pt x="2932" y="788"/>
                </a:lnTo>
                <a:lnTo>
                  <a:pt x="2928" y="792"/>
                </a:lnTo>
                <a:lnTo>
                  <a:pt x="2928" y="796"/>
                </a:lnTo>
                <a:lnTo>
                  <a:pt x="2932" y="802"/>
                </a:lnTo>
                <a:lnTo>
                  <a:pt x="2932" y="804"/>
                </a:lnTo>
                <a:lnTo>
                  <a:pt x="2928" y="804"/>
                </a:lnTo>
                <a:lnTo>
                  <a:pt x="2918" y="804"/>
                </a:lnTo>
                <a:lnTo>
                  <a:pt x="2916" y="806"/>
                </a:lnTo>
                <a:lnTo>
                  <a:pt x="2914" y="808"/>
                </a:lnTo>
                <a:lnTo>
                  <a:pt x="2910" y="822"/>
                </a:lnTo>
                <a:lnTo>
                  <a:pt x="2910" y="846"/>
                </a:lnTo>
                <a:lnTo>
                  <a:pt x="2910" y="860"/>
                </a:lnTo>
                <a:lnTo>
                  <a:pt x="2912" y="872"/>
                </a:lnTo>
                <a:lnTo>
                  <a:pt x="2916" y="880"/>
                </a:lnTo>
                <a:lnTo>
                  <a:pt x="2920" y="888"/>
                </a:lnTo>
                <a:lnTo>
                  <a:pt x="2928" y="900"/>
                </a:lnTo>
                <a:lnTo>
                  <a:pt x="2930" y="906"/>
                </a:lnTo>
                <a:lnTo>
                  <a:pt x="2930" y="916"/>
                </a:lnTo>
                <a:lnTo>
                  <a:pt x="2930" y="924"/>
                </a:lnTo>
                <a:lnTo>
                  <a:pt x="2932" y="928"/>
                </a:lnTo>
                <a:lnTo>
                  <a:pt x="2936" y="930"/>
                </a:lnTo>
                <a:lnTo>
                  <a:pt x="2942" y="930"/>
                </a:lnTo>
                <a:lnTo>
                  <a:pt x="2956" y="928"/>
                </a:lnTo>
                <a:lnTo>
                  <a:pt x="2964" y="930"/>
                </a:lnTo>
                <a:lnTo>
                  <a:pt x="2974" y="934"/>
                </a:lnTo>
                <a:lnTo>
                  <a:pt x="2978" y="936"/>
                </a:lnTo>
                <a:lnTo>
                  <a:pt x="2980" y="934"/>
                </a:lnTo>
                <a:lnTo>
                  <a:pt x="2986" y="918"/>
                </a:lnTo>
                <a:lnTo>
                  <a:pt x="2988" y="914"/>
                </a:lnTo>
                <a:lnTo>
                  <a:pt x="2992" y="910"/>
                </a:lnTo>
                <a:lnTo>
                  <a:pt x="2998" y="908"/>
                </a:lnTo>
                <a:lnTo>
                  <a:pt x="3000" y="906"/>
                </a:lnTo>
                <a:lnTo>
                  <a:pt x="3002" y="902"/>
                </a:lnTo>
                <a:lnTo>
                  <a:pt x="3000" y="896"/>
                </a:lnTo>
                <a:lnTo>
                  <a:pt x="2996" y="888"/>
                </a:lnTo>
                <a:lnTo>
                  <a:pt x="2994" y="882"/>
                </a:lnTo>
                <a:lnTo>
                  <a:pt x="2994" y="880"/>
                </a:lnTo>
                <a:lnTo>
                  <a:pt x="2996" y="878"/>
                </a:lnTo>
                <a:lnTo>
                  <a:pt x="2998" y="876"/>
                </a:lnTo>
                <a:lnTo>
                  <a:pt x="3010" y="878"/>
                </a:lnTo>
                <a:lnTo>
                  <a:pt x="3022" y="880"/>
                </a:lnTo>
                <a:lnTo>
                  <a:pt x="3038" y="880"/>
                </a:lnTo>
                <a:lnTo>
                  <a:pt x="3052" y="880"/>
                </a:lnTo>
                <a:lnTo>
                  <a:pt x="3060" y="878"/>
                </a:lnTo>
                <a:lnTo>
                  <a:pt x="3066" y="876"/>
                </a:lnTo>
                <a:lnTo>
                  <a:pt x="3072" y="872"/>
                </a:lnTo>
                <a:lnTo>
                  <a:pt x="3076" y="866"/>
                </a:lnTo>
                <a:close/>
                <a:moveTo>
                  <a:pt x="2888" y="892"/>
                </a:moveTo>
                <a:lnTo>
                  <a:pt x="2888" y="892"/>
                </a:lnTo>
                <a:lnTo>
                  <a:pt x="2884" y="884"/>
                </a:lnTo>
                <a:lnTo>
                  <a:pt x="2880" y="882"/>
                </a:lnTo>
                <a:lnTo>
                  <a:pt x="2876" y="882"/>
                </a:lnTo>
                <a:lnTo>
                  <a:pt x="2872" y="884"/>
                </a:lnTo>
                <a:lnTo>
                  <a:pt x="2868" y="886"/>
                </a:lnTo>
                <a:lnTo>
                  <a:pt x="2864" y="888"/>
                </a:lnTo>
                <a:lnTo>
                  <a:pt x="2858" y="884"/>
                </a:lnTo>
                <a:lnTo>
                  <a:pt x="2852" y="876"/>
                </a:lnTo>
                <a:lnTo>
                  <a:pt x="2846" y="868"/>
                </a:lnTo>
                <a:lnTo>
                  <a:pt x="2838" y="862"/>
                </a:lnTo>
                <a:lnTo>
                  <a:pt x="2824" y="854"/>
                </a:lnTo>
                <a:lnTo>
                  <a:pt x="2820" y="850"/>
                </a:lnTo>
                <a:lnTo>
                  <a:pt x="2820" y="848"/>
                </a:lnTo>
                <a:lnTo>
                  <a:pt x="2826" y="846"/>
                </a:lnTo>
                <a:lnTo>
                  <a:pt x="2838" y="842"/>
                </a:lnTo>
                <a:lnTo>
                  <a:pt x="2850" y="838"/>
                </a:lnTo>
                <a:lnTo>
                  <a:pt x="2856" y="836"/>
                </a:lnTo>
                <a:lnTo>
                  <a:pt x="2856" y="832"/>
                </a:lnTo>
                <a:lnTo>
                  <a:pt x="2852" y="830"/>
                </a:lnTo>
                <a:lnTo>
                  <a:pt x="2848" y="828"/>
                </a:lnTo>
                <a:lnTo>
                  <a:pt x="2846" y="826"/>
                </a:lnTo>
                <a:lnTo>
                  <a:pt x="2846" y="822"/>
                </a:lnTo>
                <a:lnTo>
                  <a:pt x="2852" y="818"/>
                </a:lnTo>
                <a:lnTo>
                  <a:pt x="2860" y="814"/>
                </a:lnTo>
                <a:lnTo>
                  <a:pt x="2862" y="808"/>
                </a:lnTo>
                <a:lnTo>
                  <a:pt x="2862" y="804"/>
                </a:lnTo>
                <a:lnTo>
                  <a:pt x="2856" y="800"/>
                </a:lnTo>
                <a:lnTo>
                  <a:pt x="2848" y="798"/>
                </a:lnTo>
                <a:lnTo>
                  <a:pt x="2838" y="796"/>
                </a:lnTo>
                <a:lnTo>
                  <a:pt x="2824" y="798"/>
                </a:lnTo>
                <a:lnTo>
                  <a:pt x="2810" y="802"/>
                </a:lnTo>
                <a:lnTo>
                  <a:pt x="2796" y="806"/>
                </a:lnTo>
                <a:lnTo>
                  <a:pt x="2782" y="806"/>
                </a:lnTo>
                <a:lnTo>
                  <a:pt x="2770" y="804"/>
                </a:lnTo>
                <a:lnTo>
                  <a:pt x="2760" y="800"/>
                </a:lnTo>
                <a:lnTo>
                  <a:pt x="2750" y="796"/>
                </a:lnTo>
                <a:lnTo>
                  <a:pt x="2740" y="794"/>
                </a:lnTo>
                <a:lnTo>
                  <a:pt x="2728" y="794"/>
                </a:lnTo>
                <a:lnTo>
                  <a:pt x="2718" y="798"/>
                </a:lnTo>
                <a:lnTo>
                  <a:pt x="2694" y="808"/>
                </a:lnTo>
                <a:lnTo>
                  <a:pt x="2686" y="812"/>
                </a:lnTo>
                <a:lnTo>
                  <a:pt x="2680" y="818"/>
                </a:lnTo>
                <a:lnTo>
                  <a:pt x="2676" y="822"/>
                </a:lnTo>
                <a:lnTo>
                  <a:pt x="2678" y="826"/>
                </a:lnTo>
                <a:lnTo>
                  <a:pt x="2682" y="832"/>
                </a:lnTo>
                <a:lnTo>
                  <a:pt x="2694" y="838"/>
                </a:lnTo>
                <a:lnTo>
                  <a:pt x="2702" y="840"/>
                </a:lnTo>
                <a:lnTo>
                  <a:pt x="2712" y="846"/>
                </a:lnTo>
                <a:lnTo>
                  <a:pt x="2718" y="850"/>
                </a:lnTo>
                <a:lnTo>
                  <a:pt x="2724" y="856"/>
                </a:lnTo>
                <a:lnTo>
                  <a:pt x="2726" y="862"/>
                </a:lnTo>
                <a:lnTo>
                  <a:pt x="2724" y="866"/>
                </a:lnTo>
                <a:lnTo>
                  <a:pt x="2722" y="872"/>
                </a:lnTo>
                <a:lnTo>
                  <a:pt x="2716" y="876"/>
                </a:lnTo>
                <a:lnTo>
                  <a:pt x="2710" y="880"/>
                </a:lnTo>
                <a:lnTo>
                  <a:pt x="2704" y="882"/>
                </a:lnTo>
                <a:lnTo>
                  <a:pt x="2698" y="882"/>
                </a:lnTo>
                <a:lnTo>
                  <a:pt x="2688" y="880"/>
                </a:lnTo>
                <a:lnTo>
                  <a:pt x="2678" y="874"/>
                </a:lnTo>
                <a:lnTo>
                  <a:pt x="2668" y="866"/>
                </a:lnTo>
                <a:lnTo>
                  <a:pt x="2660" y="860"/>
                </a:lnTo>
                <a:lnTo>
                  <a:pt x="2650" y="856"/>
                </a:lnTo>
                <a:lnTo>
                  <a:pt x="2646" y="856"/>
                </a:lnTo>
                <a:lnTo>
                  <a:pt x="2642" y="858"/>
                </a:lnTo>
                <a:lnTo>
                  <a:pt x="2636" y="860"/>
                </a:lnTo>
                <a:lnTo>
                  <a:pt x="2632" y="864"/>
                </a:lnTo>
                <a:lnTo>
                  <a:pt x="2630" y="872"/>
                </a:lnTo>
                <a:lnTo>
                  <a:pt x="2632" y="880"/>
                </a:lnTo>
                <a:lnTo>
                  <a:pt x="2636" y="888"/>
                </a:lnTo>
                <a:lnTo>
                  <a:pt x="2646" y="896"/>
                </a:lnTo>
                <a:lnTo>
                  <a:pt x="2656" y="904"/>
                </a:lnTo>
                <a:lnTo>
                  <a:pt x="2672" y="912"/>
                </a:lnTo>
                <a:lnTo>
                  <a:pt x="2688" y="918"/>
                </a:lnTo>
                <a:lnTo>
                  <a:pt x="2704" y="924"/>
                </a:lnTo>
                <a:lnTo>
                  <a:pt x="2722" y="932"/>
                </a:lnTo>
                <a:lnTo>
                  <a:pt x="2734" y="940"/>
                </a:lnTo>
                <a:lnTo>
                  <a:pt x="2746" y="952"/>
                </a:lnTo>
                <a:lnTo>
                  <a:pt x="2756" y="962"/>
                </a:lnTo>
                <a:lnTo>
                  <a:pt x="2772" y="982"/>
                </a:lnTo>
                <a:lnTo>
                  <a:pt x="2782" y="988"/>
                </a:lnTo>
                <a:lnTo>
                  <a:pt x="2792" y="992"/>
                </a:lnTo>
                <a:lnTo>
                  <a:pt x="2800" y="992"/>
                </a:lnTo>
                <a:lnTo>
                  <a:pt x="2806" y="988"/>
                </a:lnTo>
                <a:lnTo>
                  <a:pt x="2810" y="984"/>
                </a:lnTo>
                <a:lnTo>
                  <a:pt x="2810" y="978"/>
                </a:lnTo>
                <a:lnTo>
                  <a:pt x="2812" y="972"/>
                </a:lnTo>
                <a:lnTo>
                  <a:pt x="2814" y="966"/>
                </a:lnTo>
                <a:lnTo>
                  <a:pt x="2816" y="964"/>
                </a:lnTo>
                <a:lnTo>
                  <a:pt x="2822" y="964"/>
                </a:lnTo>
                <a:lnTo>
                  <a:pt x="2830" y="966"/>
                </a:lnTo>
                <a:lnTo>
                  <a:pt x="2840" y="966"/>
                </a:lnTo>
                <a:lnTo>
                  <a:pt x="2850" y="964"/>
                </a:lnTo>
                <a:lnTo>
                  <a:pt x="2860" y="960"/>
                </a:lnTo>
                <a:lnTo>
                  <a:pt x="2868" y="956"/>
                </a:lnTo>
                <a:lnTo>
                  <a:pt x="2876" y="948"/>
                </a:lnTo>
                <a:lnTo>
                  <a:pt x="2880" y="940"/>
                </a:lnTo>
                <a:lnTo>
                  <a:pt x="2882" y="932"/>
                </a:lnTo>
                <a:lnTo>
                  <a:pt x="2882" y="922"/>
                </a:lnTo>
                <a:lnTo>
                  <a:pt x="2884" y="918"/>
                </a:lnTo>
                <a:lnTo>
                  <a:pt x="2888" y="910"/>
                </a:lnTo>
                <a:lnTo>
                  <a:pt x="2888" y="908"/>
                </a:lnTo>
                <a:lnTo>
                  <a:pt x="2890" y="904"/>
                </a:lnTo>
                <a:lnTo>
                  <a:pt x="2890" y="900"/>
                </a:lnTo>
                <a:lnTo>
                  <a:pt x="2888" y="892"/>
                </a:lnTo>
                <a:close/>
                <a:moveTo>
                  <a:pt x="2794" y="1126"/>
                </a:moveTo>
                <a:lnTo>
                  <a:pt x="2794" y="1126"/>
                </a:lnTo>
                <a:lnTo>
                  <a:pt x="2784" y="1136"/>
                </a:lnTo>
                <a:lnTo>
                  <a:pt x="2776" y="1142"/>
                </a:lnTo>
                <a:lnTo>
                  <a:pt x="2768" y="1146"/>
                </a:lnTo>
                <a:lnTo>
                  <a:pt x="2760" y="1148"/>
                </a:lnTo>
                <a:lnTo>
                  <a:pt x="2756" y="1150"/>
                </a:lnTo>
                <a:lnTo>
                  <a:pt x="2754" y="1152"/>
                </a:lnTo>
                <a:lnTo>
                  <a:pt x="2756" y="1154"/>
                </a:lnTo>
                <a:lnTo>
                  <a:pt x="2762" y="1162"/>
                </a:lnTo>
                <a:lnTo>
                  <a:pt x="2772" y="1168"/>
                </a:lnTo>
                <a:lnTo>
                  <a:pt x="2786" y="1172"/>
                </a:lnTo>
                <a:lnTo>
                  <a:pt x="2826" y="1180"/>
                </a:lnTo>
                <a:lnTo>
                  <a:pt x="2836" y="1182"/>
                </a:lnTo>
                <a:lnTo>
                  <a:pt x="2848" y="1186"/>
                </a:lnTo>
                <a:lnTo>
                  <a:pt x="2864" y="1194"/>
                </a:lnTo>
                <a:lnTo>
                  <a:pt x="2872" y="1196"/>
                </a:lnTo>
                <a:lnTo>
                  <a:pt x="2880" y="1196"/>
                </a:lnTo>
                <a:lnTo>
                  <a:pt x="2888" y="1194"/>
                </a:lnTo>
                <a:lnTo>
                  <a:pt x="2896" y="1190"/>
                </a:lnTo>
                <a:lnTo>
                  <a:pt x="2902" y="1184"/>
                </a:lnTo>
                <a:lnTo>
                  <a:pt x="2908" y="1182"/>
                </a:lnTo>
                <a:lnTo>
                  <a:pt x="2916" y="1180"/>
                </a:lnTo>
                <a:lnTo>
                  <a:pt x="2924" y="1180"/>
                </a:lnTo>
                <a:lnTo>
                  <a:pt x="2926" y="1176"/>
                </a:lnTo>
                <a:lnTo>
                  <a:pt x="2930" y="1172"/>
                </a:lnTo>
                <a:lnTo>
                  <a:pt x="2932" y="1166"/>
                </a:lnTo>
                <a:lnTo>
                  <a:pt x="2932" y="1164"/>
                </a:lnTo>
                <a:lnTo>
                  <a:pt x="2928" y="1164"/>
                </a:lnTo>
                <a:lnTo>
                  <a:pt x="2922" y="1164"/>
                </a:lnTo>
                <a:lnTo>
                  <a:pt x="2916" y="1162"/>
                </a:lnTo>
                <a:lnTo>
                  <a:pt x="2910" y="1158"/>
                </a:lnTo>
                <a:lnTo>
                  <a:pt x="2904" y="1150"/>
                </a:lnTo>
                <a:lnTo>
                  <a:pt x="2900" y="1142"/>
                </a:lnTo>
                <a:lnTo>
                  <a:pt x="2896" y="1138"/>
                </a:lnTo>
                <a:lnTo>
                  <a:pt x="2892" y="1136"/>
                </a:lnTo>
                <a:lnTo>
                  <a:pt x="2888" y="1134"/>
                </a:lnTo>
                <a:lnTo>
                  <a:pt x="2876" y="1130"/>
                </a:lnTo>
                <a:lnTo>
                  <a:pt x="2868" y="1124"/>
                </a:lnTo>
                <a:lnTo>
                  <a:pt x="2858" y="1114"/>
                </a:lnTo>
                <a:lnTo>
                  <a:pt x="2848" y="1102"/>
                </a:lnTo>
                <a:lnTo>
                  <a:pt x="2838" y="1096"/>
                </a:lnTo>
                <a:lnTo>
                  <a:pt x="2830" y="1094"/>
                </a:lnTo>
                <a:lnTo>
                  <a:pt x="2822" y="1094"/>
                </a:lnTo>
                <a:lnTo>
                  <a:pt x="2816" y="1098"/>
                </a:lnTo>
                <a:lnTo>
                  <a:pt x="2808" y="1104"/>
                </a:lnTo>
                <a:lnTo>
                  <a:pt x="2794" y="1126"/>
                </a:lnTo>
                <a:close/>
                <a:moveTo>
                  <a:pt x="2544" y="400"/>
                </a:moveTo>
                <a:lnTo>
                  <a:pt x="2544" y="400"/>
                </a:lnTo>
                <a:lnTo>
                  <a:pt x="2544" y="408"/>
                </a:lnTo>
                <a:lnTo>
                  <a:pt x="2546" y="410"/>
                </a:lnTo>
                <a:lnTo>
                  <a:pt x="2550" y="408"/>
                </a:lnTo>
                <a:lnTo>
                  <a:pt x="2554" y="406"/>
                </a:lnTo>
                <a:lnTo>
                  <a:pt x="2560" y="404"/>
                </a:lnTo>
                <a:lnTo>
                  <a:pt x="2566" y="402"/>
                </a:lnTo>
                <a:lnTo>
                  <a:pt x="2572" y="406"/>
                </a:lnTo>
                <a:lnTo>
                  <a:pt x="2580" y="412"/>
                </a:lnTo>
                <a:lnTo>
                  <a:pt x="2586" y="422"/>
                </a:lnTo>
                <a:lnTo>
                  <a:pt x="2586" y="426"/>
                </a:lnTo>
                <a:lnTo>
                  <a:pt x="2582" y="428"/>
                </a:lnTo>
                <a:lnTo>
                  <a:pt x="2576" y="428"/>
                </a:lnTo>
                <a:lnTo>
                  <a:pt x="2558" y="428"/>
                </a:lnTo>
                <a:lnTo>
                  <a:pt x="2548" y="428"/>
                </a:lnTo>
                <a:lnTo>
                  <a:pt x="2540" y="430"/>
                </a:lnTo>
                <a:lnTo>
                  <a:pt x="2538" y="432"/>
                </a:lnTo>
                <a:lnTo>
                  <a:pt x="2538" y="436"/>
                </a:lnTo>
                <a:lnTo>
                  <a:pt x="2538" y="442"/>
                </a:lnTo>
                <a:lnTo>
                  <a:pt x="2542" y="446"/>
                </a:lnTo>
                <a:lnTo>
                  <a:pt x="2550" y="450"/>
                </a:lnTo>
                <a:lnTo>
                  <a:pt x="2560" y="452"/>
                </a:lnTo>
                <a:lnTo>
                  <a:pt x="2574" y="450"/>
                </a:lnTo>
                <a:lnTo>
                  <a:pt x="2592" y="446"/>
                </a:lnTo>
                <a:lnTo>
                  <a:pt x="2612" y="442"/>
                </a:lnTo>
                <a:lnTo>
                  <a:pt x="2622" y="440"/>
                </a:lnTo>
                <a:lnTo>
                  <a:pt x="2628" y="442"/>
                </a:lnTo>
                <a:lnTo>
                  <a:pt x="2628" y="444"/>
                </a:lnTo>
                <a:lnTo>
                  <a:pt x="2630" y="448"/>
                </a:lnTo>
                <a:lnTo>
                  <a:pt x="2634" y="450"/>
                </a:lnTo>
                <a:lnTo>
                  <a:pt x="2644" y="452"/>
                </a:lnTo>
                <a:lnTo>
                  <a:pt x="2660" y="450"/>
                </a:lnTo>
                <a:lnTo>
                  <a:pt x="2670" y="450"/>
                </a:lnTo>
                <a:lnTo>
                  <a:pt x="2678" y="450"/>
                </a:lnTo>
                <a:lnTo>
                  <a:pt x="2684" y="452"/>
                </a:lnTo>
                <a:lnTo>
                  <a:pt x="2688" y="454"/>
                </a:lnTo>
                <a:lnTo>
                  <a:pt x="2696" y="462"/>
                </a:lnTo>
                <a:lnTo>
                  <a:pt x="2700" y="470"/>
                </a:lnTo>
                <a:lnTo>
                  <a:pt x="2708" y="478"/>
                </a:lnTo>
                <a:lnTo>
                  <a:pt x="2712" y="482"/>
                </a:lnTo>
                <a:lnTo>
                  <a:pt x="2718" y="486"/>
                </a:lnTo>
                <a:lnTo>
                  <a:pt x="2724" y="488"/>
                </a:lnTo>
                <a:lnTo>
                  <a:pt x="2734" y="490"/>
                </a:lnTo>
                <a:lnTo>
                  <a:pt x="2746" y="490"/>
                </a:lnTo>
                <a:lnTo>
                  <a:pt x="2758" y="488"/>
                </a:lnTo>
                <a:lnTo>
                  <a:pt x="2768" y="486"/>
                </a:lnTo>
                <a:lnTo>
                  <a:pt x="2776" y="484"/>
                </a:lnTo>
                <a:lnTo>
                  <a:pt x="2780" y="480"/>
                </a:lnTo>
                <a:lnTo>
                  <a:pt x="2782" y="478"/>
                </a:lnTo>
                <a:lnTo>
                  <a:pt x="2780" y="474"/>
                </a:lnTo>
                <a:lnTo>
                  <a:pt x="2778" y="470"/>
                </a:lnTo>
                <a:lnTo>
                  <a:pt x="2772" y="462"/>
                </a:lnTo>
                <a:lnTo>
                  <a:pt x="2754" y="446"/>
                </a:lnTo>
                <a:lnTo>
                  <a:pt x="2750" y="442"/>
                </a:lnTo>
                <a:lnTo>
                  <a:pt x="2750" y="440"/>
                </a:lnTo>
                <a:lnTo>
                  <a:pt x="2752" y="438"/>
                </a:lnTo>
                <a:lnTo>
                  <a:pt x="2758" y="436"/>
                </a:lnTo>
                <a:lnTo>
                  <a:pt x="2762" y="432"/>
                </a:lnTo>
                <a:lnTo>
                  <a:pt x="2762" y="428"/>
                </a:lnTo>
                <a:lnTo>
                  <a:pt x="2762" y="422"/>
                </a:lnTo>
                <a:lnTo>
                  <a:pt x="2756" y="418"/>
                </a:lnTo>
                <a:lnTo>
                  <a:pt x="2750" y="414"/>
                </a:lnTo>
                <a:lnTo>
                  <a:pt x="2738" y="410"/>
                </a:lnTo>
                <a:lnTo>
                  <a:pt x="2724" y="408"/>
                </a:lnTo>
                <a:lnTo>
                  <a:pt x="2704" y="404"/>
                </a:lnTo>
                <a:lnTo>
                  <a:pt x="2702" y="402"/>
                </a:lnTo>
                <a:lnTo>
                  <a:pt x="2700" y="400"/>
                </a:lnTo>
                <a:lnTo>
                  <a:pt x="2698" y="398"/>
                </a:lnTo>
                <a:lnTo>
                  <a:pt x="2696" y="396"/>
                </a:lnTo>
                <a:lnTo>
                  <a:pt x="2690" y="392"/>
                </a:lnTo>
                <a:lnTo>
                  <a:pt x="2678" y="388"/>
                </a:lnTo>
                <a:lnTo>
                  <a:pt x="2664" y="384"/>
                </a:lnTo>
                <a:lnTo>
                  <a:pt x="2656" y="384"/>
                </a:lnTo>
                <a:lnTo>
                  <a:pt x="2648" y="388"/>
                </a:lnTo>
                <a:lnTo>
                  <a:pt x="2644" y="392"/>
                </a:lnTo>
                <a:lnTo>
                  <a:pt x="2642" y="394"/>
                </a:lnTo>
                <a:lnTo>
                  <a:pt x="2638" y="396"/>
                </a:lnTo>
                <a:lnTo>
                  <a:pt x="2636" y="394"/>
                </a:lnTo>
                <a:lnTo>
                  <a:pt x="2632" y="386"/>
                </a:lnTo>
                <a:lnTo>
                  <a:pt x="2630" y="382"/>
                </a:lnTo>
                <a:lnTo>
                  <a:pt x="2624" y="378"/>
                </a:lnTo>
                <a:lnTo>
                  <a:pt x="2610" y="370"/>
                </a:lnTo>
                <a:lnTo>
                  <a:pt x="2592" y="364"/>
                </a:lnTo>
                <a:lnTo>
                  <a:pt x="2574" y="360"/>
                </a:lnTo>
                <a:lnTo>
                  <a:pt x="2554" y="358"/>
                </a:lnTo>
                <a:lnTo>
                  <a:pt x="2536" y="360"/>
                </a:lnTo>
                <a:lnTo>
                  <a:pt x="2530" y="364"/>
                </a:lnTo>
                <a:lnTo>
                  <a:pt x="2524" y="366"/>
                </a:lnTo>
                <a:lnTo>
                  <a:pt x="2520" y="372"/>
                </a:lnTo>
                <a:lnTo>
                  <a:pt x="2516" y="378"/>
                </a:lnTo>
                <a:lnTo>
                  <a:pt x="2516" y="388"/>
                </a:lnTo>
                <a:lnTo>
                  <a:pt x="2516" y="390"/>
                </a:lnTo>
                <a:lnTo>
                  <a:pt x="2518" y="392"/>
                </a:lnTo>
                <a:lnTo>
                  <a:pt x="2522" y="392"/>
                </a:lnTo>
                <a:lnTo>
                  <a:pt x="2528" y="392"/>
                </a:lnTo>
                <a:lnTo>
                  <a:pt x="2534" y="390"/>
                </a:lnTo>
                <a:lnTo>
                  <a:pt x="2540" y="390"/>
                </a:lnTo>
                <a:lnTo>
                  <a:pt x="2544" y="392"/>
                </a:lnTo>
                <a:lnTo>
                  <a:pt x="2544" y="400"/>
                </a:lnTo>
                <a:close/>
                <a:moveTo>
                  <a:pt x="3116" y="190"/>
                </a:moveTo>
                <a:lnTo>
                  <a:pt x="3116" y="190"/>
                </a:lnTo>
                <a:lnTo>
                  <a:pt x="3124" y="194"/>
                </a:lnTo>
                <a:lnTo>
                  <a:pt x="3132" y="196"/>
                </a:lnTo>
                <a:lnTo>
                  <a:pt x="3146" y="194"/>
                </a:lnTo>
                <a:lnTo>
                  <a:pt x="3154" y="194"/>
                </a:lnTo>
                <a:lnTo>
                  <a:pt x="3152" y="196"/>
                </a:lnTo>
                <a:lnTo>
                  <a:pt x="3146" y="200"/>
                </a:lnTo>
                <a:lnTo>
                  <a:pt x="3140" y="206"/>
                </a:lnTo>
                <a:lnTo>
                  <a:pt x="3136" y="210"/>
                </a:lnTo>
                <a:lnTo>
                  <a:pt x="3134" y="216"/>
                </a:lnTo>
                <a:lnTo>
                  <a:pt x="3134" y="220"/>
                </a:lnTo>
                <a:lnTo>
                  <a:pt x="3138" y="226"/>
                </a:lnTo>
                <a:lnTo>
                  <a:pt x="3144" y="230"/>
                </a:lnTo>
                <a:lnTo>
                  <a:pt x="3154" y="234"/>
                </a:lnTo>
                <a:lnTo>
                  <a:pt x="3168" y="238"/>
                </a:lnTo>
                <a:lnTo>
                  <a:pt x="3182" y="242"/>
                </a:lnTo>
                <a:lnTo>
                  <a:pt x="3194" y="248"/>
                </a:lnTo>
                <a:lnTo>
                  <a:pt x="3216" y="256"/>
                </a:lnTo>
                <a:lnTo>
                  <a:pt x="3228" y="258"/>
                </a:lnTo>
                <a:lnTo>
                  <a:pt x="3240" y="258"/>
                </a:lnTo>
                <a:lnTo>
                  <a:pt x="3252" y="254"/>
                </a:lnTo>
                <a:lnTo>
                  <a:pt x="3264" y="246"/>
                </a:lnTo>
                <a:lnTo>
                  <a:pt x="3280" y="238"/>
                </a:lnTo>
                <a:lnTo>
                  <a:pt x="3294" y="232"/>
                </a:lnTo>
                <a:lnTo>
                  <a:pt x="3306" y="228"/>
                </a:lnTo>
                <a:lnTo>
                  <a:pt x="3318" y="226"/>
                </a:lnTo>
                <a:lnTo>
                  <a:pt x="3326" y="226"/>
                </a:lnTo>
                <a:lnTo>
                  <a:pt x="3330" y="226"/>
                </a:lnTo>
                <a:lnTo>
                  <a:pt x="3328" y="228"/>
                </a:lnTo>
                <a:lnTo>
                  <a:pt x="3322" y="230"/>
                </a:lnTo>
                <a:lnTo>
                  <a:pt x="3296" y="238"/>
                </a:lnTo>
                <a:lnTo>
                  <a:pt x="3286" y="244"/>
                </a:lnTo>
                <a:lnTo>
                  <a:pt x="3278" y="248"/>
                </a:lnTo>
                <a:lnTo>
                  <a:pt x="3276" y="252"/>
                </a:lnTo>
                <a:lnTo>
                  <a:pt x="3276" y="254"/>
                </a:lnTo>
                <a:lnTo>
                  <a:pt x="3276" y="256"/>
                </a:lnTo>
                <a:lnTo>
                  <a:pt x="3280" y="260"/>
                </a:lnTo>
                <a:lnTo>
                  <a:pt x="3296" y="264"/>
                </a:lnTo>
                <a:lnTo>
                  <a:pt x="3326" y="268"/>
                </a:lnTo>
                <a:lnTo>
                  <a:pt x="3356" y="268"/>
                </a:lnTo>
                <a:lnTo>
                  <a:pt x="3376" y="266"/>
                </a:lnTo>
                <a:lnTo>
                  <a:pt x="3390" y="264"/>
                </a:lnTo>
                <a:lnTo>
                  <a:pt x="3398" y="260"/>
                </a:lnTo>
                <a:lnTo>
                  <a:pt x="3406" y="254"/>
                </a:lnTo>
                <a:lnTo>
                  <a:pt x="3410" y="254"/>
                </a:lnTo>
                <a:lnTo>
                  <a:pt x="3418" y="256"/>
                </a:lnTo>
                <a:lnTo>
                  <a:pt x="3430" y="260"/>
                </a:lnTo>
                <a:lnTo>
                  <a:pt x="3446" y="262"/>
                </a:lnTo>
                <a:lnTo>
                  <a:pt x="3468" y="260"/>
                </a:lnTo>
                <a:lnTo>
                  <a:pt x="3490" y="256"/>
                </a:lnTo>
                <a:lnTo>
                  <a:pt x="3514" y="248"/>
                </a:lnTo>
                <a:lnTo>
                  <a:pt x="3540" y="240"/>
                </a:lnTo>
                <a:lnTo>
                  <a:pt x="3568" y="230"/>
                </a:lnTo>
                <a:lnTo>
                  <a:pt x="3592" y="216"/>
                </a:lnTo>
                <a:lnTo>
                  <a:pt x="3618" y="204"/>
                </a:lnTo>
                <a:lnTo>
                  <a:pt x="3618" y="206"/>
                </a:lnTo>
                <a:lnTo>
                  <a:pt x="3612" y="212"/>
                </a:lnTo>
                <a:lnTo>
                  <a:pt x="3608" y="220"/>
                </a:lnTo>
                <a:lnTo>
                  <a:pt x="3606" y="224"/>
                </a:lnTo>
                <a:lnTo>
                  <a:pt x="3606" y="226"/>
                </a:lnTo>
                <a:lnTo>
                  <a:pt x="3608" y="230"/>
                </a:lnTo>
                <a:lnTo>
                  <a:pt x="3612" y="232"/>
                </a:lnTo>
                <a:lnTo>
                  <a:pt x="3620" y="234"/>
                </a:lnTo>
                <a:lnTo>
                  <a:pt x="3630" y="236"/>
                </a:lnTo>
                <a:lnTo>
                  <a:pt x="3648" y="238"/>
                </a:lnTo>
                <a:lnTo>
                  <a:pt x="3656" y="238"/>
                </a:lnTo>
                <a:lnTo>
                  <a:pt x="3656" y="240"/>
                </a:lnTo>
                <a:lnTo>
                  <a:pt x="3654" y="240"/>
                </a:lnTo>
                <a:lnTo>
                  <a:pt x="3642" y="244"/>
                </a:lnTo>
                <a:lnTo>
                  <a:pt x="3596" y="252"/>
                </a:lnTo>
                <a:lnTo>
                  <a:pt x="3524" y="266"/>
                </a:lnTo>
                <a:lnTo>
                  <a:pt x="3460" y="278"/>
                </a:lnTo>
                <a:lnTo>
                  <a:pt x="3442" y="282"/>
                </a:lnTo>
                <a:lnTo>
                  <a:pt x="3434" y="284"/>
                </a:lnTo>
                <a:lnTo>
                  <a:pt x="3432" y="286"/>
                </a:lnTo>
                <a:lnTo>
                  <a:pt x="3430" y="288"/>
                </a:lnTo>
                <a:lnTo>
                  <a:pt x="3436" y="292"/>
                </a:lnTo>
                <a:lnTo>
                  <a:pt x="3458" y="308"/>
                </a:lnTo>
                <a:lnTo>
                  <a:pt x="3474" y="318"/>
                </a:lnTo>
                <a:lnTo>
                  <a:pt x="3490" y="326"/>
                </a:lnTo>
                <a:lnTo>
                  <a:pt x="3514" y="336"/>
                </a:lnTo>
                <a:lnTo>
                  <a:pt x="3522" y="340"/>
                </a:lnTo>
                <a:lnTo>
                  <a:pt x="3524" y="342"/>
                </a:lnTo>
                <a:lnTo>
                  <a:pt x="3520" y="344"/>
                </a:lnTo>
                <a:lnTo>
                  <a:pt x="3508" y="346"/>
                </a:lnTo>
                <a:lnTo>
                  <a:pt x="3494" y="348"/>
                </a:lnTo>
                <a:lnTo>
                  <a:pt x="3484" y="346"/>
                </a:lnTo>
                <a:lnTo>
                  <a:pt x="3474" y="342"/>
                </a:lnTo>
                <a:lnTo>
                  <a:pt x="3466" y="334"/>
                </a:lnTo>
                <a:lnTo>
                  <a:pt x="3452" y="318"/>
                </a:lnTo>
                <a:lnTo>
                  <a:pt x="3440" y="310"/>
                </a:lnTo>
                <a:lnTo>
                  <a:pt x="3428" y="304"/>
                </a:lnTo>
                <a:lnTo>
                  <a:pt x="3410" y="298"/>
                </a:lnTo>
                <a:lnTo>
                  <a:pt x="3388" y="292"/>
                </a:lnTo>
                <a:lnTo>
                  <a:pt x="3364" y="288"/>
                </a:lnTo>
                <a:lnTo>
                  <a:pt x="3340" y="284"/>
                </a:lnTo>
                <a:lnTo>
                  <a:pt x="3318" y="284"/>
                </a:lnTo>
                <a:lnTo>
                  <a:pt x="3300" y="286"/>
                </a:lnTo>
                <a:lnTo>
                  <a:pt x="3294" y="288"/>
                </a:lnTo>
                <a:lnTo>
                  <a:pt x="3288" y="290"/>
                </a:lnTo>
                <a:lnTo>
                  <a:pt x="3284" y="294"/>
                </a:lnTo>
                <a:lnTo>
                  <a:pt x="3282" y="298"/>
                </a:lnTo>
                <a:lnTo>
                  <a:pt x="3282" y="312"/>
                </a:lnTo>
                <a:lnTo>
                  <a:pt x="3284" y="316"/>
                </a:lnTo>
                <a:lnTo>
                  <a:pt x="3286" y="320"/>
                </a:lnTo>
                <a:lnTo>
                  <a:pt x="3300" y="326"/>
                </a:lnTo>
                <a:lnTo>
                  <a:pt x="3322" y="336"/>
                </a:lnTo>
                <a:lnTo>
                  <a:pt x="3336" y="342"/>
                </a:lnTo>
                <a:lnTo>
                  <a:pt x="3348" y="348"/>
                </a:lnTo>
                <a:lnTo>
                  <a:pt x="3366" y="362"/>
                </a:lnTo>
                <a:lnTo>
                  <a:pt x="3372" y="368"/>
                </a:lnTo>
                <a:lnTo>
                  <a:pt x="3376" y="374"/>
                </a:lnTo>
                <a:lnTo>
                  <a:pt x="3374" y="378"/>
                </a:lnTo>
                <a:lnTo>
                  <a:pt x="3370" y="380"/>
                </a:lnTo>
                <a:lnTo>
                  <a:pt x="3362" y="382"/>
                </a:lnTo>
                <a:lnTo>
                  <a:pt x="3358" y="384"/>
                </a:lnTo>
                <a:lnTo>
                  <a:pt x="3356" y="386"/>
                </a:lnTo>
                <a:lnTo>
                  <a:pt x="3358" y="390"/>
                </a:lnTo>
                <a:lnTo>
                  <a:pt x="3362" y="392"/>
                </a:lnTo>
                <a:lnTo>
                  <a:pt x="3370" y="394"/>
                </a:lnTo>
                <a:lnTo>
                  <a:pt x="3380" y="396"/>
                </a:lnTo>
                <a:lnTo>
                  <a:pt x="3394" y="398"/>
                </a:lnTo>
                <a:lnTo>
                  <a:pt x="3408" y="400"/>
                </a:lnTo>
                <a:lnTo>
                  <a:pt x="3420" y="402"/>
                </a:lnTo>
                <a:lnTo>
                  <a:pt x="3430" y="406"/>
                </a:lnTo>
                <a:lnTo>
                  <a:pt x="3434" y="408"/>
                </a:lnTo>
                <a:lnTo>
                  <a:pt x="3436" y="410"/>
                </a:lnTo>
                <a:lnTo>
                  <a:pt x="3434" y="412"/>
                </a:lnTo>
                <a:lnTo>
                  <a:pt x="3424" y="412"/>
                </a:lnTo>
                <a:lnTo>
                  <a:pt x="3412" y="410"/>
                </a:lnTo>
                <a:lnTo>
                  <a:pt x="3392" y="408"/>
                </a:lnTo>
                <a:lnTo>
                  <a:pt x="3370" y="408"/>
                </a:lnTo>
                <a:lnTo>
                  <a:pt x="3322" y="410"/>
                </a:lnTo>
                <a:lnTo>
                  <a:pt x="3300" y="412"/>
                </a:lnTo>
                <a:lnTo>
                  <a:pt x="3280" y="414"/>
                </a:lnTo>
                <a:lnTo>
                  <a:pt x="3264" y="420"/>
                </a:lnTo>
                <a:lnTo>
                  <a:pt x="3254" y="424"/>
                </a:lnTo>
                <a:lnTo>
                  <a:pt x="3250" y="430"/>
                </a:lnTo>
                <a:lnTo>
                  <a:pt x="3244" y="438"/>
                </a:lnTo>
                <a:lnTo>
                  <a:pt x="3242" y="446"/>
                </a:lnTo>
                <a:lnTo>
                  <a:pt x="3240" y="452"/>
                </a:lnTo>
                <a:lnTo>
                  <a:pt x="3242" y="458"/>
                </a:lnTo>
                <a:lnTo>
                  <a:pt x="3248" y="462"/>
                </a:lnTo>
                <a:lnTo>
                  <a:pt x="3256" y="464"/>
                </a:lnTo>
                <a:lnTo>
                  <a:pt x="3268" y="464"/>
                </a:lnTo>
                <a:lnTo>
                  <a:pt x="3280" y="460"/>
                </a:lnTo>
                <a:lnTo>
                  <a:pt x="3288" y="460"/>
                </a:lnTo>
                <a:lnTo>
                  <a:pt x="3294" y="462"/>
                </a:lnTo>
                <a:lnTo>
                  <a:pt x="3296" y="464"/>
                </a:lnTo>
                <a:lnTo>
                  <a:pt x="3298" y="466"/>
                </a:lnTo>
                <a:lnTo>
                  <a:pt x="3302" y="468"/>
                </a:lnTo>
                <a:lnTo>
                  <a:pt x="3308" y="468"/>
                </a:lnTo>
                <a:lnTo>
                  <a:pt x="3318" y="466"/>
                </a:lnTo>
                <a:lnTo>
                  <a:pt x="3328" y="464"/>
                </a:lnTo>
                <a:lnTo>
                  <a:pt x="3332" y="464"/>
                </a:lnTo>
                <a:lnTo>
                  <a:pt x="3332" y="468"/>
                </a:lnTo>
                <a:lnTo>
                  <a:pt x="3332" y="472"/>
                </a:lnTo>
                <a:lnTo>
                  <a:pt x="3330" y="476"/>
                </a:lnTo>
                <a:lnTo>
                  <a:pt x="3330" y="484"/>
                </a:lnTo>
                <a:lnTo>
                  <a:pt x="3332" y="494"/>
                </a:lnTo>
                <a:lnTo>
                  <a:pt x="3338" y="504"/>
                </a:lnTo>
                <a:lnTo>
                  <a:pt x="3342" y="508"/>
                </a:lnTo>
                <a:lnTo>
                  <a:pt x="3348" y="512"/>
                </a:lnTo>
                <a:lnTo>
                  <a:pt x="3354" y="514"/>
                </a:lnTo>
                <a:lnTo>
                  <a:pt x="3360" y="514"/>
                </a:lnTo>
                <a:lnTo>
                  <a:pt x="3374" y="514"/>
                </a:lnTo>
                <a:lnTo>
                  <a:pt x="3388" y="510"/>
                </a:lnTo>
                <a:lnTo>
                  <a:pt x="3402" y="502"/>
                </a:lnTo>
                <a:lnTo>
                  <a:pt x="3416" y="494"/>
                </a:lnTo>
                <a:lnTo>
                  <a:pt x="3428" y="484"/>
                </a:lnTo>
                <a:lnTo>
                  <a:pt x="3438" y="474"/>
                </a:lnTo>
                <a:lnTo>
                  <a:pt x="3444" y="470"/>
                </a:lnTo>
                <a:lnTo>
                  <a:pt x="3444" y="474"/>
                </a:lnTo>
                <a:lnTo>
                  <a:pt x="3438" y="482"/>
                </a:lnTo>
                <a:lnTo>
                  <a:pt x="3428" y="494"/>
                </a:lnTo>
                <a:lnTo>
                  <a:pt x="3414" y="508"/>
                </a:lnTo>
                <a:lnTo>
                  <a:pt x="3398" y="520"/>
                </a:lnTo>
                <a:lnTo>
                  <a:pt x="3388" y="524"/>
                </a:lnTo>
                <a:lnTo>
                  <a:pt x="3380" y="528"/>
                </a:lnTo>
                <a:lnTo>
                  <a:pt x="3370" y="530"/>
                </a:lnTo>
                <a:lnTo>
                  <a:pt x="3358" y="530"/>
                </a:lnTo>
                <a:lnTo>
                  <a:pt x="3342" y="526"/>
                </a:lnTo>
                <a:lnTo>
                  <a:pt x="3330" y="520"/>
                </a:lnTo>
                <a:lnTo>
                  <a:pt x="3318" y="512"/>
                </a:lnTo>
                <a:lnTo>
                  <a:pt x="3310" y="504"/>
                </a:lnTo>
                <a:lnTo>
                  <a:pt x="3300" y="496"/>
                </a:lnTo>
                <a:lnTo>
                  <a:pt x="3290" y="488"/>
                </a:lnTo>
                <a:lnTo>
                  <a:pt x="3278" y="484"/>
                </a:lnTo>
                <a:lnTo>
                  <a:pt x="3262" y="482"/>
                </a:lnTo>
                <a:lnTo>
                  <a:pt x="3234" y="482"/>
                </a:lnTo>
                <a:lnTo>
                  <a:pt x="3224" y="484"/>
                </a:lnTo>
                <a:lnTo>
                  <a:pt x="3216" y="486"/>
                </a:lnTo>
                <a:lnTo>
                  <a:pt x="3212" y="490"/>
                </a:lnTo>
                <a:lnTo>
                  <a:pt x="3212" y="494"/>
                </a:lnTo>
                <a:lnTo>
                  <a:pt x="3216" y="500"/>
                </a:lnTo>
                <a:lnTo>
                  <a:pt x="3222" y="506"/>
                </a:lnTo>
                <a:lnTo>
                  <a:pt x="3240" y="520"/>
                </a:lnTo>
                <a:lnTo>
                  <a:pt x="3254" y="532"/>
                </a:lnTo>
                <a:lnTo>
                  <a:pt x="3256" y="538"/>
                </a:lnTo>
                <a:lnTo>
                  <a:pt x="3256" y="540"/>
                </a:lnTo>
                <a:lnTo>
                  <a:pt x="3254" y="542"/>
                </a:lnTo>
                <a:lnTo>
                  <a:pt x="3246" y="544"/>
                </a:lnTo>
                <a:lnTo>
                  <a:pt x="3232" y="544"/>
                </a:lnTo>
                <a:lnTo>
                  <a:pt x="3214" y="546"/>
                </a:lnTo>
                <a:lnTo>
                  <a:pt x="3198" y="550"/>
                </a:lnTo>
                <a:lnTo>
                  <a:pt x="3182" y="556"/>
                </a:lnTo>
                <a:lnTo>
                  <a:pt x="3172" y="562"/>
                </a:lnTo>
                <a:lnTo>
                  <a:pt x="3164" y="570"/>
                </a:lnTo>
                <a:lnTo>
                  <a:pt x="3160" y="578"/>
                </a:lnTo>
                <a:lnTo>
                  <a:pt x="3160" y="582"/>
                </a:lnTo>
                <a:lnTo>
                  <a:pt x="3162" y="586"/>
                </a:lnTo>
                <a:lnTo>
                  <a:pt x="3164" y="590"/>
                </a:lnTo>
                <a:lnTo>
                  <a:pt x="3168" y="594"/>
                </a:lnTo>
                <a:lnTo>
                  <a:pt x="3172" y="596"/>
                </a:lnTo>
                <a:lnTo>
                  <a:pt x="3178" y="596"/>
                </a:lnTo>
                <a:lnTo>
                  <a:pt x="3186" y="596"/>
                </a:lnTo>
                <a:lnTo>
                  <a:pt x="3198" y="596"/>
                </a:lnTo>
                <a:lnTo>
                  <a:pt x="3204" y="598"/>
                </a:lnTo>
                <a:lnTo>
                  <a:pt x="3210" y="602"/>
                </a:lnTo>
                <a:lnTo>
                  <a:pt x="3218" y="606"/>
                </a:lnTo>
                <a:lnTo>
                  <a:pt x="3226" y="608"/>
                </a:lnTo>
                <a:lnTo>
                  <a:pt x="3234" y="608"/>
                </a:lnTo>
                <a:lnTo>
                  <a:pt x="3242" y="608"/>
                </a:lnTo>
                <a:lnTo>
                  <a:pt x="3258" y="602"/>
                </a:lnTo>
                <a:lnTo>
                  <a:pt x="3272" y="596"/>
                </a:lnTo>
                <a:lnTo>
                  <a:pt x="3278" y="594"/>
                </a:lnTo>
                <a:lnTo>
                  <a:pt x="3284" y="596"/>
                </a:lnTo>
                <a:lnTo>
                  <a:pt x="3298" y="600"/>
                </a:lnTo>
                <a:lnTo>
                  <a:pt x="3316" y="606"/>
                </a:lnTo>
                <a:lnTo>
                  <a:pt x="3328" y="608"/>
                </a:lnTo>
                <a:lnTo>
                  <a:pt x="3344" y="610"/>
                </a:lnTo>
                <a:lnTo>
                  <a:pt x="3358" y="610"/>
                </a:lnTo>
                <a:lnTo>
                  <a:pt x="3366" y="606"/>
                </a:lnTo>
                <a:lnTo>
                  <a:pt x="3372" y="604"/>
                </a:lnTo>
                <a:lnTo>
                  <a:pt x="3374" y="600"/>
                </a:lnTo>
                <a:lnTo>
                  <a:pt x="3378" y="596"/>
                </a:lnTo>
                <a:lnTo>
                  <a:pt x="3384" y="596"/>
                </a:lnTo>
                <a:lnTo>
                  <a:pt x="3394" y="596"/>
                </a:lnTo>
                <a:lnTo>
                  <a:pt x="3410" y="600"/>
                </a:lnTo>
                <a:lnTo>
                  <a:pt x="3418" y="602"/>
                </a:lnTo>
                <a:lnTo>
                  <a:pt x="3428" y="604"/>
                </a:lnTo>
                <a:lnTo>
                  <a:pt x="3448" y="604"/>
                </a:lnTo>
                <a:lnTo>
                  <a:pt x="3466" y="600"/>
                </a:lnTo>
                <a:lnTo>
                  <a:pt x="3484" y="596"/>
                </a:lnTo>
                <a:lnTo>
                  <a:pt x="3498" y="592"/>
                </a:lnTo>
                <a:lnTo>
                  <a:pt x="3508" y="590"/>
                </a:lnTo>
                <a:lnTo>
                  <a:pt x="3510" y="592"/>
                </a:lnTo>
                <a:lnTo>
                  <a:pt x="3512" y="594"/>
                </a:lnTo>
                <a:lnTo>
                  <a:pt x="3514" y="598"/>
                </a:lnTo>
                <a:lnTo>
                  <a:pt x="3512" y="602"/>
                </a:lnTo>
                <a:lnTo>
                  <a:pt x="3512" y="608"/>
                </a:lnTo>
                <a:lnTo>
                  <a:pt x="3512" y="612"/>
                </a:lnTo>
                <a:lnTo>
                  <a:pt x="3512" y="616"/>
                </a:lnTo>
                <a:lnTo>
                  <a:pt x="3516" y="618"/>
                </a:lnTo>
                <a:lnTo>
                  <a:pt x="3522" y="620"/>
                </a:lnTo>
                <a:lnTo>
                  <a:pt x="3534" y="620"/>
                </a:lnTo>
                <a:lnTo>
                  <a:pt x="3546" y="618"/>
                </a:lnTo>
                <a:lnTo>
                  <a:pt x="3558" y="612"/>
                </a:lnTo>
                <a:lnTo>
                  <a:pt x="3582" y="600"/>
                </a:lnTo>
                <a:lnTo>
                  <a:pt x="3592" y="596"/>
                </a:lnTo>
                <a:lnTo>
                  <a:pt x="3600" y="594"/>
                </a:lnTo>
                <a:lnTo>
                  <a:pt x="3616" y="594"/>
                </a:lnTo>
                <a:lnTo>
                  <a:pt x="3622" y="592"/>
                </a:lnTo>
                <a:lnTo>
                  <a:pt x="3628" y="588"/>
                </a:lnTo>
                <a:lnTo>
                  <a:pt x="3632" y="582"/>
                </a:lnTo>
                <a:lnTo>
                  <a:pt x="3634" y="570"/>
                </a:lnTo>
                <a:lnTo>
                  <a:pt x="3634" y="564"/>
                </a:lnTo>
                <a:lnTo>
                  <a:pt x="3634" y="560"/>
                </a:lnTo>
                <a:lnTo>
                  <a:pt x="3630" y="558"/>
                </a:lnTo>
                <a:lnTo>
                  <a:pt x="3628" y="556"/>
                </a:lnTo>
                <a:lnTo>
                  <a:pt x="3620" y="556"/>
                </a:lnTo>
                <a:lnTo>
                  <a:pt x="3610" y="556"/>
                </a:lnTo>
                <a:lnTo>
                  <a:pt x="3598" y="558"/>
                </a:lnTo>
                <a:lnTo>
                  <a:pt x="3590" y="558"/>
                </a:lnTo>
                <a:lnTo>
                  <a:pt x="3584" y="556"/>
                </a:lnTo>
                <a:lnTo>
                  <a:pt x="3582" y="552"/>
                </a:lnTo>
                <a:lnTo>
                  <a:pt x="3582" y="550"/>
                </a:lnTo>
                <a:lnTo>
                  <a:pt x="3582" y="542"/>
                </a:lnTo>
                <a:lnTo>
                  <a:pt x="3584" y="538"/>
                </a:lnTo>
                <a:lnTo>
                  <a:pt x="3588" y="534"/>
                </a:lnTo>
                <a:lnTo>
                  <a:pt x="3592" y="530"/>
                </a:lnTo>
                <a:lnTo>
                  <a:pt x="3604" y="524"/>
                </a:lnTo>
                <a:lnTo>
                  <a:pt x="3622" y="514"/>
                </a:lnTo>
                <a:lnTo>
                  <a:pt x="3626" y="512"/>
                </a:lnTo>
                <a:lnTo>
                  <a:pt x="3628" y="508"/>
                </a:lnTo>
                <a:lnTo>
                  <a:pt x="3630" y="504"/>
                </a:lnTo>
                <a:lnTo>
                  <a:pt x="3628" y="500"/>
                </a:lnTo>
                <a:lnTo>
                  <a:pt x="3626" y="492"/>
                </a:lnTo>
                <a:lnTo>
                  <a:pt x="3620" y="484"/>
                </a:lnTo>
                <a:lnTo>
                  <a:pt x="3618" y="478"/>
                </a:lnTo>
                <a:lnTo>
                  <a:pt x="3620" y="476"/>
                </a:lnTo>
                <a:lnTo>
                  <a:pt x="3622" y="474"/>
                </a:lnTo>
                <a:lnTo>
                  <a:pt x="3632" y="474"/>
                </a:lnTo>
                <a:lnTo>
                  <a:pt x="3654" y="476"/>
                </a:lnTo>
                <a:lnTo>
                  <a:pt x="3674" y="478"/>
                </a:lnTo>
                <a:lnTo>
                  <a:pt x="3692" y="476"/>
                </a:lnTo>
                <a:lnTo>
                  <a:pt x="3708" y="474"/>
                </a:lnTo>
                <a:lnTo>
                  <a:pt x="3722" y="468"/>
                </a:lnTo>
                <a:lnTo>
                  <a:pt x="3732" y="460"/>
                </a:lnTo>
                <a:lnTo>
                  <a:pt x="3738" y="454"/>
                </a:lnTo>
                <a:lnTo>
                  <a:pt x="3740" y="446"/>
                </a:lnTo>
                <a:lnTo>
                  <a:pt x="3740" y="442"/>
                </a:lnTo>
                <a:lnTo>
                  <a:pt x="3738" y="440"/>
                </a:lnTo>
                <a:lnTo>
                  <a:pt x="3736" y="436"/>
                </a:lnTo>
                <a:lnTo>
                  <a:pt x="3736" y="434"/>
                </a:lnTo>
                <a:lnTo>
                  <a:pt x="3740" y="430"/>
                </a:lnTo>
                <a:lnTo>
                  <a:pt x="3752" y="424"/>
                </a:lnTo>
                <a:lnTo>
                  <a:pt x="3756" y="420"/>
                </a:lnTo>
                <a:lnTo>
                  <a:pt x="3756" y="418"/>
                </a:lnTo>
                <a:lnTo>
                  <a:pt x="3756" y="416"/>
                </a:lnTo>
                <a:lnTo>
                  <a:pt x="3750" y="410"/>
                </a:lnTo>
                <a:lnTo>
                  <a:pt x="3734" y="400"/>
                </a:lnTo>
                <a:lnTo>
                  <a:pt x="3720" y="392"/>
                </a:lnTo>
                <a:lnTo>
                  <a:pt x="3718" y="390"/>
                </a:lnTo>
                <a:lnTo>
                  <a:pt x="3722" y="390"/>
                </a:lnTo>
                <a:lnTo>
                  <a:pt x="3734" y="390"/>
                </a:lnTo>
                <a:lnTo>
                  <a:pt x="3746" y="392"/>
                </a:lnTo>
                <a:lnTo>
                  <a:pt x="3758" y="392"/>
                </a:lnTo>
                <a:lnTo>
                  <a:pt x="3764" y="392"/>
                </a:lnTo>
                <a:lnTo>
                  <a:pt x="3766" y="390"/>
                </a:lnTo>
                <a:lnTo>
                  <a:pt x="3768" y="386"/>
                </a:lnTo>
                <a:lnTo>
                  <a:pt x="3766" y="384"/>
                </a:lnTo>
                <a:lnTo>
                  <a:pt x="3762" y="376"/>
                </a:lnTo>
                <a:lnTo>
                  <a:pt x="3758" y="370"/>
                </a:lnTo>
                <a:lnTo>
                  <a:pt x="3752" y="368"/>
                </a:lnTo>
                <a:lnTo>
                  <a:pt x="3746" y="368"/>
                </a:lnTo>
                <a:lnTo>
                  <a:pt x="3732" y="368"/>
                </a:lnTo>
                <a:lnTo>
                  <a:pt x="3712" y="372"/>
                </a:lnTo>
                <a:lnTo>
                  <a:pt x="3688" y="372"/>
                </a:lnTo>
                <a:lnTo>
                  <a:pt x="3666" y="372"/>
                </a:lnTo>
                <a:lnTo>
                  <a:pt x="3656" y="372"/>
                </a:lnTo>
                <a:lnTo>
                  <a:pt x="3650" y="370"/>
                </a:lnTo>
                <a:lnTo>
                  <a:pt x="3650" y="368"/>
                </a:lnTo>
                <a:lnTo>
                  <a:pt x="3652" y="364"/>
                </a:lnTo>
                <a:lnTo>
                  <a:pt x="3660" y="360"/>
                </a:lnTo>
                <a:lnTo>
                  <a:pt x="3676" y="358"/>
                </a:lnTo>
                <a:lnTo>
                  <a:pt x="3718" y="354"/>
                </a:lnTo>
                <a:lnTo>
                  <a:pt x="3764" y="352"/>
                </a:lnTo>
                <a:lnTo>
                  <a:pt x="3804" y="350"/>
                </a:lnTo>
                <a:lnTo>
                  <a:pt x="3816" y="348"/>
                </a:lnTo>
                <a:lnTo>
                  <a:pt x="3822" y="344"/>
                </a:lnTo>
                <a:lnTo>
                  <a:pt x="3824" y="338"/>
                </a:lnTo>
                <a:lnTo>
                  <a:pt x="3826" y="334"/>
                </a:lnTo>
                <a:lnTo>
                  <a:pt x="3824" y="328"/>
                </a:lnTo>
                <a:lnTo>
                  <a:pt x="3828" y="328"/>
                </a:lnTo>
                <a:lnTo>
                  <a:pt x="3834" y="330"/>
                </a:lnTo>
                <a:lnTo>
                  <a:pt x="3842" y="334"/>
                </a:lnTo>
                <a:lnTo>
                  <a:pt x="3852" y="336"/>
                </a:lnTo>
                <a:lnTo>
                  <a:pt x="3862" y="336"/>
                </a:lnTo>
                <a:lnTo>
                  <a:pt x="3872" y="336"/>
                </a:lnTo>
                <a:lnTo>
                  <a:pt x="3884" y="334"/>
                </a:lnTo>
                <a:lnTo>
                  <a:pt x="3894" y="330"/>
                </a:lnTo>
                <a:lnTo>
                  <a:pt x="3904" y="322"/>
                </a:lnTo>
                <a:lnTo>
                  <a:pt x="3914" y="312"/>
                </a:lnTo>
                <a:lnTo>
                  <a:pt x="3924" y="302"/>
                </a:lnTo>
                <a:lnTo>
                  <a:pt x="3938" y="292"/>
                </a:lnTo>
                <a:lnTo>
                  <a:pt x="3954" y="282"/>
                </a:lnTo>
                <a:lnTo>
                  <a:pt x="3974" y="272"/>
                </a:lnTo>
                <a:lnTo>
                  <a:pt x="4026" y="248"/>
                </a:lnTo>
                <a:lnTo>
                  <a:pt x="4092" y="222"/>
                </a:lnTo>
                <a:lnTo>
                  <a:pt x="4150" y="198"/>
                </a:lnTo>
                <a:lnTo>
                  <a:pt x="4164" y="190"/>
                </a:lnTo>
                <a:lnTo>
                  <a:pt x="4170" y="186"/>
                </a:lnTo>
                <a:lnTo>
                  <a:pt x="4170" y="184"/>
                </a:lnTo>
                <a:lnTo>
                  <a:pt x="4168" y="182"/>
                </a:lnTo>
                <a:lnTo>
                  <a:pt x="4156" y="182"/>
                </a:lnTo>
                <a:lnTo>
                  <a:pt x="4110" y="186"/>
                </a:lnTo>
                <a:lnTo>
                  <a:pt x="4086" y="188"/>
                </a:lnTo>
                <a:lnTo>
                  <a:pt x="4074" y="186"/>
                </a:lnTo>
                <a:lnTo>
                  <a:pt x="4072" y="186"/>
                </a:lnTo>
                <a:lnTo>
                  <a:pt x="4072" y="184"/>
                </a:lnTo>
                <a:lnTo>
                  <a:pt x="4078" y="182"/>
                </a:lnTo>
                <a:lnTo>
                  <a:pt x="4106" y="172"/>
                </a:lnTo>
                <a:lnTo>
                  <a:pt x="4144" y="164"/>
                </a:lnTo>
                <a:lnTo>
                  <a:pt x="4190" y="156"/>
                </a:lnTo>
                <a:lnTo>
                  <a:pt x="4244" y="144"/>
                </a:lnTo>
                <a:lnTo>
                  <a:pt x="4270" y="136"/>
                </a:lnTo>
                <a:lnTo>
                  <a:pt x="4290" y="128"/>
                </a:lnTo>
                <a:lnTo>
                  <a:pt x="4304" y="120"/>
                </a:lnTo>
                <a:lnTo>
                  <a:pt x="4308" y="116"/>
                </a:lnTo>
                <a:lnTo>
                  <a:pt x="4310" y="112"/>
                </a:lnTo>
                <a:lnTo>
                  <a:pt x="4308" y="108"/>
                </a:lnTo>
                <a:lnTo>
                  <a:pt x="4306" y="106"/>
                </a:lnTo>
                <a:lnTo>
                  <a:pt x="4296" y="102"/>
                </a:lnTo>
                <a:lnTo>
                  <a:pt x="4284" y="100"/>
                </a:lnTo>
                <a:lnTo>
                  <a:pt x="4268" y="100"/>
                </a:lnTo>
                <a:lnTo>
                  <a:pt x="4254" y="100"/>
                </a:lnTo>
                <a:lnTo>
                  <a:pt x="4240" y="98"/>
                </a:lnTo>
                <a:lnTo>
                  <a:pt x="4232" y="94"/>
                </a:lnTo>
                <a:lnTo>
                  <a:pt x="4230" y="90"/>
                </a:lnTo>
                <a:lnTo>
                  <a:pt x="4228" y="88"/>
                </a:lnTo>
                <a:lnTo>
                  <a:pt x="4228" y="84"/>
                </a:lnTo>
                <a:lnTo>
                  <a:pt x="4226" y="80"/>
                </a:lnTo>
                <a:lnTo>
                  <a:pt x="4218" y="74"/>
                </a:lnTo>
                <a:lnTo>
                  <a:pt x="4208" y="70"/>
                </a:lnTo>
                <a:lnTo>
                  <a:pt x="4194" y="66"/>
                </a:lnTo>
                <a:lnTo>
                  <a:pt x="4168" y="64"/>
                </a:lnTo>
                <a:lnTo>
                  <a:pt x="4150" y="64"/>
                </a:lnTo>
                <a:lnTo>
                  <a:pt x="4134" y="66"/>
                </a:lnTo>
                <a:lnTo>
                  <a:pt x="4124" y="64"/>
                </a:lnTo>
                <a:lnTo>
                  <a:pt x="4112" y="66"/>
                </a:lnTo>
                <a:lnTo>
                  <a:pt x="4092" y="72"/>
                </a:lnTo>
                <a:lnTo>
                  <a:pt x="4076" y="78"/>
                </a:lnTo>
                <a:lnTo>
                  <a:pt x="4062" y="82"/>
                </a:lnTo>
                <a:lnTo>
                  <a:pt x="4034" y="84"/>
                </a:lnTo>
                <a:lnTo>
                  <a:pt x="4020" y="84"/>
                </a:lnTo>
                <a:lnTo>
                  <a:pt x="4020" y="82"/>
                </a:lnTo>
                <a:lnTo>
                  <a:pt x="4022" y="82"/>
                </a:lnTo>
                <a:lnTo>
                  <a:pt x="4030" y="80"/>
                </a:lnTo>
                <a:lnTo>
                  <a:pt x="4058" y="74"/>
                </a:lnTo>
                <a:lnTo>
                  <a:pt x="4078" y="68"/>
                </a:lnTo>
                <a:lnTo>
                  <a:pt x="4082" y="64"/>
                </a:lnTo>
                <a:lnTo>
                  <a:pt x="4080" y="64"/>
                </a:lnTo>
                <a:lnTo>
                  <a:pt x="4080" y="62"/>
                </a:lnTo>
                <a:lnTo>
                  <a:pt x="4070" y="60"/>
                </a:lnTo>
                <a:lnTo>
                  <a:pt x="4052" y="60"/>
                </a:lnTo>
                <a:lnTo>
                  <a:pt x="4032" y="60"/>
                </a:lnTo>
                <a:lnTo>
                  <a:pt x="4014" y="56"/>
                </a:lnTo>
                <a:lnTo>
                  <a:pt x="3986" y="50"/>
                </a:lnTo>
                <a:lnTo>
                  <a:pt x="3972" y="46"/>
                </a:lnTo>
                <a:lnTo>
                  <a:pt x="3960" y="44"/>
                </a:lnTo>
                <a:lnTo>
                  <a:pt x="3946" y="44"/>
                </a:lnTo>
                <a:lnTo>
                  <a:pt x="3930" y="44"/>
                </a:lnTo>
                <a:lnTo>
                  <a:pt x="3902" y="48"/>
                </a:lnTo>
                <a:lnTo>
                  <a:pt x="3880" y="46"/>
                </a:lnTo>
                <a:lnTo>
                  <a:pt x="3860" y="48"/>
                </a:lnTo>
                <a:lnTo>
                  <a:pt x="3848" y="50"/>
                </a:lnTo>
                <a:lnTo>
                  <a:pt x="3834" y="54"/>
                </a:lnTo>
                <a:lnTo>
                  <a:pt x="3818" y="58"/>
                </a:lnTo>
                <a:lnTo>
                  <a:pt x="3800" y="58"/>
                </a:lnTo>
                <a:lnTo>
                  <a:pt x="3762" y="54"/>
                </a:lnTo>
                <a:lnTo>
                  <a:pt x="3738" y="52"/>
                </a:lnTo>
                <a:lnTo>
                  <a:pt x="3712" y="52"/>
                </a:lnTo>
                <a:lnTo>
                  <a:pt x="3682" y="56"/>
                </a:lnTo>
                <a:lnTo>
                  <a:pt x="3646" y="62"/>
                </a:lnTo>
                <a:lnTo>
                  <a:pt x="3630" y="66"/>
                </a:lnTo>
                <a:lnTo>
                  <a:pt x="3614" y="64"/>
                </a:lnTo>
                <a:lnTo>
                  <a:pt x="3598" y="62"/>
                </a:lnTo>
                <a:lnTo>
                  <a:pt x="3586" y="60"/>
                </a:lnTo>
                <a:lnTo>
                  <a:pt x="3574" y="56"/>
                </a:lnTo>
                <a:lnTo>
                  <a:pt x="3562" y="56"/>
                </a:lnTo>
                <a:lnTo>
                  <a:pt x="3550" y="56"/>
                </a:lnTo>
                <a:lnTo>
                  <a:pt x="3538" y="62"/>
                </a:lnTo>
                <a:lnTo>
                  <a:pt x="3526" y="66"/>
                </a:lnTo>
                <a:lnTo>
                  <a:pt x="3516" y="68"/>
                </a:lnTo>
                <a:lnTo>
                  <a:pt x="3504" y="68"/>
                </a:lnTo>
                <a:lnTo>
                  <a:pt x="3494" y="66"/>
                </a:lnTo>
                <a:lnTo>
                  <a:pt x="3488" y="66"/>
                </a:lnTo>
                <a:lnTo>
                  <a:pt x="3486" y="68"/>
                </a:lnTo>
                <a:lnTo>
                  <a:pt x="3488" y="72"/>
                </a:lnTo>
                <a:lnTo>
                  <a:pt x="3496" y="80"/>
                </a:lnTo>
                <a:lnTo>
                  <a:pt x="3502" y="88"/>
                </a:lnTo>
                <a:lnTo>
                  <a:pt x="3504" y="90"/>
                </a:lnTo>
                <a:lnTo>
                  <a:pt x="3502" y="90"/>
                </a:lnTo>
                <a:lnTo>
                  <a:pt x="3496" y="90"/>
                </a:lnTo>
                <a:lnTo>
                  <a:pt x="3486" y="88"/>
                </a:lnTo>
                <a:lnTo>
                  <a:pt x="3476" y="86"/>
                </a:lnTo>
                <a:lnTo>
                  <a:pt x="3464" y="86"/>
                </a:lnTo>
                <a:lnTo>
                  <a:pt x="3456" y="88"/>
                </a:lnTo>
                <a:lnTo>
                  <a:pt x="3452" y="90"/>
                </a:lnTo>
                <a:lnTo>
                  <a:pt x="3450" y="92"/>
                </a:lnTo>
                <a:lnTo>
                  <a:pt x="3448" y="100"/>
                </a:lnTo>
                <a:lnTo>
                  <a:pt x="3444" y="106"/>
                </a:lnTo>
                <a:lnTo>
                  <a:pt x="3438" y="110"/>
                </a:lnTo>
                <a:lnTo>
                  <a:pt x="3432" y="112"/>
                </a:lnTo>
                <a:lnTo>
                  <a:pt x="3424" y="114"/>
                </a:lnTo>
                <a:lnTo>
                  <a:pt x="3412" y="114"/>
                </a:lnTo>
                <a:lnTo>
                  <a:pt x="3384" y="110"/>
                </a:lnTo>
                <a:lnTo>
                  <a:pt x="3372" y="108"/>
                </a:lnTo>
                <a:lnTo>
                  <a:pt x="3366" y="106"/>
                </a:lnTo>
                <a:lnTo>
                  <a:pt x="3364" y="104"/>
                </a:lnTo>
                <a:lnTo>
                  <a:pt x="3364" y="102"/>
                </a:lnTo>
                <a:lnTo>
                  <a:pt x="3362" y="100"/>
                </a:lnTo>
                <a:lnTo>
                  <a:pt x="3360" y="98"/>
                </a:lnTo>
                <a:lnTo>
                  <a:pt x="3352" y="96"/>
                </a:lnTo>
                <a:lnTo>
                  <a:pt x="3336" y="94"/>
                </a:lnTo>
                <a:lnTo>
                  <a:pt x="3322" y="94"/>
                </a:lnTo>
                <a:lnTo>
                  <a:pt x="3316" y="96"/>
                </a:lnTo>
                <a:lnTo>
                  <a:pt x="3316" y="100"/>
                </a:lnTo>
                <a:lnTo>
                  <a:pt x="3318" y="104"/>
                </a:lnTo>
                <a:lnTo>
                  <a:pt x="3320" y="108"/>
                </a:lnTo>
                <a:lnTo>
                  <a:pt x="3322" y="110"/>
                </a:lnTo>
                <a:lnTo>
                  <a:pt x="3320" y="112"/>
                </a:lnTo>
                <a:lnTo>
                  <a:pt x="3312" y="116"/>
                </a:lnTo>
                <a:lnTo>
                  <a:pt x="3296" y="118"/>
                </a:lnTo>
                <a:lnTo>
                  <a:pt x="3280" y="120"/>
                </a:lnTo>
                <a:lnTo>
                  <a:pt x="3278" y="122"/>
                </a:lnTo>
                <a:lnTo>
                  <a:pt x="3278" y="124"/>
                </a:lnTo>
                <a:lnTo>
                  <a:pt x="3284" y="126"/>
                </a:lnTo>
                <a:lnTo>
                  <a:pt x="3296" y="130"/>
                </a:lnTo>
                <a:lnTo>
                  <a:pt x="3320" y="134"/>
                </a:lnTo>
                <a:lnTo>
                  <a:pt x="3326" y="138"/>
                </a:lnTo>
                <a:lnTo>
                  <a:pt x="3324" y="140"/>
                </a:lnTo>
                <a:lnTo>
                  <a:pt x="3322" y="140"/>
                </a:lnTo>
                <a:lnTo>
                  <a:pt x="3310" y="142"/>
                </a:lnTo>
                <a:lnTo>
                  <a:pt x="3300" y="142"/>
                </a:lnTo>
                <a:lnTo>
                  <a:pt x="3280" y="136"/>
                </a:lnTo>
                <a:lnTo>
                  <a:pt x="3268" y="134"/>
                </a:lnTo>
                <a:lnTo>
                  <a:pt x="3254" y="130"/>
                </a:lnTo>
                <a:lnTo>
                  <a:pt x="3238" y="130"/>
                </a:lnTo>
                <a:lnTo>
                  <a:pt x="3218" y="132"/>
                </a:lnTo>
                <a:lnTo>
                  <a:pt x="3202" y="134"/>
                </a:lnTo>
                <a:lnTo>
                  <a:pt x="3192" y="138"/>
                </a:lnTo>
                <a:lnTo>
                  <a:pt x="3184" y="142"/>
                </a:lnTo>
                <a:lnTo>
                  <a:pt x="3180" y="146"/>
                </a:lnTo>
                <a:lnTo>
                  <a:pt x="3176" y="148"/>
                </a:lnTo>
                <a:lnTo>
                  <a:pt x="3172" y="150"/>
                </a:lnTo>
                <a:lnTo>
                  <a:pt x="3164" y="150"/>
                </a:lnTo>
                <a:lnTo>
                  <a:pt x="3152" y="148"/>
                </a:lnTo>
                <a:lnTo>
                  <a:pt x="3138" y="148"/>
                </a:lnTo>
                <a:lnTo>
                  <a:pt x="3122" y="148"/>
                </a:lnTo>
                <a:lnTo>
                  <a:pt x="3108" y="152"/>
                </a:lnTo>
                <a:lnTo>
                  <a:pt x="3094" y="156"/>
                </a:lnTo>
                <a:lnTo>
                  <a:pt x="3084" y="162"/>
                </a:lnTo>
                <a:lnTo>
                  <a:pt x="3076" y="168"/>
                </a:lnTo>
                <a:lnTo>
                  <a:pt x="3074" y="174"/>
                </a:lnTo>
                <a:lnTo>
                  <a:pt x="3074" y="178"/>
                </a:lnTo>
                <a:lnTo>
                  <a:pt x="3076" y="180"/>
                </a:lnTo>
                <a:lnTo>
                  <a:pt x="3080" y="186"/>
                </a:lnTo>
                <a:lnTo>
                  <a:pt x="3084" y="188"/>
                </a:lnTo>
                <a:lnTo>
                  <a:pt x="3090" y="188"/>
                </a:lnTo>
                <a:lnTo>
                  <a:pt x="3094" y="188"/>
                </a:lnTo>
                <a:lnTo>
                  <a:pt x="3104" y="186"/>
                </a:lnTo>
                <a:lnTo>
                  <a:pt x="3110" y="188"/>
                </a:lnTo>
                <a:lnTo>
                  <a:pt x="3116" y="190"/>
                </a:lnTo>
                <a:close/>
                <a:moveTo>
                  <a:pt x="2922" y="360"/>
                </a:moveTo>
                <a:lnTo>
                  <a:pt x="2922" y="360"/>
                </a:lnTo>
                <a:lnTo>
                  <a:pt x="2936" y="368"/>
                </a:lnTo>
                <a:lnTo>
                  <a:pt x="2946" y="370"/>
                </a:lnTo>
                <a:lnTo>
                  <a:pt x="2956" y="368"/>
                </a:lnTo>
                <a:lnTo>
                  <a:pt x="2966" y="364"/>
                </a:lnTo>
                <a:lnTo>
                  <a:pt x="2978" y="360"/>
                </a:lnTo>
                <a:lnTo>
                  <a:pt x="2978" y="366"/>
                </a:lnTo>
                <a:lnTo>
                  <a:pt x="2976" y="368"/>
                </a:lnTo>
                <a:lnTo>
                  <a:pt x="2978" y="370"/>
                </a:lnTo>
                <a:lnTo>
                  <a:pt x="2986" y="370"/>
                </a:lnTo>
                <a:lnTo>
                  <a:pt x="3012" y="364"/>
                </a:lnTo>
                <a:lnTo>
                  <a:pt x="3038" y="358"/>
                </a:lnTo>
                <a:lnTo>
                  <a:pt x="3044" y="358"/>
                </a:lnTo>
                <a:lnTo>
                  <a:pt x="3046" y="360"/>
                </a:lnTo>
                <a:lnTo>
                  <a:pt x="3044" y="364"/>
                </a:lnTo>
                <a:lnTo>
                  <a:pt x="3042" y="366"/>
                </a:lnTo>
                <a:lnTo>
                  <a:pt x="3038" y="370"/>
                </a:lnTo>
                <a:lnTo>
                  <a:pt x="3026" y="376"/>
                </a:lnTo>
                <a:lnTo>
                  <a:pt x="3000" y="384"/>
                </a:lnTo>
                <a:lnTo>
                  <a:pt x="2986" y="388"/>
                </a:lnTo>
                <a:lnTo>
                  <a:pt x="2978" y="390"/>
                </a:lnTo>
                <a:lnTo>
                  <a:pt x="2974" y="394"/>
                </a:lnTo>
                <a:lnTo>
                  <a:pt x="2974" y="396"/>
                </a:lnTo>
                <a:lnTo>
                  <a:pt x="2976" y="398"/>
                </a:lnTo>
                <a:lnTo>
                  <a:pt x="2990" y="408"/>
                </a:lnTo>
                <a:lnTo>
                  <a:pt x="3002" y="420"/>
                </a:lnTo>
                <a:lnTo>
                  <a:pt x="3018" y="434"/>
                </a:lnTo>
                <a:lnTo>
                  <a:pt x="3036" y="444"/>
                </a:lnTo>
                <a:lnTo>
                  <a:pt x="3062" y="456"/>
                </a:lnTo>
                <a:lnTo>
                  <a:pt x="3092" y="464"/>
                </a:lnTo>
                <a:lnTo>
                  <a:pt x="3106" y="464"/>
                </a:lnTo>
                <a:lnTo>
                  <a:pt x="3118" y="464"/>
                </a:lnTo>
                <a:lnTo>
                  <a:pt x="3126" y="462"/>
                </a:lnTo>
                <a:lnTo>
                  <a:pt x="3128" y="458"/>
                </a:lnTo>
                <a:lnTo>
                  <a:pt x="3130" y="454"/>
                </a:lnTo>
                <a:lnTo>
                  <a:pt x="3132" y="448"/>
                </a:lnTo>
                <a:lnTo>
                  <a:pt x="3136" y="448"/>
                </a:lnTo>
                <a:lnTo>
                  <a:pt x="3142" y="448"/>
                </a:lnTo>
                <a:lnTo>
                  <a:pt x="3148" y="452"/>
                </a:lnTo>
                <a:lnTo>
                  <a:pt x="3154" y="454"/>
                </a:lnTo>
                <a:lnTo>
                  <a:pt x="3156" y="454"/>
                </a:lnTo>
                <a:lnTo>
                  <a:pt x="3158" y="452"/>
                </a:lnTo>
                <a:lnTo>
                  <a:pt x="3154" y="446"/>
                </a:lnTo>
                <a:lnTo>
                  <a:pt x="3150" y="436"/>
                </a:lnTo>
                <a:lnTo>
                  <a:pt x="3148" y="432"/>
                </a:lnTo>
                <a:lnTo>
                  <a:pt x="3150" y="430"/>
                </a:lnTo>
                <a:lnTo>
                  <a:pt x="3154" y="432"/>
                </a:lnTo>
                <a:lnTo>
                  <a:pt x="3166" y="440"/>
                </a:lnTo>
                <a:lnTo>
                  <a:pt x="3182" y="456"/>
                </a:lnTo>
                <a:lnTo>
                  <a:pt x="3188" y="462"/>
                </a:lnTo>
                <a:lnTo>
                  <a:pt x="3192" y="462"/>
                </a:lnTo>
                <a:lnTo>
                  <a:pt x="3192" y="460"/>
                </a:lnTo>
                <a:lnTo>
                  <a:pt x="3196" y="456"/>
                </a:lnTo>
                <a:lnTo>
                  <a:pt x="3196" y="450"/>
                </a:lnTo>
                <a:lnTo>
                  <a:pt x="3196" y="442"/>
                </a:lnTo>
                <a:lnTo>
                  <a:pt x="3198" y="434"/>
                </a:lnTo>
                <a:lnTo>
                  <a:pt x="3202" y="430"/>
                </a:lnTo>
                <a:lnTo>
                  <a:pt x="3204" y="430"/>
                </a:lnTo>
                <a:lnTo>
                  <a:pt x="3208" y="430"/>
                </a:lnTo>
                <a:lnTo>
                  <a:pt x="3216" y="430"/>
                </a:lnTo>
                <a:lnTo>
                  <a:pt x="3224" y="430"/>
                </a:lnTo>
                <a:lnTo>
                  <a:pt x="3234" y="426"/>
                </a:lnTo>
                <a:lnTo>
                  <a:pt x="3242" y="420"/>
                </a:lnTo>
                <a:lnTo>
                  <a:pt x="3282" y="394"/>
                </a:lnTo>
                <a:lnTo>
                  <a:pt x="3294" y="386"/>
                </a:lnTo>
                <a:lnTo>
                  <a:pt x="3308" y="382"/>
                </a:lnTo>
                <a:lnTo>
                  <a:pt x="3334" y="374"/>
                </a:lnTo>
                <a:lnTo>
                  <a:pt x="3342" y="372"/>
                </a:lnTo>
                <a:lnTo>
                  <a:pt x="3348" y="370"/>
                </a:lnTo>
                <a:lnTo>
                  <a:pt x="3348" y="368"/>
                </a:lnTo>
                <a:lnTo>
                  <a:pt x="3348" y="366"/>
                </a:lnTo>
                <a:lnTo>
                  <a:pt x="3340" y="362"/>
                </a:lnTo>
                <a:lnTo>
                  <a:pt x="3332" y="356"/>
                </a:lnTo>
                <a:lnTo>
                  <a:pt x="3324" y="352"/>
                </a:lnTo>
                <a:lnTo>
                  <a:pt x="3314" y="344"/>
                </a:lnTo>
                <a:lnTo>
                  <a:pt x="3306" y="342"/>
                </a:lnTo>
                <a:lnTo>
                  <a:pt x="3298" y="340"/>
                </a:lnTo>
                <a:lnTo>
                  <a:pt x="3286" y="340"/>
                </a:lnTo>
                <a:lnTo>
                  <a:pt x="3270" y="342"/>
                </a:lnTo>
                <a:lnTo>
                  <a:pt x="3256" y="344"/>
                </a:lnTo>
                <a:lnTo>
                  <a:pt x="3252" y="344"/>
                </a:lnTo>
                <a:lnTo>
                  <a:pt x="3254" y="342"/>
                </a:lnTo>
                <a:lnTo>
                  <a:pt x="3260" y="336"/>
                </a:lnTo>
                <a:lnTo>
                  <a:pt x="3266" y="332"/>
                </a:lnTo>
                <a:lnTo>
                  <a:pt x="3268" y="324"/>
                </a:lnTo>
                <a:lnTo>
                  <a:pt x="3270" y="320"/>
                </a:lnTo>
                <a:lnTo>
                  <a:pt x="3268" y="318"/>
                </a:lnTo>
                <a:lnTo>
                  <a:pt x="3264" y="314"/>
                </a:lnTo>
                <a:lnTo>
                  <a:pt x="3260" y="310"/>
                </a:lnTo>
                <a:lnTo>
                  <a:pt x="3250" y="302"/>
                </a:lnTo>
                <a:lnTo>
                  <a:pt x="3246" y="296"/>
                </a:lnTo>
                <a:lnTo>
                  <a:pt x="3244" y="290"/>
                </a:lnTo>
                <a:lnTo>
                  <a:pt x="3244" y="286"/>
                </a:lnTo>
                <a:lnTo>
                  <a:pt x="3244" y="282"/>
                </a:lnTo>
                <a:lnTo>
                  <a:pt x="3242" y="278"/>
                </a:lnTo>
                <a:lnTo>
                  <a:pt x="3234" y="274"/>
                </a:lnTo>
                <a:lnTo>
                  <a:pt x="3220" y="272"/>
                </a:lnTo>
                <a:lnTo>
                  <a:pt x="3206" y="272"/>
                </a:lnTo>
                <a:lnTo>
                  <a:pt x="3200" y="276"/>
                </a:lnTo>
                <a:lnTo>
                  <a:pt x="3196" y="280"/>
                </a:lnTo>
                <a:lnTo>
                  <a:pt x="3196" y="286"/>
                </a:lnTo>
                <a:lnTo>
                  <a:pt x="3198" y="292"/>
                </a:lnTo>
                <a:lnTo>
                  <a:pt x="3198" y="296"/>
                </a:lnTo>
                <a:lnTo>
                  <a:pt x="3196" y="298"/>
                </a:lnTo>
                <a:lnTo>
                  <a:pt x="3194" y="298"/>
                </a:lnTo>
                <a:lnTo>
                  <a:pt x="3186" y="296"/>
                </a:lnTo>
                <a:lnTo>
                  <a:pt x="3178" y="292"/>
                </a:lnTo>
                <a:lnTo>
                  <a:pt x="3174" y="286"/>
                </a:lnTo>
                <a:lnTo>
                  <a:pt x="3174" y="282"/>
                </a:lnTo>
                <a:lnTo>
                  <a:pt x="3176" y="278"/>
                </a:lnTo>
                <a:lnTo>
                  <a:pt x="3176" y="272"/>
                </a:lnTo>
                <a:lnTo>
                  <a:pt x="3174" y="270"/>
                </a:lnTo>
                <a:lnTo>
                  <a:pt x="3166" y="266"/>
                </a:lnTo>
                <a:lnTo>
                  <a:pt x="3152" y="264"/>
                </a:lnTo>
                <a:lnTo>
                  <a:pt x="3144" y="264"/>
                </a:lnTo>
                <a:lnTo>
                  <a:pt x="3134" y="260"/>
                </a:lnTo>
                <a:lnTo>
                  <a:pt x="3118" y="252"/>
                </a:lnTo>
                <a:lnTo>
                  <a:pt x="3082" y="228"/>
                </a:lnTo>
                <a:lnTo>
                  <a:pt x="3062" y="216"/>
                </a:lnTo>
                <a:lnTo>
                  <a:pt x="3040" y="204"/>
                </a:lnTo>
                <a:lnTo>
                  <a:pt x="3028" y="200"/>
                </a:lnTo>
                <a:lnTo>
                  <a:pt x="3014" y="198"/>
                </a:lnTo>
                <a:lnTo>
                  <a:pt x="3002" y="196"/>
                </a:lnTo>
                <a:lnTo>
                  <a:pt x="2988" y="196"/>
                </a:lnTo>
                <a:lnTo>
                  <a:pt x="2972" y="198"/>
                </a:lnTo>
                <a:lnTo>
                  <a:pt x="2970" y="200"/>
                </a:lnTo>
                <a:lnTo>
                  <a:pt x="2968" y="202"/>
                </a:lnTo>
                <a:lnTo>
                  <a:pt x="2970" y="206"/>
                </a:lnTo>
                <a:lnTo>
                  <a:pt x="2976" y="210"/>
                </a:lnTo>
                <a:lnTo>
                  <a:pt x="2982" y="214"/>
                </a:lnTo>
                <a:lnTo>
                  <a:pt x="2984" y="218"/>
                </a:lnTo>
                <a:lnTo>
                  <a:pt x="2982" y="220"/>
                </a:lnTo>
                <a:lnTo>
                  <a:pt x="2980" y="222"/>
                </a:lnTo>
                <a:lnTo>
                  <a:pt x="2966" y="222"/>
                </a:lnTo>
                <a:lnTo>
                  <a:pt x="2950" y="224"/>
                </a:lnTo>
                <a:lnTo>
                  <a:pt x="2940" y="226"/>
                </a:lnTo>
                <a:lnTo>
                  <a:pt x="2936" y="228"/>
                </a:lnTo>
                <a:lnTo>
                  <a:pt x="2932" y="232"/>
                </a:lnTo>
                <a:lnTo>
                  <a:pt x="2926" y="244"/>
                </a:lnTo>
                <a:lnTo>
                  <a:pt x="2924" y="250"/>
                </a:lnTo>
                <a:lnTo>
                  <a:pt x="2920" y="254"/>
                </a:lnTo>
                <a:lnTo>
                  <a:pt x="2910" y="260"/>
                </a:lnTo>
                <a:lnTo>
                  <a:pt x="2900" y="266"/>
                </a:lnTo>
                <a:lnTo>
                  <a:pt x="2894" y="272"/>
                </a:lnTo>
                <a:lnTo>
                  <a:pt x="2888" y="280"/>
                </a:lnTo>
                <a:lnTo>
                  <a:pt x="2886" y="284"/>
                </a:lnTo>
                <a:lnTo>
                  <a:pt x="2886" y="286"/>
                </a:lnTo>
                <a:lnTo>
                  <a:pt x="2888" y="290"/>
                </a:lnTo>
                <a:lnTo>
                  <a:pt x="2892" y="292"/>
                </a:lnTo>
                <a:lnTo>
                  <a:pt x="2904" y="294"/>
                </a:lnTo>
                <a:lnTo>
                  <a:pt x="2918" y="296"/>
                </a:lnTo>
                <a:lnTo>
                  <a:pt x="2946" y="296"/>
                </a:lnTo>
                <a:lnTo>
                  <a:pt x="2954" y="298"/>
                </a:lnTo>
                <a:lnTo>
                  <a:pt x="2958" y="298"/>
                </a:lnTo>
                <a:lnTo>
                  <a:pt x="2958" y="300"/>
                </a:lnTo>
                <a:lnTo>
                  <a:pt x="2954" y="302"/>
                </a:lnTo>
                <a:lnTo>
                  <a:pt x="2950" y="306"/>
                </a:lnTo>
                <a:lnTo>
                  <a:pt x="2940" y="308"/>
                </a:lnTo>
                <a:lnTo>
                  <a:pt x="2926" y="306"/>
                </a:lnTo>
                <a:lnTo>
                  <a:pt x="2910" y="304"/>
                </a:lnTo>
                <a:lnTo>
                  <a:pt x="2882" y="300"/>
                </a:lnTo>
                <a:lnTo>
                  <a:pt x="2874" y="302"/>
                </a:lnTo>
                <a:lnTo>
                  <a:pt x="2870" y="302"/>
                </a:lnTo>
                <a:lnTo>
                  <a:pt x="2870" y="306"/>
                </a:lnTo>
                <a:lnTo>
                  <a:pt x="2870" y="312"/>
                </a:lnTo>
                <a:lnTo>
                  <a:pt x="2872" y="318"/>
                </a:lnTo>
                <a:lnTo>
                  <a:pt x="2876" y="324"/>
                </a:lnTo>
                <a:lnTo>
                  <a:pt x="2884" y="330"/>
                </a:lnTo>
                <a:lnTo>
                  <a:pt x="2900" y="344"/>
                </a:lnTo>
                <a:lnTo>
                  <a:pt x="2922" y="360"/>
                </a:lnTo>
                <a:close/>
                <a:moveTo>
                  <a:pt x="2814" y="444"/>
                </a:moveTo>
                <a:lnTo>
                  <a:pt x="2814" y="444"/>
                </a:lnTo>
                <a:lnTo>
                  <a:pt x="2818" y="448"/>
                </a:lnTo>
                <a:lnTo>
                  <a:pt x="2820" y="450"/>
                </a:lnTo>
                <a:lnTo>
                  <a:pt x="2826" y="454"/>
                </a:lnTo>
                <a:lnTo>
                  <a:pt x="2842" y="458"/>
                </a:lnTo>
                <a:lnTo>
                  <a:pt x="2850" y="462"/>
                </a:lnTo>
                <a:lnTo>
                  <a:pt x="2850" y="464"/>
                </a:lnTo>
                <a:lnTo>
                  <a:pt x="2846" y="466"/>
                </a:lnTo>
                <a:lnTo>
                  <a:pt x="2840" y="468"/>
                </a:lnTo>
                <a:lnTo>
                  <a:pt x="2830" y="472"/>
                </a:lnTo>
                <a:lnTo>
                  <a:pt x="2832" y="474"/>
                </a:lnTo>
                <a:lnTo>
                  <a:pt x="2838" y="474"/>
                </a:lnTo>
                <a:lnTo>
                  <a:pt x="2848" y="476"/>
                </a:lnTo>
                <a:lnTo>
                  <a:pt x="2852" y="478"/>
                </a:lnTo>
                <a:lnTo>
                  <a:pt x="2856" y="482"/>
                </a:lnTo>
                <a:lnTo>
                  <a:pt x="2856" y="486"/>
                </a:lnTo>
                <a:lnTo>
                  <a:pt x="2858" y="490"/>
                </a:lnTo>
                <a:lnTo>
                  <a:pt x="2860" y="490"/>
                </a:lnTo>
                <a:lnTo>
                  <a:pt x="2864" y="490"/>
                </a:lnTo>
                <a:lnTo>
                  <a:pt x="2872" y="488"/>
                </a:lnTo>
                <a:lnTo>
                  <a:pt x="2884" y="484"/>
                </a:lnTo>
                <a:lnTo>
                  <a:pt x="2896" y="482"/>
                </a:lnTo>
                <a:lnTo>
                  <a:pt x="2920" y="478"/>
                </a:lnTo>
                <a:lnTo>
                  <a:pt x="2930" y="476"/>
                </a:lnTo>
                <a:lnTo>
                  <a:pt x="2938" y="474"/>
                </a:lnTo>
                <a:lnTo>
                  <a:pt x="2940" y="470"/>
                </a:lnTo>
                <a:lnTo>
                  <a:pt x="2938" y="466"/>
                </a:lnTo>
                <a:lnTo>
                  <a:pt x="2936" y="460"/>
                </a:lnTo>
                <a:lnTo>
                  <a:pt x="2938" y="456"/>
                </a:lnTo>
                <a:lnTo>
                  <a:pt x="2946" y="450"/>
                </a:lnTo>
                <a:lnTo>
                  <a:pt x="2948" y="448"/>
                </a:lnTo>
                <a:lnTo>
                  <a:pt x="2950" y="446"/>
                </a:lnTo>
                <a:lnTo>
                  <a:pt x="2946" y="442"/>
                </a:lnTo>
                <a:lnTo>
                  <a:pt x="2938" y="436"/>
                </a:lnTo>
                <a:lnTo>
                  <a:pt x="2928" y="432"/>
                </a:lnTo>
                <a:lnTo>
                  <a:pt x="2920" y="430"/>
                </a:lnTo>
                <a:lnTo>
                  <a:pt x="2908" y="430"/>
                </a:lnTo>
                <a:lnTo>
                  <a:pt x="2898" y="428"/>
                </a:lnTo>
                <a:lnTo>
                  <a:pt x="2890" y="424"/>
                </a:lnTo>
                <a:lnTo>
                  <a:pt x="2880" y="420"/>
                </a:lnTo>
                <a:lnTo>
                  <a:pt x="2868" y="412"/>
                </a:lnTo>
                <a:lnTo>
                  <a:pt x="2854" y="408"/>
                </a:lnTo>
                <a:lnTo>
                  <a:pt x="2840" y="406"/>
                </a:lnTo>
                <a:lnTo>
                  <a:pt x="2828" y="404"/>
                </a:lnTo>
                <a:lnTo>
                  <a:pt x="2816" y="406"/>
                </a:lnTo>
                <a:lnTo>
                  <a:pt x="2810" y="408"/>
                </a:lnTo>
                <a:lnTo>
                  <a:pt x="2806" y="414"/>
                </a:lnTo>
                <a:lnTo>
                  <a:pt x="2806" y="416"/>
                </a:lnTo>
                <a:lnTo>
                  <a:pt x="2806" y="420"/>
                </a:lnTo>
                <a:lnTo>
                  <a:pt x="2808" y="426"/>
                </a:lnTo>
                <a:lnTo>
                  <a:pt x="2808" y="430"/>
                </a:lnTo>
                <a:lnTo>
                  <a:pt x="2804" y="432"/>
                </a:lnTo>
                <a:lnTo>
                  <a:pt x="2802" y="434"/>
                </a:lnTo>
                <a:lnTo>
                  <a:pt x="2800" y="436"/>
                </a:lnTo>
                <a:lnTo>
                  <a:pt x="2800" y="438"/>
                </a:lnTo>
                <a:lnTo>
                  <a:pt x="2814" y="444"/>
                </a:lnTo>
                <a:close/>
                <a:moveTo>
                  <a:pt x="2764" y="326"/>
                </a:moveTo>
                <a:lnTo>
                  <a:pt x="2764" y="326"/>
                </a:lnTo>
                <a:lnTo>
                  <a:pt x="2774" y="334"/>
                </a:lnTo>
                <a:lnTo>
                  <a:pt x="2780" y="334"/>
                </a:lnTo>
                <a:lnTo>
                  <a:pt x="2784" y="334"/>
                </a:lnTo>
                <a:lnTo>
                  <a:pt x="2788" y="332"/>
                </a:lnTo>
                <a:lnTo>
                  <a:pt x="2790" y="330"/>
                </a:lnTo>
                <a:lnTo>
                  <a:pt x="2792" y="324"/>
                </a:lnTo>
                <a:lnTo>
                  <a:pt x="2792" y="316"/>
                </a:lnTo>
                <a:lnTo>
                  <a:pt x="2788" y="308"/>
                </a:lnTo>
                <a:lnTo>
                  <a:pt x="2780" y="302"/>
                </a:lnTo>
                <a:lnTo>
                  <a:pt x="2770" y="298"/>
                </a:lnTo>
                <a:lnTo>
                  <a:pt x="2760" y="296"/>
                </a:lnTo>
                <a:lnTo>
                  <a:pt x="2750" y="296"/>
                </a:lnTo>
                <a:lnTo>
                  <a:pt x="2742" y="298"/>
                </a:lnTo>
                <a:lnTo>
                  <a:pt x="2736" y="302"/>
                </a:lnTo>
                <a:lnTo>
                  <a:pt x="2734" y="306"/>
                </a:lnTo>
                <a:lnTo>
                  <a:pt x="2734" y="310"/>
                </a:lnTo>
                <a:lnTo>
                  <a:pt x="2736" y="314"/>
                </a:lnTo>
                <a:lnTo>
                  <a:pt x="2738" y="316"/>
                </a:lnTo>
                <a:lnTo>
                  <a:pt x="2744" y="320"/>
                </a:lnTo>
                <a:lnTo>
                  <a:pt x="2752" y="320"/>
                </a:lnTo>
                <a:lnTo>
                  <a:pt x="2758" y="322"/>
                </a:lnTo>
                <a:lnTo>
                  <a:pt x="2764" y="326"/>
                </a:lnTo>
                <a:close/>
                <a:moveTo>
                  <a:pt x="2352" y="636"/>
                </a:moveTo>
                <a:lnTo>
                  <a:pt x="2352" y="636"/>
                </a:lnTo>
                <a:lnTo>
                  <a:pt x="2346" y="642"/>
                </a:lnTo>
                <a:lnTo>
                  <a:pt x="2344" y="644"/>
                </a:lnTo>
                <a:lnTo>
                  <a:pt x="2346" y="646"/>
                </a:lnTo>
                <a:lnTo>
                  <a:pt x="2350" y="648"/>
                </a:lnTo>
                <a:lnTo>
                  <a:pt x="2360" y="650"/>
                </a:lnTo>
                <a:lnTo>
                  <a:pt x="2370" y="652"/>
                </a:lnTo>
                <a:lnTo>
                  <a:pt x="2378" y="654"/>
                </a:lnTo>
                <a:lnTo>
                  <a:pt x="2384" y="658"/>
                </a:lnTo>
                <a:lnTo>
                  <a:pt x="2386" y="662"/>
                </a:lnTo>
                <a:lnTo>
                  <a:pt x="2386" y="664"/>
                </a:lnTo>
                <a:lnTo>
                  <a:pt x="2382" y="670"/>
                </a:lnTo>
                <a:lnTo>
                  <a:pt x="2378" y="672"/>
                </a:lnTo>
                <a:lnTo>
                  <a:pt x="2370" y="672"/>
                </a:lnTo>
                <a:lnTo>
                  <a:pt x="2362" y="670"/>
                </a:lnTo>
                <a:lnTo>
                  <a:pt x="2340" y="666"/>
                </a:lnTo>
                <a:lnTo>
                  <a:pt x="2326" y="666"/>
                </a:lnTo>
                <a:lnTo>
                  <a:pt x="2312" y="668"/>
                </a:lnTo>
                <a:lnTo>
                  <a:pt x="2298" y="670"/>
                </a:lnTo>
                <a:lnTo>
                  <a:pt x="2292" y="670"/>
                </a:lnTo>
                <a:lnTo>
                  <a:pt x="2288" y="666"/>
                </a:lnTo>
                <a:lnTo>
                  <a:pt x="2286" y="662"/>
                </a:lnTo>
                <a:lnTo>
                  <a:pt x="2282" y="656"/>
                </a:lnTo>
                <a:lnTo>
                  <a:pt x="2278" y="648"/>
                </a:lnTo>
                <a:lnTo>
                  <a:pt x="2266" y="638"/>
                </a:lnTo>
                <a:lnTo>
                  <a:pt x="2250" y="624"/>
                </a:lnTo>
                <a:lnTo>
                  <a:pt x="2230" y="616"/>
                </a:lnTo>
                <a:lnTo>
                  <a:pt x="2216" y="612"/>
                </a:lnTo>
                <a:lnTo>
                  <a:pt x="2206" y="612"/>
                </a:lnTo>
                <a:lnTo>
                  <a:pt x="2196" y="614"/>
                </a:lnTo>
                <a:lnTo>
                  <a:pt x="2190" y="618"/>
                </a:lnTo>
                <a:lnTo>
                  <a:pt x="2186" y="620"/>
                </a:lnTo>
                <a:lnTo>
                  <a:pt x="2180" y="618"/>
                </a:lnTo>
                <a:lnTo>
                  <a:pt x="2174" y="610"/>
                </a:lnTo>
                <a:lnTo>
                  <a:pt x="2168" y="602"/>
                </a:lnTo>
                <a:lnTo>
                  <a:pt x="2160" y="596"/>
                </a:lnTo>
                <a:lnTo>
                  <a:pt x="2152" y="594"/>
                </a:lnTo>
                <a:lnTo>
                  <a:pt x="2142" y="596"/>
                </a:lnTo>
                <a:lnTo>
                  <a:pt x="2132" y="598"/>
                </a:lnTo>
                <a:lnTo>
                  <a:pt x="2120" y="602"/>
                </a:lnTo>
                <a:lnTo>
                  <a:pt x="2090" y="614"/>
                </a:lnTo>
                <a:lnTo>
                  <a:pt x="2072" y="622"/>
                </a:lnTo>
                <a:lnTo>
                  <a:pt x="2072" y="624"/>
                </a:lnTo>
                <a:lnTo>
                  <a:pt x="2072" y="626"/>
                </a:lnTo>
                <a:lnTo>
                  <a:pt x="2076" y="628"/>
                </a:lnTo>
                <a:lnTo>
                  <a:pt x="2076" y="632"/>
                </a:lnTo>
                <a:lnTo>
                  <a:pt x="2072" y="638"/>
                </a:lnTo>
                <a:lnTo>
                  <a:pt x="2062" y="646"/>
                </a:lnTo>
                <a:lnTo>
                  <a:pt x="2054" y="654"/>
                </a:lnTo>
                <a:lnTo>
                  <a:pt x="2050" y="658"/>
                </a:lnTo>
                <a:lnTo>
                  <a:pt x="2050" y="662"/>
                </a:lnTo>
                <a:lnTo>
                  <a:pt x="2052" y="662"/>
                </a:lnTo>
                <a:lnTo>
                  <a:pt x="2056" y="664"/>
                </a:lnTo>
                <a:lnTo>
                  <a:pt x="2056" y="666"/>
                </a:lnTo>
                <a:lnTo>
                  <a:pt x="2052" y="670"/>
                </a:lnTo>
                <a:lnTo>
                  <a:pt x="2044" y="676"/>
                </a:lnTo>
                <a:lnTo>
                  <a:pt x="2034" y="684"/>
                </a:lnTo>
                <a:lnTo>
                  <a:pt x="2030" y="690"/>
                </a:lnTo>
                <a:lnTo>
                  <a:pt x="2032" y="694"/>
                </a:lnTo>
                <a:lnTo>
                  <a:pt x="2036" y="696"/>
                </a:lnTo>
                <a:lnTo>
                  <a:pt x="2056" y="702"/>
                </a:lnTo>
                <a:lnTo>
                  <a:pt x="2084" y="710"/>
                </a:lnTo>
                <a:lnTo>
                  <a:pt x="2096" y="712"/>
                </a:lnTo>
                <a:lnTo>
                  <a:pt x="2106" y="712"/>
                </a:lnTo>
                <a:lnTo>
                  <a:pt x="2114" y="710"/>
                </a:lnTo>
                <a:lnTo>
                  <a:pt x="2118" y="708"/>
                </a:lnTo>
                <a:lnTo>
                  <a:pt x="2124" y="702"/>
                </a:lnTo>
                <a:lnTo>
                  <a:pt x="2126" y="702"/>
                </a:lnTo>
                <a:lnTo>
                  <a:pt x="2130" y="704"/>
                </a:lnTo>
                <a:lnTo>
                  <a:pt x="2136" y="712"/>
                </a:lnTo>
                <a:lnTo>
                  <a:pt x="2140" y="714"/>
                </a:lnTo>
                <a:lnTo>
                  <a:pt x="2144" y="716"/>
                </a:lnTo>
                <a:lnTo>
                  <a:pt x="2148" y="714"/>
                </a:lnTo>
                <a:lnTo>
                  <a:pt x="2154" y="714"/>
                </a:lnTo>
                <a:lnTo>
                  <a:pt x="2158" y="710"/>
                </a:lnTo>
                <a:lnTo>
                  <a:pt x="2164" y="704"/>
                </a:lnTo>
                <a:lnTo>
                  <a:pt x="2174" y="692"/>
                </a:lnTo>
                <a:lnTo>
                  <a:pt x="2180" y="686"/>
                </a:lnTo>
                <a:lnTo>
                  <a:pt x="2182" y="686"/>
                </a:lnTo>
                <a:lnTo>
                  <a:pt x="2184" y="688"/>
                </a:lnTo>
                <a:lnTo>
                  <a:pt x="2182" y="696"/>
                </a:lnTo>
                <a:lnTo>
                  <a:pt x="2182" y="700"/>
                </a:lnTo>
                <a:lnTo>
                  <a:pt x="2184" y="704"/>
                </a:lnTo>
                <a:lnTo>
                  <a:pt x="2188" y="706"/>
                </a:lnTo>
                <a:lnTo>
                  <a:pt x="2196" y="706"/>
                </a:lnTo>
                <a:lnTo>
                  <a:pt x="2222" y="704"/>
                </a:lnTo>
                <a:lnTo>
                  <a:pt x="2262" y="698"/>
                </a:lnTo>
                <a:lnTo>
                  <a:pt x="2282" y="694"/>
                </a:lnTo>
                <a:lnTo>
                  <a:pt x="2292" y="694"/>
                </a:lnTo>
                <a:lnTo>
                  <a:pt x="2296" y="696"/>
                </a:lnTo>
                <a:lnTo>
                  <a:pt x="2294" y="700"/>
                </a:lnTo>
                <a:lnTo>
                  <a:pt x="2286" y="702"/>
                </a:lnTo>
                <a:lnTo>
                  <a:pt x="2274" y="706"/>
                </a:lnTo>
                <a:lnTo>
                  <a:pt x="2258" y="710"/>
                </a:lnTo>
                <a:lnTo>
                  <a:pt x="2242" y="712"/>
                </a:lnTo>
                <a:lnTo>
                  <a:pt x="2206" y="718"/>
                </a:lnTo>
                <a:lnTo>
                  <a:pt x="2188" y="722"/>
                </a:lnTo>
                <a:lnTo>
                  <a:pt x="2176" y="726"/>
                </a:lnTo>
                <a:lnTo>
                  <a:pt x="2166" y="732"/>
                </a:lnTo>
                <a:lnTo>
                  <a:pt x="2164" y="734"/>
                </a:lnTo>
                <a:lnTo>
                  <a:pt x="2164" y="738"/>
                </a:lnTo>
                <a:lnTo>
                  <a:pt x="2164" y="740"/>
                </a:lnTo>
                <a:lnTo>
                  <a:pt x="2168" y="744"/>
                </a:lnTo>
                <a:lnTo>
                  <a:pt x="2184" y="752"/>
                </a:lnTo>
                <a:lnTo>
                  <a:pt x="2196" y="756"/>
                </a:lnTo>
                <a:lnTo>
                  <a:pt x="2210" y="758"/>
                </a:lnTo>
                <a:lnTo>
                  <a:pt x="2222" y="756"/>
                </a:lnTo>
                <a:lnTo>
                  <a:pt x="2236" y="756"/>
                </a:lnTo>
                <a:lnTo>
                  <a:pt x="2266" y="748"/>
                </a:lnTo>
                <a:lnTo>
                  <a:pt x="2298" y="740"/>
                </a:lnTo>
                <a:lnTo>
                  <a:pt x="2312" y="736"/>
                </a:lnTo>
                <a:lnTo>
                  <a:pt x="2326" y="730"/>
                </a:lnTo>
                <a:lnTo>
                  <a:pt x="2348" y="718"/>
                </a:lnTo>
                <a:lnTo>
                  <a:pt x="2360" y="714"/>
                </a:lnTo>
                <a:lnTo>
                  <a:pt x="2370" y="712"/>
                </a:lnTo>
                <a:lnTo>
                  <a:pt x="2380" y="712"/>
                </a:lnTo>
                <a:lnTo>
                  <a:pt x="2390" y="714"/>
                </a:lnTo>
                <a:lnTo>
                  <a:pt x="2400" y="716"/>
                </a:lnTo>
                <a:lnTo>
                  <a:pt x="2408" y="716"/>
                </a:lnTo>
                <a:lnTo>
                  <a:pt x="2412" y="716"/>
                </a:lnTo>
                <a:lnTo>
                  <a:pt x="2416" y="714"/>
                </a:lnTo>
                <a:lnTo>
                  <a:pt x="2420" y="712"/>
                </a:lnTo>
                <a:lnTo>
                  <a:pt x="2424" y="710"/>
                </a:lnTo>
                <a:lnTo>
                  <a:pt x="2430" y="710"/>
                </a:lnTo>
                <a:lnTo>
                  <a:pt x="2440" y="712"/>
                </a:lnTo>
                <a:lnTo>
                  <a:pt x="2450" y="714"/>
                </a:lnTo>
                <a:lnTo>
                  <a:pt x="2460" y="716"/>
                </a:lnTo>
                <a:lnTo>
                  <a:pt x="2472" y="714"/>
                </a:lnTo>
                <a:lnTo>
                  <a:pt x="2480" y="710"/>
                </a:lnTo>
                <a:lnTo>
                  <a:pt x="2490" y="704"/>
                </a:lnTo>
                <a:lnTo>
                  <a:pt x="2500" y="696"/>
                </a:lnTo>
                <a:lnTo>
                  <a:pt x="2512" y="684"/>
                </a:lnTo>
                <a:lnTo>
                  <a:pt x="2522" y="672"/>
                </a:lnTo>
                <a:lnTo>
                  <a:pt x="2526" y="664"/>
                </a:lnTo>
                <a:lnTo>
                  <a:pt x="2530" y="658"/>
                </a:lnTo>
                <a:lnTo>
                  <a:pt x="2530" y="654"/>
                </a:lnTo>
                <a:lnTo>
                  <a:pt x="2530" y="648"/>
                </a:lnTo>
                <a:lnTo>
                  <a:pt x="2526" y="644"/>
                </a:lnTo>
                <a:lnTo>
                  <a:pt x="2522" y="642"/>
                </a:lnTo>
                <a:lnTo>
                  <a:pt x="2512" y="636"/>
                </a:lnTo>
                <a:lnTo>
                  <a:pt x="2500" y="634"/>
                </a:lnTo>
                <a:lnTo>
                  <a:pt x="2486" y="632"/>
                </a:lnTo>
                <a:lnTo>
                  <a:pt x="2474" y="632"/>
                </a:lnTo>
                <a:lnTo>
                  <a:pt x="2466" y="634"/>
                </a:lnTo>
                <a:lnTo>
                  <a:pt x="2450" y="640"/>
                </a:lnTo>
                <a:lnTo>
                  <a:pt x="2436" y="646"/>
                </a:lnTo>
                <a:lnTo>
                  <a:pt x="2432" y="646"/>
                </a:lnTo>
                <a:lnTo>
                  <a:pt x="2428" y="646"/>
                </a:lnTo>
                <a:lnTo>
                  <a:pt x="2428" y="644"/>
                </a:lnTo>
                <a:lnTo>
                  <a:pt x="2430" y="638"/>
                </a:lnTo>
                <a:lnTo>
                  <a:pt x="2432" y="632"/>
                </a:lnTo>
                <a:lnTo>
                  <a:pt x="2430" y="630"/>
                </a:lnTo>
                <a:lnTo>
                  <a:pt x="2424" y="628"/>
                </a:lnTo>
                <a:lnTo>
                  <a:pt x="2420" y="626"/>
                </a:lnTo>
                <a:lnTo>
                  <a:pt x="2414" y="626"/>
                </a:lnTo>
                <a:lnTo>
                  <a:pt x="2412" y="624"/>
                </a:lnTo>
                <a:lnTo>
                  <a:pt x="2410" y="622"/>
                </a:lnTo>
                <a:lnTo>
                  <a:pt x="2414" y="618"/>
                </a:lnTo>
                <a:lnTo>
                  <a:pt x="2418" y="612"/>
                </a:lnTo>
                <a:lnTo>
                  <a:pt x="2418" y="610"/>
                </a:lnTo>
                <a:lnTo>
                  <a:pt x="2416" y="608"/>
                </a:lnTo>
                <a:lnTo>
                  <a:pt x="2414" y="606"/>
                </a:lnTo>
                <a:lnTo>
                  <a:pt x="2410" y="604"/>
                </a:lnTo>
                <a:lnTo>
                  <a:pt x="2406" y="600"/>
                </a:lnTo>
                <a:lnTo>
                  <a:pt x="2402" y="592"/>
                </a:lnTo>
                <a:lnTo>
                  <a:pt x="2400" y="582"/>
                </a:lnTo>
                <a:lnTo>
                  <a:pt x="2398" y="574"/>
                </a:lnTo>
                <a:lnTo>
                  <a:pt x="2394" y="568"/>
                </a:lnTo>
                <a:lnTo>
                  <a:pt x="2388" y="566"/>
                </a:lnTo>
                <a:lnTo>
                  <a:pt x="2380" y="568"/>
                </a:lnTo>
                <a:lnTo>
                  <a:pt x="2370" y="570"/>
                </a:lnTo>
                <a:lnTo>
                  <a:pt x="2358" y="576"/>
                </a:lnTo>
                <a:lnTo>
                  <a:pt x="2332" y="594"/>
                </a:lnTo>
                <a:lnTo>
                  <a:pt x="2324" y="598"/>
                </a:lnTo>
                <a:lnTo>
                  <a:pt x="2322" y="602"/>
                </a:lnTo>
                <a:lnTo>
                  <a:pt x="2320" y="604"/>
                </a:lnTo>
                <a:lnTo>
                  <a:pt x="2322" y="608"/>
                </a:lnTo>
                <a:lnTo>
                  <a:pt x="2328" y="612"/>
                </a:lnTo>
                <a:lnTo>
                  <a:pt x="2338" y="616"/>
                </a:lnTo>
                <a:lnTo>
                  <a:pt x="2350" y="620"/>
                </a:lnTo>
                <a:lnTo>
                  <a:pt x="2358" y="624"/>
                </a:lnTo>
                <a:lnTo>
                  <a:pt x="2360" y="626"/>
                </a:lnTo>
                <a:lnTo>
                  <a:pt x="2360" y="628"/>
                </a:lnTo>
                <a:lnTo>
                  <a:pt x="2358" y="632"/>
                </a:lnTo>
                <a:lnTo>
                  <a:pt x="2352" y="636"/>
                </a:lnTo>
                <a:close/>
                <a:moveTo>
                  <a:pt x="2556" y="544"/>
                </a:moveTo>
                <a:lnTo>
                  <a:pt x="2556" y="544"/>
                </a:lnTo>
                <a:lnTo>
                  <a:pt x="2566" y="544"/>
                </a:lnTo>
                <a:lnTo>
                  <a:pt x="2568" y="542"/>
                </a:lnTo>
                <a:lnTo>
                  <a:pt x="2570" y="540"/>
                </a:lnTo>
                <a:lnTo>
                  <a:pt x="2570" y="536"/>
                </a:lnTo>
                <a:lnTo>
                  <a:pt x="2568" y="532"/>
                </a:lnTo>
                <a:lnTo>
                  <a:pt x="2556" y="520"/>
                </a:lnTo>
                <a:lnTo>
                  <a:pt x="2546" y="512"/>
                </a:lnTo>
                <a:lnTo>
                  <a:pt x="2536" y="504"/>
                </a:lnTo>
                <a:lnTo>
                  <a:pt x="2526" y="500"/>
                </a:lnTo>
                <a:lnTo>
                  <a:pt x="2516" y="496"/>
                </a:lnTo>
                <a:lnTo>
                  <a:pt x="2508" y="494"/>
                </a:lnTo>
                <a:lnTo>
                  <a:pt x="2502" y="494"/>
                </a:lnTo>
                <a:lnTo>
                  <a:pt x="2500" y="496"/>
                </a:lnTo>
                <a:lnTo>
                  <a:pt x="2500" y="500"/>
                </a:lnTo>
                <a:lnTo>
                  <a:pt x="2508" y="514"/>
                </a:lnTo>
                <a:lnTo>
                  <a:pt x="2518" y="530"/>
                </a:lnTo>
                <a:lnTo>
                  <a:pt x="2524" y="536"/>
                </a:lnTo>
                <a:lnTo>
                  <a:pt x="2534" y="542"/>
                </a:lnTo>
                <a:lnTo>
                  <a:pt x="2544" y="544"/>
                </a:lnTo>
                <a:lnTo>
                  <a:pt x="2556" y="544"/>
                </a:lnTo>
                <a:close/>
                <a:moveTo>
                  <a:pt x="1828" y="630"/>
                </a:moveTo>
                <a:lnTo>
                  <a:pt x="1828" y="630"/>
                </a:lnTo>
                <a:lnTo>
                  <a:pt x="1826" y="636"/>
                </a:lnTo>
                <a:lnTo>
                  <a:pt x="1826" y="638"/>
                </a:lnTo>
                <a:lnTo>
                  <a:pt x="1828" y="640"/>
                </a:lnTo>
                <a:lnTo>
                  <a:pt x="1830" y="640"/>
                </a:lnTo>
                <a:lnTo>
                  <a:pt x="1838" y="638"/>
                </a:lnTo>
                <a:lnTo>
                  <a:pt x="1850" y="632"/>
                </a:lnTo>
                <a:lnTo>
                  <a:pt x="1856" y="628"/>
                </a:lnTo>
                <a:lnTo>
                  <a:pt x="1860" y="628"/>
                </a:lnTo>
                <a:lnTo>
                  <a:pt x="1864" y="628"/>
                </a:lnTo>
                <a:lnTo>
                  <a:pt x="1868" y="630"/>
                </a:lnTo>
                <a:lnTo>
                  <a:pt x="1874" y="634"/>
                </a:lnTo>
                <a:lnTo>
                  <a:pt x="1880" y="636"/>
                </a:lnTo>
                <a:lnTo>
                  <a:pt x="1886" y="636"/>
                </a:lnTo>
                <a:lnTo>
                  <a:pt x="1892" y="636"/>
                </a:lnTo>
                <a:lnTo>
                  <a:pt x="1896" y="632"/>
                </a:lnTo>
                <a:lnTo>
                  <a:pt x="1900" y="626"/>
                </a:lnTo>
                <a:lnTo>
                  <a:pt x="1902" y="626"/>
                </a:lnTo>
                <a:lnTo>
                  <a:pt x="1904" y="626"/>
                </a:lnTo>
                <a:lnTo>
                  <a:pt x="1908" y="634"/>
                </a:lnTo>
                <a:lnTo>
                  <a:pt x="1914" y="642"/>
                </a:lnTo>
                <a:lnTo>
                  <a:pt x="1920" y="646"/>
                </a:lnTo>
                <a:lnTo>
                  <a:pt x="1926" y="650"/>
                </a:lnTo>
                <a:lnTo>
                  <a:pt x="1934" y="650"/>
                </a:lnTo>
                <a:lnTo>
                  <a:pt x="1940" y="648"/>
                </a:lnTo>
                <a:lnTo>
                  <a:pt x="1946" y="642"/>
                </a:lnTo>
                <a:lnTo>
                  <a:pt x="1950" y="636"/>
                </a:lnTo>
                <a:lnTo>
                  <a:pt x="1952" y="624"/>
                </a:lnTo>
                <a:lnTo>
                  <a:pt x="1952" y="616"/>
                </a:lnTo>
                <a:lnTo>
                  <a:pt x="1954" y="614"/>
                </a:lnTo>
                <a:lnTo>
                  <a:pt x="1960" y="622"/>
                </a:lnTo>
                <a:lnTo>
                  <a:pt x="1964" y="626"/>
                </a:lnTo>
                <a:lnTo>
                  <a:pt x="1968" y="626"/>
                </a:lnTo>
                <a:lnTo>
                  <a:pt x="1970" y="626"/>
                </a:lnTo>
                <a:lnTo>
                  <a:pt x="1974" y="624"/>
                </a:lnTo>
                <a:lnTo>
                  <a:pt x="1978" y="620"/>
                </a:lnTo>
                <a:lnTo>
                  <a:pt x="1988" y="606"/>
                </a:lnTo>
                <a:lnTo>
                  <a:pt x="1994" y="594"/>
                </a:lnTo>
                <a:lnTo>
                  <a:pt x="1996" y="586"/>
                </a:lnTo>
                <a:lnTo>
                  <a:pt x="1996" y="580"/>
                </a:lnTo>
                <a:lnTo>
                  <a:pt x="1998" y="578"/>
                </a:lnTo>
                <a:lnTo>
                  <a:pt x="2000" y="576"/>
                </a:lnTo>
                <a:lnTo>
                  <a:pt x="2014" y="570"/>
                </a:lnTo>
                <a:lnTo>
                  <a:pt x="2020" y="568"/>
                </a:lnTo>
                <a:lnTo>
                  <a:pt x="2022" y="568"/>
                </a:lnTo>
                <a:lnTo>
                  <a:pt x="2024" y="570"/>
                </a:lnTo>
                <a:lnTo>
                  <a:pt x="2022" y="576"/>
                </a:lnTo>
                <a:lnTo>
                  <a:pt x="2020" y="582"/>
                </a:lnTo>
                <a:lnTo>
                  <a:pt x="2020" y="590"/>
                </a:lnTo>
                <a:lnTo>
                  <a:pt x="2020" y="600"/>
                </a:lnTo>
                <a:lnTo>
                  <a:pt x="2022" y="602"/>
                </a:lnTo>
                <a:lnTo>
                  <a:pt x="2024" y="606"/>
                </a:lnTo>
                <a:lnTo>
                  <a:pt x="2030" y="608"/>
                </a:lnTo>
                <a:lnTo>
                  <a:pt x="2036" y="610"/>
                </a:lnTo>
                <a:lnTo>
                  <a:pt x="2050" y="612"/>
                </a:lnTo>
                <a:lnTo>
                  <a:pt x="2056" y="610"/>
                </a:lnTo>
                <a:lnTo>
                  <a:pt x="2060" y="608"/>
                </a:lnTo>
                <a:lnTo>
                  <a:pt x="2060" y="602"/>
                </a:lnTo>
                <a:lnTo>
                  <a:pt x="2058" y="598"/>
                </a:lnTo>
                <a:lnTo>
                  <a:pt x="2058" y="594"/>
                </a:lnTo>
                <a:lnTo>
                  <a:pt x="2060" y="590"/>
                </a:lnTo>
                <a:lnTo>
                  <a:pt x="2068" y="588"/>
                </a:lnTo>
                <a:lnTo>
                  <a:pt x="2090" y="584"/>
                </a:lnTo>
                <a:lnTo>
                  <a:pt x="2098" y="580"/>
                </a:lnTo>
                <a:lnTo>
                  <a:pt x="2104" y="576"/>
                </a:lnTo>
                <a:lnTo>
                  <a:pt x="2108" y="572"/>
                </a:lnTo>
                <a:lnTo>
                  <a:pt x="2108" y="566"/>
                </a:lnTo>
                <a:lnTo>
                  <a:pt x="2104" y="560"/>
                </a:lnTo>
                <a:lnTo>
                  <a:pt x="2094" y="552"/>
                </a:lnTo>
                <a:lnTo>
                  <a:pt x="2088" y="550"/>
                </a:lnTo>
                <a:lnTo>
                  <a:pt x="2086" y="548"/>
                </a:lnTo>
                <a:lnTo>
                  <a:pt x="2086" y="544"/>
                </a:lnTo>
                <a:lnTo>
                  <a:pt x="2088" y="542"/>
                </a:lnTo>
                <a:lnTo>
                  <a:pt x="2094" y="538"/>
                </a:lnTo>
                <a:lnTo>
                  <a:pt x="2102" y="536"/>
                </a:lnTo>
                <a:lnTo>
                  <a:pt x="2110" y="532"/>
                </a:lnTo>
                <a:lnTo>
                  <a:pt x="2114" y="530"/>
                </a:lnTo>
                <a:lnTo>
                  <a:pt x="2114" y="528"/>
                </a:lnTo>
                <a:lnTo>
                  <a:pt x="2112" y="524"/>
                </a:lnTo>
                <a:lnTo>
                  <a:pt x="2102" y="520"/>
                </a:lnTo>
                <a:lnTo>
                  <a:pt x="2080" y="512"/>
                </a:lnTo>
                <a:lnTo>
                  <a:pt x="2074" y="510"/>
                </a:lnTo>
                <a:lnTo>
                  <a:pt x="2068" y="512"/>
                </a:lnTo>
                <a:lnTo>
                  <a:pt x="2064" y="512"/>
                </a:lnTo>
                <a:lnTo>
                  <a:pt x="2060" y="516"/>
                </a:lnTo>
                <a:lnTo>
                  <a:pt x="2052" y="524"/>
                </a:lnTo>
                <a:lnTo>
                  <a:pt x="2050" y="526"/>
                </a:lnTo>
                <a:lnTo>
                  <a:pt x="2046" y="528"/>
                </a:lnTo>
                <a:lnTo>
                  <a:pt x="2038" y="528"/>
                </a:lnTo>
                <a:lnTo>
                  <a:pt x="2016" y="522"/>
                </a:lnTo>
                <a:lnTo>
                  <a:pt x="2002" y="522"/>
                </a:lnTo>
                <a:lnTo>
                  <a:pt x="1984" y="526"/>
                </a:lnTo>
                <a:lnTo>
                  <a:pt x="1974" y="528"/>
                </a:lnTo>
                <a:lnTo>
                  <a:pt x="1964" y="534"/>
                </a:lnTo>
                <a:lnTo>
                  <a:pt x="1954" y="540"/>
                </a:lnTo>
                <a:lnTo>
                  <a:pt x="1942" y="548"/>
                </a:lnTo>
                <a:lnTo>
                  <a:pt x="1926" y="562"/>
                </a:lnTo>
                <a:lnTo>
                  <a:pt x="1916" y="568"/>
                </a:lnTo>
                <a:lnTo>
                  <a:pt x="1908" y="572"/>
                </a:lnTo>
                <a:lnTo>
                  <a:pt x="1904" y="574"/>
                </a:lnTo>
                <a:lnTo>
                  <a:pt x="1896" y="576"/>
                </a:lnTo>
                <a:lnTo>
                  <a:pt x="1890" y="580"/>
                </a:lnTo>
                <a:lnTo>
                  <a:pt x="1882" y="588"/>
                </a:lnTo>
                <a:lnTo>
                  <a:pt x="1872" y="596"/>
                </a:lnTo>
                <a:lnTo>
                  <a:pt x="1864" y="600"/>
                </a:lnTo>
                <a:lnTo>
                  <a:pt x="1858" y="600"/>
                </a:lnTo>
                <a:lnTo>
                  <a:pt x="1852" y="600"/>
                </a:lnTo>
                <a:lnTo>
                  <a:pt x="1848" y="598"/>
                </a:lnTo>
                <a:lnTo>
                  <a:pt x="1842" y="598"/>
                </a:lnTo>
                <a:lnTo>
                  <a:pt x="1834" y="600"/>
                </a:lnTo>
                <a:lnTo>
                  <a:pt x="1826" y="608"/>
                </a:lnTo>
                <a:lnTo>
                  <a:pt x="1818" y="616"/>
                </a:lnTo>
                <a:lnTo>
                  <a:pt x="1816" y="620"/>
                </a:lnTo>
                <a:lnTo>
                  <a:pt x="1816" y="622"/>
                </a:lnTo>
                <a:lnTo>
                  <a:pt x="1818" y="624"/>
                </a:lnTo>
                <a:lnTo>
                  <a:pt x="1826" y="626"/>
                </a:lnTo>
                <a:lnTo>
                  <a:pt x="1828" y="628"/>
                </a:lnTo>
                <a:lnTo>
                  <a:pt x="1828" y="630"/>
                </a:lnTo>
                <a:close/>
                <a:moveTo>
                  <a:pt x="2226" y="448"/>
                </a:moveTo>
                <a:lnTo>
                  <a:pt x="2226" y="448"/>
                </a:lnTo>
                <a:lnTo>
                  <a:pt x="2232" y="448"/>
                </a:lnTo>
                <a:lnTo>
                  <a:pt x="2240" y="448"/>
                </a:lnTo>
                <a:lnTo>
                  <a:pt x="2268" y="452"/>
                </a:lnTo>
                <a:lnTo>
                  <a:pt x="2278" y="452"/>
                </a:lnTo>
                <a:lnTo>
                  <a:pt x="2282" y="450"/>
                </a:lnTo>
                <a:lnTo>
                  <a:pt x="2290" y="448"/>
                </a:lnTo>
                <a:lnTo>
                  <a:pt x="2314" y="450"/>
                </a:lnTo>
                <a:lnTo>
                  <a:pt x="2330" y="450"/>
                </a:lnTo>
                <a:lnTo>
                  <a:pt x="2346" y="450"/>
                </a:lnTo>
                <a:lnTo>
                  <a:pt x="2358" y="448"/>
                </a:lnTo>
                <a:lnTo>
                  <a:pt x="2366" y="444"/>
                </a:lnTo>
                <a:lnTo>
                  <a:pt x="2368" y="440"/>
                </a:lnTo>
                <a:lnTo>
                  <a:pt x="2368" y="436"/>
                </a:lnTo>
                <a:lnTo>
                  <a:pt x="2368" y="434"/>
                </a:lnTo>
                <a:lnTo>
                  <a:pt x="2360" y="428"/>
                </a:lnTo>
                <a:lnTo>
                  <a:pt x="2344" y="422"/>
                </a:lnTo>
                <a:lnTo>
                  <a:pt x="2328" y="416"/>
                </a:lnTo>
                <a:lnTo>
                  <a:pt x="2314" y="414"/>
                </a:lnTo>
                <a:lnTo>
                  <a:pt x="2302" y="416"/>
                </a:lnTo>
                <a:lnTo>
                  <a:pt x="2292" y="418"/>
                </a:lnTo>
                <a:lnTo>
                  <a:pt x="2270" y="426"/>
                </a:lnTo>
                <a:lnTo>
                  <a:pt x="2258" y="430"/>
                </a:lnTo>
                <a:lnTo>
                  <a:pt x="2242" y="432"/>
                </a:lnTo>
                <a:lnTo>
                  <a:pt x="2228" y="434"/>
                </a:lnTo>
                <a:lnTo>
                  <a:pt x="2216" y="438"/>
                </a:lnTo>
                <a:lnTo>
                  <a:pt x="2210" y="442"/>
                </a:lnTo>
                <a:lnTo>
                  <a:pt x="2206" y="446"/>
                </a:lnTo>
                <a:lnTo>
                  <a:pt x="2208" y="450"/>
                </a:lnTo>
                <a:lnTo>
                  <a:pt x="2210" y="450"/>
                </a:lnTo>
                <a:lnTo>
                  <a:pt x="2218" y="450"/>
                </a:lnTo>
                <a:lnTo>
                  <a:pt x="2226" y="448"/>
                </a:lnTo>
                <a:close/>
                <a:moveTo>
                  <a:pt x="2308" y="518"/>
                </a:moveTo>
                <a:lnTo>
                  <a:pt x="2308" y="518"/>
                </a:lnTo>
                <a:lnTo>
                  <a:pt x="2322" y="516"/>
                </a:lnTo>
                <a:lnTo>
                  <a:pt x="2332" y="512"/>
                </a:lnTo>
                <a:lnTo>
                  <a:pt x="2338" y="508"/>
                </a:lnTo>
                <a:lnTo>
                  <a:pt x="2340" y="502"/>
                </a:lnTo>
                <a:lnTo>
                  <a:pt x="2340" y="498"/>
                </a:lnTo>
                <a:lnTo>
                  <a:pt x="2336" y="494"/>
                </a:lnTo>
                <a:lnTo>
                  <a:pt x="2328" y="490"/>
                </a:lnTo>
                <a:lnTo>
                  <a:pt x="2316" y="488"/>
                </a:lnTo>
                <a:lnTo>
                  <a:pt x="2308" y="488"/>
                </a:lnTo>
                <a:lnTo>
                  <a:pt x="2306" y="486"/>
                </a:lnTo>
                <a:lnTo>
                  <a:pt x="2320" y="484"/>
                </a:lnTo>
                <a:lnTo>
                  <a:pt x="2340" y="480"/>
                </a:lnTo>
                <a:lnTo>
                  <a:pt x="2350" y="476"/>
                </a:lnTo>
                <a:lnTo>
                  <a:pt x="2356" y="470"/>
                </a:lnTo>
                <a:lnTo>
                  <a:pt x="2356" y="468"/>
                </a:lnTo>
                <a:lnTo>
                  <a:pt x="2356" y="466"/>
                </a:lnTo>
                <a:lnTo>
                  <a:pt x="2350" y="464"/>
                </a:lnTo>
                <a:lnTo>
                  <a:pt x="2340" y="462"/>
                </a:lnTo>
                <a:lnTo>
                  <a:pt x="2326" y="462"/>
                </a:lnTo>
                <a:lnTo>
                  <a:pt x="2292" y="466"/>
                </a:lnTo>
                <a:lnTo>
                  <a:pt x="2252" y="472"/>
                </a:lnTo>
                <a:lnTo>
                  <a:pt x="2220" y="478"/>
                </a:lnTo>
                <a:lnTo>
                  <a:pt x="2212" y="482"/>
                </a:lnTo>
                <a:lnTo>
                  <a:pt x="2206" y="484"/>
                </a:lnTo>
                <a:lnTo>
                  <a:pt x="2204" y="488"/>
                </a:lnTo>
                <a:lnTo>
                  <a:pt x="2204" y="494"/>
                </a:lnTo>
                <a:lnTo>
                  <a:pt x="2210" y="508"/>
                </a:lnTo>
                <a:lnTo>
                  <a:pt x="2216" y="516"/>
                </a:lnTo>
                <a:lnTo>
                  <a:pt x="2224" y="522"/>
                </a:lnTo>
                <a:lnTo>
                  <a:pt x="2236" y="524"/>
                </a:lnTo>
                <a:lnTo>
                  <a:pt x="2248" y="526"/>
                </a:lnTo>
                <a:lnTo>
                  <a:pt x="2278" y="524"/>
                </a:lnTo>
                <a:lnTo>
                  <a:pt x="2308" y="518"/>
                </a:lnTo>
                <a:close/>
                <a:moveTo>
                  <a:pt x="2768" y="590"/>
                </a:moveTo>
                <a:lnTo>
                  <a:pt x="2768" y="590"/>
                </a:lnTo>
                <a:lnTo>
                  <a:pt x="2762" y="586"/>
                </a:lnTo>
                <a:lnTo>
                  <a:pt x="2756" y="584"/>
                </a:lnTo>
                <a:lnTo>
                  <a:pt x="2742" y="582"/>
                </a:lnTo>
                <a:lnTo>
                  <a:pt x="2728" y="584"/>
                </a:lnTo>
                <a:lnTo>
                  <a:pt x="2712" y="588"/>
                </a:lnTo>
                <a:lnTo>
                  <a:pt x="2706" y="590"/>
                </a:lnTo>
                <a:lnTo>
                  <a:pt x="2704" y="592"/>
                </a:lnTo>
                <a:lnTo>
                  <a:pt x="2704" y="596"/>
                </a:lnTo>
                <a:lnTo>
                  <a:pt x="2710" y="602"/>
                </a:lnTo>
                <a:lnTo>
                  <a:pt x="2726" y="618"/>
                </a:lnTo>
                <a:lnTo>
                  <a:pt x="2748" y="640"/>
                </a:lnTo>
                <a:lnTo>
                  <a:pt x="2728" y="630"/>
                </a:lnTo>
                <a:lnTo>
                  <a:pt x="2714" y="620"/>
                </a:lnTo>
                <a:lnTo>
                  <a:pt x="2706" y="614"/>
                </a:lnTo>
                <a:lnTo>
                  <a:pt x="2702" y="608"/>
                </a:lnTo>
                <a:lnTo>
                  <a:pt x="2698" y="604"/>
                </a:lnTo>
                <a:lnTo>
                  <a:pt x="2696" y="600"/>
                </a:lnTo>
                <a:lnTo>
                  <a:pt x="2688" y="598"/>
                </a:lnTo>
                <a:lnTo>
                  <a:pt x="2678" y="598"/>
                </a:lnTo>
                <a:lnTo>
                  <a:pt x="2666" y="598"/>
                </a:lnTo>
                <a:lnTo>
                  <a:pt x="2656" y="600"/>
                </a:lnTo>
                <a:lnTo>
                  <a:pt x="2652" y="602"/>
                </a:lnTo>
                <a:lnTo>
                  <a:pt x="2650" y="604"/>
                </a:lnTo>
                <a:lnTo>
                  <a:pt x="2652" y="610"/>
                </a:lnTo>
                <a:lnTo>
                  <a:pt x="2656" y="616"/>
                </a:lnTo>
                <a:lnTo>
                  <a:pt x="2670" y="632"/>
                </a:lnTo>
                <a:lnTo>
                  <a:pt x="2680" y="642"/>
                </a:lnTo>
                <a:lnTo>
                  <a:pt x="2680" y="644"/>
                </a:lnTo>
                <a:lnTo>
                  <a:pt x="2676" y="642"/>
                </a:lnTo>
                <a:lnTo>
                  <a:pt x="2666" y="638"/>
                </a:lnTo>
                <a:lnTo>
                  <a:pt x="2660" y="640"/>
                </a:lnTo>
                <a:lnTo>
                  <a:pt x="2656" y="642"/>
                </a:lnTo>
                <a:lnTo>
                  <a:pt x="2650" y="646"/>
                </a:lnTo>
                <a:lnTo>
                  <a:pt x="2644" y="648"/>
                </a:lnTo>
                <a:lnTo>
                  <a:pt x="2632" y="654"/>
                </a:lnTo>
                <a:lnTo>
                  <a:pt x="2628" y="656"/>
                </a:lnTo>
                <a:lnTo>
                  <a:pt x="2624" y="658"/>
                </a:lnTo>
                <a:lnTo>
                  <a:pt x="2624" y="662"/>
                </a:lnTo>
                <a:lnTo>
                  <a:pt x="2628" y="666"/>
                </a:lnTo>
                <a:lnTo>
                  <a:pt x="2632" y="668"/>
                </a:lnTo>
                <a:lnTo>
                  <a:pt x="2636" y="670"/>
                </a:lnTo>
                <a:lnTo>
                  <a:pt x="2652" y="670"/>
                </a:lnTo>
                <a:lnTo>
                  <a:pt x="2670" y="668"/>
                </a:lnTo>
                <a:lnTo>
                  <a:pt x="2690" y="664"/>
                </a:lnTo>
                <a:lnTo>
                  <a:pt x="2730" y="658"/>
                </a:lnTo>
                <a:lnTo>
                  <a:pt x="2748" y="656"/>
                </a:lnTo>
                <a:lnTo>
                  <a:pt x="2760" y="656"/>
                </a:lnTo>
                <a:lnTo>
                  <a:pt x="2766" y="656"/>
                </a:lnTo>
                <a:lnTo>
                  <a:pt x="2762" y="658"/>
                </a:lnTo>
                <a:lnTo>
                  <a:pt x="2742" y="664"/>
                </a:lnTo>
                <a:lnTo>
                  <a:pt x="2730" y="670"/>
                </a:lnTo>
                <a:lnTo>
                  <a:pt x="2720" y="674"/>
                </a:lnTo>
                <a:lnTo>
                  <a:pt x="2718" y="676"/>
                </a:lnTo>
                <a:lnTo>
                  <a:pt x="2716" y="680"/>
                </a:lnTo>
                <a:lnTo>
                  <a:pt x="2716" y="682"/>
                </a:lnTo>
                <a:lnTo>
                  <a:pt x="2718" y="686"/>
                </a:lnTo>
                <a:lnTo>
                  <a:pt x="2722" y="694"/>
                </a:lnTo>
                <a:lnTo>
                  <a:pt x="2724" y="700"/>
                </a:lnTo>
                <a:lnTo>
                  <a:pt x="2728" y="712"/>
                </a:lnTo>
                <a:lnTo>
                  <a:pt x="2730" y="716"/>
                </a:lnTo>
                <a:lnTo>
                  <a:pt x="2734" y="716"/>
                </a:lnTo>
                <a:lnTo>
                  <a:pt x="2740" y="716"/>
                </a:lnTo>
                <a:lnTo>
                  <a:pt x="2752" y="712"/>
                </a:lnTo>
                <a:lnTo>
                  <a:pt x="2760" y="710"/>
                </a:lnTo>
                <a:lnTo>
                  <a:pt x="2768" y="708"/>
                </a:lnTo>
                <a:lnTo>
                  <a:pt x="2790" y="710"/>
                </a:lnTo>
                <a:lnTo>
                  <a:pt x="2808" y="712"/>
                </a:lnTo>
                <a:lnTo>
                  <a:pt x="2824" y="708"/>
                </a:lnTo>
                <a:lnTo>
                  <a:pt x="2830" y="706"/>
                </a:lnTo>
                <a:lnTo>
                  <a:pt x="2834" y="702"/>
                </a:lnTo>
                <a:lnTo>
                  <a:pt x="2834" y="698"/>
                </a:lnTo>
                <a:lnTo>
                  <a:pt x="2832" y="692"/>
                </a:lnTo>
                <a:lnTo>
                  <a:pt x="2826" y="680"/>
                </a:lnTo>
                <a:lnTo>
                  <a:pt x="2826" y="670"/>
                </a:lnTo>
                <a:lnTo>
                  <a:pt x="2826" y="668"/>
                </a:lnTo>
                <a:lnTo>
                  <a:pt x="2830" y="668"/>
                </a:lnTo>
                <a:lnTo>
                  <a:pt x="2834" y="668"/>
                </a:lnTo>
                <a:lnTo>
                  <a:pt x="2840" y="672"/>
                </a:lnTo>
                <a:lnTo>
                  <a:pt x="2848" y="678"/>
                </a:lnTo>
                <a:lnTo>
                  <a:pt x="2850" y="678"/>
                </a:lnTo>
                <a:lnTo>
                  <a:pt x="2852" y="676"/>
                </a:lnTo>
                <a:lnTo>
                  <a:pt x="2848" y="668"/>
                </a:lnTo>
                <a:lnTo>
                  <a:pt x="2842" y="656"/>
                </a:lnTo>
                <a:lnTo>
                  <a:pt x="2838" y="648"/>
                </a:lnTo>
                <a:lnTo>
                  <a:pt x="2836" y="638"/>
                </a:lnTo>
                <a:lnTo>
                  <a:pt x="2834" y="618"/>
                </a:lnTo>
                <a:lnTo>
                  <a:pt x="2832" y="608"/>
                </a:lnTo>
                <a:lnTo>
                  <a:pt x="2828" y="598"/>
                </a:lnTo>
                <a:lnTo>
                  <a:pt x="2820" y="590"/>
                </a:lnTo>
                <a:lnTo>
                  <a:pt x="2808" y="582"/>
                </a:lnTo>
                <a:lnTo>
                  <a:pt x="2796" y="578"/>
                </a:lnTo>
                <a:lnTo>
                  <a:pt x="2788" y="578"/>
                </a:lnTo>
                <a:lnTo>
                  <a:pt x="2784" y="582"/>
                </a:lnTo>
                <a:lnTo>
                  <a:pt x="2780" y="586"/>
                </a:lnTo>
                <a:lnTo>
                  <a:pt x="2776" y="592"/>
                </a:lnTo>
                <a:lnTo>
                  <a:pt x="2774" y="594"/>
                </a:lnTo>
                <a:lnTo>
                  <a:pt x="2768" y="590"/>
                </a:lnTo>
                <a:close/>
                <a:moveTo>
                  <a:pt x="3556" y="1666"/>
                </a:moveTo>
                <a:lnTo>
                  <a:pt x="3556" y="1666"/>
                </a:lnTo>
                <a:lnTo>
                  <a:pt x="3562" y="1664"/>
                </a:lnTo>
                <a:lnTo>
                  <a:pt x="3566" y="1656"/>
                </a:lnTo>
                <a:lnTo>
                  <a:pt x="3570" y="1646"/>
                </a:lnTo>
                <a:lnTo>
                  <a:pt x="3572" y="1636"/>
                </a:lnTo>
                <a:lnTo>
                  <a:pt x="3572" y="1626"/>
                </a:lnTo>
                <a:lnTo>
                  <a:pt x="3570" y="1618"/>
                </a:lnTo>
                <a:lnTo>
                  <a:pt x="3568" y="1614"/>
                </a:lnTo>
                <a:lnTo>
                  <a:pt x="3564" y="1614"/>
                </a:lnTo>
                <a:lnTo>
                  <a:pt x="3560" y="1612"/>
                </a:lnTo>
                <a:lnTo>
                  <a:pt x="3554" y="1614"/>
                </a:lnTo>
                <a:lnTo>
                  <a:pt x="3550" y="1616"/>
                </a:lnTo>
                <a:lnTo>
                  <a:pt x="3546" y="1618"/>
                </a:lnTo>
                <a:lnTo>
                  <a:pt x="3540" y="1626"/>
                </a:lnTo>
                <a:lnTo>
                  <a:pt x="3538" y="1634"/>
                </a:lnTo>
                <a:lnTo>
                  <a:pt x="3538" y="1644"/>
                </a:lnTo>
                <a:lnTo>
                  <a:pt x="3540" y="1654"/>
                </a:lnTo>
                <a:lnTo>
                  <a:pt x="3546" y="1660"/>
                </a:lnTo>
                <a:lnTo>
                  <a:pt x="3550" y="1666"/>
                </a:lnTo>
                <a:lnTo>
                  <a:pt x="3556" y="1666"/>
                </a:lnTo>
                <a:close/>
                <a:moveTo>
                  <a:pt x="2980" y="518"/>
                </a:moveTo>
                <a:lnTo>
                  <a:pt x="2980" y="518"/>
                </a:lnTo>
                <a:lnTo>
                  <a:pt x="2998" y="516"/>
                </a:lnTo>
                <a:lnTo>
                  <a:pt x="3008" y="514"/>
                </a:lnTo>
                <a:lnTo>
                  <a:pt x="3014" y="510"/>
                </a:lnTo>
                <a:lnTo>
                  <a:pt x="3014" y="508"/>
                </a:lnTo>
                <a:lnTo>
                  <a:pt x="3014" y="506"/>
                </a:lnTo>
                <a:lnTo>
                  <a:pt x="3010" y="502"/>
                </a:lnTo>
                <a:lnTo>
                  <a:pt x="3000" y="496"/>
                </a:lnTo>
                <a:lnTo>
                  <a:pt x="2988" y="494"/>
                </a:lnTo>
                <a:lnTo>
                  <a:pt x="2972" y="492"/>
                </a:lnTo>
                <a:lnTo>
                  <a:pt x="2938" y="490"/>
                </a:lnTo>
                <a:lnTo>
                  <a:pt x="2912" y="492"/>
                </a:lnTo>
                <a:lnTo>
                  <a:pt x="2902" y="494"/>
                </a:lnTo>
                <a:lnTo>
                  <a:pt x="2894" y="498"/>
                </a:lnTo>
                <a:lnTo>
                  <a:pt x="2890" y="502"/>
                </a:lnTo>
                <a:lnTo>
                  <a:pt x="2888" y="508"/>
                </a:lnTo>
                <a:lnTo>
                  <a:pt x="2890" y="512"/>
                </a:lnTo>
                <a:lnTo>
                  <a:pt x="2896" y="516"/>
                </a:lnTo>
                <a:lnTo>
                  <a:pt x="2904" y="518"/>
                </a:lnTo>
                <a:lnTo>
                  <a:pt x="2914" y="518"/>
                </a:lnTo>
                <a:lnTo>
                  <a:pt x="2944" y="518"/>
                </a:lnTo>
                <a:lnTo>
                  <a:pt x="2980" y="518"/>
                </a:lnTo>
                <a:close/>
                <a:moveTo>
                  <a:pt x="2546" y="696"/>
                </a:moveTo>
                <a:lnTo>
                  <a:pt x="2546" y="696"/>
                </a:lnTo>
                <a:lnTo>
                  <a:pt x="2546" y="700"/>
                </a:lnTo>
                <a:lnTo>
                  <a:pt x="2548" y="704"/>
                </a:lnTo>
                <a:lnTo>
                  <a:pt x="2554" y="708"/>
                </a:lnTo>
                <a:lnTo>
                  <a:pt x="2562" y="710"/>
                </a:lnTo>
                <a:lnTo>
                  <a:pt x="2572" y="710"/>
                </a:lnTo>
                <a:lnTo>
                  <a:pt x="2580" y="708"/>
                </a:lnTo>
                <a:lnTo>
                  <a:pt x="2588" y="704"/>
                </a:lnTo>
                <a:lnTo>
                  <a:pt x="2594" y="700"/>
                </a:lnTo>
                <a:lnTo>
                  <a:pt x="2594" y="698"/>
                </a:lnTo>
                <a:lnTo>
                  <a:pt x="2594" y="694"/>
                </a:lnTo>
                <a:lnTo>
                  <a:pt x="2590" y="690"/>
                </a:lnTo>
                <a:lnTo>
                  <a:pt x="2584" y="684"/>
                </a:lnTo>
                <a:lnTo>
                  <a:pt x="2576" y="680"/>
                </a:lnTo>
                <a:lnTo>
                  <a:pt x="2568" y="678"/>
                </a:lnTo>
                <a:lnTo>
                  <a:pt x="2560" y="678"/>
                </a:lnTo>
                <a:lnTo>
                  <a:pt x="2552" y="680"/>
                </a:lnTo>
                <a:lnTo>
                  <a:pt x="2548" y="686"/>
                </a:lnTo>
                <a:lnTo>
                  <a:pt x="2546" y="696"/>
                </a:lnTo>
                <a:close/>
                <a:moveTo>
                  <a:pt x="2018" y="630"/>
                </a:moveTo>
                <a:lnTo>
                  <a:pt x="2018" y="630"/>
                </a:lnTo>
                <a:lnTo>
                  <a:pt x="1994" y="640"/>
                </a:lnTo>
                <a:lnTo>
                  <a:pt x="1972" y="654"/>
                </a:lnTo>
                <a:lnTo>
                  <a:pt x="1966" y="660"/>
                </a:lnTo>
                <a:lnTo>
                  <a:pt x="1964" y="666"/>
                </a:lnTo>
                <a:lnTo>
                  <a:pt x="1964" y="668"/>
                </a:lnTo>
                <a:lnTo>
                  <a:pt x="1966" y="670"/>
                </a:lnTo>
                <a:lnTo>
                  <a:pt x="1978" y="672"/>
                </a:lnTo>
                <a:lnTo>
                  <a:pt x="1984" y="672"/>
                </a:lnTo>
                <a:lnTo>
                  <a:pt x="1992" y="670"/>
                </a:lnTo>
                <a:lnTo>
                  <a:pt x="2002" y="666"/>
                </a:lnTo>
                <a:lnTo>
                  <a:pt x="2012" y="658"/>
                </a:lnTo>
                <a:lnTo>
                  <a:pt x="2020" y="648"/>
                </a:lnTo>
                <a:lnTo>
                  <a:pt x="2026" y="640"/>
                </a:lnTo>
                <a:lnTo>
                  <a:pt x="2026" y="634"/>
                </a:lnTo>
                <a:lnTo>
                  <a:pt x="2026" y="630"/>
                </a:lnTo>
                <a:lnTo>
                  <a:pt x="2024" y="630"/>
                </a:lnTo>
                <a:lnTo>
                  <a:pt x="2022" y="630"/>
                </a:lnTo>
                <a:lnTo>
                  <a:pt x="2018" y="630"/>
                </a:lnTo>
                <a:close/>
                <a:moveTo>
                  <a:pt x="2144" y="570"/>
                </a:moveTo>
                <a:lnTo>
                  <a:pt x="2144" y="570"/>
                </a:lnTo>
                <a:lnTo>
                  <a:pt x="2144" y="572"/>
                </a:lnTo>
                <a:lnTo>
                  <a:pt x="2148" y="574"/>
                </a:lnTo>
                <a:lnTo>
                  <a:pt x="2162" y="578"/>
                </a:lnTo>
                <a:lnTo>
                  <a:pt x="2182" y="578"/>
                </a:lnTo>
                <a:lnTo>
                  <a:pt x="2190" y="576"/>
                </a:lnTo>
                <a:lnTo>
                  <a:pt x="2198" y="574"/>
                </a:lnTo>
                <a:lnTo>
                  <a:pt x="2200" y="572"/>
                </a:lnTo>
                <a:lnTo>
                  <a:pt x="2200" y="570"/>
                </a:lnTo>
                <a:lnTo>
                  <a:pt x="2198" y="566"/>
                </a:lnTo>
                <a:lnTo>
                  <a:pt x="2190" y="564"/>
                </a:lnTo>
                <a:lnTo>
                  <a:pt x="2182" y="562"/>
                </a:lnTo>
                <a:lnTo>
                  <a:pt x="2170" y="562"/>
                </a:lnTo>
                <a:lnTo>
                  <a:pt x="2160" y="562"/>
                </a:lnTo>
                <a:lnTo>
                  <a:pt x="2150" y="566"/>
                </a:lnTo>
                <a:lnTo>
                  <a:pt x="2144" y="570"/>
                </a:lnTo>
                <a:close/>
                <a:moveTo>
                  <a:pt x="2180" y="496"/>
                </a:moveTo>
                <a:lnTo>
                  <a:pt x="2180" y="496"/>
                </a:lnTo>
                <a:lnTo>
                  <a:pt x="2190" y="496"/>
                </a:lnTo>
                <a:lnTo>
                  <a:pt x="2192" y="494"/>
                </a:lnTo>
                <a:lnTo>
                  <a:pt x="2192" y="492"/>
                </a:lnTo>
                <a:lnTo>
                  <a:pt x="2188" y="486"/>
                </a:lnTo>
                <a:lnTo>
                  <a:pt x="2178" y="476"/>
                </a:lnTo>
                <a:lnTo>
                  <a:pt x="2172" y="470"/>
                </a:lnTo>
                <a:lnTo>
                  <a:pt x="2166" y="468"/>
                </a:lnTo>
                <a:lnTo>
                  <a:pt x="2160" y="468"/>
                </a:lnTo>
                <a:lnTo>
                  <a:pt x="2154" y="468"/>
                </a:lnTo>
                <a:lnTo>
                  <a:pt x="2146" y="472"/>
                </a:lnTo>
                <a:lnTo>
                  <a:pt x="2138" y="476"/>
                </a:lnTo>
                <a:lnTo>
                  <a:pt x="2138" y="478"/>
                </a:lnTo>
                <a:lnTo>
                  <a:pt x="2138" y="482"/>
                </a:lnTo>
                <a:lnTo>
                  <a:pt x="2148" y="488"/>
                </a:lnTo>
                <a:lnTo>
                  <a:pt x="2162" y="494"/>
                </a:lnTo>
                <a:lnTo>
                  <a:pt x="2170" y="496"/>
                </a:lnTo>
                <a:lnTo>
                  <a:pt x="2180" y="496"/>
                </a:lnTo>
                <a:close/>
                <a:moveTo>
                  <a:pt x="2616" y="594"/>
                </a:moveTo>
                <a:lnTo>
                  <a:pt x="2616" y="594"/>
                </a:lnTo>
                <a:lnTo>
                  <a:pt x="2606" y="592"/>
                </a:lnTo>
                <a:lnTo>
                  <a:pt x="2600" y="588"/>
                </a:lnTo>
                <a:lnTo>
                  <a:pt x="2588" y="580"/>
                </a:lnTo>
                <a:lnTo>
                  <a:pt x="2584" y="578"/>
                </a:lnTo>
                <a:lnTo>
                  <a:pt x="2578" y="576"/>
                </a:lnTo>
                <a:lnTo>
                  <a:pt x="2572" y="576"/>
                </a:lnTo>
                <a:lnTo>
                  <a:pt x="2562" y="580"/>
                </a:lnTo>
                <a:lnTo>
                  <a:pt x="2556" y="584"/>
                </a:lnTo>
                <a:lnTo>
                  <a:pt x="2554" y="588"/>
                </a:lnTo>
                <a:lnTo>
                  <a:pt x="2556" y="592"/>
                </a:lnTo>
                <a:lnTo>
                  <a:pt x="2562" y="602"/>
                </a:lnTo>
                <a:lnTo>
                  <a:pt x="2566" y="606"/>
                </a:lnTo>
                <a:lnTo>
                  <a:pt x="2570" y="608"/>
                </a:lnTo>
                <a:lnTo>
                  <a:pt x="2582" y="608"/>
                </a:lnTo>
                <a:lnTo>
                  <a:pt x="2594" y="608"/>
                </a:lnTo>
                <a:lnTo>
                  <a:pt x="2606" y="606"/>
                </a:lnTo>
                <a:lnTo>
                  <a:pt x="2616" y="602"/>
                </a:lnTo>
                <a:lnTo>
                  <a:pt x="2624" y="600"/>
                </a:lnTo>
                <a:lnTo>
                  <a:pt x="2624" y="598"/>
                </a:lnTo>
                <a:lnTo>
                  <a:pt x="2624" y="596"/>
                </a:lnTo>
                <a:lnTo>
                  <a:pt x="2616" y="594"/>
                </a:lnTo>
                <a:close/>
                <a:moveTo>
                  <a:pt x="2638" y="612"/>
                </a:moveTo>
                <a:lnTo>
                  <a:pt x="2638" y="612"/>
                </a:lnTo>
                <a:lnTo>
                  <a:pt x="2630" y="610"/>
                </a:lnTo>
                <a:lnTo>
                  <a:pt x="2620" y="610"/>
                </a:lnTo>
                <a:lnTo>
                  <a:pt x="2592" y="614"/>
                </a:lnTo>
                <a:lnTo>
                  <a:pt x="2578" y="616"/>
                </a:lnTo>
                <a:lnTo>
                  <a:pt x="2568" y="620"/>
                </a:lnTo>
                <a:lnTo>
                  <a:pt x="2564" y="622"/>
                </a:lnTo>
                <a:lnTo>
                  <a:pt x="2562" y="624"/>
                </a:lnTo>
                <a:lnTo>
                  <a:pt x="2564" y="626"/>
                </a:lnTo>
                <a:lnTo>
                  <a:pt x="2570" y="628"/>
                </a:lnTo>
                <a:lnTo>
                  <a:pt x="2582" y="628"/>
                </a:lnTo>
                <a:lnTo>
                  <a:pt x="2610" y="624"/>
                </a:lnTo>
                <a:lnTo>
                  <a:pt x="2634" y="618"/>
                </a:lnTo>
                <a:lnTo>
                  <a:pt x="2638" y="616"/>
                </a:lnTo>
                <a:lnTo>
                  <a:pt x="2640" y="614"/>
                </a:lnTo>
                <a:lnTo>
                  <a:pt x="2638" y="612"/>
                </a:lnTo>
                <a:close/>
                <a:moveTo>
                  <a:pt x="2590" y="642"/>
                </a:moveTo>
                <a:lnTo>
                  <a:pt x="2590" y="642"/>
                </a:lnTo>
                <a:lnTo>
                  <a:pt x="2596" y="642"/>
                </a:lnTo>
                <a:lnTo>
                  <a:pt x="2604" y="642"/>
                </a:lnTo>
                <a:lnTo>
                  <a:pt x="2624" y="638"/>
                </a:lnTo>
                <a:lnTo>
                  <a:pt x="2640" y="632"/>
                </a:lnTo>
                <a:lnTo>
                  <a:pt x="2642" y="630"/>
                </a:lnTo>
                <a:lnTo>
                  <a:pt x="2642" y="628"/>
                </a:lnTo>
                <a:lnTo>
                  <a:pt x="2636" y="628"/>
                </a:lnTo>
                <a:lnTo>
                  <a:pt x="2628" y="628"/>
                </a:lnTo>
                <a:lnTo>
                  <a:pt x="2606" y="632"/>
                </a:lnTo>
                <a:lnTo>
                  <a:pt x="2590" y="636"/>
                </a:lnTo>
                <a:lnTo>
                  <a:pt x="2588" y="640"/>
                </a:lnTo>
                <a:lnTo>
                  <a:pt x="2590" y="642"/>
                </a:lnTo>
                <a:close/>
                <a:moveTo>
                  <a:pt x="2610" y="654"/>
                </a:moveTo>
                <a:lnTo>
                  <a:pt x="2610" y="654"/>
                </a:lnTo>
                <a:lnTo>
                  <a:pt x="2616" y="654"/>
                </a:lnTo>
                <a:lnTo>
                  <a:pt x="2622" y="652"/>
                </a:lnTo>
                <a:lnTo>
                  <a:pt x="2638" y="646"/>
                </a:lnTo>
                <a:lnTo>
                  <a:pt x="2650" y="640"/>
                </a:lnTo>
                <a:lnTo>
                  <a:pt x="2654" y="636"/>
                </a:lnTo>
                <a:lnTo>
                  <a:pt x="2652" y="636"/>
                </a:lnTo>
                <a:lnTo>
                  <a:pt x="2642" y="636"/>
                </a:lnTo>
                <a:lnTo>
                  <a:pt x="2624" y="642"/>
                </a:lnTo>
                <a:lnTo>
                  <a:pt x="2610" y="648"/>
                </a:lnTo>
                <a:lnTo>
                  <a:pt x="2608" y="652"/>
                </a:lnTo>
                <a:lnTo>
                  <a:pt x="2610" y="654"/>
                </a:lnTo>
                <a:close/>
                <a:moveTo>
                  <a:pt x="3342" y="390"/>
                </a:moveTo>
                <a:lnTo>
                  <a:pt x="3342" y="390"/>
                </a:lnTo>
                <a:lnTo>
                  <a:pt x="3342" y="386"/>
                </a:lnTo>
                <a:lnTo>
                  <a:pt x="3338" y="386"/>
                </a:lnTo>
                <a:lnTo>
                  <a:pt x="3324" y="386"/>
                </a:lnTo>
                <a:lnTo>
                  <a:pt x="3306" y="392"/>
                </a:lnTo>
                <a:lnTo>
                  <a:pt x="3298" y="396"/>
                </a:lnTo>
                <a:lnTo>
                  <a:pt x="3290" y="400"/>
                </a:lnTo>
                <a:lnTo>
                  <a:pt x="3288" y="404"/>
                </a:lnTo>
                <a:lnTo>
                  <a:pt x="3292" y="404"/>
                </a:lnTo>
                <a:lnTo>
                  <a:pt x="3308" y="402"/>
                </a:lnTo>
                <a:lnTo>
                  <a:pt x="3330" y="398"/>
                </a:lnTo>
                <a:lnTo>
                  <a:pt x="3338" y="394"/>
                </a:lnTo>
                <a:lnTo>
                  <a:pt x="3342" y="390"/>
                </a:lnTo>
                <a:close/>
                <a:moveTo>
                  <a:pt x="3480" y="2214"/>
                </a:moveTo>
                <a:lnTo>
                  <a:pt x="3480" y="2214"/>
                </a:lnTo>
                <a:lnTo>
                  <a:pt x="3504" y="2224"/>
                </a:lnTo>
                <a:lnTo>
                  <a:pt x="3514" y="2226"/>
                </a:lnTo>
                <a:lnTo>
                  <a:pt x="3518" y="2226"/>
                </a:lnTo>
                <a:lnTo>
                  <a:pt x="3520" y="2226"/>
                </a:lnTo>
                <a:lnTo>
                  <a:pt x="3522" y="2222"/>
                </a:lnTo>
                <a:lnTo>
                  <a:pt x="3522" y="2218"/>
                </a:lnTo>
                <a:lnTo>
                  <a:pt x="3516" y="2210"/>
                </a:lnTo>
                <a:lnTo>
                  <a:pt x="3506" y="2196"/>
                </a:lnTo>
                <a:lnTo>
                  <a:pt x="3498" y="2194"/>
                </a:lnTo>
                <a:lnTo>
                  <a:pt x="3486" y="2194"/>
                </a:lnTo>
                <a:lnTo>
                  <a:pt x="3474" y="2196"/>
                </a:lnTo>
                <a:lnTo>
                  <a:pt x="3470" y="2198"/>
                </a:lnTo>
                <a:lnTo>
                  <a:pt x="3466" y="2202"/>
                </a:lnTo>
                <a:lnTo>
                  <a:pt x="3466" y="2204"/>
                </a:lnTo>
                <a:lnTo>
                  <a:pt x="3466" y="2208"/>
                </a:lnTo>
                <a:lnTo>
                  <a:pt x="3480" y="2214"/>
                </a:lnTo>
                <a:close/>
                <a:moveTo>
                  <a:pt x="3576" y="2034"/>
                </a:moveTo>
                <a:lnTo>
                  <a:pt x="3576" y="2034"/>
                </a:lnTo>
                <a:lnTo>
                  <a:pt x="3580" y="2032"/>
                </a:lnTo>
                <a:lnTo>
                  <a:pt x="3582" y="2028"/>
                </a:lnTo>
                <a:lnTo>
                  <a:pt x="3586" y="2010"/>
                </a:lnTo>
                <a:lnTo>
                  <a:pt x="3588" y="2002"/>
                </a:lnTo>
                <a:lnTo>
                  <a:pt x="3588" y="1998"/>
                </a:lnTo>
                <a:lnTo>
                  <a:pt x="3582" y="1992"/>
                </a:lnTo>
                <a:lnTo>
                  <a:pt x="3578" y="1988"/>
                </a:lnTo>
                <a:lnTo>
                  <a:pt x="3576" y="1988"/>
                </a:lnTo>
                <a:lnTo>
                  <a:pt x="3574" y="1996"/>
                </a:lnTo>
                <a:lnTo>
                  <a:pt x="3570" y="2006"/>
                </a:lnTo>
                <a:lnTo>
                  <a:pt x="3568" y="2006"/>
                </a:lnTo>
                <a:lnTo>
                  <a:pt x="3568" y="2002"/>
                </a:lnTo>
                <a:lnTo>
                  <a:pt x="3568" y="1994"/>
                </a:lnTo>
                <a:lnTo>
                  <a:pt x="3568" y="1992"/>
                </a:lnTo>
                <a:lnTo>
                  <a:pt x="3566" y="1992"/>
                </a:lnTo>
                <a:lnTo>
                  <a:pt x="3566" y="1994"/>
                </a:lnTo>
                <a:lnTo>
                  <a:pt x="3566" y="1996"/>
                </a:lnTo>
                <a:lnTo>
                  <a:pt x="3566" y="2000"/>
                </a:lnTo>
                <a:lnTo>
                  <a:pt x="3566" y="2004"/>
                </a:lnTo>
                <a:lnTo>
                  <a:pt x="3564" y="2008"/>
                </a:lnTo>
                <a:lnTo>
                  <a:pt x="3560" y="2010"/>
                </a:lnTo>
                <a:lnTo>
                  <a:pt x="3558" y="2014"/>
                </a:lnTo>
                <a:lnTo>
                  <a:pt x="3554" y="2018"/>
                </a:lnTo>
                <a:lnTo>
                  <a:pt x="3546" y="2028"/>
                </a:lnTo>
                <a:lnTo>
                  <a:pt x="3546" y="2030"/>
                </a:lnTo>
                <a:lnTo>
                  <a:pt x="3546" y="2034"/>
                </a:lnTo>
                <a:lnTo>
                  <a:pt x="3548" y="2036"/>
                </a:lnTo>
                <a:lnTo>
                  <a:pt x="3550" y="2034"/>
                </a:lnTo>
                <a:lnTo>
                  <a:pt x="3558" y="2024"/>
                </a:lnTo>
                <a:lnTo>
                  <a:pt x="3564" y="2018"/>
                </a:lnTo>
                <a:lnTo>
                  <a:pt x="3564" y="2020"/>
                </a:lnTo>
                <a:lnTo>
                  <a:pt x="3562" y="2026"/>
                </a:lnTo>
                <a:lnTo>
                  <a:pt x="3556" y="2036"/>
                </a:lnTo>
                <a:lnTo>
                  <a:pt x="3562" y="2034"/>
                </a:lnTo>
                <a:lnTo>
                  <a:pt x="3566" y="2032"/>
                </a:lnTo>
                <a:lnTo>
                  <a:pt x="3568" y="2030"/>
                </a:lnTo>
                <a:lnTo>
                  <a:pt x="3572" y="2024"/>
                </a:lnTo>
                <a:lnTo>
                  <a:pt x="3574" y="2016"/>
                </a:lnTo>
                <a:lnTo>
                  <a:pt x="3578" y="2012"/>
                </a:lnTo>
                <a:lnTo>
                  <a:pt x="3580" y="2012"/>
                </a:lnTo>
                <a:lnTo>
                  <a:pt x="3580" y="2016"/>
                </a:lnTo>
                <a:lnTo>
                  <a:pt x="3578" y="2024"/>
                </a:lnTo>
                <a:lnTo>
                  <a:pt x="3576" y="2032"/>
                </a:lnTo>
                <a:lnTo>
                  <a:pt x="3576" y="2034"/>
                </a:lnTo>
                <a:close/>
                <a:moveTo>
                  <a:pt x="3596" y="2016"/>
                </a:moveTo>
                <a:lnTo>
                  <a:pt x="3596" y="2016"/>
                </a:lnTo>
                <a:lnTo>
                  <a:pt x="3600" y="2012"/>
                </a:lnTo>
                <a:lnTo>
                  <a:pt x="3600" y="2004"/>
                </a:lnTo>
                <a:lnTo>
                  <a:pt x="3600" y="2000"/>
                </a:lnTo>
                <a:lnTo>
                  <a:pt x="3600" y="1998"/>
                </a:lnTo>
                <a:lnTo>
                  <a:pt x="3598" y="1998"/>
                </a:lnTo>
                <a:lnTo>
                  <a:pt x="3594" y="2000"/>
                </a:lnTo>
                <a:lnTo>
                  <a:pt x="3594" y="2004"/>
                </a:lnTo>
                <a:lnTo>
                  <a:pt x="3590" y="2016"/>
                </a:lnTo>
                <a:lnTo>
                  <a:pt x="3588" y="2018"/>
                </a:lnTo>
                <a:lnTo>
                  <a:pt x="3590" y="2018"/>
                </a:lnTo>
                <a:lnTo>
                  <a:pt x="3596" y="2016"/>
                </a:lnTo>
                <a:close/>
                <a:moveTo>
                  <a:pt x="3554" y="2010"/>
                </a:moveTo>
                <a:lnTo>
                  <a:pt x="3554" y="2010"/>
                </a:lnTo>
                <a:lnTo>
                  <a:pt x="3558" y="2004"/>
                </a:lnTo>
                <a:lnTo>
                  <a:pt x="3560" y="2000"/>
                </a:lnTo>
                <a:lnTo>
                  <a:pt x="3560" y="1998"/>
                </a:lnTo>
                <a:lnTo>
                  <a:pt x="3558" y="1998"/>
                </a:lnTo>
                <a:lnTo>
                  <a:pt x="3556" y="2002"/>
                </a:lnTo>
                <a:lnTo>
                  <a:pt x="3550" y="2002"/>
                </a:lnTo>
                <a:lnTo>
                  <a:pt x="3544" y="2004"/>
                </a:lnTo>
                <a:lnTo>
                  <a:pt x="3542" y="2006"/>
                </a:lnTo>
                <a:lnTo>
                  <a:pt x="3542" y="2010"/>
                </a:lnTo>
                <a:lnTo>
                  <a:pt x="3542" y="2014"/>
                </a:lnTo>
                <a:lnTo>
                  <a:pt x="3544" y="2014"/>
                </a:lnTo>
                <a:lnTo>
                  <a:pt x="3554" y="2010"/>
                </a:lnTo>
                <a:close/>
                <a:moveTo>
                  <a:pt x="4022" y="1754"/>
                </a:moveTo>
                <a:lnTo>
                  <a:pt x="4022" y="1754"/>
                </a:lnTo>
                <a:lnTo>
                  <a:pt x="4028" y="1754"/>
                </a:lnTo>
                <a:lnTo>
                  <a:pt x="4036" y="1748"/>
                </a:lnTo>
                <a:lnTo>
                  <a:pt x="4038" y="1744"/>
                </a:lnTo>
                <a:lnTo>
                  <a:pt x="4038" y="1740"/>
                </a:lnTo>
                <a:lnTo>
                  <a:pt x="4038" y="1736"/>
                </a:lnTo>
                <a:lnTo>
                  <a:pt x="4034" y="1734"/>
                </a:lnTo>
                <a:lnTo>
                  <a:pt x="4030" y="1732"/>
                </a:lnTo>
                <a:lnTo>
                  <a:pt x="4026" y="1734"/>
                </a:lnTo>
                <a:lnTo>
                  <a:pt x="4022" y="1736"/>
                </a:lnTo>
                <a:lnTo>
                  <a:pt x="4020" y="1740"/>
                </a:lnTo>
                <a:lnTo>
                  <a:pt x="4018" y="1746"/>
                </a:lnTo>
                <a:lnTo>
                  <a:pt x="4016" y="1750"/>
                </a:lnTo>
                <a:lnTo>
                  <a:pt x="4018" y="1754"/>
                </a:lnTo>
                <a:lnTo>
                  <a:pt x="4022" y="1754"/>
                </a:lnTo>
                <a:close/>
                <a:moveTo>
                  <a:pt x="4738" y="4884"/>
                </a:moveTo>
                <a:lnTo>
                  <a:pt x="4738" y="4884"/>
                </a:lnTo>
                <a:lnTo>
                  <a:pt x="4736" y="4888"/>
                </a:lnTo>
                <a:lnTo>
                  <a:pt x="4738" y="4892"/>
                </a:lnTo>
                <a:lnTo>
                  <a:pt x="4742" y="4896"/>
                </a:lnTo>
                <a:lnTo>
                  <a:pt x="4746" y="4896"/>
                </a:lnTo>
                <a:lnTo>
                  <a:pt x="4746" y="4894"/>
                </a:lnTo>
                <a:lnTo>
                  <a:pt x="4746" y="4890"/>
                </a:lnTo>
                <a:lnTo>
                  <a:pt x="4742" y="4884"/>
                </a:lnTo>
                <a:lnTo>
                  <a:pt x="4740" y="4884"/>
                </a:lnTo>
                <a:lnTo>
                  <a:pt x="4738" y="4884"/>
                </a:lnTo>
                <a:close/>
                <a:moveTo>
                  <a:pt x="4752" y="4972"/>
                </a:moveTo>
                <a:lnTo>
                  <a:pt x="4752" y="4972"/>
                </a:lnTo>
                <a:lnTo>
                  <a:pt x="4754" y="4968"/>
                </a:lnTo>
                <a:lnTo>
                  <a:pt x="4756" y="4962"/>
                </a:lnTo>
                <a:lnTo>
                  <a:pt x="4754" y="4958"/>
                </a:lnTo>
                <a:lnTo>
                  <a:pt x="4752" y="4958"/>
                </a:lnTo>
                <a:lnTo>
                  <a:pt x="4750" y="4958"/>
                </a:lnTo>
                <a:lnTo>
                  <a:pt x="4748" y="4960"/>
                </a:lnTo>
                <a:lnTo>
                  <a:pt x="4746" y="4964"/>
                </a:lnTo>
                <a:lnTo>
                  <a:pt x="4744" y="4968"/>
                </a:lnTo>
                <a:lnTo>
                  <a:pt x="4748" y="4972"/>
                </a:lnTo>
                <a:lnTo>
                  <a:pt x="4752" y="4972"/>
                </a:lnTo>
                <a:close/>
                <a:moveTo>
                  <a:pt x="4742" y="4980"/>
                </a:moveTo>
                <a:lnTo>
                  <a:pt x="4742" y="4980"/>
                </a:lnTo>
                <a:lnTo>
                  <a:pt x="4744" y="4978"/>
                </a:lnTo>
                <a:lnTo>
                  <a:pt x="4746" y="4976"/>
                </a:lnTo>
                <a:lnTo>
                  <a:pt x="4742" y="4966"/>
                </a:lnTo>
                <a:lnTo>
                  <a:pt x="4740" y="4962"/>
                </a:lnTo>
                <a:lnTo>
                  <a:pt x="4740" y="4964"/>
                </a:lnTo>
                <a:lnTo>
                  <a:pt x="4740" y="4970"/>
                </a:lnTo>
                <a:lnTo>
                  <a:pt x="4738" y="4974"/>
                </a:lnTo>
                <a:lnTo>
                  <a:pt x="4738" y="4976"/>
                </a:lnTo>
                <a:lnTo>
                  <a:pt x="4738" y="4980"/>
                </a:lnTo>
                <a:lnTo>
                  <a:pt x="4742" y="4980"/>
                </a:lnTo>
                <a:close/>
                <a:moveTo>
                  <a:pt x="4710" y="4996"/>
                </a:moveTo>
                <a:lnTo>
                  <a:pt x="4710" y="4996"/>
                </a:lnTo>
                <a:lnTo>
                  <a:pt x="4706" y="5000"/>
                </a:lnTo>
                <a:lnTo>
                  <a:pt x="4702" y="5006"/>
                </a:lnTo>
                <a:lnTo>
                  <a:pt x="4702" y="5010"/>
                </a:lnTo>
                <a:lnTo>
                  <a:pt x="4702" y="5012"/>
                </a:lnTo>
                <a:lnTo>
                  <a:pt x="4704" y="5012"/>
                </a:lnTo>
                <a:lnTo>
                  <a:pt x="4706" y="5008"/>
                </a:lnTo>
                <a:lnTo>
                  <a:pt x="4710" y="5002"/>
                </a:lnTo>
                <a:lnTo>
                  <a:pt x="4710" y="4998"/>
                </a:lnTo>
                <a:lnTo>
                  <a:pt x="4710" y="4996"/>
                </a:lnTo>
                <a:close/>
                <a:moveTo>
                  <a:pt x="4722" y="5018"/>
                </a:moveTo>
                <a:lnTo>
                  <a:pt x="4722" y="5018"/>
                </a:lnTo>
                <a:lnTo>
                  <a:pt x="4720" y="5018"/>
                </a:lnTo>
                <a:lnTo>
                  <a:pt x="4716" y="5020"/>
                </a:lnTo>
                <a:lnTo>
                  <a:pt x="4714" y="5024"/>
                </a:lnTo>
                <a:lnTo>
                  <a:pt x="4714" y="5026"/>
                </a:lnTo>
                <a:lnTo>
                  <a:pt x="4714" y="5028"/>
                </a:lnTo>
                <a:lnTo>
                  <a:pt x="4718" y="5026"/>
                </a:lnTo>
                <a:lnTo>
                  <a:pt x="4720" y="5024"/>
                </a:lnTo>
                <a:lnTo>
                  <a:pt x="4722" y="5022"/>
                </a:lnTo>
                <a:lnTo>
                  <a:pt x="4722" y="5018"/>
                </a:lnTo>
                <a:close/>
                <a:moveTo>
                  <a:pt x="4720" y="5008"/>
                </a:moveTo>
                <a:lnTo>
                  <a:pt x="4720" y="5008"/>
                </a:lnTo>
                <a:lnTo>
                  <a:pt x="4716" y="5008"/>
                </a:lnTo>
                <a:lnTo>
                  <a:pt x="4714" y="5012"/>
                </a:lnTo>
                <a:lnTo>
                  <a:pt x="4712" y="5014"/>
                </a:lnTo>
                <a:lnTo>
                  <a:pt x="4714" y="5016"/>
                </a:lnTo>
                <a:lnTo>
                  <a:pt x="4716" y="5014"/>
                </a:lnTo>
                <a:lnTo>
                  <a:pt x="4718" y="5012"/>
                </a:lnTo>
                <a:lnTo>
                  <a:pt x="4720" y="5010"/>
                </a:lnTo>
                <a:lnTo>
                  <a:pt x="4720" y="5008"/>
                </a:lnTo>
                <a:close/>
                <a:moveTo>
                  <a:pt x="4746" y="4952"/>
                </a:moveTo>
                <a:lnTo>
                  <a:pt x="4746" y="4952"/>
                </a:lnTo>
                <a:lnTo>
                  <a:pt x="4746" y="4954"/>
                </a:lnTo>
                <a:lnTo>
                  <a:pt x="4748" y="4954"/>
                </a:lnTo>
                <a:lnTo>
                  <a:pt x="4752" y="4952"/>
                </a:lnTo>
                <a:lnTo>
                  <a:pt x="4754" y="4950"/>
                </a:lnTo>
                <a:lnTo>
                  <a:pt x="4756" y="4948"/>
                </a:lnTo>
                <a:lnTo>
                  <a:pt x="4754" y="4946"/>
                </a:lnTo>
                <a:lnTo>
                  <a:pt x="4752" y="4948"/>
                </a:lnTo>
                <a:lnTo>
                  <a:pt x="4748" y="4950"/>
                </a:lnTo>
                <a:lnTo>
                  <a:pt x="4746" y="4952"/>
                </a:lnTo>
                <a:close/>
                <a:moveTo>
                  <a:pt x="6938" y="500"/>
                </a:moveTo>
                <a:lnTo>
                  <a:pt x="6938" y="500"/>
                </a:lnTo>
                <a:lnTo>
                  <a:pt x="6940" y="502"/>
                </a:lnTo>
                <a:lnTo>
                  <a:pt x="6942" y="504"/>
                </a:lnTo>
                <a:lnTo>
                  <a:pt x="6942" y="508"/>
                </a:lnTo>
                <a:lnTo>
                  <a:pt x="6944" y="510"/>
                </a:lnTo>
                <a:lnTo>
                  <a:pt x="6946" y="510"/>
                </a:lnTo>
                <a:lnTo>
                  <a:pt x="6958" y="506"/>
                </a:lnTo>
                <a:lnTo>
                  <a:pt x="6974" y="504"/>
                </a:lnTo>
                <a:lnTo>
                  <a:pt x="6990" y="502"/>
                </a:lnTo>
                <a:lnTo>
                  <a:pt x="6996" y="502"/>
                </a:lnTo>
                <a:lnTo>
                  <a:pt x="7000" y="500"/>
                </a:lnTo>
                <a:lnTo>
                  <a:pt x="7002" y="496"/>
                </a:lnTo>
                <a:lnTo>
                  <a:pt x="7002" y="490"/>
                </a:lnTo>
                <a:lnTo>
                  <a:pt x="7000" y="484"/>
                </a:lnTo>
                <a:lnTo>
                  <a:pt x="6996" y="480"/>
                </a:lnTo>
                <a:lnTo>
                  <a:pt x="6992" y="476"/>
                </a:lnTo>
                <a:lnTo>
                  <a:pt x="6984" y="474"/>
                </a:lnTo>
                <a:lnTo>
                  <a:pt x="6968" y="474"/>
                </a:lnTo>
                <a:lnTo>
                  <a:pt x="6950" y="478"/>
                </a:lnTo>
                <a:lnTo>
                  <a:pt x="6934" y="482"/>
                </a:lnTo>
                <a:lnTo>
                  <a:pt x="6924" y="486"/>
                </a:lnTo>
                <a:lnTo>
                  <a:pt x="6922" y="488"/>
                </a:lnTo>
                <a:lnTo>
                  <a:pt x="6924" y="490"/>
                </a:lnTo>
                <a:lnTo>
                  <a:pt x="6938" y="500"/>
                </a:lnTo>
                <a:close/>
                <a:moveTo>
                  <a:pt x="7100" y="536"/>
                </a:moveTo>
                <a:lnTo>
                  <a:pt x="7100" y="536"/>
                </a:lnTo>
                <a:lnTo>
                  <a:pt x="7092" y="534"/>
                </a:lnTo>
                <a:lnTo>
                  <a:pt x="7086" y="534"/>
                </a:lnTo>
                <a:lnTo>
                  <a:pt x="7078" y="536"/>
                </a:lnTo>
                <a:lnTo>
                  <a:pt x="7072" y="538"/>
                </a:lnTo>
                <a:lnTo>
                  <a:pt x="7066" y="538"/>
                </a:lnTo>
                <a:lnTo>
                  <a:pt x="7058" y="536"/>
                </a:lnTo>
                <a:lnTo>
                  <a:pt x="7048" y="530"/>
                </a:lnTo>
                <a:lnTo>
                  <a:pt x="7040" y="526"/>
                </a:lnTo>
                <a:lnTo>
                  <a:pt x="7038" y="520"/>
                </a:lnTo>
                <a:lnTo>
                  <a:pt x="7040" y="518"/>
                </a:lnTo>
                <a:lnTo>
                  <a:pt x="7046" y="514"/>
                </a:lnTo>
                <a:lnTo>
                  <a:pt x="7054" y="510"/>
                </a:lnTo>
                <a:lnTo>
                  <a:pt x="7054" y="508"/>
                </a:lnTo>
                <a:lnTo>
                  <a:pt x="7050" y="506"/>
                </a:lnTo>
                <a:lnTo>
                  <a:pt x="7038" y="504"/>
                </a:lnTo>
                <a:lnTo>
                  <a:pt x="7020" y="504"/>
                </a:lnTo>
                <a:lnTo>
                  <a:pt x="7000" y="506"/>
                </a:lnTo>
                <a:lnTo>
                  <a:pt x="6980" y="508"/>
                </a:lnTo>
                <a:lnTo>
                  <a:pt x="6964" y="512"/>
                </a:lnTo>
                <a:lnTo>
                  <a:pt x="6958" y="514"/>
                </a:lnTo>
                <a:lnTo>
                  <a:pt x="6954" y="516"/>
                </a:lnTo>
                <a:lnTo>
                  <a:pt x="6954" y="518"/>
                </a:lnTo>
                <a:lnTo>
                  <a:pt x="6956" y="522"/>
                </a:lnTo>
                <a:lnTo>
                  <a:pt x="6960" y="526"/>
                </a:lnTo>
                <a:lnTo>
                  <a:pt x="6970" y="528"/>
                </a:lnTo>
                <a:lnTo>
                  <a:pt x="6976" y="532"/>
                </a:lnTo>
                <a:lnTo>
                  <a:pt x="6976" y="534"/>
                </a:lnTo>
                <a:lnTo>
                  <a:pt x="6976" y="536"/>
                </a:lnTo>
                <a:lnTo>
                  <a:pt x="6970" y="542"/>
                </a:lnTo>
                <a:lnTo>
                  <a:pt x="6956" y="554"/>
                </a:lnTo>
                <a:lnTo>
                  <a:pt x="6950" y="560"/>
                </a:lnTo>
                <a:lnTo>
                  <a:pt x="6946" y="564"/>
                </a:lnTo>
                <a:lnTo>
                  <a:pt x="6948" y="566"/>
                </a:lnTo>
                <a:lnTo>
                  <a:pt x="6954" y="568"/>
                </a:lnTo>
                <a:lnTo>
                  <a:pt x="6972" y="566"/>
                </a:lnTo>
                <a:lnTo>
                  <a:pt x="6998" y="564"/>
                </a:lnTo>
                <a:lnTo>
                  <a:pt x="7010" y="564"/>
                </a:lnTo>
                <a:lnTo>
                  <a:pt x="7012" y="566"/>
                </a:lnTo>
                <a:lnTo>
                  <a:pt x="7014" y="568"/>
                </a:lnTo>
                <a:lnTo>
                  <a:pt x="7014" y="572"/>
                </a:lnTo>
                <a:lnTo>
                  <a:pt x="7012" y="578"/>
                </a:lnTo>
                <a:lnTo>
                  <a:pt x="7010" y="582"/>
                </a:lnTo>
                <a:lnTo>
                  <a:pt x="7010" y="584"/>
                </a:lnTo>
                <a:lnTo>
                  <a:pt x="7012" y="584"/>
                </a:lnTo>
                <a:lnTo>
                  <a:pt x="7020" y="582"/>
                </a:lnTo>
                <a:lnTo>
                  <a:pt x="7034" y="578"/>
                </a:lnTo>
                <a:lnTo>
                  <a:pt x="7062" y="566"/>
                </a:lnTo>
                <a:lnTo>
                  <a:pt x="7088" y="556"/>
                </a:lnTo>
                <a:lnTo>
                  <a:pt x="7096" y="550"/>
                </a:lnTo>
                <a:lnTo>
                  <a:pt x="7102" y="546"/>
                </a:lnTo>
                <a:lnTo>
                  <a:pt x="7104" y="544"/>
                </a:lnTo>
                <a:lnTo>
                  <a:pt x="7104" y="540"/>
                </a:lnTo>
                <a:lnTo>
                  <a:pt x="7102" y="538"/>
                </a:lnTo>
                <a:lnTo>
                  <a:pt x="7100" y="536"/>
                </a:lnTo>
                <a:close/>
                <a:moveTo>
                  <a:pt x="13128" y="7142"/>
                </a:moveTo>
                <a:lnTo>
                  <a:pt x="13128" y="7142"/>
                </a:lnTo>
                <a:lnTo>
                  <a:pt x="13130" y="7134"/>
                </a:lnTo>
                <a:lnTo>
                  <a:pt x="13130" y="7128"/>
                </a:lnTo>
                <a:lnTo>
                  <a:pt x="13130" y="7124"/>
                </a:lnTo>
                <a:lnTo>
                  <a:pt x="13126" y="7122"/>
                </a:lnTo>
                <a:lnTo>
                  <a:pt x="13120" y="7120"/>
                </a:lnTo>
                <a:lnTo>
                  <a:pt x="13114" y="7122"/>
                </a:lnTo>
                <a:lnTo>
                  <a:pt x="13104" y="7126"/>
                </a:lnTo>
                <a:lnTo>
                  <a:pt x="13096" y="7134"/>
                </a:lnTo>
                <a:lnTo>
                  <a:pt x="13088" y="7140"/>
                </a:lnTo>
                <a:lnTo>
                  <a:pt x="13084" y="7140"/>
                </a:lnTo>
                <a:lnTo>
                  <a:pt x="13082" y="7138"/>
                </a:lnTo>
                <a:lnTo>
                  <a:pt x="13080" y="7132"/>
                </a:lnTo>
                <a:lnTo>
                  <a:pt x="13082" y="7120"/>
                </a:lnTo>
                <a:lnTo>
                  <a:pt x="13080" y="7116"/>
                </a:lnTo>
                <a:lnTo>
                  <a:pt x="13078" y="7112"/>
                </a:lnTo>
                <a:lnTo>
                  <a:pt x="13072" y="7112"/>
                </a:lnTo>
                <a:lnTo>
                  <a:pt x="13068" y="7110"/>
                </a:lnTo>
                <a:lnTo>
                  <a:pt x="13070" y="7106"/>
                </a:lnTo>
                <a:lnTo>
                  <a:pt x="13074" y="7102"/>
                </a:lnTo>
                <a:lnTo>
                  <a:pt x="13078" y="7100"/>
                </a:lnTo>
                <a:lnTo>
                  <a:pt x="13078" y="7098"/>
                </a:lnTo>
                <a:lnTo>
                  <a:pt x="13078" y="7096"/>
                </a:lnTo>
                <a:lnTo>
                  <a:pt x="13076" y="7094"/>
                </a:lnTo>
                <a:lnTo>
                  <a:pt x="13072" y="7094"/>
                </a:lnTo>
                <a:lnTo>
                  <a:pt x="13066" y="7096"/>
                </a:lnTo>
                <a:lnTo>
                  <a:pt x="13058" y="7100"/>
                </a:lnTo>
                <a:lnTo>
                  <a:pt x="13050" y="7106"/>
                </a:lnTo>
                <a:lnTo>
                  <a:pt x="13046" y="7114"/>
                </a:lnTo>
                <a:lnTo>
                  <a:pt x="13044" y="7120"/>
                </a:lnTo>
                <a:lnTo>
                  <a:pt x="13044" y="7136"/>
                </a:lnTo>
                <a:lnTo>
                  <a:pt x="13044" y="7142"/>
                </a:lnTo>
                <a:lnTo>
                  <a:pt x="13042" y="7150"/>
                </a:lnTo>
                <a:lnTo>
                  <a:pt x="13036" y="7156"/>
                </a:lnTo>
                <a:lnTo>
                  <a:pt x="13028" y="7160"/>
                </a:lnTo>
                <a:lnTo>
                  <a:pt x="13022" y="7164"/>
                </a:lnTo>
                <a:lnTo>
                  <a:pt x="13016" y="7174"/>
                </a:lnTo>
                <a:lnTo>
                  <a:pt x="13006" y="7196"/>
                </a:lnTo>
                <a:lnTo>
                  <a:pt x="12994" y="7220"/>
                </a:lnTo>
                <a:lnTo>
                  <a:pt x="12988" y="7228"/>
                </a:lnTo>
                <a:lnTo>
                  <a:pt x="12982" y="7236"/>
                </a:lnTo>
                <a:lnTo>
                  <a:pt x="12968" y="7246"/>
                </a:lnTo>
                <a:lnTo>
                  <a:pt x="12956" y="7258"/>
                </a:lnTo>
                <a:lnTo>
                  <a:pt x="12946" y="7266"/>
                </a:lnTo>
                <a:lnTo>
                  <a:pt x="12940" y="7270"/>
                </a:lnTo>
                <a:lnTo>
                  <a:pt x="12934" y="7272"/>
                </a:lnTo>
                <a:lnTo>
                  <a:pt x="12930" y="7272"/>
                </a:lnTo>
                <a:lnTo>
                  <a:pt x="12926" y="7276"/>
                </a:lnTo>
                <a:lnTo>
                  <a:pt x="12922" y="7282"/>
                </a:lnTo>
                <a:lnTo>
                  <a:pt x="12916" y="7288"/>
                </a:lnTo>
                <a:lnTo>
                  <a:pt x="12912" y="7288"/>
                </a:lnTo>
                <a:lnTo>
                  <a:pt x="12906" y="7290"/>
                </a:lnTo>
                <a:lnTo>
                  <a:pt x="12900" y="7290"/>
                </a:lnTo>
                <a:lnTo>
                  <a:pt x="12894" y="7294"/>
                </a:lnTo>
                <a:lnTo>
                  <a:pt x="12888" y="7300"/>
                </a:lnTo>
                <a:lnTo>
                  <a:pt x="12882" y="7306"/>
                </a:lnTo>
                <a:lnTo>
                  <a:pt x="12870" y="7322"/>
                </a:lnTo>
                <a:lnTo>
                  <a:pt x="12856" y="7336"/>
                </a:lnTo>
                <a:lnTo>
                  <a:pt x="12844" y="7350"/>
                </a:lnTo>
                <a:lnTo>
                  <a:pt x="12834" y="7362"/>
                </a:lnTo>
                <a:lnTo>
                  <a:pt x="12830" y="7368"/>
                </a:lnTo>
                <a:lnTo>
                  <a:pt x="12828" y="7372"/>
                </a:lnTo>
                <a:lnTo>
                  <a:pt x="12826" y="7378"/>
                </a:lnTo>
                <a:lnTo>
                  <a:pt x="12828" y="7384"/>
                </a:lnTo>
                <a:lnTo>
                  <a:pt x="12830" y="7388"/>
                </a:lnTo>
                <a:lnTo>
                  <a:pt x="12828" y="7392"/>
                </a:lnTo>
                <a:lnTo>
                  <a:pt x="12822" y="7396"/>
                </a:lnTo>
                <a:lnTo>
                  <a:pt x="12816" y="7400"/>
                </a:lnTo>
                <a:lnTo>
                  <a:pt x="12816" y="7402"/>
                </a:lnTo>
                <a:lnTo>
                  <a:pt x="12816" y="7406"/>
                </a:lnTo>
                <a:lnTo>
                  <a:pt x="12824" y="7416"/>
                </a:lnTo>
                <a:lnTo>
                  <a:pt x="12832" y="7422"/>
                </a:lnTo>
                <a:lnTo>
                  <a:pt x="12838" y="7422"/>
                </a:lnTo>
                <a:lnTo>
                  <a:pt x="12844" y="7422"/>
                </a:lnTo>
                <a:lnTo>
                  <a:pt x="12848" y="7420"/>
                </a:lnTo>
                <a:lnTo>
                  <a:pt x="12854" y="7418"/>
                </a:lnTo>
                <a:lnTo>
                  <a:pt x="12860" y="7414"/>
                </a:lnTo>
                <a:lnTo>
                  <a:pt x="12862" y="7414"/>
                </a:lnTo>
                <a:lnTo>
                  <a:pt x="12864" y="7416"/>
                </a:lnTo>
                <a:lnTo>
                  <a:pt x="12866" y="7418"/>
                </a:lnTo>
                <a:lnTo>
                  <a:pt x="12870" y="7424"/>
                </a:lnTo>
                <a:lnTo>
                  <a:pt x="12872" y="7426"/>
                </a:lnTo>
                <a:lnTo>
                  <a:pt x="12878" y="7426"/>
                </a:lnTo>
                <a:lnTo>
                  <a:pt x="12884" y="7426"/>
                </a:lnTo>
                <a:lnTo>
                  <a:pt x="12886" y="7428"/>
                </a:lnTo>
                <a:lnTo>
                  <a:pt x="12888" y="7432"/>
                </a:lnTo>
                <a:lnTo>
                  <a:pt x="12888" y="7436"/>
                </a:lnTo>
                <a:lnTo>
                  <a:pt x="12890" y="7438"/>
                </a:lnTo>
                <a:lnTo>
                  <a:pt x="12896" y="7440"/>
                </a:lnTo>
                <a:lnTo>
                  <a:pt x="12902" y="7442"/>
                </a:lnTo>
                <a:lnTo>
                  <a:pt x="12918" y="7444"/>
                </a:lnTo>
                <a:lnTo>
                  <a:pt x="12926" y="7444"/>
                </a:lnTo>
                <a:lnTo>
                  <a:pt x="12932" y="7444"/>
                </a:lnTo>
                <a:lnTo>
                  <a:pt x="12938" y="7440"/>
                </a:lnTo>
                <a:lnTo>
                  <a:pt x="12946" y="7436"/>
                </a:lnTo>
                <a:lnTo>
                  <a:pt x="12952" y="7430"/>
                </a:lnTo>
                <a:lnTo>
                  <a:pt x="12958" y="7420"/>
                </a:lnTo>
                <a:lnTo>
                  <a:pt x="12966" y="7412"/>
                </a:lnTo>
                <a:lnTo>
                  <a:pt x="12972" y="7406"/>
                </a:lnTo>
                <a:lnTo>
                  <a:pt x="12978" y="7402"/>
                </a:lnTo>
                <a:lnTo>
                  <a:pt x="12984" y="7400"/>
                </a:lnTo>
                <a:lnTo>
                  <a:pt x="12990" y="7396"/>
                </a:lnTo>
                <a:lnTo>
                  <a:pt x="12992" y="7394"/>
                </a:lnTo>
                <a:lnTo>
                  <a:pt x="12990" y="7390"/>
                </a:lnTo>
                <a:lnTo>
                  <a:pt x="12988" y="7386"/>
                </a:lnTo>
                <a:lnTo>
                  <a:pt x="12988" y="7380"/>
                </a:lnTo>
                <a:lnTo>
                  <a:pt x="12996" y="7368"/>
                </a:lnTo>
                <a:lnTo>
                  <a:pt x="13004" y="7350"/>
                </a:lnTo>
                <a:lnTo>
                  <a:pt x="13006" y="7340"/>
                </a:lnTo>
                <a:lnTo>
                  <a:pt x="13008" y="7328"/>
                </a:lnTo>
                <a:lnTo>
                  <a:pt x="13010" y="7316"/>
                </a:lnTo>
                <a:lnTo>
                  <a:pt x="13016" y="7306"/>
                </a:lnTo>
                <a:lnTo>
                  <a:pt x="13024" y="7298"/>
                </a:lnTo>
                <a:lnTo>
                  <a:pt x="13034" y="7292"/>
                </a:lnTo>
                <a:lnTo>
                  <a:pt x="13046" y="7288"/>
                </a:lnTo>
                <a:lnTo>
                  <a:pt x="13056" y="7284"/>
                </a:lnTo>
                <a:lnTo>
                  <a:pt x="13064" y="7284"/>
                </a:lnTo>
                <a:lnTo>
                  <a:pt x="13070" y="7286"/>
                </a:lnTo>
                <a:lnTo>
                  <a:pt x="13076" y="7286"/>
                </a:lnTo>
                <a:lnTo>
                  <a:pt x="13080" y="7286"/>
                </a:lnTo>
                <a:lnTo>
                  <a:pt x="13084" y="7284"/>
                </a:lnTo>
                <a:lnTo>
                  <a:pt x="13086" y="7282"/>
                </a:lnTo>
                <a:lnTo>
                  <a:pt x="13088" y="7278"/>
                </a:lnTo>
                <a:lnTo>
                  <a:pt x="13088" y="7274"/>
                </a:lnTo>
                <a:lnTo>
                  <a:pt x="13086" y="7272"/>
                </a:lnTo>
                <a:lnTo>
                  <a:pt x="13080" y="7270"/>
                </a:lnTo>
                <a:lnTo>
                  <a:pt x="13076" y="7266"/>
                </a:lnTo>
                <a:lnTo>
                  <a:pt x="13072" y="7264"/>
                </a:lnTo>
                <a:lnTo>
                  <a:pt x="13070" y="7258"/>
                </a:lnTo>
                <a:lnTo>
                  <a:pt x="13070" y="7252"/>
                </a:lnTo>
                <a:lnTo>
                  <a:pt x="13070" y="7248"/>
                </a:lnTo>
                <a:lnTo>
                  <a:pt x="13074" y="7244"/>
                </a:lnTo>
                <a:lnTo>
                  <a:pt x="13076" y="7240"/>
                </a:lnTo>
                <a:lnTo>
                  <a:pt x="13082" y="7238"/>
                </a:lnTo>
                <a:lnTo>
                  <a:pt x="13086" y="7236"/>
                </a:lnTo>
                <a:lnTo>
                  <a:pt x="13090" y="7232"/>
                </a:lnTo>
                <a:lnTo>
                  <a:pt x="13100" y="7218"/>
                </a:lnTo>
                <a:lnTo>
                  <a:pt x="13110" y="7200"/>
                </a:lnTo>
                <a:lnTo>
                  <a:pt x="13126" y="7178"/>
                </a:lnTo>
                <a:lnTo>
                  <a:pt x="13132" y="7170"/>
                </a:lnTo>
                <a:lnTo>
                  <a:pt x="13134" y="7164"/>
                </a:lnTo>
                <a:lnTo>
                  <a:pt x="13132" y="7160"/>
                </a:lnTo>
                <a:lnTo>
                  <a:pt x="13130" y="7158"/>
                </a:lnTo>
                <a:lnTo>
                  <a:pt x="13128" y="7156"/>
                </a:lnTo>
                <a:lnTo>
                  <a:pt x="13124" y="7152"/>
                </a:lnTo>
                <a:lnTo>
                  <a:pt x="13124" y="7148"/>
                </a:lnTo>
                <a:lnTo>
                  <a:pt x="13128" y="7142"/>
                </a:lnTo>
                <a:close/>
                <a:moveTo>
                  <a:pt x="13270" y="6944"/>
                </a:moveTo>
                <a:lnTo>
                  <a:pt x="13270" y="6944"/>
                </a:lnTo>
                <a:lnTo>
                  <a:pt x="13266" y="6950"/>
                </a:lnTo>
                <a:lnTo>
                  <a:pt x="13262" y="6954"/>
                </a:lnTo>
                <a:lnTo>
                  <a:pt x="13258" y="6956"/>
                </a:lnTo>
                <a:lnTo>
                  <a:pt x="13250" y="6958"/>
                </a:lnTo>
                <a:lnTo>
                  <a:pt x="13244" y="6956"/>
                </a:lnTo>
                <a:lnTo>
                  <a:pt x="13236" y="6954"/>
                </a:lnTo>
                <a:lnTo>
                  <a:pt x="13218" y="6946"/>
                </a:lnTo>
                <a:lnTo>
                  <a:pt x="13210" y="6940"/>
                </a:lnTo>
                <a:lnTo>
                  <a:pt x="13204" y="6932"/>
                </a:lnTo>
                <a:lnTo>
                  <a:pt x="13200" y="6924"/>
                </a:lnTo>
                <a:lnTo>
                  <a:pt x="13198" y="6914"/>
                </a:lnTo>
                <a:lnTo>
                  <a:pt x="13192" y="6896"/>
                </a:lnTo>
                <a:lnTo>
                  <a:pt x="13190" y="6888"/>
                </a:lnTo>
                <a:lnTo>
                  <a:pt x="13184" y="6880"/>
                </a:lnTo>
                <a:lnTo>
                  <a:pt x="13178" y="6874"/>
                </a:lnTo>
                <a:lnTo>
                  <a:pt x="13176" y="6872"/>
                </a:lnTo>
                <a:lnTo>
                  <a:pt x="13174" y="6874"/>
                </a:lnTo>
                <a:lnTo>
                  <a:pt x="13174" y="6878"/>
                </a:lnTo>
                <a:lnTo>
                  <a:pt x="13176" y="6890"/>
                </a:lnTo>
                <a:lnTo>
                  <a:pt x="13184" y="6908"/>
                </a:lnTo>
                <a:lnTo>
                  <a:pt x="13184" y="6914"/>
                </a:lnTo>
                <a:lnTo>
                  <a:pt x="13182" y="6914"/>
                </a:lnTo>
                <a:lnTo>
                  <a:pt x="13176" y="6912"/>
                </a:lnTo>
                <a:lnTo>
                  <a:pt x="13168" y="6908"/>
                </a:lnTo>
                <a:lnTo>
                  <a:pt x="13162" y="6900"/>
                </a:lnTo>
                <a:lnTo>
                  <a:pt x="13156" y="6892"/>
                </a:lnTo>
                <a:lnTo>
                  <a:pt x="13152" y="6884"/>
                </a:lnTo>
                <a:lnTo>
                  <a:pt x="13152" y="6876"/>
                </a:lnTo>
                <a:lnTo>
                  <a:pt x="13152" y="6870"/>
                </a:lnTo>
                <a:lnTo>
                  <a:pt x="13152" y="6864"/>
                </a:lnTo>
                <a:lnTo>
                  <a:pt x="13148" y="6856"/>
                </a:lnTo>
                <a:lnTo>
                  <a:pt x="13144" y="6850"/>
                </a:lnTo>
                <a:lnTo>
                  <a:pt x="13142" y="6846"/>
                </a:lnTo>
                <a:lnTo>
                  <a:pt x="13142" y="6842"/>
                </a:lnTo>
                <a:lnTo>
                  <a:pt x="13142" y="6832"/>
                </a:lnTo>
                <a:lnTo>
                  <a:pt x="13140" y="6826"/>
                </a:lnTo>
                <a:lnTo>
                  <a:pt x="13138" y="6818"/>
                </a:lnTo>
                <a:lnTo>
                  <a:pt x="13132" y="6810"/>
                </a:lnTo>
                <a:lnTo>
                  <a:pt x="13124" y="6802"/>
                </a:lnTo>
                <a:lnTo>
                  <a:pt x="13118" y="6796"/>
                </a:lnTo>
                <a:lnTo>
                  <a:pt x="13110" y="6794"/>
                </a:lnTo>
                <a:lnTo>
                  <a:pt x="13100" y="6792"/>
                </a:lnTo>
                <a:lnTo>
                  <a:pt x="13096" y="6790"/>
                </a:lnTo>
                <a:lnTo>
                  <a:pt x="13092" y="6786"/>
                </a:lnTo>
                <a:lnTo>
                  <a:pt x="13088" y="6778"/>
                </a:lnTo>
                <a:lnTo>
                  <a:pt x="13082" y="6768"/>
                </a:lnTo>
                <a:lnTo>
                  <a:pt x="13078" y="6766"/>
                </a:lnTo>
                <a:lnTo>
                  <a:pt x="13074" y="6764"/>
                </a:lnTo>
                <a:lnTo>
                  <a:pt x="13064" y="6766"/>
                </a:lnTo>
                <a:lnTo>
                  <a:pt x="13064" y="6768"/>
                </a:lnTo>
                <a:lnTo>
                  <a:pt x="13070" y="6774"/>
                </a:lnTo>
                <a:lnTo>
                  <a:pt x="13080" y="6786"/>
                </a:lnTo>
                <a:lnTo>
                  <a:pt x="13084" y="6794"/>
                </a:lnTo>
                <a:lnTo>
                  <a:pt x="13086" y="6798"/>
                </a:lnTo>
                <a:lnTo>
                  <a:pt x="13086" y="6800"/>
                </a:lnTo>
                <a:lnTo>
                  <a:pt x="13086" y="6802"/>
                </a:lnTo>
                <a:lnTo>
                  <a:pt x="13084" y="6806"/>
                </a:lnTo>
                <a:lnTo>
                  <a:pt x="13090" y="6816"/>
                </a:lnTo>
                <a:lnTo>
                  <a:pt x="13096" y="6824"/>
                </a:lnTo>
                <a:lnTo>
                  <a:pt x="13102" y="6834"/>
                </a:lnTo>
                <a:lnTo>
                  <a:pt x="13110" y="6854"/>
                </a:lnTo>
                <a:lnTo>
                  <a:pt x="13116" y="6862"/>
                </a:lnTo>
                <a:lnTo>
                  <a:pt x="13120" y="6868"/>
                </a:lnTo>
                <a:lnTo>
                  <a:pt x="13122" y="6868"/>
                </a:lnTo>
                <a:lnTo>
                  <a:pt x="13126" y="6864"/>
                </a:lnTo>
                <a:lnTo>
                  <a:pt x="13128" y="6862"/>
                </a:lnTo>
                <a:lnTo>
                  <a:pt x="13130" y="6862"/>
                </a:lnTo>
                <a:lnTo>
                  <a:pt x="13134" y="6870"/>
                </a:lnTo>
                <a:lnTo>
                  <a:pt x="13136" y="6878"/>
                </a:lnTo>
                <a:lnTo>
                  <a:pt x="13136" y="6880"/>
                </a:lnTo>
                <a:lnTo>
                  <a:pt x="13134" y="6880"/>
                </a:lnTo>
                <a:lnTo>
                  <a:pt x="13128" y="6878"/>
                </a:lnTo>
                <a:lnTo>
                  <a:pt x="13130" y="6882"/>
                </a:lnTo>
                <a:lnTo>
                  <a:pt x="13144" y="6918"/>
                </a:lnTo>
                <a:lnTo>
                  <a:pt x="13150" y="6932"/>
                </a:lnTo>
                <a:lnTo>
                  <a:pt x="13152" y="6942"/>
                </a:lnTo>
                <a:lnTo>
                  <a:pt x="13152" y="6950"/>
                </a:lnTo>
                <a:lnTo>
                  <a:pt x="13152" y="6956"/>
                </a:lnTo>
                <a:lnTo>
                  <a:pt x="13148" y="6968"/>
                </a:lnTo>
                <a:lnTo>
                  <a:pt x="13146" y="6976"/>
                </a:lnTo>
                <a:lnTo>
                  <a:pt x="13146" y="6984"/>
                </a:lnTo>
                <a:lnTo>
                  <a:pt x="13146" y="6994"/>
                </a:lnTo>
                <a:lnTo>
                  <a:pt x="13142" y="7002"/>
                </a:lnTo>
                <a:lnTo>
                  <a:pt x="13138" y="7008"/>
                </a:lnTo>
                <a:lnTo>
                  <a:pt x="13130" y="7012"/>
                </a:lnTo>
                <a:lnTo>
                  <a:pt x="13118" y="7020"/>
                </a:lnTo>
                <a:lnTo>
                  <a:pt x="13112" y="7024"/>
                </a:lnTo>
                <a:lnTo>
                  <a:pt x="13110" y="7028"/>
                </a:lnTo>
                <a:lnTo>
                  <a:pt x="13110" y="7034"/>
                </a:lnTo>
                <a:lnTo>
                  <a:pt x="13114" y="7038"/>
                </a:lnTo>
                <a:lnTo>
                  <a:pt x="13126" y="7050"/>
                </a:lnTo>
                <a:lnTo>
                  <a:pt x="13144" y="7058"/>
                </a:lnTo>
                <a:lnTo>
                  <a:pt x="13158" y="7066"/>
                </a:lnTo>
                <a:lnTo>
                  <a:pt x="13164" y="7072"/>
                </a:lnTo>
                <a:lnTo>
                  <a:pt x="13166" y="7078"/>
                </a:lnTo>
                <a:lnTo>
                  <a:pt x="13168" y="7088"/>
                </a:lnTo>
                <a:lnTo>
                  <a:pt x="13166" y="7096"/>
                </a:lnTo>
                <a:lnTo>
                  <a:pt x="13162" y="7114"/>
                </a:lnTo>
                <a:lnTo>
                  <a:pt x="13158" y="7122"/>
                </a:lnTo>
                <a:lnTo>
                  <a:pt x="13154" y="7126"/>
                </a:lnTo>
                <a:lnTo>
                  <a:pt x="13148" y="7132"/>
                </a:lnTo>
                <a:lnTo>
                  <a:pt x="13144" y="7136"/>
                </a:lnTo>
                <a:lnTo>
                  <a:pt x="13144" y="7138"/>
                </a:lnTo>
                <a:lnTo>
                  <a:pt x="13146" y="7140"/>
                </a:lnTo>
                <a:lnTo>
                  <a:pt x="13158" y="7144"/>
                </a:lnTo>
                <a:lnTo>
                  <a:pt x="13162" y="7146"/>
                </a:lnTo>
                <a:lnTo>
                  <a:pt x="13164" y="7150"/>
                </a:lnTo>
                <a:lnTo>
                  <a:pt x="13168" y="7156"/>
                </a:lnTo>
                <a:lnTo>
                  <a:pt x="13170" y="7158"/>
                </a:lnTo>
                <a:lnTo>
                  <a:pt x="13172" y="7160"/>
                </a:lnTo>
                <a:lnTo>
                  <a:pt x="13176" y="7158"/>
                </a:lnTo>
                <a:lnTo>
                  <a:pt x="13182" y="7154"/>
                </a:lnTo>
                <a:lnTo>
                  <a:pt x="13190" y="7146"/>
                </a:lnTo>
                <a:lnTo>
                  <a:pt x="13200" y="7134"/>
                </a:lnTo>
                <a:lnTo>
                  <a:pt x="13222" y="7102"/>
                </a:lnTo>
                <a:lnTo>
                  <a:pt x="13232" y="7084"/>
                </a:lnTo>
                <a:lnTo>
                  <a:pt x="13238" y="7068"/>
                </a:lnTo>
                <a:lnTo>
                  <a:pt x="13242" y="7054"/>
                </a:lnTo>
                <a:lnTo>
                  <a:pt x="13240" y="7050"/>
                </a:lnTo>
                <a:lnTo>
                  <a:pt x="13238" y="7046"/>
                </a:lnTo>
                <a:lnTo>
                  <a:pt x="13238" y="7042"/>
                </a:lnTo>
                <a:lnTo>
                  <a:pt x="13238" y="7036"/>
                </a:lnTo>
                <a:lnTo>
                  <a:pt x="13240" y="7032"/>
                </a:lnTo>
                <a:lnTo>
                  <a:pt x="13244" y="7026"/>
                </a:lnTo>
                <a:lnTo>
                  <a:pt x="13250" y="7022"/>
                </a:lnTo>
                <a:lnTo>
                  <a:pt x="13258" y="7020"/>
                </a:lnTo>
                <a:lnTo>
                  <a:pt x="13264" y="7020"/>
                </a:lnTo>
                <a:lnTo>
                  <a:pt x="13274" y="7024"/>
                </a:lnTo>
                <a:lnTo>
                  <a:pt x="13280" y="7028"/>
                </a:lnTo>
                <a:lnTo>
                  <a:pt x="13282" y="7030"/>
                </a:lnTo>
                <a:lnTo>
                  <a:pt x="13282" y="7028"/>
                </a:lnTo>
                <a:lnTo>
                  <a:pt x="13282" y="7024"/>
                </a:lnTo>
                <a:lnTo>
                  <a:pt x="13280" y="7018"/>
                </a:lnTo>
                <a:lnTo>
                  <a:pt x="13280" y="7010"/>
                </a:lnTo>
                <a:lnTo>
                  <a:pt x="13278" y="7002"/>
                </a:lnTo>
                <a:lnTo>
                  <a:pt x="13280" y="6998"/>
                </a:lnTo>
                <a:lnTo>
                  <a:pt x="13282" y="6996"/>
                </a:lnTo>
                <a:lnTo>
                  <a:pt x="13286" y="6994"/>
                </a:lnTo>
                <a:lnTo>
                  <a:pt x="13290" y="6992"/>
                </a:lnTo>
                <a:lnTo>
                  <a:pt x="13294" y="6986"/>
                </a:lnTo>
                <a:lnTo>
                  <a:pt x="13296" y="6980"/>
                </a:lnTo>
                <a:lnTo>
                  <a:pt x="13296" y="6974"/>
                </a:lnTo>
                <a:lnTo>
                  <a:pt x="13298" y="6958"/>
                </a:lnTo>
                <a:lnTo>
                  <a:pt x="13298" y="6952"/>
                </a:lnTo>
                <a:lnTo>
                  <a:pt x="13300" y="6948"/>
                </a:lnTo>
                <a:lnTo>
                  <a:pt x="13302" y="6942"/>
                </a:lnTo>
                <a:lnTo>
                  <a:pt x="13300" y="6940"/>
                </a:lnTo>
                <a:lnTo>
                  <a:pt x="13296" y="6936"/>
                </a:lnTo>
                <a:lnTo>
                  <a:pt x="13292" y="6934"/>
                </a:lnTo>
                <a:lnTo>
                  <a:pt x="13286" y="6934"/>
                </a:lnTo>
                <a:lnTo>
                  <a:pt x="13280" y="6936"/>
                </a:lnTo>
                <a:lnTo>
                  <a:pt x="13274" y="6938"/>
                </a:lnTo>
                <a:lnTo>
                  <a:pt x="13270" y="6944"/>
                </a:lnTo>
                <a:close/>
                <a:moveTo>
                  <a:pt x="8116" y="5660"/>
                </a:moveTo>
                <a:lnTo>
                  <a:pt x="8116" y="5660"/>
                </a:lnTo>
                <a:lnTo>
                  <a:pt x="8110" y="5654"/>
                </a:lnTo>
                <a:lnTo>
                  <a:pt x="8106" y="5648"/>
                </a:lnTo>
                <a:lnTo>
                  <a:pt x="8102" y="5632"/>
                </a:lnTo>
                <a:lnTo>
                  <a:pt x="8100" y="5626"/>
                </a:lnTo>
                <a:lnTo>
                  <a:pt x="8096" y="5622"/>
                </a:lnTo>
                <a:lnTo>
                  <a:pt x="8094" y="5622"/>
                </a:lnTo>
                <a:lnTo>
                  <a:pt x="8090" y="5628"/>
                </a:lnTo>
                <a:lnTo>
                  <a:pt x="8084" y="5636"/>
                </a:lnTo>
                <a:lnTo>
                  <a:pt x="8082" y="5642"/>
                </a:lnTo>
                <a:lnTo>
                  <a:pt x="8080" y="5662"/>
                </a:lnTo>
                <a:lnTo>
                  <a:pt x="8078" y="5672"/>
                </a:lnTo>
                <a:lnTo>
                  <a:pt x="8076" y="5680"/>
                </a:lnTo>
                <a:lnTo>
                  <a:pt x="8072" y="5688"/>
                </a:lnTo>
                <a:lnTo>
                  <a:pt x="8070" y="5692"/>
                </a:lnTo>
                <a:lnTo>
                  <a:pt x="8062" y="5698"/>
                </a:lnTo>
                <a:lnTo>
                  <a:pt x="8052" y="5700"/>
                </a:lnTo>
                <a:lnTo>
                  <a:pt x="8040" y="5702"/>
                </a:lnTo>
                <a:lnTo>
                  <a:pt x="8036" y="5704"/>
                </a:lnTo>
                <a:lnTo>
                  <a:pt x="8038" y="5710"/>
                </a:lnTo>
                <a:lnTo>
                  <a:pt x="8042" y="5722"/>
                </a:lnTo>
                <a:lnTo>
                  <a:pt x="8042" y="5728"/>
                </a:lnTo>
                <a:lnTo>
                  <a:pt x="8040" y="5732"/>
                </a:lnTo>
                <a:lnTo>
                  <a:pt x="8030" y="5744"/>
                </a:lnTo>
                <a:lnTo>
                  <a:pt x="8010" y="5762"/>
                </a:lnTo>
                <a:lnTo>
                  <a:pt x="8000" y="5774"/>
                </a:lnTo>
                <a:lnTo>
                  <a:pt x="7992" y="5782"/>
                </a:lnTo>
                <a:lnTo>
                  <a:pt x="7982" y="5796"/>
                </a:lnTo>
                <a:lnTo>
                  <a:pt x="7976" y="5802"/>
                </a:lnTo>
                <a:lnTo>
                  <a:pt x="7970" y="5806"/>
                </a:lnTo>
                <a:lnTo>
                  <a:pt x="7958" y="5808"/>
                </a:lnTo>
                <a:lnTo>
                  <a:pt x="7942" y="5810"/>
                </a:lnTo>
                <a:lnTo>
                  <a:pt x="7934" y="5812"/>
                </a:lnTo>
                <a:lnTo>
                  <a:pt x="7930" y="5814"/>
                </a:lnTo>
                <a:lnTo>
                  <a:pt x="7926" y="5820"/>
                </a:lnTo>
                <a:lnTo>
                  <a:pt x="7924" y="5822"/>
                </a:lnTo>
                <a:lnTo>
                  <a:pt x="7922" y="5824"/>
                </a:lnTo>
                <a:lnTo>
                  <a:pt x="7918" y="5826"/>
                </a:lnTo>
                <a:lnTo>
                  <a:pt x="7910" y="5826"/>
                </a:lnTo>
                <a:lnTo>
                  <a:pt x="7904" y="5826"/>
                </a:lnTo>
                <a:lnTo>
                  <a:pt x="7902" y="5826"/>
                </a:lnTo>
                <a:lnTo>
                  <a:pt x="7900" y="5828"/>
                </a:lnTo>
                <a:lnTo>
                  <a:pt x="7900" y="5832"/>
                </a:lnTo>
                <a:lnTo>
                  <a:pt x="7898" y="5844"/>
                </a:lnTo>
                <a:lnTo>
                  <a:pt x="7896" y="5854"/>
                </a:lnTo>
                <a:lnTo>
                  <a:pt x="7890" y="5868"/>
                </a:lnTo>
                <a:lnTo>
                  <a:pt x="7884" y="5880"/>
                </a:lnTo>
                <a:lnTo>
                  <a:pt x="7882" y="5888"/>
                </a:lnTo>
                <a:lnTo>
                  <a:pt x="7882" y="5892"/>
                </a:lnTo>
                <a:lnTo>
                  <a:pt x="7882" y="5898"/>
                </a:lnTo>
                <a:lnTo>
                  <a:pt x="7886" y="5904"/>
                </a:lnTo>
                <a:lnTo>
                  <a:pt x="7886" y="5910"/>
                </a:lnTo>
                <a:lnTo>
                  <a:pt x="7886" y="5918"/>
                </a:lnTo>
                <a:lnTo>
                  <a:pt x="7884" y="5926"/>
                </a:lnTo>
                <a:lnTo>
                  <a:pt x="7886" y="5934"/>
                </a:lnTo>
                <a:lnTo>
                  <a:pt x="7888" y="5944"/>
                </a:lnTo>
                <a:lnTo>
                  <a:pt x="7892" y="5952"/>
                </a:lnTo>
                <a:lnTo>
                  <a:pt x="7892" y="5956"/>
                </a:lnTo>
                <a:lnTo>
                  <a:pt x="7892" y="5962"/>
                </a:lnTo>
                <a:lnTo>
                  <a:pt x="7892" y="5970"/>
                </a:lnTo>
                <a:lnTo>
                  <a:pt x="7894" y="5976"/>
                </a:lnTo>
                <a:lnTo>
                  <a:pt x="7898" y="5986"/>
                </a:lnTo>
                <a:lnTo>
                  <a:pt x="7902" y="6004"/>
                </a:lnTo>
                <a:lnTo>
                  <a:pt x="7902" y="6014"/>
                </a:lnTo>
                <a:lnTo>
                  <a:pt x="7900" y="6024"/>
                </a:lnTo>
                <a:lnTo>
                  <a:pt x="7898" y="6032"/>
                </a:lnTo>
                <a:lnTo>
                  <a:pt x="7894" y="6040"/>
                </a:lnTo>
                <a:lnTo>
                  <a:pt x="7884" y="6054"/>
                </a:lnTo>
                <a:lnTo>
                  <a:pt x="7880" y="6062"/>
                </a:lnTo>
                <a:lnTo>
                  <a:pt x="7878" y="6072"/>
                </a:lnTo>
                <a:lnTo>
                  <a:pt x="7876" y="6080"/>
                </a:lnTo>
                <a:lnTo>
                  <a:pt x="7874" y="6082"/>
                </a:lnTo>
                <a:lnTo>
                  <a:pt x="7872" y="6084"/>
                </a:lnTo>
                <a:lnTo>
                  <a:pt x="7868" y="6084"/>
                </a:lnTo>
                <a:lnTo>
                  <a:pt x="7866" y="6086"/>
                </a:lnTo>
                <a:lnTo>
                  <a:pt x="7862" y="6088"/>
                </a:lnTo>
                <a:lnTo>
                  <a:pt x="7858" y="6096"/>
                </a:lnTo>
                <a:lnTo>
                  <a:pt x="7856" y="6110"/>
                </a:lnTo>
                <a:lnTo>
                  <a:pt x="7852" y="6124"/>
                </a:lnTo>
                <a:lnTo>
                  <a:pt x="7852" y="6136"/>
                </a:lnTo>
                <a:lnTo>
                  <a:pt x="7852" y="6146"/>
                </a:lnTo>
                <a:lnTo>
                  <a:pt x="7854" y="6154"/>
                </a:lnTo>
                <a:lnTo>
                  <a:pt x="7860" y="6166"/>
                </a:lnTo>
                <a:lnTo>
                  <a:pt x="7868" y="6182"/>
                </a:lnTo>
                <a:lnTo>
                  <a:pt x="7870" y="6190"/>
                </a:lnTo>
                <a:lnTo>
                  <a:pt x="7872" y="6196"/>
                </a:lnTo>
                <a:lnTo>
                  <a:pt x="7870" y="6208"/>
                </a:lnTo>
                <a:lnTo>
                  <a:pt x="7868" y="6216"/>
                </a:lnTo>
                <a:lnTo>
                  <a:pt x="7870" y="6226"/>
                </a:lnTo>
                <a:lnTo>
                  <a:pt x="7872" y="6240"/>
                </a:lnTo>
                <a:lnTo>
                  <a:pt x="7878" y="6256"/>
                </a:lnTo>
                <a:lnTo>
                  <a:pt x="7886" y="6268"/>
                </a:lnTo>
                <a:lnTo>
                  <a:pt x="7892" y="6278"/>
                </a:lnTo>
                <a:lnTo>
                  <a:pt x="7898" y="6282"/>
                </a:lnTo>
                <a:lnTo>
                  <a:pt x="7902" y="6286"/>
                </a:lnTo>
                <a:lnTo>
                  <a:pt x="7914" y="6288"/>
                </a:lnTo>
                <a:lnTo>
                  <a:pt x="7920" y="6292"/>
                </a:lnTo>
                <a:lnTo>
                  <a:pt x="7924" y="6296"/>
                </a:lnTo>
                <a:lnTo>
                  <a:pt x="7926" y="6300"/>
                </a:lnTo>
                <a:lnTo>
                  <a:pt x="7930" y="6300"/>
                </a:lnTo>
                <a:lnTo>
                  <a:pt x="7938" y="6302"/>
                </a:lnTo>
                <a:lnTo>
                  <a:pt x="7948" y="6298"/>
                </a:lnTo>
                <a:lnTo>
                  <a:pt x="7958" y="6294"/>
                </a:lnTo>
                <a:lnTo>
                  <a:pt x="7978" y="6284"/>
                </a:lnTo>
                <a:lnTo>
                  <a:pt x="7988" y="6280"/>
                </a:lnTo>
                <a:lnTo>
                  <a:pt x="7998" y="6278"/>
                </a:lnTo>
                <a:lnTo>
                  <a:pt x="8002" y="6276"/>
                </a:lnTo>
                <a:lnTo>
                  <a:pt x="8006" y="6270"/>
                </a:lnTo>
                <a:lnTo>
                  <a:pt x="8014" y="6252"/>
                </a:lnTo>
                <a:lnTo>
                  <a:pt x="8024" y="6224"/>
                </a:lnTo>
                <a:lnTo>
                  <a:pt x="8032" y="6188"/>
                </a:lnTo>
                <a:lnTo>
                  <a:pt x="8052" y="6108"/>
                </a:lnTo>
                <a:lnTo>
                  <a:pt x="8072" y="6024"/>
                </a:lnTo>
                <a:lnTo>
                  <a:pt x="8086" y="5978"/>
                </a:lnTo>
                <a:lnTo>
                  <a:pt x="8098" y="5946"/>
                </a:lnTo>
                <a:lnTo>
                  <a:pt x="8102" y="5934"/>
                </a:lnTo>
                <a:lnTo>
                  <a:pt x="8104" y="5922"/>
                </a:lnTo>
                <a:lnTo>
                  <a:pt x="8104" y="5910"/>
                </a:lnTo>
                <a:lnTo>
                  <a:pt x="8102" y="5898"/>
                </a:lnTo>
                <a:lnTo>
                  <a:pt x="8102" y="5886"/>
                </a:lnTo>
                <a:lnTo>
                  <a:pt x="8102" y="5878"/>
                </a:lnTo>
                <a:lnTo>
                  <a:pt x="8104" y="5872"/>
                </a:lnTo>
                <a:lnTo>
                  <a:pt x="8108" y="5870"/>
                </a:lnTo>
                <a:lnTo>
                  <a:pt x="8114" y="5864"/>
                </a:lnTo>
                <a:lnTo>
                  <a:pt x="8116" y="5862"/>
                </a:lnTo>
                <a:lnTo>
                  <a:pt x="8116" y="5856"/>
                </a:lnTo>
                <a:lnTo>
                  <a:pt x="8114" y="5846"/>
                </a:lnTo>
                <a:lnTo>
                  <a:pt x="8116" y="5838"/>
                </a:lnTo>
                <a:lnTo>
                  <a:pt x="8118" y="5830"/>
                </a:lnTo>
                <a:lnTo>
                  <a:pt x="8116" y="5824"/>
                </a:lnTo>
                <a:lnTo>
                  <a:pt x="8114" y="5818"/>
                </a:lnTo>
                <a:lnTo>
                  <a:pt x="8112" y="5810"/>
                </a:lnTo>
                <a:lnTo>
                  <a:pt x="8110" y="5802"/>
                </a:lnTo>
                <a:lnTo>
                  <a:pt x="8110" y="5796"/>
                </a:lnTo>
                <a:lnTo>
                  <a:pt x="8112" y="5792"/>
                </a:lnTo>
                <a:lnTo>
                  <a:pt x="8114" y="5792"/>
                </a:lnTo>
                <a:lnTo>
                  <a:pt x="8118" y="5794"/>
                </a:lnTo>
                <a:lnTo>
                  <a:pt x="8122" y="5802"/>
                </a:lnTo>
                <a:lnTo>
                  <a:pt x="8126" y="5814"/>
                </a:lnTo>
                <a:lnTo>
                  <a:pt x="8130" y="5818"/>
                </a:lnTo>
                <a:lnTo>
                  <a:pt x="8132" y="5818"/>
                </a:lnTo>
                <a:lnTo>
                  <a:pt x="8136" y="5814"/>
                </a:lnTo>
                <a:lnTo>
                  <a:pt x="8138" y="5808"/>
                </a:lnTo>
                <a:lnTo>
                  <a:pt x="8140" y="5798"/>
                </a:lnTo>
                <a:lnTo>
                  <a:pt x="8142" y="5788"/>
                </a:lnTo>
                <a:lnTo>
                  <a:pt x="8142" y="5778"/>
                </a:lnTo>
                <a:lnTo>
                  <a:pt x="8138" y="5770"/>
                </a:lnTo>
                <a:lnTo>
                  <a:pt x="8136" y="5760"/>
                </a:lnTo>
                <a:lnTo>
                  <a:pt x="8134" y="5746"/>
                </a:lnTo>
                <a:lnTo>
                  <a:pt x="8130" y="5710"/>
                </a:lnTo>
                <a:lnTo>
                  <a:pt x="8124" y="5678"/>
                </a:lnTo>
                <a:lnTo>
                  <a:pt x="8120" y="5666"/>
                </a:lnTo>
                <a:lnTo>
                  <a:pt x="8116" y="5660"/>
                </a:lnTo>
                <a:close/>
                <a:moveTo>
                  <a:pt x="11994" y="2764"/>
                </a:moveTo>
                <a:lnTo>
                  <a:pt x="11994" y="2764"/>
                </a:lnTo>
                <a:lnTo>
                  <a:pt x="11986" y="2776"/>
                </a:lnTo>
                <a:lnTo>
                  <a:pt x="11978" y="2784"/>
                </a:lnTo>
                <a:lnTo>
                  <a:pt x="11972" y="2794"/>
                </a:lnTo>
                <a:lnTo>
                  <a:pt x="11972" y="2798"/>
                </a:lnTo>
                <a:lnTo>
                  <a:pt x="11974" y="2802"/>
                </a:lnTo>
                <a:lnTo>
                  <a:pt x="11976" y="2800"/>
                </a:lnTo>
                <a:lnTo>
                  <a:pt x="11982" y="2792"/>
                </a:lnTo>
                <a:lnTo>
                  <a:pt x="11988" y="2784"/>
                </a:lnTo>
                <a:lnTo>
                  <a:pt x="11994" y="2778"/>
                </a:lnTo>
                <a:lnTo>
                  <a:pt x="12000" y="2772"/>
                </a:lnTo>
                <a:lnTo>
                  <a:pt x="12010" y="2768"/>
                </a:lnTo>
                <a:lnTo>
                  <a:pt x="12014" y="2766"/>
                </a:lnTo>
                <a:lnTo>
                  <a:pt x="12008" y="2762"/>
                </a:lnTo>
                <a:lnTo>
                  <a:pt x="12000" y="2762"/>
                </a:lnTo>
                <a:lnTo>
                  <a:pt x="11996" y="2762"/>
                </a:lnTo>
                <a:lnTo>
                  <a:pt x="11994" y="2764"/>
                </a:lnTo>
                <a:close/>
                <a:moveTo>
                  <a:pt x="12064" y="2720"/>
                </a:moveTo>
                <a:lnTo>
                  <a:pt x="12064" y="2720"/>
                </a:lnTo>
                <a:lnTo>
                  <a:pt x="12054" y="2726"/>
                </a:lnTo>
                <a:lnTo>
                  <a:pt x="12046" y="2734"/>
                </a:lnTo>
                <a:lnTo>
                  <a:pt x="12036" y="2744"/>
                </a:lnTo>
                <a:lnTo>
                  <a:pt x="12030" y="2756"/>
                </a:lnTo>
                <a:lnTo>
                  <a:pt x="12028" y="2760"/>
                </a:lnTo>
                <a:lnTo>
                  <a:pt x="12028" y="2762"/>
                </a:lnTo>
                <a:lnTo>
                  <a:pt x="12030" y="2762"/>
                </a:lnTo>
                <a:lnTo>
                  <a:pt x="12032" y="2762"/>
                </a:lnTo>
                <a:lnTo>
                  <a:pt x="12040" y="2756"/>
                </a:lnTo>
                <a:lnTo>
                  <a:pt x="12050" y="2744"/>
                </a:lnTo>
                <a:lnTo>
                  <a:pt x="12058" y="2736"/>
                </a:lnTo>
                <a:lnTo>
                  <a:pt x="12064" y="2730"/>
                </a:lnTo>
                <a:lnTo>
                  <a:pt x="12072" y="2728"/>
                </a:lnTo>
                <a:lnTo>
                  <a:pt x="12080" y="2722"/>
                </a:lnTo>
                <a:lnTo>
                  <a:pt x="12084" y="2718"/>
                </a:lnTo>
                <a:lnTo>
                  <a:pt x="12090" y="2714"/>
                </a:lnTo>
                <a:lnTo>
                  <a:pt x="12100" y="2712"/>
                </a:lnTo>
                <a:lnTo>
                  <a:pt x="12104" y="2710"/>
                </a:lnTo>
                <a:lnTo>
                  <a:pt x="12106" y="2708"/>
                </a:lnTo>
                <a:lnTo>
                  <a:pt x="12108" y="2706"/>
                </a:lnTo>
                <a:lnTo>
                  <a:pt x="12104" y="2700"/>
                </a:lnTo>
                <a:lnTo>
                  <a:pt x="12102" y="2698"/>
                </a:lnTo>
                <a:lnTo>
                  <a:pt x="12098" y="2700"/>
                </a:lnTo>
                <a:lnTo>
                  <a:pt x="12092" y="2704"/>
                </a:lnTo>
                <a:lnTo>
                  <a:pt x="12084" y="2710"/>
                </a:lnTo>
                <a:lnTo>
                  <a:pt x="12078" y="2710"/>
                </a:lnTo>
                <a:lnTo>
                  <a:pt x="12074" y="2708"/>
                </a:lnTo>
                <a:lnTo>
                  <a:pt x="12070" y="2706"/>
                </a:lnTo>
                <a:lnTo>
                  <a:pt x="12070" y="2710"/>
                </a:lnTo>
                <a:lnTo>
                  <a:pt x="12070" y="2716"/>
                </a:lnTo>
                <a:lnTo>
                  <a:pt x="12068" y="2718"/>
                </a:lnTo>
                <a:lnTo>
                  <a:pt x="12064" y="2720"/>
                </a:lnTo>
                <a:close/>
                <a:moveTo>
                  <a:pt x="12172" y="2660"/>
                </a:moveTo>
                <a:lnTo>
                  <a:pt x="12172" y="2660"/>
                </a:lnTo>
                <a:lnTo>
                  <a:pt x="12170" y="2660"/>
                </a:lnTo>
                <a:lnTo>
                  <a:pt x="12166" y="2660"/>
                </a:lnTo>
                <a:lnTo>
                  <a:pt x="12154" y="2666"/>
                </a:lnTo>
                <a:lnTo>
                  <a:pt x="12142" y="2676"/>
                </a:lnTo>
                <a:lnTo>
                  <a:pt x="12138" y="2682"/>
                </a:lnTo>
                <a:lnTo>
                  <a:pt x="12134" y="2690"/>
                </a:lnTo>
                <a:lnTo>
                  <a:pt x="12132" y="2696"/>
                </a:lnTo>
                <a:lnTo>
                  <a:pt x="12136" y="2696"/>
                </a:lnTo>
                <a:lnTo>
                  <a:pt x="12144" y="2692"/>
                </a:lnTo>
                <a:lnTo>
                  <a:pt x="12152" y="2686"/>
                </a:lnTo>
                <a:lnTo>
                  <a:pt x="12168" y="2670"/>
                </a:lnTo>
                <a:lnTo>
                  <a:pt x="12172" y="2664"/>
                </a:lnTo>
                <a:lnTo>
                  <a:pt x="12172" y="2660"/>
                </a:lnTo>
                <a:close/>
                <a:moveTo>
                  <a:pt x="12350" y="2462"/>
                </a:moveTo>
                <a:lnTo>
                  <a:pt x="12350" y="2462"/>
                </a:lnTo>
                <a:lnTo>
                  <a:pt x="12348" y="2460"/>
                </a:lnTo>
                <a:lnTo>
                  <a:pt x="12344" y="2462"/>
                </a:lnTo>
                <a:lnTo>
                  <a:pt x="12340" y="2470"/>
                </a:lnTo>
                <a:lnTo>
                  <a:pt x="12336" y="2484"/>
                </a:lnTo>
                <a:lnTo>
                  <a:pt x="12336" y="2492"/>
                </a:lnTo>
                <a:lnTo>
                  <a:pt x="12338" y="2492"/>
                </a:lnTo>
                <a:lnTo>
                  <a:pt x="12340" y="2490"/>
                </a:lnTo>
                <a:lnTo>
                  <a:pt x="12346" y="2482"/>
                </a:lnTo>
                <a:lnTo>
                  <a:pt x="12350" y="2470"/>
                </a:lnTo>
                <a:lnTo>
                  <a:pt x="12352" y="2466"/>
                </a:lnTo>
                <a:lnTo>
                  <a:pt x="12350" y="2462"/>
                </a:lnTo>
                <a:close/>
                <a:moveTo>
                  <a:pt x="12316" y="2512"/>
                </a:moveTo>
                <a:lnTo>
                  <a:pt x="12316" y="2512"/>
                </a:lnTo>
                <a:lnTo>
                  <a:pt x="12316" y="2514"/>
                </a:lnTo>
                <a:lnTo>
                  <a:pt x="12316" y="2512"/>
                </a:lnTo>
                <a:lnTo>
                  <a:pt x="12320" y="2510"/>
                </a:lnTo>
                <a:lnTo>
                  <a:pt x="12324" y="2506"/>
                </a:lnTo>
                <a:lnTo>
                  <a:pt x="12326" y="2502"/>
                </a:lnTo>
                <a:lnTo>
                  <a:pt x="12324" y="2502"/>
                </a:lnTo>
                <a:lnTo>
                  <a:pt x="12322" y="2504"/>
                </a:lnTo>
                <a:lnTo>
                  <a:pt x="12316" y="2512"/>
                </a:lnTo>
                <a:close/>
                <a:moveTo>
                  <a:pt x="12280" y="2566"/>
                </a:moveTo>
                <a:lnTo>
                  <a:pt x="12280" y="2566"/>
                </a:lnTo>
                <a:lnTo>
                  <a:pt x="12278" y="2566"/>
                </a:lnTo>
                <a:lnTo>
                  <a:pt x="12276" y="2568"/>
                </a:lnTo>
                <a:lnTo>
                  <a:pt x="12276" y="2572"/>
                </a:lnTo>
                <a:lnTo>
                  <a:pt x="12278" y="2574"/>
                </a:lnTo>
                <a:lnTo>
                  <a:pt x="12280" y="2576"/>
                </a:lnTo>
                <a:lnTo>
                  <a:pt x="12282" y="2574"/>
                </a:lnTo>
                <a:lnTo>
                  <a:pt x="12282" y="2570"/>
                </a:lnTo>
                <a:lnTo>
                  <a:pt x="12280" y="2566"/>
                </a:lnTo>
                <a:close/>
                <a:moveTo>
                  <a:pt x="12258" y="2590"/>
                </a:moveTo>
                <a:lnTo>
                  <a:pt x="12258" y="2590"/>
                </a:lnTo>
                <a:lnTo>
                  <a:pt x="12254" y="2590"/>
                </a:lnTo>
                <a:lnTo>
                  <a:pt x="12252" y="2590"/>
                </a:lnTo>
                <a:lnTo>
                  <a:pt x="12252" y="2594"/>
                </a:lnTo>
                <a:lnTo>
                  <a:pt x="12252" y="2596"/>
                </a:lnTo>
                <a:lnTo>
                  <a:pt x="12256" y="2598"/>
                </a:lnTo>
                <a:lnTo>
                  <a:pt x="12258" y="2596"/>
                </a:lnTo>
                <a:lnTo>
                  <a:pt x="12258" y="2594"/>
                </a:lnTo>
                <a:lnTo>
                  <a:pt x="12258" y="2590"/>
                </a:lnTo>
                <a:close/>
                <a:moveTo>
                  <a:pt x="12416" y="2388"/>
                </a:moveTo>
                <a:lnTo>
                  <a:pt x="12416" y="2388"/>
                </a:lnTo>
                <a:lnTo>
                  <a:pt x="12414" y="2386"/>
                </a:lnTo>
                <a:lnTo>
                  <a:pt x="12408" y="2390"/>
                </a:lnTo>
                <a:lnTo>
                  <a:pt x="12406" y="2394"/>
                </a:lnTo>
                <a:lnTo>
                  <a:pt x="12406" y="2396"/>
                </a:lnTo>
                <a:lnTo>
                  <a:pt x="12408" y="2398"/>
                </a:lnTo>
                <a:lnTo>
                  <a:pt x="12410" y="2400"/>
                </a:lnTo>
                <a:lnTo>
                  <a:pt x="12412" y="2400"/>
                </a:lnTo>
                <a:lnTo>
                  <a:pt x="12416" y="2396"/>
                </a:lnTo>
                <a:lnTo>
                  <a:pt x="12418" y="2392"/>
                </a:lnTo>
                <a:lnTo>
                  <a:pt x="12416" y="2388"/>
                </a:lnTo>
                <a:close/>
                <a:moveTo>
                  <a:pt x="11190" y="3374"/>
                </a:moveTo>
                <a:lnTo>
                  <a:pt x="11190" y="3374"/>
                </a:lnTo>
                <a:lnTo>
                  <a:pt x="11194" y="3376"/>
                </a:lnTo>
                <a:lnTo>
                  <a:pt x="11198" y="3378"/>
                </a:lnTo>
                <a:lnTo>
                  <a:pt x="11210" y="3374"/>
                </a:lnTo>
                <a:lnTo>
                  <a:pt x="11220" y="3368"/>
                </a:lnTo>
                <a:lnTo>
                  <a:pt x="11222" y="3364"/>
                </a:lnTo>
                <a:lnTo>
                  <a:pt x="11222" y="3360"/>
                </a:lnTo>
                <a:lnTo>
                  <a:pt x="11220" y="3358"/>
                </a:lnTo>
                <a:lnTo>
                  <a:pt x="11216" y="3356"/>
                </a:lnTo>
                <a:lnTo>
                  <a:pt x="11210" y="3358"/>
                </a:lnTo>
                <a:lnTo>
                  <a:pt x="11204" y="3360"/>
                </a:lnTo>
                <a:lnTo>
                  <a:pt x="11198" y="3362"/>
                </a:lnTo>
                <a:lnTo>
                  <a:pt x="11192" y="3366"/>
                </a:lnTo>
                <a:lnTo>
                  <a:pt x="11190" y="3370"/>
                </a:lnTo>
                <a:lnTo>
                  <a:pt x="11190" y="3374"/>
                </a:lnTo>
                <a:close/>
                <a:moveTo>
                  <a:pt x="11324" y="3298"/>
                </a:moveTo>
                <a:lnTo>
                  <a:pt x="11324" y="3298"/>
                </a:lnTo>
                <a:lnTo>
                  <a:pt x="11320" y="3302"/>
                </a:lnTo>
                <a:lnTo>
                  <a:pt x="11318" y="3306"/>
                </a:lnTo>
                <a:lnTo>
                  <a:pt x="11318" y="3310"/>
                </a:lnTo>
                <a:lnTo>
                  <a:pt x="11318" y="3314"/>
                </a:lnTo>
                <a:lnTo>
                  <a:pt x="11314" y="3324"/>
                </a:lnTo>
                <a:lnTo>
                  <a:pt x="11314" y="3328"/>
                </a:lnTo>
                <a:lnTo>
                  <a:pt x="11314" y="3330"/>
                </a:lnTo>
                <a:lnTo>
                  <a:pt x="11318" y="3328"/>
                </a:lnTo>
                <a:lnTo>
                  <a:pt x="11318" y="3324"/>
                </a:lnTo>
                <a:lnTo>
                  <a:pt x="11320" y="3318"/>
                </a:lnTo>
                <a:lnTo>
                  <a:pt x="11322" y="3314"/>
                </a:lnTo>
                <a:lnTo>
                  <a:pt x="11324" y="3308"/>
                </a:lnTo>
                <a:lnTo>
                  <a:pt x="11326" y="3304"/>
                </a:lnTo>
                <a:lnTo>
                  <a:pt x="11326" y="3300"/>
                </a:lnTo>
                <a:lnTo>
                  <a:pt x="11324" y="3298"/>
                </a:lnTo>
                <a:close/>
                <a:moveTo>
                  <a:pt x="11190" y="3314"/>
                </a:moveTo>
                <a:lnTo>
                  <a:pt x="11190" y="3314"/>
                </a:lnTo>
                <a:lnTo>
                  <a:pt x="11192" y="3314"/>
                </a:lnTo>
                <a:lnTo>
                  <a:pt x="11196" y="3314"/>
                </a:lnTo>
                <a:lnTo>
                  <a:pt x="11200" y="3312"/>
                </a:lnTo>
                <a:lnTo>
                  <a:pt x="11198" y="3308"/>
                </a:lnTo>
                <a:lnTo>
                  <a:pt x="11194" y="3306"/>
                </a:lnTo>
                <a:lnTo>
                  <a:pt x="11192" y="3308"/>
                </a:lnTo>
                <a:lnTo>
                  <a:pt x="11190" y="3312"/>
                </a:lnTo>
                <a:lnTo>
                  <a:pt x="11190" y="3314"/>
                </a:lnTo>
                <a:close/>
                <a:moveTo>
                  <a:pt x="11180" y="3298"/>
                </a:moveTo>
                <a:lnTo>
                  <a:pt x="11180" y="3298"/>
                </a:lnTo>
                <a:lnTo>
                  <a:pt x="11182" y="3300"/>
                </a:lnTo>
                <a:lnTo>
                  <a:pt x="11184" y="3298"/>
                </a:lnTo>
                <a:lnTo>
                  <a:pt x="11184" y="3294"/>
                </a:lnTo>
                <a:lnTo>
                  <a:pt x="11184" y="3292"/>
                </a:lnTo>
                <a:lnTo>
                  <a:pt x="11182" y="3292"/>
                </a:lnTo>
                <a:lnTo>
                  <a:pt x="11180" y="3294"/>
                </a:lnTo>
                <a:lnTo>
                  <a:pt x="11180" y="3298"/>
                </a:lnTo>
                <a:close/>
                <a:moveTo>
                  <a:pt x="11186" y="3286"/>
                </a:moveTo>
                <a:lnTo>
                  <a:pt x="11186" y="3286"/>
                </a:lnTo>
                <a:lnTo>
                  <a:pt x="11184" y="3288"/>
                </a:lnTo>
                <a:lnTo>
                  <a:pt x="11186" y="3290"/>
                </a:lnTo>
                <a:lnTo>
                  <a:pt x="11190" y="3296"/>
                </a:lnTo>
                <a:lnTo>
                  <a:pt x="11192" y="3296"/>
                </a:lnTo>
                <a:lnTo>
                  <a:pt x="11192" y="3294"/>
                </a:lnTo>
                <a:lnTo>
                  <a:pt x="11190" y="3288"/>
                </a:lnTo>
                <a:lnTo>
                  <a:pt x="11188" y="3286"/>
                </a:lnTo>
                <a:lnTo>
                  <a:pt x="11186" y="3286"/>
                </a:lnTo>
                <a:close/>
                <a:moveTo>
                  <a:pt x="11198" y="3196"/>
                </a:moveTo>
                <a:lnTo>
                  <a:pt x="11198" y="3196"/>
                </a:lnTo>
                <a:lnTo>
                  <a:pt x="11196" y="3198"/>
                </a:lnTo>
                <a:lnTo>
                  <a:pt x="11196" y="3200"/>
                </a:lnTo>
                <a:lnTo>
                  <a:pt x="11198" y="3204"/>
                </a:lnTo>
                <a:lnTo>
                  <a:pt x="11202" y="3206"/>
                </a:lnTo>
                <a:lnTo>
                  <a:pt x="11202" y="3204"/>
                </a:lnTo>
                <a:lnTo>
                  <a:pt x="11202" y="3202"/>
                </a:lnTo>
                <a:lnTo>
                  <a:pt x="11200" y="3198"/>
                </a:lnTo>
                <a:lnTo>
                  <a:pt x="11198" y="3196"/>
                </a:lnTo>
                <a:close/>
                <a:moveTo>
                  <a:pt x="11290" y="3284"/>
                </a:moveTo>
                <a:lnTo>
                  <a:pt x="11290" y="3284"/>
                </a:lnTo>
                <a:lnTo>
                  <a:pt x="11288" y="3288"/>
                </a:lnTo>
                <a:lnTo>
                  <a:pt x="11286" y="3292"/>
                </a:lnTo>
                <a:lnTo>
                  <a:pt x="11288" y="3296"/>
                </a:lnTo>
                <a:lnTo>
                  <a:pt x="11290" y="3296"/>
                </a:lnTo>
                <a:lnTo>
                  <a:pt x="11292" y="3296"/>
                </a:lnTo>
                <a:lnTo>
                  <a:pt x="11294" y="3292"/>
                </a:lnTo>
                <a:lnTo>
                  <a:pt x="11296" y="3286"/>
                </a:lnTo>
                <a:lnTo>
                  <a:pt x="11294" y="3284"/>
                </a:lnTo>
                <a:lnTo>
                  <a:pt x="11292" y="3282"/>
                </a:lnTo>
                <a:lnTo>
                  <a:pt x="11290" y="3284"/>
                </a:lnTo>
                <a:close/>
                <a:moveTo>
                  <a:pt x="11268" y="3290"/>
                </a:moveTo>
                <a:lnTo>
                  <a:pt x="11268" y="3290"/>
                </a:lnTo>
                <a:lnTo>
                  <a:pt x="11266" y="3288"/>
                </a:lnTo>
                <a:lnTo>
                  <a:pt x="11264" y="3286"/>
                </a:lnTo>
                <a:lnTo>
                  <a:pt x="11260" y="3286"/>
                </a:lnTo>
                <a:lnTo>
                  <a:pt x="11258" y="3288"/>
                </a:lnTo>
                <a:lnTo>
                  <a:pt x="11260" y="3290"/>
                </a:lnTo>
                <a:lnTo>
                  <a:pt x="11264" y="3296"/>
                </a:lnTo>
                <a:lnTo>
                  <a:pt x="11266" y="3296"/>
                </a:lnTo>
                <a:lnTo>
                  <a:pt x="11268" y="3294"/>
                </a:lnTo>
                <a:lnTo>
                  <a:pt x="11268" y="3290"/>
                </a:lnTo>
                <a:close/>
                <a:moveTo>
                  <a:pt x="11210" y="3328"/>
                </a:moveTo>
                <a:lnTo>
                  <a:pt x="11210" y="3328"/>
                </a:lnTo>
                <a:lnTo>
                  <a:pt x="11212" y="3326"/>
                </a:lnTo>
                <a:lnTo>
                  <a:pt x="11206" y="3326"/>
                </a:lnTo>
                <a:lnTo>
                  <a:pt x="11206" y="3328"/>
                </a:lnTo>
                <a:lnTo>
                  <a:pt x="11208" y="3330"/>
                </a:lnTo>
                <a:lnTo>
                  <a:pt x="11210" y="3328"/>
                </a:lnTo>
                <a:close/>
                <a:moveTo>
                  <a:pt x="11204" y="3142"/>
                </a:moveTo>
                <a:lnTo>
                  <a:pt x="11204" y="3142"/>
                </a:lnTo>
                <a:lnTo>
                  <a:pt x="11206" y="3140"/>
                </a:lnTo>
                <a:lnTo>
                  <a:pt x="11206" y="3136"/>
                </a:lnTo>
                <a:lnTo>
                  <a:pt x="11204" y="3132"/>
                </a:lnTo>
                <a:lnTo>
                  <a:pt x="11200" y="3130"/>
                </a:lnTo>
                <a:lnTo>
                  <a:pt x="11198" y="3130"/>
                </a:lnTo>
                <a:lnTo>
                  <a:pt x="11198" y="3134"/>
                </a:lnTo>
                <a:lnTo>
                  <a:pt x="11200" y="3138"/>
                </a:lnTo>
                <a:lnTo>
                  <a:pt x="11204" y="3142"/>
                </a:lnTo>
                <a:close/>
                <a:moveTo>
                  <a:pt x="11018" y="4302"/>
                </a:moveTo>
                <a:lnTo>
                  <a:pt x="11018" y="4302"/>
                </a:lnTo>
                <a:lnTo>
                  <a:pt x="11016" y="4304"/>
                </a:lnTo>
                <a:lnTo>
                  <a:pt x="11016" y="4308"/>
                </a:lnTo>
                <a:lnTo>
                  <a:pt x="11020" y="4318"/>
                </a:lnTo>
                <a:lnTo>
                  <a:pt x="11022" y="4324"/>
                </a:lnTo>
                <a:lnTo>
                  <a:pt x="11024" y="4324"/>
                </a:lnTo>
                <a:lnTo>
                  <a:pt x="11026" y="4320"/>
                </a:lnTo>
                <a:lnTo>
                  <a:pt x="11024" y="4314"/>
                </a:lnTo>
                <a:lnTo>
                  <a:pt x="11022" y="4304"/>
                </a:lnTo>
                <a:lnTo>
                  <a:pt x="11020" y="4302"/>
                </a:lnTo>
                <a:lnTo>
                  <a:pt x="11018" y="4302"/>
                </a:lnTo>
                <a:close/>
                <a:moveTo>
                  <a:pt x="11110" y="4376"/>
                </a:moveTo>
                <a:lnTo>
                  <a:pt x="11110" y="4376"/>
                </a:lnTo>
                <a:lnTo>
                  <a:pt x="11112" y="4378"/>
                </a:lnTo>
                <a:lnTo>
                  <a:pt x="11116" y="4376"/>
                </a:lnTo>
                <a:lnTo>
                  <a:pt x="11120" y="4372"/>
                </a:lnTo>
                <a:lnTo>
                  <a:pt x="11122" y="4366"/>
                </a:lnTo>
                <a:lnTo>
                  <a:pt x="11122" y="4362"/>
                </a:lnTo>
                <a:lnTo>
                  <a:pt x="11120" y="4360"/>
                </a:lnTo>
                <a:lnTo>
                  <a:pt x="11118" y="4358"/>
                </a:lnTo>
                <a:lnTo>
                  <a:pt x="11116" y="4356"/>
                </a:lnTo>
                <a:lnTo>
                  <a:pt x="11114" y="4352"/>
                </a:lnTo>
                <a:lnTo>
                  <a:pt x="11112" y="4350"/>
                </a:lnTo>
                <a:lnTo>
                  <a:pt x="11110" y="4352"/>
                </a:lnTo>
                <a:lnTo>
                  <a:pt x="11110" y="4360"/>
                </a:lnTo>
                <a:lnTo>
                  <a:pt x="11110" y="4368"/>
                </a:lnTo>
                <a:lnTo>
                  <a:pt x="11108" y="4370"/>
                </a:lnTo>
                <a:lnTo>
                  <a:pt x="11108" y="4372"/>
                </a:lnTo>
                <a:lnTo>
                  <a:pt x="11110" y="4376"/>
                </a:lnTo>
                <a:close/>
                <a:moveTo>
                  <a:pt x="11116" y="4478"/>
                </a:moveTo>
                <a:lnTo>
                  <a:pt x="11116" y="4478"/>
                </a:lnTo>
                <a:lnTo>
                  <a:pt x="11118" y="4480"/>
                </a:lnTo>
                <a:lnTo>
                  <a:pt x="11120" y="4484"/>
                </a:lnTo>
                <a:lnTo>
                  <a:pt x="11122" y="4490"/>
                </a:lnTo>
                <a:lnTo>
                  <a:pt x="11122" y="4494"/>
                </a:lnTo>
                <a:lnTo>
                  <a:pt x="11122" y="4498"/>
                </a:lnTo>
                <a:lnTo>
                  <a:pt x="11122" y="4500"/>
                </a:lnTo>
                <a:lnTo>
                  <a:pt x="11120" y="4504"/>
                </a:lnTo>
                <a:lnTo>
                  <a:pt x="11120" y="4506"/>
                </a:lnTo>
                <a:lnTo>
                  <a:pt x="11122" y="4508"/>
                </a:lnTo>
                <a:lnTo>
                  <a:pt x="11126" y="4508"/>
                </a:lnTo>
                <a:lnTo>
                  <a:pt x="11128" y="4506"/>
                </a:lnTo>
                <a:lnTo>
                  <a:pt x="11128" y="4504"/>
                </a:lnTo>
                <a:lnTo>
                  <a:pt x="11130" y="4504"/>
                </a:lnTo>
                <a:lnTo>
                  <a:pt x="11134" y="4506"/>
                </a:lnTo>
                <a:lnTo>
                  <a:pt x="11136" y="4514"/>
                </a:lnTo>
                <a:lnTo>
                  <a:pt x="11136" y="4518"/>
                </a:lnTo>
                <a:lnTo>
                  <a:pt x="11136" y="4522"/>
                </a:lnTo>
                <a:lnTo>
                  <a:pt x="11134" y="4528"/>
                </a:lnTo>
                <a:lnTo>
                  <a:pt x="11136" y="4530"/>
                </a:lnTo>
                <a:lnTo>
                  <a:pt x="11136" y="4534"/>
                </a:lnTo>
                <a:lnTo>
                  <a:pt x="11136" y="4538"/>
                </a:lnTo>
                <a:lnTo>
                  <a:pt x="11134" y="4542"/>
                </a:lnTo>
                <a:lnTo>
                  <a:pt x="11136" y="4544"/>
                </a:lnTo>
                <a:lnTo>
                  <a:pt x="11144" y="4548"/>
                </a:lnTo>
                <a:lnTo>
                  <a:pt x="11146" y="4550"/>
                </a:lnTo>
                <a:lnTo>
                  <a:pt x="11146" y="4548"/>
                </a:lnTo>
                <a:lnTo>
                  <a:pt x="11146" y="4544"/>
                </a:lnTo>
                <a:lnTo>
                  <a:pt x="11144" y="4538"/>
                </a:lnTo>
                <a:lnTo>
                  <a:pt x="11144" y="4534"/>
                </a:lnTo>
                <a:lnTo>
                  <a:pt x="11146" y="4534"/>
                </a:lnTo>
                <a:lnTo>
                  <a:pt x="11148" y="4536"/>
                </a:lnTo>
                <a:lnTo>
                  <a:pt x="11148" y="4542"/>
                </a:lnTo>
                <a:lnTo>
                  <a:pt x="11152" y="4548"/>
                </a:lnTo>
                <a:lnTo>
                  <a:pt x="11154" y="4552"/>
                </a:lnTo>
                <a:lnTo>
                  <a:pt x="11158" y="4554"/>
                </a:lnTo>
                <a:lnTo>
                  <a:pt x="11158" y="4552"/>
                </a:lnTo>
                <a:lnTo>
                  <a:pt x="11154" y="4544"/>
                </a:lnTo>
                <a:lnTo>
                  <a:pt x="11154" y="4542"/>
                </a:lnTo>
                <a:lnTo>
                  <a:pt x="11154" y="4540"/>
                </a:lnTo>
                <a:lnTo>
                  <a:pt x="11156" y="4538"/>
                </a:lnTo>
                <a:lnTo>
                  <a:pt x="11158" y="4536"/>
                </a:lnTo>
                <a:lnTo>
                  <a:pt x="11156" y="4532"/>
                </a:lnTo>
                <a:lnTo>
                  <a:pt x="11154" y="4528"/>
                </a:lnTo>
                <a:lnTo>
                  <a:pt x="11154" y="4524"/>
                </a:lnTo>
                <a:lnTo>
                  <a:pt x="11152" y="4522"/>
                </a:lnTo>
                <a:lnTo>
                  <a:pt x="11150" y="4518"/>
                </a:lnTo>
                <a:lnTo>
                  <a:pt x="11148" y="4516"/>
                </a:lnTo>
                <a:lnTo>
                  <a:pt x="11148" y="4512"/>
                </a:lnTo>
                <a:lnTo>
                  <a:pt x="11148" y="4504"/>
                </a:lnTo>
                <a:lnTo>
                  <a:pt x="11148" y="4496"/>
                </a:lnTo>
                <a:lnTo>
                  <a:pt x="11146" y="4492"/>
                </a:lnTo>
                <a:lnTo>
                  <a:pt x="11144" y="4490"/>
                </a:lnTo>
                <a:lnTo>
                  <a:pt x="11144" y="4488"/>
                </a:lnTo>
                <a:lnTo>
                  <a:pt x="11144" y="4486"/>
                </a:lnTo>
                <a:lnTo>
                  <a:pt x="11144" y="4484"/>
                </a:lnTo>
                <a:lnTo>
                  <a:pt x="11140" y="4482"/>
                </a:lnTo>
                <a:lnTo>
                  <a:pt x="11136" y="4484"/>
                </a:lnTo>
                <a:lnTo>
                  <a:pt x="11134" y="4486"/>
                </a:lnTo>
                <a:lnTo>
                  <a:pt x="11132" y="4488"/>
                </a:lnTo>
                <a:lnTo>
                  <a:pt x="11128" y="4486"/>
                </a:lnTo>
                <a:lnTo>
                  <a:pt x="11122" y="4480"/>
                </a:lnTo>
                <a:lnTo>
                  <a:pt x="11120" y="4476"/>
                </a:lnTo>
                <a:lnTo>
                  <a:pt x="11116" y="4478"/>
                </a:lnTo>
                <a:close/>
                <a:moveTo>
                  <a:pt x="11048" y="4532"/>
                </a:moveTo>
                <a:lnTo>
                  <a:pt x="11048" y="4532"/>
                </a:lnTo>
                <a:lnTo>
                  <a:pt x="11050" y="4530"/>
                </a:lnTo>
                <a:lnTo>
                  <a:pt x="11054" y="4526"/>
                </a:lnTo>
                <a:lnTo>
                  <a:pt x="11056" y="4522"/>
                </a:lnTo>
                <a:lnTo>
                  <a:pt x="11054" y="4518"/>
                </a:lnTo>
                <a:lnTo>
                  <a:pt x="11052" y="4516"/>
                </a:lnTo>
                <a:lnTo>
                  <a:pt x="11050" y="4518"/>
                </a:lnTo>
                <a:lnTo>
                  <a:pt x="11048" y="4522"/>
                </a:lnTo>
                <a:lnTo>
                  <a:pt x="11048" y="4524"/>
                </a:lnTo>
                <a:lnTo>
                  <a:pt x="11048" y="4526"/>
                </a:lnTo>
                <a:lnTo>
                  <a:pt x="11046" y="4528"/>
                </a:lnTo>
                <a:lnTo>
                  <a:pt x="11046" y="4530"/>
                </a:lnTo>
                <a:lnTo>
                  <a:pt x="11048" y="4532"/>
                </a:lnTo>
                <a:close/>
                <a:moveTo>
                  <a:pt x="11128" y="4478"/>
                </a:moveTo>
                <a:lnTo>
                  <a:pt x="11128" y="4478"/>
                </a:lnTo>
                <a:lnTo>
                  <a:pt x="11130" y="4478"/>
                </a:lnTo>
                <a:lnTo>
                  <a:pt x="11130" y="4474"/>
                </a:lnTo>
                <a:lnTo>
                  <a:pt x="11128" y="4470"/>
                </a:lnTo>
                <a:lnTo>
                  <a:pt x="11124" y="4468"/>
                </a:lnTo>
                <a:lnTo>
                  <a:pt x="11122" y="4470"/>
                </a:lnTo>
                <a:lnTo>
                  <a:pt x="11122" y="4474"/>
                </a:lnTo>
                <a:lnTo>
                  <a:pt x="11124" y="4476"/>
                </a:lnTo>
                <a:lnTo>
                  <a:pt x="11128" y="4478"/>
                </a:lnTo>
                <a:close/>
                <a:moveTo>
                  <a:pt x="11174" y="4512"/>
                </a:moveTo>
                <a:lnTo>
                  <a:pt x="11174" y="4512"/>
                </a:lnTo>
                <a:lnTo>
                  <a:pt x="11172" y="4514"/>
                </a:lnTo>
                <a:lnTo>
                  <a:pt x="11174" y="4516"/>
                </a:lnTo>
                <a:lnTo>
                  <a:pt x="11176" y="4518"/>
                </a:lnTo>
                <a:lnTo>
                  <a:pt x="11178" y="4518"/>
                </a:lnTo>
                <a:lnTo>
                  <a:pt x="11180" y="4516"/>
                </a:lnTo>
                <a:lnTo>
                  <a:pt x="11178" y="4514"/>
                </a:lnTo>
                <a:lnTo>
                  <a:pt x="11176" y="4512"/>
                </a:lnTo>
                <a:lnTo>
                  <a:pt x="11174" y="4512"/>
                </a:lnTo>
                <a:close/>
                <a:moveTo>
                  <a:pt x="11094" y="4488"/>
                </a:moveTo>
                <a:lnTo>
                  <a:pt x="11094" y="4488"/>
                </a:lnTo>
                <a:lnTo>
                  <a:pt x="11092" y="4490"/>
                </a:lnTo>
                <a:lnTo>
                  <a:pt x="11092" y="4492"/>
                </a:lnTo>
                <a:lnTo>
                  <a:pt x="11094" y="4494"/>
                </a:lnTo>
                <a:lnTo>
                  <a:pt x="11096" y="4496"/>
                </a:lnTo>
                <a:lnTo>
                  <a:pt x="11096" y="4494"/>
                </a:lnTo>
                <a:lnTo>
                  <a:pt x="11096" y="4490"/>
                </a:lnTo>
                <a:lnTo>
                  <a:pt x="11096" y="4488"/>
                </a:lnTo>
                <a:lnTo>
                  <a:pt x="11094" y="4488"/>
                </a:lnTo>
                <a:close/>
                <a:moveTo>
                  <a:pt x="11036" y="4720"/>
                </a:moveTo>
                <a:lnTo>
                  <a:pt x="11036" y="4720"/>
                </a:lnTo>
                <a:lnTo>
                  <a:pt x="11034" y="4716"/>
                </a:lnTo>
                <a:lnTo>
                  <a:pt x="11026" y="4712"/>
                </a:lnTo>
                <a:lnTo>
                  <a:pt x="11024" y="4712"/>
                </a:lnTo>
                <a:lnTo>
                  <a:pt x="11020" y="4712"/>
                </a:lnTo>
                <a:lnTo>
                  <a:pt x="11018" y="4714"/>
                </a:lnTo>
                <a:lnTo>
                  <a:pt x="11018" y="4718"/>
                </a:lnTo>
                <a:lnTo>
                  <a:pt x="11020" y="4724"/>
                </a:lnTo>
                <a:lnTo>
                  <a:pt x="11022" y="4726"/>
                </a:lnTo>
                <a:lnTo>
                  <a:pt x="11024" y="4726"/>
                </a:lnTo>
                <a:lnTo>
                  <a:pt x="11028" y="4726"/>
                </a:lnTo>
                <a:lnTo>
                  <a:pt x="11034" y="4724"/>
                </a:lnTo>
                <a:lnTo>
                  <a:pt x="11036" y="4720"/>
                </a:lnTo>
                <a:close/>
                <a:moveTo>
                  <a:pt x="10980" y="4746"/>
                </a:moveTo>
                <a:lnTo>
                  <a:pt x="10980" y="4746"/>
                </a:lnTo>
                <a:lnTo>
                  <a:pt x="10978" y="4750"/>
                </a:lnTo>
                <a:lnTo>
                  <a:pt x="10980" y="4752"/>
                </a:lnTo>
                <a:lnTo>
                  <a:pt x="10982" y="4752"/>
                </a:lnTo>
                <a:lnTo>
                  <a:pt x="10988" y="4752"/>
                </a:lnTo>
                <a:lnTo>
                  <a:pt x="10992" y="4752"/>
                </a:lnTo>
                <a:lnTo>
                  <a:pt x="10996" y="4752"/>
                </a:lnTo>
                <a:lnTo>
                  <a:pt x="11000" y="4750"/>
                </a:lnTo>
                <a:lnTo>
                  <a:pt x="11000" y="4748"/>
                </a:lnTo>
                <a:lnTo>
                  <a:pt x="10998" y="4746"/>
                </a:lnTo>
                <a:lnTo>
                  <a:pt x="10994" y="4744"/>
                </a:lnTo>
                <a:lnTo>
                  <a:pt x="10992" y="4740"/>
                </a:lnTo>
                <a:lnTo>
                  <a:pt x="10988" y="4740"/>
                </a:lnTo>
                <a:lnTo>
                  <a:pt x="10986" y="4740"/>
                </a:lnTo>
                <a:lnTo>
                  <a:pt x="10984" y="4742"/>
                </a:lnTo>
                <a:lnTo>
                  <a:pt x="10980" y="4746"/>
                </a:lnTo>
                <a:close/>
                <a:moveTo>
                  <a:pt x="11090" y="4588"/>
                </a:moveTo>
                <a:lnTo>
                  <a:pt x="11090" y="4588"/>
                </a:lnTo>
                <a:lnTo>
                  <a:pt x="11088" y="4590"/>
                </a:lnTo>
                <a:lnTo>
                  <a:pt x="11084" y="4590"/>
                </a:lnTo>
                <a:lnTo>
                  <a:pt x="11084" y="4592"/>
                </a:lnTo>
                <a:lnTo>
                  <a:pt x="11086" y="4594"/>
                </a:lnTo>
                <a:lnTo>
                  <a:pt x="11090" y="4596"/>
                </a:lnTo>
                <a:lnTo>
                  <a:pt x="11092" y="4596"/>
                </a:lnTo>
                <a:lnTo>
                  <a:pt x="11094" y="4592"/>
                </a:lnTo>
                <a:lnTo>
                  <a:pt x="11094" y="4590"/>
                </a:lnTo>
                <a:lnTo>
                  <a:pt x="11092" y="4588"/>
                </a:lnTo>
                <a:lnTo>
                  <a:pt x="11090" y="4588"/>
                </a:lnTo>
                <a:close/>
                <a:moveTo>
                  <a:pt x="11132" y="4588"/>
                </a:moveTo>
                <a:lnTo>
                  <a:pt x="11132" y="4588"/>
                </a:lnTo>
                <a:lnTo>
                  <a:pt x="11130" y="4592"/>
                </a:lnTo>
                <a:lnTo>
                  <a:pt x="11132" y="4594"/>
                </a:lnTo>
                <a:lnTo>
                  <a:pt x="11134" y="4596"/>
                </a:lnTo>
                <a:lnTo>
                  <a:pt x="11138" y="4596"/>
                </a:lnTo>
                <a:lnTo>
                  <a:pt x="11140" y="4594"/>
                </a:lnTo>
                <a:lnTo>
                  <a:pt x="11138" y="4590"/>
                </a:lnTo>
                <a:lnTo>
                  <a:pt x="11134" y="4588"/>
                </a:lnTo>
                <a:lnTo>
                  <a:pt x="11132" y="4588"/>
                </a:lnTo>
                <a:close/>
                <a:moveTo>
                  <a:pt x="11030" y="4434"/>
                </a:moveTo>
                <a:lnTo>
                  <a:pt x="11030" y="4434"/>
                </a:lnTo>
                <a:lnTo>
                  <a:pt x="11032" y="4424"/>
                </a:lnTo>
                <a:lnTo>
                  <a:pt x="11030" y="4422"/>
                </a:lnTo>
                <a:lnTo>
                  <a:pt x="11026" y="4422"/>
                </a:lnTo>
                <a:lnTo>
                  <a:pt x="11024" y="4424"/>
                </a:lnTo>
                <a:lnTo>
                  <a:pt x="11024" y="4426"/>
                </a:lnTo>
                <a:lnTo>
                  <a:pt x="11026" y="4430"/>
                </a:lnTo>
                <a:lnTo>
                  <a:pt x="11022" y="4436"/>
                </a:lnTo>
                <a:lnTo>
                  <a:pt x="11022" y="4440"/>
                </a:lnTo>
                <a:lnTo>
                  <a:pt x="11024" y="4442"/>
                </a:lnTo>
                <a:lnTo>
                  <a:pt x="11028" y="4440"/>
                </a:lnTo>
                <a:lnTo>
                  <a:pt x="11030" y="4434"/>
                </a:lnTo>
                <a:close/>
                <a:moveTo>
                  <a:pt x="11026" y="4392"/>
                </a:moveTo>
                <a:lnTo>
                  <a:pt x="11026" y="4392"/>
                </a:lnTo>
                <a:lnTo>
                  <a:pt x="11028" y="4390"/>
                </a:lnTo>
                <a:lnTo>
                  <a:pt x="11030" y="4384"/>
                </a:lnTo>
                <a:lnTo>
                  <a:pt x="11028" y="4380"/>
                </a:lnTo>
                <a:lnTo>
                  <a:pt x="11026" y="4378"/>
                </a:lnTo>
                <a:lnTo>
                  <a:pt x="11024" y="4378"/>
                </a:lnTo>
                <a:lnTo>
                  <a:pt x="11020" y="4376"/>
                </a:lnTo>
                <a:lnTo>
                  <a:pt x="11018" y="4378"/>
                </a:lnTo>
                <a:lnTo>
                  <a:pt x="11018" y="4384"/>
                </a:lnTo>
                <a:lnTo>
                  <a:pt x="11018" y="4388"/>
                </a:lnTo>
                <a:lnTo>
                  <a:pt x="11020" y="4392"/>
                </a:lnTo>
                <a:lnTo>
                  <a:pt x="11024" y="4392"/>
                </a:lnTo>
                <a:lnTo>
                  <a:pt x="11026" y="4392"/>
                </a:lnTo>
                <a:close/>
                <a:moveTo>
                  <a:pt x="11052" y="4436"/>
                </a:moveTo>
                <a:lnTo>
                  <a:pt x="11052" y="4436"/>
                </a:lnTo>
                <a:lnTo>
                  <a:pt x="11052" y="4432"/>
                </a:lnTo>
                <a:lnTo>
                  <a:pt x="11050" y="4428"/>
                </a:lnTo>
                <a:lnTo>
                  <a:pt x="11046" y="4428"/>
                </a:lnTo>
                <a:lnTo>
                  <a:pt x="11042" y="4430"/>
                </a:lnTo>
                <a:lnTo>
                  <a:pt x="11042" y="4432"/>
                </a:lnTo>
                <a:lnTo>
                  <a:pt x="11042" y="4434"/>
                </a:lnTo>
                <a:lnTo>
                  <a:pt x="11044" y="4436"/>
                </a:lnTo>
                <a:lnTo>
                  <a:pt x="11048" y="4440"/>
                </a:lnTo>
                <a:lnTo>
                  <a:pt x="11050" y="4440"/>
                </a:lnTo>
                <a:lnTo>
                  <a:pt x="11052" y="4436"/>
                </a:lnTo>
                <a:close/>
                <a:moveTo>
                  <a:pt x="11074" y="4410"/>
                </a:moveTo>
                <a:lnTo>
                  <a:pt x="11074" y="4410"/>
                </a:lnTo>
                <a:lnTo>
                  <a:pt x="11072" y="4406"/>
                </a:lnTo>
                <a:lnTo>
                  <a:pt x="11070" y="4402"/>
                </a:lnTo>
                <a:lnTo>
                  <a:pt x="11066" y="4398"/>
                </a:lnTo>
                <a:lnTo>
                  <a:pt x="11064" y="4398"/>
                </a:lnTo>
                <a:lnTo>
                  <a:pt x="11062" y="4400"/>
                </a:lnTo>
                <a:lnTo>
                  <a:pt x="11062" y="4402"/>
                </a:lnTo>
                <a:lnTo>
                  <a:pt x="11066" y="4406"/>
                </a:lnTo>
                <a:lnTo>
                  <a:pt x="11068" y="4410"/>
                </a:lnTo>
                <a:lnTo>
                  <a:pt x="11072" y="4414"/>
                </a:lnTo>
                <a:lnTo>
                  <a:pt x="11078" y="4420"/>
                </a:lnTo>
                <a:lnTo>
                  <a:pt x="11080" y="4420"/>
                </a:lnTo>
                <a:lnTo>
                  <a:pt x="11080" y="4418"/>
                </a:lnTo>
                <a:lnTo>
                  <a:pt x="11078" y="4416"/>
                </a:lnTo>
                <a:lnTo>
                  <a:pt x="11076" y="4412"/>
                </a:lnTo>
                <a:lnTo>
                  <a:pt x="11074" y="4410"/>
                </a:lnTo>
                <a:close/>
                <a:moveTo>
                  <a:pt x="11098" y="4436"/>
                </a:moveTo>
                <a:lnTo>
                  <a:pt x="11098" y="4436"/>
                </a:lnTo>
                <a:lnTo>
                  <a:pt x="11098" y="4434"/>
                </a:lnTo>
                <a:lnTo>
                  <a:pt x="11096" y="4428"/>
                </a:lnTo>
                <a:lnTo>
                  <a:pt x="11092" y="4422"/>
                </a:lnTo>
                <a:lnTo>
                  <a:pt x="11090" y="4420"/>
                </a:lnTo>
                <a:lnTo>
                  <a:pt x="11088" y="4422"/>
                </a:lnTo>
                <a:lnTo>
                  <a:pt x="11090" y="4424"/>
                </a:lnTo>
                <a:lnTo>
                  <a:pt x="11092" y="4430"/>
                </a:lnTo>
                <a:lnTo>
                  <a:pt x="11098" y="4436"/>
                </a:lnTo>
                <a:close/>
                <a:moveTo>
                  <a:pt x="10946" y="4524"/>
                </a:moveTo>
                <a:lnTo>
                  <a:pt x="10946" y="4524"/>
                </a:lnTo>
                <a:lnTo>
                  <a:pt x="10946" y="4522"/>
                </a:lnTo>
                <a:lnTo>
                  <a:pt x="10944" y="4520"/>
                </a:lnTo>
                <a:lnTo>
                  <a:pt x="10940" y="4520"/>
                </a:lnTo>
                <a:lnTo>
                  <a:pt x="10936" y="4526"/>
                </a:lnTo>
                <a:lnTo>
                  <a:pt x="10936" y="4530"/>
                </a:lnTo>
                <a:lnTo>
                  <a:pt x="10940" y="4528"/>
                </a:lnTo>
                <a:lnTo>
                  <a:pt x="10946" y="4524"/>
                </a:lnTo>
                <a:close/>
                <a:moveTo>
                  <a:pt x="11172" y="4532"/>
                </a:moveTo>
                <a:lnTo>
                  <a:pt x="11172" y="4532"/>
                </a:lnTo>
                <a:lnTo>
                  <a:pt x="11172" y="4530"/>
                </a:lnTo>
                <a:lnTo>
                  <a:pt x="11170" y="4528"/>
                </a:lnTo>
                <a:lnTo>
                  <a:pt x="11168" y="4534"/>
                </a:lnTo>
                <a:lnTo>
                  <a:pt x="11166" y="4544"/>
                </a:lnTo>
                <a:lnTo>
                  <a:pt x="11168" y="4550"/>
                </a:lnTo>
                <a:lnTo>
                  <a:pt x="11170" y="4554"/>
                </a:lnTo>
                <a:lnTo>
                  <a:pt x="11174" y="4556"/>
                </a:lnTo>
                <a:lnTo>
                  <a:pt x="11174" y="4558"/>
                </a:lnTo>
                <a:lnTo>
                  <a:pt x="11176" y="4552"/>
                </a:lnTo>
                <a:lnTo>
                  <a:pt x="11172" y="4532"/>
                </a:lnTo>
                <a:close/>
                <a:moveTo>
                  <a:pt x="11186" y="4554"/>
                </a:moveTo>
                <a:lnTo>
                  <a:pt x="11186" y="4554"/>
                </a:lnTo>
                <a:lnTo>
                  <a:pt x="11184" y="4558"/>
                </a:lnTo>
                <a:lnTo>
                  <a:pt x="11184" y="4560"/>
                </a:lnTo>
                <a:lnTo>
                  <a:pt x="11186" y="4562"/>
                </a:lnTo>
                <a:lnTo>
                  <a:pt x="11188" y="4562"/>
                </a:lnTo>
                <a:lnTo>
                  <a:pt x="11192" y="4562"/>
                </a:lnTo>
                <a:lnTo>
                  <a:pt x="11192" y="4558"/>
                </a:lnTo>
                <a:lnTo>
                  <a:pt x="11192" y="4556"/>
                </a:lnTo>
                <a:lnTo>
                  <a:pt x="11188" y="4548"/>
                </a:lnTo>
                <a:lnTo>
                  <a:pt x="11186" y="4554"/>
                </a:lnTo>
                <a:close/>
                <a:moveTo>
                  <a:pt x="11082" y="4530"/>
                </a:moveTo>
                <a:lnTo>
                  <a:pt x="11082" y="4530"/>
                </a:lnTo>
                <a:lnTo>
                  <a:pt x="11086" y="4520"/>
                </a:lnTo>
                <a:lnTo>
                  <a:pt x="11086" y="4512"/>
                </a:lnTo>
                <a:lnTo>
                  <a:pt x="11086" y="4506"/>
                </a:lnTo>
                <a:lnTo>
                  <a:pt x="11084" y="4504"/>
                </a:lnTo>
                <a:lnTo>
                  <a:pt x="11082" y="4504"/>
                </a:lnTo>
                <a:lnTo>
                  <a:pt x="11078" y="4504"/>
                </a:lnTo>
                <a:lnTo>
                  <a:pt x="11076" y="4504"/>
                </a:lnTo>
                <a:lnTo>
                  <a:pt x="11072" y="4504"/>
                </a:lnTo>
                <a:lnTo>
                  <a:pt x="11068" y="4506"/>
                </a:lnTo>
                <a:lnTo>
                  <a:pt x="11064" y="4508"/>
                </a:lnTo>
                <a:lnTo>
                  <a:pt x="11064" y="4510"/>
                </a:lnTo>
                <a:lnTo>
                  <a:pt x="11064" y="4516"/>
                </a:lnTo>
                <a:lnTo>
                  <a:pt x="11064" y="4520"/>
                </a:lnTo>
                <a:lnTo>
                  <a:pt x="11062" y="4522"/>
                </a:lnTo>
                <a:lnTo>
                  <a:pt x="11060" y="4524"/>
                </a:lnTo>
                <a:lnTo>
                  <a:pt x="11058" y="4526"/>
                </a:lnTo>
                <a:lnTo>
                  <a:pt x="11058" y="4528"/>
                </a:lnTo>
                <a:lnTo>
                  <a:pt x="11060" y="4536"/>
                </a:lnTo>
                <a:lnTo>
                  <a:pt x="11062" y="4544"/>
                </a:lnTo>
                <a:lnTo>
                  <a:pt x="11060" y="4548"/>
                </a:lnTo>
                <a:lnTo>
                  <a:pt x="11056" y="4550"/>
                </a:lnTo>
                <a:lnTo>
                  <a:pt x="11052" y="4552"/>
                </a:lnTo>
                <a:lnTo>
                  <a:pt x="11050" y="4552"/>
                </a:lnTo>
                <a:lnTo>
                  <a:pt x="11046" y="4552"/>
                </a:lnTo>
                <a:lnTo>
                  <a:pt x="11044" y="4552"/>
                </a:lnTo>
                <a:lnTo>
                  <a:pt x="11040" y="4558"/>
                </a:lnTo>
                <a:lnTo>
                  <a:pt x="11040" y="4562"/>
                </a:lnTo>
                <a:lnTo>
                  <a:pt x="11044" y="4570"/>
                </a:lnTo>
                <a:lnTo>
                  <a:pt x="11050" y="4578"/>
                </a:lnTo>
                <a:lnTo>
                  <a:pt x="11054" y="4582"/>
                </a:lnTo>
                <a:lnTo>
                  <a:pt x="11058" y="4584"/>
                </a:lnTo>
                <a:lnTo>
                  <a:pt x="11062" y="4590"/>
                </a:lnTo>
                <a:lnTo>
                  <a:pt x="11064" y="4598"/>
                </a:lnTo>
                <a:lnTo>
                  <a:pt x="11066" y="4598"/>
                </a:lnTo>
                <a:lnTo>
                  <a:pt x="11068" y="4598"/>
                </a:lnTo>
                <a:lnTo>
                  <a:pt x="11072" y="4596"/>
                </a:lnTo>
                <a:lnTo>
                  <a:pt x="11076" y="4590"/>
                </a:lnTo>
                <a:lnTo>
                  <a:pt x="11078" y="4588"/>
                </a:lnTo>
                <a:lnTo>
                  <a:pt x="11078" y="4584"/>
                </a:lnTo>
                <a:lnTo>
                  <a:pt x="11074" y="4574"/>
                </a:lnTo>
                <a:lnTo>
                  <a:pt x="11072" y="4564"/>
                </a:lnTo>
                <a:lnTo>
                  <a:pt x="11072" y="4560"/>
                </a:lnTo>
                <a:lnTo>
                  <a:pt x="11074" y="4554"/>
                </a:lnTo>
                <a:lnTo>
                  <a:pt x="11076" y="4548"/>
                </a:lnTo>
                <a:lnTo>
                  <a:pt x="11076" y="4542"/>
                </a:lnTo>
                <a:lnTo>
                  <a:pt x="11078" y="4538"/>
                </a:lnTo>
                <a:lnTo>
                  <a:pt x="11082" y="4530"/>
                </a:lnTo>
                <a:close/>
                <a:moveTo>
                  <a:pt x="11084" y="4428"/>
                </a:moveTo>
                <a:lnTo>
                  <a:pt x="11084" y="4428"/>
                </a:lnTo>
                <a:lnTo>
                  <a:pt x="11082" y="4428"/>
                </a:lnTo>
                <a:lnTo>
                  <a:pt x="11078" y="4428"/>
                </a:lnTo>
                <a:lnTo>
                  <a:pt x="11076" y="4428"/>
                </a:lnTo>
                <a:lnTo>
                  <a:pt x="11076" y="4430"/>
                </a:lnTo>
                <a:lnTo>
                  <a:pt x="11076" y="4436"/>
                </a:lnTo>
                <a:lnTo>
                  <a:pt x="11076" y="4442"/>
                </a:lnTo>
                <a:lnTo>
                  <a:pt x="11070" y="4456"/>
                </a:lnTo>
                <a:lnTo>
                  <a:pt x="11070" y="4458"/>
                </a:lnTo>
                <a:lnTo>
                  <a:pt x="11072" y="4456"/>
                </a:lnTo>
                <a:lnTo>
                  <a:pt x="11076" y="4454"/>
                </a:lnTo>
                <a:lnTo>
                  <a:pt x="11084" y="4444"/>
                </a:lnTo>
                <a:lnTo>
                  <a:pt x="11086" y="4444"/>
                </a:lnTo>
                <a:lnTo>
                  <a:pt x="11088" y="4444"/>
                </a:lnTo>
                <a:lnTo>
                  <a:pt x="11090" y="4450"/>
                </a:lnTo>
                <a:lnTo>
                  <a:pt x="11094" y="4456"/>
                </a:lnTo>
                <a:lnTo>
                  <a:pt x="11094" y="4458"/>
                </a:lnTo>
                <a:lnTo>
                  <a:pt x="11096" y="4458"/>
                </a:lnTo>
                <a:lnTo>
                  <a:pt x="11102" y="4462"/>
                </a:lnTo>
                <a:lnTo>
                  <a:pt x="11106" y="4464"/>
                </a:lnTo>
                <a:lnTo>
                  <a:pt x="11110" y="4468"/>
                </a:lnTo>
                <a:lnTo>
                  <a:pt x="11108" y="4464"/>
                </a:lnTo>
                <a:lnTo>
                  <a:pt x="11106" y="4458"/>
                </a:lnTo>
                <a:lnTo>
                  <a:pt x="11104" y="4450"/>
                </a:lnTo>
                <a:lnTo>
                  <a:pt x="11102" y="4446"/>
                </a:lnTo>
                <a:lnTo>
                  <a:pt x="11098" y="4442"/>
                </a:lnTo>
                <a:lnTo>
                  <a:pt x="11094" y="4438"/>
                </a:lnTo>
                <a:lnTo>
                  <a:pt x="11090" y="4434"/>
                </a:lnTo>
                <a:lnTo>
                  <a:pt x="11086" y="4430"/>
                </a:lnTo>
                <a:lnTo>
                  <a:pt x="11084" y="4428"/>
                </a:lnTo>
                <a:close/>
                <a:moveTo>
                  <a:pt x="11108" y="4522"/>
                </a:moveTo>
                <a:lnTo>
                  <a:pt x="11108" y="4522"/>
                </a:lnTo>
                <a:lnTo>
                  <a:pt x="11108" y="4518"/>
                </a:lnTo>
                <a:lnTo>
                  <a:pt x="11108" y="4512"/>
                </a:lnTo>
                <a:lnTo>
                  <a:pt x="11110" y="4510"/>
                </a:lnTo>
                <a:lnTo>
                  <a:pt x="11110" y="4506"/>
                </a:lnTo>
                <a:lnTo>
                  <a:pt x="11108" y="4500"/>
                </a:lnTo>
                <a:lnTo>
                  <a:pt x="11108" y="4492"/>
                </a:lnTo>
                <a:lnTo>
                  <a:pt x="11108" y="4490"/>
                </a:lnTo>
                <a:lnTo>
                  <a:pt x="11106" y="4488"/>
                </a:lnTo>
                <a:lnTo>
                  <a:pt x="11104" y="4498"/>
                </a:lnTo>
                <a:lnTo>
                  <a:pt x="11098" y="4512"/>
                </a:lnTo>
                <a:lnTo>
                  <a:pt x="11096" y="4516"/>
                </a:lnTo>
                <a:lnTo>
                  <a:pt x="11094" y="4524"/>
                </a:lnTo>
                <a:lnTo>
                  <a:pt x="11092" y="4534"/>
                </a:lnTo>
                <a:lnTo>
                  <a:pt x="11088" y="4542"/>
                </a:lnTo>
                <a:lnTo>
                  <a:pt x="11084" y="4548"/>
                </a:lnTo>
                <a:lnTo>
                  <a:pt x="11082" y="4552"/>
                </a:lnTo>
                <a:lnTo>
                  <a:pt x="11080" y="4562"/>
                </a:lnTo>
                <a:lnTo>
                  <a:pt x="11078" y="4574"/>
                </a:lnTo>
                <a:lnTo>
                  <a:pt x="11080" y="4578"/>
                </a:lnTo>
                <a:lnTo>
                  <a:pt x="11080" y="4580"/>
                </a:lnTo>
                <a:lnTo>
                  <a:pt x="11080" y="4578"/>
                </a:lnTo>
                <a:lnTo>
                  <a:pt x="11084" y="4574"/>
                </a:lnTo>
                <a:lnTo>
                  <a:pt x="11086" y="4568"/>
                </a:lnTo>
                <a:lnTo>
                  <a:pt x="11088" y="4562"/>
                </a:lnTo>
                <a:lnTo>
                  <a:pt x="11090" y="4558"/>
                </a:lnTo>
                <a:lnTo>
                  <a:pt x="11092" y="4556"/>
                </a:lnTo>
                <a:lnTo>
                  <a:pt x="11092" y="4550"/>
                </a:lnTo>
                <a:lnTo>
                  <a:pt x="11092" y="4548"/>
                </a:lnTo>
                <a:lnTo>
                  <a:pt x="11094" y="4544"/>
                </a:lnTo>
                <a:lnTo>
                  <a:pt x="11100" y="4538"/>
                </a:lnTo>
                <a:lnTo>
                  <a:pt x="11106" y="4532"/>
                </a:lnTo>
                <a:lnTo>
                  <a:pt x="11108" y="4528"/>
                </a:lnTo>
                <a:lnTo>
                  <a:pt x="11108" y="4522"/>
                </a:lnTo>
                <a:close/>
                <a:moveTo>
                  <a:pt x="11114" y="4542"/>
                </a:moveTo>
                <a:lnTo>
                  <a:pt x="11114" y="4542"/>
                </a:lnTo>
                <a:lnTo>
                  <a:pt x="11110" y="4548"/>
                </a:lnTo>
                <a:lnTo>
                  <a:pt x="11104" y="4554"/>
                </a:lnTo>
                <a:lnTo>
                  <a:pt x="11102" y="4556"/>
                </a:lnTo>
                <a:lnTo>
                  <a:pt x="11100" y="4558"/>
                </a:lnTo>
                <a:lnTo>
                  <a:pt x="11098" y="4562"/>
                </a:lnTo>
                <a:lnTo>
                  <a:pt x="11100" y="4568"/>
                </a:lnTo>
                <a:lnTo>
                  <a:pt x="11102" y="4570"/>
                </a:lnTo>
                <a:lnTo>
                  <a:pt x="11106" y="4572"/>
                </a:lnTo>
                <a:lnTo>
                  <a:pt x="11112" y="4572"/>
                </a:lnTo>
                <a:lnTo>
                  <a:pt x="11118" y="4570"/>
                </a:lnTo>
                <a:lnTo>
                  <a:pt x="11122" y="4568"/>
                </a:lnTo>
                <a:lnTo>
                  <a:pt x="11126" y="4566"/>
                </a:lnTo>
                <a:lnTo>
                  <a:pt x="11128" y="4564"/>
                </a:lnTo>
                <a:lnTo>
                  <a:pt x="11130" y="4564"/>
                </a:lnTo>
                <a:lnTo>
                  <a:pt x="11128" y="4560"/>
                </a:lnTo>
                <a:lnTo>
                  <a:pt x="11128" y="4556"/>
                </a:lnTo>
                <a:lnTo>
                  <a:pt x="11130" y="4550"/>
                </a:lnTo>
                <a:lnTo>
                  <a:pt x="11130" y="4546"/>
                </a:lnTo>
                <a:lnTo>
                  <a:pt x="11130" y="4544"/>
                </a:lnTo>
                <a:lnTo>
                  <a:pt x="11128" y="4544"/>
                </a:lnTo>
                <a:lnTo>
                  <a:pt x="11128" y="4546"/>
                </a:lnTo>
                <a:lnTo>
                  <a:pt x="11126" y="4546"/>
                </a:lnTo>
                <a:lnTo>
                  <a:pt x="11122" y="4546"/>
                </a:lnTo>
                <a:lnTo>
                  <a:pt x="11120" y="4544"/>
                </a:lnTo>
                <a:lnTo>
                  <a:pt x="11118" y="4542"/>
                </a:lnTo>
                <a:lnTo>
                  <a:pt x="11116" y="4540"/>
                </a:lnTo>
                <a:lnTo>
                  <a:pt x="11114" y="4542"/>
                </a:lnTo>
                <a:close/>
                <a:moveTo>
                  <a:pt x="11168" y="4562"/>
                </a:moveTo>
                <a:lnTo>
                  <a:pt x="11168" y="4562"/>
                </a:lnTo>
                <a:lnTo>
                  <a:pt x="11164" y="4560"/>
                </a:lnTo>
                <a:lnTo>
                  <a:pt x="11162" y="4560"/>
                </a:lnTo>
                <a:lnTo>
                  <a:pt x="11162" y="4562"/>
                </a:lnTo>
                <a:lnTo>
                  <a:pt x="11166" y="4582"/>
                </a:lnTo>
                <a:lnTo>
                  <a:pt x="11166" y="4596"/>
                </a:lnTo>
                <a:lnTo>
                  <a:pt x="11166" y="4600"/>
                </a:lnTo>
                <a:lnTo>
                  <a:pt x="11164" y="4602"/>
                </a:lnTo>
                <a:lnTo>
                  <a:pt x="11160" y="4600"/>
                </a:lnTo>
                <a:lnTo>
                  <a:pt x="11156" y="4598"/>
                </a:lnTo>
                <a:lnTo>
                  <a:pt x="11154" y="4598"/>
                </a:lnTo>
                <a:lnTo>
                  <a:pt x="11152" y="4598"/>
                </a:lnTo>
                <a:lnTo>
                  <a:pt x="11152" y="4604"/>
                </a:lnTo>
                <a:lnTo>
                  <a:pt x="11150" y="4608"/>
                </a:lnTo>
                <a:lnTo>
                  <a:pt x="11148" y="4608"/>
                </a:lnTo>
                <a:lnTo>
                  <a:pt x="11146" y="4604"/>
                </a:lnTo>
                <a:lnTo>
                  <a:pt x="11142" y="4600"/>
                </a:lnTo>
                <a:lnTo>
                  <a:pt x="11140" y="4600"/>
                </a:lnTo>
                <a:lnTo>
                  <a:pt x="11138" y="4600"/>
                </a:lnTo>
                <a:lnTo>
                  <a:pt x="11138" y="4604"/>
                </a:lnTo>
                <a:lnTo>
                  <a:pt x="11136" y="4622"/>
                </a:lnTo>
                <a:lnTo>
                  <a:pt x="11136" y="4626"/>
                </a:lnTo>
                <a:lnTo>
                  <a:pt x="11134" y="4626"/>
                </a:lnTo>
                <a:lnTo>
                  <a:pt x="11128" y="4622"/>
                </a:lnTo>
                <a:lnTo>
                  <a:pt x="11126" y="4620"/>
                </a:lnTo>
                <a:lnTo>
                  <a:pt x="11122" y="4620"/>
                </a:lnTo>
                <a:lnTo>
                  <a:pt x="11120" y="4622"/>
                </a:lnTo>
                <a:lnTo>
                  <a:pt x="11118" y="4628"/>
                </a:lnTo>
                <a:lnTo>
                  <a:pt x="11114" y="4636"/>
                </a:lnTo>
                <a:lnTo>
                  <a:pt x="11112" y="4640"/>
                </a:lnTo>
                <a:lnTo>
                  <a:pt x="11110" y="4640"/>
                </a:lnTo>
                <a:lnTo>
                  <a:pt x="11104" y="4644"/>
                </a:lnTo>
                <a:lnTo>
                  <a:pt x="11098" y="4646"/>
                </a:lnTo>
                <a:lnTo>
                  <a:pt x="11098" y="4644"/>
                </a:lnTo>
                <a:lnTo>
                  <a:pt x="11100" y="4640"/>
                </a:lnTo>
                <a:lnTo>
                  <a:pt x="11100" y="4632"/>
                </a:lnTo>
                <a:lnTo>
                  <a:pt x="11098" y="4624"/>
                </a:lnTo>
                <a:lnTo>
                  <a:pt x="11096" y="4620"/>
                </a:lnTo>
                <a:lnTo>
                  <a:pt x="11092" y="4618"/>
                </a:lnTo>
                <a:lnTo>
                  <a:pt x="11088" y="4618"/>
                </a:lnTo>
                <a:lnTo>
                  <a:pt x="11086" y="4618"/>
                </a:lnTo>
                <a:lnTo>
                  <a:pt x="11086" y="4616"/>
                </a:lnTo>
                <a:lnTo>
                  <a:pt x="11086" y="4614"/>
                </a:lnTo>
                <a:lnTo>
                  <a:pt x="11084" y="4614"/>
                </a:lnTo>
                <a:lnTo>
                  <a:pt x="11082" y="4614"/>
                </a:lnTo>
                <a:lnTo>
                  <a:pt x="11080" y="4618"/>
                </a:lnTo>
                <a:lnTo>
                  <a:pt x="11078" y="4622"/>
                </a:lnTo>
                <a:lnTo>
                  <a:pt x="11074" y="4622"/>
                </a:lnTo>
                <a:lnTo>
                  <a:pt x="11070" y="4624"/>
                </a:lnTo>
                <a:lnTo>
                  <a:pt x="11066" y="4628"/>
                </a:lnTo>
                <a:lnTo>
                  <a:pt x="11064" y="4632"/>
                </a:lnTo>
                <a:lnTo>
                  <a:pt x="11066" y="4636"/>
                </a:lnTo>
                <a:lnTo>
                  <a:pt x="11066" y="4640"/>
                </a:lnTo>
                <a:lnTo>
                  <a:pt x="11064" y="4642"/>
                </a:lnTo>
                <a:lnTo>
                  <a:pt x="11058" y="4642"/>
                </a:lnTo>
                <a:lnTo>
                  <a:pt x="11054" y="4642"/>
                </a:lnTo>
                <a:lnTo>
                  <a:pt x="11052" y="4640"/>
                </a:lnTo>
                <a:lnTo>
                  <a:pt x="11050" y="4642"/>
                </a:lnTo>
                <a:lnTo>
                  <a:pt x="11048" y="4644"/>
                </a:lnTo>
                <a:lnTo>
                  <a:pt x="11044" y="4646"/>
                </a:lnTo>
                <a:lnTo>
                  <a:pt x="11038" y="4648"/>
                </a:lnTo>
                <a:lnTo>
                  <a:pt x="11034" y="4652"/>
                </a:lnTo>
                <a:lnTo>
                  <a:pt x="11030" y="4658"/>
                </a:lnTo>
                <a:lnTo>
                  <a:pt x="11030" y="4662"/>
                </a:lnTo>
                <a:lnTo>
                  <a:pt x="11028" y="4672"/>
                </a:lnTo>
                <a:lnTo>
                  <a:pt x="11026" y="4678"/>
                </a:lnTo>
                <a:lnTo>
                  <a:pt x="11022" y="4686"/>
                </a:lnTo>
                <a:lnTo>
                  <a:pt x="11022" y="4692"/>
                </a:lnTo>
                <a:lnTo>
                  <a:pt x="11022" y="4694"/>
                </a:lnTo>
                <a:lnTo>
                  <a:pt x="11024" y="4700"/>
                </a:lnTo>
                <a:lnTo>
                  <a:pt x="11028" y="4702"/>
                </a:lnTo>
                <a:lnTo>
                  <a:pt x="11030" y="4704"/>
                </a:lnTo>
                <a:lnTo>
                  <a:pt x="11032" y="4700"/>
                </a:lnTo>
                <a:lnTo>
                  <a:pt x="11036" y="4686"/>
                </a:lnTo>
                <a:lnTo>
                  <a:pt x="11040" y="4680"/>
                </a:lnTo>
                <a:lnTo>
                  <a:pt x="11040" y="4676"/>
                </a:lnTo>
                <a:lnTo>
                  <a:pt x="11040" y="4674"/>
                </a:lnTo>
                <a:lnTo>
                  <a:pt x="11042" y="4674"/>
                </a:lnTo>
                <a:lnTo>
                  <a:pt x="11044" y="4672"/>
                </a:lnTo>
                <a:lnTo>
                  <a:pt x="11046" y="4668"/>
                </a:lnTo>
                <a:lnTo>
                  <a:pt x="11046" y="4666"/>
                </a:lnTo>
                <a:lnTo>
                  <a:pt x="11048" y="4662"/>
                </a:lnTo>
                <a:lnTo>
                  <a:pt x="11052" y="4658"/>
                </a:lnTo>
                <a:lnTo>
                  <a:pt x="11056" y="4660"/>
                </a:lnTo>
                <a:lnTo>
                  <a:pt x="11058" y="4666"/>
                </a:lnTo>
                <a:lnTo>
                  <a:pt x="11056" y="4670"/>
                </a:lnTo>
                <a:lnTo>
                  <a:pt x="11058" y="4674"/>
                </a:lnTo>
                <a:lnTo>
                  <a:pt x="11060" y="4674"/>
                </a:lnTo>
                <a:lnTo>
                  <a:pt x="11066" y="4670"/>
                </a:lnTo>
                <a:lnTo>
                  <a:pt x="11070" y="4664"/>
                </a:lnTo>
                <a:lnTo>
                  <a:pt x="11072" y="4662"/>
                </a:lnTo>
                <a:lnTo>
                  <a:pt x="11072" y="4666"/>
                </a:lnTo>
                <a:lnTo>
                  <a:pt x="11072" y="4672"/>
                </a:lnTo>
                <a:lnTo>
                  <a:pt x="11072" y="4674"/>
                </a:lnTo>
                <a:lnTo>
                  <a:pt x="11074" y="4674"/>
                </a:lnTo>
                <a:lnTo>
                  <a:pt x="11080" y="4678"/>
                </a:lnTo>
                <a:lnTo>
                  <a:pt x="11084" y="4678"/>
                </a:lnTo>
                <a:lnTo>
                  <a:pt x="11082" y="4674"/>
                </a:lnTo>
                <a:lnTo>
                  <a:pt x="11082" y="4670"/>
                </a:lnTo>
                <a:lnTo>
                  <a:pt x="11084" y="4666"/>
                </a:lnTo>
                <a:lnTo>
                  <a:pt x="11086" y="4664"/>
                </a:lnTo>
                <a:lnTo>
                  <a:pt x="11084" y="4662"/>
                </a:lnTo>
                <a:lnTo>
                  <a:pt x="11082" y="4658"/>
                </a:lnTo>
                <a:lnTo>
                  <a:pt x="11084" y="4656"/>
                </a:lnTo>
                <a:lnTo>
                  <a:pt x="11088" y="4656"/>
                </a:lnTo>
                <a:lnTo>
                  <a:pt x="11094" y="4660"/>
                </a:lnTo>
                <a:lnTo>
                  <a:pt x="11098" y="4662"/>
                </a:lnTo>
                <a:lnTo>
                  <a:pt x="11104" y="4664"/>
                </a:lnTo>
                <a:lnTo>
                  <a:pt x="11108" y="4666"/>
                </a:lnTo>
                <a:lnTo>
                  <a:pt x="11110" y="4672"/>
                </a:lnTo>
                <a:lnTo>
                  <a:pt x="11112" y="4676"/>
                </a:lnTo>
                <a:lnTo>
                  <a:pt x="11112" y="4678"/>
                </a:lnTo>
                <a:lnTo>
                  <a:pt x="11114" y="4678"/>
                </a:lnTo>
                <a:lnTo>
                  <a:pt x="11114" y="4680"/>
                </a:lnTo>
                <a:lnTo>
                  <a:pt x="11112" y="4686"/>
                </a:lnTo>
                <a:lnTo>
                  <a:pt x="11108" y="4692"/>
                </a:lnTo>
                <a:lnTo>
                  <a:pt x="11104" y="4698"/>
                </a:lnTo>
                <a:lnTo>
                  <a:pt x="11104" y="4702"/>
                </a:lnTo>
                <a:lnTo>
                  <a:pt x="11104" y="4706"/>
                </a:lnTo>
                <a:lnTo>
                  <a:pt x="11106" y="4718"/>
                </a:lnTo>
                <a:lnTo>
                  <a:pt x="11108" y="4726"/>
                </a:lnTo>
                <a:lnTo>
                  <a:pt x="11110" y="4730"/>
                </a:lnTo>
                <a:lnTo>
                  <a:pt x="11112" y="4734"/>
                </a:lnTo>
                <a:lnTo>
                  <a:pt x="11114" y="4736"/>
                </a:lnTo>
                <a:lnTo>
                  <a:pt x="11116" y="4738"/>
                </a:lnTo>
                <a:lnTo>
                  <a:pt x="11122" y="4742"/>
                </a:lnTo>
                <a:lnTo>
                  <a:pt x="11140" y="4752"/>
                </a:lnTo>
                <a:lnTo>
                  <a:pt x="11146" y="4752"/>
                </a:lnTo>
                <a:lnTo>
                  <a:pt x="11150" y="4748"/>
                </a:lnTo>
                <a:lnTo>
                  <a:pt x="11152" y="4742"/>
                </a:lnTo>
                <a:lnTo>
                  <a:pt x="11154" y="4742"/>
                </a:lnTo>
                <a:lnTo>
                  <a:pt x="11156" y="4744"/>
                </a:lnTo>
                <a:lnTo>
                  <a:pt x="11156" y="4748"/>
                </a:lnTo>
                <a:lnTo>
                  <a:pt x="11154" y="4756"/>
                </a:lnTo>
                <a:lnTo>
                  <a:pt x="11156" y="4764"/>
                </a:lnTo>
                <a:lnTo>
                  <a:pt x="11158" y="4766"/>
                </a:lnTo>
                <a:lnTo>
                  <a:pt x="11160" y="4768"/>
                </a:lnTo>
                <a:lnTo>
                  <a:pt x="11162" y="4766"/>
                </a:lnTo>
                <a:lnTo>
                  <a:pt x="11166" y="4762"/>
                </a:lnTo>
                <a:lnTo>
                  <a:pt x="11170" y="4754"/>
                </a:lnTo>
                <a:lnTo>
                  <a:pt x="11174" y="4746"/>
                </a:lnTo>
                <a:lnTo>
                  <a:pt x="11174" y="4738"/>
                </a:lnTo>
                <a:lnTo>
                  <a:pt x="11172" y="4732"/>
                </a:lnTo>
                <a:lnTo>
                  <a:pt x="11170" y="4722"/>
                </a:lnTo>
                <a:lnTo>
                  <a:pt x="11166" y="4718"/>
                </a:lnTo>
                <a:lnTo>
                  <a:pt x="11164" y="4716"/>
                </a:lnTo>
                <a:lnTo>
                  <a:pt x="11162" y="4716"/>
                </a:lnTo>
                <a:lnTo>
                  <a:pt x="11162" y="4714"/>
                </a:lnTo>
                <a:lnTo>
                  <a:pt x="11162" y="4706"/>
                </a:lnTo>
                <a:lnTo>
                  <a:pt x="11164" y="4700"/>
                </a:lnTo>
                <a:lnTo>
                  <a:pt x="11168" y="4696"/>
                </a:lnTo>
                <a:lnTo>
                  <a:pt x="11172" y="4694"/>
                </a:lnTo>
                <a:lnTo>
                  <a:pt x="11172" y="4690"/>
                </a:lnTo>
                <a:lnTo>
                  <a:pt x="11172" y="4686"/>
                </a:lnTo>
                <a:lnTo>
                  <a:pt x="11176" y="4682"/>
                </a:lnTo>
                <a:lnTo>
                  <a:pt x="11180" y="4682"/>
                </a:lnTo>
                <a:lnTo>
                  <a:pt x="11182" y="4688"/>
                </a:lnTo>
                <a:lnTo>
                  <a:pt x="11184" y="4696"/>
                </a:lnTo>
                <a:lnTo>
                  <a:pt x="11184" y="4700"/>
                </a:lnTo>
                <a:lnTo>
                  <a:pt x="11188" y="4706"/>
                </a:lnTo>
                <a:lnTo>
                  <a:pt x="11190" y="4708"/>
                </a:lnTo>
                <a:lnTo>
                  <a:pt x="11188" y="4712"/>
                </a:lnTo>
                <a:lnTo>
                  <a:pt x="11188" y="4718"/>
                </a:lnTo>
                <a:lnTo>
                  <a:pt x="11192" y="4728"/>
                </a:lnTo>
                <a:lnTo>
                  <a:pt x="11192" y="4730"/>
                </a:lnTo>
                <a:lnTo>
                  <a:pt x="11194" y="4730"/>
                </a:lnTo>
                <a:lnTo>
                  <a:pt x="11196" y="4726"/>
                </a:lnTo>
                <a:lnTo>
                  <a:pt x="11196" y="4716"/>
                </a:lnTo>
                <a:lnTo>
                  <a:pt x="11194" y="4706"/>
                </a:lnTo>
                <a:lnTo>
                  <a:pt x="11194" y="4702"/>
                </a:lnTo>
                <a:lnTo>
                  <a:pt x="11196" y="4702"/>
                </a:lnTo>
                <a:lnTo>
                  <a:pt x="11198" y="4704"/>
                </a:lnTo>
                <a:lnTo>
                  <a:pt x="11200" y="4704"/>
                </a:lnTo>
                <a:lnTo>
                  <a:pt x="11200" y="4702"/>
                </a:lnTo>
                <a:lnTo>
                  <a:pt x="11198" y="4698"/>
                </a:lnTo>
                <a:lnTo>
                  <a:pt x="11200" y="4698"/>
                </a:lnTo>
                <a:lnTo>
                  <a:pt x="11204" y="4698"/>
                </a:lnTo>
                <a:lnTo>
                  <a:pt x="11208" y="4692"/>
                </a:lnTo>
                <a:lnTo>
                  <a:pt x="11210" y="4686"/>
                </a:lnTo>
                <a:lnTo>
                  <a:pt x="11210" y="4682"/>
                </a:lnTo>
                <a:lnTo>
                  <a:pt x="11210" y="4668"/>
                </a:lnTo>
                <a:lnTo>
                  <a:pt x="11208" y="4662"/>
                </a:lnTo>
                <a:lnTo>
                  <a:pt x="11206" y="4660"/>
                </a:lnTo>
                <a:lnTo>
                  <a:pt x="11204" y="4660"/>
                </a:lnTo>
                <a:lnTo>
                  <a:pt x="11202" y="4656"/>
                </a:lnTo>
                <a:lnTo>
                  <a:pt x="11202" y="4652"/>
                </a:lnTo>
                <a:lnTo>
                  <a:pt x="11204" y="4646"/>
                </a:lnTo>
                <a:lnTo>
                  <a:pt x="11206" y="4640"/>
                </a:lnTo>
                <a:lnTo>
                  <a:pt x="11204" y="4636"/>
                </a:lnTo>
                <a:lnTo>
                  <a:pt x="11202" y="4632"/>
                </a:lnTo>
                <a:lnTo>
                  <a:pt x="11202" y="4628"/>
                </a:lnTo>
                <a:lnTo>
                  <a:pt x="11200" y="4624"/>
                </a:lnTo>
                <a:lnTo>
                  <a:pt x="11200" y="4622"/>
                </a:lnTo>
                <a:lnTo>
                  <a:pt x="11196" y="4622"/>
                </a:lnTo>
                <a:lnTo>
                  <a:pt x="11192" y="4622"/>
                </a:lnTo>
                <a:lnTo>
                  <a:pt x="11190" y="4620"/>
                </a:lnTo>
                <a:lnTo>
                  <a:pt x="11190" y="4618"/>
                </a:lnTo>
                <a:lnTo>
                  <a:pt x="11192" y="4618"/>
                </a:lnTo>
                <a:lnTo>
                  <a:pt x="11196" y="4614"/>
                </a:lnTo>
                <a:lnTo>
                  <a:pt x="11198" y="4610"/>
                </a:lnTo>
                <a:lnTo>
                  <a:pt x="11200" y="4606"/>
                </a:lnTo>
                <a:lnTo>
                  <a:pt x="11198" y="4600"/>
                </a:lnTo>
                <a:lnTo>
                  <a:pt x="11194" y="4594"/>
                </a:lnTo>
                <a:lnTo>
                  <a:pt x="11194" y="4588"/>
                </a:lnTo>
                <a:lnTo>
                  <a:pt x="11194" y="4586"/>
                </a:lnTo>
                <a:lnTo>
                  <a:pt x="11192" y="4586"/>
                </a:lnTo>
                <a:lnTo>
                  <a:pt x="11188" y="4588"/>
                </a:lnTo>
                <a:lnTo>
                  <a:pt x="11186" y="4584"/>
                </a:lnTo>
                <a:lnTo>
                  <a:pt x="11184" y="4578"/>
                </a:lnTo>
                <a:lnTo>
                  <a:pt x="11182" y="4576"/>
                </a:lnTo>
                <a:lnTo>
                  <a:pt x="11178" y="4574"/>
                </a:lnTo>
                <a:lnTo>
                  <a:pt x="11172" y="4570"/>
                </a:lnTo>
                <a:lnTo>
                  <a:pt x="11170" y="4568"/>
                </a:lnTo>
                <a:lnTo>
                  <a:pt x="11170" y="4566"/>
                </a:lnTo>
                <a:lnTo>
                  <a:pt x="11168" y="4562"/>
                </a:lnTo>
                <a:close/>
                <a:moveTo>
                  <a:pt x="11152" y="4426"/>
                </a:moveTo>
                <a:lnTo>
                  <a:pt x="11152" y="4426"/>
                </a:lnTo>
                <a:lnTo>
                  <a:pt x="11146" y="4424"/>
                </a:lnTo>
                <a:lnTo>
                  <a:pt x="11138" y="4426"/>
                </a:lnTo>
                <a:lnTo>
                  <a:pt x="11130" y="4428"/>
                </a:lnTo>
                <a:lnTo>
                  <a:pt x="11122" y="4426"/>
                </a:lnTo>
                <a:lnTo>
                  <a:pt x="11118" y="4426"/>
                </a:lnTo>
                <a:lnTo>
                  <a:pt x="11116" y="4426"/>
                </a:lnTo>
                <a:lnTo>
                  <a:pt x="11118" y="4434"/>
                </a:lnTo>
                <a:lnTo>
                  <a:pt x="11122" y="4444"/>
                </a:lnTo>
                <a:lnTo>
                  <a:pt x="11130" y="4452"/>
                </a:lnTo>
                <a:lnTo>
                  <a:pt x="11134" y="4456"/>
                </a:lnTo>
                <a:lnTo>
                  <a:pt x="11136" y="4460"/>
                </a:lnTo>
                <a:lnTo>
                  <a:pt x="11138" y="4462"/>
                </a:lnTo>
                <a:lnTo>
                  <a:pt x="11142" y="4464"/>
                </a:lnTo>
                <a:lnTo>
                  <a:pt x="11146" y="4466"/>
                </a:lnTo>
                <a:lnTo>
                  <a:pt x="11148" y="4468"/>
                </a:lnTo>
                <a:lnTo>
                  <a:pt x="11146" y="4472"/>
                </a:lnTo>
                <a:lnTo>
                  <a:pt x="11142" y="4474"/>
                </a:lnTo>
                <a:lnTo>
                  <a:pt x="11142" y="4476"/>
                </a:lnTo>
                <a:lnTo>
                  <a:pt x="11142" y="4478"/>
                </a:lnTo>
                <a:lnTo>
                  <a:pt x="11144" y="4480"/>
                </a:lnTo>
                <a:lnTo>
                  <a:pt x="11150" y="4486"/>
                </a:lnTo>
                <a:lnTo>
                  <a:pt x="11152" y="4496"/>
                </a:lnTo>
                <a:lnTo>
                  <a:pt x="11154" y="4498"/>
                </a:lnTo>
                <a:lnTo>
                  <a:pt x="11156" y="4498"/>
                </a:lnTo>
                <a:lnTo>
                  <a:pt x="11160" y="4498"/>
                </a:lnTo>
                <a:lnTo>
                  <a:pt x="11164" y="4498"/>
                </a:lnTo>
                <a:lnTo>
                  <a:pt x="11168" y="4498"/>
                </a:lnTo>
                <a:lnTo>
                  <a:pt x="11170" y="4500"/>
                </a:lnTo>
                <a:lnTo>
                  <a:pt x="11174" y="4502"/>
                </a:lnTo>
                <a:lnTo>
                  <a:pt x="11176" y="4500"/>
                </a:lnTo>
                <a:lnTo>
                  <a:pt x="11174" y="4494"/>
                </a:lnTo>
                <a:lnTo>
                  <a:pt x="11172" y="4492"/>
                </a:lnTo>
                <a:lnTo>
                  <a:pt x="11170" y="4488"/>
                </a:lnTo>
                <a:lnTo>
                  <a:pt x="11170" y="4486"/>
                </a:lnTo>
                <a:lnTo>
                  <a:pt x="11170" y="4484"/>
                </a:lnTo>
                <a:lnTo>
                  <a:pt x="11166" y="4480"/>
                </a:lnTo>
                <a:lnTo>
                  <a:pt x="11164" y="4476"/>
                </a:lnTo>
                <a:lnTo>
                  <a:pt x="11164" y="4472"/>
                </a:lnTo>
                <a:lnTo>
                  <a:pt x="11164" y="4458"/>
                </a:lnTo>
                <a:lnTo>
                  <a:pt x="11166" y="4446"/>
                </a:lnTo>
                <a:lnTo>
                  <a:pt x="11164" y="4442"/>
                </a:lnTo>
                <a:lnTo>
                  <a:pt x="11162" y="4440"/>
                </a:lnTo>
                <a:lnTo>
                  <a:pt x="11158" y="4436"/>
                </a:lnTo>
                <a:lnTo>
                  <a:pt x="11158" y="4432"/>
                </a:lnTo>
                <a:lnTo>
                  <a:pt x="11156" y="4428"/>
                </a:lnTo>
                <a:lnTo>
                  <a:pt x="11152" y="4426"/>
                </a:lnTo>
                <a:close/>
                <a:moveTo>
                  <a:pt x="11024" y="4468"/>
                </a:moveTo>
                <a:lnTo>
                  <a:pt x="11024" y="4468"/>
                </a:lnTo>
                <a:lnTo>
                  <a:pt x="11026" y="4470"/>
                </a:lnTo>
                <a:lnTo>
                  <a:pt x="11028" y="4472"/>
                </a:lnTo>
                <a:lnTo>
                  <a:pt x="11028" y="4478"/>
                </a:lnTo>
                <a:lnTo>
                  <a:pt x="11026" y="4486"/>
                </a:lnTo>
                <a:lnTo>
                  <a:pt x="11028" y="4494"/>
                </a:lnTo>
                <a:lnTo>
                  <a:pt x="11028" y="4502"/>
                </a:lnTo>
                <a:lnTo>
                  <a:pt x="11026" y="4506"/>
                </a:lnTo>
                <a:lnTo>
                  <a:pt x="11022" y="4510"/>
                </a:lnTo>
                <a:lnTo>
                  <a:pt x="11022" y="4522"/>
                </a:lnTo>
                <a:lnTo>
                  <a:pt x="11022" y="4528"/>
                </a:lnTo>
                <a:lnTo>
                  <a:pt x="11024" y="4530"/>
                </a:lnTo>
                <a:lnTo>
                  <a:pt x="11026" y="4530"/>
                </a:lnTo>
                <a:lnTo>
                  <a:pt x="11028" y="4528"/>
                </a:lnTo>
                <a:lnTo>
                  <a:pt x="11034" y="4522"/>
                </a:lnTo>
                <a:lnTo>
                  <a:pt x="11036" y="4520"/>
                </a:lnTo>
                <a:lnTo>
                  <a:pt x="11040" y="4520"/>
                </a:lnTo>
                <a:lnTo>
                  <a:pt x="11046" y="4516"/>
                </a:lnTo>
                <a:lnTo>
                  <a:pt x="11054" y="4512"/>
                </a:lnTo>
                <a:lnTo>
                  <a:pt x="11066" y="4498"/>
                </a:lnTo>
                <a:lnTo>
                  <a:pt x="11070" y="4494"/>
                </a:lnTo>
                <a:lnTo>
                  <a:pt x="11072" y="4490"/>
                </a:lnTo>
                <a:lnTo>
                  <a:pt x="11072" y="4482"/>
                </a:lnTo>
                <a:lnTo>
                  <a:pt x="11070" y="4476"/>
                </a:lnTo>
                <a:lnTo>
                  <a:pt x="11068" y="4476"/>
                </a:lnTo>
                <a:lnTo>
                  <a:pt x="11066" y="4478"/>
                </a:lnTo>
                <a:lnTo>
                  <a:pt x="11064" y="4478"/>
                </a:lnTo>
                <a:lnTo>
                  <a:pt x="11060" y="4474"/>
                </a:lnTo>
                <a:lnTo>
                  <a:pt x="11056" y="4472"/>
                </a:lnTo>
                <a:lnTo>
                  <a:pt x="11054" y="4474"/>
                </a:lnTo>
                <a:lnTo>
                  <a:pt x="11050" y="4474"/>
                </a:lnTo>
                <a:lnTo>
                  <a:pt x="11048" y="4474"/>
                </a:lnTo>
                <a:lnTo>
                  <a:pt x="11042" y="4470"/>
                </a:lnTo>
                <a:lnTo>
                  <a:pt x="11036" y="4464"/>
                </a:lnTo>
                <a:lnTo>
                  <a:pt x="11028" y="4458"/>
                </a:lnTo>
                <a:lnTo>
                  <a:pt x="11020" y="4458"/>
                </a:lnTo>
                <a:lnTo>
                  <a:pt x="11018" y="4460"/>
                </a:lnTo>
                <a:lnTo>
                  <a:pt x="11018" y="4464"/>
                </a:lnTo>
                <a:lnTo>
                  <a:pt x="11024" y="4468"/>
                </a:lnTo>
                <a:close/>
                <a:moveTo>
                  <a:pt x="10976" y="4378"/>
                </a:moveTo>
                <a:lnTo>
                  <a:pt x="10976" y="4378"/>
                </a:lnTo>
                <a:lnTo>
                  <a:pt x="10964" y="4378"/>
                </a:lnTo>
                <a:lnTo>
                  <a:pt x="10958" y="4380"/>
                </a:lnTo>
                <a:lnTo>
                  <a:pt x="10956" y="4382"/>
                </a:lnTo>
                <a:lnTo>
                  <a:pt x="10960" y="4384"/>
                </a:lnTo>
                <a:lnTo>
                  <a:pt x="10964" y="4386"/>
                </a:lnTo>
                <a:lnTo>
                  <a:pt x="10966" y="4390"/>
                </a:lnTo>
                <a:lnTo>
                  <a:pt x="10966" y="4392"/>
                </a:lnTo>
                <a:lnTo>
                  <a:pt x="10970" y="4396"/>
                </a:lnTo>
                <a:lnTo>
                  <a:pt x="10974" y="4400"/>
                </a:lnTo>
                <a:lnTo>
                  <a:pt x="10976" y="4410"/>
                </a:lnTo>
                <a:lnTo>
                  <a:pt x="10980" y="4424"/>
                </a:lnTo>
                <a:lnTo>
                  <a:pt x="10986" y="4436"/>
                </a:lnTo>
                <a:lnTo>
                  <a:pt x="10990" y="4442"/>
                </a:lnTo>
                <a:lnTo>
                  <a:pt x="10992" y="4444"/>
                </a:lnTo>
                <a:lnTo>
                  <a:pt x="10996" y="4444"/>
                </a:lnTo>
                <a:lnTo>
                  <a:pt x="11000" y="4440"/>
                </a:lnTo>
                <a:lnTo>
                  <a:pt x="11004" y="4430"/>
                </a:lnTo>
                <a:lnTo>
                  <a:pt x="11006" y="4424"/>
                </a:lnTo>
                <a:lnTo>
                  <a:pt x="11006" y="4420"/>
                </a:lnTo>
                <a:lnTo>
                  <a:pt x="11004" y="4416"/>
                </a:lnTo>
                <a:lnTo>
                  <a:pt x="11006" y="4408"/>
                </a:lnTo>
                <a:lnTo>
                  <a:pt x="11006" y="4402"/>
                </a:lnTo>
                <a:lnTo>
                  <a:pt x="11004" y="4398"/>
                </a:lnTo>
                <a:lnTo>
                  <a:pt x="11002" y="4394"/>
                </a:lnTo>
                <a:lnTo>
                  <a:pt x="11000" y="4388"/>
                </a:lnTo>
                <a:lnTo>
                  <a:pt x="10988" y="4382"/>
                </a:lnTo>
                <a:lnTo>
                  <a:pt x="10976" y="4378"/>
                </a:lnTo>
                <a:close/>
                <a:moveTo>
                  <a:pt x="10900" y="4536"/>
                </a:moveTo>
                <a:lnTo>
                  <a:pt x="10900" y="4536"/>
                </a:lnTo>
                <a:lnTo>
                  <a:pt x="10884" y="4562"/>
                </a:lnTo>
                <a:lnTo>
                  <a:pt x="10866" y="4584"/>
                </a:lnTo>
                <a:lnTo>
                  <a:pt x="10848" y="4600"/>
                </a:lnTo>
                <a:lnTo>
                  <a:pt x="10840" y="4612"/>
                </a:lnTo>
                <a:lnTo>
                  <a:pt x="10836" y="4618"/>
                </a:lnTo>
                <a:lnTo>
                  <a:pt x="10834" y="4628"/>
                </a:lnTo>
                <a:lnTo>
                  <a:pt x="10832" y="4630"/>
                </a:lnTo>
                <a:lnTo>
                  <a:pt x="10834" y="4632"/>
                </a:lnTo>
                <a:lnTo>
                  <a:pt x="10836" y="4632"/>
                </a:lnTo>
                <a:lnTo>
                  <a:pt x="10838" y="4632"/>
                </a:lnTo>
                <a:lnTo>
                  <a:pt x="10844" y="4626"/>
                </a:lnTo>
                <a:lnTo>
                  <a:pt x="10848" y="4620"/>
                </a:lnTo>
                <a:lnTo>
                  <a:pt x="10858" y="4610"/>
                </a:lnTo>
                <a:lnTo>
                  <a:pt x="10882" y="4586"/>
                </a:lnTo>
                <a:lnTo>
                  <a:pt x="10890" y="4578"/>
                </a:lnTo>
                <a:lnTo>
                  <a:pt x="10894" y="4572"/>
                </a:lnTo>
                <a:lnTo>
                  <a:pt x="10896" y="4566"/>
                </a:lnTo>
                <a:lnTo>
                  <a:pt x="10898" y="4562"/>
                </a:lnTo>
                <a:lnTo>
                  <a:pt x="10898" y="4558"/>
                </a:lnTo>
                <a:lnTo>
                  <a:pt x="10900" y="4556"/>
                </a:lnTo>
                <a:lnTo>
                  <a:pt x="10904" y="4554"/>
                </a:lnTo>
                <a:lnTo>
                  <a:pt x="10910" y="4552"/>
                </a:lnTo>
                <a:lnTo>
                  <a:pt x="10914" y="4550"/>
                </a:lnTo>
                <a:lnTo>
                  <a:pt x="10916" y="4544"/>
                </a:lnTo>
                <a:lnTo>
                  <a:pt x="10918" y="4538"/>
                </a:lnTo>
                <a:lnTo>
                  <a:pt x="10920" y="4536"/>
                </a:lnTo>
                <a:lnTo>
                  <a:pt x="10922" y="4534"/>
                </a:lnTo>
                <a:lnTo>
                  <a:pt x="10928" y="4534"/>
                </a:lnTo>
                <a:lnTo>
                  <a:pt x="10930" y="4530"/>
                </a:lnTo>
                <a:lnTo>
                  <a:pt x="10932" y="4524"/>
                </a:lnTo>
                <a:lnTo>
                  <a:pt x="10930" y="4516"/>
                </a:lnTo>
                <a:lnTo>
                  <a:pt x="10928" y="4510"/>
                </a:lnTo>
                <a:lnTo>
                  <a:pt x="10928" y="4506"/>
                </a:lnTo>
                <a:lnTo>
                  <a:pt x="10928" y="4496"/>
                </a:lnTo>
                <a:lnTo>
                  <a:pt x="10928" y="4488"/>
                </a:lnTo>
                <a:lnTo>
                  <a:pt x="10928" y="4484"/>
                </a:lnTo>
                <a:lnTo>
                  <a:pt x="10924" y="4484"/>
                </a:lnTo>
                <a:lnTo>
                  <a:pt x="10922" y="4484"/>
                </a:lnTo>
                <a:lnTo>
                  <a:pt x="10920" y="4486"/>
                </a:lnTo>
                <a:lnTo>
                  <a:pt x="10920" y="4492"/>
                </a:lnTo>
                <a:lnTo>
                  <a:pt x="10918" y="4500"/>
                </a:lnTo>
                <a:lnTo>
                  <a:pt x="10918" y="4504"/>
                </a:lnTo>
                <a:lnTo>
                  <a:pt x="10914" y="4506"/>
                </a:lnTo>
                <a:lnTo>
                  <a:pt x="10912" y="4506"/>
                </a:lnTo>
                <a:lnTo>
                  <a:pt x="10912" y="4508"/>
                </a:lnTo>
                <a:lnTo>
                  <a:pt x="10914" y="4512"/>
                </a:lnTo>
                <a:lnTo>
                  <a:pt x="10916" y="4518"/>
                </a:lnTo>
                <a:lnTo>
                  <a:pt x="10916" y="4522"/>
                </a:lnTo>
                <a:lnTo>
                  <a:pt x="10914" y="4526"/>
                </a:lnTo>
                <a:lnTo>
                  <a:pt x="10912" y="4528"/>
                </a:lnTo>
                <a:lnTo>
                  <a:pt x="10908" y="4528"/>
                </a:lnTo>
                <a:lnTo>
                  <a:pt x="10906" y="4528"/>
                </a:lnTo>
                <a:lnTo>
                  <a:pt x="10900" y="4536"/>
                </a:lnTo>
                <a:close/>
                <a:moveTo>
                  <a:pt x="10936" y="4240"/>
                </a:moveTo>
                <a:lnTo>
                  <a:pt x="10936" y="4240"/>
                </a:lnTo>
                <a:lnTo>
                  <a:pt x="10934" y="4240"/>
                </a:lnTo>
                <a:lnTo>
                  <a:pt x="10932" y="4242"/>
                </a:lnTo>
                <a:lnTo>
                  <a:pt x="10930" y="4248"/>
                </a:lnTo>
                <a:lnTo>
                  <a:pt x="10932" y="4256"/>
                </a:lnTo>
                <a:lnTo>
                  <a:pt x="10934" y="4260"/>
                </a:lnTo>
                <a:lnTo>
                  <a:pt x="10938" y="4264"/>
                </a:lnTo>
                <a:lnTo>
                  <a:pt x="10938" y="4268"/>
                </a:lnTo>
                <a:lnTo>
                  <a:pt x="10940" y="4298"/>
                </a:lnTo>
                <a:lnTo>
                  <a:pt x="10942" y="4316"/>
                </a:lnTo>
                <a:lnTo>
                  <a:pt x="10944" y="4318"/>
                </a:lnTo>
                <a:lnTo>
                  <a:pt x="10946" y="4320"/>
                </a:lnTo>
                <a:lnTo>
                  <a:pt x="10950" y="4320"/>
                </a:lnTo>
                <a:lnTo>
                  <a:pt x="10952" y="4320"/>
                </a:lnTo>
                <a:lnTo>
                  <a:pt x="10954" y="4326"/>
                </a:lnTo>
                <a:lnTo>
                  <a:pt x="10958" y="4334"/>
                </a:lnTo>
                <a:lnTo>
                  <a:pt x="10962" y="4336"/>
                </a:lnTo>
                <a:lnTo>
                  <a:pt x="10964" y="4334"/>
                </a:lnTo>
                <a:lnTo>
                  <a:pt x="10966" y="4326"/>
                </a:lnTo>
                <a:lnTo>
                  <a:pt x="10966" y="4320"/>
                </a:lnTo>
                <a:lnTo>
                  <a:pt x="10966" y="4318"/>
                </a:lnTo>
                <a:lnTo>
                  <a:pt x="10970" y="4318"/>
                </a:lnTo>
                <a:lnTo>
                  <a:pt x="10974" y="4322"/>
                </a:lnTo>
                <a:lnTo>
                  <a:pt x="10980" y="4326"/>
                </a:lnTo>
                <a:lnTo>
                  <a:pt x="10980" y="4330"/>
                </a:lnTo>
                <a:lnTo>
                  <a:pt x="10978" y="4334"/>
                </a:lnTo>
                <a:lnTo>
                  <a:pt x="10974" y="4338"/>
                </a:lnTo>
                <a:lnTo>
                  <a:pt x="10968" y="4346"/>
                </a:lnTo>
                <a:lnTo>
                  <a:pt x="10966" y="4356"/>
                </a:lnTo>
                <a:lnTo>
                  <a:pt x="10966" y="4364"/>
                </a:lnTo>
                <a:lnTo>
                  <a:pt x="10968" y="4366"/>
                </a:lnTo>
                <a:lnTo>
                  <a:pt x="10970" y="4364"/>
                </a:lnTo>
                <a:lnTo>
                  <a:pt x="10974" y="4364"/>
                </a:lnTo>
                <a:lnTo>
                  <a:pt x="10976" y="4364"/>
                </a:lnTo>
                <a:lnTo>
                  <a:pt x="10980" y="4368"/>
                </a:lnTo>
                <a:lnTo>
                  <a:pt x="10984" y="4374"/>
                </a:lnTo>
                <a:lnTo>
                  <a:pt x="10988" y="4376"/>
                </a:lnTo>
                <a:lnTo>
                  <a:pt x="10992" y="4376"/>
                </a:lnTo>
                <a:lnTo>
                  <a:pt x="11000" y="4376"/>
                </a:lnTo>
                <a:lnTo>
                  <a:pt x="11000" y="4372"/>
                </a:lnTo>
                <a:lnTo>
                  <a:pt x="11000" y="4368"/>
                </a:lnTo>
                <a:lnTo>
                  <a:pt x="11002" y="4366"/>
                </a:lnTo>
                <a:lnTo>
                  <a:pt x="11004" y="4362"/>
                </a:lnTo>
                <a:lnTo>
                  <a:pt x="11008" y="4360"/>
                </a:lnTo>
                <a:lnTo>
                  <a:pt x="11012" y="4360"/>
                </a:lnTo>
                <a:lnTo>
                  <a:pt x="11028" y="4370"/>
                </a:lnTo>
                <a:lnTo>
                  <a:pt x="11032" y="4376"/>
                </a:lnTo>
                <a:lnTo>
                  <a:pt x="11036" y="4380"/>
                </a:lnTo>
                <a:lnTo>
                  <a:pt x="11040" y="4388"/>
                </a:lnTo>
                <a:lnTo>
                  <a:pt x="11042" y="4394"/>
                </a:lnTo>
                <a:lnTo>
                  <a:pt x="11044" y="4396"/>
                </a:lnTo>
                <a:lnTo>
                  <a:pt x="11048" y="4398"/>
                </a:lnTo>
                <a:lnTo>
                  <a:pt x="11050" y="4396"/>
                </a:lnTo>
                <a:lnTo>
                  <a:pt x="11050" y="4394"/>
                </a:lnTo>
                <a:lnTo>
                  <a:pt x="11050" y="4388"/>
                </a:lnTo>
                <a:lnTo>
                  <a:pt x="11042" y="4368"/>
                </a:lnTo>
                <a:lnTo>
                  <a:pt x="11042" y="4366"/>
                </a:lnTo>
                <a:lnTo>
                  <a:pt x="11044" y="4364"/>
                </a:lnTo>
                <a:lnTo>
                  <a:pt x="11048" y="4364"/>
                </a:lnTo>
                <a:lnTo>
                  <a:pt x="11054" y="4368"/>
                </a:lnTo>
                <a:lnTo>
                  <a:pt x="11056" y="4374"/>
                </a:lnTo>
                <a:lnTo>
                  <a:pt x="11060" y="4378"/>
                </a:lnTo>
                <a:lnTo>
                  <a:pt x="11064" y="4382"/>
                </a:lnTo>
                <a:lnTo>
                  <a:pt x="11068" y="4386"/>
                </a:lnTo>
                <a:lnTo>
                  <a:pt x="11072" y="4390"/>
                </a:lnTo>
                <a:lnTo>
                  <a:pt x="11074" y="4396"/>
                </a:lnTo>
                <a:lnTo>
                  <a:pt x="11074" y="4400"/>
                </a:lnTo>
                <a:lnTo>
                  <a:pt x="11078" y="4404"/>
                </a:lnTo>
                <a:lnTo>
                  <a:pt x="11086" y="4410"/>
                </a:lnTo>
                <a:lnTo>
                  <a:pt x="11094" y="4414"/>
                </a:lnTo>
                <a:lnTo>
                  <a:pt x="11098" y="4418"/>
                </a:lnTo>
                <a:lnTo>
                  <a:pt x="11100" y="4422"/>
                </a:lnTo>
                <a:lnTo>
                  <a:pt x="11102" y="4428"/>
                </a:lnTo>
                <a:lnTo>
                  <a:pt x="11104" y="4430"/>
                </a:lnTo>
                <a:lnTo>
                  <a:pt x="11106" y="4428"/>
                </a:lnTo>
                <a:lnTo>
                  <a:pt x="11108" y="4422"/>
                </a:lnTo>
                <a:lnTo>
                  <a:pt x="11110" y="4414"/>
                </a:lnTo>
                <a:lnTo>
                  <a:pt x="11110" y="4408"/>
                </a:lnTo>
                <a:lnTo>
                  <a:pt x="11110" y="4404"/>
                </a:lnTo>
                <a:lnTo>
                  <a:pt x="11106" y="4400"/>
                </a:lnTo>
                <a:lnTo>
                  <a:pt x="11098" y="4400"/>
                </a:lnTo>
                <a:lnTo>
                  <a:pt x="11094" y="4398"/>
                </a:lnTo>
                <a:lnTo>
                  <a:pt x="11094" y="4396"/>
                </a:lnTo>
                <a:lnTo>
                  <a:pt x="11094" y="4394"/>
                </a:lnTo>
                <a:lnTo>
                  <a:pt x="11094" y="4390"/>
                </a:lnTo>
                <a:lnTo>
                  <a:pt x="11092" y="4386"/>
                </a:lnTo>
                <a:lnTo>
                  <a:pt x="11088" y="4380"/>
                </a:lnTo>
                <a:lnTo>
                  <a:pt x="11084" y="4376"/>
                </a:lnTo>
                <a:lnTo>
                  <a:pt x="11082" y="4374"/>
                </a:lnTo>
                <a:lnTo>
                  <a:pt x="11084" y="4374"/>
                </a:lnTo>
                <a:lnTo>
                  <a:pt x="11088" y="4372"/>
                </a:lnTo>
                <a:lnTo>
                  <a:pt x="11096" y="4372"/>
                </a:lnTo>
                <a:lnTo>
                  <a:pt x="11098" y="4372"/>
                </a:lnTo>
                <a:lnTo>
                  <a:pt x="11100" y="4370"/>
                </a:lnTo>
                <a:lnTo>
                  <a:pt x="11102" y="4366"/>
                </a:lnTo>
                <a:lnTo>
                  <a:pt x="11098" y="4364"/>
                </a:lnTo>
                <a:lnTo>
                  <a:pt x="11082" y="4356"/>
                </a:lnTo>
                <a:lnTo>
                  <a:pt x="11078" y="4354"/>
                </a:lnTo>
                <a:lnTo>
                  <a:pt x="11076" y="4354"/>
                </a:lnTo>
                <a:lnTo>
                  <a:pt x="11074" y="4358"/>
                </a:lnTo>
                <a:lnTo>
                  <a:pt x="11074" y="4362"/>
                </a:lnTo>
                <a:lnTo>
                  <a:pt x="11072" y="4368"/>
                </a:lnTo>
                <a:lnTo>
                  <a:pt x="11070" y="4370"/>
                </a:lnTo>
                <a:lnTo>
                  <a:pt x="11068" y="4370"/>
                </a:lnTo>
                <a:lnTo>
                  <a:pt x="11066" y="4368"/>
                </a:lnTo>
                <a:lnTo>
                  <a:pt x="11064" y="4364"/>
                </a:lnTo>
                <a:lnTo>
                  <a:pt x="11064" y="4358"/>
                </a:lnTo>
                <a:lnTo>
                  <a:pt x="11064" y="4354"/>
                </a:lnTo>
                <a:lnTo>
                  <a:pt x="11062" y="4350"/>
                </a:lnTo>
                <a:lnTo>
                  <a:pt x="11058" y="4346"/>
                </a:lnTo>
                <a:lnTo>
                  <a:pt x="11052" y="4342"/>
                </a:lnTo>
                <a:lnTo>
                  <a:pt x="11046" y="4340"/>
                </a:lnTo>
                <a:lnTo>
                  <a:pt x="11042" y="4338"/>
                </a:lnTo>
                <a:lnTo>
                  <a:pt x="11040" y="4340"/>
                </a:lnTo>
                <a:lnTo>
                  <a:pt x="11038" y="4342"/>
                </a:lnTo>
                <a:lnTo>
                  <a:pt x="11038" y="4344"/>
                </a:lnTo>
                <a:lnTo>
                  <a:pt x="11036" y="4346"/>
                </a:lnTo>
                <a:lnTo>
                  <a:pt x="11032" y="4346"/>
                </a:lnTo>
                <a:lnTo>
                  <a:pt x="11030" y="4346"/>
                </a:lnTo>
                <a:lnTo>
                  <a:pt x="11030" y="4352"/>
                </a:lnTo>
                <a:lnTo>
                  <a:pt x="11030" y="4356"/>
                </a:lnTo>
                <a:lnTo>
                  <a:pt x="11028" y="4358"/>
                </a:lnTo>
                <a:lnTo>
                  <a:pt x="11024" y="4358"/>
                </a:lnTo>
                <a:lnTo>
                  <a:pt x="11020" y="4356"/>
                </a:lnTo>
                <a:lnTo>
                  <a:pt x="11016" y="4352"/>
                </a:lnTo>
                <a:lnTo>
                  <a:pt x="11010" y="4342"/>
                </a:lnTo>
                <a:lnTo>
                  <a:pt x="11008" y="4330"/>
                </a:lnTo>
                <a:lnTo>
                  <a:pt x="11008" y="4322"/>
                </a:lnTo>
                <a:lnTo>
                  <a:pt x="11008" y="4320"/>
                </a:lnTo>
                <a:lnTo>
                  <a:pt x="11008" y="4314"/>
                </a:lnTo>
                <a:lnTo>
                  <a:pt x="11004" y="4304"/>
                </a:lnTo>
                <a:lnTo>
                  <a:pt x="11000" y="4292"/>
                </a:lnTo>
                <a:lnTo>
                  <a:pt x="11002" y="4286"/>
                </a:lnTo>
                <a:lnTo>
                  <a:pt x="11004" y="4280"/>
                </a:lnTo>
                <a:lnTo>
                  <a:pt x="11008" y="4272"/>
                </a:lnTo>
                <a:lnTo>
                  <a:pt x="11008" y="4266"/>
                </a:lnTo>
                <a:lnTo>
                  <a:pt x="11008" y="4260"/>
                </a:lnTo>
                <a:lnTo>
                  <a:pt x="11014" y="4254"/>
                </a:lnTo>
                <a:lnTo>
                  <a:pt x="11016" y="4250"/>
                </a:lnTo>
                <a:lnTo>
                  <a:pt x="11018" y="4250"/>
                </a:lnTo>
                <a:lnTo>
                  <a:pt x="11020" y="4250"/>
                </a:lnTo>
                <a:lnTo>
                  <a:pt x="11022" y="4252"/>
                </a:lnTo>
                <a:lnTo>
                  <a:pt x="11024" y="4256"/>
                </a:lnTo>
                <a:lnTo>
                  <a:pt x="11026" y="4254"/>
                </a:lnTo>
                <a:lnTo>
                  <a:pt x="11032" y="4246"/>
                </a:lnTo>
                <a:lnTo>
                  <a:pt x="11036" y="4232"/>
                </a:lnTo>
                <a:lnTo>
                  <a:pt x="11042" y="4208"/>
                </a:lnTo>
                <a:lnTo>
                  <a:pt x="11042" y="4204"/>
                </a:lnTo>
                <a:lnTo>
                  <a:pt x="11040" y="4200"/>
                </a:lnTo>
                <a:lnTo>
                  <a:pt x="11034" y="4190"/>
                </a:lnTo>
                <a:lnTo>
                  <a:pt x="11032" y="4184"/>
                </a:lnTo>
                <a:lnTo>
                  <a:pt x="11030" y="4178"/>
                </a:lnTo>
                <a:lnTo>
                  <a:pt x="11030" y="4168"/>
                </a:lnTo>
                <a:lnTo>
                  <a:pt x="11032" y="4158"/>
                </a:lnTo>
                <a:lnTo>
                  <a:pt x="11036" y="4144"/>
                </a:lnTo>
                <a:lnTo>
                  <a:pt x="11036" y="4136"/>
                </a:lnTo>
                <a:lnTo>
                  <a:pt x="11034" y="4134"/>
                </a:lnTo>
                <a:lnTo>
                  <a:pt x="11032" y="4134"/>
                </a:lnTo>
                <a:lnTo>
                  <a:pt x="11028" y="4136"/>
                </a:lnTo>
                <a:lnTo>
                  <a:pt x="11024" y="4140"/>
                </a:lnTo>
                <a:lnTo>
                  <a:pt x="11020" y="4144"/>
                </a:lnTo>
                <a:lnTo>
                  <a:pt x="11016" y="4144"/>
                </a:lnTo>
                <a:lnTo>
                  <a:pt x="11010" y="4142"/>
                </a:lnTo>
                <a:lnTo>
                  <a:pt x="11004" y="4138"/>
                </a:lnTo>
                <a:lnTo>
                  <a:pt x="10988" y="4128"/>
                </a:lnTo>
                <a:lnTo>
                  <a:pt x="10982" y="4126"/>
                </a:lnTo>
                <a:lnTo>
                  <a:pt x="10974" y="4128"/>
                </a:lnTo>
                <a:lnTo>
                  <a:pt x="10966" y="4132"/>
                </a:lnTo>
                <a:lnTo>
                  <a:pt x="10964" y="4134"/>
                </a:lnTo>
                <a:lnTo>
                  <a:pt x="10964" y="4138"/>
                </a:lnTo>
                <a:lnTo>
                  <a:pt x="10964" y="4146"/>
                </a:lnTo>
                <a:lnTo>
                  <a:pt x="10962" y="4150"/>
                </a:lnTo>
                <a:lnTo>
                  <a:pt x="10960" y="4158"/>
                </a:lnTo>
                <a:lnTo>
                  <a:pt x="10958" y="4166"/>
                </a:lnTo>
                <a:lnTo>
                  <a:pt x="10956" y="4172"/>
                </a:lnTo>
                <a:lnTo>
                  <a:pt x="10958" y="4186"/>
                </a:lnTo>
                <a:lnTo>
                  <a:pt x="10958" y="4200"/>
                </a:lnTo>
                <a:lnTo>
                  <a:pt x="10958" y="4208"/>
                </a:lnTo>
                <a:lnTo>
                  <a:pt x="10954" y="4218"/>
                </a:lnTo>
                <a:lnTo>
                  <a:pt x="10952" y="4226"/>
                </a:lnTo>
                <a:lnTo>
                  <a:pt x="10950" y="4232"/>
                </a:lnTo>
                <a:lnTo>
                  <a:pt x="10952" y="4236"/>
                </a:lnTo>
                <a:lnTo>
                  <a:pt x="10954" y="4240"/>
                </a:lnTo>
                <a:lnTo>
                  <a:pt x="10958" y="4246"/>
                </a:lnTo>
                <a:lnTo>
                  <a:pt x="10958" y="4248"/>
                </a:lnTo>
                <a:lnTo>
                  <a:pt x="10956" y="4254"/>
                </a:lnTo>
                <a:lnTo>
                  <a:pt x="10954" y="4258"/>
                </a:lnTo>
                <a:lnTo>
                  <a:pt x="10952" y="4258"/>
                </a:lnTo>
                <a:lnTo>
                  <a:pt x="10948" y="4256"/>
                </a:lnTo>
                <a:lnTo>
                  <a:pt x="10946" y="4252"/>
                </a:lnTo>
                <a:lnTo>
                  <a:pt x="10942" y="4244"/>
                </a:lnTo>
                <a:lnTo>
                  <a:pt x="10938" y="4240"/>
                </a:lnTo>
                <a:lnTo>
                  <a:pt x="10936" y="4240"/>
                </a:lnTo>
                <a:close/>
                <a:moveTo>
                  <a:pt x="9396" y="4654"/>
                </a:moveTo>
                <a:lnTo>
                  <a:pt x="9396" y="4654"/>
                </a:lnTo>
                <a:lnTo>
                  <a:pt x="9392" y="4644"/>
                </a:lnTo>
                <a:lnTo>
                  <a:pt x="9386" y="4630"/>
                </a:lnTo>
                <a:lnTo>
                  <a:pt x="9380" y="4616"/>
                </a:lnTo>
                <a:lnTo>
                  <a:pt x="9372" y="4604"/>
                </a:lnTo>
                <a:lnTo>
                  <a:pt x="9366" y="4596"/>
                </a:lnTo>
                <a:lnTo>
                  <a:pt x="9364" y="4588"/>
                </a:lnTo>
                <a:lnTo>
                  <a:pt x="9360" y="4580"/>
                </a:lnTo>
                <a:lnTo>
                  <a:pt x="9352" y="4570"/>
                </a:lnTo>
                <a:lnTo>
                  <a:pt x="9344" y="4562"/>
                </a:lnTo>
                <a:lnTo>
                  <a:pt x="9336" y="4560"/>
                </a:lnTo>
                <a:lnTo>
                  <a:pt x="9330" y="4560"/>
                </a:lnTo>
                <a:lnTo>
                  <a:pt x="9326" y="4562"/>
                </a:lnTo>
                <a:lnTo>
                  <a:pt x="9326" y="4564"/>
                </a:lnTo>
                <a:lnTo>
                  <a:pt x="9330" y="4566"/>
                </a:lnTo>
                <a:lnTo>
                  <a:pt x="9332" y="4572"/>
                </a:lnTo>
                <a:lnTo>
                  <a:pt x="9334" y="4580"/>
                </a:lnTo>
                <a:lnTo>
                  <a:pt x="9334" y="4590"/>
                </a:lnTo>
                <a:lnTo>
                  <a:pt x="9332" y="4598"/>
                </a:lnTo>
                <a:lnTo>
                  <a:pt x="9328" y="4604"/>
                </a:lnTo>
                <a:lnTo>
                  <a:pt x="9328" y="4610"/>
                </a:lnTo>
                <a:lnTo>
                  <a:pt x="9328" y="4618"/>
                </a:lnTo>
                <a:lnTo>
                  <a:pt x="9326" y="4630"/>
                </a:lnTo>
                <a:lnTo>
                  <a:pt x="9324" y="4636"/>
                </a:lnTo>
                <a:lnTo>
                  <a:pt x="9324" y="4638"/>
                </a:lnTo>
                <a:lnTo>
                  <a:pt x="9324" y="4636"/>
                </a:lnTo>
                <a:lnTo>
                  <a:pt x="9322" y="4630"/>
                </a:lnTo>
                <a:lnTo>
                  <a:pt x="9320" y="4630"/>
                </a:lnTo>
                <a:lnTo>
                  <a:pt x="9320" y="4632"/>
                </a:lnTo>
                <a:lnTo>
                  <a:pt x="9318" y="4640"/>
                </a:lnTo>
                <a:lnTo>
                  <a:pt x="9320" y="4654"/>
                </a:lnTo>
                <a:lnTo>
                  <a:pt x="9322" y="4676"/>
                </a:lnTo>
                <a:lnTo>
                  <a:pt x="9322" y="4700"/>
                </a:lnTo>
                <a:lnTo>
                  <a:pt x="9324" y="4712"/>
                </a:lnTo>
                <a:lnTo>
                  <a:pt x="9326" y="4722"/>
                </a:lnTo>
                <a:lnTo>
                  <a:pt x="9332" y="4734"/>
                </a:lnTo>
                <a:lnTo>
                  <a:pt x="9338" y="4742"/>
                </a:lnTo>
                <a:lnTo>
                  <a:pt x="9346" y="4748"/>
                </a:lnTo>
                <a:lnTo>
                  <a:pt x="9352" y="4750"/>
                </a:lnTo>
                <a:lnTo>
                  <a:pt x="9358" y="4750"/>
                </a:lnTo>
                <a:lnTo>
                  <a:pt x="9364" y="4748"/>
                </a:lnTo>
                <a:lnTo>
                  <a:pt x="9376" y="4740"/>
                </a:lnTo>
                <a:lnTo>
                  <a:pt x="9390" y="4732"/>
                </a:lnTo>
                <a:lnTo>
                  <a:pt x="9396" y="4726"/>
                </a:lnTo>
                <a:lnTo>
                  <a:pt x="9402" y="4718"/>
                </a:lnTo>
                <a:lnTo>
                  <a:pt x="9404" y="4710"/>
                </a:lnTo>
                <a:lnTo>
                  <a:pt x="9406" y="4700"/>
                </a:lnTo>
                <a:lnTo>
                  <a:pt x="9406" y="4682"/>
                </a:lnTo>
                <a:lnTo>
                  <a:pt x="9406" y="4676"/>
                </a:lnTo>
                <a:lnTo>
                  <a:pt x="9404" y="4672"/>
                </a:lnTo>
                <a:lnTo>
                  <a:pt x="9400" y="4666"/>
                </a:lnTo>
                <a:lnTo>
                  <a:pt x="9400" y="4662"/>
                </a:lnTo>
                <a:lnTo>
                  <a:pt x="9400" y="4658"/>
                </a:lnTo>
                <a:lnTo>
                  <a:pt x="9396" y="4654"/>
                </a:lnTo>
                <a:close/>
                <a:moveTo>
                  <a:pt x="9854" y="4376"/>
                </a:moveTo>
                <a:lnTo>
                  <a:pt x="9854" y="4376"/>
                </a:lnTo>
                <a:lnTo>
                  <a:pt x="9854" y="4374"/>
                </a:lnTo>
                <a:lnTo>
                  <a:pt x="9852" y="4376"/>
                </a:lnTo>
                <a:lnTo>
                  <a:pt x="9848" y="4384"/>
                </a:lnTo>
                <a:lnTo>
                  <a:pt x="9846" y="4400"/>
                </a:lnTo>
                <a:lnTo>
                  <a:pt x="9844" y="4422"/>
                </a:lnTo>
                <a:lnTo>
                  <a:pt x="9842" y="4442"/>
                </a:lnTo>
                <a:lnTo>
                  <a:pt x="9840" y="4452"/>
                </a:lnTo>
                <a:lnTo>
                  <a:pt x="9838" y="4460"/>
                </a:lnTo>
                <a:lnTo>
                  <a:pt x="9840" y="4472"/>
                </a:lnTo>
                <a:lnTo>
                  <a:pt x="9842" y="4478"/>
                </a:lnTo>
                <a:lnTo>
                  <a:pt x="9844" y="4480"/>
                </a:lnTo>
                <a:lnTo>
                  <a:pt x="9846" y="4474"/>
                </a:lnTo>
                <a:lnTo>
                  <a:pt x="9850" y="4448"/>
                </a:lnTo>
                <a:lnTo>
                  <a:pt x="9850" y="4440"/>
                </a:lnTo>
                <a:lnTo>
                  <a:pt x="9850" y="4436"/>
                </a:lnTo>
                <a:lnTo>
                  <a:pt x="9850" y="4434"/>
                </a:lnTo>
                <a:lnTo>
                  <a:pt x="9852" y="4430"/>
                </a:lnTo>
                <a:lnTo>
                  <a:pt x="9854" y="4428"/>
                </a:lnTo>
                <a:lnTo>
                  <a:pt x="9854" y="4424"/>
                </a:lnTo>
                <a:lnTo>
                  <a:pt x="9852" y="4416"/>
                </a:lnTo>
                <a:lnTo>
                  <a:pt x="9852" y="4410"/>
                </a:lnTo>
                <a:lnTo>
                  <a:pt x="9852" y="4406"/>
                </a:lnTo>
                <a:lnTo>
                  <a:pt x="9854" y="4404"/>
                </a:lnTo>
                <a:lnTo>
                  <a:pt x="9856" y="4398"/>
                </a:lnTo>
                <a:lnTo>
                  <a:pt x="9858" y="4390"/>
                </a:lnTo>
                <a:lnTo>
                  <a:pt x="9858" y="4382"/>
                </a:lnTo>
                <a:lnTo>
                  <a:pt x="9854" y="4376"/>
                </a:lnTo>
                <a:close/>
                <a:moveTo>
                  <a:pt x="9834" y="4508"/>
                </a:moveTo>
                <a:lnTo>
                  <a:pt x="9834" y="4508"/>
                </a:lnTo>
                <a:lnTo>
                  <a:pt x="9832" y="4510"/>
                </a:lnTo>
                <a:lnTo>
                  <a:pt x="9828" y="4516"/>
                </a:lnTo>
                <a:lnTo>
                  <a:pt x="9828" y="4522"/>
                </a:lnTo>
                <a:lnTo>
                  <a:pt x="9830" y="4526"/>
                </a:lnTo>
                <a:lnTo>
                  <a:pt x="9832" y="4526"/>
                </a:lnTo>
                <a:lnTo>
                  <a:pt x="9834" y="4526"/>
                </a:lnTo>
                <a:lnTo>
                  <a:pt x="9838" y="4520"/>
                </a:lnTo>
                <a:lnTo>
                  <a:pt x="9838" y="4512"/>
                </a:lnTo>
                <a:lnTo>
                  <a:pt x="9836" y="4510"/>
                </a:lnTo>
                <a:lnTo>
                  <a:pt x="9834" y="4508"/>
                </a:lnTo>
                <a:close/>
                <a:moveTo>
                  <a:pt x="9884" y="4688"/>
                </a:moveTo>
                <a:lnTo>
                  <a:pt x="9884" y="4688"/>
                </a:lnTo>
                <a:lnTo>
                  <a:pt x="9882" y="4690"/>
                </a:lnTo>
                <a:lnTo>
                  <a:pt x="9882" y="4694"/>
                </a:lnTo>
                <a:lnTo>
                  <a:pt x="9882" y="4702"/>
                </a:lnTo>
                <a:lnTo>
                  <a:pt x="9886" y="4708"/>
                </a:lnTo>
                <a:lnTo>
                  <a:pt x="9888" y="4710"/>
                </a:lnTo>
                <a:lnTo>
                  <a:pt x="9890" y="4708"/>
                </a:lnTo>
                <a:lnTo>
                  <a:pt x="9892" y="4704"/>
                </a:lnTo>
                <a:lnTo>
                  <a:pt x="9892" y="4700"/>
                </a:lnTo>
                <a:lnTo>
                  <a:pt x="9892" y="4692"/>
                </a:lnTo>
                <a:lnTo>
                  <a:pt x="9888" y="4688"/>
                </a:lnTo>
                <a:lnTo>
                  <a:pt x="9886" y="4686"/>
                </a:lnTo>
                <a:lnTo>
                  <a:pt x="9884" y="4688"/>
                </a:lnTo>
                <a:close/>
                <a:moveTo>
                  <a:pt x="9842" y="4586"/>
                </a:moveTo>
                <a:lnTo>
                  <a:pt x="9842" y="4586"/>
                </a:lnTo>
                <a:lnTo>
                  <a:pt x="9840" y="4590"/>
                </a:lnTo>
                <a:lnTo>
                  <a:pt x="9840" y="4592"/>
                </a:lnTo>
                <a:lnTo>
                  <a:pt x="9844" y="4594"/>
                </a:lnTo>
                <a:lnTo>
                  <a:pt x="9846" y="4596"/>
                </a:lnTo>
                <a:lnTo>
                  <a:pt x="9848" y="4592"/>
                </a:lnTo>
                <a:lnTo>
                  <a:pt x="9848" y="4590"/>
                </a:lnTo>
                <a:lnTo>
                  <a:pt x="9846" y="4586"/>
                </a:lnTo>
                <a:lnTo>
                  <a:pt x="9844" y="4586"/>
                </a:lnTo>
                <a:lnTo>
                  <a:pt x="9842" y="4586"/>
                </a:lnTo>
                <a:close/>
                <a:moveTo>
                  <a:pt x="9868" y="4654"/>
                </a:moveTo>
                <a:lnTo>
                  <a:pt x="9868" y="4654"/>
                </a:lnTo>
                <a:lnTo>
                  <a:pt x="9872" y="4654"/>
                </a:lnTo>
                <a:lnTo>
                  <a:pt x="9870" y="4648"/>
                </a:lnTo>
                <a:lnTo>
                  <a:pt x="9868" y="4646"/>
                </a:lnTo>
                <a:lnTo>
                  <a:pt x="9868" y="4648"/>
                </a:lnTo>
                <a:lnTo>
                  <a:pt x="9866" y="4650"/>
                </a:lnTo>
                <a:lnTo>
                  <a:pt x="9868" y="4654"/>
                </a:lnTo>
                <a:close/>
                <a:moveTo>
                  <a:pt x="7488" y="3256"/>
                </a:moveTo>
                <a:lnTo>
                  <a:pt x="7488" y="3256"/>
                </a:lnTo>
                <a:lnTo>
                  <a:pt x="7494" y="3250"/>
                </a:lnTo>
                <a:lnTo>
                  <a:pt x="7496" y="3246"/>
                </a:lnTo>
                <a:lnTo>
                  <a:pt x="7496" y="3244"/>
                </a:lnTo>
                <a:lnTo>
                  <a:pt x="7492" y="3246"/>
                </a:lnTo>
                <a:lnTo>
                  <a:pt x="7486" y="3252"/>
                </a:lnTo>
                <a:lnTo>
                  <a:pt x="7474" y="3258"/>
                </a:lnTo>
                <a:lnTo>
                  <a:pt x="7460" y="3262"/>
                </a:lnTo>
                <a:lnTo>
                  <a:pt x="7454" y="3262"/>
                </a:lnTo>
                <a:lnTo>
                  <a:pt x="7446" y="3262"/>
                </a:lnTo>
                <a:lnTo>
                  <a:pt x="7438" y="3260"/>
                </a:lnTo>
                <a:lnTo>
                  <a:pt x="7436" y="3262"/>
                </a:lnTo>
                <a:lnTo>
                  <a:pt x="7434" y="3264"/>
                </a:lnTo>
                <a:lnTo>
                  <a:pt x="7432" y="3266"/>
                </a:lnTo>
                <a:lnTo>
                  <a:pt x="7432" y="3270"/>
                </a:lnTo>
                <a:lnTo>
                  <a:pt x="7430" y="3272"/>
                </a:lnTo>
                <a:lnTo>
                  <a:pt x="7428" y="3272"/>
                </a:lnTo>
                <a:lnTo>
                  <a:pt x="7420" y="3272"/>
                </a:lnTo>
                <a:lnTo>
                  <a:pt x="7416" y="3274"/>
                </a:lnTo>
                <a:lnTo>
                  <a:pt x="7414" y="3278"/>
                </a:lnTo>
                <a:lnTo>
                  <a:pt x="7410" y="3278"/>
                </a:lnTo>
                <a:lnTo>
                  <a:pt x="7406" y="3278"/>
                </a:lnTo>
                <a:lnTo>
                  <a:pt x="7406" y="3280"/>
                </a:lnTo>
                <a:lnTo>
                  <a:pt x="7410" y="3292"/>
                </a:lnTo>
                <a:lnTo>
                  <a:pt x="7412" y="3296"/>
                </a:lnTo>
                <a:lnTo>
                  <a:pt x="7416" y="3298"/>
                </a:lnTo>
                <a:lnTo>
                  <a:pt x="7422" y="3300"/>
                </a:lnTo>
                <a:lnTo>
                  <a:pt x="7426" y="3300"/>
                </a:lnTo>
                <a:lnTo>
                  <a:pt x="7432" y="3300"/>
                </a:lnTo>
                <a:lnTo>
                  <a:pt x="7436" y="3302"/>
                </a:lnTo>
                <a:lnTo>
                  <a:pt x="7438" y="3302"/>
                </a:lnTo>
                <a:lnTo>
                  <a:pt x="7438" y="3300"/>
                </a:lnTo>
                <a:lnTo>
                  <a:pt x="7440" y="3298"/>
                </a:lnTo>
                <a:lnTo>
                  <a:pt x="7442" y="3298"/>
                </a:lnTo>
                <a:lnTo>
                  <a:pt x="7448" y="3296"/>
                </a:lnTo>
                <a:lnTo>
                  <a:pt x="7456" y="3294"/>
                </a:lnTo>
                <a:lnTo>
                  <a:pt x="7458" y="3290"/>
                </a:lnTo>
                <a:lnTo>
                  <a:pt x="7462" y="3286"/>
                </a:lnTo>
                <a:lnTo>
                  <a:pt x="7464" y="3284"/>
                </a:lnTo>
                <a:lnTo>
                  <a:pt x="7468" y="3282"/>
                </a:lnTo>
                <a:lnTo>
                  <a:pt x="7474" y="3282"/>
                </a:lnTo>
                <a:lnTo>
                  <a:pt x="7480" y="3280"/>
                </a:lnTo>
                <a:lnTo>
                  <a:pt x="7478" y="3276"/>
                </a:lnTo>
                <a:lnTo>
                  <a:pt x="7474" y="3270"/>
                </a:lnTo>
                <a:lnTo>
                  <a:pt x="7474" y="3266"/>
                </a:lnTo>
                <a:lnTo>
                  <a:pt x="7480" y="3262"/>
                </a:lnTo>
                <a:lnTo>
                  <a:pt x="7488" y="3256"/>
                </a:lnTo>
                <a:close/>
                <a:moveTo>
                  <a:pt x="6684" y="3228"/>
                </a:moveTo>
                <a:lnTo>
                  <a:pt x="6684" y="3228"/>
                </a:lnTo>
                <a:lnTo>
                  <a:pt x="6684" y="3230"/>
                </a:lnTo>
                <a:lnTo>
                  <a:pt x="6686" y="3234"/>
                </a:lnTo>
                <a:lnTo>
                  <a:pt x="6688" y="3238"/>
                </a:lnTo>
                <a:lnTo>
                  <a:pt x="6692" y="3238"/>
                </a:lnTo>
                <a:lnTo>
                  <a:pt x="6692" y="3234"/>
                </a:lnTo>
                <a:lnTo>
                  <a:pt x="6690" y="3230"/>
                </a:lnTo>
                <a:lnTo>
                  <a:pt x="6688" y="3228"/>
                </a:lnTo>
                <a:lnTo>
                  <a:pt x="6684" y="3228"/>
                </a:lnTo>
                <a:close/>
                <a:moveTo>
                  <a:pt x="6456" y="4860"/>
                </a:moveTo>
                <a:lnTo>
                  <a:pt x="6456" y="4860"/>
                </a:lnTo>
                <a:lnTo>
                  <a:pt x="6448" y="4872"/>
                </a:lnTo>
                <a:lnTo>
                  <a:pt x="6446" y="4874"/>
                </a:lnTo>
                <a:lnTo>
                  <a:pt x="6448" y="4878"/>
                </a:lnTo>
                <a:lnTo>
                  <a:pt x="6448" y="4880"/>
                </a:lnTo>
                <a:lnTo>
                  <a:pt x="6452" y="4882"/>
                </a:lnTo>
                <a:lnTo>
                  <a:pt x="6456" y="4884"/>
                </a:lnTo>
                <a:lnTo>
                  <a:pt x="6456" y="4882"/>
                </a:lnTo>
                <a:lnTo>
                  <a:pt x="6464" y="4870"/>
                </a:lnTo>
                <a:lnTo>
                  <a:pt x="6466" y="4864"/>
                </a:lnTo>
                <a:lnTo>
                  <a:pt x="6466" y="4860"/>
                </a:lnTo>
                <a:lnTo>
                  <a:pt x="6466" y="4858"/>
                </a:lnTo>
                <a:lnTo>
                  <a:pt x="6464" y="4856"/>
                </a:lnTo>
                <a:lnTo>
                  <a:pt x="6460" y="4856"/>
                </a:lnTo>
                <a:lnTo>
                  <a:pt x="6456" y="4860"/>
                </a:lnTo>
                <a:close/>
                <a:moveTo>
                  <a:pt x="6376" y="5018"/>
                </a:moveTo>
                <a:lnTo>
                  <a:pt x="6376" y="5018"/>
                </a:lnTo>
                <a:lnTo>
                  <a:pt x="6372" y="5018"/>
                </a:lnTo>
                <a:lnTo>
                  <a:pt x="6370" y="5020"/>
                </a:lnTo>
                <a:lnTo>
                  <a:pt x="6368" y="5026"/>
                </a:lnTo>
                <a:lnTo>
                  <a:pt x="6366" y="5032"/>
                </a:lnTo>
                <a:lnTo>
                  <a:pt x="6368" y="5038"/>
                </a:lnTo>
                <a:lnTo>
                  <a:pt x="6370" y="5038"/>
                </a:lnTo>
                <a:lnTo>
                  <a:pt x="6372" y="5036"/>
                </a:lnTo>
                <a:lnTo>
                  <a:pt x="6376" y="5030"/>
                </a:lnTo>
                <a:lnTo>
                  <a:pt x="6378" y="5024"/>
                </a:lnTo>
                <a:lnTo>
                  <a:pt x="6378" y="5020"/>
                </a:lnTo>
                <a:lnTo>
                  <a:pt x="6376" y="5018"/>
                </a:lnTo>
                <a:close/>
                <a:moveTo>
                  <a:pt x="5466" y="4460"/>
                </a:moveTo>
                <a:lnTo>
                  <a:pt x="5466" y="4460"/>
                </a:lnTo>
                <a:lnTo>
                  <a:pt x="5466" y="4458"/>
                </a:lnTo>
                <a:lnTo>
                  <a:pt x="5464" y="4458"/>
                </a:lnTo>
                <a:lnTo>
                  <a:pt x="5462" y="4458"/>
                </a:lnTo>
                <a:lnTo>
                  <a:pt x="5458" y="4460"/>
                </a:lnTo>
                <a:lnTo>
                  <a:pt x="5458" y="4462"/>
                </a:lnTo>
                <a:lnTo>
                  <a:pt x="5462" y="4464"/>
                </a:lnTo>
                <a:lnTo>
                  <a:pt x="5466" y="4460"/>
                </a:lnTo>
                <a:close/>
                <a:moveTo>
                  <a:pt x="5468" y="4472"/>
                </a:moveTo>
                <a:lnTo>
                  <a:pt x="5468" y="4472"/>
                </a:lnTo>
                <a:lnTo>
                  <a:pt x="5466" y="4472"/>
                </a:lnTo>
                <a:lnTo>
                  <a:pt x="5464" y="4474"/>
                </a:lnTo>
                <a:lnTo>
                  <a:pt x="5462" y="4476"/>
                </a:lnTo>
                <a:lnTo>
                  <a:pt x="5462" y="4478"/>
                </a:lnTo>
                <a:lnTo>
                  <a:pt x="5466" y="4478"/>
                </a:lnTo>
                <a:lnTo>
                  <a:pt x="5468" y="4476"/>
                </a:lnTo>
                <a:lnTo>
                  <a:pt x="5468" y="4472"/>
                </a:lnTo>
                <a:close/>
                <a:moveTo>
                  <a:pt x="5454" y="4498"/>
                </a:moveTo>
                <a:lnTo>
                  <a:pt x="5454" y="4498"/>
                </a:lnTo>
                <a:lnTo>
                  <a:pt x="5456" y="4500"/>
                </a:lnTo>
                <a:lnTo>
                  <a:pt x="5458" y="4500"/>
                </a:lnTo>
                <a:lnTo>
                  <a:pt x="5460" y="4500"/>
                </a:lnTo>
                <a:lnTo>
                  <a:pt x="5462" y="4496"/>
                </a:lnTo>
                <a:lnTo>
                  <a:pt x="5460" y="4492"/>
                </a:lnTo>
                <a:lnTo>
                  <a:pt x="5458" y="4492"/>
                </a:lnTo>
                <a:lnTo>
                  <a:pt x="5456" y="4494"/>
                </a:lnTo>
                <a:lnTo>
                  <a:pt x="5454" y="4498"/>
                </a:lnTo>
                <a:close/>
                <a:moveTo>
                  <a:pt x="5466" y="4492"/>
                </a:moveTo>
                <a:lnTo>
                  <a:pt x="5466" y="4492"/>
                </a:lnTo>
                <a:lnTo>
                  <a:pt x="5464" y="4492"/>
                </a:lnTo>
                <a:lnTo>
                  <a:pt x="5464" y="4496"/>
                </a:lnTo>
                <a:lnTo>
                  <a:pt x="5466" y="4498"/>
                </a:lnTo>
                <a:lnTo>
                  <a:pt x="5468" y="4498"/>
                </a:lnTo>
                <a:lnTo>
                  <a:pt x="5470" y="4496"/>
                </a:lnTo>
                <a:lnTo>
                  <a:pt x="5468" y="4494"/>
                </a:lnTo>
                <a:lnTo>
                  <a:pt x="5466" y="4492"/>
                </a:lnTo>
                <a:close/>
                <a:moveTo>
                  <a:pt x="5474" y="4492"/>
                </a:moveTo>
                <a:lnTo>
                  <a:pt x="5474" y="4492"/>
                </a:lnTo>
                <a:lnTo>
                  <a:pt x="5476" y="4492"/>
                </a:lnTo>
                <a:lnTo>
                  <a:pt x="5478" y="4490"/>
                </a:lnTo>
                <a:lnTo>
                  <a:pt x="5478" y="4488"/>
                </a:lnTo>
                <a:lnTo>
                  <a:pt x="5478" y="4486"/>
                </a:lnTo>
                <a:lnTo>
                  <a:pt x="5476" y="4486"/>
                </a:lnTo>
                <a:lnTo>
                  <a:pt x="5474" y="4488"/>
                </a:lnTo>
                <a:lnTo>
                  <a:pt x="5474" y="4492"/>
                </a:lnTo>
                <a:close/>
                <a:moveTo>
                  <a:pt x="5456" y="4486"/>
                </a:moveTo>
                <a:lnTo>
                  <a:pt x="5456" y="4486"/>
                </a:lnTo>
                <a:lnTo>
                  <a:pt x="5454" y="4486"/>
                </a:lnTo>
                <a:lnTo>
                  <a:pt x="5454" y="4488"/>
                </a:lnTo>
                <a:lnTo>
                  <a:pt x="5454" y="4490"/>
                </a:lnTo>
                <a:lnTo>
                  <a:pt x="5456" y="4490"/>
                </a:lnTo>
                <a:lnTo>
                  <a:pt x="5458" y="4488"/>
                </a:lnTo>
                <a:lnTo>
                  <a:pt x="5456" y="4486"/>
                </a:lnTo>
                <a:close/>
                <a:moveTo>
                  <a:pt x="5448" y="4476"/>
                </a:moveTo>
                <a:lnTo>
                  <a:pt x="5448" y="4476"/>
                </a:lnTo>
                <a:lnTo>
                  <a:pt x="5450" y="4476"/>
                </a:lnTo>
                <a:lnTo>
                  <a:pt x="5454" y="4474"/>
                </a:lnTo>
                <a:lnTo>
                  <a:pt x="5454" y="4472"/>
                </a:lnTo>
                <a:lnTo>
                  <a:pt x="5450" y="4472"/>
                </a:lnTo>
                <a:lnTo>
                  <a:pt x="5448" y="4474"/>
                </a:lnTo>
                <a:lnTo>
                  <a:pt x="5448" y="4476"/>
                </a:lnTo>
                <a:close/>
                <a:moveTo>
                  <a:pt x="5480" y="4474"/>
                </a:moveTo>
                <a:lnTo>
                  <a:pt x="5480" y="4474"/>
                </a:lnTo>
                <a:lnTo>
                  <a:pt x="5484" y="4474"/>
                </a:lnTo>
                <a:lnTo>
                  <a:pt x="5484" y="4472"/>
                </a:lnTo>
                <a:lnTo>
                  <a:pt x="5482" y="4470"/>
                </a:lnTo>
                <a:lnTo>
                  <a:pt x="5480" y="4472"/>
                </a:lnTo>
                <a:lnTo>
                  <a:pt x="5480" y="4474"/>
                </a:lnTo>
                <a:close/>
                <a:moveTo>
                  <a:pt x="6488" y="2842"/>
                </a:moveTo>
                <a:lnTo>
                  <a:pt x="6488" y="2842"/>
                </a:lnTo>
                <a:lnTo>
                  <a:pt x="6484" y="2842"/>
                </a:lnTo>
                <a:lnTo>
                  <a:pt x="6484" y="2844"/>
                </a:lnTo>
                <a:lnTo>
                  <a:pt x="6484" y="2852"/>
                </a:lnTo>
                <a:lnTo>
                  <a:pt x="6482" y="2858"/>
                </a:lnTo>
                <a:lnTo>
                  <a:pt x="6482" y="2860"/>
                </a:lnTo>
                <a:lnTo>
                  <a:pt x="6480" y="2860"/>
                </a:lnTo>
                <a:lnTo>
                  <a:pt x="6476" y="2858"/>
                </a:lnTo>
                <a:lnTo>
                  <a:pt x="6472" y="2860"/>
                </a:lnTo>
                <a:lnTo>
                  <a:pt x="6468" y="2862"/>
                </a:lnTo>
                <a:lnTo>
                  <a:pt x="6464" y="2866"/>
                </a:lnTo>
                <a:lnTo>
                  <a:pt x="6460" y="2868"/>
                </a:lnTo>
                <a:lnTo>
                  <a:pt x="6458" y="2868"/>
                </a:lnTo>
                <a:lnTo>
                  <a:pt x="6456" y="2872"/>
                </a:lnTo>
                <a:lnTo>
                  <a:pt x="6454" y="2884"/>
                </a:lnTo>
                <a:lnTo>
                  <a:pt x="6454" y="2898"/>
                </a:lnTo>
                <a:lnTo>
                  <a:pt x="6454" y="2902"/>
                </a:lnTo>
                <a:lnTo>
                  <a:pt x="6456" y="2904"/>
                </a:lnTo>
                <a:lnTo>
                  <a:pt x="6460" y="2904"/>
                </a:lnTo>
                <a:lnTo>
                  <a:pt x="6460" y="2906"/>
                </a:lnTo>
                <a:lnTo>
                  <a:pt x="6458" y="2910"/>
                </a:lnTo>
                <a:lnTo>
                  <a:pt x="6456" y="2912"/>
                </a:lnTo>
                <a:lnTo>
                  <a:pt x="6462" y="2914"/>
                </a:lnTo>
                <a:lnTo>
                  <a:pt x="6464" y="2916"/>
                </a:lnTo>
                <a:lnTo>
                  <a:pt x="6462" y="2918"/>
                </a:lnTo>
                <a:lnTo>
                  <a:pt x="6460" y="2922"/>
                </a:lnTo>
                <a:lnTo>
                  <a:pt x="6460" y="2924"/>
                </a:lnTo>
                <a:lnTo>
                  <a:pt x="6464" y="2924"/>
                </a:lnTo>
                <a:lnTo>
                  <a:pt x="6470" y="2930"/>
                </a:lnTo>
                <a:lnTo>
                  <a:pt x="6474" y="2932"/>
                </a:lnTo>
                <a:lnTo>
                  <a:pt x="6474" y="2934"/>
                </a:lnTo>
                <a:lnTo>
                  <a:pt x="6476" y="2934"/>
                </a:lnTo>
                <a:lnTo>
                  <a:pt x="6480" y="2932"/>
                </a:lnTo>
                <a:lnTo>
                  <a:pt x="6480" y="2930"/>
                </a:lnTo>
                <a:lnTo>
                  <a:pt x="6480" y="2926"/>
                </a:lnTo>
                <a:lnTo>
                  <a:pt x="6480" y="2924"/>
                </a:lnTo>
                <a:lnTo>
                  <a:pt x="6484" y="2922"/>
                </a:lnTo>
                <a:lnTo>
                  <a:pt x="6486" y="2918"/>
                </a:lnTo>
                <a:lnTo>
                  <a:pt x="6486" y="2904"/>
                </a:lnTo>
                <a:lnTo>
                  <a:pt x="6488" y="2900"/>
                </a:lnTo>
                <a:lnTo>
                  <a:pt x="6490" y="2896"/>
                </a:lnTo>
                <a:lnTo>
                  <a:pt x="6492" y="2890"/>
                </a:lnTo>
                <a:lnTo>
                  <a:pt x="6492" y="2880"/>
                </a:lnTo>
                <a:lnTo>
                  <a:pt x="6490" y="2870"/>
                </a:lnTo>
                <a:lnTo>
                  <a:pt x="6490" y="2864"/>
                </a:lnTo>
                <a:lnTo>
                  <a:pt x="6488" y="2860"/>
                </a:lnTo>
                <a:lnTo>
                  <a:pt x="6488" y="2858"/>
                </a:lnTo>
                <a:lnTo>
                  <a:pt x="6490" y="2848"/>
                </a:lnTo>
                <a:lnTo>
                  <a:pt x="6488" y="2844"/>
                </a:lnTo>
                <a:lnTo>
                  <a:pt x="6488" y="2842"/>
                </a:lnTo>
                <a:close/>
                <a:moveTo>
                  <a:pt x="6706" y="3110"/>
                </a:moveTo>
                <a:lnTo>
                  <a:pt x="6706" y="3110"/>
                </a:lnTo>
                <a:lnTo>
                  <a:pt x="6702" y="3110"/>
                </a:lnTo>
                <a:lnTo>
                  <a:pt x="6696" y="3112"/>
                </a:lnTo>
                <a:lnTo>
                  <a:pt x="6682" y="3118"/>
                </a:lnTo>
                <a:lnTo>
                  <a:pt x="6674" y="3120"/>
                </a:lnTo>
                <a:lnTo>
                  <a:pt x="6666" y="3120"/>
                </a:lnTo>
                <a:lnTo>
                  <a:pt x="6658" y="3118"/>
                </a:lnTo>
                <a:lnTo>
                  <a:pt x="6652" y="3114"/>
                </a:lnTo>
                <a:lnTo>
                  <a:pt x="6644" y="3108"/>
                </a:lnTo>
                <a:lnTo>
                  <a:pt x="6638" y="3108"/>
                </a:lnTo>
                <a:lnTo>
                  <a:pt x="6634" y="3108"/>
                </a:lnTo>
                <a:lnTo>
                  <a:pt x="6632" y="3112"/>
                </a:lnTo>
                <a:lnTo>
                  <a:pt x="6628" y="3116"/>
                </a:lnTo>
                <a:lnTo>
                  <a:pt x="6626" y="3116"/>
                </a:lnTo>
                <a:lnTo>
                  <a:pt x="6622" y="3112"/>
                </a:lnTo>
                <a:lnTo>
                  <a:pt x="6622" y="3110"/>
                </a:lnTo>
                <a:lnTo>
                  <a:pt x="6620" y="3110"/>
                </a:lnTo>
                <a:lnTo>
                  <a:pt x="6614" y="3112"/>
                </a:lnTo>
                <a:lnTo>
                  <a:pt x="6610" y="3120"/>
                </a:lnTo>
                <a:lnTo>
                  <a:pt x="6610" y="3132"/>
                </a:lnTo>
                <a:lnTo>
                  <a:pt x="6610" y="3136"/>
                </a:lnTo>
                <a:lnTo>
                  <a:pt x="6614" y="3140"/>
                </a:lnTo>
                <a:lnTo>
                  <a:pt x="6628" y="3144"/>
                </a:lnTo>
                <a:lnTo>
                  <a:pt x="6640" y="3150"/>
                </a:lnTo>
                <a:lnTo>
                  <a:pt x="6650" y="3158"/>
                </a:lnTo>
                <a:lnTo>
                  <a:pt x="6660" y="3164"/>
                </a:lnTo>
                <a:lnTo>
                  <a:pt x="6666" y="3166"/>
                </a:lnTo>
                <a:lnTo>
                  <a:pt x="6670" y="3168"/>
                </a:lnTo>
                <a:lnTo>
                  <a:pt x="6678" y="3170"/>
                </a:lnTo>
                <a:lnTo>
                  <a:pt x="6684" y="3176"/>
                </a:lnTo>
                <a:lnTo>
                  <a:pt x="6692" y="3182"/>
                </a:lnTo>
                <a:lnTo>
                  <a:pt x="6702" y="3186"/>
                </a:lnTo>
                <a:lnTo>
                  <a:pt x="6714" y="3192"/>
                </a:lnTo>
                <a:lnTo>
                  <a:pt x="6716" y="3190"/>
                </a:lnTo>
                <a:lnTo>
                  <a:pt x="6716" y="3186"/>
                </a:lnTo>
                <a:lnTo>
                  <a:pt x="6718" y="3178"/>
                </a:lnTo>
                <a:lnTo>
                  <a:pt x="6720" y="3170"/>
                </a:lnTo>
                <a:lnTo>
                  <a:pt x="6720" y="3162"/>
                </a:lnTo>
                <a:lnTo>
                  <a:pt x="6720" y="3158"/>
                </a:lnTo>
                <a:lnTo>
                  <a:pt x="6716" y="3154"/>
                </a:lnTo>
                <a:lnTo>
                  <a:pt x="6714" y="3152"/>
                </a:lnTo>
                <a:lnTo>
                  <a:pt x="6716" y="3146"/>
                </a:lnTo>
                <a:lnTo>
                  <a:pt x="6720" y="3130"/>
                </a:lnTo>
                <a:lnTo>
                  <a:pt x="6736" y="3104"/>
                </a:lnTo>
                <a:lnTo>
                  <a:pt x="6736" y="3102"/>
                </a:lnTo>
                <a:lnTo>
                  <a:pt x="6734" y="3102"/>
                </a:lnTo>
                <a:lnTo>
                  <a:pt x="6728" y="3106"/>
                </a:lnTo>
                <a:lnTo>
                  <a:pt x="6716" y="3110"/>
                </a:lnTo>
                <a:lnTo>
                  <a:pt x="6712" y="3110"/>
                </a:lnTo>
                <a:lnTo>
                  <a:pt x="6706" y="3110"/>
                </a:lnTo>
                <a:close/>
                <a:moveTo>
                  <a:pt x="6434" y="2968"/>
                </a:moveTo>
                <a:lnTo>
                  <a:pt x="6434" y="2968"/>
                </a:lnTo>
                <a:lnTo>
                  <a:pt x="6436" y="2972"/>
                </a:lnTo>
                <a:lnTo>
                  <a:pt x="6438" y="2976"/>
                </a:lnTo>
                <a:lnTo>
                  <a:pt x="6442" y="2982"/>
                </a:lnTo>
                <a:lnTo>
                  <a:pt x="6446" y="2990"/>
                </a:lnTo>
                <a:lnTo>
                  <a:pt x="6446" y="2996"/>
                </a:lnTo>
                <a:lnTo>
                  <a:pt x="6446" y="3004"/>
                </a:lnTo>
                <a:lnTo>
                  <a:pt x="6446" y="3012"/>
                </a:lnTo>
                <a:lnTo>
                  <a:pt x="6448" y="3016"/>
                </a:lnTo>
                <a:lnTo>
                  <a:pt x="6448" y="3020"/>
                </a:lnTo>
                <a:lnTo>
                  <a:pt x="6446" y="3030"/>
                </a:lnTo>
                <a:lnTo>
                  <a:pt x="6446" y="3046"/>
                </a:lnTo>
                <a:lnTo>
                  <a:pt x="6448" y="3058"/>
                </a:lnTo>
                <a:lnTo>
                  <a:pt x="6450" y="3064"/>
                </a:lnTo>
                <a:lnTo>
                  <a:pt x="6454" y="3068"/>
                </a:lnTo>
                <a:lnTo>
                  <a:pt x="6458" y="3070"/>
                </a:lnTo>
                <a:lnTo>
                  <a:pt x="6462" y="3070"/>
                </a:lnTo>
                <a:lnTo>
                  <a:pt x="6466" y="3068"/>
                </a:lnTo>
                <a:lnTo>
                  <a:pt x="6468" y="3066"/>
                </a:lnTo>
                <a:lnTo>
                  <a:pt x="6472" y="3060"/>
                </a:lnTo>
                <a:lnTo>
                  <a:pt x="6474" y="3054"/>
                </a:lnTo>
                <a:lnTo>
                  <a:pt x="6476" y="3054"/>
                </a:lnTo>
                <a:lnTo>
                  <a:pt x="6480" y="3056"/>
                </a:lnTo>
                <a:lnTo>
                  <a:pt x="6488" y="3058"/>
                </a:lnTo>
                <a:lnTo>
                  <a:pt x="6490" y="3056"/>
                </a:lnTo>
                <a:lnTo>
                  <a:pt x="6492" y="3054"/>
                </a:lnTo>
                <a:lnTo>
                  <a:pt x="6496" y="3044"/>
                </a:lnTo>
                <a:lnTo>
                  <a:pt x="6498" y="3024"/>
                </a:lnTo>
                <a:lnTo>
                  <a:pt x="6500" y="3016"/>
                </a:lnTo>
                <a:lnTo>
                  <a:pt x="6500" y="3008"/>
                </a:lnTo>
                <a:lnTo>
                  <a:pt x="6496" y="3000"/>
                </a:lnTo>
                <a:lnTo>
                  <a:pt x="6496" y="2996"/>
                </a:lnTo>
                <a:lnTo>
                  <a:pt x="6498" y="2990"/>
                </a:lnTo>
                <a:lnTo>
                  <a:pt x="6502" y="2984"/>
                </a:lnTo>
                <a:lnTo>
                  <a:pt x="6502" y="2980"/>
                </a:lnTo>
                <a:lnTo>
                  <a:pt x="6502" y="2968"/>
                </a:lnTo>
                <a:lnTo>
                  <a:pt x="6498" y="2958"/>
                </a:lnTo>
                <a:lnTo>
                  <a:pt x="6494" y="2950"/>
                </a:lnTo>
                <a:lnTo>
                  <a:pt x="6488" y="2944"/>
                </a:lnTo>
                <a:lnTo>
                  <a:pt x="6486" y="2942"/>
                </a:lnTo>
                <a:lnTo>
                  <a:pt x="6484" y="2942"/>
                </a:lnTo>
                <a:lnTo>
                  <a:pt x="6480" y="2944"/>
                </a:lnTo>
                <a:lnTo>
                  <a:pt x="6474" y="2946"/>
                </a:lnTo>
                <a:lnTo>
                  <a:pt x="6460" y="2956"/>
                </a:lnTo>
                <a:lnTo>
                  <a:pt x="6454" y="2962"/>
                </a:lnTo>
                <a:lnTo>
                  <a:pt x="6448" y="2962"/>
                </a:lnTo>
                <a:lnTo>
                  <a:pt x="6442" y="2962"/>
                </a:lnTo>
                <a:lnTo>
                  <a:pt x="6440" y="2960"/>
                </a:lnTo>
                <a:lnTo>
                  <a:pt x="6438" y="2958"/>
                </a:lnTo>
                <a:lnTo>
                  <a:pt x="6436" y="2958"/>
                </a:lnTo>
                <a:lnTo>
                  <a:pt x="6434" y="2968"/>
                </a:lnTo>
                <a:close/>
                <a:moveTo>
                  <a:pt x="6714" y="2136"/>
                </a:moveTo>
                <a:lnTo>
                  <a:pt x="6714" y="2136"/>
                </a:lnTo>
                <a:lnTo>
                  <a:pt x="6718" y="2134"/>
                </a:lnTo>
                <a:lnTo>
                  <a:pt x="6718" y="2132"/>
                </a:lnTo>
                <a:lnTo>
                  <a:pt x="6716" y="2128"/>
                </a:lnTo>
                <a:lnTo>
                  <a:pt x="6714" y="2124"/>
                </a:lnTo>
                <a:lnTo>
                  <a:pt x="6706" y="2120"/>
                </a:lnTo>
                <a:lnTo>
                  <a:pt x="6702" y="2118"/>
                </a:lnTo>
                <a:lnTo>
                  <a:pt x="6700" y="2118"/>
                </a:lnTo>
                <a:lnTo>
                  <a:pt x="6698" y="2122"/>
                </a:lnTo>
                <a:lnTo>
                  <a:pt x="6702" y="2130"/>
                </a:lnTo>
                <a:lnTo>
                  <a:pt x="6706" y="2136"/>
                </a:lnTo>
                <a:lnTo>
                  <a:pt x="6710" y="2136"/>
                </a:lnTo>
                <a:lnTo>
                  <a:pt x="6714" y="2136"/>
                </a:lnTo>
                <a:close/>
                <a:moveTo>
                  <a:pt x="6546" y="1994"/>
                </a:moveTo>
                <a:lnTo>
                  <a:pt x="6546" y="1994"/>
                </a:lnTo>
                <a:lnTo>
                  <a:pt x="6546" y="1996"/>
                </a:lnTo>
                <a:lnTo>
                  <a:pt x="6548" y="1996"/>
                </a:lnTo>
                <a:lnTo>
                  <a:pt x="6556" y="1992"/>
                </a:lnTo>
                <a:lnTo>
                  <a:pt x="6556" y="1990"/>
                </a:lnTo>
                <a:lnTo>
                  <a:pt x="6552" y="1990"/>
                </a:lnTo>
                <a:lnTo>
                  <a:pt x="6548" y="1992"/>
                </a:lnTo>
                <a:lnTo>
                  <a:pt x="6546" y="1994"/>
                </a:lnTo>
                <a:close/>
                <a:moveTo>
                  <a:pt x="6520" y="2132"/>
                </a:moveTo>
                <a:lnTo>
                  <a:pt x="6520" y="2132"/>
                </a:lnTo>
                <a:lnTo>
                  <a:pt x="6530" y="2134"/>
                </a:lnTo>
                <a:lnTo>
                  <a:pt x="6536" y="2132"/>
                </a:lnTo>
                <a:lnTo>
                  <a:pt x="6542" y="2128"/>
                </a:lnTo>
                <a:lnTo>
                  <a:pt x="6542" y="2126"/>
                </a:lnTo>
                <a:lnTo>
                  <a:pt x="6544" y="2124"/>
                </a:lnTo>
                <a:lnTo>
                  <a:pt x="6542" y="2118"/>
                </a:lnTo>
                <a:lnTo>
                  <a:pt x="6540" y="2112"/>
                </a:lnTo>
                <a:lnTo>
                  <a:pt x="6540" y="2108"/>
                </a:lnTo>
                <a:lnTo>
                  <a:pt x="6540" y="2104"/>
                </a:lnTo>
                <a:lnTo>
                  <a:pt x="6538" y="2102"/>
                </a:lnTo>
                <a:lnTo>
                  <a:pt x="6534" y="2100"/>
                </a:lnTo>
                <a:lnTo>
                  <a:pt x="6534" y="2102"/>
                </a:lnTo>
                <a:lnTo>
                  <a:pt x="6534" y="2104"/>
                </a:lnTo>
                <a:lnTo>
                  <a:pt x="6532" y="2104"/>
                </a:lnTo>
                <a:lnTo>
                  <a:pt x="6524" y="2100"/>
                </a:lnTo>
                <a:lnTo>
                  <a:pt x="6520" y="2100"/>
                </a:lnTo>
                <a:lnTo>
                  <a:pt x="6514" y="2102"/>
                </a:lnTo>
                <a:lnTo>
                  <a:pt x="6508" y="2104"/>
                </a:lnTo>
                <a:lnTo>
                  <a:pt x="6504" y="2104"/>
                </a:lnTo>
                <a:lnTo>
                  <a:pt x="6500" y="2104"/>
                </a:lnTo>
                <a:lnTo>
                  <a:pt x="6498" y="2104"/>
                </a:lnTo>
                <a:lnTo>
                  <a:pt x="6498" y="2108"/>
                </a:lnTo>
                <a:lnTo>
                  <a:pt x="6500" y="2110"/>
                </a:lnTo>
                <a:lnTo>
                  <a:pt x="6504" y="2114"/>
                </a:lnTo>
                <a:lnTo>
                  <a:pt x="6508" y="2122"/>
                </a:lnTo>
                <a:lnTo>
                  <a:pt x="6510" y="2126"/>
                </a:lnTo>
                <a:lnTo>
                  <a:pt x="6512" y="2124"/>
                </a:lnTo>
                <a:lnTo>
                  <a:pt x="6514" y="2126"/>
                </a:lnTo>
                <a:lnTo>
                  <a:pt x="6516" y="2126"/>
                </a:lnTo>
                <a:lnTo>
                  <a:pt x="6514" y="2128"/>
                </a:lnTo>
                <a:lnTo>
                  <a:pt x="6516" y="2130"/>
                </a:lnTo>
                <a:lnTo>
                  <a:pt x="6520" y="2132"/>
                </a:lnTo>
                <a:close/>
                <a:moveTo>
                  <a:pt x="6534" y="2078"/>
                </a:moveTo>
                <a:lnTo>
                  <a:pt x="6534" y="2078"/>
                </a:lnTo>
                <a:lnTo>
                  <a:pt x="6532" y="2078"/>
                </a:lnTo>
                <a:lnTo>
                  <a:pt x="6532" y="2080"/>
                </a:lnTo>
                <a:lnTo>
                  <a:pt x="6532" y="2086"/>
                </a:lnTo>
                <a:lnTo>
                  <a:pt x="6534" y="2090"/>
                </a:lnTo>
                <a:lnTo>
                  <a:pt x="6534" y="2088"/>
                </a:lnTo>
                <a:lnTo>
                  <a:pt x="6536" y="2086"/>
                </a:lnTo>
                <a:lnTo>
                  <a:pt x="6536" y="2082"/>
                </a:lnTo>
                <a:lnTo>
                  <a:pt x="6534" y="2078"/>
                </a:lnTo>
                <a:close/>
                <a:moveTo>
                  <a:pt x="6544" y="2134"/>
                </a:moveTo>
                <a:lnTo>
                  <a:pt x="6544" y="2134"/>
                </a:lnTo>
                <a:lnTo>
                  <a:pt x="6544" y="2132"/>
                </a:lnTo>
                <a:lnTo>
                  <a:pt x="6544" y="2130"/>
                </a:lnTo>
                <a:lnTo>
                  <a:pt x="6542" y="2132"/>
                </a:lnTo>
                <a:lnTo>
                  <a:pt x="6540" y="2134"/>
                </a:lnTo>
                <a:lnTo>
                  <a:pt x="6534" y="2144"/>
                </a:lnTo>
                <a:lnTo>
                  <a:pt x="6532" y="2148"/>
                </a:lnTo>
                <a:lnTo>
                  <a:pt x="6532" y="2152"/>
                </a:lnTo>
                <a:lnTo>
                  <a:pt x="6534" y="2154"/>
                </a:lnTo>
                <a:lnTo>
                  <a:pt x="6536" y="2154"/>
                </a:lnTo>
                <a:lnTo>
                  <a:pt x="6538" y="2148"/>
                </a:lnTo>
                <a:lnTo>
                  <a:pt x="6544" y="2134"/>
                </a:lnTo>
                <a:close/>
                <a:moveTo>
                  <a:pt x="6582" y="2150"/>
                </a:moveTo>
                <a:lnTo>
                  <a:pt x="6582" y="2150"/>
                </a:lnTo>
                <a:lnTo>
                  <a:pt x="6578" y="2144"/>
                </a:lnTo>
                <a:lnTo>
                  <a:pt x="6576" y="2142"/>
                </a:lnTo>
                <a:lnTo>
                  <a:pt x="6576" y="2144"/>
                </a:lnTo>
                <a:lnTo>
                  <a:pt x="6574" y="2146"/>
                </a:lnTo>
                <a:lnTo>
                  <a:pt x="6572" y="2146"/>
                </a:lnTo>
                <a:lnTo>
                  <a:pt x="6562" y="2140"/>
                </a:lnTo>
                <a:lnTo>
                  <a:pt x="6556" y="2138"/>
                </a:lnTo>
                <a:lnTo>
                  <a:pt x="6552" y="2140"/>
                </a:lnTo>
                <a:lnTo>
                  <a:pt x="6552" y="2144"/>
                </a:lnTo>
                <a:lnTo>
                  <a:pt x="6552" y="2148"/>
                </a:lnTo>
                <a:lnTo>
                  <a:pt x="6554" y="2152"/>
                </a:lnTo>
                <a:lnTo>
                  <a:pt x="6560" y="2156"/>
                </a:lnTo>
                <a:lnTo>
                  <a:pt x="6570" y="2158"/>
                </a:lnTo>
                <a:lnTo>
                  <a:pt x="6578" y="2158"/>
                </a:lnTo>
                <a:lnTo>
                  <a:pt x="6582" y="2158"/>
                </a:lnTo>
                <a:lnTo>
                  <a:pt x="6584" y="2156"/>
                </a:lnTo>
                <a:lnTo>
                  <a:pt x="6582" y="2150"/>
                </a:lnTo>
                <a:close/>
                <a:moveTo>
                  <a:pt x="6566" y="2088"/>
                </a:moveTo>
                <a:lnTo>
                  <a:pt x="6566" y="2088"/>
                </a:lnTo>
                <a:lnTo>
                  <a:pt x="6560" y="2090"/>
                </a:lnTo>
                <a:lnTo>
                  <a:pt x="6554" y="2090"/>
                </a:lnTo>
                <a:lnTo>
                  <a:pt x="6550" y="2090"/>
                </a:lnTo>
                <a:lnTo>
                  <a:pt x="6546" y="2090"/>
                </a:lnTo>
                <a:lnTo>
                  <a:pt x="6544" y="2092"/>
                </a:lnTo>
                <a:lnTo>
                  <a:pt x="6546" y="2094"/>
                </a:lnTo>
                <a:lnTo>
                  <a:pt x="6550" y="2096"/>
                </a:lnTo>
                <a:lnTo>
                  <a:pt x="6554" y="2100"/>
                </a:lnTo>
                <a:lnTo>
                  <a:pt x="6556" y="2100"/>
                </a:lnTo>
                <a:lnTo>
                  <a:pt x="6554" y="2102"/>
                </a:lnTo>
                <a:lnTo>
                  <a:pt x="6554" y="2106"/>
                </a:lnTo>
                <a:lnTo>
                  <a:pt x="6556" y="2108"/>
                </a:lnTo>
                <a:lnTo>
                  <a:pt x="6558" y="2110"/>
                </a:lnTo>
                <a:lnTo>
                  <a:pt x="6556" y="2114"/>
                </a:lnTo>
                <a:lnTo>
                  <a:pt x="6554" y="2116"/>
                </a:lnTo>
                <a:lnTo>
                  <a:pt x="6556" y="2116"/>
                </a:lnTo>
                <a:lnTo>
                  <a:pt x="6558" y="2118"/>
                </a:lnTo>
                <a:lnTo>
                  <a:pt x="6560" y="2122"/>
                </a:lnTo>
                <a:lnTo>
                  <a:pt x="6560" y="2124"/>
                </a:lnTo>
                <a:lnTo>
                  <a:pt x="6564" y="2124"/>
                </a:lnTo>
                <a:lnTo>
                  <a:pt x="6566" y="2124"/>
                </a:lnTo>
                <a:lnTo>
                  <a:pt x="6570" y="2124"/>
                </a:lnTo>
                <a:lnTo>
                  <a:pt x="6574" y="2124"/>
                </a:lnTo>
                <a:lnTo>
                  <a:pt x="6576" y="2124"/>
                </a:lnTo>
                <a:lnTo>
                  <a:pt x="6578" y="2124"/>
                </a:lnTo>
                <a:lnTo>
                  <a:pt x="6580" y="2128"/>
                </a:lnTo>
                <a:lnTo>
                  <a:pt x="6580" y="2130"/>
                </a:lnTo>
                <a:lnTo>
                  <a:pt x="6578" y="2132"/>
                </a:lnTo>
                <a:lnTo>
                  <a:pt x="6576" y="2132"/>
                </a:lnTo>
                <a:lnTo>
                  <a:pt x="6574" y="2132"/>
                </a:lnTo>
                <a:lnTo>
                  <a:pt x="6576" y="2134"/>
                </a:lnTo>
                <a:lnTo>
                  <a:pt x="6580" y="2136"/>
                </a:lnTo>
                <a:lnTo>
                  <a:pt x="6582" y="2138"/>
                </a:lnTo>
                <a:lnTo>
                  <a:pt x="6582" y="2140"/>
                </a:lnTo>
                <a:lnTo>
                  <a:pt x="6580" y="2140"/>
                </a:lnTo>
                <a:lnTo>
                  <a:pt x="6580" y="2144"/>
                </a:lnTo>
                <a:lnTo>
                  <a:pt x="6586" y="2150"/>
                </a:lnTo>
                <a:lnTo>
                  <a:pt x="6588" y="2154"/>
                </a:lnTo>
                <a:lnTo>
                  <a:pt x="6588" y="2158"/>
                </a:lnTo>
                <a:lnTo>
                  <a:pt x="6588" y="2160"/>
                </a:lnTo>
                <a:lnTo>
                  <a:pt x="6590" y="2164"/>
                </a:lnTo>
                <a:lnTo>
                  <a:pt x="6592" y="2164"/>
                </a:lnTo>
                <a:lnTo>
                  <a:pt x="6592" y="2160"/>
                </a:lnTo>
                <a:lnTo>
                  <a:pt x="6592" y="2156"/>
                </a:lnTo>
                <a:lnTo>
                  <a:pt x="6594" y="2150"/>
                </a:lnTo>
                <a:lnTo>
                  <a:pt x="6596" y="2148"/>
                </a:lnTo>
                <a:lnTo>
                  <a:pt x="6598" y="2146"/>
                </a:lnTo>
                <a:lnTo>
                  <a:pt x="6592" y="2142"/>
                </a:lnTo>
                <a:lnTo>
                  <a:pt x="6586" y="2140"/>
                </a:lnTo>
                <a:lnTo>
                  <a:pt x="6588" y="2138"/>
                </a:lnTo>
                <a:lnTo>
                  <a:pt x="6590" y="2138"/>
                </a:lnTo>
                <a:lnTo>
                  <a:pt x="6594" y="2138"/>
                </a:lnTo>
                <a:lnTo>
                  <a:pt x="6596" y="2136"/>
                </a:lnTo>
                <a:lnTo>
                  <a:pt x="6596" y="2134"/>
                </a:lnTo>
                <a:lnTo>
                  <a:pt x="6596" y="2130"/>
                </a:lnTo>
                <a:lnTo>
                  <a:pt x="6596" y="2126"/>
                </a:lnTo>
                <a:lnTo>
                  <a:pt x="6596" y="2124"/>
                </a:lnTo>
                <a:lnTo>
                  <a:pt x="6604" y="2122"/>
                </a:lnTo>
                <a:lnTo>
                  <a:pt x="6608" y="2120"/>
                </a:lnTo>
                <a:lnTo>
                  <a:pt x="6610" y="2118"/>
                </a:lnTo>
                <a:lnTo>
                  <a:pt x="6608" y="2114"/>
                </a:lnTo>
                <a:lnTo>
                  <a:pt x="6602" y="2112"/>
                </a:lnTo>
                <a:lnTo>
                  <a:pt x="6598" y="2108"/>
                </a:lnTo>
                <a:lnTo>
                  <a:pt x="6598" y="2104"/>
                </a:lnTo>
                <a:lnTo>
                  <a:pt x="6602" y="2102"/>
                </a:lnTo>
                <a:lnTo>
                  <a:pt x="6608" y="2100"/>
                </a:lnTo>
                <a:lnTo>
                  <a:pt x="6610" y="2098"/>
                </a:lnTo>
                <a:lnTo>
                  <a:pt x="6612" y="2096"/>
                </a:lnTo>
                <a:lnTo>
                  <a:pt x="6614" y="2088"/>
                </a:lnTo>
                <a:lnTo>
                  <a:pt x="6614" y="2080"/>
                </a:lnTo>
                <a:lnTo>
                  <a:pt x="6614" y="2074"/>
                </a:lnTo>
                <a:lnTo>
                  <a:pt x="6616" y="2072"/>
                </a:lnTo>
                <a:lnTo>
                  <a:pt x="6614" y="2070"/>
                </a:lnTo>
                <a:lnTo>
                  <a:pt x="6604" y="2066"/>
                </a:lnTo>
                <a:lnTo>
                  <a:pt x="6598" y="2066"/>
                </a:lnTo>
                <a:lnTo>
                  <a:pt x="6592" y="2070"/>
                </a:lnTo>
                <a:lnTo>
                  <a:pt x="6588" y="2074"/>
                </a:lnTo>
                <a:lnTo>
                  <a:pt x="6588" y="2078"/>
                </a:lnTo>
                <a:lnTo>
                  <a:pt x="6588" y="2080"/>
                </a:lnTo>
                <a:lnTo>
                  <a:pt x="6588" y="2082"/>
                </a:lnTo>
                <a:lnTo>
                  <a:pt x="6586" y="2090"/>
                </a:lnTo>
                <a:lnTo>
                  <a:pt x="6584" y="2094"/>
                </a:lnTo>
                <a:lnTo>
                  <a:pt x="6582" y="2094"/>
                </a:lnTo>
                <a:lnTo>
                  <a:pt x="6580" y="2092"/>
                </a:lnTo>
                <a:lnTo>
                  <a:pt x="6580" y="2088"/>
                </a:lnTo>
                <a:lnTo>
                  <a:pt x="6582" y="2078"/>
                </a:lnTo>
                <a:lnTo>
                  <a:pt x="6580" y="2076"/>
                </a:lnTo>
                <a:lnTo>
                  <a:pt x="6578" y="2078"/>
                </a:lnTo>
                <a:lnTo>
                  <a:pt x="6574" y="2078"/>
                </a:lnTo>
                <a:lnTo>
                  <a:pt x="6568" y="2076"/>
                </a:lnTo>
                <a:lnTo>
                  <a:pt x="6564" y="2074"/>
                </a:lnTo>
                <a:lnTo>
                  <a:pt x="6562" y="2074"/>
                </a:lnTo>
                <a:lnTo>
                  <a:pt x="6560" y="2076"/>
                </a:lnTo>
                <a:lnTo>
                  <a:pt x="6562" y="2076"/>
                </a:lnTo>
                <a:lnTo>
                  <a:pt x="6566" y="2078"/>
                </a:lnTo>
                <a:lnTo>
                  <a:pt x="6570" y="2082"/>
                </a:lnTo>
                <a:lnTo>
                  <a:pt x="6568" y="2084"/>
                </a:lnTo>
                <a:lnTo>
                  <a:pt x="6566" y="2088"/>
                </a:lnTo>
                <a:close/>
                <a:moveTo>
                  <a:pt x="6598" y="2138"/>
                </a:moveTo>
                <a:lnTo>
                  <a:pt x="6598" y="2138"/>
                </a:lnTo>
                <a:lnTo>
                  <a:pt x="6596" y="2142"/>
                </a:lnTo>
                <a:lnTo>
                  <a:pt x="6598" y="2142"/>
                </a:lnTo>
                <a:lnTo>
                  <a:pt x="6604" y="2142"/>
                </a:lnTo>
                <a:lnTo>
                  <a:pt x="6610" y="2138"/>
                </a:lnTo>
                <a:lnTo>
                  <a:pt x="6610" y="2136"/>
                </a:lnTo>
                <a:lnTo>
                  <a:pt x="6610" y="2134"/>
                </a:lnTo>
                <a:lnTo>
                  <a:pt x="6606" y="2134"/>
                </a:lnTo>
                <a:lnTo>
                  <a:pt x="6602" y="2134"/>
                </a:lnTo>
                <a:lnTo>
                  <a:pt x="6598" y="2138"/>
                </a:lnTo>
                <a:close/>
                <a:moveTo>
                  <a:pt x="6552" y="2166"/>
                </a:moveTo>
                <a:lnTo>
                  <a:pt x="6552" y="2166"/>
                </a:lnTo>
                <a:lnTo>
                  <a:pt x="6552" y="2168"/>
                </a:lnTo>
                <a:lnTo>
                  <a:pt x="6556" y="2172"/>
                </a:lnTo>
                <a:lnTo>
                  <a:pt x="6560" y="2172"/>
                </a:lnTo>
                <a:lnTo>
                  <a:pt x="6564" y="2172"/>
                </a:lnTo>
                <a:lnTo>
                  <a:pt x="6562" y="2168"/>
                </a:lnTo>
                <a:lnTo>
                  <a:pt x="6560" y="2166"/>
                </a:lnTo>
                <a:lnTo>
                  <a:pt x="6556" y="2164"/>
                </a:lnTo>
                <a:lnTo>
                  <a:pt x="6552" y="2166"/>
                </a:lnTo>
                <a:close/>
                <a:moveTo>
                  <a:pt x="6636" y="2164"/>
                </a:moveTo>
                <a:lnTo>
                  <a:pt x="6636" y="2164"/>
                </a:lnTo>
                <a:lnTo>
                  <a:pt x="6636" y="2166"/>
                </a:lnTo>
                <a:lnTo>
                  <a:pt x="6638" y="2168"/>
                </a:lnTo>
                <a:lnTo>
                  <a:pt x="6640" y="2172"/>
                </a:lnTo>
                <a:lnTo>
                  <a:pt x="6638" y="2174"/>
                </a:lnTo>
                <a:lnTo>
                  <a:pt x="6636" y="2176"/>
                </a:lnTo>
                <a:lnTo>
                  <a:pt x="6638" y="2178"/>
                </a:lnTo>
                <a:lnTo>
                  <a:pt x="6644" y="2182"/>
                </a:lnTo>
                <a:lnTo>
                  <a:pt x="6646" y="2184"/>
                </a:lnTo>
                <a:lnTo>
                  <a:pt x="6648" y="2184"/>
                </a:lnTo>
                <a:lnTo>
                  <a:pt x="6648" y="2182"/>
                </a:lnTo>
                <a:lnTo>
                  <a:pt x="6648" y="2180"/>
                </a:lnTo>
                <a:lnTo>
                  <a:pt x="6650" y="2176"/>
                </a:lnTo>
                <a:lnTo>
                  <a:pt x="6652" y="2176"/>
                </a:lnTo>
                <a:lnTo>
                  <a:pt x="6656" y="2178"/>
                </a:lnTo>
                <a:lnTo>
                  <a:pt x="6660" y="2180"/>
                </a:lnTo>
                <a:lnTo>
                  <a:pt x="6662" y="2180"/>
                </a:lnTo>
                <a:lnTo>
                  <a:pt x="6660" y="2178"/>
                </a:lnTo>
                <a:lnTo>
                  <a:pt x="6658" y="2174"/>
                </a:lnTo>
                <a:lnTo>
                  <a:pt x="6656" y="2174"/>
                </a:lnTo>
                <a:lnTo>
                  <a:pt x="6656" y="2172"/>
                </a:lnTo>
                <a:lnTo>
                  <a:pt x="6658" y="2168"/>
                </a:lnTo>
                <a:lnTo>
                  <a:pt x="6658" y="2164"/>
                </a:lnTo>
                <a:lnTo>
                  <a:pt x="6658" y="2162"/>
                </a:lnTo>
                <a:lnTo>
                  <a:pt x="6654" y="2162"/>
                </a:lnTo>
                <a:lnTo>
                  <a:pt x="6650" y="2160"/>
                </a:lnTo>
                <a:lnTo>
                  <a:pt x="6648" y="2156"/>
                </a:lnTo>
                <a:lnTo>
                  <a:pt x="6644" y="2156"/>
                </a:lnTo>
                <a:lnTo>
                  <a:pt x="6640" y="2158"/>
                </a:lnTo>
                <a:lnTo>
                  <a:pt x="6640" y="2160"/>
                </a:lnTo>
                <a:lnTo>
                  <a:pt x="6642" y="2162"/>
                </a:lnTo>
                <a:lnTo>
                  <a:pt x="6648" y="2164"/>
                </a:lnTo>
                <a:lnTo>
                  <a:pt x="6650" y="2166"/>
                </a:lnTo>
                <a:lnTo>
                  <a:pt x="6650" y="2168"/>
                </a:lnTo>
                <a:lnTo>
                  <a:pt x="6646" y="2166"/>
                </a:lnTo>
                <a:lnTo>
                  <a:pt x="6636" y="2164"/>
                </a:lnTo>
                <a:close/>
                <a:moveTo>
                  <a:pt x="6990" y="1916"/>
                </a:moveTo>
                <a:lnTo>
                  <a:pt x="6990" y="1916"/>
                </a:lnTo>
                <a:lnTo>
                  <a:pt x="6988" y="1916"/>
                </a:lnTo>
                <a:lnTo>
                  <a:pt x="6988" y="1918"/>
                </a:lnTo>
                <a:lnTo>
                  <a:pt x="6990" y="1920"/>
                </a:lnTo>
                <a:lnTo>
                  <a:pt x="6992" y="1924"/>
                </a:lnTo>
                <a:lnTo>
                  <a:pt x="6992" y="1926"/>
                </a:lnTo>
                <a:lnTo>
                  <a:pt x="6988" y="1928"/>
                </a:lnTo>
                <a:lnTo>
                  <a:pt x="6986" y="1930"/>
                </a:lnTo>
                <a:lnTo>
                  <a:pt x="6988" y="1932"/>
                </a:lnTo>
                <a:lnTo>
                  <a:pt x="6994" y="1936"/>
                </a:lnTo>
                <a:lnTo>
                  <a:pt x="7000" y="1938"/>
                </a:lnTo>
                <a:lnTo>
                  <a:pt x="7000" y="1942"/>
                </a:lnTo>
                <a:lnTo>
                  <a:pt x="6996" y="1946"/>
                </a:lnTo>
                <a:lnTo>
                  <a:pt x="6994" y="1948"/>
                </a:lnTo>
                <a:lnTo>
                  <a:pt x="6992" y="1950"/>
                </a:lnTo>
                <a:lnTo>
                  <a:pt x="6994" y="1952"/>
                </a:lnTo>
                <a:lnTo>
                  <a:pt x="6998" y="1952"/>
                </a:lnTo>
                <a:lnTo>
                  <a:pt x="7000" y="1950"/>
                </a:lnTo>
                <a:lnTo>
                  <a:pt x="7002" y="1946"/>
                </a:lnTo>
                <a:lnTo>
                  <a:pt x="7006" y="1938"/>
                </a:lnTo>
                <a:lnTo>
                  <a:pt x="7010" y="1934"/>
                </a:lnTo>
                <a:lnTo>
                  <a:pt x="7012" y="1934"/>
                </a:lnTo>
                <a:lnTo>
                  <a:pt x="7014" y="1934"/>
                </a:lnTo>
                <a:lnTo>
                  <a:pt x="7018" y="1934"/>
                </a:lnTo>
                <a:lnTo>
                  <a:pt x="7024" y="1932"/>
                </a:lnTo>
                <a:lnTo>
                  <a:pt x="7032" y="1928"/>
                </a:lnTo>
                <a:lnTo>
                  <a:pt x="7038" y="1922"/>
                </a:lnTo>
                <a:lnTo>
                  <a:pt x="7040" y="1920"/>
                </a:lnTo>
                <a:lnTo>
                  <a:pt x="7042" y="1920"/>
                </a:lnTo>
                <a:lnTo>
                  <a:pt x="7044" y="1920"/>
                </a:lnTo>
                <a:lnTo>
                  <a:pt x="7046" y="1920"/>
                </a:lnTo>
                <a:lnTo>
                  <a:pt x="7048" y="1920"/>
                </a:lnTo>
                <a:lnTo>
                  <a:pt x="7048" y="1918"/>
                </a:lnTo>
                <a:lnTo>
                  <a:pt x="7038" y="1914"/>
                </a:lnTo>
                <a:lnTo>
                  <a:pt x="7032" y="1910"/>
                </a:lnTo>
                <a:lnTo>
                  <a:pt x="7026" y="1910"/>
                </a:lnTo>
                <a:lnTo>
                  <a:pt x="7022" y="1910"/>
                </a:lnTo>
                <a:lnTo>
                  <a:pt x="7018" y="1910"/>
                </a:lnTo>
                <a:lnTo>
                  <a:pt x="7016" y="1908"/>
                </a:lnTo>
                <a:lnTo>
                  <a:pt x="7010" y="1908"/>
                </a:lnTo>
                <a:lnTo>
                  <a:pt x="7004" y="1912"/>
                </a:lnTo>
                <a:lnTo>
                  <a:pt x="7000" y="1918"/>
                </a:lnTo>
                <a:lnTo>
                  <a:pt x="6998" y="1920"/>
                </a:lnTo>
                <a:lnTo>
                  <a:pt x="6996" y="1918"/>
                </a:lnTo>
                <a:lnTo>
                  <a:pt x="6992" y="1916"/>
                </a:lnTo>
                <a:lnTo>
                  <a:pt x="6990" y="1916"/>
                </a:lnTo>
                <a:close/>
                <a:moveTo>
                  <a:pt x="7006" y="1892"/>
                </a:moveTo>
                <a:lnTo>
                  <a:pt x="7006" y="1892"/>
                </a:lnTo>
                <a:lnTo>
                  <a:pt x="7008" y="1892"/>
                </a:lnTo>
                <a:lnTo>
                  <a:pt x="7010" y="1894"/>
                </a:lnTo>
                <a:lnTo>
                  <a:pt x="7012" y="1898"/>
                </a:lnTo>
                <a:lnTo>
                  <a:pt x="7012" y="1902"/>
                </a:lnTo>
                <a:lnTo>
                  <a:pt x="7014" y="1904"/>
                </a:lnTo>
                <a:lnTo>
                  <a:pt x="7016" y="1904"/>
                </a:lnTo>
                <a:lnTo>
                  <a:pt x="7020" y="1904"/>
                </a:lnTo>
                <a:lnTo>
                  <a:pt x="7022" y="1902"/>
                </a:lnTo>
                <a:lnTo>
                  <a:pt x="7024" y="1898"/>
                </a:lnTo>
                <a:lnTo>
                  <a:pt x="7026" y="1898"/>
                </a:lnTo>
                <a:lnTo>
                  <a:pt x="7028" y="1898"/>
                </a:lnTo>
                <a:lnTo>
                  <a:pt x="7030" y="1898"/>
                </a:lnTo>
                <a:lnTo>
                  <a:pt x="7030" y="1896"/>
                </a:lnTo>
                <a:lnTo>
                  <a:pt x="7032" y="1896"/>
                </a:lnTo>
                <a:lnTo>
                  <a:pt x="7034" y="1896"/>
                </a:lnTo>
                <a:lnTo>
                  <a:pt x="7036" y="1894"/>
                </a:lnTo>
                <a:lnTo>
                  <a:pt x="7034" y="1892"/>
                </a:lnTo>
                <a:lnTo>
                  <a:pt x="7030" y="1888"/>
                </a:lnTo>
                <a:lnTo>
                  <a:pt x="7022" y="1880"/>
                </a:lnTo>
                <a:lnTo>
                  <a:pt x="7018" y="1880"/>
                </a:lnTo>
                <a:lnTo>
                  <a:pt x="7016" y="1882"/>
                </a:lnTo>
                <a:lnTo>
                  <a:pt x="7010" y="1886"/>
                </a:lnTo>
                <a:lnTo>
                  <a:pt x="7006" y="1886"/>
                </a:lnTo>
                <a:lnTo>
                  <a:pt x="7000" y="1886"/>
                </a:lnTo>
                <a:lnTo>
                  <a:pt x="6996" y="1888"/>
                </a:lnTo>
                <a:lnTo>
                  <a:pt x="6994" y="1890"/>
                </a:lnTo>
                <a:lnTo>
                  <a:pt x="6996" y="1890"/>
                </a:lnTo>
                <a:lnTo>
                  <a:pt x="7006" y="1892"/>
                </a:lnTo>
                <a:close/>
                <a:moveTo>
                  <a:pt x="7048" y="1914"/>
                </a:moveTo>
                <a:lnTo>
                  <a:pt x="7048" y="1914"/>
                </a:lnTo>
                <a:lnTo>
                  <a:pt x="7048" y="1910"/>
                </a:lnTo>
                <a:lnTo>
                  <a:pt x="7044" y="1906"/>
                </a:lnTo>
                <a:lnTo>
                  <a:pt x="7042" y="1904"/>
                </a:lnTo>
                <a:lnTo>
                  <a:pt x="7038" y="1906"/>
                </a:lnTo>
                <a:lnTo>
                  <a:pt x="7038" y="1910"/>
                </a:lnTo>
                <a:lnTo>
                  <a:pt x="7042" y="1914"/>
                </a:lnTo>
                <a:lnTo>
                  <a:pt x="7046" y="1914"/>
                </a:lnTo>
                <a:lnTo>
                  <a:pt x="7048" y="1914"/>
                </a:lnTo>
                <a:close/>
                <a:moveTo>
                  <a:pt x="7050" y="1884"/>
                </a:moveTo>
                <a:lnTo>
                  <a:pt x="7050" y="1884"/>
                </a:lnTo>
                <a:lnTo>
                  <a:pt x="7048" y="1884"/>
                </a:lnTo>
                <a:lnTo>
                  <a:pt x="7044" y="1882"/>
                </a:lnTo>
                <a:lnTo>
                  <a:pt x="7040" y="1882"/>
                </a:lnTo>
                <a:lnTo>
                  <a:pt x="7042" y="1886"/>
                </a:lnTo>
                <a:lnTo>
                  <a:pt x="7044" y="1886"/>
                </a:lnTo>
                <a:lnTo>
                  <a:pt x="7048" y="1886"/>
                </a:lnTo>
                <a:lnTo>
                  <a:pt x="7050" y="1884"/>
                </a:lnTo>
                <a:close/>
                <a:moveTo>
                  <a:pt x="6872" y="1954"/>
                </a:moveTo>
                <a:lnTo>
                  <a:pt x="6872" y="1954"/>
                </a:lnTo>
                <a:lnTo>
                  <a:pt x="6864" y="1958"/>
                </a:lnTo>
                <a:lnTo>
                  <a:pt x="6860" y="1956"/>
                </a:lnTo>
                <a:lnTo>
                  <a:pt x="6858" y="1956"/>
                </a:lnTo>
                <a:lnTo>
                  <a:pt x="6850" y="1962"/>
                </a:lnTo>
                <a:lnTo>
                  <a:pt x="6840" y="1974"/>
                </a:lnTo>
                <a:lnTo>
                  <a:pt x="6836" y="1984"/>
                </a:lnTo>
                <a:lnTo>
                  <a:pt x="6836" y="1992"/>
                </a:lnTo>
                <a:lnTo>
                  <a:pt x="6838" y="2000"/>
                </a:lnTo>
                <a:lnTo>
                  <a:pt x="6840" y="2004"/>
                </a:lnTo>
                <a:lnTo>
                  <a:pt x="6840" y="2006"/>
                </a:lnTo>
                <a:lnTo>
                  <a:pt x="6838" y="2014"/>
                </a:lnTo>
                <a:lnTo>
                  <a:pt x="6838" y="2018"/>
                </a:lnTo>
                <a:lnTo>
                  <a:pt x="6840" y="2018"/>
                </a:lnTo>
                <a:lnTo>
                  <a:pt x="6842" y="2016"/>
                </a:lnTo>
                <a:lnTo>
                  <a:pt x="6846" y="2014"/>
                </a:lnTo>
                <a:lnTo>
                  <a:pt x="6850" y="2008"/>
                </a:lnTo>
                <a:lnTo>
                  <a:pt x="6856" y="2000"/>
                </a:lnTo>
                <a:lnTo>
                  <a:pt x="6864" y="1992"/>
                </a:lnTo>
                <a:lnTo>
                  <a:pt x="6866" y="1986"/>
                </a:lnTo>
                <a:lnTo>
                  <a:pt x="6868" y="1984"/>
                </a:lnTo>
                <a:lnTo>
                  <a:pt x="6866" y="1978"/>
                </a:lnTo>
                <a:lnTo>
                  <a:pt x="6864" y="1976"/>
                </a:lnTo>
                <a:lnTo>
                  <a:pt x="6864" y="1972"/>
                </a:lnTo>
                <a:lnTo>
                  <a:pt x="6866" y="1968"/>
                </a:lnTo>
                <a:lnTo>
                  <a:pt x="6870" y="1964"/>
                </a:lnTo>
                <a:lnTo>
                  <a:pt x="6878" y="1954"/>
                </a:lnTo>
                <a:lnTo>
                  <a:pt x="6882" y="1950"/>
                </a:lnTo>
                <a:lnTo>
                  <a:pt x="6882" y="1948"/>
                </a:lnTo>
                <a:lnTo>
                  <a:pt x="6880" y="1948"/>
                </a:lnTo>
                <a:lnTo>
                  <a:pt x="6872" y="1954"/>
                </a:lnTo>
                <a:close/>
                <a:moveTo>
                  <a:pt x="6794" y="1990"/>
                </a:moveTo>
                <a:lnTo>
                  <a:pt x="6794" y="1990"/>
                </a:lnTo>
                <a:lnTo>
                  <a:pt x="6790" y="1990"/>
                </a:lnTo>
                <a:lnTo>
                  <a:pt x="6788" y="1992"/>
                </a:lnTo>
                <a:lnTo>
                  <a:pt x="6786" y="2000"/>
                </a:lnTo>
                <a:lnTo>
                  <a:pt x="6784" y="2010"/>
                </a:lnTo>
                <a:lnTo>
                  <a:pt x="6780" y="2018"/>
                </a:lnTo>
                <a:lnTo>
                  <a:pt x="6774" y="2026"/>
                </a:lnTo>
                <a:lnTo>
                  <a:pt x="6770" y="2038"/>
                </a:lnTo>
                <a:lnTo>
                  <a:pt x="6768" y="2052"/>
                </a:lnTo>
                <a:lnTo>
                  <a:pt x="6768" y="2056"/>
                </a:lnTo>
                <a:lnTo>
                  <a:pt x="6770" y="2060"/>
                </a:lnTo>
                <a:lnTo>
                  <a:pt x="6776" y="2050"/>
                </a:lnTo>
                <a:lnTo>
                  <a:pt x="6786" y="2026"/>
                </a:lnTo>
                <a:lnTo>
                  <a:pt x="6792" y="2002"/>
                </a:lnTo>
                <a:lnTo>
                  <a:pt x="6794" y="1992"/>
                </a:lnTo>
                <a:lnTo>
                  <a:pt x="6794" y="1990"/>
                </a:lnTo>
                <a:close/>
                <a:moveTo>
                  <a:pt x="6856" y="1798"/>
                </a:moveTo>
                <a:lnTo>
                  <a:pt x="6856" y="1798"/>
                </a:lnTo>
                <a:lnTo>
                  <a:pt x="6856" y="1796"/>
                </a:lnTo>
                <a:lnTo>
                  <a:pt x="6854" y="1790"/>
                </a:lnTo>
                <a:lnTo>
                  <a:pt x="6852" y="1786"/>
                </a:lnTo>
                <a:lnTo>
                  <a:pt x="6848" y="1786"/>
                </a:lnTo>
                <a:lnTo>
                  <a:pt x="6848" y="1788"/>
                </a:lnTo>
                <a:lnTo>
                  <a:pt x="6848" y="1792"/>
                </a:lnTo>
                <a:lnTo>
                  <a:pt x="6852" y="1796"/>
                </a:lnTo>
                <a:lnTo>
                  <a:pt x="6856" y="1798"/>
                </a:lnTo>
                <a:close/>
                <a:moveTo>
                  <a:pt x="7008" y="1802"/>
                </a:moveTo>
                <a:lnTo>
                  <a:pt x="7008" y="1802"/>
                </a:lnTo>
                <a:lnTo>
                  <a:pt x="7006" y="1800"/>
                </a:lnTo>
                <a:lnTo>
                  <a:pt x="7002" y="1798"/>
                </a:lnTo>
                <a:lnTo>
                  <a:pt x="6998" y="1798"/>
                </a:lnTo>
                <a:lnTo>
                  <a:pt x="6996" y="1800"/>
                </a:lnTo>
                <a:lnTo>
                  <a:pt x="6998" y="1802"/>
                </a:lnTo>
                <a:lnTo>
                  <a:pt x="7002" y="1804"/>
                </a:lnTo>
                <a:lnTo>
                  <a:pt x="7006" y="1804"/>
                </a:lnTo>
                <a:lnTo>
                  <a:pt x="7008" y="1802"/>
                </a:lnTo>
                <a:close/>
                <a:moveTo>
                  <a:pt x="6986" y="1790"/>
                </a:moveTo>
                <a:lnTo>
                  <a:pt x="6986" y="1790"/>
                </a:lnTo>
                <a:lnTo>
                  <a:pt x="6984" y="1792"/>
                </a:lnTo>
                <a:lnTo>
                  <a:pt x="6984" y="1796"/>
                </a:lnTo>
                <a:lnTo>
                  <a:pt x="6986" y="1798"/>
                </a:lnTo>
                <a:lnTo>
                  <a:pt x="6990" y="1800"/>
                </a:lnTo>
                <a:lnTo>
                  <a:pt x="6992" y="1798"/>
                </a:lnTo>
                <a:lnTo>
                  <a:pt x="6992" y="1796"/>
                </a:lnTo>
                <a:lnTo>
                  <a:pt x="6990" y="1792"/>
                </a:lnTo>
                <a:lnTo>
                  <a:pt x="6986" y="1790"/>
                </a:lnTo>
                <a:close/>
                <a:moveTo>
                  <a:pt x="6980" y="1810"/>
                </a:moveTo>
                <a:lnTo>
                  <a:pt x="6980" y="1810"/>
                </a:lnTo>
                <a:lnTo>
                  <a:pt x="6978" y="1808"/>
                </a:lnTo>
                <a:lnTo>
                  <a:pt x="6976" y="1808"/>
                </a:lnTo>
                <a:lnTo>
                  <a:pt x="6974" y="1812"/>
                </a:lnTo>
                <a:lnTo>
                  <a:pt x="6976" y="1814"/>
                </a:lnTo>
                <a:lnTo>
                  <a:pt x="6978" y="1814"/>
                </a:lnTo>
                <a:lnTo>
                  <a:pt x="6980" y="1812"/>
                </a:lnTo>
                <a:lnTo>
                  <a:pt x="6980" y="1810"/>
                </a:lnTo>
                <a:close/>
                <a:moveTo>
                  <a:pt x="6992" y="1810"/>
                </a:moveTo>
                <a:lnTo>
                  <a:pt x="6992" y="1810"/>
                </a:lnTo>
                <a:lnTo>
                  <a:pt x="6992" y="1812"/>
                </a:lnTo>
                <a:lnTo>
                  <a:pt x="6994" y="1810"/>
                </a:lnTo>
                <a:lnTo>
                  <a:pt x="6996" y="1810"/>
                </a:lnTo>
                <a:lnTo>
                  <a:pt x="6996" y="1808"/>
                </a:lnTo>
                <a:lnTo>
                  <a:pt x="6994" y="1808"/>
                </a:lnTo>
                <a:lnTo>
                  <a:pt x="6992" y="1808"/>
                </a:lnTo>
                <a:lnTo>
                  <a:pt x="6992" y="1810"/>
                </a:lnTo>
                <a:close/>
                <a:moveTo>
                  <a:pt x="6982" y="1810"/>
                </a:moveTo>
                <a:lnTo>
                  <a:pt x="6982" y="1810"/>
                </a:lnTo>
                <a:lnTo>
                  <a:pt x="6984" y="1810"/>
                </a:lnTo>
                <a:lnTo>
                  <a:pt x="6986" y="1810"/>
                </a:lnTo>
                <a:lnTo>
                  <a:pt x="6988" y="1810"/>
                </a:lnTo>
                <a:lnTo>
                  <a:pt x="6988" y="1808"/>
                </a:lnTo>
                <a:lnTo>
                  <a:pt x="6986" y="1806"/>
                </a:lnTo>
                <a:lnTo>
                  <a:pt x="6984" y="1806"/>
                </a:lnTo>
                <a:lnTo>
                  <a:pt x="6982" y="1810"/>
                </a:lnTo>
                <a:close/>
                <a:moveTo>
                  <a:pt x="6916" y="1814"/>
                </a:moveTo>
                <a:lnTo>
                  <a:pt x="6916" y="1814"/>
                </a:lnTo>
                <a:lnTo>
                  <a:pt x="6916" y="1816"/>
                </a:lnTo>
                <a:lnTo>
                  <a:pt x="6918" y="1820"/>
                </a:lnTo>
                <a:lnTo>
                  <a:pt x="6920" y="1820"/>
                </a:lnTo>
                <a:lnTo>
                  <a:pt x="6922" y="1820"/>
                </a:lnTo>
                <a:lnTo>
                  <a:pt x="6922" y="1818"/>
                </a:lnTo>
                <a:lnTo>
                  <a:pt x="6920" y="1816"/>
                </a:lnTo>
                <a:lnTo>
                  <a:pt x="6918" y="1814"/>
                </a:lnTo>
                <a:lnTo>
                  <a:pt x="6916" y="1814"/>
                </a:lnTo>
                <a:close/>
                <a:moveTo>
                  <a:pt x="6902" y="1802"/>
                </a:moveTo>
                <a:lnTo>
                  <a:pt x="6902" y="1802"/>
                </a:lnTo>
                <a:lnTo>
                  <a:pt x="6898" y="1804"/>
                </a:lnTo>
                <a:lnTo>
                  <a:pt x="6894" y="1806"/>
                </a:lnTo>
                <a:lnTo>
                  <a:pt x="6894" y="1808"/>
                </a:lnTo>
                <a:lnTo>
                  <a:pt x="6894" y="1812"/>
                </a:lnTo>
                <a:lnTo>
                  <a:pt x="6896" y="1810"/>
                </a:lnTo>
                <a:lnTo>
                  <a:pt x="6898" y="1810"/>
                </a:lnTo>
                <a:lnTo>
                  <a:pt x="6902" y="1812"/>
                </a:lnTo>
                <a:lnTo>
                  <a:pt x="6904" y="1814"/>
                </a:lnTo>
                <a:lnTo>
                  <a:pt x="6906" y="1816"/>
                </a:lnTo>
                <a:lnTo>
                  <a:pt x="6910" y="1816"/>
                </a:lnTo>
                <a:lnTo>
                  <a:pt x="6914" y="1814"/>
                </a:lnTo>
                <a:lnTo>
                  <a:pt x="6914" y="1812"/>
                </a:lnTo>
                <a:lnTo>
                  <a:pt x="6914" y="1810"/>
                </a:lnTo>
                <a:lnTo>
                  <a:pt x="6914" y="1808"/>
                </a:lnTo>
                <a:lnTo>
                  <a:pt x="6914" y="1806"/>
                </a:lnTo>
                <a:lnTo>
                  <a:pt x="6916" y="1806"/>
                </a:lnTo>
                <a:lnTo>
                  <a:pt x="6918" y="1808"/>
                </a:lnTo>
                <a:lnTo>
                  <a:pt x="6920" y="1808"/>
                </a:lnTo>
                <a:lnTo>
                  <a:pt x="6924" y="1804"/>
                </a:lnTo>
                <a:lnTo>
                  <a:pt x="6926" y="1802"/>
                </a:lnTo>
                <a:lnTo>
                  <a:pt x="6924" y="1800"/>
                </a:lnTo>
                <a:lnTo>
                  <a:pt x="6910" y="1794"/>
                </a:lnTo>
                <a:lnTo>
                  <a:pt x="6904" y="1794"/>
                </a:lnTo>
                <a:lnTo>
                  <a:pt x="6906" y="1796"/>
                </a:lnTo>
                <a:lnTo>
                  <a:pt x="6908" y="1800"/>
                </a:lnTo>
                <a:lnTo>
                  <a:pt x="6908" y="1802"/>
                </a:lnTo>
                <a:lnTo>
                  <a:pt x="6908" y="1804"/>
                </a:lnTo>
                <a:lnTo>
                  <a:pt x="6906" y="1806"/>
                </a:lnTo>
                <a:lnTo>
                  <a:pt x="6904" y="1804"/>
                </a:lnTo>
                <a:lnTo>
                  <a:pt x="6904" y="1802"/>
                </a:lnTo>
                <a:lnTo>
                  <a:pt x="6902" y="1802"/>
                </a:lnTo>
                <a:close/>
                <a:moveTo>
                  <a:pt x="7118" y="1484"/>
                </a:moveTo>
                <a:lnTo>
                  <a:pt x="7118" y="1484"/>
                </a:lnTo>
                <a:lnTo>
                  <a:pt x="7120" y="1484"/>
                </a:lnTo>
                <a:lnTo>
                  <a:pt x="7118" y="1482"/>
                </a:lnTo>
                <a:lnTo>
                  <a:pt x="7108" y="1480"/>
                </a:lnTo>
                <a:lnTo>
                  <a:pt x="7104" y="1480"/>
                </a:lnTo>
                <a:lnTo>
                  <a:pt x="7102" y="1480"/>
                </a:lnTo>
                <a:lnTo>
                  <a:pt x="7100" y="1484"/>
                </a:lnTo>
                <a:lnTo>
                  <a:pt x="7100" y="1488"/>
                </a:lnTo>
                <a:lnTo>
                  <a:pt x="7104" y="1490"/>
                </a:lnTo>
                <a:lnTo>
                  <a:pt x="7108" y="1488"/>
                </a:lnTo>
                <a:lnTo>
                  <a:pt x="7110" y="1488"/>
                </a:lnTo>
                <a:lnTo>
                  <a:pt x="7114" y="1486"/>
                </a:lnTo>
                <a:lnTo>
                  <a:pt x="7118" y="1484"/>
                </a:lnTo>
                <a:close/>
                <a:moveTo>
                  <a:pt x="6972" y="1606"/>
                </a:moveTo>
                <a:lnTo>
                  <a:pt x="6972" y="1606"/>
                </a:lnTo>
                <a:lnTo>
                  <a:pt x="6972" y="1604"/>
                </a:lnTo>
                <a:lnTo>
                  <a:pt x="6970" y="1604"/>
                </a:lnTo>
                <a:lnTo>
                  <a:pt x="6964" y="1604"/>
                </a:lnTo>
                <a:lnTo>
                  <a:pt x="6962" y="1604"/>
                </a:lnTo>
                <a:lnTo>
                  <a:pt x="6960" y="1606"/>
                </a:lnTo>
                <a:lnTo>
                  <a:pt x="6960" y="1608"/>
                </a:lnTo>
                <a:lnTo>
                  <a:pt x="6964" y="1610"/>
                </a:lnTo>
                <a:lnTo>
                  <a:pt x="6966" y="1612"/>
                </a:lnTo>
                <a:lnTo>
                  <a:pt x="6968" y="1612"/>
                </a:lnTo>
                <a:lnTo>
                  <a:pt x="6972" y="1606"/>
                </a:lnTo>
                <a:close/>
                <a:moveTo>
                  <a:pt x="6758" y="1246"/>
                </a:moveTo>
                <a:lnTo>
                  <a:pt x="6758" y="1246"/>
                </a:lnTo>
                <a:lnTo>
                  <a:pt x="6758" y="1248"/>
                </a:lnTo>
                <a:lnTo>
                  <a:pt x="6762" y="1248"/>
                </a:lnTo>
                <a:lnTo>
                  <a:pt x="6766" y="1246"/>
                </a:lnTo>
                <a:lnTo>
                  <a:pt x="6770" y="1244"/>
                </a:lnTo>
                <a:lnTo>
                  <a:pt x="6768" y="1242"/>
                </a:lnTo>
                <a:lnTo>
                  <a:pt x="6766" y="1240"/>
                </a:lnTo>
                <a:lnTo>
                  <a:pt x="6760" y="1242"/>
                </a:lnTo>
                <a:lnTo>
                  <a:pt x="6758" y="1246"/>
                </a:lnTo>
                <a:close/>
                <a:moveTo>
                  <a:pt x="6586" y="426"/>
                </a:moveTo>
                <a:lnTo>
                  <a:pt x="6586" y="426"/>
                </a:lnTo>
                <a:lnTo>
                  <a:pt x="6586" y="432"/>
                </a:lnTo>
                <a:lnTo>
                  <a:pt x="6588" y="438"/>
                </a:lnTo>
                <a:lnTo>
                  <a:pt x="6590" y="440"/>
                </a:lnTo>
                <a:lnTo>
                  <a:pt x="6594" y="444"/>
                </a:lnTo>
                <a:lnTo>
                  <a:pt x="6596" y="444"/>
                </a:lnTo>
                <a:lnTo>
                  <a:pt x="6596" y="446"/>
                </a:lnTo>
                <a:lnTo>
                  <a:pt x="6584" y="446"/>
                </a:lnTo>
                <a:lnTo>
                  <a:pt x="6570" y="448"/>
                </a:lnTo>
                <a:lnTo>
                  <a:pt x="6568" y="450"/>
                </a:lnTo>
                <a:lnTo>
                  <a:pt x="6570" y="452"/>
                </a:lnTo>
                <a:lnTo>
                  <a:pt x="6582" y="464"/>
                </a:lnTo>
                <a:lnTo>
                  <a:pt x="6608" y="488"/>
                </a:lnTo>
                <a:lnTo>
                  <a:pt x="6622" y="502"/>
                </a:lnTo>
                <a:lnTo>
                  <a:pt x="6634" y="508"/>
                </a:lnTo>
                <a:lnTo>
                  <a:pt x="6644" y="512"/>
                </a:lnTo>
                <a:lnTo>
                  <a:pt x="6654" y="510"/>
                </a:lnTo>
                <a:lnTo>
                  <a:pt x="6664" y="506"/>
                </a:lnTo>
                <a:lnTo>
                  <a:pt x="6676" y="498"/>
                </a:lnTo>
                <a:lnTo>
                  <a:pt x="6702" y="480"/>
                </a:lnTo>
                <a:lnTo>
                  <a:pt x="6722" y="470"/>
                </a:lnTo>
                <a:lnTo>
                  <a:pt x="6724" y="470"/>
                </a:lnTo>
                <a:lnTo>
                  <a:pt x="6726" y="472"/>
                </a:lnTo>
                <a:lnTo>
                  <a:pt x="6728" y="474"/>
                </a:lnTo>
                <a:lnTo>
                  <a:pt x="6732" y="478"/>
                </a:lnTo>
                <a:lnTo>
                  <a:pt x="6740" y="482"/>
                </a:lnTo>
                <a:lnTo>
                  <a:pt x="6756" y="484"/>
                </a:lnTo>
                <a:lnTo>
                  <a:pt x="6772" y="484"/>
                </a:lnTo>
                <a:lnTo>
                  <a:pt x="6780" y="486"/>
                </a:lnTo>
                <a:lnTo>
                  <a:pt x="6780" y="488"/>
                </a:lnTo>
                <a:lnTo>
                  <a:pt x="6778" y="490"/>
                </a:lnTo>
                <a:lnTo>
                  <a:pt x="6772" y="494"/>
                </a:lnTo>
                <a:lnTo>
                  <a:pt x="6742" y="504"/>
                </a:lnTo>
                <a:lnTo>
                  <a:pt x="6698" y="516"/>
                </a:lnTo>
                <a:lnTo>
                  <a:pt x="6678" y="522"/>
                </a:lnTo>
                <a:lnTo>
                  <a:pt x="6664" y="528"/>
                </a:lnTo>
                <a:lnTo>
                  <a:pt x="6656" y="534"/>
                </a:lnTo>
                <a:lnTo>
                  <a:pt x="6654" y="536"/>
                </a:lnTo>
                <a:lnTo>
                  <a:pt x="6656" y="538"/>
                </a:lnTo>
                <a:lnTo>
                  <a:pt x="6660" y="540"/>
                </a:lnTo>
                <a:lnTo>
                  <a:pt x="6674" y="542"/>
                </a:lnTo>
                <a:lnTo>
                  <a:pt x="6692" y="540"/>
                </a:lnTo>
                <a:lnTo>
                  <a:pt x="6718" y="538"/>
                </a:lnTo>
                <a:lnTo>
                  <a:pt x="6742" y="536"/>
                </a:lnTo>
                <a:lnTo>
                  <a:pt x="6756" y="538"/>
                </a:lnTo>
                <a:lnTo>
                  <a:pt x="6758" y="538"/>
                </a:lnTo>
                <a:lnTo>
                  <a:pt x="6760" y="540"/>
                </a:lnTo>
                <a:lnTo>
                  <a:pt x="6756" y="544"/>
                </a:lnTo>
                <a:lnTo>
                  <a:pt x="6748" y="550"/>
                </a:lnTo>
                <a:lnTo>
                  <a:pt x="6734" y="554"/>
                </a:lnTo>
                <a:lnTo>
                  <a:pt x="6720" y="558"/>
                </a:lnTo>
                <a:lnTo>
                  <a:pt x="6704" y="562"/>
                </a:lnTo>
                <a:lnTo>
                  <a:pt x="6678" y="568"/>
                </a:lnTo>
                <a:lnTo>
                  <a:pt x="6672" y="570"/>
                </a:lnTo>
                <a:lnTo>
                  <a:pt x="6668" y="574"/>
                </a:lnTo>
                <a:lnTo>
                  <a:pt x="6670" y="576"/>
                </a:lnTo>
                <a:lnTo>
                  <a:pt x="6676" y="580"/>
                </a:lnTo>
                <a:lnTo>
                  <a:pt x="6698" y="592"/>
                </a:lnTo>
                <a:lnTo>
                  <a:pt x="6712" y="596"/>
                </a:lnTo>
                <a:lnTo>
                  <a:pt x="6720" y="602"/>
                </a:lnTo>
                <a:lnTo>
                  <a:pt x="6732" y="614"/>
                </a:lnTo>
                <a:lnTo>
                  <a:pt x="6738" y="620"/>
                </a:lnTo>
                <a:lnTo>
                  <a:pt x="6744" y="624"/>
                </a:lnTo>
                <a:lnTo>
                  <a:pt x="6756" y="630"/>
                </a:lnTo>
                <a:lnTo>
                  <a:pt x="6774" y="636"/>
                </a:lnTo>
                <a:lnTo>
                  <a:pt x="6782" y="636"/>
                </a:lnTo>
                <a:lnTo>
                  <a:pt x="6790" y="636"/>
                </a:lnTo>
                <a:lnTo>
                  <a:pt x="6794" y="636"/>
                </a:lnTo>
                <a:lnTo>
                  <a:pt x="6798" y="632"/>
                </a:lnTo>
                <a:lnTo>
                  <a:pt x="6800" y="628"/>
                </a:lnTo>
                <a:lnTo>
                  <a:pt x="6802" y="624"/>
                </a:lnTo>
                <a:lnTo>
                  <a:pt x="6804" y="612"/>
                </a:lnTo>
                <a:lnTo>
                  <a:pt x="6804" y="598"/>
                </a:lnTo>
                <a:lnTo>
                  <a:pt x="6808" y="586"/>
                </a:lnTo>
                <a:lnTo>
                  <a:pt x="6812" y="580"/>
                </a:lnTo>
                <a:lnTo>
                  <a:pt x="6816" y="574"/>
                </a:lnTo>
                <a:lnTo>
                  <a:pt x="6822" y="570"/>
                </a:lnTo>
                <a:lnTo>
                  <a:pt x="6830" y="566"/>
                </a:lnTo>
                <a:lnTo>
                  <a:pt x="6844" y="560"/>
                </a:lnTo>
                <a:lnTo>
                  <a:pt x="6850" y="554"/>
                </a:lnTo>
                <a:lnTo>
                  <a:pt x="6850" y="548"/>
                </a:lnTo>
                <a:lnTo>
                  <a:pt x="6848" y="542"/>
                </a:lnTo>
                <a:lnTo>
                  <a:pt x="6846" y="536"/>
                </a:lnTo>
                <a:lnTo>
                  <a:pt x="6846" y="530"/>
                </a:lnTo>
                <a:lnTo>
                  <a:pt x="6848" y="528"/>
                </a:lnTo>
                <a:lnTo>
                  <a:pt x="6850" y="526"/>
                </a:lnTo>
                <a:lnTo>
                  <a:pt x="6860" y="522"/>
                </a:lnTo>
                <a:lnTo>
                  <a:pt x="6866" y="520"/>
                </a:lnTo>
                <a:lnTo>
                  <a:pt x="6872" y="516"/>
                </a:lnTo>
                <a:lnTo>
                  <a:pt x="6874" y="514"/>
                </a:lnTo>
                <a:lnTo>
                  <a:pt x="6876" y="510"/>
                </a:lnTo>
                <a:lnTo>
                  <a:pt x="6878" y="502"/>
                </a:lnTo>
                <a:lnTo>
                  <a:pt x="6878" y="494"/>
                </a:lnTo>
                <a:lnTo>
                  <a:pt x="6880" y="488"/>
                </a:lnTo>
                <a:lnTo>
                  <a:pt x="6882" y="484"/>
                </a:lnTo>
                <a:lnTo>
                  <a:pt x="6886" y="482"/>
                </a:lnTo>
                <a:lnTo>
                  <a:pt x="6890" y="478"/>
                </a:lnTo>
                <a:lnTo>
                  <a:pt x="6898" y="476"/>
                </a:lnTo>
                <a:lnTo>
                  <a:pt x="6918" y="474"/>
                </a:lnTo>
                <a:lnTo>
                  <a:pt x="6956" y="468"/>
                </a:lnTo>
                <a:lnTo>
                  <a:pt x="6968" y="466"/>
                </a:lnTo>
                <a:lnTo>
                  <a:pt x="6974" y="464"/>
                </a:lnTo>
                <a:lnTo>
                  <a:pt x="6974" y="462"/>
                </a:lnTo>
                <a:lnTo>
                  <a:pt x="6974" y="460"/>
                </a:lnTo>
                <a:lnTo>
                  <a:pt x="6970" y="456"/>
                </a:lnTo>
                <a:lnTo>
                  <a:pt x="6958" y="452"/>
                </a:lnTo>
                <a:lnTo>
                  <a:pt x="6944" y="448"/>
                </a:lnTo>
                <a:lnTo>
                  <a:pt x="6928" y="444"/>
                </a:lnTo>
                <a:lnTo>
                  <a:pt x="6920" y="440"/>
                </a:lnTo>
                <a:lnTo>
                  <a:pt x="6910" y="434"/>
                </a:lnTo>
                <a:lnTo>
                  <a:pt x="6908" y="432"/>
                </a:lnTo>
                <a:lnTo>
                  <a:pt x="6904" y="432"/>
                </a:lnTo>
                <a:lnTo>
                  <a:pt x="6886" y="430"/>
                </a:lnTo>
                <a:lnTo>
                  <a:pt x="6876" y="430"/>
                </a:lnTo>
                <a:lnTo>
                  <a:pt x="6870" y="428"/>
                </a:lnTo>
                <a:lnTo>
                  <a:pt x="6868" y="424"/>
                </a:lnTo>
                <a:lnTo>
                  <a:pt x="6868" y="418"/>
                </a:lnTo>
                <a:lnTo>
                  <a:pt x="6868" y="414"/>
                </a:lnTo>
                <a:lnTo>
                  <a:pt x="6866" y="406"/>
                </a:lnTo>
                <a:lnTo>
                  <a:pt x="6862" y="400"/>
                </a:lnTo>
                <a:lnTo>
                  <a:pt x="6856" y="394"/>
                </a:lnTo>
                <a:lnTo>
                  <a:pt x="6846" y="392"/>
                </a:lnTo>
                <a:lnTo>
                  <a:pt x="6840" y="394"/>
                </a:lnTo>
                <a:lnTo>
                  <a:pt x="6836" y="398"/>
                </a:lnTo>
                <a:lnTo>
                  <a:pt x="6832" y="404"/>
                </a:lnTo>
                <a:lnTo>
                  <a:pt x="6830" y="414"/>
                </a:lnTo>
                <a:lnTo>
                  <a:pt x="6828" y="414"/>
                </a:lnTo>
                <a:lnTo>
                  <a:pt x="6826" y="410"/>
                </a:lnTo>
                <a:lnTo>
                  <a:pt x="6824" y="402"/>
                </a:lnTo>
                <a:lnTo>
                  <a:pt x="6824" y="396"/>
                </a:lnTo>
                <a:lnTo>
                  <a:pt x="6826" y="390"/>
                </a:lnTo>
                <a:lnTo>
                  <a:pt x="6830" y="388"/>
                </a:lnTo>
                <a:lnTo>
                  <a:pt x="6834" y="382"/>
                </a:lnTo>
                <a:lnTo>
                  <a:pt x="6836" y="382"/>
                </a:lnTo>
                <a:lnTo>
                  <a:pt x="6836" y="380"/>
                </a:lnTo>
                <a:lnTo>
                  <a:pt x="6816" y="370"/>
                </a:lnTo>
                <a:lnTo>
                  <a:pt x="6808" y="368"/>
                </a:lnTo>
                <a:lnTo>
                  <a:pt x="6792" y="368"/>
                </a:lnTo>
                <a:lnTo>
                  <a:pt x="6784" y="368"/>
                </a:lnTo>
                <a:lnTo>
                  <a:pt x="6778" y="366"/>
                </a:lnTo>
                <a:lnTo>
                  <a:pt x="6768" y="360"/>
                </a:lnTo>
                <a:lnTo>
                  <a:pt x="6766" y="358"/>
                </a:lnTo>
                <a:lnTo>
                  <a:pt x="6760" y="356"/>
                </a:lnTo>
                <a:lnTo>
                  <a:pt x="6754" y="358"/>
                </a:lnTo>
                <a:lnTo>
                  <a:pt x="6746" y="362"/>
                </a:lnTo>
                <a:lnTo>
                  <a:pt x="6742" y="366"/>
                </a:lnTo>
                <a:lnTo>
                  <a:pt x="6740" y="370"/>
                </a:lnTo>
                <a:lnTo>
                  <a:pt x="6740" y="376"/>
                </a:lnTo>
                <a:lnTo>
                  <a:pt x="6740" y="382"/>
                </a:lnTo>
                <a:lnTo>
                  <a:pt x="6746" y="396"/>
                </a:lnTo>
                <a:lnTo>
                  <a:pt x="6752" y="412"/>
                </a:lnTo>
                <a:lnTo>
                  <a:pt x="6768" y="438"/>
                </a:lnTo>
                <a:lnTo>
                  <a:pt x="6770" y="446"/>
                </a:lnTo>
                <a:lnTo>
                  <a:pt x="6770" y="448"/>
                </a:lnTo>
                <a:lnTo>
                  <a:pt x="6768" y="450"/>
                </a:lnTo>
                <a:lnTo>
                  <a:pt x="6764" y="450"/>
                </a:lnTo>
                <a:lnTo>
                  <a:pt x="6760" y="446"/>
                </a:lnTo>
                <a:lnTo>
                  <a:pt x="6752" y="438"/>
                </a:lnTo>
                <a:lnTo>
                  <a:pt x="6732" y="412"/>
                </a:lnTo>
                <a:lnTo>
                  <a:pt x="6720" y="400"/>
                </a:lnTo>
                <a:lnTo>
                  <a:pt x="6710" y="388"/>
                </a:lnTo>
                <a:lnTo>
                  <a:pt x="6704" y="386"/>
                </a:lnTo>
                <a:lnTo>
                  <a:pt x="6698" y="382"/>
                </a:lnTo>
                <a:lnTo>
                  <a:pt x="6694" y="382"/>
                </a:lnTo>
                <a:lnTo>
                  <a:pt x="6688" y="382"/>
                </a:lnTo>
                <a:lnTo>
                  <a:pt x="6684" y="384"/>
                </a:lnTo>
                <a:lnTo>
                  <a:pt x="6680" y="388"/>
                </a:lnTo>
                <a:lnTo>
                  <a:pt x="6674" y="396"/>
                </a:lnTo>
                <a:lnTo>
                  <a:pt x="6672" y="406"/>
                </a:lnTo>
                <a:lnTo>
                  <a:pt x="6670" y="414"/>
                </a:lnTo>
                <a:lnTo>
                  <a:pt x="6670" y="424"/>
                </a:lnTo>
                <a:lnTo>
                  <a:pt x="6668" y="424"/>
                </a:lnTo>
                <a:lnTo>
                  <a:pt x="6666" y="416"/>
                </a:lnTo>
                <a:lnTo>
                  <a:pt x="6660" y="408"/>
                </a:lnTo>
                <a:lnTo>
                  <a:pt x="6652" y="402"/>
                </a:lnTo>
                <a:lnTo>
                  <a:pt x="6644" y="398"/>
                </a:lnTo>
                <a:lnTo>
                  <a:pt x="6638" y="396"/>
                </a:lnTo>
                <a:lnTo>
                  <a:pt x="6634" y="394"/>
                </a:lnTo>
                <a:lnTo>
                  <a:pt x="6634" y="392"/>
                </a:lnTo>
                <a:lnTo>
                  <a:pt x="6646" y="390"/>
                </a:lnTo>
                <a:lnTo>
                  <a:pt x="6656" y="386"/>
                </a:lnTo>
                <a:lnTo>
                  <a:pt x="6664" y="384"/>
                </a:lnTo>
                <a:lnTo>
                  <a:pt x="6668" y="380"/>
                </a:lnTo>
                <a:lnTo>
                  <a:pt x="6668" y="376"/>
                </a:lnTo>
                <a:lnTo>
                  <a:pt x="6668" y="374"/>
                </a:lnTo>
                <a:lnTo>
                  <a:pt x="6662" y="374"/>
                </a:lnTo>
                <a:lnTo>
                  <a:pt x="6654" y="374"/>
                </a:lnTo>
                <a:lnTo>
                  <a:pt x="6642" y="376"/>
                </a:lnTo>
                <a:lnTo>
                  <a:pt x="6630" y="380"/>
                </a:lnTo>
                <a:lnTo>
                  <a:pt x="6622" y="380"/>
                </a:lnTo>
                <a:lnTo>
                  <a:pt x="6618" y="378"/>
                </a:lnTo>
                <a:lnTo>
                  <a:pt x="6614" y="376"/>
                </a:lnTo>
                <a:lnTo>
                  <a:pt x="6612" y="374"/>
                </a:lnTo>
                <a:lnTo>
                  <a:pt x="6610" y="374"/>
                </a:lnTo>
                <a:lnTo>
                  <a:pt x="6606" y="374"/>
                </a:lnTo>
                <a:lnTo>
                  <a:pt x="6600" y="378"/>
                </a:lnTo>
                <a:lnTo>
                  <a:pt x="6594" y="382"/>
                </a:lnTo>
                <a:lnTo>
                  <a:pt x="6590" y="382"/>
                </a:lnTo>
                <a:lnTo>
                  <a:pt x="6586" y="380"/>
                </a:lnTo>
                <a:lnTo>
                  <a:pt x="6584" y="378"/>
                </a:lnTo>
                <a:lnTo>
                  <a:pt x="6580" y="376"/>
                </a:lnTo>
                <a:lnTo>
                  <a:pt x="6576" y="374"/>
                </a:lnTo>
                <a:lnTo>
                  <a:pt x="6568" y="376"/>
                </a:lnTo>
                <a:lnTo>
                  <a:pt x="6558" y="382"/>
                </a:lnTo>
                <a:lnTo>
                  <a:pt x="6548" y="388"/>
                </a:lnTo>
                <a:lnTo>
                  <a:pt x="6542" y="394"/>
                </a:lnTo>
                <a:lnTo>
                  <a:pt x="6538" y="400"/>
                </a:lnTo>
                <a:lnTo>
                  <a:pt x="6538" y="404"/>
                </a:lnTo>
                <a:lnTo>
                  <a:pt x="6542" y="410"/>
                </a:lnTo>
                <a:lnTo>
                  <a:pt x="6546" y="416"/>
                </a:lnTo>
                <a:lnTo>
                  <a:pt x="6556" y="428"/>
                </a:lnTo>
                <a:lnTo>
                  <a:pt x="6562" y="434"/>
                </a:lnTo>
                <a:lnTo>
                  <a:pt x="6568" y="434"/>
                </a:lnTo>
                <a:lnTo>
                  <a:pt x="6574" y="432"/>
                </a:lnTo>
                <a:lnTo>
                  <a:pt x="6580" y="428"/>
                </a:lnTo>
                <a:lnTo>
                  <a:pt x="6586" y="420"/>
                </a:lnTo>
                <a:lnTo>
                  <a:pt x="6588" y="420"/>
                </a:lnTo>
                <a:lnTo>
                  <a:pt x="6586" y="426"/>
                </a:lnTo>
                <a:close/>
                <a:moveTo>
                  <a:pt x="6576" y="498"/>
                </a:moveTo>
                <a:lnTo>
                  <a:pt x="6576" y="498"/>
                </a:lnTo>
                <a:lnTo>
                  <a:pt x="6590" y="504"/>
                </a:lnTo>
                <a:lnTo>
                  <a:pt x="6596" y="506"/>
                </a:lnTo>
                <a:lnTo>
                  <a:pt x="6598" y="504"/>
                </a:lnTo>
                <a:lnTo>
                  <a:pt x="6596" y="498"/>
                </a:lnTo>
                <a:lnTo>
                  <a:pt x="6590" y="492"/>
                </a:lnTo>
                <a:lnTo>
                  <a:pt x="6584" y="486"/>
                </a:lnTo>
                <a:lnTo>
                  <a:pt x="6578" y="482"/>
                </a:lnTo>
                <a:lnTo>
                  <a:pt x="6572" y="480"/>
                </a:lnTo>
                <a:lnTo>
                  <a:pt x="6566" y="478"/>
                </a:lnTo>
                <a:lnTo>
                  <a:pt x="6562" y="474"/>
                </a:lnTo>
                <a:lnTo>
                  <a:pt x="6554" y="462"/>
                </a:lnTo>
                <a:lnTo>
                  <a:pt x="6550" y="456"/>
                </a:lnTo>
                <a:lnTo>
                  <a:pt x="6546" y="452"/>
                </a:lnTo>
                <a:lnTo>
                  <a:pt x="6540" y="448"/>
                </a:lnTo>
                <a:lnTo>
                  <a:pt x="6534" y="450"/>
                </a:lnTo>
                <a:lnTo>
                  <a:pt x="6530" y="454"/>
                </a:lnTo>
                <a:lnTo>
                  <a:pt x="6532" y="458"/>
                </a:lnTo>
                <a:lnTo>
                  <a:pt x="6544" y="480"/>
                </a:lnTo>
                <a:lnTo>
                  <a:pt x="6550" y="490"/>
                </a:lnTo>
                <a:lnTo>
                  <a:pt x="6552" y="492"/>
                </a:lnTo>
                <a:lnTo>
                  <a:pt x="6554" y="490"/>
                </a:lnTo>
                <a:lnTo>
                  <a:pt x="6556" y="490"/>
                </a:lnTo>
                <a:lnTo>
                  <a:pt x="6560" y="490"/>
                </a:lnTo>
                <a:lnTo>
                  <a:pt x="6568" y="492"/>
                </a:lnTo>
                <a:lnTo>
                  <a:pt x="6576" y="498"/>
                </a:lnTo>
                <a:close/>
                <a:moveTo>
                  <a:pt x="6840" y="358"/>
                </a:moveTo>
                <a:lnTo>
                  <a:pt x="6840" y="358"/>
                </a:lnTo>
                <a:lnTo>
                  <a:pt x="6848" y="362"/>
                </a:lnTo>
                <a:lnTo>
                  <a:pt x="6850" y="364"/>
                </a:lnTo>
                <a:lnTo>
                  <a:pt x="6848" y="366"/>
                </a:lnTo>
                <a:lnTo>
                  <a:pt x="6846" y="366"/>
                </a:lnTo>
                <a:lnTo>
                  <a:pt x="6844" y="368"/>
                </a:lnTo>
                <a:lnTo>
                  <a:pt x="6846" y="370"/>
                </a:lnTo>
                <a:lnTo>
                  <a:pt x="6850" y="374"/>
                </a:lnTo>
                <a:lnTo>
                  <a:pt x="6860" y="380"/>
                </a:lnTo>
                <a:lnTo>
                  <a:pt x="6870" y="384"/>
                </a:lnTo>
                <a:lnTo>
                  <a:pt x="6880" y="386"/>
                </a:lnTo>
                <a:lnTo>
                  <a:pt x="6888" y="386"/>
                </a:lnTo>
                <a:lnTo>
                  <a:pt x="6898" y="384"/>
                </a:lnTo>
                <a:lnTo>
                  <a:pt x="6922" y="380"/>
                </a:lnTo>
                <a:lnTo>
                  <a:pt x="6936" y="378"/>
                </a:lnTo>
                <a:lnTo>
                  <a:pt x="6954" y="376"/>
                </a:lnTo>
                <a:lnTo>
                  <a:pt x="6980" y="376"/>
                </a:lnTo>
                <a:lnTo>
                  <a:pt x="6982" y="378"/>
                </a:lnTo>
                <a:lnTo>
                  <a:pt x="6980" y="380"/>
                </a:lnTo>
                <a:lnTo>
                  <a:pt x="6958" y="384"/>
                </a:lnTo>
                <a:lnTo>
                  <a:pt x="6920" y="392"/>
                </a:lnTo>
                <a:lnTo>
                  <a:pt x="6904" y="396"/>
                </a:lnTo>
                <a:lnTo>
                  <a:pt x="6900" y="398"/>
                </a:lnTo>
                <a:lnTo>
                  <a:pt x="6900" y="400"/>
                </a:lnTo>
                <a:lnTo>
                  <a:pt x="6902" y="402"/>
                </a:lnTo>
                <a:lnTo>
                  <a:pt x="6904" y="402"/>
                </a:lnTo>
                <a:lnTo>
                  <a:pt x="6916" y="406"/>
                </a:lnTo>
                <a:lnTo>
                  <a:pt x="6954" y="410"/>
                </a:lnTo>
                <a:lnTo>
                  <a:pt x="6992" y="412"/>
                </a:lnTo>
                <a:lnTo>
                  <a:pt x="7008" y="414"/>
                </a:lnTo>
                <a:lnTo>
                  <a:pt x="7022" y="418"/>
                </a:lnTo>
                <a:lnTo>
                  <a:pt x="7044" y="428"/>
                </a:lnTo>
                <a:lnTo>
                  <a:pt x="7054" y="430"/>
                </a:lnTo>
                <a:lnTo>
                  <a:pt x="7064" y="432"/>
                </a:lnTo>
                <a:lnTo>
                  <a:pt x="7074" y="430"/>
                </a:lnTo>
                <a:lnTo>
                  <a:pt x="7086" y="424"/>
                </a:lnTo>
                <a:lnTo>
                  <a:pt x="7096" y="416"/>
                </a:lnTo>
                <a:lnTo>
                  <a:pt x="7104" y="412"/>
                </a:lnTo>
                <a:lnTo>
                  <a:pt x="7108" y="412"/>
                </a:lnTo>
                <a:lnTo>
                  <a:pt x="7114" y="412"/>
                </a:lnTo>
                <a:lnTo>
                  <a:pt x="7124" y="416"/>
                </a:lnTo>
                <a:lnTo>
                  <a:pt x="7130" y="416"/>
                </a:lnTo>
                <a:lnTo>
                  <a:pt x="7140" y="414"/>
                </a:lnTo>
                <a:lnTo>
                  <a:pt x="7148" y="410"/>
                </a:lnTo>
                <a:lnTo>
                  <a:pt x="7152" y="406"/>
                </a:lnTo>
                <a:lnTo>
                  <a:pt x="7154" y="402"/>
                </a:lnTo>
                <a:lnTo>
                  <a:pt x="7154" y="398"/>
                </a:lnTo>
                <a:lnTo>
                  <a:pt x="7156" y="394"/>
                </a:lnTo>
                <a:lnTo>
                  <a:pt x="7160" y="388"/>
                </a:lnTo>
                <a:lnTo>
                  <a:pt x="7172" y="382"/>
                </a:lnTo>
                <a:lnTo>
                  <a:pt x="7190" y="376"/>
                </a:lnTo>
                <a:lnTo>
                  <a:pt x="7202" y="370"/>
                </a:lnTo>
                <a:lnTo>
                  <a:pt x="7206" y="366"/>
                </a:lnTo>
                <a:lnTo>
                  <a:pt x="7206" y="360"/>
                </a:lnTo>
                <a:lnTo>
                  <a:pt x="7202" y="356"/>
                </a:lnTo>
                <a:lnTo>
                  <a:pt x="7194" y="350"/>
                </a:lnTo>
                <a:lnTo>
                  <a:pt x="7186" y="348"/>
                </a:lnTo>
                <a:lnTo>
                  <a:pt x="7178" y="346"/>
                </a:lnTo>
                <a:lnTo>
                  <a:pt x="7168" y="346"/>
                </a:lnTo>
                <a:lnTo>
                  <a:pt x="7152" y="346"/>
                </a:lnTo>
                <a:lnTo>
                  <a:pt x="7136" y="342"/>
                </a:lnTo>
                <a:lnTo>
                  <a:pt x="7116" y="336"/>
                </a:lnTo>
                <a:lnTo>
                  <a:pt x="7090" y="330"/>
                </a:lnTo>
                <a:lnTo>
                  <a:pt x="7080" y="330"/>
                </a:lnTo>
                <a:lnTo>
                  <a:pt x="7072" y="330"/>
                </a:lnTo>
                <a:lnTo>
                  <a:pt x="7068" y="334"/>
                </a:lnTo>
                <a:lnTo>
                  <a:pt x="7066" y="338"/>
                </a:lnTo>
                <a:lnTo>
                  <a:pt x="7062" y="344"/>
                </a:lnTo>
                <a:lnTo>
                  <a:pt x="7058" y="346"/>
                </a:lnTo>
                <a:lnTo>
                  <a:pt x="7050" y="346"/>
                </a:lnTo>
                <a:lnTo>
                  <a:pt x="7044" y="344"/>
                </a:lnTo>
                <a:lnTo>
                  <a:pt x="7042" y="342"/>
                </a:lnTo>
                <a:lnTo>
                  <a:pt x="7042" y="338"/>
                </a:lnTo>
                <a:lnTo>
                  <a:pt x="7044" y="334"/>
                </a:lnTo>
                <a:lnTo>
                  <a:pt x="7046" y="326"/>
                </a:lnTo>
                <a:lnTo>
                  <a:pt x="7046" y="324"/>
                </a:lnTo>
                <a:lnTo>
                  <a:pt x="7044" y="320"/>
                </a:lnTo>
                <a:lnTo>
                  <a:pt x="7034" y="318"/>
                </a:lnTo>
                <a:lnTo>
                  <a:pt x="7028" y="318"/>
                </a:lnTo>
                <a:lnTo>
                  <a:pt x="7024" y="318"/>
                </a:lnTo>
                <a:lnTo>
                  <a:pt x="7020" y="322"/>
                </a:lnTo>
                <a:lnTo>
                  <a:pt x="7016" y="326"/>
                </a:lnTo>
                <a:lnTo>
                  <a:pt x="7012" y="332"/>
                </a:lnTo>
                <a:lnTo>
                  <a:pt x="7012" y="340"/>
                </a:lnTo>
                <a:lnTo>
                  <a:pt x="7010" y="354"/>
                </a:lnTo>
                <a:lnTo>
                  <a:pt x="7008" y="356"/>
                </a:lnTo>
                <a:lnTo>
                  <a:pt x="7006" y="358"/>
                </a:lnTo>
                <a:lnTo>
                  <a:pt x="7002" y="356"/>
                </a:lnTo>
                <a:lnTo>
                  <a:pt x="6998" y="354"/>
                </a:lnTo>
                <a:lnTo>
                  <a:pt x="6990" y="342"/>
                </a:lnTo>
                <a:lnTo>
                  <a:pt x="6984" y="336"/>
                </a:lnTo>
                <a:lnTo>
                  <a:pt x="6980" y="334"/>
                </a:lnTo>
                <a:lnTo>
                  <a:pt x="6976" y="334"/>
                </a:lnTo>
                <a:lnTo>
                  <a:pt x="6970" y="336"/>
                </a:lnTo>
                <a:lnTo>
                  <a:pt x="6964" y="336"/>
                </a:lnTo>
                <a:lnTo>
                  <a:pt x="6952" y="336"/>
                </a:lnTo>
                <a:lnTo>
                  <a:pt x="6938" y="332"/>
                </a:lnTo>
                <a:lnTo>
                  <a:pt x="6918" y="326"/>
                </a:lnTo>
                <a:lnTo>
                  <a:pt x="6900" y="320"/>
                </a:lnTo>
                <a:lnTo>
                  <a:pt x="6894" y="318"/>
                </a:lnTo>
                <a:lnTo>
                  <a:pt x="6892" y="320"/>
                </a:lnTo>
                <a:lnTo>
                  <a:pt x="6892" y="322"/>
                </a:lnTo>
                <a:lnTo>
                  <a:pt x="6896" y="328"/>
                </a:lnTo>
                <a:lnTo>
                  <a:pt x="6900" y="334"/>
                </a:lnTo>
                <a:lnTo>
                  <a:pt x="6902" y="338"/>
                </a:lnTo>
                <a:lnTo>
                  <a:pt x="6900" y="340"/>
                </a:lnTo>
                <a:lnTo>
                  <a:pt x="6898" y="338"/>
                </a:lnTo>
                <a:lnTo>
                  <a:pt x="6884" y="334"/>
                </a:lnTo>
                <a:lnTo>
                  <a:pt x="6872" y="328"/>
                </a:lnTo>
                <a:lnTo>
                  <a:pt x="6868" y="328"/>
                </a:lnTo>
                <a:lnTo>
                  <a:pt x="6868" y="332"/>
                </a:lnTo>
                <a:lnTo>
                  <a:pt x="6872" y="336"/>
                </a:lnTo>
                <a:lnTo>
                  <a:pt x="6876" y="342"/>
                </a:lnTo>
                <a:lnTo>
                  <a:pt x="6878" y="346"/>
                </a:lnTo>
                <a:lnTo>
                  <a:pt x="6878" y="348"/>
                </a:lnTo>
                <a:lnTo>
                  <a:pt x="6876" y="348"/>
                </a:lnTo>
                <a:lnTo>
                  <a:pt x="6864" y="346"/>
                </a:lnTo>
                <a:lnTo>
                  <a:pt x="6850" y="342"/>
                </a:lnTo>
                <a:lnTo>
                  <a:pt x="6840" y="342"/>
                </a:lnTo>
                <a:lnTo>
                  <a:pt x="6832" y="342"/>
                </a:lnTo>
                <a:lnTo>
                  <a:pt x="6828" y="344"/>
                </a:lnTo>
                <a:lnTo>
                  <a:pt x="6826" y="346"/>
                </a:lnTo>
                <a:lnTo>
                  <a:pt x="6828" y="350"/>
                </a:lnTo>
                <a:lnTo>
                  <a:pt x="6832" y="354"/>
                </a:lnTo>
                <a:lnTo>
                  <a:pt x="6840" y="358"/>
                </a:lnTo>
                <a:close/>
                <a:moveTo>
                  <a:pt x="7084" y="1064"/>
                </a:moveTo>
                <a:lnTo>
                  <a:pt x="7084" y="1064"/>
                </a:lnTo>
                <a:lnTo>
                  <a:pt x="7080" y="1062"/>
                </a:lnTo>
                <a:lnTo>
                  <a:pt x="7076" y="1062"/>
                </a:lnTo>
                <a:lnTo>
                  <a:pt x="7074" y="1062"/>
                </a:lnTo>
                <a:lnTo>
                  <a:pt x="7074" y="1064"/>
                </a:lnTo>
                <a:lnTo>
                  <a:pt x="7078" y="1066"/>
                </a:lnTo>
                <a:lnTo>
                  <a:pt x="7082" y="1068"/>
                </a:lnTo>
                <a:lnTo>
                  <a:pt x="7086" y="1066"/>
                </a:lnTo>
                <a:lnTo>
                  <a:pt x="7084" y="1064"/>
                </a:lnTo>
                <a:close/>
                <a:moveTo>
                  <a:pt x="6940" y="1148"/>
                </a:moveTo>
                <a:lnTo>
                  <a:pt x="6940" y="1148"/>
                </a:lnTo>
                <a:lnTo>
                  <a:pt x="6944" y="1144"/>
                </a:lnTo>
                <a:lnTo>
                  <a:pt x="6946" y="1140"/>
                </a:lnTo>
                <a:lnTo>
                  <a:pt x="6944" y="1138"/>
                </a:lnTo>
                <a:lnTo>
                  <a:pt x="6942" y="1138"/>
                </a:lnTo>
                <a:lnTo>
                  <a:pt x="6940" y="1142"/>
                </a:lnTo>
                <a:lnTo>
                  <a:pt x="6938" y="1146"/>
                </a:lnTo>
                <a:lnTo>
                  <a:pt x="6938" y="1148"/>
                </a:lnTo>
                <a:lnTo>
                  <a:pt x="6940" y="1148"/>
                </a:lnTo>
                <a:close/>
                <a:moveTo>
                  <a:pt x="6956" y="1136"/>
                </a:moveTo>
                <a:lnTo>
                  <a:pt x="6956" y="1136"/>
                </a:lnTo>
                <a:lnTo>
                  <a:pt x="6958" y="1136"/>
                </a:lnTo>
                <a:lnTo>
                  <a:pt x="6958" y="1134"/>
                </a:lnTo>
                <a:lnTo>
                  <a:pt x="6954" y="1132"/>
                </a:lnTo>
                <a:lnTo>
                  <a:pt x="6952" y="1130"/>
                </a:lnTo>
                <a:lnTo>
                  <a:pt x="6948" y="1132"/>
                </a:lnTo>
                <a:lnTo>
                  <a:pt x="6948" y="1134"/>
                </a:lnTo>
                <a:lnTo>
                  <a:pt x="6950" y="1136"/>
                </a:lnTo>
                <a:lnTo>
                  <a:pt x="6956" y="1136"/>
                </a:lnTo>
                <a:close/>
                <a:moveTo>
                  <a:pt x="6912" y="1136"/>
                </a:moveTo>
                <a:lnTo>
                  <a:pt x="6912" y="1136"/>
                </a:lnTo>
                <a:lnTo>
                  <a:pt x="6910" y="1134"/>
                </a:lnTo>
                <a:lnTo>
                  <a:pt x="6906" y="1136"/>
                </a:lnTo>
                <a:lnTo>
                  <a:pt x="6902" y="1138"/>
                </a:lnTo>
                <a:lnTo>
                  <a:pt x="6898" y="1142"/>
                </a:lnTo>
                <a:lnTo>
                  <a:pt x="6898" y="1144"/>
                </a:lnTo>
                <a:lnTo>
                  <a:pt x="6900" y="1144"/>
                </a:lnTo>
                <a:lnTo>
                  <a:pt x="6904" y="1142"/>
                </a:lnTo>
                <a:lnTo>
                  <a:pt x="6908" y="1138"/>
                </a:lnTo>
                <a:lnTo>
                  <a:pt x="6912" y="1136"/>
                </a:lnTo>
                <a:close/>
                <a:moveTo>
                  <a:pt x="6886" y="1114"/>
                </a:moveTo>
                <a:lnTo>
                  <a:pt x="6886" y="1114"/>
                </a:lnTo>
                <a:lnTo>
                  <a:pt x="6882" y="1116"/>
                </a:lnTo>
                <a:lnTo>
                  <a:pt x="6880" y="1118"/>
                </a:lnTo>
                <a:lnTo>
                  <a:pt x="6878" y="1122"/>
                </a:lnTo>
                <a:lnTo>
                  <a:pt x="6878" y="1124"/>
                </a:lnTo>
                <a:lnTo>
                  <a:pt x="6880" y="1124"/>
                </a:lnTo>
                <a:lnTo>
                  <a:pt x="6884" y="1122"/>
                </a:lnTo>
                <a:lnTo>
                  <a:pt x="6886" y="1120"/>
                </a:lnTo>
                <a:lnTo>
                  <a:pt x="6886" y="1118"/>
                </a:lnTo>
                <a:lnTo>
                  <a:pt x="6886" y="1114"/>
                </a:lnTo>
                <a:close/>
                <a:moveTo>
                  <a:pt x="6874" y="1126"/>
                </a:moveTo>
                <a:lnTo>
                  <a:pt x="6874" y="1126"/>
                </a:lnTo>
                <a:lnTo>
                  <a:pt x="6872" y="1124"/>
                </a:lnTo>
                <a:lnTo>
                  <a:pt x="6870" y="1126"/>
                </a:lnTo>
                <a:lnTo>
                  <a:pt x="6868" y="1126"/>
                </a:lnTo>
                <a:lnTo>
                  <a:pt x="6866" y="1126"/>
                </a:lnTo>
                <a:lnTo>
                  <a:pt x="6864" y="1126"/>
                </a:lnTo>
                <a:lnTo>
                  <a:pt x="6862" y="1128"/>
                </a:lnTo>
                <a:lnTo>
                  <a:pt x="6862" y="1130"/>
                </a:lnTo>
                <a:lnTo>
                  <a:pt x="6862" y="1132"/>
                </a:lnTo>
                <a:lnTo>
                  <a:pt x="6864" y="1132"/>
                </a:lnTo>
                <a:lnTo>
                  <a:pt x="6868" y="1130"/>
                </a:lnTo>
                <a:lnTo>
                  <a:pt x="6872" y="1128"/>
                </a:lnTo>
                <a:lnTo>
                  <a:pt x="6874" y="1126"/>
                </a:lnTo>
                <a:close/>
                <a:moveTo>
                  <a:pt x="6800" y="1216"/>
                </a:moveTo>
                <a:lnTo>
                  <a:pt x="6800" y="1216"/>
                </a:lnTo>
                <a:lnTo>
                  <a:pt x="6804" y="1216"/>
                </a:lnTo>
                <a:lnTo>
                  <a:pt x="6808" y="1216"/>
                </a:lnTo>
                <a:lnTo>
                  <a:pt x="6810" y="1214"/>
                </a:lnTo>
                <a:lnTo>
                  <a:pt x="6808" y="1212"/>
                </a:lnTo>
                <a:lnTo>
                  <a:pt x="6804" y="1210"/>
                </a:lnTo>
                <a:lnTo>
                  <a:pt x="6802" y="1212"/>
                </a:lnTo>
                <a:lnTo>
                  <a:pt x="6800" y="1214"/>
                </a:lnTo>
                <a:lnTo>
                  <a:pt x="6800" y="1216"/>
                </a:lnTo>
                <a:close/>
                <a:moveTo>
                  <a:pt x="6786" y="1222"/>
                </a:moveTo>
                <a:lnTo>
                  <a:pt x="6786" y="1222"/>
                </a:lnTo>
                <a:lnTo>
                  <a:pt x="6786" y="1224"/>
                </a:lnTo>
                <a:lnTo>
                  <a:pt x="6788" y="1226"/>
                </a:lnTo>
                <a:lnTo>
                  <a:pt x="6796" y="1224"/>
                </a:lnTo>
                <a:lnTo>
                  <a:pt x="6798" y="1224"/>
                </a:lnTo>
                <a:lnTo>
                  <a:pt x="6798" y="1222"/>
                </a:lnTo>
                <a:lnTo>
                  <a:pt x="6796" y="1220"/>
                </a:lnTo>
                <a:lnTo>
                  <a:pt x="6790" y="1218"/>
                </a:lnTo>
                <a:lnTo>
                  <a:pt x="6788" y="1220"/>
                </a:lnTo>
                <a:lnTo>
                  <a:pt x="6786" y="1222"/>
                </a:lnTo>
                <a:close/>
                <a:moveTo>
                  <a:pt x="6714" y="1284"/>
                </a:moveTo>
                <a:lnTo>
                  <a:pt x="6714" y="1284"/>
                </a:lnTo>
                <a:lnTo>
                  <a:pt x="6718" y="1282"/>
                </a:lnTo>
                <a:lnTo>
                  <a:pt x="6714" y="1278"/>
                </a:lnTo>
                <a:lnTo>
                  <a:pt x="6712" y="1278"/>
                </a:lnTo>
                <a:lnTo>
                  <a:pt x="6710" y="1280"/>
                </a:lnTo>
                <a:lnTo>
                  <a:pt x="6710" y="1282"/>
                </a:lnTo>
                <a:lnTo>
                  <a:pt x="6714" y="1284"/>
                </a:lnTo>
                <a:close/>
                <a:moveTo>
                  <a:pt x="6764" y="1208"/>
                </a:moveTo>
                <a:lnTo>
                  <a:pt x="6764" y="1208"/>
                </a:lnTo>
                <a:lnTo>
                  <a:pt x="6764" y="1210"/>
                </a:lnTo>
                <a:lnTo>
                  <a:pt x="6768" y="1212"/>
                </a:lnTo>
                <a:lnTo>
                  <a:pt x="6772" y="1214"/>
                </a:lnTo>
                <a:lnTo>
                  <a:pt x="6776" y="1212"/>
                </a:lnTo>
                <a:lnTo>
                  <a:pt x="6776" y="1210"/>
                </a:lnTo>
                <a:lnTo>
                  <a:pt x="6772" y="1208"/>
                </a:lnTo>
                <a:lnTo>
                  <a:pt x="6768" y="1208"/>
                </a:lnTo>
                <a:lnTo>
                  <a:pt x="6764" y="1208"/>
                </a:lnTo>
                <a:close/>
                <a:moveTo>
                  <a:pt x="6900" y="1126"/>
                </a:moveTo>
                <a:lnTo>
                  <a:pt x="6900" y="1126"/>
                </a:lnTo>
                <a:lnTo>
                  <a:pt x="6900" y="1124"/>
                </a:lnTo>
                <a:lnTo>
                  <a:pt x="6896" y="1122"/>
                </a:lnTo>
                <a:lnTo>
                  <a:pt x="6894" y="1120"/>
                </a:lnTo>
                <a:lnTo>
                  <a:pt x="6890" y="1122"/>
                </a:lnTo>
                <a:lnTo>
                  <a:pt x="6890" y="1124"/>
                </a:lnTo>
                <a:lnTo>
                  <a:pt x="6894" y="1126"/>
                </a:lnTo>
                <a:lnTo>
                  <a:pt x="6898" y="1126"/>
                </a:lnTo>
                <a:lnTo>
                  <a:pt x="6900" y="1126"/>
                </a:lnTo>
                <a:close/>
                <a:moveTo>
                  <a:pt x="6680" y="1258"/>
                </a:moveTo>
                <a:lnTo>
                  <a:pt x="6680" y="1258"/>
                </a:lnTo>
                <a:lnTo>
                  <a:pt x="6680" y="1256"/>
                </a:lnTo>
                <a:lnTo>
                  <a:pt x="6678" y="1254"/>
                </a:lnTo>
                <a:lnTo>
                  <a:pt x="6676" y="1254"/>
                </a:lnTo>
                <a:lnTo>
                  <a:pt x="6674" y="1256"/>
                </a:lnTo>
                <a:lnTo>
                  <a:pt x="6674" y="1258"/>
                </a:lnTo>
                <a:lnTo>
                  <a:pt x="6676" y="1260"/>
                </a:lnTo>
                <a:lnTo>
                  <a:pt x="6678" y="1260"/>
                </a:lnTo>
                <a:lnTo>
                  <a:pt x="6680" y="1258"/>
                </a:lnTo>
                <a:close/>
                <a:moveTo>
                  <a:pt x="7072" y="1080"/>
                </a:moveTo>
                <a:lnTo>
                  <a:pt x="7072" y="1080"/>
                </a:lnTo>
                <a:lnTo>
                  <a:pt x="7068" y="1080"/>
                </a:lnTo>
                <a:lnTo>
                  <a:pt x="7066" y="1080"/>
                </a:lnTo>
                <a:lnTo>
                  <a:pt x="7064" y="1084"/>
                </a:lnTo>
                <a:lnTo>
                  <a:pt x="7064" y="1086"/>
                </a:lnTo>
                <a:lnTo>
                  <a:pt x="7068" y="1094"/>
                </a:lnTo>
                <a:lnTo>
                  <a:pt x="7070" y="1096"/>
                </a:lnTo>
                <a:lnTo>
                  <a:pt x="7072" y="1096"/>
                </a:lnTo>
                <a:lnTo>
                  <a:pt x="7078" y="1094"/>
                </a:lnTo>
                <a:lnTo>
                  <a:pt x="7080" y="1088"/>
                </a:lnTo>
                <a:lnTo>
                  <a:pt x="7080" y="1086"/>
                </a:lnTo>
                <a:lnTo>
                  <a:pt x="7080" y="1084"/>
                </a:lnTo>
                <a:lnTo>
                  <a:pt x="7078" y="1082"/>
                </a:lnTo>
                <a:lnTo>
                  <a:pt x="7072" y="1080"/>
                </a:lnTo>
                <a:close/>
                <a:moveTo>
                  <a:pt x="7054" y="1108"/>
                </a:moveTo>
                <a:lnTo>
                  <a:pt x="7054" y="1108"/>
                </a:lnTo>
                <a:lnTo>
                  <a:pt x="7062" y="1098"/>
                </a:lnTo>
                <a:lnTo>
                  <a:pt x="7064" y="1094"/>
                </a:lnTo>
                <a:lnTo>
                  <a:pt x="7064" y="1092"/>
                </a:lnTo>
                <a:lnTo>
                  <a:pt x="7060" y="1090"/>
                </a:lnTo>
                <a:lnTo>
                  <a:pt x="7056" y="1086"/>
                </a:lnTo>
                <a:lnTo>
                  <a:pt x="7056" y="1088"/>
                </a:lnTo>
                <a:lnTo>
                  <a:pt x="7054" y="1090"/>
                </a:lnTo>
                <a:lnTo>
                  <a:pt x="7048" y="1094"/>
                </a:lnTo>
                <a:lnTo>
                  <a:pt x="7038" y="1098"/>
                </a:lnTo>
                <a:lnTo>
                  <a:pt x="7034" y="1100"/>
                </a:lnTo>
                <a:lnTo>
                  <a:pt x="7034" y="1102"/>
                </a:lnTo>
                <a:lnTo>
                  <a:pt x="7034" y="1106"/>
                </a:lnTo>
                <a:lnTo>
                  <a:pt x="7040" y="1110"/>
                </a:lnTo>
                <a:lnTo>
                  <a:pt x="7048" y="1112"/>
                </a:lnTo>
                <a:lnTo>
                  <a:pt x="7050" y="1112"/>
                </a:lnTo>
                <a:lnTo>
                  <a:pt x="7054" y="1108"/>
                </a:lnTo>
                <a:close/>
                <a:moveTo>
                  <a:pt x="7036" y="1110"/>
                </a:moveTo>
                <a:lnTo>
                  <a:pt x="7036" y="1110"/>
                </a:lnTo>
                <a:lnTo>
                  <a:pt x="7032" y="1108"/>
                </a:lnTo>
                <a:lnTo>
                  <a:pt x="7028" y="1106"/>
                </a:lnTo>
                <a:lnTo>
                  <a:pt x="7022" y="1106"/>
                </a:lnTo>
                <a:lnTo>
                  <a:pt x="7014" y="1108"/>
                </a:lnTo>
                <a:lnTo>
                  <a:pt x="7012" y="1110"/>
                </a:lnTo>
                <a:lnTo>
                  <a:pt x="7014" y="1112"/>
                </a:lnTo>
                <a:lnTo>
                  <a:pt x="7024" y="1114"/>
                </a:lnTo>
                <a:lnTo>
                  <a:pt x="7034" y="1114"/>
                </a:lnTo>
                <a:lnTo>
                  <a:pt x="7036" y="1112"/>
                </a:lnTo>
                <a:lnTo>
                  <a:pt x="7036" y="1110"/>
                </a:lnTo>
                <a:close/>
                <a:moveTo>
                  <a:pt x="7010" y="1098"/>
                </a:moveTo>
                <a:lnTo>
                  <a:pt x="7010" y="1098"/>
                </a:lnTo>
                <a:lnTo>
                  <a:pt x="7014" y="1096"/>
                </a:lnTo>
                <a:lnTo>
                  <a:pt x="7018" y="1094"/>
                </a:lnTo>
                <a:lnTo>
                  <a:pt x="7022" y="1092"/>
                </a:lnTo>
                <a:lnTo>
                  <a:pt x="7026" y="1094"/>
                </a:lnTo>
                <a:lnTo>
                  <a:pt x="7030" y="1094"/>
                </a:lnTo>
                <a:lnTo>
                  <a:pt x="7034" y="1094"/>
                </a:lnTo>
                <a:lnTo>
                  <a:pt x="7048" y="1082"/>
                </a:lnTo>
                <a:lnTo>
                  <a:pt x="7056" y="1076"/>
                </a:lnTo>
                <a:lnTo>
                  <a:pt x="7056" y="1074"/>
                </a:lnTo>
                <a:lnTo>
                  <a:pt x="7052" y="1072"/>
                </a:lnTo>
                <a:lnTo>
                  <a:pt x="7046" y="1074"/>
                </a:lnTo>
                <a:lnTo>
                  <a:pt x="7042" y="1076"/>
                </a:lnTo>
                <a:lnTo>
                  <a:pt x="7042" y="1078"/>
                </a:lnTo>
                <a:lnTo>
                  <a:pt x="7040" y="1080"/>
                </a:lnTo>
                <a:lnTo>
                  <a:pt x="7034" y="1080"/>
                </a:lnTo>
                <a:lnTo>
                  <a:pt x="7032" y="1080"/>
                </a:lnTo>
                <a:lnTo>
                  <a:pt x="7030" y="1080"/>
                </a:lnTo>
                <a:lnTo>
                  <a:pt x="7028" y="1084"/>
                </a:lnTo>
                <a:lnTo>
                  <a:pt x="7026" y="1086"/>
                </a:lnTo>
                <a:lnTo>
                  <a:pt x="7024" y="1086"/>
                </a:lnTo>
                <a:lnTo>
                  <a:pt x="7022" y="1084"/>
                </a:lnTo>
                <a:lnTo>
                  <a:pt x="7018" y="1084"/>
                </a:lnTo>
                <a:lnTo>
                  <a:pt x="7002" y="1088"/>
                </a:lnTo>
                <a:lnTo>
                  <a:pt x="6998" y="1090"/>
                </a:lnTo>
                <a:lnTo>
                  <a:pt x="7002" y="1092"/>
                </a:lnTo>
                <a:lnTo>
                  <a:pt x="7006" y="1094"/>
                </a:lnTo>
                <a:lnTo>
                  <a:pt x="7004" y="1096"/>
                </a:lnTo>
                <a:lnTo>
                  <a:pt x="7004" y="1098"/>
                </a:lnTo>
                <a:lnTo>
                  <a:pt x="7010" y="1098"/>
                </a:lnTo>
                <a:close/>
                <a:moveTo>
                  <a:pt x="6948" y="1122"/>
                </a:moveTo>
                <a:lnTo>
                  <a:pt x="6948" y="1122"/>
                </a:lnTo>
                <a:lnTo>
                  <a:pt x="6948" y="1118"/>
                </a:lnTo>
                <a:lnTo>
                  <a:pt x="6946" y="1116"/>
                </a:lnTo>
                <a:lnTo>
                  <a:pt x="6942" y="1116"/>
                </a:lnTo>
                <a:lnTo>
                  <a:pt x="6936" y="1118"/>
                </a:lnTo>
                <a:lnTo>
                  <a:pt x="6932" y="1122"/>
                </a:lnTo>
                <a:lnTo>
                  <a:pt x="6932" y="1126"/>
                </a:lnTo>
                <a:lnTo>
                  <a:pt x="6934" y="1128"/>
                </a:lnTo>
                <a:lnTo>
                  <a:pt x="6940" y="1130"/>
                </a:lnTo>
                <a:lnTo>
                  <a:pt x="6944" y="1130"/>
                </a:lnTo>
                <a:lnTo>
                  <a:pt x="6946" y="1130"/>
                </a:lnTo>
                <a:lnTo>
                  <a:pt x="6948" y="1122"/>
                </a:lnTo>
                <a:close/>
                <a:moveTo>
                  <a:pt x="6920" y="1126"/>
                </a:moveTo>
                <a:lnTo>
                  <a:pt x="6920" y="1126"/>
                </a:lnTo>
                <a:lnTo>
                  <a:pt x="6922" y="1124"/>
                </a:lnTo>
                <a:lnTo>
                  <a:pt x="6922" y="1122"/>
                </a:lnTo>
                <a:lnTo>
                  <a:pt x="6912" y="1118"/>
                </a:lnTo>
                <a:lnTo>
                  <a:pt x="6908" y="1116"/>
                </a:lnTo>
                <a:lnTo>
                  <a:pt x="6904" y="1114"/>
                </a:lnTo>
                <a:lnTo>
                  <a:pt x="6900" y="1112"/>
                </a:lnTo>
                <a:lnTo>
                  <a:pt x="6900" y="1114"/>
                </a:lnTo>
                <a:lnTo>
                  <a:pt x="6900" y="1120"/>
                </a:lnTo>
                <a:lnTo>
                  <a:pt x="6906" y="1124"/>
                </a:lnTo>
                <a:lnTo>
                  <a:pt x="6912" y="1126"/>
                </a:lnTo>
                <a:lnTo>
                  <a:pt x="6920" y="1126"/>
                </a:lnTo>
                <a:close/>
                <a:moveTo>
                  <a:pt x="6898" y="1140"/>
                </a:moveTo>
                <a:lnTo>
                  <a:pt x="6898" y="1140"/>
                </a:lnTo>
                <a:lnTo>
                  <a:pt x="6904" y="1134"/>
                </a:lnTo>
                <a:lnTo>
                  <a:pt x="6902" y="1132"/>
                </a:lnTo>
                <a:lnTo>
                  <a:pt x="6900" y="1130"/>
                </a:lnTo>
                <a:lnTo>
                  <a:pt x="6896" y="1130"/>
                </a:lnTo>
                <a:lnTo>
                  <a:pt x="6892" y="1130"/>
                </a:lnTo>
                <a:lnTo>
                  <a:pt x="6890" y="1130"/>
                </a:lnTo>
                <a:lnTo>
                  <a:pt x="6886" y="1128"/>
                </a:lnTo>
                <a:lnTo>
                  <a:pt x="6884" y="1128"/>
                </a:lnTo>
                <a:lnTo>
                  <a:pt x="6882" y="1128"/>
                </a:lnTo>
                <a:lnTo>
                  <a:pt x="6880" y="1130"/>
                </a:lnTo>
                <a:lnTo>
                  <a:pt x="6876" y="1130"/>
                </a:lnTo>
                <a:lnTo>
                  <a:pt x="6874" y="1130"/>
                </a:lnTo>
                <a:lnTo>
                  <a:pt x="6872" y="1132"/>
                </a:lnTo>
                <a:lnTo>
                  <a:pt x="6872" y="1134"/>
                </a:lnTo>
                <a:lnTo>
                  <a:pt x="6868" y="1136"/>
                </a:lnTo>
                <a:lnTo>
                  <a:pt x="6866" y="1140"/>
                </a:lnTo>
                <a:lnTo>
                  <a:pt x="6870" y="1140"/>
                </a:lnTo>
                <a:lnTo>
                  <a:pt x="6874" y="1142"/>
                </a:lnTo>
                <a:lnTo>
                  <a:pt x="6880" y="1146"/>
                </a:lnTo>
                <a:lnTo>
                  <a:pt x="6884" y="1148"/>
                </a:lnTo>
                <a:lnTo>
                  <a:pt x="6888" y="1146"/>
                </a:lnTo>
                <a:lnTo>
                  <a:pt x="6898" y="1140"/>
                </a:lnTo>
                <a:close/>
                <a:moveTo>
                  <a:pt x="6854" y="1166"/>
                </a:moveTo>
                <a:lnTo>
                  <a:pt x="6854" y="1166"/>
                </a:lnTo>
                <a:lnTo>
                  <a:pt x="6860" y="1166"/>
                </a:lnTo>
                <a:lnTo>
                  <a:pt x="6864" y="1164"/>
                </a:lnTo>
                <a:lnTo>
                  <a:pt x="6866" y="1162"/>
                </a:lnTo>
                <a:lnTo>
                  <a:pt x="6868" y="1158"/>
                </a:lnTo>
                <a:lnTo>
                  <a:pt x="6874" y="1154"/>
                </a:lnTo>
                <a:lnTo>
                  <a:pt x="6876" y="1152"/>
                </a:lnTo>
                <a:lnTo>
                  <a:pt x="6876" y="1150"/>
                </a:lnTo>
                <a:lnTo>
                  <a:pt x="6876" y="1148"/>
                </a:lnTo>
                <a:lnTo>
                  <a:pt x="6872" y="1144"/>
                </a:lnTo>
                <a:lnTo>
                  <a:pt x="6866" y="1142"/>
                </a:lnTo>
                <a:lnTo>
                  <a:pt x="6864" y="1144"/>
                </a:lnTo>
                <a:lnTo>
                  <a:pt x="6864" y="1146"/>
                </a:lnTo>
                <a:lnTo>
                  <a:pt x="6862" y="1146"/>
                </a:lnTo>
                <a:lnTo>
                  <a:pt x="6858" y="1148"/>
                </a:lnTo>
                <a:lnTo>
                  <a:pt x="6856" y="1148"/>
                </a:lnTo>
                <a:lnTo>
                  <a:pt x="6856" y="1150"/>
                </a:lnTo>
                <a:lnTo>
                  <a:pt x="6854" y="1150"/>
                </a:lnTo>
                <a:lnTo>
                  <a:pt x="6852" y="1148"/>
                </a:lnTo>
                <a:lnTo>
                  <a:pt x="6848" y="1150"/>
                </a:lnTo>
                <a:lnTo>
                  <a:pt x="6846" y="1152"/>
                </a:lnTo>
                <a:lnTo>
                  <a:pt x="6846" y="1156"/>
                </a:lnTo>
                <a:lnTo>
                  <a:pt x="6844" y="1160"/>
                </a:lnTo>
                <a:lnTo>
                  <a:pt x="6840" y="1160"/>
                </a:lnTo>
                <a:lnTo>
                  <a:pt x="6838" y="1160"/>
                </a:lnTo>
                <a:lnTo>
                  <a:pt x="6836" y="1162"/>
                </a:lnTo>
                <a:lnTo>
                  <a:pt x="6836" y="1164"/>
                </a:lnTo>
                <a:lnTo>
                  <a:pt x="6838" y="1166"/>
                </a:lnTo>
                <a:lnTo>
                  <a:pt x="6854" y="1166"/>
                </a:lnTo>
                <a:close/>
                <a:moveTo>
                  <a:pt x="6834" y="1168"/>
                </a:moveTo>
                <a:lnTo>
                  <a:pt x="6834" y="1168"/>
                </a:lnTo>
                <a:lnTo>
                  <a:pt x="6832" y="1168"/>
                </a:lnTo>
                <a:lnTo>
                  <a:pt x="6832" y="1166"/>
                </a:lnTo>
                <a:lnTo>
                  <a:pt x="6830" y="1164"/>
                </a:lnTo>
                <a:lnTo>
                  <a:pt x="6828" y="1164"/>
                </a:lnTo>
                <a:lnTo>
                  <a:pt x="6826" y="1166"/>
                </a:lnTo>
                <a:lnTo>
                  <a:pt x="6824" y="1164"/>
                </a:lnTo>
                <a:lnTo>
                  <a:pt x="6822" y="1162"/>
                </a:lnTo>
                <a:lnTo>
                  <a:pt x="6822" y="1164"/>
                </a:lnTo>
                <a:lnTo>
                  <a:pt x="6820" y="1166"/>
                </a:lnTo>
                <a:lnTo>
                  <a:pt x="6818" y="1164"/>
                </a:lnTo>
                <a:lnTo>
                  <a:pt x="6814" y="1164"/>
                </a:lnTo>
                <a:lnTo>
                  <a:pt x="6814" y="1166"/>
                </a:lnTo>
                <a:lnTo>
                  <a:pt x="6814" y="1168"/>
                </a:lnTo>
                <a:lnTo>
                  <a:pt x="6812" y="1168"/>
                </a:lnTo>
                <a:lnTo>
                  <a:pt x="6810" y="1168"/>
                </a:lnTo>
                <a:lnTo>
                  <a:pt x="6804" y="1168"/>
                </a:lnTo>
                <a:lnTo>
                  <a:pt x="6804" y="1170"/>
                </a:lnTo>
                <a:lnTo>
                  <a:pt x="6806" y="1172"/>
                </a:lnTo>
                <a:lnTo>
                  <a:pt x="6808" y="1174"/>
                </a:lnTo>
                <a:lnTo>
                  <a:pt x="6808" y="1176"/>
                </a:lnTo>
                <a:lnTo>
                  <a:pt x="6804" y="1176"/>
                </a:lnTo>
                <a:lnTo>
                  <a:pt x="6798" y="1178"/>
                </a:lnTo>
                <a:lnTo>
                  <a:pt x="6794" y="1178"/>
                </a:lnTo>
                <a:lnTo>
                  <a:pt x="6792" y="1180"/>
                </a:lnTo>
                <a:lnTo>
                  <a:pt x="6794" y="1180"/>
                </a:lnTo>
                <a:lnTo>
                  <a:pt x="6796" y="1182"/>
                </a:lnTo>
                <a:lnTo>
                  <a:pt x="6794" y="1182"/>
                </a:lnTo>
                <a:lnTo>
                  <a:pt x="6792" y="1184"/>
                </a:lnTo>
                <a:lnTo>
                  <a:pt x="6792" y="1186"/>
                </a:lnTo>
                <a:lnTo>
                  <a:pt x="6794" y="1188"/>
                </a:lnTo>
                <a:lnTo>
                  <a:pt x="6792" y="1188"/>
                </a:lnTo>
                <a:lnTo>
                  <a:pt x="6792" y="1192"/>
                </a:lnTo>
                <a:lnTo>
                  <a:pt x="6792" y="1194"/>
                </a:lnTo>
                <a:lnTo>
                  <a:pt x="6790" y="1198"/>
                </a:lnTo>
                <a:lnTo>
                  <a:pt x="6788" y="1200"/>
                </a:lnTo>
                <a:lnTo>
                  <a:pt x="6792" y="1200"/>
                </a:lnTo>
                <a:lnTo>
                  <a:pt x="6798" y="1200"/>
                </a:lnTo>
                <a:lnTo>
                  <a:pt x="6798" y="1202"/>
                </a:lnTo>
                <a:lnTo>
                  <a:pt x="6798" y="1204"/>
                </a:lnTo>
                <a:lnTo>
                  <a:pt x="6800" y="1204"/>
                </a:lnTo>
                <a:lnTo>
                  <a:pt x="6804" y="1202"/>
                </a:lnTo>
                <a:lnTo>
                  <a:pt x="6808" y="1198"/>
                </a:lnTo>
                <a:lnTo>
                  <a:pt x="6810" y="1194"/>
                </a:lnTo>
                <a:lnTo>
                  <a:pt x="6814" y="1192"/>
                </a:lnTo>
                <a:lnTo>
                  <a:pt x="6816" y="1192"/>
                </a:lnTo>
                <a:lnTo>
                  <a:pt x="6816" y="1194"/>
                </a:lnTo>
                <a:lnTo>
                  <a:pt x="6818" y="1196"/>
                </a:lnTo>
                <a:lnTo>
                  <a:pt x="6826" y="1196"/>
                </a:lnTo>
                <a:lnTo>
                  <a:pt x="6832" y="1194"/>
                </a:lnTo>
                <a:lnTo>
                  <a:pt x="6832" y="1192"/>
                </a:lnTo>
                <a:lnTo>
                  <a:pt x="6830" y="1188"/>
                </a:lnTo>
                <a:lnTo>
                  <a:pt x="6830" y="1184"/>
                </a:lnTo>
                <a:lnTo>
                  <a:pt x="6832" y="1180"/>
                </a:lnTo>
                <a:lnTo>
                  <a:pt x="6834" y="1178"/>
                </a:lnTo>
                <a:lnTo>
                  <a:pt x="6834" y="1176"/>
                </a:lnTo>
                <a:lnTo>
                  <a:pt x="6836" y="1170"/>
                </a:lnTo>
                <a:lnTo>
                  <a:pt x="6836" y="1168"/>
                </a:lnTo>
                <a:lnTo>
                  <a:pt x="6834" y="1168"/>
                </a:lnTo>
                <a:close/>
                <a:moveTo>
                  <a:pt x="6690" y="1264"/>
                </a:moveTo>
                <a:lnTo>
                  <a:pt x="6690" y="1264"/>
                </a:lnTo>
                <a:lnTo>
                  <a:pt x="6700" y="1260"/>
                </a:lnTo>
                <a:lnTo>
                  <a:pt x="6712" y="1252"/>
                </a:lnTo>
                <a:lnTo>
                  <a:pt x="6716" y="1248"/>
                </a:lnTo>
                <a:lnTo>
                  <a:pt x="6710" y="1248"/>
                </a:lnTo>
                <a:lnTo>
                  <a:pt x="6702" y="1248"/>
                </a:lnTo>
                <a:lnTo>
                  <a:pt x="6692" y="1250"/>
                </a:lnTo>
                <a:lnTo>
                  <a:pt x="6690" y="1252"/>
                </a:lnTo>
                <a:lnTo>
                  <a:pt x="6690" y="1254"/>
                </a:lnTo>
                <a:lnTo>
                  <a:pt x="6686" y="1256"/>
                </a:lnTo>
                <a:lnTo>
                  <a:pt x="6684" y="1256"/>
                </a:lnTo>
                <a:lnTo>
                  <a:pt x="6684" y="1258"/>
                </a:lnTo>
                <a:lnTo>
                  <a:pt x="6684" y="1260"/>
                </a:lnTo>
                <a:lnTo>
                  <a:pt x="6682" y="1262"/>
                </a:lnTo>
                <a:lnTo>
                  <a:pt x="6680" y="1264"/>
                </a:lnTo>
                <a:lnTo>
                  <a:pt x="6680" y="1266"/>
                </a:lnTo>
                <a:lnTo>
                  <a:pt x="6684" y="1266"/>
                </a:lnTo>
                <a:lnTo>
                  <a:pt x="6690" y="1264"/>
                </a:lnTo>
                <a:close/>
                <a:moveTo>
                  <a:pt x="6712" y="1218"/>
                </a:moveTo>
                <a:lnTo>
                  <a:pt x="6712" y="1218"/>
                </a:lnTo>
                <a:lnTo>
                  <a:pt x="6708" y="1218"/>
                </a:lnTo>
                <a:lnTo>
                  <a:pt x="6706" y="1220"/>
                </a:lnTo>
                <a:lnTo>
                  <a:pt x="6706" y="1222"/>
                </a:lnTo>
                <a:lnTo>
                  <a:pt x="6704" y="1222"/>
                </a:lnTo>
                <a:lnTo>
                  <a:pt x="6700" y="1222"/>
                </a:lnTo>
                <a:lnTo>
                  <a:pt x="6698" y="1220"/>
                </a:lnTo>
                <a:lnTo>
                  <a:pt x="6698" y="1218"/>
                </a:lnTo>
                <a:lnTo>
                  <a:pt x="6696" y="1220"/>
                </a:lnTo>
                <a:lnTo>
                  <a:pt x="6694" y="1220"/>
                </a:lnTo>
                <a:lnTo>
                  <a:pt x="6692" y="1222"/>
                </a:lnTo>
                <a:lnTo>
                  <a:pt x="6690" y="1222"/>
                </a:lnTo>
                <a:lnTo>
                  <a:pt x="6690" y="1224"/>
                </a:lnTo>
                <a:lnTo>
                  <a:pt x="6688" y="1226"/>
                </a:lnTo>
                <a:lnTo>
                  <a:pt x="6686" y="1228"/>
                </a:lnTo>
                <a:lnTo>
                  <a:pt x="6686" y="1230"/>
                </a:lnTo>
                <a:lnTo>
                  <a:pt x="6688" y="1234"/>
                </a:lnTo>
                <a:lnTo>
                  <a:pt x="6694" y="1236"/>
                </a:lnTo>
                <a:lnTo>
                  <a:pt x="6696" y="1234"/>
                </a:lnTo>
                <a:lnTo>
                  <a:pt x="6700" y="1230"/>
                </a:lnTo>
                <a:lnTo>
                  <a:pt x="6710" y="1228"/>
                </a:lnTo>
                <a:lnTo>
                  <a:pt x="6716" y="1228"/>
                </a:lnTo>
                <a:lnTo>
                  <a:pt x="6710" y="1230"/>
                </a:lnTo>
                <a:lnTo>
                  <a:pt x="6704" y="1234"/>
                </a:lnTo>
                <a:lnTo>
                  <a:pt x="6704" y="1236"/>
                </a:lnTo>
                <a:lnTo>
                  <a:pt x="6714" y="1236"/>
                </a:lnTo>
                <a:lnTo>
                  <a:pt x="6724" y="1232"/>
                </a:lnTo>
                <a:lnTo>
                  <a:pt x="6726" y="1232"/>
                </a:lnTo>
                <a:lnTo>
                  <a:pt x="6726" y="1230"/>
                </a:lnTo>
                <a:lnTo>
                  <a:pt x="6726" y="1226"/>
                </a:lnTo>
                <a:lnTo>
                  <a:pt x="6724" y="1224"/>
                </a:lnTo>
                <a:lnTo>
                  <a:pt x="6724" y="1222"/>
                </a:lnTo>
                <a:lnTo>
                  <a:pt x="6726" y="1220"/>
                </a:lnTo>
                <a:lnTo>
                  <a:pt x="6726" y="1218"/>
                </a:lnTo>
                <a:lnTo>
                  <a:pt x="6724" y="1212"/>
                </a:lnTo>
                <a:lnTo>
                  <a:pt x="6718" y="1208"/>
                </a:lnTo>
                <a:lnTo>
                  <a:pt x="6716" y="1206"/>
                </a:lnTo>
                <a:lnTo>
                  <a:pt x="6714" y="1206"/>
                </a:lnTo>
                <a:lnTo>
                  <a:pt x="6712" y="1208"/>
                </a:lnTo>
                <a:lnTo>
                  <a:pt x="6712" y="1210"/>
                </a:lnTo>
                <a:lnTo>
                  <a:pt x="6714" y="1214"/>
                </a:lnTo>
                <a:lnTo>
                  <a:pt x="6716" y="1216"/>
                </a:lnTo>
                <a:lnTo>
                  <a:pt x="6712" y="1218"/>
                </a:lnTo>
                <a:close/>
                <a:moveTo>
                  <a:pt x="6740" y="1208"/>
                </a:moveTo>
                <a:lnTo>
                  <a:pt x="6740" y="1208"/>
                </a:lnTo>
                <a:lnTo>
                  <a:pt x="6744" y="1206"/>
                </a:lnTo>
                <a:lnTo>
                  <a:pt x="6746" y="1204"/>
                </a:lnTo>
                <a:lnTo>
                  <a:pt x="6752" y="1196"/>
                </a:lnTo>
                <a:lnTo>
                  <a:pt x="6756" y="1190"/>
                </a:lnTo>
                <a:lnTo>
                  <a:pt x="6758" y="1186"/>
                </a:lnTo>
                <a:lnTo>
                  <a:pt x="6756" y="1184"/>
                </a:lnTo>
                <a:lnTo>
                  <a:pt x="6750" y="1186"/>
                </a:lnTo>
                <a:lnTo>
                  <a:pt x="6740" y="1194"/>
                </a:lnTo>
                <a:lnTo>
                  <a:pt x="6734" y="1200"/>
                </a:lnTo>
                <a:lnTo>
                  <a:pt x="6730" y="1206"/>
                </a:lnTo>
                <a:lnTo>
                  <a:pt x="6728" y="1212"/>
                </a:lnTo>
                <a:lnTo>
                  <a:pt x="6728" y="1214"/>
                </a:lnTo>
                <a:lnTo>
                  <a:pt x="6730" y="1216"/>
                </a:lnTo>
                <a:lnTo>
                  <a:pt x="6732" y="1214"/>
                </a:lnTo>
                <a:lnTo>
                  <a:pt x="6734" y="1212"/>
                </a:lnTo>
                <a:lnTo>
                  <a:pt x="6736" y="1208"/>
                </a:lnTo>
                <a:lnTo>
                  <a:pt x="6740" y="1208"/>
                </a:lnTo>
                <a:close/>
                <a:moveTo>
                  <a:pt x="6766" y="1216"/>
                </a:moveTo>
                <a:lnTo>
                  <a:pt x="6766" y="1216"/>
                </a:lnTo>
                <a:lnTo>
                  <a:pt x="6762" y="1214"/>
                </a:lnTo>
                <a:lnTo>
                  <a:pt x="6758" y="1216"/>
                </a:lnTo>
                <a:lnTo>
                  <a:pt x="6756" y="1220"/>
                </a:lnTo>
                <a:lnTo>
                  <a:pt x="6756" y="1222"/>
                </a:lnTo>
                <a:lnTo>
                  <a:pt x="6756" y="1226"/>
                </a:lnTo>
                <a:lnTo>
                  <a:pt x="6750" y="1232"/>
                </a:lnTo>
                <a:lnTo>
                  <a:pt x="6746" y="1234"/>
                </a:lnTo>
                <a:lnTo>
                  <a:pt x="6748" y="1230"/>
                </a:lnTo>
                <a:lnTo>
                  <a:pt x="6750" y="1226"/>
                </a:lnTo>
                <a:lnTo>
                  <a:pt x="6746" y="1224"/>
                </a:lnTo>
                <a:lnTo>
                  <a:pt x="6744" y="1224"/>
                </a:lnTo>
                <a:lnTo>
                  <a:pt x="6746" y="1220"/>
                </a:lnTo>
                <a:lnTo>
                  <a:pt x="6750" y="1214"/>
                </a:lnTo>
                <a:lnTo>
                  <a:pt x="6750" y="1212"/>
                </a:lnTo>
                <a:lnTo>
                  <a:pt x="6748" y="1210"/>
                </a:lnTo>
                <a:lnTo>
                  <a:pt x="6742" y="1210"/>
                </a:lnTo>
                <a:lnTo>
                  <a:pt x="6738" y="1214"/>
                </a:lnTo>
                <a:lnTo>
                  <a:pt x="6734" y="1218"/>
                </a:lnTo>
                <a:lnTo>
                  <a:pt x="6730" y="1224"/>
                </a:lnTo>
                <a:lnTo>
                  <a:pt x="6730" y="1228"/>
                </a:lnTo>
                <a:lnTo>
                  <a:pt x="6732" y="1232"/>
                </a:lnTo>
                <a:lnTo>
                  <a:pt x="6730" y="1236"/>
                </a:lnTo>
                <a:lnTo>
                  <a:pt x="6726" y="1238"/>
                </a:lnTo>
                <a:lnTo>
                  <a:pt x="6722" y="1240"/>
                </a:lnTo>
                <a:lnTo>
                  <a:pt x="6720" y="1242"/>
                </a:lnTo>
                <a:lnTo>
                  <a:pt x="6720" y="1246"/>
                </a:lnTo>
                <a:lnTo>
                  <a:pt x="6716" y="1254"/>
                </a:lnTo>
                <a:lnTo>
                  <a:pt x="6714" y="1260"/>
                </a:lnTo>
                <a:lnTo>
                  <a:pt x="6718" y="1258"/>
                </a:lnTo>
                <a:lnTo>
                  <a:pt x="6726" y="1256"/>
                </a:lnTo>
                <a:lnTo>
                  <a:pt x="6728" y="1256"/>
                </a:lnTo>
                <a:lnTo>
                  <a:pt x="6732" y="1256"/>
                </a:lnTo>
                <a:lnTo>
                  <a:pt x="6734" y="1258"/>
                </a:lnTo>
                <a:lnTo>
                  <a:pt x="6736" y="1258"/>
                </a:lnTo>
                <a:lnTo>
                  <a:pt x="6738" y="1254"/>
                </a:lnTo>
                <a:lnTo>
                  <a:pt x="6742" y="1250"/>
                </a:lnTo>
                <a:lnTo>
                  <a:pt x="6744" y="1250"/>
                </a:lnTo>
                <a:lnTo>
                  <a:pt x="6746" y="1252"/>
                </a:lnTo>
                <a:lnTo>
                  <a:pt x="6748" y="1252"/>
                </a:lnTo>
                <a:lnTo>
                  <a:pt x="6752" y="1248"/>
                </a:lnTo>
                <a:lnTo>
                  <a:pt x="6754" y="1244"/>
                </a:lnTo>
                <a:lnTo>
                  <a:pt x="6756" y="1240"/>
                </a:lnTo>
                <a:lnTo>
                  <a:pt x="6760" y="1238"/>
                </a:lnTo>
                <a:lnTo>
                  <a:pt x="6768" y="1236"/>
                </a:lnTo>
                <a:lnTo>
                  <a:pt x="6772" y="1236"/>
                </a:lnTo>
                <a:lnTo>
                  <a:pt x="6774" y="1234"/>
                </a:lnTo>
                <a:lnTo>
                  <a:pt x="6774" y="1230"/>
                </a:lnTo>
                <a:lnTo>
                  <a:pt x="6774" y="1228"/>
                </a:lnTo>
                <a:lnTo>
                  <a:pt x="6770" y="1220"/>
                </a:lnTo>
                <a:lnTo>
                  <a:pt x="6766" y="1216"/>
                </a:lnTo>
                <a:close/>
                <a:moveTo>
                  <a:pt x="6654" y="1274"/>
                </a:moveTo>
                <a:lnTo>
                  <a:pt x="6654" y="1274"/>
                </a:lnTo>
                <a:lnTo>
                  <a:pt x="6656" y="1272"/>
                </a:lnTo>
                <a:lnTo>
                  <a:pt x="6658" y="1272"/>
                </a:lnTo>
                <a:lnTo>
                  <a:pt x="6660" y="1272"/>
                </a:lnTo>
                <a:lnTo>
                  <a:pt x="6664" y="1272"/>
                </a:lnTo>
                <a:lnTo>
                  <a:pt x="6666" y="1270"/>
                </a:lnTo>
                <a:lnTo>
                  <a:pt x="6668" y="1266"/>
                </a:lnTo>
                <a:lnTo>
                  <a:pt x="6672" y="1264"/>
                </a:lnTo>
                <a:lnTo>
                  <a:pt x="6676" y="1262"/>
                </a:lnTo>
                <a:lnTo>
                  <a:pt x="6674" y="1262"/>
                </a:lnTo>
                <a:lnTo>
                  <a:pt x="6664" y="1260"/>
                </a:lnTo>
                <a:lnTo>
                  <a:pt x="6660" y="1258"/>
                </a:lnTo>
                <a:lnTo>
                  <a:pt x="6656" y="1258"/>
                </a:lnTo>
                <a:lnTo>
                  <a:pt x="6654" y="1262"/>
                </a:lnTo>
                <a:lnTo>
                  <a:pt x="6650" y="1266"/>
                </a:lnTo>
                <a:lnTo>
                  <a:pt x="6652" y="1268"/>
                </a:lnTo>
                <a:lnTo>
                  <a:pt x="6650" y="1272"/>
                </a:lnTo>
                <a:lnTo>
                  <a:pt x="6650" y="1274"/>
                </a:lnTo>
                <a:lnTo>
                  <a:pt x="6652" y="1276"/>
                </a:lnTo>
                <a:lnTo>
                  <a:pt x="6654" y="1274"/>
                </a:lnTo>
                <a:close/>
                <a:moveTo>
                  <a:pt x="6642" y="1270"/>
                </a:moveTo>
                <a:lnTo>
                  <a:pt x="6642" y="1270"/>
                </a:lnTo>
                <a:lnTo>
                  <a:pt x="6642" y="1272"/>
                </a:lnTo>
                <a:lnTo>
                  <a:pt x="6640" y="1274"/>
                </a:lnTo>
                <a:lnTo>
                  <a:pt x="6638" y="1274"/>
                </a:lnTo>
                <a:lnTo>
                  <a:pt x="6638" y="1278"/>
                </a:lnTo>
                <a:lnTo>
                  <a:pt x="6640" y="1280"/>
                </a:lnTo>
                <a:lnTo>
                  <a:pt x="6642" y="1280"/>
                </a:lnTo>
                <a:lnTo>
                  <a:pt x="6646" y="1274"/>
                </a:lnTo>
                <a:lnTo>
                  <a:pt x="6648" y="1270"/>
                </a:lnTo>
                <a:lnTo>
                  <a:pt x="6646" y="1268"/>
                </a:lnTo>
                <a:lnTo>
                  <a:pt x="6644" y="1268"/>
                </a:lnTo>
                <a:lnTo>
                  <a:pt x="6642" y="1270"/>
                </a:lnTo>
                <a:close/>
                <a:moveTo>
                  <a:pt x="6634" y="1276"/>
                </a:moveTo>
                <a:lnTo>
                  <a:pt x="6634" y="1276"/>
                </a:lnTo>
                <a:lnTo>
                  <a:pt x="6634" y="1272"/>
                </a:lnTo>
                <a:lnTo>
                  <a:pt x="6632" y="1272"/>
                </a:lnTo>
                <a:lnTo>
                  <a:pt x="6626" y="1282"/>
                </a:lnTo>
                <a:lnTo>
                  <a:pt x="6624" y="1290"/>
                </a:lnTo>
                <a:lnTo>
                  <a:pt x="6630" y="1288"/>
                </a:lnTo>
                <a:lnTo>
                  <a:pt x="6634" y="1284"/>
                </a:lnTo>
                <a:lnTo>
                  <a:pt x="6634" y="1282"/>
                </a:lnTo>
                <a:lnTo>
                  <a:pt x="6634" y="1276"/>
                </a:lnTo>
                <a:close/>
                <a:moveTo>
                  <a:pt x="6742" y="1278"/>
                </a:moveTo>
                <a:lnTo>
                  <a:pt x="6742" y="1278"/>
                </a:lnTo>
                <a:lnTo>
                  <a:pt x="6736" y="1278"/>
                </a:lnTo>
                <a:lnTo>
                  <a:pt x="6732" y="1278"/>
                </a:lnTo>
                <a:lnTo>
                  <a:pt x="6730" y="1280"/>
                </a:lnTo>
                <a:lnTo>
                  <a:pt x="6732" y="1282"/>
                </a:lnTo>
                <a:lnTo>
                  <a:pt x="6738" y="1280"/>
                </a:lnTo>
                <a:lnTo>
                  <a:pt x="6742" y="1280"/>
                </a:lnTo>
                <a:lnTo>
                  <a:pt x="6742" y="1278"/>
                </a:lnTo>
                <a:close/>
                <a:moveTo>
                  <a:pt x="6610" y="1406"/>
                </a:moveTo>
                <a:lnTo>
                  <a:pt x="6610" y="1406"/>
                </a:lnTo>
                <a:lnTo>
                  <a:pt x="6608" y="1410"/>
                </a:lnTo>
                <a:lnTo>
                  <a:pt x="6606" y="1414"/>
                </a:lnTo>
                <a:lnTo>
                  <a:pt x="6604" y="1416"/>
                </a:lnTo>
                <a:lnTo>
                  <a:pt x="6606" y="1416"/>
                </a:lnTo>
                <a:lnTo>
                  <a:pt x="6612" y="1414"/>
                </a:lnTo>
                <a:lnTo>
                  <a:pt x="6614" y="1412"/>
                </a:lnTo>
                <a:lnTo>
                  <a:pt x="6616" y="1408"/>
                </a:lnTo>
                <a:lnTo>
                  <a:pt x="6616" y="1404"/>
                </a:lnTo>
                <a:lnTo>
                  <a:pt x="6614" y="1404"/>
                </a:lnTo>
                <a:lnTo>
                  <a:pt x="6610" y="1404"/>
                </a:lnTo>
                <a:lnTo>
                  <a:pt x="6610" y="1406"/>
                </a:lnTo>
                <a:close/>
                <a:moveTo>
                  <a:pt x="6608" y="1424"/>
                </a:moveTo>
                <a:lnTo>
                  <a:pt x="6608" y="1424"/>
                </a:lnTo>
                <a:lnTo>
                  <a:pt x="6608" y="1426"/>
                </a:lnTo>
                <a:lnTo>
                  <a:pt x="6610" y="1426"/>
                </a:lnTo>
                <a:lnTo>
                  <a:pt x="6618" y="1422"/>
                </a:lnTo>
                <a:lnTo>
                  <a:pt x="6624" y="1418"/>
                </a:lnTo>
                <a:lnTo>
                  <a:pt x="6620" y="1418"/>
                </a:lnTo>
                <a:lnTo>
                  <a:pt x="6612" y="1418"/>
                </a:lnTo>
                <a:lnTo>
                  <a:pt x="6610" y="1420"/>
                </a:lnTo>
                <a:lnTo>
                  <a:pt x="6608" y="1424"/>
                </a:lnTo>
                <a:close/>
                <a:moveTo>
                  <a:pt x="6606" y="1454"/>
                </a:moveTo>
                <a:lnTo>
                  <a:pt x="6606" y="1454"/>
                </a:lnTo>
                <a:lnTo>
                  <a:pt x="6602" y="1450"/>
                </a:lnTo>
                <a:lnTo>
                  <a:pt x="6600" y="1450"/>
                </a:lnTo>
                <a:lnTo>
                  <a:pt x="6600" y="1454"/>
                </a:lnTo>
                <a:lnTo>
                  <a:pt x="6600" y="1456"/>
                </a:lnTo>
                <a:lnTo>
                  <a:pt x="6598" y="1458"/>
                </a:lnTo>
                <a:lnTo>
                  <a:pt x="6596" y="1460"/>
                </a:lnTo>
                <a:lnTo>
                  <a:pt x="6596" y="1462"/>
                </a:lnTo>
                <a:lnTo>
                  <a:pt x="6594" y="1466"/>
                </a:lnTo>
                <a:lnTo>
                  <a:pt x="6592" y="1470"/>
                </a:lnTo>
                <a:lnTo>
                  <a:pt x="6592" y="1472"/>
                </a:lnTo>
                <a:lnTo>
                  <a:pt x="6594" y="1472"/>
                </a:lnTo>
                <a:lnTo>
                  <a:pt x="6598" y="1470"/>
                </a:lnTo>
                <a:lnTo>
                  <a:pt x="6598" y="1468"/>
                </a:lnTo>
                <a:lnTo>
                  <a:pt x="6600" y="1464"/>
                </a:lnTo>
                <a:lnTo>
                  <a:pt x="6602" y="1462"/>
                </a:lnTo>
                <a:lnTo>
                  <a:pt x="6608" y="1460"/>
                </a:lnTo>
                <a:lnTo>
                  <a:pt x="6608" y="1458"/>
                </a:lnTo>
                <a:lnTo>
                  <a:pt x="6606" y="1454"/>
                </a:lnTo>
                <a:close/>
                <a:moveTo>
                  <a:pt x="6590" y="1440"/>
                </a:moveTo>
                <a:lnTo>
                  <a:pt x="6590" y="1440"/>
                </a:lnTo>
                <a:lnTo>
                  <a:pt x="6588" y="1438"/>
                </a:lnTo>
                <a:lnTo>
                  <a:pt x="6584" y="1438"/>
                </a:lnTo>
                <a:lnTo>
                  <a:pt x="6580" y="1440"/>
                </a:lnTo>
                <a:lnTo>
                  <a:pt x="6580" y="1444"/>
                </a:lnTo>
                <a:lnTo>
                  <a:pt x="6582" y="1446"/>
                </a:lnTo>
                <a:lnTo>
                  <a:pt x="6586" y="1444"/>
                </a:lnTo>
                <a:lnTo>
                  <a:pt x="6590" y="1442"/>
                </a:lnTo>
                <a:lnTo>
                  <a:pt x="6590" y="1440"/>
                </a:lnTo>
                <a:close/>
                <a:moveTo>
                  <a:pt x="6602" y="1480"/>
                </a:moveTo>
                <a:lnTo>
                  <a:pt x="6602" y="1480"/>
                </a:lnTo>
                <a:lnTo>
                  <a:pt x="6604" y="1476"/>
                </a:lnTo>
                <a:lnTo>
                  <a:pt x="6602" y="1474"/>
                </a:lnTo>
                <a:lnTo>
                  <a:pt x="6598" y="1474"/>
                </a:lnTo>
                <a:lnTo>
                  <a:pt x="6596" y="1474"/>
                </a:lnTo>
                <a:lnTo>
                  <a:pt x="6594" y="1476"/>
                </a:lnTo>
                <a:lnTo>
                  <a:pt x="6590" y="1480"/>
                </a:lnTo>
                <a:lnTo>
                  <a:pt x="6592" y="1482"/>
                </a:lnTo>
                <a:lnTo>
                  <a:pt x="6596" y="1480"/>
                </a:lnTo>
                <a:lnTo>
                  <a:pt x="6602" y="1480"/>
                </a:lnTo>
                <a:close/>
                <a:moveTo>
                  <a:pt x="6572" y="1482"/>
                </a:moveTo>
                <a:lnTo>
                  <a:pt x="6572" y="1482"/>
                </a:lnTo>
                <a:lnTo>
                  <a:pt x="6574" y="1484"/>
                </a:lnTo>
                <a:lnTo>
                  <a:pt x="6582" y="1480"/>
                </a:lnTo>
                <a:lnTo>
                  <a:pt x="6584" y="1480"/>
                </a:lnTo>
                <a:lnTo>
                  <a:pt x="6582" y="1478"/>
                </a:lnTo>
                <a:lnTo>
                  <a:pt x="6576" y="1478"/>
                </a:lnTo>
                <a:lnTo>
                  <a:pt x="6572" y="1482"/>
                </a:lnTo>
                <a:close/>
                <a:moveTo>
                  <a:pt x="6564" y="1522"/>
                </a:moveTo>
                <a:lnTo>
                  <a:pt x="6564" y="1522"/>
                </a:lnTo>
                <a:lnTo>
                  <a:pt x="6566" y="1522"/>
                </a:lnTo>
                <a:lnTo>
                  <a:pt x="6568" y="1520"/>
                </a:lnTo>
                <a:lnTo>
                  <a:pt x="6566" y="1518"/>
                </a:lnTo>
                <a:lnTo>
                  <a:pt x="6564" y="1518"/>
                </a:lnTo>
                <a:lnTo>
                  <a:pt x="6562" y="1516"/>
                </a:lnTo>
                <a:lnTo>
                  <a:pt x="6560" y="1514"/>
                </a:lnTo>
                <a:lnTo>
                  <a:pt x="6558" y="1514"/>
                </a:lnTo>
                <a:lnTo>
                  <a:pt x="6556" y="1514"/>
                </a:lnTo>
                <a:lnTo>
                  <a:pt x="6556" y="1516"/>
                </a:lnTo>
                <a:lnTo>
                  <a:pt x="6556" y="1520"/>
                </a:lnTo>
                <a:lnTo>
                  <a:pt x="6560" y="1520"/>
                </a:lnTo>
                <a:lnTo>
                  <a:pt x="6564" y="1522"/>
                </a:lnTo>
                <a:close/>
                <a:moveTo>
                  <a:pt x="6564" y="1514"/>
                </a:moveTo>
                <a:lnTo>
                  <a:pt x="6564" y="1514"/>
                </a:lnTo>
                <a:lnTo>
                  <a:pt x="6566" y="1512"/>
                </a:lnTo>
                <a:lnTo>
                  <a:pt x="6564" y="1510"/>
                </a:lnTo>
                <a:lnTo>
                  <a:pt x="6560" y="1508"/>
                </a:lnTo>
                <a:lnTo>
                  <a:pt x="6558" y="1508"/>
                </a:lnTo>
                <a:lnTo>
                  <a:pt x="6560" y="1510"/>
                </a:lnTo>
                <a:lnTo>
                  <a:pt x="6562" y="1512"/>
                </a:lnTo>
                <a:lnTo>
                  <a:pt x="6564" y="1514"/>
                </a:lnTo>
                <a:close/>
                <a:moveTo>
                  <a:pt x="6550" y="1510"/>
                </a:moveTo>
                <a:lnTo>
                  <a:pt x="6550" y="1510"/>
                </a:lnTo>
                <a:lnTo>
                  <a:pt x="6550" y="1512"/>
                </a:lnTo>
                <a:lnTo>
                  <a:pt x="6552" y="1512"/>
                </a:lnTo>
                <a:lnTo>
                  <a:pt x="6556" y="1512"/>
                </a:lnTo>
                <a:lnTo>
                  <a:pt x="6556" y="1510"/>
                </a:lnTo>
                <a:lnTo>
                  <a:pt x="6554" y="1508"/>
                </a:lnTo>
                <a:lnTo>
                  <a:pt x="6552" y="1508"/>
                </a:lnTo>
                <a:lnTo>
                  <a:pt x="6550" y="1510"/>
                </a:lnTo>
                <a:close/>
                <a:moveTo>
                  <a:pt x="6620" y="1402"/>
                </a:moveTo>
                <a:lnTo>
                  <a:pt x="6620" y="1402"/>
                </a:lnTo>
                <a:lnTo>
                  <a:pt x="6622" y="1404"/>
                </a:lnTo>
                <a:lnTo>
                  <a:pt x="6626" y="1402"/>
                </a:lnTo>
                <a:lnTo>
                  <a:pt x="6626" y="1400"/>
                </a:lnTo>
                <a:lnTo>
                  <a:pt x="6626" y="1398"/>
                </a:lnTo>
                <a:lnTo>
                  <a:pt x="6624" y="1398"/>
                </a:lnTo>
                <a:lnTo>
                  <a:pt x="6620" y="1398"/>
                </a:lnTo>
                <a:lnTo>
                  <a:pt x="6620" y="1400"/>
                </a:lnTo>
                <a:lnTo>
                  <a:pt x="6620" y="1402"/>
                </a:lnTo>
                <a:close/>
                <a:moveTo>
                  <a:pt x="6436" y="1594"/>
                </a:moveTo>
                <a:lnTo>
                  <a:pt x="6436" y="1594"/>
                </a:lnTo>
                <a:lnTo>
                  <a:pt x="6434" y="1592"/>
                </a:lnTo>
                <a:lnTo>
                  <a:pt x="6428" y="1592"/>
                </a:lnTo>
                <a:lnTo>
                  <a:pt x="6422" y="1594"/>
                </a:lnTo>
                <a:lnTo>
                  <a:pt x="6420" y="1594"/>
                </a:lnTo>
                <a:lnTo>
                  <a:pt x="6420" y="1596"/>
                </a:lnTo>
                <a:lnTo>
                  <a:pt x="6426" y="1598"/>
                </a:lnTo>
                <a:lnTo>
                  <a:pt x="6432" y="1598"/>
                </a:lnTo>
                <a:lnTo>
                  <a:pt x="6436" y="1596"/>
                </a:lnTo>
                <a:lnTo>
                  <a:pt x="6436" y="1594"/>
                </a:lnTo>
                <a:close/>
                <a:moveTo>
                  <a:pt x="6460" y="1576"/>
                </a:moveTo>
                <a:lnTo>
                  <a:pt x="6460" y="1576"/>
                </a:lnTo>
                <a:lnTo>
                  <a:pt x="6464" y="1574"/>
                </a:lnTo>
                <a:lnTo>
                  <a:pt x="6464" y="1570"/>
                </a:lnTo>
                <a:lnTo>
                  <a:pt x="6462" y="1568"/>
                </a:lnTo>
                <a:lnTo>
                  <a:pt x="6460" y="1568"/>
                </a:lnTo>
                <a:lnTo>
                  <a:pt x="6456" y="1572"/>
                </a:lnTo>
                <a:lnTo>
                  <a:pt x="6450" y="1572"/>
                </a:lnTo>
                <a:lnTo>
                  <a:pt x="6444" y="1574"/>
                </a:lnTo>
                <a:lnTo>
                  <a:pt x="6442" y="1576"/>
                </a:lnTo>
                <a:lnTo>
                  <a:pt x="6442" y="1578"/>
                </a:lnTo>
                <a:lnTo>
                  <a:pt x="6448" y="1578"/>
                </a:lnTo>
                <a:lnTo>
                  <a:pt x="6460" y="1576"/>
                </a:lnTo>
                <a:close/>
                <a:moveTo>
                  <a:pt x="6456" y="1592"/>
                </a:moveTo>
                <a:lnTo>
                  <a:pt x="6456" y="1592"/>
                </a:lnTo>
                <a:lnTo>
                  <a:pt x="6468" y="1588"/>
                </a:lnTo>
                <a:lnTo>
                  <a:pt x="6474" y="1586"/>
                </a:lnTo>
                <a:lnTo>
                  <a:pt x="6476" y="1586"/>
                </a:lnTo>
                <a:lnTo>
                  <a:pt x="6476" y="1582"/>
                </a:lnTo>
                <a:lnTo>
                  <a:pt x="6472" y="1582"/>
                </a:lnTo>
                <a:lnTo>
                  <a:pt x="6470" y="1582"/>
                </a:lnTo>
                <a:lnTo>
                  <a:pt x="6470" y="1580"/>
                </a:lnTo>
                <a:lnTo>
                  <a:pt x="6470" y="1578"/>
                </a:lnTo>
                <a:lnTo>
                  <a:pt x="6468" y="1578"/>
                </a:lnTo>
                <a:lnTo>
                  <a:pt x="6464" y="1580"/>
                </a:lnTo>
                <a:lnTo>
                  <a:pt x="6452" y="1584"/>
                </a:lnTo>
                <a:lnTo>
                  <a:pt x="6444" y="1586"/>
                </a:lnTo>
                <a:lnTo>
                  <a:pt x="6442" y="1588"/>
                </a:lnTo>
                <a:lnTo>
                  <a:pt x="6442" y="1592"/>
                </a:lnTo>
                <a:lnTo>
                  <a:pt x="6446" y="1594"/>
                </a:lnTo>
                <a:lnTo>
                  <a:pt x="6456" y="1592"/>
                </a:lnTo>
                <a:close/>
                <a:moveTo>
                  <a:pt x="6428" y="1610"/>
                </a:moveTo>
                <a:lnTo>
                  <a:pt x="6428" y="1610"/>
                </a:lnTo>
                <a:lnTo>
                  <a:pt x="6430" y="1612"/>
                </a:lnTo>
                <a:lnTo>
                  <a:pt x="6432" y="1612"/>
                </a:lnTo>
                <a:lnTo>
                  <a:pt x="6436" y="1612"/>
                </a:lnTo>
                <a:lnTo>
                  <a:pt x="6436" y="1608"/>
                </a:lnTo>
                <a:lnTo>
                  <a:pt x="6434" y="1606"/>
                </a:lnTo>
                <a:lnTo>
                  <a:pt x="6430" y="1606"/>
                </a:lnTo>
                <a:lnTo>
                  <a:pt x="6428" y="1608"/>
                </a:lnTo>
                <a:lnTo>
                  <a:pt x="6428" y="1610"/>
                </a:lnTo>
                <a:close/>
                <a:moveTo>
                  <a:pt x="6418" y="1622"/>
                </a:moveTo>
                <a:lnTo>
                  <a:pt x="6418" y="1622"/>
                </a:lnTo>
                <a:lnTo>
                  <a:pt x="6418" y="1620"/>
                </a:lnTo>
                <a:lnTo>
                  <a:pt x="6418" y="1618"/>
                </a:lnTo>
                <a:lnTo>
                  <a:pt x="6414" y="1616"/>
                </a:lnTo>
                <a:lnTo>
                  <a:pt x="6412" y="1618"/>
                </a:lnTo>
                <a:lnTo>
                  <a:pt x="6410" y="1618"/>
                </a:lnTo>
                <a:lnTo>
                  <a:pt x="6408" y="1618"/>
                </a:lnTo>
                <a:lnTo>
                  <a:pt x="6406" y="1618"/>
                </a:lnTo>
                <a:lnTo>
                  <a:pt x="6404" y="1620"/>
                </a:lnTo>
                <a:lnTo>
                  <a:pt x="6404" y="1622"/>
                </a:lnTo>
                <a:lnTo>
                  <a:pt x="6408" y="1622"/>
                </a:lnTo>
                <a:lnTo>
                  <a:pt x="6418" y="1622"/>
                </a:lnTo>
                <a:close/>
                <a:moveTo>
                  <a:pt x="6384" y="1640"/>
                </a:moveTo>
                <a:lnTo>
                  <a:pt x="6384" y="1640"/>
                </a:lnTo>
                <a:lnTo>
                  <a:pt x="6382" y="1638"/>
                </a:lnTo>
                <a:lnTo>
                  <a:pt x="6378" y="1638"/>
                </a:lnTo>
                <a:lnTo>
                  <a:pt x="6374" y="1640"/>
                </a:lnTo>
                <a:lnTo>
                  <a:pt x="6374" y="1644"/>
                </a:lnTo>
                <a:lnTo>
                  <a:pt x="6376" y="1644"/>
                </a:lnTo>
                <a:lnTo>
                  <a:pt x="6380" y="1644"/>
                </a:lnTo>
                <a:lnTo>
                  <a:pt x="6384" y="1644"/>
                </a:lnTo>
                <a:lnTo>
                  <a:pt x="6386" y="1642"/>
                </a:lnTo>
                <a:lnTo>
                  <a:pt x="6384" y="1640"/>
                </a:lnTo>
                <a:close/>
                <a:moveTo>
                  <a:pt x="6346" y="1662"/>
                </a:moveTo>
                <a:lnTo>
                  <a:pt x="6346" y="1662"/>
                </a:lnTo>
                <a:lnTo>
                  <a:pt x="6344" y="1662"/>
                </a:lnTo>
                <a:lnTo>
                  <a:pt x="6342" y="1664"/>
                </a:lnTo>
                <a:lnTo>
                  <a:pt x="6340" y="1668"/>
                </a:lnTo>
                <a:lnTo>
                  <a:pt x="6340" y="1672"/>
                </a:lnTo>
                <a:lnTo>
                  <a:pt x="6344" y="1672"/>
                </a:lnTo>
                <a:lnTo>
                  <a:pt x="6348" y="1668"/>
                </a:lnTo>
                <a:lnTo>
                  <a:pt x="6350" y="1664"/>
                </a:lnTo>
                <a:lnTo>
                  <a:pt x="6348" y="1662"/>
                </a:lnTo>
                <a:lnTo>
                  <a:pt x="6346" y="1662"/>
                </a:lnTo>
                <a:close/>
                <a:moveTo>
                  <a:pt x="6336" y="1670"/>
                </a:moveTo>
                <a:lnTo>
                  <a:pt x="6336" y="1670"/>
                </a:lnTo>
                <a:lnTo>
                  <a:pt x="6332" y="1668"/>
                </a:lnTo>
                <a:lnTo>
                  <a:pt x="6330" y="1670"/>
                </a:lnTo>
                <a:lnTo>
                  <a:pt x="6328" y="1672"/>
                </a:lnTo>
                <a:lnTo>
                  <a:pt x="6330" y="1674"/>
                </a:lnTo>
                <a:lnTo>
                  <a:pt x="6332" y="1674"/>
                </a:lnTo>
                <a:lnTo>
                  <a:pt x="6336" y="1672"/>
                </a:lnTo>
                <a:lnTo>
                  <a:pt x="6336" y="1670"/>
                </a:lnTo>
                <a:close/>
                <a:moveTo>
                  <a:pt x="6302" y="1700"/>
                </a:moveTo>
                <a:lnTo>
                  <a:pt x="6302" y="1700"/>
                </a:lnTo>
                <a:lnTo>
                  <a:pt x="6306" y="1702"/>
                </a:lnTo>
                <a:lnTo>
                  <a:pt x="6310" y="1700"/>
                </a:lnTo>
                <a:lnTo>
                  <a:pt x="6312" y="1698"/>
                </a:lnTo>
                <a:lnTo>
                  <a:pt x="6312" y="1696"/>
                </a:lnTo>
                <a:lnTo>
                  <a:pt x="6308" y="1696"/>
                </a:lnTo>
                <a:lnTo>
                  <a:pt x="6302" y="1696"/>
                </a:lnTo>
                <a:lnTo>
                  <a:pt x="6300" y="1698"/>
                </a:lnTo>
                <a:lnTo>
                  <a:pt x="6302" y="1700"/>
                </a:lnTo>
                <a:close/>
                <a:moveTo>
                  <a:pt x="6302" y="1750"/>
                </a:moveTo>
                <a:lnTo>
                  <a:pt x="6302" y="1750"/>
                </a:lnTo>
                <a:lnTo>
                  <a:pt x="6306" y="1750"/>
                </a:lnTo>
                <a:lnTo>
                  <a:pt x="6306" y="1748"/>
                </a:lnTo>
                <a:lnTo>
                  <a:pt x="6306" y="1744"/>
                </a:lnTo>
                <a:lnTo>
                  <a:pt x="6304" y="1744"/>
                </a:lnTo>
                <a:lnTo>
                  <a:pt x="6300" y="1746"/>
                </a:lnTo>
                <a:lnTo>
                  <a:pt x="6300" y="1748"/>
                </a:lnTo>
                <a:lnTo>
                  <a:pt x="6302" y="1750"/>
                </a:lnTo>
                <a:close/>
                <a:moveTo>
                  <a:pt x="6330" y="1826"/>
                </a:moveTo>
                <a:lnTo>
                  <a:pt x="6330" y="1826"/>
                </a:lnTo>
                <a:lnTo>
                  <a:pt x="6332" y="1826"/>
                </a:lnTo>
                <a:lnTo>
                  <a:pt x="6334" y="1818"/>
                </a:lnTo>
                <a:lnTo>
                  <a:pt x="6334" y="1816"/>
                </a:lnTo>
                <a:lnTo>
                  <a:pt x="6334" y="1814"/>
                </a:lnTo>
                <a:lnTo>
                  <a:pt x="6330" y="1814"/>
                </a:lnTo>
                <a:lnTo>
                  <a:pt x="6324" y="1818"/>
                </a:lnTo>
                <a:lnTo>
                  <a:pt x="6320" y="1822"/>
                </a:lnTo>
                <a:lnTo>
                  <a:pt x="6318" y="1826"/>
                </a:lnTo>
                <a:lnTo>
                  <a:pt x="6320" y="1830"/>
                </a:lnTo>
                <a:lnTo>
                  <a:pt x="6322" y="1834"/>
                </a:lnTo>
                <a:lnTo>
                  <a:pt x="6328" y="1834"/>
                </a:lnTo>
                <a:lnTo>
                  <a:pt x="6328" y="1832"/>
                </a:lnTo>
                <a:lnTo>
                  <a:pt x="6326" y="1826"/>
                </a:lnTo>
                <a:lnTo>
                  <a:pt x="6324" y="1824"/>
                </a:lnTo>
                <a:lnTo>
                  <a:pt x="6326" y="1822"/>
                </a:lnTo>
                <a:lnTo>
                  <a:pt x="6330" y="1826"/>
                </a:lnTo>
                <a:close/>
                <a:moveTo>
                  <a:pt x="6316" y="1876"/>
                </a:moveTo>
                <a:lnTo>
                  <a:pt x="6316" y="1876"/>
                </a:lnTo>
                <a:lnTo>
                  <a:pt x="6318" y="1874"/>
                </a:lnTo>
                <a:lnTo>
                  <a:pt x="6318" y="1872"/>
                </a:lnTo>
                <a:lnTo>
                  <a:pt x="6318" y="1864"/>
                </a:lnTo>
                <a:lnTo>
                  <a:pt x="6316" y="1860"/>
                </a:lnTo>
                <a:lnTo>
                  <a:pt x="6314" y="1860"/>
                </a:lnTo>
                <a:lnTo>
                  <a:pt x="6314" y="1862"/>
                </a:lnTo>
                <a:lnTo>
                  <a:pt x="6314" y="1872"/>
                </a:lnTo>
                <a:lnTo>
                  <a:pt x="6314" y="1874"/>
                </a:lnTo>
                <a:lnTo>
                  <a:pt x="6316" y="1876"/>
                </a:lnTo>
                <a:close/>
                <a:moveTo>
                  <a:pt x="6314" y="1844"/>
                </a:moveTo>
                <a:lnTo>
                  <a:pt x="6314" y="1846"/>
                </a:lnTo>
                <a:lnTo>
                  <a:pt x="6314" y="1844"/>
                </a:lnTo>
                <a:lnTo>
                  <a:pt x="6316" y="1840"/>
                </a:lnTo>
                <a:lnTo>
                  <a:pt x="6318" y="1836"/>
                </a:lnTo>
                <a:lnTo>
                  <a:pt x="6318" y="1838"/>
                </a:lnTo>
                <a:lnTo>
                  <a:pt x="6320" y="1838"/>
                </a:lnTo>
                <a:lnTo>
                  <a:pt x="6320" y="1840"/>
                </a:lnTo>
                <a:lnTo>
                  <a:pt x="6322" y="1840"/>
                </a:lnTo>
                <a:lnTo>
                  <a:pt x="6322" y="1838"/>
                </a:lnTo>
                <a:lnTo>
                  <a:pt x="6322" y="1836"/>
                </a:lnTo>
                <a:lnTo>
                  <a:pt x="6316" y="1830"/>
                </a:lnTo>
                <a:lnTo>
                  <a:pt x="6314" y="1830"/>
                </a:lnTo>
                <a:lnTo>
                  <a:pt x="6312" y="1834"/>
                </a:lnTo>
                <a:lnTo>
                  <a:pt x="6314" y="1844"/>
                </a:lnTo>
                <a:close/>
                <a:moveTo>
                  <a:pt x="6308" y="1808"/>
                </a:moveTo>
                <a:lnTo>
                  <a:pt x="6308" y="1808"/>
                </a:lnTo>
                <a:lnTo>
                  <a:pt x="6310" y="1808"/>
                </a:lnTo>
                <a:lnTo>
                  <a:pt x="6312" y="1806"/>
                </a:lnTo>
                <a:lnTo>
                  <a:pt x="6312" y="1802"/>
                </a:lnTo>
                <a:lnTo>
                  <a:pt x="6308" y="1792"/>
                </a:lnTo>
                <a:lnTo>
                  <a:pt x="6306" y="1792"/>
                </a:lnTo>
                <a:lnTo>
                  <a:pt x="6306" y="1798"/>
                </a:lnTo>
                <a:lnTo>
                  <a:pt x="6306" y="1804"/>
                </a:lnTo>
                <a:lnTo>
                  <a:pt x="6308" y="1806"/>
                </a:lnTo>
                <a:lnTo>
                  <a:pt x="6308" y="1808"/>
                </a:lnTo>
                <a:close/>
                <a:moveTo>
                  <a:pt x="6314" y="1792"/>
                </a:moveTo>
                <a:lnTo>
                  <a:pt x="6314" y="1792"/>
                </a:lnTo>
                <a:lnTo>
                  <a:pt x="6310" y="1786"/>
                </a:lnTo>
                <a:lnTo>
                  <a:pt x="6308" y="1784"/>
                </a:lnTo>
                <a:lnTo>
                  <a:pt x="6306" y="1784"/>
                </a:lnTo>
                <a:lnTo>
                  <a:pt x="6310" y="1792"/>
                </a:lnTo>
                <a:lnTo>
                  <a:pt x="6312" y="1792"/>
                </a:lnTo>
                <a:lnTo>
                  <a:pt x="6314" y="1792"/>
                </a:lnTo>
                <a:close/>
                <a:moveTo>
                  <a:pt x="6304" y="1772"/>
                </a:moveTo>
                <a:lnTo>
                  <a:pt x="6304" y="1772"/>
                </a:lnTo>
                <a:lnTo>
                  <a:pt x="6300" y="1772"/>
                </a:lnTo>
                <a:lnTo>
                  <a:pt x="6302" y="1774"/>
                </a:lnTo>
                <a:lnTo>
                  <a:pt x="6308" y="1780"/>
                </a:lnTo>
                <a:lnTo>
                  <a:pt x="6310" y="1780"/>
                </a:lnTo>
                <a:lnTo>
                  <a:pt x="6310" y="1778"/>
                </a:lnTo>
                <a:lnTo>
                  <a:pt x="6308" y="1776"/>
                </a:lnTo>
                <a:lnTo>
                  <a:pt x="6304" y="1772"/>
                </a:lnTo>
                <a:close/>
                <a:moveTo>
                  <a:pt x="6046" y="2400"/>
                </a:moveTo>
                <a:lnTo>
                  <a:pt x="6046" y="2400"/>
                </a:lnTo>
                <a:lnTo>
                  <a:pt x="6054" y="2404"/>
                </a:lnTo>
                <a:lnTo>
                  <a:pt x="6060" y="2406"/>
                </a:lnTo>
                <a:lnTo>
                  <a:pt x="6064" y="2402"/>
                </a:lnTo>
                <a:lnTo>
                  <a:pt x="6064" y="2400"/>
                </a:lnTo>
                <a:lnTo>
                  <a:pt x="6060" y="2396"/>
                </a:lnTo>
                <a:lnTo>
                  <a:pt x="6056" y="2396"/>
                </a:lnTo>
                <a:lnTo>
                  <a:pt x="6052" y="2398"/>
                </a:lnTo>
                <a:lnTo>
                  <a:pt x="6046" y="2400"/>
                </a:lnTo>
                <a:close/>
                <a:moveTo>
                  <a:pt x="5812" y="1988"/>
                </a:moveTo>
                <a:lnTo>
                  <a:pt x="5812" y="1988"/>
                </a:lnTo>
                <a:lnTo>
                  <a:pt x="5810" y="1988"/>
                </a:lnTo>
                <a:lnTo>
                  <a:pt x="5808" y="1988"/>
                </a:lnTo>
                <a:lnTo>
                  <a:pt x="5808" y="1996"/>
                </a:lnTo>
                <a:lnTo>
                  <a:pt x="5810" y="2002"/>
                </a:lnTo>
                <a:lnTo>
                  <a:pt x="5810" y="2006"/>
                </a:lnTo>
                <a:lnTo>
                  <a:pt x="5812" y="2006"/>
                </a:lnTo>
                <a:lnTo>
                  <a:pt x="5814" y="2004"/>
                </a:lnTo>
                <a:lnTo>
                  <a:pt x="5814" y="2002"/>
                </a:lnTo>
                <a:lnTo>
                  <a:pt x="5812" y="1998"/>
                </a:lnTo>
                <a:lnTo>
                  <a:pt x="5812" y="1996"/>
                </a:lnTo>
                <a:lnTo>
                  <a:pt x="5816" y="1994"/>
                </a:lnTo>
                <a:lnTo>
                  <a:pt x="5816" y="1992"/>
                </a:lnTo>
                <a:lnTo>
                  <a:pt x="5814" y="1988"/>
                </a:lnTo>
                <a:lnTo>
                  <a:pt x="5812" y="1988"/>
                </a:lnTo>
                <a:close/>
                <a:moveTo>
                  <a:pt x="5874" y="2066"/>
                </a:moveTo>
                <a:lnTo>
                  <a:pt x="5874" y="2066"/>
                </a:lnTo>
                <a:lnTo>
                  <a:pt x="5870" y="2068"/>
                </a:lnTo>
                <a:lnTo>
                  <a:pt x="5866" y="2074"/>
                </a:lnTo>
                <a:lnTo>
                  <a:pt x="5862" y="2080"/>
                </a:lnTo>
                <a:lnTo>
                  <a:pt x="5864" y="2084"/>
                </a:lnTo>
                <a:lnTo>
                  <a:pt x="5864" y="2086"/>
                </a:lnTo>
                <a:lnTo>
                  <a:pt x="5868" y="2084"/>
                </a:lnTo>
                <a:lnTo>
                  <a:pt x="5872" y="2076"/>
                </a:lnTo>
                <a:lnTo>
                  <a:pt x="5876" y="2068"/>
                </a:lnTo>
                <a:lnTo>
                  <a:pt x="5876" y="2066"/>
                </a:lnTo>
                <a:lnTo>
                  <a:pt x="5874" y="2066"/>
                </a:lnTo>
                <a:close/>
                <a:moveTo>
                  <a:pt x="5978" y="1898"/>
                </a:moveTo>
                <a:lnTo>
                  <a:pt x="5978" y="1898"/>
                </a:lnTo>
                <a:lnTo>
                  <a:pt x="5980" y="1898"/>
                </a:lnTo>
                <a:lnTo>
                  <a:pt x="5978" y="1894"/>
                </a:lnTo>
                <a:lnTo>
                  <a:pt x="5974" y="1890"/>
                </a:lnTo>
                <a:lnTo>
                  <a:pt x="5972" y="1888"/>
                </a:lnTo>
                <a:lnTo>
                  <a:pt x="5970" y="1890"/>
                </a:lnTo>
                <a:lnTo>
                  <a:pt x="5972" y="1894"/>
                </a:lnTo>
                <a:lnTo>
                  <a:pt x="5974" y="1898"/>
                </a:lnTo>
                <a:lnTo>
                  <a:pt x="5978" y="1898"/>
                </a:lnTo>
                <a:close/>
                <a:moveTo>
                  <a:pt x="5986" y="1894"/>
                </a:moveTo>
                <a:lnTo>
                  <a:pt x="5986" y="1894"/>
                </a:lnTo>
                <a:lnTo>
                  <a:pt x="5986" y="1896"/>
                </a:lnTo>
                <a:lnTo>
                  <a:pt x="5986" y="1898"/>
                </a:lnTo>
                <a:lnTo>
                  <a:pt x="5986" y="1900"/>
                </a:lnTo>
                <a:lnTo>
                  <a:pt x="5988" y="1900"/>
                </a:lnTo>
                <a:lnTo>
                  <a:pt x="5990" y="1900"/>
                </a:lnTo>
                <a:lnTo>
                  <a:pt x="5990" y="1898"/>
                </a:lnTo>
                <a:lnTo>
                  <a:pt x="5988" y="1896"/>
                </a:lnTo>
                <a:lnTo>
                  <a:pt x="5986" y="1894"/>
                </a:lnTo>
                <a:close/>
                <a:moveTo>
                  <a:pt x="6004" y="1864"/>
                </a:moveTo>
                <a:lnTo>
                  <a:pt x="6004" y="1864"/>
                </a:lnTo>
                <a:lnTo>
                  <a:pt x="6002" y="1864"/>
                </a:lnTo>
                <a:lnTo>
                  <a:pt x="6000" y="1864"/>
                </a:lnTo>
                <a:lnTo>
                  <a:pt x="5998" y="1864"/>
                </a:lnTo>
                <a:lnTo>
                  <a:pt x="5996" y="1868"/>
                </a:lnTo>
                <a:lnTo>
                  <a:pt x="5996" y="1870"/>
                </a:lnTo>
                <a:lnTo>
                  <a:pt x="5998" y="1870"/>
                </a:lnTo>
                <a:lnTo>
                  <a:pt x="6002" y="1868"/>
                </a:lnTo>
                <a:lnTo>
                  <a:pt x="6004" y="1868"/>
                </a:lnTo>
                <a:lnTo>
                  <a:pt x="6006" y="1866"/>
                </a:lnTo>
                <a:lnTo>
                  <a:pt x="6006" y="1864"/>
                </a:lnTo>
                <a:lnTo>
                  <a:pt x="6004" y="1864"/>
                </a:lnTo>
                <a:close/>
                <a:moveTo>
                  <a:pt x="5996" y="1876"/>
                </a:moveTo>
                <a:lnTo>
                  <a:pt x="5996" y="1876"/>
                </a:lnTo>
                <a:lnTo>
                  <a:pt x="5998" y="1878"/>
                </a:lnTo>
                <a:lnTo>
                  <a:pt x="6002" y="1878"/>
                </a:lnTo>
                <a:lnTo>
                  <a:pt x="6000" y="1874"/>
                </a:lnTo>
                <a:lnTo>
                  <a:pt x="5998" y="1874"/>
                </a:lnTo>
                <a:lnTo>
                  <a:pt x="5996" y="1876"/>
                </a:lnTo>
                <a:close/>
                <a:moveTo>
                  <a:pt x="5990" y="1868"/>
                </a:moveTo>
                <a:lnTo>
                  <a:pt x="5990" y="1868"/>
                </a:lnTo>
                <a:lnTo>
                  <a:pt x="5990" y="1862"/>
                </a:lnTo>
                <a:lnTo>
                  <a:pt x="5988" y="1860"/>
                </a:lnTo>
                <a:lnTo>
                  <a:pt x="5984" y="1860"/>
                </a:lnTo>
                <a:lnTo>
                  <a:pt x="5984" y="1862"/>
                </a:lnTo>
                <a:lnTo>
                  <a:pt x="5986" y="1866"/>
                </a:lnTo>
                <a:lnTo>
                  <a:pt x="5990" y="1868"/>
                </a:lnTo>
                <a:close/>
                <a:moveTo>
                  <a:pt x="6040" y="1804"/>
                </a:moveTo>
                <a:lnTo>
                  <a:pt x="6040" y="1804"/>
                </a:lnTo>
                <a:lnTo>
                  <a:pt x="6040" y="1806"/>
                </a:lnTo>
                <a:lnTo>
                  <a:pt x="6042" y="1806"/>
                </a:lnTo>
                <a:lnTo>
                  <a:pt x="6044" y="1806"/>
                </a:lnTo>
                <a:lnTo>
                  <a:pt x="6046" y="1808"/>
                </a:lnTo>
                <a:lnTo>
                  <a:pt x="6048" y="1810"/>
                </a:lnTo>
                <a:lnTo>
                  <a:pt x="6050" y="1808"/>
                </a:lnTo>
                <a:lnTo>
                  <a:pt x="6052" y="1806"/>
                </a:lnTo>
                <a:lnTo>
                  <a:pt x="6054" y="1808"/>
                </a:lnTo>
                <a:lnTo>
                  <a:pt x="6056" y="1808"/>
                </a:lnTo>
                <a:lnTo>
                  <a:pt x="6056" y="1812"/>
                </a:lnTo>
                <a:lnTo>
                  <a:pt x="6054" y="1816"/>
                </a:lnTo>
                <a:lnTo>
                  <a:pt x="6052" y="1824"/>
                </a:lnTo>
                <a:lnTo>
                  <a:pt x="6052" y="1826"/>
                </a:lnTo>
                <a:lnTo>
                  <a:pt x="6054" y="1828"/>
                </a:lnTo>
                <a:lnTo>
                  <a:pt x="6056" y="1830"/>
                </a:lnTo>
                <a:lnTo>
                  <a:pt x="6056" y="1826"/>
                </a:lnTo>
                <a:lnTo>
                  <a:pt x="6058" y="1818"/>
                </a:lnTo>
                <a:lnTo>
                  <a:pt x="6060" y="1814"/>
                </a:lnTo>
                <a:lnTo>
                  <a:pt x="6060" y="1806"/>
                </a:lnTo>
                <a:lnTo>
                  <a:pt x="6058" y="1804"/>
                </a:lnTo>
                <a:lnTo>
                  <a:pt x="6060" y="1802"/>
                </a:lnTo>
                <a:lnTo>
                  <a:pt x="6064" y="1792"/>
                </a:lnTo>
                <a:lnTo>
                  <a:pt x="6064" y="1790"/>
                </a:lnTo>
                <a:lnTo>
                  <a:pt x="6062" y="1790"/>
                </a:lnTo>
                <a:lnTo>
                  <a:pt x="6060" y="1792"/>
                </a:lnTo>
                <a:lnTo>
                  <a:pt x="6060" y="1790"/>
                </a:lnTo>
                <a:lnTo>
                  <a:pt x="6058" y="1788"/>
                </a:lnTo>
                <a:lnTo>
                  <a:pt x="6058" y="1786"/>
                </a:lnTo>
                <a:lnTo>
                  <a:pt x="6056" y="1790"/>
                </a:lnTo>
                <a:lnTo>
                  <a:pt x="6054" y="1790"/>
                </a:lnTo>
                <a:lnTo>
                  <a:pt x="6054" y="1788"/>
                </a:lnTo>
                <a:lnTo>
                  <a:pt x="6054" y="1780"/>
                </a:lnTo>
                <a:lnTo>
                  <a:pt x="6054" y="1778"/>
                </a:lnTo>
                <a:lnTo>
                  <a:pt x="6052" y="1778"/>
                </a:lnTo>
                <a:lnTo>
                  <a:pt x="6048" y="1780"/>
                </a:lnTo>
                <a:lnTo>
                  <a:pt x="6042" y="1786"/>
                </a:lnTo>
                <a:lnTo>
                  <a:pt x="6042" y="1788"/>
                </a:lnTo>
                <a:lnTo>
                  <a:pt x="6050" y="1792"/>
                </a:lnTo>
                <a:lnTo>
                  <a:pt x="6052" y="1794"/>
                </a:lnTo>
                <a:lnTo>
                  <a:pt x="6052" y="1796"/>
                </a:lnTo>
                <a:lnTo>
                  <a:pt x="6050" y="1798"/>
                </a:lnTo>
                <a:lnTo>
                  <a:pt x="6046" y="1800"/>
                </a:lnTo>
                <a:lnTo>
                  <a:pt x="6042" y="1800"/>
                </a:lnTo>
                <a:lnTo>
                  <a:pt x="6040" y="1802"/>
                </a:lnTo>
                <a:lnTo>
                  <a:pt x="6040" y="1804"/>
                </a:lnTo>
                <a:close/>
                <a:moveTo>
                  <a:pt x="6064" y="1778"/>
                </a:moveTo>
                <a:lnTo>
                  <a:pt x="6064" y="1778"/>
                </a:lnTo>
                <a:lnTo>
                  <a:pt x="6066" y="1776"/>
                </a:lnTo>
                <a:lnTo>
                  <a:pt x="6066" y="1774"/>
                </a:lnTo>
                <a:lnTo>
                  <a:pt x="6066" y="1772"/>
                </a:lnTo>
                <a:lnTo>
                  <a:pt x="6064" y="1770"/>
                </a:lnTo>
                <a:lnTo>
                  <a:pt x="6062" y="1772"/>
                </a:lnTo>
                <a:lnTo>
                  <a:pt x="6060" y="1776"/>
                </a:lnTo>
                <a:lnTo>
                  <a:pt x="6058" y="1780"/>
                </a:lnTo>
                <a:lnTo>
                  <a:pt x="6060" y="1784"/>
                </a:lnTo>
                <a:lnTo>
                  <a:pt x="6062" y="1786"/>
                </a:lnTo>
                <a:lnTo>
                  <a:pt x="6062" y="1784"/>
                </a:lnTo>
                <a:lnTo>
                  <a:pt x="6064" y="1780"/>
                </a:lnTo>
                <a:lnTo>
                  <a:pt x="6064" y="1778"/>
                </a:lnTo>
                <a:close/>
                <a:moveTo>
                  <a:pt x="6072" y="1764"/>
                </a:moveTo>
                <a:lnTo>
                  <a:pt x="6072" y="1764"/>
                </a:lnTo>
                <a:lnTo>
                  <a:pt x="6070" y="1764"/>
                </a:lnTo>
                <a:lnTo>
                  <a:pt x="6068" y="1768"/>
                </a:lnTo>
                <a:lnTo>
                  <a:pt x="6068" y="1770"/>
                </a:lnTo>
                <a:lnTo>
                  <a:pt x="6070" y="1772"/>
                </a:lnTo>
                <a:lnTo>
                  <a:pt x="6072" y="1772"/>
                </a:lnTo>
                <a:lnTo>
                  <a:pt x="6074" y="1768"/>
                </a:lnTo>
                <a:lnTo>
                  <a:pt x="6074" y="1766"/>
                </a:lnTo>
                <a:lnTo>
                  <a:pt x="6072" y="1764"/>
                </a:lnTo>
                <a:close/>
                <a:moveTo>
                  <a:pt x="5808" y="1678"/>
                </a:moveTo>
                <a:lnTo>
                  <a:pt x="5808" y="1678"/>
                </a:lnTo>
                <a:lnTo>
                  <a:pt x="5808" y="1680"/>
                </a:lnTo>
                <a:lnTo>
                  <a:pt x="5816" y="1686"/>
                </a:lnTo>
                <a:lnTo>
                  <a:pt x="5820" y="1686"/>
                </a:lnTo>
                <a:lnTo>
                  <a:pt x="5822" y="1686"/>
                </a:lnTo>
                <a:lnTo>
                  <a:pt x="5822" y="1684"/>
                </a:lnTo>
                <a:lnTo>
                  <a:pt x="5820" y="1680"/>
                </a:lnTo>
                <a:lnTo>
                  <a:pt x="5816" y="1676"/>
                </a:lnTo>
                <a:lnTo>
                  <a:pt x="5814" y="1676"/>
                </a:lnTo>
                <a:lnTo>
                  <a:pt x="5808" y="1678"/>
                </a:lnTo>
                <a:close/>
                <a:moveTo>
                  <a:pt x="5838" y="1702"/>
                </a:moveTo>
                <a:lnTo>
                  <a:pt x="5838" y="1702"/>
                </a:lnTo>
                <a:lnTo>
                  <a:pt x="5842" y="1704"/>
                </a:lnTo>
                <a:lnTo>
                  <a:pt x="5844" y="1702"/>
                </a:lnTo>
                <a:lnTo>
                  <a:pt x="5842" y="1700"/>
                </a:lnTo>
                <a:lnTo>
                  <a:pt x="5838" y="1696"/>
                </a:lnTo>
                <a:lnTo>
                  <a:pt x="5834" y="1694"/>
                </a:lnTo>
                <a:lnTo>
                  <a:pt x="5832" y="1694"/>
                </a:lnTo>
                <a:lnTo>
                  <a:pt x="5832" y="1696"/>
                </a:lnTo>
                <a:lnTo>
                  <a:pt x="5834" y="1700"/>
                </a:lnTo>
                <a:lnTo>
                  <a:pt x="5838" y="1702"/>
                </a:lnTo>
                <a:close/>
                <a:moveTo>
                  <a:pt x="5830" y="1712"/>
                </a:moveTo>
                <a:lnTo>
                  <a:pt x="5830" y="1712"/>
                </a:lnTo>
                <a:lnTo>
                  <a:pt x="5830" y="1716"/>
                </a:lnTo>
                <a:lnTo>
                  <a:pt x="5830" y="1718"/>
                </a:lnTo>
                <a:lnTo>
                  <a:pt x="5836" y="1728"/>
                </a:lnTo>
                <a:lnTo>
                  <a:pt x="5840" y="1730"/>
                </a:lnTo>
                <a:lnTo>
                  <a:pt x="5842" y="1730"/>
                </a:lnTo>
                <a:lnTo>
                  <a:pt x="5842" y="1728"/>
                </a:lnTo>
                <a:lnTo>
                  <a:pt x="5840" y="1726"/>
                </a:lnTo>
                <a:lnTo>
                  <a:pt x="5840" y="1722"/>
                </a:lnTo>
                <a:lnTo>
                  <a:pt x="5838" y="1718"/>
                </a:lnTo>
                <a:lnTo>
                  <a:pt x="5836" y="1716"/>
                </a:lnTo>
                <a:lnTo>
                  <a:pt x="5832" y="1714"/>
                </a:lnTo>
                <a:lnTo>
                  <a:pt x="5832" y="1712"/>
                </a:lnTo>
                <a:lnTo>
                  <a:pt x="5830" y="1712"/>
                </a:lnTo>
                <a:close/>
                <a:moveTo>
                  <a:pt x="5818" y="1668"/>
                </a:moveTo>
                <a:lnTo>
                  <a:pt x="5818" y="1668"/>
                </a:lnTo>
                <a:lnTo>
                  <a:pt x="5820" y="1670"/>
                </a:lnTo>
                <a:lnTo>
                  <a:pt x="5818" y="1672"/>
                </a:lnTo>
                <a:lnTo>
                  <a:pt x="5818" y="1674"/>
                </a:lnTo>
                <a:lnTo>
                  <a:pt x="5822" y="1678"/>
                </a:lnTo>
                <a:lnTo>
                  <a:pt x="5824" y="1678"/>
                </a:lnTo>
                <a:lnTo>
                  <a:pt x="5826" y="1678"/>
                </a:lnTo>
                <a:lnTo>
                  <a:pt x="5828" y="1682"/>
                </a:lnTo>
                <a:lnTo>
                  <a:pt x="5834" y="1688"/>
                </a:lnTo>
                <a:lnTo>
                  <a:pt x="5838" y="1692"/>
                </a:lnTo>
                <a:lnTo>
                  <a:pt x="5840" y="1692"/>
                </a:lnTo>
                <a:lnTo>
                  <a:pt x="5838" y="1688"/>
                </a:lnTo>
                <a:lnTo>
                  <a:pt x="5836" y="1682"/>
                </a:lnTo>
                <a:lnTo>
                  <a:pt x="5832" y="1676"/>
                </a:lnTo>
                <a:lnTo>
                  <a:pt x="5830" y="1676"/>
                </a:lnTo>
                <a:lnTo>
                  <a:pt x="5828" y="1674"/>
                </a:lnTo>
                <a:lnTo>
                  <a:pt x="5826" y="1672"/>
                </a:lnTo>
                <a:lnTo>
                  <a:pt x="5824" y="1668"/>
                </a:lnTo>
                <a:lnTo>
                  <a:pt x="5820" y="1666"/>
                </a:lnTo>
                <a:lnTo>
                  <a:pt x="5818" y="1666"/>
                </a:lnTo>
                <a:lnTo>
                  <a:pt x="5818" y="1668"/>
                </a:lnTo>
                <a:close/>
                <a:moveTo>
                  <a:pt x="5830" y="1664"/>
                </a:moveTo>
                <a:lnTo>
                  <a:pt x="5830" y="1664"/>
                </a:lnTo>
                <a:lnTo>
                  <a:pt x="5826" y="1664"/>
                </a:lnTo>
                <a:lnTo>
                  <a:pt x="5828" y="1668"/>
                </a:lnTo>
                <a:lnTo>
                  <a:pt x="5832" y="1674"/>
                </a:lnTo>
                <a:lnTo>
                  <a:pt x="5838" y="1680"/>
                </a:lnTo>
                <a:lnTo>
                  <a:pt x="5842" y="1682"/>
                </a:lnTo>
                <a:lnTo>
                  <a:pt x="5844" y="1680"/>
                </a:lnTo>
                <a:lnTo>
                  <a:pt x="5846" y="1678"/>
                </a:lnTo>
                <a:lnTo>
                  <a:pt x="5844" y="1676"/>
                </a:lnTo>
                <a:lnTo>
                  <a:pt x="5842" y="1676"/>
                </a:lnTo>
                <a:lnTo>
                  <a:pt x="5844" y="1674"/>
                </a:lnTo>
                <a:lnTo>
                  <a:pt x="5842" y="1672"/>
                </a:lnTo>
                <a:lnTo>
                  <a:pt x="5840" y="1672"/>
                </a:lnTo>
                <a:lnTo>
                  <a:pt x="5838" y="1670"/>
                </a:lnTo>
                <a:lnTo>
                  <a:pt x="5838" y="1668"/>
                </a:lnTo>
                <a:lnTo>
                  <a:pt x="5836" y="1668"/>
                </a:lnTo>
                <a:lnTo>
                  <a:pt x="5834" y="1666"/>
                </a:lnTo>
                <a:lnTo>
                  <a:pt x="5832" y="1664"/>
                </a:lnTo>
                <a:lnTo>
                  <a:pt x="5830" y="1664"/>
                </a:lnTo>
                <a:close/>
                <a:moveTo>
                  <a:pt x="5848" y="1674"/>
                </a:moveTo>
                <a:lnTo>
                  <a:pt x="5848" y="1676"/>
                </a:lnTo>
                <a:lnTo>
                  <a:pt x="5850" y="1674"/>
                </a:lnTo>
                <a:lnTo>
                  <a:pt x="5852" y="1674"/>
                </a:lnTo>
                <a:lnTo>
                  <a:pt x="5854" y="1674"/>
                </a:lnTo>
                <a:lnTo>
                  <a:pt x="5856" y="1672"/>
                </a:lnTo>
                <a:lnTo>
                  <a:pt x="5856" y="1670"/>
                </a:lnTo>
                <a:lnTo>
                  <a:pt x="5852" y="1668"/>
                </a:lnTo>
                <a:lnTo>
                  <a:pt x="5848" y="1664"/>
                </a:lnTo>
                <a:lnTo>
                  <a:pt x="5848" y="1666"/>
                </a:lnTo>
                <a:lnTo>
                  <a:pt x="5848" y="1668"/>
                </a:lnTo>
                <a:lnTo>
                  <a:pt x="5848" y="1670"/>
                </a:lnTo>
                <a:lnTo>
                  <a:pt x="5848" y="1672"/>
                </a:lnTo>
                <a:lnTo>
                  <a:pt x="5848" y="1674"/>
                </a:lnTo>
                <a:close/>
                <a:moveTo>
                  <a:pt x="5844" y="1662"/>
                </a:moveTo>
                <a:lnTo>
                  <a:pt x="5844" y="1662"/>
                </a:lnTo>
                <a:lnTo>
                  <a:pt x="5844" y="1666"/>
                </a:lnTo>
                <a:lnTo>
                  <a:pt x="5844" y="1668"/>
                </a:lnTo>
                <a:lnTo>
                  <a:pt x="5846" y="1670"/>
                </a:lnTo>
                <a:lnTo>
                  <a:pt x="5846" y="1664"/>
                </a:lnTo>
                <a:lnTo>
                  <a:pt x="5844" y="1662"/>
                </a:lnTo>
                <a:close/>
                <a:moveTo>
                  <a:pt x="5858" y="1670"/>
                </a:moveTo>
                <a:lnTo>
                  <a:pt x="5858" y="1670"/>
                </a:lnTo>
                <a:lnTo>
                  <a:pt x="5860" y="1668"/>
                </a:lnTo>
                <a:lnTo>
                  <a:pt x="5860" y="1666"/>
                </a:lnTo>
                <a:lnTo>
                  <a:pt x="5858" y="1666"/>
                </a:lnTo>
                <a:lnTo>
                  <a:pt x="5858" y="1668"/>
                </a:lnTo>
                <a:lnTo>
                  <a:pt x="5858" y="1670"/>
                </a:lnTo>
                <a:close/>
                <a:moveTo>
                  <a:pt x="6210" y="3036"/>
                </a:moveTo>
                <a:lnTo>
                  <a:pt x="6210" y="3036"/>
                </a:lnTo>
                <a:lnTo>
                  <a:pt x="6214" y="3034"/>
                </a:lnTo>
                <a:lnTo>
                  <a:pt x="6218" y="3038"/>
                </a:lnTo>
                <a:lnTo>
                  <a:pt x="6220" y="3042"/>
                </a:lnTo>
                <a:lnTo>
                  <a:pt x="6226" y="3048"/>
                </a:lnTo>
                <a:lnTo>
                  <a:pt x="6230" y="3050"/>
                </a:lnTo>
                <a:lnTo>
                  <a:pt x="6232" y="3048"/>
                </a:lnTo>
                <a:lnTo>
                  <a:pt x="6238" y="3044"/>
                </a:lnTo>
                <a:lnTo>
                  <a:pt x="6246" y="3026"/>
                </a:lnTo>
                <a:lnTo>
                  <a:pt x="6248" y="3022"/>
                </a:lnTo>
                <a:lnTo>
                  <a:pt x="6242" y="3022"/>
                </a:lnTo>
                <a:lnTo>
                  <a:pt x="6238" y="3022"/>
                </a:lnTo>
                <a:lnTo>
                  <a:pt x="6234" y="3020"/>
                </a:lnTo>
                <a:lnTo>
                  <a:pt x="6234" y="3018"/>
                </a:lnTo>
                <a:lnTo>
                  <a:pt x="6232" y="3014"/>
                </a:lnTo>
                <a:lnTo>
                  <a:pt x="6228" y="3014"/>
                </a:lnTo>
                <a:lnTo>
                  <a:pt x="6222" y="3016"/>
                </a:lnTo>
                <a:lnTo>
                  <a:pt x="6216" y="3020"/>
                </a:lnTo>
                <a:lnTo>
                  <a:pt x="6206" y="3028"/>
                </a:lnTo>
                <a:lnTo>
                  <a:pt x="6202" y="3032"/>
                </a:lnTo>
                <a:lnTo>
                  <a:pt x="6204" y="3036"/>
                </a:lnTo>
                <a:lnTo>
                  <a:pt x="6204" y="3038"/>
                </a:lnTo>
                <a:lnTo>
                  <a:pt x="6210" y="3036"/>
                </a:lnTo>
                <a:close/>
                <a:moveTo>
                  <a:pt x="6272" y="3016"/>
                </a:moveTo>
                <a:lnTo>
                  <a:pt x="6272" y="3016"/>
                </a:lnTo>
                <a:lnTo>
                  <a:pt x="6278" y="3018"/>
                </a:lnTo>
                <a:lnTo>
                  <a:pt x="6280" y="3018"/>
                </a:lnTo>
                <a:lnTo>
                  <a:pt x="6280" y="3014"/>
                </a:lnTo>
                <a:lnTo>
                  <a:pt x="6278" y="3010"/>
                </a:lnTo>
                <a:lnTo>
                  <a:pt x="6278" y="3006"/>
                </a:lnTo>
                <a:lnTo>
                  <a:pt x="6276" y="3006"/>
                </a:lnTo>
                <a:lnTo>
                  <a:pt x="6268" y="3004"/>
                </a:lnTo>
                <a:lnTo>
                  <a:pt x="6262" y="3006"/>
                </a:lnTo>
                <a:lnTo>
                  <a:pt x="6260" y="3008"/>
                </a:lnTo>
                <a:lnTo>
                  <a:pt x="6260" y="3010"/>
                </a:lnTo>
                <a:lnTo>
                  <a:pt x="6262" y="3012"/>
                </a:lnTo>
                <a:lnTo>
                  <a:pt x="6264" y="3014"/>
                </a:lnTo>
                <a:lnTo>
                  <a:pt x="6268" y="3014"/>
                </a:lnTo>
                <a:lnTo>
                  <a:pt x="6272" y="3016"/>
                </a:lnTo>
                <a:close/>
                <a:moveTo>
                  <a:pt x="6168" y="3058"/>
                </a:moveTo>
                <a:lnTo>
                  <a:pt x="6168" y="3058"/>
                </a:lnTo>
                <a:lnTo>
                  <a:pt x="6166" y="3056"/>
                </a:lnTo>
                <a:lnTo>
                  <a:pt x="6164" y="3058"/>
                </a:lnTo>
                <a:lnTo>
                  <a:pt x="6158" y="3062"/>
                </a:lnTo>
                <a:lnTo>
                  <a:pt x="6154" y="3068"/>
                </a:lnTo>
                <a:lnTo>
                  <a:pt x="6154" y="3070"/>
                </a:lnTo>
                <a:lnTo>
                  <a:pt x="6156" y="3072"/>
                </a:lnTo>
                <a:lnTo>
                  <a:pt x="6158" y="3074"/>
                </a:lnTo>
                <a:lnTo>
                  <a:pt x="6160" y="3072"/>
                </a:lnTo>
                <a:lnTo>
                  <a:pt x="6166" y="3068"/>
                </a:lnTo>
                <a:lnTo>
                  <a:pt x="6170" y="3064"/>
                </a:lnTo>
                <a:lnTo>
                  <a:pt x="6170" y="3060"/>
                </a:lnTo>
                <a:lnTo>
                  <a:pt x="6168" y="3058"/>
                </a:lnTo>
                <a:close/>
                <a:moveTo>
                  <a:pt x="11926" y="5416"/>
                </a:moveTo>
                <a:lnTo>
                  <a:pt x="11926" y="5416"/>
                </a:lnTo>
                <a:lnTo>
                  <a:pt x="11940" y="5412"/>
                </a:lnTo>
                <a:lnTo>
                  <a:pt x="11942" y="5414"/>
                </a:lnTo>
                <a:lnTo>
                  <a:pt x="11942" y="5416"/>
                </a:lnTo>
                <a:lnTo>
                  <a:pt x="11944" y="5418"/>
                </a:lnTo>
                <a:lnTo>
                  <a:pt x="11948" y="5420"/>
                </a:lnTo>
                <a:lnTo>
                  <a:pt x="11954" y="5424"/>
                </a:lnTo>
                <a:lnTo>
                  <a:pt x="11966" y="5426"/>
                </a:lnTo>
                <a:lnTo>
                  <a:pt x="11978" y="5428"/>
                </a:lnTo>
                <a:lnTo>
                  <a:pt x="11988" y="5432"/>
                </a:lnTo>
                <a:lnTo>
                  <a:pt x="11994" y="5438"/>
                </a:lnTo>
                <a:lnTo>
                  <a:pt x="12000" y="5446"/>
                </a:lnTo>
                <a:lnTo>
                  <a:pt x="12010" y="5464"/>
                </a:lnTo>
                <a:lnTo>
                  <a:pt x="12018" y="5476"/>
                </a:lnTo>
                <a:lnTo>
                  <a:pt x="12028" y="5490"/>
                </a:lnTo>
                <a:lnTo>
                  <a:pt x="12044" y="5512"/>
                </a:lnTo>
                <a:lnTo>
                  <a:pt x="12050" y="5520"/>
                </a:lnTo>
                <a:lnTo>
                  <a:pt x="12056" y="5524"/>
                </a:lnTo>
                <a:lnTo>
                  <a:pt x="12062" y="5528"/>
                </a:lnTo>
                <a:lnTo>
                  <a:pt x="12072" y="5532"/>
                </a:lnTo>
                <a:lnTo>
                  <a:pt x="12102" y="5538"/>
                </a:lnTo>
                <a:lnTo>
                  <a:pt x="12120" y="5542"/>
                </a:lnTo>
                <a:lnTo>
                  <a:pt x="12132" y="5546"/>
                </a:lnTo>
                <a:lnTo>
                  <a:pt x="12140" y="5548"/>
                </a:lnTo>
                <a:lnTo>
                  <a:pt x="12146" y="5552"/>
                </a:lnTo>
                <a:lnTo>
                  <a:pt x="12154" y="5558"/>
                </a:lnTo>
                <a:lnTo>
                  <a:pt x="12158" y="5560"/>
                </a:lnTo>
                <a:lnTo>
                  <a:pt x="12164" y="5560"/>
                </a:lnTo>
                <a:lnTo>
                  <a:pt x="12170" y="5558"/>
                </a:lnTo>
                <a:lnTo>
                  <a:pt x="12176" y="5556"/>
                </a:lnTo>
                <a:lnTo>
                  <a:pt x="12182" y="5554"/>
                </a:lnTo>
                <a:lnTo>
                  <a:pt x="12184" y="5550"/>
                </a:lnTo>
                <a:lnTo>
                  <a:pt x="12186" y="5546"/>
                </a:lnTo>
                <a:lnTo>
                  <a:pt x="12182" y="5540"/>
                </a:lnTo>
                <a:lnTo>
                  <a:pt x="12178" y="5536"/>
                </a:lnTo>
                <a:lnTo>
                  <a:pt x="12168" y="5534"/>
                </a:lnTo>
                <a:lnTo>
                  <a:pt x="12152" y="5528"/>
                </a:lnTo>
                <a:lnTo>
                  <a:pt x="12144" y="5524"/>
                </a:lnTo>
                <a:lnTo>
                  <a:pt x="12142" y="5522"/>
                </a:lnTo>
                <a:lnTo>
                  <a:pt x="12142" y="5520"/>
                </a:lnTo>
                <a:lnTo>
                  <a:pt x="12146" y="5516"/>
                </a:lnTo>
                <a:lnTo>
                  <a:pt x="12148" y="5512"/>
                </a:lnTo>
                <a:lnTo>
                  <a:pt x="12150" y="5508"/>
                </a:lnTo>
                <a:lnTo>
                  <a:pt x="12146" y="5506"/>
                </a:lnTo>
                <a:lnTo>
                  <a:pt x="12134" y="5504"/>
                </a:lnTo>
                <a:lnTo>
                  <a:pt x="12124" y="5502"/>
                </a:lnTo>
                <a:lnTo>
                  <a:pt x="12120" y="5500"/>
                </a:lnTo>
                <a:lnTo>
                  <a:pt x="12120" y="5498"/>
                </a:lnTo>
                <a:lnTo>
                  <a:pt x="12120" y="5492"/>
                </a:lnTo>
                <a:lnTo>
                  <a:pt x="12122" y="5486"/>
                </a:lnTo>
                <a:lnTo>
                  <a:pt x="12124" y="5482"/>
                </a:lnTo>
                <a:lnTo>
                  <a:pt x="12124" y="5478"/>
                </a:lnTo>
                <a:lnTo>
                  <a:pt x="12118" y="5476"/>
                </a:lnTo>
                <a:lnTo>
                  <a:pt x="12108" y="5478"/>
                </a:lnTo>
                <a:lnTo>
                  <a:pt x="12102" y="5478"/>
                </a:lnTo>
                <a:lnTo>
                  <a:pt x="12098" y="5478"/>
                </a:lnTo>
                <a:lnTo>
                  <a:pt x="12092" y="5474"/>
                </a:lnTo>
                <a:lnTo>
                  <a:pt x="12086" y="5468"/>
                </a:lnTo>
                <a:lnTo>
                  <a:pt x="12084" y="5458"/>
                </a:lnTo>
                <a:lnTo>
                  <a:pt x="12078" y="5440"/>
                </a:lnTo>
                <a:lnTo>
                  <a:pt x="12074" y="5432"/>
                </a:lnTo>
                <a:lnTo>
                  <a:pt x="12070" y="5428"/>
                </a:lnTo>
                <a:lnTo>
                  <a:pt x="12064" y="5424"/>
                </a:lnTo>
                <a:lnTo>
                  <a:pt x="12058" y="5418"/>
                </a:lnTo>
                <a:lnTo>
                  <a:pt x="12040" y="5398"/>
                </a:lnTo>
                <a:lnTo>
                  <a:pt x="12034" y="5390"/>
                </a:lnTo>
                <a:lnTo>
                  <a:pt x="12028" y="5380"/>
                </a:lnTo>
                <a:lnTo>
                  <a:pt x="12026" y="5374"/>
                </a:lnTo>
                <a:lnTo>
                  <a:pt x="12026" y="5370"/>
                </a:lnTo>
                <a:lnTo>
                  <a:pt x="12028" y="5368"/>
                </a:lnTo>
                <a:lnTo>
                  <a:pt x="12032" y="5366"/>
                </a:lnTo>
                <a:lnTo>
                  <a:pt x="12036" y="5366"/>
                </a:lnTo>
                <a:lnTo>
                  <a:pt x="12048" y="5366"/>
                </a:lnTo>
                <a:lnTo>
                  <a:pt x="12058" y="5366"/>
                </a:lnTo>
                <a:lnTo>
                  <a:pt x="12062" y="5366"/>
                </a:lnTo>
                <a:lnTo>
                  <a:pt x="12064" y="5362"/>
                </a:lnTo>
                <a:lnTo>
                  <a:pt x="12066" y="5358"/>
                </a:lnTo>
                <a:lnTo>
                  <a:pt x="12066" y="5354"/>
                </a:lnTo>
                <a:lnTo>
                  <a:pt x="12060" y="5342"/>
                </a:lnTo>
                <a:lnTo>
                  <a:pt x="12056" y="5336"/>
                </a:lnTo>
                <a:lnTo>
                  <a:pt x="12050" y="5332"/>
                </a:lnTo>
                <a:lnTo>
                  <a:pt x="12046" y="5328"/>
                </a:lnTo>
                <a:lnTo>
                  <a:pt x="12040" y="5328"/>
                </a:lnTo>
                <a:lnTo>
                  <a:pt x="12034" y="5330"/>
                </a:lnTo>
                <a:lnTo>
                  <a:pt x="12030" y="5328"/>
                </a:lnTo>
                <a:lnTo>
                  <a:pt x="12024" y="5324"/>
                </a:lnTo>
                <a:lnTo>
                  <a:pt x="12016" y="5316"/>
                </a:lnTo>
                <a:lnTo>
                  <a:pt x="12008" y="5312"/>
                </a:lnTo>
                <a:lnTo>
                  <a:pt x="11998" y="5308"/>
                </a:lnTo>
                <a:lnTo>
                  <a:pt x="11984" y="5304"/>
                </a:lnTo>
                <a:lnTo>
                  <a:pt x="11980" y="5302"/>
                </a:lnTo>
                <a:lnTo>
                  <a:pt x="11978" y="5300"/>
                </a:lnTo>
                <a:lnTo>
                  <a:pt x="11980" y="5294"/>
                </a:lnTo>
                <a:lnTo>
                  <a:pt x="11984" y="5286"/>
                </a:lnTo>
                <a:lnTo>
                  <a:pt x="11982" y="5278"/>
                </a:lnTo>
                <a:lnTo>
                  <a:pt x="11978" y="5270"/>
                </a:lnTo>
                <a:lnTo>
                  <a:pt x="11970" y="5258"/>
                </a:lnTo>
                <a:lnTo>
                  <a:pt x="11958" y="5248"/>
                </a:lnTo>
                <a:lnTo>
                  <a:pt x="11948" y="5240"/>
                </a:lnTo>
                <a:lnTo>
                  <a:pt x="11936" y="5232"/>
                </a:lnTo>
                <a:lnTo>
                  <a:pt x="11926" y="5226"/>
                </a:lnTo>
                <a:lnTo>
                  <a:pt x="11918" y="5226"/>
                </a:lnTo>
                <a:lnTo>
                  <a:pt x="11914" y="5224"/>
                </a:lnTo>
                <a:lnTo>
                  <a:pt x="11908" y="5222"/>
                </a:lnTo>
                <a:lnTo>
                  <a:pt x="11902" y="5216"/>
                </a:lnTo>
                <a:lnTo>
                  <a:pt x="11892" y="5208"/>
                </a:lnTo>
                <a:lnTo>
                  <a:pt x="11884" y="5204"/>
                </a:lnTo>
                <a:lnTo>
                  <a:pt x="11874" y="5202"/>
                </a:lnTo>
                <a:lnTo>
                  <a:pt x="11860" y="5198"/>
                </a:lnTo>
                <a:lnTo>
                  <a:pt x="11844" y="5190"/>
                </a:lnTo>
                <a:lnTo>
                  <a:pt x="11810" y="5174"/>
                </a:lnTo>
                <a:lnTo>
                  <a:pt x="11776" y="5160"/>
                </a:lnTo>
                <a:lnTo>
                  <a:pt x="11762" y="5156"/>
                </a:lnTo>
                <a:lnTo>
                  <a:pt x="11750" y="5154"/>
                </a:lnTo>
                <a:lnTo>
                  <a:pt x="11752" y="5444"/>
                </a:lnTo>
                <a:lnTo>
                  <a:pt x="11764" y="5454"/>
                </a:lnTo>
                <a:lnTo>
                  <a:pt x="11774" y="5466"/>
                </a:lnTo>
                <a:lnTo>
                  <a:pt x="11788" y="5486"/>
                </a:lnTo>
                <a:lnTo>
                  <a:pt x="11792" y="5488"/>
                </a:lnTo>
                <a:lnTo>
                  <a:pt x="11798" y="5488"/>
                </a:lnTo>
                <a:lnTo>
                  <a:pt x="11812" y="5488"/>
                </a:lnTo>
                <a:lnTo>
                  <a:pt x="11828" y="5488"/>
                </a:lnTo>
                <a:lnTo>
                  <a:pt x="11836" y="5488"/>
                </a:lnTo>
                <a:lnTo>
                  <a:pt x="11844" y="5492"/>
                </a:lnTo>
                <a:lnTo>
                  <a:pt x="11850" y="5494"/>
                </a:lnTo>
                <a:lnTo>
                  <a:pt x="11856" y="5494"/>
                </a:lnTo>
                <a:lnTo>
                  <a:pt x="11860" y="5492"/>
                </a:lnTo>
                <a:lnTo>
                  <a:pt x="11866" y="5488"/>
                </a:lnTo>
                <a:lnTo>
                  <a:pt x="11874" y="5482"/>
                </a:lnTo>
                <a:lnTo>
                  <a:pt x="11878" y="5480"/>
                </a:lnTo>
                <a:lnTo>
                  <a:pt x="11882" y="5480"/>
                </a:lnTo>
                <a:lnTo>
                  <a:pt x="11886" y="5478"/>
                </a:lnTo>
                <a:lnTo>
                  <a:pt x="11888" y="5476"/>
                </a:lnTo>
                <a:lnTo>
                  <a:pt x="11890" y="5472"/>
                </a:lnTo>
                <a:lnTo>
                  <a:pt x="11888" y="5468"/>
                </a:lnTo>
                <a:lnTo>
                  <a:pt x="11884" y="5460"/>
                </a:lnTo>
                <a:lnTo>
                  <a:pt x="11876" y="5452"/>
                </a:lnTo>
                <a:lnTo>
                  <a:pt x="11870" y="5448"/>
                </a:lnTo>
                <a:lnTo>
                  <a:pt x="11868" y="5446"/>
                </a:lnTo>
                <a:lnTo>
                  <a:pt x="11872" y="5444"/>
                </a:lnTo>
                <a:lnTo>
                  <a:pt x="11876" y="5444"/>
                </a:lnTo>
                <a:lnTo>
                  <a:pt x="11888" y="5440"/>
                </a:lnTo>
                <a:lnTo>
                  <a:pt x="11892" y="5438"/>
                </a:lnTo>
                <a:lnTo>
                  <a:pt x="11892" y="5434"/>
                </a:lnTo>
                <a:lnTo>
                  <a:pt x="11894" y="5430"/>
                </a:lnTo>
                <a:lnTo>
                  <a:pt x="11900" y="5428"/>
                </a:lnTo>
                <a:lnTo>
                  <a:pt x="11902" y="5426"/>
                </a:lnTo>
                <a:lnTo>
                  <a:pt x="11902" y="5422"/>
                </a:lnTo>
                <a:lnTo>
                  <a:pt x="11902" y="5416"/>
                </a:lnTo>
                <a:lnTo>
                  <a:pt x="11898" y="5404"/>
                </a:lnTo>
                <a:lnTo>
                  <a:pt x="11906" y="5412"/>
                </a:lnTo>
                <a:lnTo>
                  <a:pt x="11910" y="5416"/>
                </a:lnTo>
                <a:lnTo>
                  <a:pt x="11918" y="5418"/>
                </a:lnTo>
                <a:lnTo>
                  <a:pt x="11926" y="5416"/>
                </a:lnTo>
                <a:close/>
                <a:moveTo>
                  <a:pt x="10506" y="4964"/>
                </a:moveTo>
                <a:lnTo>
                  <a:pt x="10506" y="4964"/>
                </a:lnTo>
                <a:lnTo>
                  <a:pt x="10502" y="4972"/>
                </a:lnTo>
                <a:lnTo>
                  <a:pt x="10498" y="4980"/>
                </a:lnTo>
                <a:lnTo>
                  <a:pt x="10494" y="5000"/>
                </a:lnTo>
                <a:lnTo>
                  <a:pt x="10494" y="5010"/>
                </a:lnTo>
                <a:lnTo>
                  <a:pt x="10496" y="5020"/>
                </a:lnTo>
                <a:lnTo>
                  <a:pt x="10498" y="5026"/>
                </a:lnTo>
                <a:lnTo>
                  <a:pt x="10504" y="5030"/>
                </a:lnTo>
                <a:lnTo>
                  <a:pt x="10508" y="5032"/>
                </a:lnTo>
                <a:lnTo>
                  <a:pt x="10508" y="5036"/>
                </a:lnTo>
                <a:lnTo>
                  <a:pt x="10504" y="5044"/>
                </a:lnTo>
                <a:lnTo>
                  <a:pt x="10502" y="5048"/>
                </a:lnTo>
                <a:lnTo>
                  <a:pt x="10502" y="5052"/>
                </a:lnTo>
                <a:lnTo>
                  <a:pt x="10502" y="5058"/>
                </a:lnTo>
                <a:lnTo>
                  <a:pt x="10506" y="5064"/>
                </a:lnTo>
                <a:lnTo>
                  <a:pt x="10510" y="5068"/>
                </a:lnTo>
                <a:lnTo>
                  <a:pt x="10512" y="5072"/>
                </a:lnTo>
                <a:lnTo>
                  <a:pt x="10512" y="5074"/>
                </a:lnTo>
                <a:lnTo>
                  <a:pt x="10510" y="5076"/>
                </a:lnTo>
                <a:lnTo>
                  <a:pt x="10510" y="5078"/>
                </a:lnTo>
                <a:lnTo>
                  <a:pt x="10514" y="5082"/>
                </a:lnTo>
                <a:lnTo>
                  <a:pt x="10520" y="5084"/>
                </a:lnTo>
                <a:lnTo>
                  <a:pt x="10520" y="5088"/>
                </a:lnTo>
                <a:lnTo>
                  <a:pt x="10520" y="5090"/>
                </a:lnTo>
                <a:lnTo>
                  <a:pt x="10518" y="5092"/>
                </a:lnTo>
                <a:lnTo>
                  <a:pt x="10516" y="5098"/>
                </a:lnTo>
                <a:lnTo>
                  <a:pt x="10516" y="5100"/>
                </a:lnTo>
                <a:lnTo>
                  <a:pt x="10516" y="5102"/>
                </a:lnTo>
                <a:lnTo>
                  <a:pt x="10520" y="5104"/>
                </a:lnTo>
                <a:lnTo>
                  <a:pt x="10522" y="5102"/>
                </a:lnTo>
                <a:lnTo>
                  <a:pt x="10530" y="5098"/>
                </a:lnTo>
                <a:lnTo>
                  <a:pt x="10536" y="5096"/>
                </a:lnTo>
                <a:lnTo>
                  <a:pt x="10538" y="5098"/>
                </a:lnTo>
                <a:lnTo>
                  <a:pt x="10540" y="5102"/>
                </a:lnTo>
                <a:lnTo>
                  <a:pt x="10540" y="5106"/>
                </a:lnTo>
                <a:lnTo>
                  <a:pt x="10540" y="5110"/>
                </a:lnTo>
                <a:lnTo>
                  <a:pt x="10538" y="5118"/>
                </a:lnTo>
                <a:lnTo>
                  <a:pt x="10536" y="5126"/>
                </a:lnTo>
                <a:lnTo>
                  <a:pt x="10538" y="5132"/>
                </a:lnTo>
                <a:lnTo>
                  <a:pt x="10540" y="5140"/>
                </a:lnTo>
                <a:lnTo>
                  <a:pt x="10546" y="5158"/>
                </a:lnTo>
                <a:lnTo>
                  <a:pt x="10548" y="5170"/>
                </a:lnTo>
                <a:lnTo>
                  <a:pt x="10548" y="5178"/>
                </a:lnTo>
                <a:lnTo>
                  <a:pt x="10548" y="5184"/>
                </a:lnTo>
                <a:lnTo>
                  <a:pt x="10548" y="5186"/>
                </a:lnTo>
                <a:lnTo>
                  <a:pt x="10554" y="5186"/>
                </a:lnTo>
                <a:lnTo>
                  <a:pt x="10566" y="5188"/>
                </a:lnTo>
                <a:lnTo>
                  <a:pt x="10574" y="5190"/>
                </a:lnTo>
                <a:lnTo>
                  <a:pt x="10580" y="5190"/>
                </a:lnTo>
                <a:lnTo>
                  <a:pt x="10586" y="5186"/>
                </a:lnTo>
                <a:lnTo>
                  <a:pt x="10590" y="5182"/>
                </a:lnTo>
                <a:lnTo>
                  <a:pt x="10594" y="5180"/>
                </a:lnTo>
                <a:lnTo>
                  <a:pt x="10600" y="5180"/>
                </a:lnTo>
                <a:lnTo>
                  <a:pt x="10604" y="5182"/>
                </a:lnTo>
                <a:lnTo>
                  <a:pt x="10608" y="5186"/>
                </a:lnTo>
                <a:lnTo>
                  <a:pt x="10612" y="5190"/>
                </a:lnTo>
                <a:lnTo>
                  <a:pt x="10612" y="5196"/>
                </a:lnTo>
                <a:lnTo>
                  <a:pt x="10612" y="5202"/>
                </a:lnTo>
                <a:lnTo>
                  <a:pt x="10612" y="5210"/>
                </a:lnTo>
                <a:lnTo>
                  <a:pt x="10614" y="5212"/>
                </a:lnTo>
                <a:lnTo>
                  <a:pt x="10616" y="5212"/>
                </a:lnTo>
                <a:lnTo>
                  <a:pt x="10622" y="5208"/>
                </a:lnTo>
                <a:lnTo>
                  <a:pt x="10628" y="5204"/>
                </a:lnTo>
                <a:lnTo>
                  <a:pt x="10630" y="5202"/>
                </a:lnTo>
                <a:lnTo>
                  <a:pt x="10634" y="5202"/>
                </a:lnTo>
                <a:lnTo>
                  <a:pt x="10642" y="5204"/>
                </a:lnTo>
                <a:lnTo>
                  <a:pt x="10646" y="5204"/>
                </a:lnTo>
                <a:lnTo>
                  <a:pt x="10650" y="5204"/>
                </a:lnTo>
                <a:lnTo>
                  <a:pt x="10652" y="5202"/>
                </a:lnTo>
                <a:lnTo>
                  <a:pt x="10656" y="5196"/>
                </a:lnTo>
                <a:lnTo>
                  <a:pt x="10658" y="5192"/>
                </a:lnTo>
                <a:lnTo>
                  <a:pt x="10662" y="5190"/>
                </a:lnTo>
                <a:lnTo>
                  <a:pt x="10664" y="5190"/>
                </a:lnTo>
                <a:lnTo>
                  <a:pt x="10668" y="5192"/>
                </a:lnTo>
                <a:lnTo>
                  <a:pt x="10674" y="5196"/>
                </a:lnTo>
                <a:lnTo>
                  <a:pt x="10676" y="5198"/>
                </a:lnTo>
                <a:lnTo>
                  <a:pt x="10680" y="5198"/>
                </a:lnTo>
                <a:lnTo>
                  <a:pt x="10682" y="5198"/>
                </a:lnTo>
                <a:lnTo>
                  <a:pt x="10684" y="5198"/>
                </a:lnTo>
                <a:lnTo>
                  <a:pt x="10684" y="5204"/>
                </a:lnTo>
                <a:lnTo>
                  <a:pt x="10684" y="5206"/>
                </a:lnTo>
                <a:lnTo>
                  <a:pt x="10686" y="5208"/>
                </a:lnTo>
                <a:lnTo>
                  <a:pt x="10690" y="5208"/>
                </a:lnTo>
                <a:lnTo>
                  <a:pt x="10696" y="5206"/>
                </a:lnTo>
                <a:lnTo>
                  <a:pt x="10702" y="5204"/>
                </a:lnTo>
                <a:lnTo>
                  <a:pt x="10708" y="5204"/>
                </a:lnTo>
                <a:lnTo>
                  <a:pt x="10714" y="5206"/>
                </a:lnTo>
                <a:lnTo>
                  <a:pt x="10718" y="5210"/>
                </a:lnTo>
                <a:lnTo>
                  <a:pt x="10722" y="5216"/>
                </a:lnTo>
                <a:lnTo>
                  <a:pt x="10724" y="5222"/>
                </a:lnTo>
                <a:lnTo>
                  <a:pt x="10726" y="5228"/>
                </a:lnTo>
                <a:lnTo>
                  <a:pt x="10724" y="5236"/>
                </a:lnTo>
                <a:lnTo>
                  <a:pt x="10724" y="5240"/>
                </a:lnTo>
                <a:lnTo>
                  <a:pt x="10728" y="5242"/>
                </a:lnTo>
                <a:lnTo>
                  <a:pt x="10734" y="5240"/>
                </a:lnTo>
                <a:lnTo>
                  <a:pt x="10742" y="5236"/>
                </a:lnTo>
                <a:lnTo>
                  <a:pt x="10758" y="5226"/>
                </a:lnTo>
                <a:lnTo>
                  <a:pt x="10764" y="5222"/>
                </a:lnTo>
                <a:lnTo>
                  <a:pt x="10770" y="5220"/>
                </a:lnTo>
                <a:lnTo>
                  <a:pt x="10774" y="5220"/>
                </a:lnTo>
                <a:lnTo>
                  <a:pt x="10778" y="5216"/>
                </a:lnTo>
                <a:lnTo>
                  <a:pt x="10782" y="5208"/>
                </a:lnTo>
                <a:lnTo>
                  <a:pt x="10784" y="5196"/>
                </a:lnTo>
                <a:lnTo>
                  <a:pt x="10786" y="5186"/>
                </a:lnTo>
                <a:lnTo>
                  <a:pt x="10788" y="5182"/>
                </a:lnTo>
                <a:lnTo>
                  <a:pt x="10790" y="5180"/>
                </a:lnTo>
                <a:lnTo>
                  <a:pt x="10792" y="5178"/>
                </a:lnTo>
                <a:lnTo>
                  <a:pt x="10794" y="5170"/>
                </a:lnTo>
                <a:lnTo>
                  <a:pt x="10796" y="5164"/>
                </a:lnTo>
                <a:lnTo>
                  <a:pt x="10798" y="5162"/>
                </a:lnTo>
                <a:lnTo>
                  <a:pt x="10804" y="5160"/>
                </a:lnTo>
                <a:lnTo>
                  <a:pt x="10806" y="5158"/>
                </a:lnTo>
                <a:lnTo>
                  <a:pt x="10806" y="5154"/>
                </a:lnTo>
                <a:lnTo>
                  <a:pt x="10806" y="5150"/>
                </a:lnTo>
                <a:lnTo>
                  <a:pt x="10804" y="5140"/>
                </a:lnTo>
                <a:lnTo>
                  <a:pt x="10802" y="5132"/>
                </a:lnTo>
                <a:lnTo>
                  <a:pt x="10802" y="5124"/>
                </a:lnTo>
                <a:lnTo>
                  <a:pt x="10806" y="5118"/>
                </a:lnTo>
                <a:lnTo>
                  <a:pt x="10810" y="5112"/>
                </a:lnTo>
                <a:lnTo>
                  <a:pt x="10818" y="5102"/>
                </a:lnTo>
                <a:lnTo>
                  <a:pt x="10822" y="5098"/>
                </a:lnTo>
                <a:lnTo>
                  <a:pt x="10826" y="5092"/>
                </a:lnTo>
                <a:lnTo>
                  <a:pt x="10828" y="5088"/>
                </a:lnTo>
                <a:lnTo>
                  <a:pt x="10832" y="5084"/>
                </a:lnTo>
                <a:lnTo>
                  <a:pt x="10840" y="5082"/>
                </a:lnTo>
                <a:lnTo>
                  <a:pt x="10844" y="5080"/>
                </a:lnTo>
                <a:lnTo>
                  <a:pt x="10846" y="5076"/>
                </a:lnTo>
                <a:lnTo>
                  <a:pt x="10846" y="5070"/>
                </a:lnTo>
                <a:lnTo>
                  <a:pt x="10846" y="5062"/>
                </a:lnTo>
                <a:lnTo>
                  <a:pt x="10846" y="5040"/>
                </a:lnTo>
                <a:lnTo>
                  <a:pt x="10846" y="5020"/>
                </a:lnTo>
                <a:lnTo>
                  <a:pt x="10850" y="5008"/>
                </a:lnTo>
                <a:lnTo>
                  <a:pt x="10852" y="5002"/>
                </a:lnTo>
                <a:lnTo>
                  <a:pt x="10856" y="5000"/>
                </a:lnTo>
                <a:lnTo>
                  <a:pt x="10860" y="4996"/>
                </a:lnTo>
                <a:lnTo>
                  <a:pt x="10862" y="4992"/>
                </a:lnTo>
                <a:lnTo>
                  <a:pt x="10866" y="4992"/>
                </a:lnTo>
                <a:lnTo>
                  <a:pt x="10872" y="4996"/>
                </a:lnTo>
                <a:lnTo>
                  <a:pt x="10876" y="4998"/>
                </a:lnTo>
                <a:lnTo>
                  <a:pt x="10880" y="5000"/>
                </a:lnTo>
                <a:lnTo>
                  <a:pt x="10890" y="5002"/>
                </a:lnTo>
                <a:lnTo>
                  <a:pt x="10898" y="5000"/>
                </a:lnTo>
                <a:lnTo>
                  <a:pt x="10900" y="4998"/>
                </a:lnTo>
                <a:lnTo>
                  <a:pt x="10902" y="4996"/>
                </a:lnTo>
                <a:lnTo>
                  <a:pt x="10900" y="4992"/>
                </a:lnTo>
                <a:lnTo>
                  <a:pt x="10894" y="4986"/>
                </a:lnTo>
                <a:lnTo>
                  <a:pt x="10876" y="4968"/>
                </a:lnTo>
                <a:lnTo>
                  <a:pt x="10868" y="4960"/>
                </a:lnTo>
                <a:lnTo>
                  <a:pt x="10862" y="4952"/>
                </a:lnTo>
                <a:lnTo>
                  <a:pt x="10858" y="4944"/>
                </a:lnTo>
                <a:lnTo>
                  <a:pt x="10858" y="4940"/>
                </a:lnTo>
                <a:lnTo>
                  <a:pt x="10860" y="4938"/>
                </a:lnTo>
                <a:lnTo>
                  <a:pt x="10862" y="4934"/>
                </a:lnTo>
                <a:lnTo>
                  <a:pt x="10864" y="4930"/>
                </a:lnTo>
                <a:lnTo>
                  <a:pt x="10862" y="4926"/>
                </a:lnTo>
                <a:lnTo>
                  <a:pt x="10860" y="4922"/>
                </a:lnTo>
                <a:lnTo>
                  <a:pt x="10856" y="4914"/>
                </a:lnTo>
                <a:lnTo>
                  <a:pt x="10852" y="4908"/>
                </a:lnTo>
                <a:lnTo>
                  <a:pt x="10850" y="4902"/>
                </a:lnTo>
                <a:lnTo>
                  <a:pt x="10850" y="4896"/>
                </a:lnTo>
                <a:lnTo>
                  <a:pt x="10848" y="4892"/>
                </a:lnTo>
                <a:lnTo>
                  <a:pt x="10842" y="4890"/>
                </a:lnTo>
                <a:lnTo>
                  <a:pt x="10838" y="4886"/>
                </a:lnTo>
                <a:lnTo>
                  <a:pt x="10838" y="4882"/>
                </a:lnTo>
                <a:lnTo>
                  <a:pt x="10838" y="4878"/>
                </a:lnTo>
                <a:lnTo>
                  <a:pt x="10838" y="4872"/>
                </a:lnTo>
                <a:lnTo>
                  <a:pt x="10842" y="4868"/>
                </a:lnTo>
                <a:lnTo>
                  <a:pt x="10844" y="4866"/>
                </a:lnTo>
                <a:lnTo>
                  <a:pt x="10846" y="4864"/>
                </a:lnTo>
                <a:lnTo>
                  <a:pt x="10852" y="4866"/>
                </a:lnTo>
                <a:lnTo>
                  <a:pt x="10854" y="4866"/>
                </a:lnTo>
                <a:lnTo>
                  <a:pt x="10856" y="4864"/>
                </a:lnTo>
                <a:lnTo>
                  <a:pt x="10854" y="4860"/>
                </a:lnTo>
                <a:lnTo>
                  <a:pt x="10852" y="4856"/>
                </a:lnTo>
                <a:lnTo>
                  <a:pt x="10844" y="4848"/>
                </a:lnTo>
                <a:lnTo>
                  <a:pt x="10842" y="4842"/>
                </a:lnTo>
                <a:lnTo>
                  <a:pt x="10842" y="4840"/>
                </a:lnTo>
                <a:lnTo>
                  <a:pt x="10844" y="4840"/>
                </a:lnTo>
                <a:lnTo>
                  <a:pt x="10844" y="4838"/>
                </a:lnTo>
                <a:lnTo>
                  <a:pt x="10848" y="4836"/>
                </a:lnTo>
                <a:lnTo>
                  <a:pt x="10848" y="4834"/>
                </a:lnTo>
                <a:lnTo>
                  <a:pt x="10848" y="4830"/>
                </a:lnTo>
                <a:lnTo>
                  <a:pt x="10848" y="4826"/>
                </a:lnTo>
                <a:lnTo>
                  <a:pt x="10854" y="4832"/>
                </a:lnTo>
                <a:lnTo>
                  <a:pt x="10860" y="4834"/>
                </a:lnTo>
                <a:lnTo>
                  <a:pt x="10864" y="4834"/>
                </a:lnTo>
                <a:lnTo>
                  <a:pt x="10868" y="4832"/>
                </a:lnTo>
                <a:lnTo>
                  <a:pt x="10874" y="4830"/>
                </a:lnTo>
                <a:lnTo>
                  <a:pt x="10880" y="4830"/>
                </a:lnTo>
                <a:lnTo>
                  <a:pt x="10886" y="4828"/>
                </a:lnTo>
                <a:lnTo>
                  <a:pt x="10886" y="4826"/>
                </a:lnTo>
                <a:lnTo>
                  <a:pt x="10886" y="4824"/>
                </a:lnTo>
                <a:lnTo>
                  <a:pt x="10880" y="4816"/>
                </a:lnTo>
                <a:lnTo>
                  <a:pt x="10872" y="4810"/>
                </a:lnTo>
                <a:lnTo>
                  <a:pt x="10868" y="4806"/>
                </a:lnTo>
                <a:lnTo>
                  <a:pt x="10870" y="4802"/>
                </a:lnTo>
                <a:lnTo>
                  <a:pt x="10874" y="4798"/>
                </a:lnTo>
                <a:lnTo>
                  <a:pt x="10876" y="4796"/>
                </a:lnTo>
                <a:lnTo>
                  <a:pt x="10880" y="4798"/>
                </a:lnTo>
                <a:lnTo>
                  <a:pt x="10882" y="4800"/>
                </a:lnTo>
                <a:lnTo>
                  <a:pt x="10892" y="4798"/>
                </a:lnTo>
                <a:lnTo>
                  <a:pt x="10902" y="4796"/>
                </a:lnTo>
                <a:lnTo>
                  <a:pt x="10908" y="4792"/>
                </a:lnTo>
                <a:lnTo>
                  <a:pt x="10912" y="4786"/>
                </a:lnTo>
                <a:lnTo>
                  <a:pt x="10912" y="4780"/>
                </a:lnTo>
                <a:lnTo>
                  <a:pt x="10912" y="4776"/>
                </a:lnTo>
                <a:lnTo>
                  <a:pt x="10910" y="4776"/>
                </a:lnTo>
                <a:lnTo>
                  <a:pt x="10906" y="4776"/>
                </a:lnTo>
                <a:lnTo>
                  <a:pt x="10902" y="4776"/>
                </a:lnTo>
                <a:lnTo>
                  <a:pt x="10900" y="4776"/>
                </a:lnTo>
                <a:lnTo>
                  <a:pt x="10898" y="4774"/>
                </a:lnTo>
                <a:lnTo>
                  <a:pt x="10894" y="4772"/>
                </a:lnTo>
                <a:lnTo>
                  <a:pt x="10892" y="4770"/>
                </a:lnTo>
                <a:lnTo>
                  <a:pt x="10888" y="4768"/>
                </a:lnTo>
                <a:lnTo>
                  <a:pt x="10886" y="4766"/>
                </a:lnTo>
                <a:lnTo>
                  <a:pt x="10882" y="4760"/>
                </a:lnTo>
                <a:lnTo>
                  <a:pt x="10878" y="4758"/>
                </a:lnTo>
                <a:lnTo>
                  <a:pt x="10872" y="4758"/>
                </a:lnTo>
                <a:lnTo>
                  <a:pt x="10870" y="4760"/>
                </a:lnTo>
                <a:lnTo>
                  <a:pt x="10864" y="4764"/>
                </a:lnTo>
                <a:lnTo>
                  <a:pt x="10862" y="4764"/>
                </a:lnTo>
                <a:lnTo>
                  <a:pt x="10860" y="4762"/>
                </a:lnTo>
                <a:lnTo>
                  <a:pt x="10860" y="4758"/>
                </a:lnTo>
                <a:lnTo>
                  <a:pt x="10862" y="4758"/>
                </a:lnTo>
                <a:lnTo>
                  <a:pt x="10864" y="4756"/>
                </a:lnTo>
                <a:lnTo>
                  <a:pt x="10864" y="4750"/>
                </a:lnTo>
                <a:lnTo>
                  <a:pt x="10862" y="4748"/>
                </a:lnTo>
                <a:lnTo>
                  <a:pt x="10862" y="4746"/>
                </a:lnTo>
                <a:lnTo>
                  <a:pt x="10856" y="4748"/>
                </a:lnTo>
                <a:lnTo>
                  <a:pt x="10852" y="4750"/>
                </a:lnTo>
                <a:lnTo>
                  <a:pt x="10850" y="4750"/>
                </a:lnTo>
                <a:lnTo>
                  <a:pt x="10848" y="4748"/>
                </a:lnTo>
                <a:lnTo>
                  <a:pt x="10848" y="4740"/>
                </a:lnTo>
                <a:lnTo>
                  <a:pt x="10848" y="4734"/>
                </a:lnTo>
                <a:lnTo>
                  <a:pt x="10850" y="4728"/>
                </a:lnTo>
                <a:lnTo>
                  <a:pt x="10846" y="4722"/>
                </a:lnTo>
                <a:lnTo>
                  <a:pt x="10842" y="4718"/>
                </a:lnTo>
                <a:lnTo>
                  <a:pt x="10840" y="4720"/>
                </a:lnTo>
                <a:lnTo>
                  <a:pt x="10838" y="4720"/>
                </a:lnTo>
                <a:lnTo>
                  <a:pt x="10834" y="4718"/>
                </a:lnTo>
                <a:lnTo>
                  <a:pt x="10832" y="4710"/>
                </a:lnTo>
                <a:lnTo>
                  <a:pt x="10830" y="4702"/>
                </a:lnTo>
                <a:lnTo>
                  <a:pt x="10828" y="4700"/>
                </a:lnTo>
                <a:lnTo>
                  <a:pt x="10826" y="4700"/>
                </a:lnTo>
                <a:lnTo>
                  <a:pt x="10824" y="4704"/>
                </a:lnTo>
                <a:lnTo>
                  <a:pt x="10822" y="4708"/>
                </a:lnTo>
                <a:lnTo>
                  <a:pt x="10820" y="4714"/>
                </a:lnTo>
                <a:lnTo>
                  <a:pt x="10816" y="4720"/>
                </a:lnTo>
                <a:lnTo>
                  <a:pt x="10814" y="4720"/>
                </a:lnTo>
                <a:lnTo>
                  <a:pt x="10814" y="4712"/>
                </a:lnTo>
                <a:lnTo>
                  <a:pt x="10816" y="4702"/>
                </a:lnTo>
                <a:lnTo>
                  <a:pt x="10814" y="4700"/>
                </a:lnTo>
                <a:lnTo>
                  <a:pt x="10812" y="4698"/>
                </a:lnTo>
                <a:lnTo>
                  <a:pt x="10808" y="4700"/>
                </a:lnTo>
                <a:lnTo>
                  <a:pt x="10808" y="4706"/>
                </a:lnTo>
                <a:lnTo>
                  <a:pt x="10804" y="4714"/>
                </a:lnTo>
                <a:lnTo>
                  <a:pt x="10798" y="4726"/>
                </a:lnTo>
                <a:lnTo>
                  <a:pt x="10792" y="4736"/>
                </a:lnTo>
                <a:lnTo>
                  <a:pt x="10788" y="4740"/>
                </a:lnTo>
                <a:lnTo>
                  <a:pt x="10786" y="4742"/>
                </a:lnTo>
                <a:lnTo>
                  <a:pt x="10784" y="4748"/>
                </a:lnTo>
                <a:lnTo>
                  <a:pt x="10782" y="4754"/>
                </a:lnTo>
                <a:lnTo>
                  <a:pt x="10780" y="4758"/>
                </a:lnTo>
                <a:lnTo>
                  <a:pt x="10778" y="4760"/>
                </a:lnTo>
                <a:lnTo>
                  <a:pt x="10778" y="4762"/>
                </a:lnTo>
                <a:lnTo>
                  <a:pt x="10776" y="4768"/>
                </a:lnTo>
                <a:lnTo>
                  <a:pt x="10774" y="4772"/>
                </a:lnTo>
                <a:lnTo>
                  <a:pt x="10770" y="4772"/>
                </a:lnTo>
                <a:lnTo>
                  <a:pt x="10768" y="4772"/>
                </a:lnTo>
                <a:lnTo>
                  <a:pt x="10766" y="4770"/>
                </a:lnTo>
                <a:lnTo>
                  <a:pt x="10762" y="4772"/>
                </a:lnTo>
                <a:lnTo>
                  <a:pt x="10756" y="4780"/>
                </a:lnTo>
                <a:lnTo>
                  <a:pt x="10756" y="4782"/>
                </a:lnTo>
                <a:lnTo>
                  <a:pt x="10758" y="4782"/>
                </a:lnTo>
                <a:lnTo>
                  <a:pt x="10762" y="4786"/>
                </a:lnTo>
                <a:lnTo>
                  <a:pt x="10764" y="4790"/>
                </a:lnTo>
                <a:lnTo>
                  <a:pt x="10764" y="4794"/>
                </a:lnTo>
                <a:lnTo>
                  <a:pt x="10760" y="4798"/>
                </a:lnTo>
                <a:lnTo>
                  <a:pt x="10756" y="4800"/>
                </a:lnTo>
                <a:lnTo>
                  <a:pt x="10754" y="4800"/>
                </a:lnTo>
                <a:lnTo>
                  <a:pt x="10750" y="4800"/>
                </a:lnTo>
                <a:lnTo>
                  <a:pt x="10746" y="4804"/>
                </a:lnTo>
                <a:lnTo>
                  <a:pt x="10742" y="4806"/>
                </a:lnTo>
                <a:lnTo>
                  <a:pt x="10742" y="4802"/>
                </a:lnTo>
                <a:lnTo>
                  <a:pt x="10744" y="4796"/>
                </a:lnTo>
                <a:lnTo>
                  <a:pt x="10744" y="4794"/>
                </a:lnTo>
                <a:lnTo>
                  <a:pt x="10742" y="4794"/>
                </a:lnTo>
                <a:lnTo>
                  <a:pt x="10738" y="4796"/>
                </a:lnTo>
                <a:lnTo>
                  <a:pt x="10732" y="4802"/>
                </a:lnTo>
                <a:lnTo>
                  <a:pt x="10724" y="4808"/>
                </a:lnTo>
                <a:lnTo>
                  <a:pt x="10716" y="4814"/>
                </a:lnTo>
                <a:lnTo>
                  <a:pt x="10710" y="4816"/>
                </a:lnTo>
                <a:lnTo>
                  <a:pt x="10704" y="4818"/>
                </a:lnTo>
                <a:lnTo>
                  <a:pt x="10702" y="4816"/>
                </a:lnTo>
                <a:lnTo>
                  <a:pt x="10700" y="4818"/>
                </a:lnTo>
                <a:lnTo>
                  <a:pt x="10700" y="4828"/>
                </a:lnTo>
                <a:lnTo>
                  <a:pt x="10698" y="4834"/>
                </a:lnTo>
                <a:lnTo>
                  <a:pt x="10696" y="4840"/>
                </a:lnTo>
                <a:lnTo>
                  <a:pt x="10686" y="4850"/>
                </a:lnTo>
                <a:lnTo>
                  <a:pt x="10674" y="4864"/>
                </a:lnTo>
                <a:lnTo>
                  <a:pt x="10670" y="4872"/>
                </a:lnTo>
                <a:lnTo>
                  <a:pt x="10666" y="4882"/>
                </a:lnTo>
                <a:lnTo>
                  <a:pt x="10662" y="4888"/>
                </a:lnTo>
                <a:lnTo>
                  <a:pt x="10654" y="4892"/>
                </a:lnTo>
                <a:lnTo>
                  <a:pt x="10634" y="4896"/>
                </a:lnTo>
                <a:lnTo>
                  <a:pt x="10612" y="4900"/>
                </a:lnTo>
                <a:lnTo>
                  <a:pt x="10604" y="4902"/>
                </a:lnTo>
                <a:lnTo>
                  <a:pt x="10600" y="4906"/>
                </a:lnTo>
                <a:lnTo>
                  <a:pt x="10598" y="4910"/>
                </a:lnTo>
                <a:lnTo>
                  <a:pt x="10598" y="4914"/>
                </a:lnTo>
                <a:lnTo>
                  <a:pt x="10598" y="4922"/>
                </a:lnTo>
                <a:lnTo>
                  <a:pt x="10598" y="4928"/>
                </a:lnTo>
                <a:lnTo>
                  <a:pt x="10596" y="4928"/>
                </a:lnTo>
                <a:lnTo>
                  <a:pt x="10592" y="4926"/>
                </a:lnTo>
                <a:lnTo>
                  <a:pt x="10590" y="4924"/>
                </a:lnTo>
                <a:lnTo>
                  <a:pt x="10588" y="4924"/>
                </a:lnTo>
                <a:lnTo>
                  <a:pt x="10586" y="4928"/>
                </a:lnTo>
                <a:lnTo>
                  <a:pt x="10586" y="4932"/>
                </a:lnTo>
                <a:lnTo>
                  <a:pt x="10588" y="4936"/>
                </a:lnTo>
                <a:lnTo>
                  <a:pt x="10590" y="4938"/>
                </a:lnTo>
                <a:lnTo>
                  <a:pt x="10590" y="4940"/>
                </a:lnTo>
                <a:lnTo>
                  <a:pt x="10588" y="4942"/>
                </a:lnTo>
                <a:lnTo>
                  <a:pt x="10586" y="4948"/>
                </a:lnTo>
                <a:lnTo>
                  <a:pt x="10584" y="4956"/>
                </a:lnTo>
                <a:lnTo>
                  <a:pt x="10582" y="4960"/>
                </a:lnTo>
                <a:lnTo>
                  <a:pt x="10580" y="4962"/>
                </a:lnTo>
                <a:lnTo>
                  <a:pt x="10584" y="4968"/>
                </a:lnTo>
                <a:lnTo>
                  <a:pt x="10586" y="4972"/>
                </a:lnTo>
                <a:lnTo>
                  <a:pt x="10586" y="4974"/>
                </a:lnTo>
                <a:lnTo>
                  <a:pt x="10578" y="4968"/>
                </a:lnTo>
                <a:lnTo>
                  <a:pt x="10572" y="4966"/>
                </a:lnTo>
                <a:lnTo>
                  <a:pt x="10566" y="4964"/>
                </a:lnTo>
                <a:lnTo>
                  <a:pt x="10562" y="4964"/>
                </a:lnTo>
                <a:lnTo>
                  <a:pt x="10560" y="4962"/>
                </a:lnTo>
                <a:lnTo>
                  <a:pt x="10560" y="4960"/>
                </a:lnTo>
                <a:lnTo>
                  <a:pt x="10562" y="4956"/>
                </a:lnTo>
                <a:lnTo>
                  <a:pt x="10560" y="4956"/>
                </a:lnTo>
                <a:lnTo>
                  <a:pt x="10558" y="4956"/>
                </a:lnTo>
                <a:lnTo>
                  <a:pt x="10554" y="4954"/>
                </a:lnTo>
                <a:lnTo>
                  <a:pt x="10552" y="4952"/>
                </a:lnTo>
                <a:lnTo>
                  <a:pt x="10552" y="4954"/>
                </a:lnTo>
                <a:lnTo>
                  <a:pt x="10550" y="4956"/>
                </a:lnTo>
                <a:lnTo>
                  <a:pt x="10546" y="4958"/>
                </a:lnTo>
                <a:lnTo>
                  <a:pt x="10540" y="4958"/>
                </a:lnTo>
                <a:lnTo>
                  <a:pt x="10534" y="4954"/>
                </a:lnTo>
                <a:lnTo>
                  <a:pt x="10528" y="4950"/>
                </a:lnTo>
                <a:lnTo>
                  <a:pt x="10526" y="4942"/>
                </a:lnTo>
                <a:lnTo>
                  <a:pt x="10520" y="4942"/>
                </a:lnTo>
                <a:lnTo>
                  <a:pt x="10516" y="4944"/>
                </a:lnTo>
                <a:lnTo>
                  <a:pt x="10512" y="4950"/>
                </a:lnTo>
                <a:lnTo>
                  <a:pt x="10508" y="4958"/>
                </a:lnTo>
                <a:lnTo>
                  <a:pt x="10506" y="4964"/>
                </a:lnTo>
                <a:close/>
                <a:moveTo>
                  <a:pt x="12348" y="4304"/>
                </a:moveTo>
                <a:lnTo>
                  <a:pt x="12348" y="4304"/>
                </a:lnTo>
                <a:lnTo>
                  <a:pt x="12352" y="4306"/>
                </a:lnTo>
                <a:lnTo>
                  <a:pt x="12354" y="4306"/>
                </a:lnTo>
                <a:lnTo>
                  <a:pt x="12358" y="4302"/>
                </a:lnTo>
                <a:lnTo>
                  <a:pt x="12362" y="4296"/>
                </a:lnTo>
                <a:lnTo>
                  <a:pt x="12366" y="4294"/>
                </a:lnTo>
                <a:lnTo>
                  <a:pt x="12368" y="4292"/>
                </a:lnTo>
                <a:lnTo>
                  <a:pt x="12370" y="4290"/>
                </a:lnTo>
                <a:lnTo>
                  <a:pt x="12372" y="4282"/>
                </a:lnTo>
                <a:lnTo>
                  <a:pt x="12376" y="4274"/>
                </a:lnTo>
                <a:lnTo>
                  <a:pt x="12376" y="4272"/>
                </a:lnTo>
                <a:lnTo>
                  <a:pt x="12374" y="4270"/>
                </a:lnTo>
                <a:lnTo>
                  <a:pt x="12370" y="4270"/>
                </a:lnTo>
                <a:lnTo>
                  <a:pt x="12370" y="4268"/>
                </a:lnTo>
                <a:lnTo>
                  <a:pt x="12368" y="4266"/>
                </a:lnTo>
                <a:lnTo>
                  <a:pt x="12366" y="4264"/>
                </a:lnTo>
                <a:lnTo>
                  <a:pt x="12362" y="4264"/>
                </a:lnTo>
                <a:lnTo>
                  <a:pt x="12358" y="4264"/>
                </a:lnTo>
                <a:lnTo>
                  <a:pt x="12348" y="4268"/>
                </a:lnTo>
                <a:lnTo>
                  <a:pt x="12338" y="4276"/>
                </a:lnTo>
                <a:lnTo>
                  <a:pt x="12336" y="4280"/>
                </a:lnTo>
                <a:lnTo>
                  <a:pt x="12336" y="4282"/>
                </a:lnTo>
                <a:lnTo>
                  <a:pt x="12334" y="4288"/>
                </a:lnTo>
                <a:lnTo>
                  <a:pt x="12332" y="4294"/>
                </a:lnTo>
                <a:lnTo>
                  <a:pt x="12328" y="4298"/>
                </a:lnTo>
                <a:lnTo>
                  <a:pt x="12326" y="4304"/>
                </a:lnTo>
                <a:lnTo>
                  <a:pt x="12328" y="4306"/>
                </a:lnTo>
                <a:lnTo>
                  <a:pt x="12332" y="4304"/>
                </a:lnTo>
                <a:lnTo>
                  <a:pt x="12338" y="4302"/>
                </a:lnTo>
                <a:lnTo>
                  <a:pt x="12348" y="4304"/>
                </a:lnTo>
                <a:close/>
                <a:moveTo>
                  <a:pt x="10758" y="5378"/>
                </a:moveTo>
                <a:lnTo>
                  <a:pt x="10758" y="5378"/>
                </a:lnTo>
                <a:lnTo>
                  <a:pt x="10760" y="5376"/>
                </a:lnTo>
                <a:lnTo>
                  <a:pt x="10762" y="5378"/>
                </a:lnTo>
                <a:lnTo>
                  <a:pt x="10764" y="5378"/>
                </a:lnTo>
                <a:lnTo>
                  <a:pt x="10766" y="5376"/>
                </a:lnTo>
                <a:lnTo>
                  <a:pt x="10766" y="5374"/>
                </a:lnTo>
                <a:lnTo>
                  <a:pt x="10764" y="5372"/>
                </a:lnTo>
                <a:lnTo>
                  <a:pt x="10760" y="5372"/>
                </a:lnTo>
                <a:lnTo>
                  <a:pt x="10754" y="5372"/>
                </a:lnTo>
                <a:lnTo>
                  <a:pt x="10752" y="5374"/>
                </a:lnTo>
                <a:lnTo>
                  <a:pt x="10752" y="5376"/>
                </a:lnTo>
                <a:lnTo>
                  <a:pt x="10754" y="5378"/>
                </a:lnTo>
                <a:lnTo>
                  <a:pt x="10758" y="5378"/>
                </a:lnTo>
                <a:close/>
                <a:moveTo>
                  <a:pt x="10962" y="5352"/>
                </a:moveTo>
                <a:lnTo>
                  <a:pt x="10962" y="5352"/>
                </a:lnTo>
                <a:lnTo>
                  <a:pt x="10964" y="5354"/>
                </a:lnTo>
                <a:lnTo>
                  <a:pt x="10966" y="5344"/>
                </a:lnTo>
                <a:lnTo>
                  <a:pt x="10966" y="5332"/>
                </a:lnTo>
                <a:lnTo>
                  <a:pt x="10964" y="5322"/>
                </a:lnTo>
                <a:lnTo>
                  <a:pt x="10962" y="5322"/>
                </a:lnTo>
                <a:lnTo>
                  <a:pt x="10962" y="5330"/>
                </a:lnTo>
                <a:lnTo>
                  <a:pt x="10960" y="5340"/>
                </a:lnTo>
                <a:lnTo>
                  <a:pt x="10962" y="5352"/>
                </a:lnTo>
                <a:close/>
                <a:moveTo>
                  <a:pt x="11064" y="5452"/>
                </a:moveTo>
                <a:lnTo>
                  <a:pt x="11064" y="5452"/>
                </a:lnTo>
                <a:lnTo>
                  <a:pt x="11060" y="5454"/>
                </a:lnTo>
                <a:lnTo>
                  <a:pt x="11060" y="5456"/>
                </a:lnTo>
                <a:lnTo>
                  <a:pt x="11064" y="5456"/>
                </a:lnTo>
                <a:lnTo>
                  <a:pt x="11068" y="5454"/>
                </a:lnTo>
                <a:lnTo>
                  <a:pt x="11070" y="5452"/>
                </a:lnTo>
                <a:lnTo>
                  <a:pt x="11070" y="5450"/>
                </a:lnTo>
                <a:lnTo>
                  <a:pt x="11064" y="5452"/>
                </a:lnTo>
                <a:close/>
                <a:moveTo>
                  <a:pt x="11078" y="5444"/>
                </a:moveTo>
                <a:lnTo>
                  <a:pt x="11078" y="5444"/>
                </a:lnTo>
                <a:lnTo>
                  <a:pt x="11076" y="5440"/>
                </a:lnTo>
                <a:lnTo>
                  <a:pt x="11074" y="5440"/>
                </a:lnTo>
                <a:lnTo>
                  <a:pt x="11070" y="5440"/>
                </a:lnTo>
                <a:lnTo>
                  <a:pt x="11068" y="5444"/>
                </a:lnTo>
                <a:lnTo>
                  <a:pt x="11066" y="5446"/>
                </a:lnTo>
                <a:lnTo>
                  <a:pt x="11066" y="5448"/>
                </a:lnTo>
                <a:lnTo>
                  <a:pt x="11072" y="5448"/>
                </a:lnTo>
                <a:lnTo>
                  <a:pt x="11076" y="5448"/>
                </a:lnTo>
                <a:lnTo>
                  <a:pt x="11078" y="5444"/>
                </a:lnTo>
                <a:close/>
                <a:moveTo>
                  <a:pt x="11112" y="5442"/>
                </a:moveTo>
                <a:lnTo>
                  <a:pt x="11112" y="5442"/>
                </a:lnTo>
                <a:lnTo>
                  <a:pt x="11108" y="5446"/>
                </a:lnTo>
                <a:lnTo>
                  <a:pt x="11106" y="5444"/>
                </a:lnTo>
                <a:lnTo>
                  <a:pt x="11104" y="5444"/>
                </a:lnTo>
                <a:lnTo>
                  <a:pt x="11102" y="5446"/>
                </a:lnTo>
                <a:lnTo>
                  <a:pt x="11102" y="5450"/>
                </a:lnTo>
                <a:lnTo>
                  <a:pt x="11106" y="5454"/>
                </a:lnTo>
                <a:lnTo>
                  <a:pt x="11108" y="5454"/>
                </a:lnTo>
                <a:lnTo>
                  <a:pt x="11110" y="5454"/>
                </a:lnTo>
                <a:lnTo>
                  <a:pt x="11112" y="5452"/>
                </a:lnTo>
                <a:lnTo>
                  <a:pt x="11116" y="5444"/>
                </a:lnTo>
                <a:lnTo>
                  <a:pt x="11116" y="5440"/>
                </a:lnTo>
                <a:lnTo>
                  <a:pt x="11116" y="5438"/>
                </a:lnTo>
                <a:lnTo>
                  <a:pt x="11112" y="5442"/>
                </a:lnTo>
                <a:close/>
                <a:moveTo>
                  <a:pt x="11080" y="5560"/>
                </a:moveTo>
                <a:lnTo>
                  <a:pt x="11080" y="5560"/>
                </a:lnTo>
                <a:lnTo>
                  <a:pt x="11082" y="5556"/>
                </a:lnTo>
                <a:lnTo>
                  <a:pt x="11082" y="5552"/>
                </a:lnTo>
                <a:lnTo>
                  <a:pt x="11080" y="5550"/>
                </a:lnTo>
                <a:lnTo>
                  <a:pt x="11078" y="5550"/>
                </a:lnTo>
                <a:lnTo>
                  <a:pt x="11076" y="5550"/>
                </a:lnTo>
                <a:lnTo>
                  <a:pt x="11074" y="5554"/>
                </a:lnTo>
                <a:lnTo>
                  <a:pt x="11068" y="5560"/>
                </a:lnTo>
                <a:lnTo>
                  <a:pt x="11062" y="5562"/>
                </a:lnTo>
                <a:lnTo>
                  <a:pt x="11058" y="5564"/>
                </a:lnTo>
                <a:lnTo>
                  <a:pt x="11056" y="5570"/>
                </a:lnTo>
                <a:lnTo>
                  <a:pt x="11056" y="5572"/>
                </a:lnTo>
                <a:lnTo>
                  <a:pt x="11058" y="5572"/>
                </a:lnTo>
                <a:lnTo>
                  <a:pt x="11066" y="5570"/>
                </a:lnTo>
                <a:lnTo>
                  <a:pt x="11080" y="5560"/>
                </a:lnTo>
                <a:close/>
                <a:moveTo>
                  <a:pt x="11070" y="5096"/>
                </a:moveTo>
                <a:lnTo>
                  <a:pt x="11070" y="5096"/>
                </a:lnTo>
                <a:lnTo>
                  <a:pt x="11064" y="5096"/>
                </a:lnTo>
                <a:lnTo>
                  <a:pt x="11060" y="5098"/>
                </a:lnTo>
                <a:lnTo>
                  <a:pt x="11058" y="5106"/>
                </a:lnTo>
                <a:lnTo>
                  <a:pt x="11060" y="5116"/>
                </a:lnTo>
                <a:lnTo>
                  <a:pt x="11062" y="5114"/>
                </a:lnTo>
                <a:lnTo>
                  <a:pt x="11068" y="5108"/>
                </a:lnTo>
                <a:lnTo>
                  <a:pt x="11072" y="5100"/>
                </a:lnTo>
                <a:lnTo>
                  <a:pt x="11072" y="5096"/>
                </a:lnTo>
                <a:lnTo>
                  <a:pt x="11070" y="5096"/>
                </a:lnTo>
                <a:close/>
                <a:moveTo>
                  <a:pt x="11084" y="5112"/>
                </a:moveTo>
                <a:lnTo>
                  <a:pt x="11084" y="5112"/>
                </a:lnTo>
                <a:lnTo>
                  <a:pt x="11086" y="5108"/>
                </a:lnTo>
                <a:lnTo>
                  <a:pt x="11088" y="5104"/>
                </a:lnTo>
                <a:lnTo>
                  <a:pt x="11086" y="5100"/>
                </a:lnTo>
                <a:lnTo>
                  <a:pt x="11080" y="5100"/>
                </a:lnTo>
                <a:lnTo>
                  <a:pt x="11078" y="5102"/>
                </a:lnTo>
                <a:lnTo>
                  <a:pt x="11078" y="5104"/>
                </a:lnTo>
                <a:lnTo>
                  <a:pt x="11078" y="5108"/>
                </a:lnTo>
                <a:lnTo>
                  <a:pt x="11080" y="5112"/>
                </a:lnTo>
                <a:lnTo>
                  <a:pt x="11082" y="5112"/>
                </a:lnTo>
                <a:lnTo>
                  <a:pt x="11084" y="5112"/>
                </a:lnTo>
                <a:close/>
                <a:moveTo>
                  <a:pt x="10794" y="5226"/>
                </a:moveTo>
                <a:lnTo>
                  <a:pt x="10794" y="5226"/>
                </a:lnTo>
                <a:lnTo>
                  <a:pt x="10796" y="5216"/>
                </a:lnTo>
                <a:lnTo>
                  <a:pt x="10794" y="5206"/>
                </a:lnTo>
                <a:lnTo>
                  <a:pt x="10792" y="5200"/>
                </a:lnTo>
                <a:lnTo>
                  <a:pt x="10790" y="5200"/>
                </a:lnTo>
                <a:lnTo>
                  <a:pt x="10788" y="5202"/>
                </a:lnTo>
                <a:lnTo>
                  <a:pt x="10786" y="5210"/>
                </a:lnTo>
                <a:lnTo>
                  <a:pt x="10786" y="5216"/>
                </a:lnTo>
                <a:lnTo>
                  <a:pt x="10786" y="5224"/>
                </a:lnTo>
                <a:lnTo>
                  <a:pt x="10784" y="5236"/>
                </a:lnTo>
                <a:lnTo>
                  <a:pt x="10784" y="5238"/>
                </a:lnTo>
                <a:lnTo>
                  <a:pt x="10788" y="5238"/>
                </a:lnTo>
                <a:lnTo>
                  <a:pt x="10790" y="5234"/>
                </a:lnTo>
                <a:lnTo>
                  <a:pt x="10794" y="5226"/>
                </a:lnTo>
                <a:close/>
                <a:moveTo>
                  <a:pt x="10466" y="4862"/>
                </a:moveTo>
                <a:lnTo>
                  <a:pt x="10466" y="4862"/>
                </a:lnTo>
                <a:lnTo>
                  <a:pt x="10470" y="4862"/>
                </a:lnTo>
                <a:lnTo>
                  <a:pt x="10472" y="4860"/>
                </a:lnTo>
                <a:lnTo>
                  <a:pt x="10474" y="4850"/>
                </a:lnTo>
                <a:lnTo>
                  <a:pt x="10472" y="4840"/>
                </a:lnTo>
                <a:lnTo>
                  <a:pt x="10470" y="4834"/>
                </a:lnTo>
                <a:lnTo>
                  <a:pt x="10466" y="4834"/>
                </a:lnTo>
                <a:lnTo>
                  <a:pt x="10462" y="4840"/>
                </a:lnTo>
                <a:lnTo>
                  <a:pt x="10460" y="4846"/>
                </a:lnTo>
                <a:lnTo>
                  <a:pt x="10460" y="4848"/>
                </a:lnTo>
                <a:lnTo>
                  <a:pt x="10462" y="4852"/>
                </a:lnTo>
                <a:lnTo>
                  <a:pt x="10466" y="4854"/>
                </a:lnTo>
                <a:lnTo>
                  <a:pt x="10464" y="4858"/>
                </a:lnTo>
                <a:lnTo>
                  <a:pt x="10462" y="4860"/>
                </a:lnTo>
                <a:lnTo>
                  <a:pt x="10466" y="4862"/>
                </a:lnTo>
                <a:close/>
                <a:moveTo>
                  <a:pt x="10118" y="5140"/>
                </a:moveTo>
                <a:lnTo>
                  <a:pt x="10118" y="5140"/>
                </a:lnTo>
                <a:lnTo>
                  <a:pt x="10118" y="5144"/>
                </a:lnTo>
                <a:lnTo>
                  <a:pt x="10118" y="5146"/>
                </a:lnTo>
                <a:lnTo>
                  <a:pt x="10122" y="5152"/>
                </a:lnTo>
                <a:lnTo>
                  <a:pt x="10128" y="5156"/>
                </a:lnTo>
                <a:lnTo>
                  <a:pt x="10130" y="5156"/>
                </a:lnTo>
                <a:lnTo>
                  <a:pt x="10132" y="5154"/>
                </a:lnTo>
                <a:lnTo>
                  <a:pt x="10132" y="5152"/>
                </a:lnTo>
                <a:lnTo>
                  <a:pt x="10132" y="5148"/>
                </a:lnTo>
                <a:lnTo>
                  <a:pt x="10130" y="5142"/>
                </a:lnTo>
                <a:lnTo>
                  <a:pt x="10124" y="5138"/>
                </a:lnTo>
                <a:lnTo>
                  <a:pt x="10122" y="5140"/>
                </a:lnTo>
                <a:lnTo>
                  <a:pt x="10118" y="5140"/>
                </a:lnTo>
                <a:close/>
                <a:moveTo>
                  <a:pt x="10136" y="5164"/>
                </a:moveTo>
                <a:lnTo>
                  <a:pt x="10136" y="5164"/>
                </a:lnTo>
                <a:lnTo>
                  <a:pt x="10134" y="5168"/>
                </a:lnTo>
                <a:lnTo>
                  <a:pt x="10134" y="5172"/>
                </a:lnTo>
                <a:lnTo>
                  <a:pt x="10136" y="5176"/>
                </a:lnTo>
                <a:lnTo>
                  <a:pt x="10140" y="5176"/>
                </a:lnTo>
                <a:lnTo>
                  <a:pt x="10142" y="5178"/>
                </a:lnTo>
                <a:lnTo>
                  <a:pt x="10144" y="5180"/>
                </a:lnTo>
                <a:lnTo>
                  <a:pt x="10148" y="5188"/>
                </a:lnTo>
                <a:lnTo>
                  <a:pt x="10150" y="5196"/>
                </a:lnTo>
                <a:lnTo>
                  <a:pt x="10152" y="5196"/>
                </a:lnTo>
                <a:lnTo>
                  <a:pt x="10154" y="5194"/>
                </a:lnTo>
                <a:lnTo>
                  <a:pt x="10154" y="5190"/>
                </a:lnTo>
                <a:lnTo>
                  <a:pt x="10154" y="5184"/>
                </a:lnTo>
                <a:lnTo>
                  <a:pt x="10148" y="5172"/>
                </a:lnTo>
                <a:lnTo>
                  <a:pt x="10142" y="5164"/>
                </a:lnTo>
                <a:lnTo>
                  <a:pt x="10138" y="5162"/>
                </a:lnTo>
                <a:lnTo>
                  <a:pt x="10136" y="5164"/>
                </a:lnTo>
                <a:close/>
                <a:moveTo>
                  <a:pt x="10316" y="5070"/>
                </a:moveTo>
                <a:lnTo>
                  <a:pt x="10316" y="5070"/>
                </a:lnTo>
                <a:lnTo>
                  <a:pt x="10320" y="5066"/>
                </a:lnTo>
                <a:lnTo>
                  <a:pt x="10322" y="5062"/>
                </a:lnTo>
                <a:lnTo>
                  <a:pt x="10322" y="5058"/>
                </a:lnTo>
                <a:lnTo>
                  <a:pt x="10320" y="5056"/>
                </a:lnTo>
                <a:lnTo>
                  <a:pt x="10318" y="5056"/>
                </a:lnTo>
                <a:lnTo>
                  <a:pt x="10314" y="5056"/>
                </a:lnTo>
                <a:lnTo>
                  <a:pt x="10312" y="5058"/>
                </a:lnTo>
                <a:lnTo>
                  <a:pt x="10308" y="5066"/>
                </a:lnTo>
                <a:lnTo>
                  <a:pt x="10308" y="5068"/>
                </a:lnTo>
                <a:lnTo>
                  <a:pt x="10310" y="5070"/>
                </a:lnTo>
                <a:lnTo>
                  <a:pt x="10312" y="5072"/>
                </a:lnTo>
                <a:lnTo>
                  <a:pt x="10316" y="5070"/>
                </a:lnTo>
                <a:close/>
                <a:moveTo>
                  <a:pt x="10338" y="5052"/>
                </a:moveTo>
                <a:lnTo>
                  <a:pt x="10338" y="5052"/>
                </a:lnTo>
                <a:lnTo>
                  <a:pt x="10332" y="5048"/>
                </a:lnTo>
                <a:lnTo>
                  <a:pt x="10322" y="5038"/>
                </a:lnTo>
                <a:lnTo>
                  <a:pt x="10318" y="5036"/>
                </a:lnTo>
                <a:lnTo>
                  <a:pt x="10316" y="5036"/>
                </a:lnTo>
                <a:lnTo>
                  <a:pt x="10318" y="5046"/>
                </a:lnTo>
                <a:lnTo>
                  <a:pt x="10318" y="5048"/>
                </a:lnTo>
                <a:lnTo>
                  <a:pt x="10320" y="5050"/>
                </a:lnTo>
                <a:lnTo>
                  <a:pt x="10328" y="5052"/>
                </a:lnTo>
                <a:lnTo>
                  <a:pt x="10334" y="5054"/>
                </a:lnTo>
                <a:lnTo>
                  <a:pt x="10338" y="5052"/>
                </a:lnTo>
                <a:close/>
                <a:moveTo>
                  <a:pt x="10204" y="4934"/>
                </a:moveTo>
                <a:lnTo>
                  <a:pt x="10204" y="4934"/>
                </a:lnTo>
                <a:lnTo>
                  <a:pt x="10202" y="4934"/>
                </a:lnTo>
                <a:lnTo>
                  <a:pt x="10198" y="4936"/>
                </a:lnTo>
                <a:lnTo>
                  <a:pt x="10196" y="4940"/>
                </a:lnTo>
                <a:lnTo>
                  <a:pt x="10194" y="4946"/>
                </a:lnTo>
                <a:lnTo>
                  <a:pt x="10196" y="4948"/>
                </a:lnTo>
                <a:lnTo>
                  <a:pt x="10198" y="4950"/>
                </a:lnTo>
                <a:lnTo>
                  <a:pt x="10200" y="4952"/>
                </a:lnTo>
                <a:lnTo>
                  <a:pt x="10202" y="4950"/>
                </a:lnTo>
                <a:lnTo>
                  <a:pt x="10206" y="4946"/>
                </a:lnTo>
                <a:lnTo>
                  <a:pt x="10208" y="4938"/>
                </a:lnTo>
                <a:lnTo>
                  <a:pt x="10206" y="4936"/>
                </a:lnTo>
                <a:lnTo>
                  <a:pt x="10204" y="4934"/>
                </a:lnTo>
                <a:close/>
                <a:moveTo>
                  <a:pt x="10274" y="4996"/>
                </a:moveTo>
                <a:lnTo>
                  <a:pt x="10274" y="4996"/>
                </a:lnTo>
                <a:lnTo>
                  <a:pt x="10272" y="4998"/>
                </a:lnTo>
                <a:lnTo>
                  <a:pt x="10272" y="5002"/>
                </a:lnTo>
                <a:lnTo>
                  <a:pt x="10274" y="5004"/>
                </a:lnTo>
                <a:lnTo>
                  <a:pt x="10278" y="5006"/>
                </a:lnTo>
                <a:lnTo>
                  <a:pt x="10280" y="5004"/>
                </a:lnTo>
                <a:lnTo>
                  <a:pt x="10280" y="5000"/>
                </a:lnTo>
                <a:lnTo>
                  <a:pt x="10276" y="4998"/>
                </a:lnTo>
                <a:lnTo>
                  <a:pt x="10274" y="4996"/>
                </a:lnTo>
                <a:close/>
                <a:moveTo>
                  <a:pt x="10218" y="4960"/>
                </a:moveTo>
                <a:lnTo>
                  <a:pt x="10218" y="4960"/>
                </a:lnTo>
                <a:lnTo>
                  <a:pt x="10220" y="4962"/>
                </a:lnTo>
                <a:lnTo>
                  <a:pt x="10222" y="4964"/>
                </a:lnTo>
                <a:lnTo>
                  <a:pt x="10230" y="4970"/>
                </a:lnTo>
                <a:lnTo>
                  <a:pt x="10236" y="4974"/>
                </a:lnTo>
                <a:lnTo>
                  <a:pt x="10238" y="4972"/>
                </a:lnTo>
                <a:lnTo>
                  <a:pt x="10238" y="4970"/>
                </a:lnTo>
                <a:lnTo>
                  <a:pt x="10238" y="4966"/>
                </a:lnTo>
                <a:lnTo>
                  <a:pt x="10236" y="4964"/>
                </a:lnTo>
                <a:lnTo>
                  <a:pt x="10228" y="4960"/>
                </a:lnTo>
                <a:lnTo>
                  <a:pt x="10222" y="4958"/>
                </a:lnTo>
                <a:lnTo>
                  <a:pt x="10220" y="4958"/>
                </a:lnTo>
                <a:lnTo>
                  <a:pt x="10218" y="4960"/>
                </a:lnTo>
                <a:close/>
                <a:moveTo>
                  <a:pt x="10232" y="4974"/>
                </a:moveTo>
                <a:lnTo>
                  <a:pt x="10232" y="4974"/>
                </a:lnTo>
                <a:lnTo>
                  <a:pt x="10230" y="4972"/>
                </a:lnTo>
                <a:lnTo>
                  <a:pt x="10228" y="4972"/>
                </a:lnTo>
                <a:lnTo>
                  <a:pt x="10226" y="4974"/>
                </a:lnTo>
                <a:lnTo>
                  <a:pt x="10226" y="4976"/>
                </a:lnTo>
                <a:lnTo>
                  <a:pt x="10230" y="4984"/>
                </a:lnTo>
                <a:lnTo>
                  <a:pt x="10232" y="4990"/>
                </a:lnTo>
                <a:lnTo>
                  <a:pt x="10234" y="4992"/>
                </a:lnTo>
                <a:lnTo>
                  <a:pt x="10236" y="4992"/>
                </a:lnTo>
                <a:lnTo>
                  <a:pt x="10236" y="4986"/>
                </a:lnTo>
                <a:lnTo>
                  <a:pt x="10236" y="4980"/>
                </a:lnTo>
                <a:lnTo>
                  <a:pt x="10234" y="4976"/>
                </a:lnTo>
                <a:lnTo>
                  <a:pt x="10232" y="4974"/>
                </a:lnTo>
                <a:close/>
                <a:moveTo>
                  <a:pt x="10242" y="4986"/>
                </a:moveTo>
                <a:lnTo>
                  <a:pt x="10242" y="4986"/>
                </a:lnTo>
                <a:lnTo>
                  <a:pt x="10240" y="4984"/>
                </a:lnTo>
                <a:lnTo>
                  <a:pt x="10238" y="4992"/>
                </a:lnTo>
                <a:lnTo>
                  <a:pt x="10236" y="4996"/>
                </a:lnTo>
                <a:lnTo>
                  <a:pt x="10238" y="4998"/>
                </a:lnTo>
                <a:lnTo>
                  <a:pt x="10240" y="5000"/>
                </a:lnTo>
                <a:lnTo>
                  <a:pt x="10246" y="5000"/>
                </a:lnTo>
                <a:lnTo>
                  <a:pt x="10254" y="5002"/>
                </a:lnTo>
                <a:lnTo>
                  <a:pt x="10258" y="5004"/>
                </a:lnTo>
                <a:lnTo>
                  <a:pt x="10262" y="5004"/>
                </a:lnTo>
                <a:lnTo>
                  <a:pt x="10262" y="5000"/>
                </a:lnTo>
                <a:lnTo>
                  <a:pt x="10260" y="4998"/>
                </a:lnTo>
                <a:lnTo>
                  <a:pt x="10258" y="4996"/>
                </a:lnTo>
                <a:lnTo>
                  <a:pt x="10252" y="4992"/>
                </a:lnTo>
                <a:lnTo>
                  <a:pt x="10246" y="4990"/>
                </a:lnTo>
                <a:lnTo>
                  <a:pt x="10242" y="4986"/>
                </a:lnTo>
                <a:close/>
                <a:moveTo>
                  <a:pt x="10264" y="4990"/>
                </a:moveTo>
                <a:lnTo>
                  <a:pt x="10264" y="4990"/>
                </a:lnTo>
                <a:lnTo>
                  <a:pt x="10260" y="4986"/>
                </a:lnTo>
                <a:lnTo>
                  <a:pt x="10254" y="4982"/>
                </a:lnTo>
                <a:lnTo>
                  <a:pt x="10248" y="4982"/>
                </a:lnTo>
                <a:lnTo>
                  <a:pt x="10246" y="4982"/>
                </a:lnTo>
                <a:lnTo>
                  <a:pt x="10246" y="4984"/>
                </a:lnTo>
                <a:lnTo>
                  <a:pt x="10246" y="4988"/>
                </a:lnTo>
                <a:lnTo>
                  <a:pt x="10252" y="4990"/>
                </a:lnTo>
                <a:lnTo>
                  <a:pt x="10260" y="4994"/>
                </a:lnTo>
                <a:lnTo>
                  <a:pt x="10262" y="4994"/>
                </a:lnTo>
                <a:lnTo>
                  <a:pt x="10264" y="4990"/>
                </a:lnTo>
                <a:close/>
                <a:moveTo>
                  <a:pt x="10266" y="5004"/>
                </a:moveTo>
                <a:lnTo>
                  <a:pt x="10266" y="5004"/>
                </a:lnTo>
                <a:lnTo>
                  <a:pt x="10264" y="5006"/>
                </a:lnTo>
                <a:lnTo>
                  <a:pt x="10264" y="5008"/>
                </a:lnTo>
                <a:lnTo>
                  <a:pt x="10264" y="5012"/>
                </a:lnTo>
                <a:lnTo>
                  <a:pt x="10268" y="5014"/>
                </a:lnTo>
                <a:lnTo>
                  <a:pt x="10270" y="5012"/>
                </a:lnTo>
                <a:lnTo>
                  <a:pt x="10270" y="5010"/>
                </a:lnTo>
                <a:lnTo>
                  <a:pt x="10268" y="5006"/>
                </a:lnTo>
                <a:lnTo>
                  <a:pt x="10266" y="5004"/>
                </a:lnTo>
                <a:close/>
                <a:moveTo>
                  <a:pt x="11334" y="5430"/>
                </a:moveTo>
                <a:lnTo>
                  <a:pt x="11334" y="5430"/>
                </a:lnTo>
                <a:lnTo>
                  <a:pt x="11336" y="5430"/>
                </a:lnTo>
                <a:lnTo>
                  <a:pt x="11338" y="5430"/>
                </a:lnTo>
                <a:lnTo>
                  <a:pt x="11340" y="5426"/>
                </a:lnTo>
                <a:lnTo>
                  <a:pt x="11340" y="5422"/>
                </a:lnTo>
                <a:lnTo>
                  <a:pt x="11336" y="5418"/>
                </a:lnTo>
                <a:lnTo>
                  <a:pt x="11332" y="5418"/>
                </a:lnTo>
                <a:lnTo>
                  <a:pt x="11330" y="5418"/>
                </a:lnTo>
                <a:lnTo>
                  <a:pt x="11328" y="5420"/>
                </a:lnTo>
                <a:lnTo>
                  <a:pt x="11330" y="5424"/>
                </a:lnTo>
                <a:lnTo>
                  <a:pt x="11334" y="5430"/>
                </a:lnTo>
                <a:close/>
                <a:moveTo>
                  <a:pt x="11454" y="5328"/>
                </a:moveTo>
                <a:lnTo>
                  <a:pt x="11454" y="5328"/>
                </a:lnTo>
                <a:lnTo>
                  <a:pt x="11456" y="5330"/>
                </a:lnTo>
                <a:lnTo>
                  <a:pt x="11458" y="5328"/>
                </a:lnTo>
                <a:lnTo>
                  <a:pt x="11460" y="5326"/>
                </a:lnTo>
                <a:lnTo>
                  <a:pt x="11460" y="5322"/>
                </a:lnTo>
                <a:lnTo>
                  <a:pt x="11458" y="5316"/>
                </a:lnTo>
                <a:lnTo>
                  <a:pt x="11454" y="5314"/>
                </a:lnTo>
                <a:lnTo>
                  <a:pt x="11452" y="5316"/>
                </a:lnTo>
                <a:lnTo>
                  <a:pt x="11454" y="5328"/>
                </a:lnTo>
                <a:close/>
                <a:moveTo>
                  <a:pt x="11464" y="5332"/>
                </a:moveTo>
                <a:lnTo>
                  <a:pt x="11464" y="5332"/>
                </a:lnTo>
                <a:lnTo>
                  <a:pt x="11470" y="5316"/>
                </a:lnTo>
                <a:lnTo>
                  <a:pt x="11476" y="5304"/>
                </a:lnTo>
                <a:lnTo>
                  <a:pt x="11476" y="5296"/>
                </a:lnTo>
                <a:lnTo>
                  <a:pt x="11476" y="5294"/>
                </a:lnTo>
                <a:lnTo>
                  <a:pt x="11474" y="5296"/>
                </a:lnTo>
                <a:lnTo>
                  <a:pt x="11468" y="5304"/>
                </a:lnTo>
                <a:lnTo>
                  <a:pt x="11464" y="5316"/>
                </a:lnTo>
                <a:lnTo>
                  <a:pt x="11464" y="5332"/>
                </a:lnTo>
                <a:close/>
                <a:moveTo>
                  <a:pt x="11260" y="5438"/>
                </a:moveTo>
                <a:lnTo>
                  <a:pt x="11260" y="5438"/>
                </a:lnTo>
                <a:lnTo>
                  <a:pt x="11264" y="5442"/>
                </a:lnTo>
                <a:lnTo>
                  <a:pt x="11268" y="5440"/>
                </a:lnTo>
                <a:lnTo>
                  <a:pt x="11268" y="5438"/>
                </a:lnTo>
                <a:lnTo>
                  <a:pt x="11266" y="5436"/>
                </a:lnTo>
                <a:lnTo>
                  <a:pt x="11262" y="5434"/>
                </a:lnTo>
                <a:lnTo>
                  <a:pt x="11258" y="5434"/>
                </a:lnTo>
                <a:lnTo>
                  <a:pt x="11258" y="5436"/>
                </a:lnTo>
                <a:lnTo>
                  <a:pt x="11260" y="5438"/>
                </a:lnTo>
                <a:close/>
                <a:moveTo>
                  <a:pt x="11524" y="5346"/>
                </a:moveTo>
                <a:lnTo>
                  <a:pt x="11524" y="5346"/>
                </a:lnTo>
                <a:lnTo>
                  <a:pt x="11518" y="5342"/>
                </a:lnTo>
                <a:lnTo>
                  <a:pt x="11516" y="5338"/>
                </a:lnTo>
                <a:lnTo>
                  <a:pt x="11516" y="5334"/>
                </a:lnTo>
                <a:lnTo>
                  <a:pt x="11514" y="5336"/>
                </a:lnTo>
                <a:lnTo>
                  <a:pt x="11514" y="5340"/>
                </a:lnTo>
                <a:lnTo>
                  <a:pt x="11516" y="5344"/>
                </a:lnTo>
                <a:lnTo>
                  <a:pt x="11522" y="5348"/>
                </a:lnTo>
                <a:lnTo>
                  <a:pt x="11528" y="5356"/>
                </a:lnTo>
                <a:lnTo>
                  <a:pt x="11530" y="5354"/>
                </a:lnTo>
                <a:lnTo>
                  <a:pt x="11528" y="5350"/>
                </a:lnTo>
                <a:lnTo>
                  <a:pt x="11524" y="5346"/>
                </a:lnTo>
                <a:close/>
                <a:moveTo>
                  <a:pt x="11702" y="5450"/>
                </a:moveTo>
                <a:lnTo>
                  <a:pt x="11702" y="5450"/>
                </a:lnTo>
                <a:lnTo>
                  <a:pt x="11706" y="5448"/>
                </a:lnTo>
                <a:lnTo>
                  <a:pt x="11706" y="5446"/>
                </a:lnTo>
                <a:lnTo>
                  <a:pt x="11704" y="5442"/>
                </a:lnTo>
                <a:lnTo>
                  <a:pt x="11702" y="5438"/>
                </a:lnTo>
                <a:lnTo>
                  <a:pt x="11702" y="5436"/>
                </a:lnTo>
                <a:lnTo>
                  <a:pt x="11700" y="5436"/>
                </a:lnTo>
                <a:lnTo>
                  <a:pt x="11698" y="5440"/>
                </a:lnTo>
                <a:lnTo>
                  <a:pt x="11694" y="5442"/>
                </a:lnTo>
                <a:lnTo>
                  <a:pt x="11694" y="5446"/>
                </a:lnTo>
                <a:lnTo>
                  <a:pt x="11696" y="5448"/>
                </a:lnTo>
                <a:lnTo>
                  <a:pt x="11702" y="5450"/>
                </a:lnTo>
                <a:close/>
                <a:moveTo>
                  <a:pt x="11672" y="5114"/>
                </a:moveTo>
                <a:lnTo>
                  <a:pt x="11672" y="5114"/>
                </a:lnTo>
                <a:lnTo>
                  <a:pt x="11666" y="5112"/>
                </a:lnTo>
                <a:lnTo>
                  <a:pt x="11658" y="5112"/>
                </a:lnTo>
                <a:lnTo>
                  <a:pt x="11652" y="5114"/>
                </a:lnTo>
                <a:lnTo>
                  <a:pt x="11646" y="5116"/>
                </a:lnTo>
                <a:lnTo>
                  <a:pt x="11642" y="5120"/>
                </a:lnTo>
                <a:lnTo>
                  <a:pt x="11638" y="5124"/>
                </a:lnTo>
                <a:lnTo>
                  <a:pt x="11636" y="5128"/>
                </a:lnTo>
                <a:lnTo>
                  <a:pt x="11636" y="5132"/>
                </a:lnTo>
                <a:lnTo>
                  <a:pt x="11636" y="5136"/>
                </a:lnTo>
                <a:lnTo>
                  <a:pt x="11634" y="5140"/>
                </a:lnTo>
                <a:lnTo>
                  <a:pt x="11626" y="5146"/>
                </a:lnTo>
                <a:lnTo>
                  <a:pt x="11618" y="5148"/>
                </a:lnTo>
                <a:lnTo>
                  <a:pt x="11612" y="5148"/>
                </a:lnTo>
                <a:lnTo>
                  <a:pt x="11610" y="5148"/>
                </a:lnTo>
                <a:lnTo>
                  <a:pt x="11608" y="5148"/>
                </a:lnTo>
                <a:lnTo>
                  <a:pt x="11604" y="5150"/>
                </a:lnTo>
                <a:lnTo>
                  <a:pt x="11598" y="5156"/>
                </a:lnTo>
                <a:lnTo>
                  <a:pt x="11584" y="5176"/>
                </a:lnTo>
                <a:lnTo>
                  <a:pt x="11576" y="5188"/>
                </a:lnTo>
                <a:lnTo>
                  <a:pt x="11568" y="5196"/>
                </a:lnTo>
                <a:lnTo>
                  <a:pt x="11560" y="5202"/>
                </a:lnTo>
                <a:lnTo>
                  <a:pt x="11556" y="5204"/>
                </a:lnTo>
                <a:lnTo>
                  <a:pt x="11552" y="5202"/>
                </a:lnTo>
                <a:lnTo>
                  <a:pt x="11546" y="5200"/>
                </a:lnTo>
                <a:lnTo>
                  <a:pt x="11542" y="5194"/>
                </a:lnTo>
                <a:lnTo>
                  <a:pt x="11540" y="5190"/>
                </a:lnTo>
                <a:lnTo>
                  <a:pt x="11538" y="5184"/>
                </a:lnTo>
                <a:lnTo>
                  <a:pt x="11534" y="5170"/>
                </a:lnTo>
                <a:lnTo>
                  <a:pt x="11532" y="5164"/>
                </a:lnTo>
                <a:lnTo>
                  <a:pt x="11530" y="5160"/>
                </a:lnTo>
                <a:lnTo>
                  <a:pt x="11526" y="5156"/>
                </a:lnTo>
                <a:lnTo>
                  <a:pt x="11524" y="5158"/>
                </a:lnTo>
                <a:lnTo>
                  <a:pt x="11524" y="5164"/>
                </a:lnTo>
                <a:lnTo>
                  <a:pt x="11522" y="5166"/>
                </a:lnTo>
                <a:lnTo>
                  <a:pt x="11516" y="5154"/>
                </a:lnTo>
                <a:lnTo>
                  <a:pt x="11514" y="5142"/>
                </a:lnTo>
                <a:lnTo>
                  <a:pt x="11512" y="5132"/>
                </a:lnTo>
                <a:lnTo>
                  <a:pt x="11514" y="5126"/>
                </a:lnTo>
                <a:lnTo>
                  <a:pt x="11514" y="5120"/>
                </a:lnTo>
                <a:lnTo>
                  <a:pt x="11518" y="5106"/>
                </a:lnTo>
                <a:lnTo>
                  <a:pt x="11516" y="5098"/>
                </a:lnTo>
                <a:lnTo>
                  <a:pt x="11514" y="5088"/>
                </a:lnTo>
                <a:lnTo>
                  <a:pt x="11512" y="5080"/>
                </a:lnTo>
                <a:lnTo>
                  <a:pt x="11508" y="5076"/>
                </a:lnTo>
                <a:lnTo>
                  <a:pt x="11504" y="5074"/>
                </a:lnTo>
                <a:lnTo>
                  <a:pt x="11502" y="5074"/>
                </a:lnTo>
                <a:lnTo>
                  <a:pt x="11496" y="5076"/>
                </a:lnTo>
                <a:lnTo>
                  <a:pt x="11490" y="5074"/>
                </a:lnTo>
                <a:lnTo>
                  <a:pt x="11480" y="5072"/>
                </a:lnTo>
                <a:lnTo>
                  <a:pt x="11468" y="5064"/>
                </a:lnTo>
                <a:lnTo>
                  <a:pt x="11456" y="5058"/>
                </a:lnTo>
                <a:lnTo>
                  <a:pt x="11448" y="5056"/>
                </a:lnTo>
                <a:lnTo>
                  <a:pt x="11440" y="5056"/>
                </a:lnTo>
                <a:lnTo>
                  <a:pt x="11434" y="5058"/>
                </a:lnTo>
                <a:lnTo>
                  <a:pt x="11426" y="5068"/>
                </a:lnTo>
                <a:lnTo>
                  <a:pt x="11422" y="5072"/>
                </a:lnTo>
                <a:lnTo>
                  <a:pt x="11420" y="5074"/>
                </a:lnTo>
                <a:lnTo>
                  <a:pt x="11410" y="5076"/>
                </a:lnTo>
                <a:lnTo>
                  <a:pt x="11404" y="5076"/>
                </a:lnTo>
                <a:lnTo>
                  <a:pt x="11398" y="5080"/>
                </a:lnTo>
                <a:lnTo>
                  <a:pt x="11396" y="5082"/>
                </a:lnTo>
                <a:lnTo>
                  <a:pt x="11396" y="5084"/>
                </a:lnTo>
                <a:lnTo>
                  <a:pt x="11396" y="5088"/>
                </a:lnTo>
                <a:lnTo>
                  <a:pt x="11394" y="5094"/>
                </a:lnTo>
                <a:lnTo>
                  <a:pt x="11388" y="5102"/>
                </a:lnTo>
                <a:lnTo>
                  <a:pt x="11386" y="5106"/>
                </a:lnTo>
                <a:lnTo>
                  <a:pt x="11386" y="5110"/>
                </a:lnTo>
                <a:lnTo>
                  <a:pt x="11390" y="5110"/>
                </a:lnTo>
                <a:lnTo>
                  <a:pt x="11398" y="5112"/>
                </a:lnTo>
                <a:lnTo>
                  <a:pt x="11408" y="5112"/>
                </a:lnTo>
                <a:lnTo>
                  <a:pt x="11412" y="5114"/>
                </a:lnTo>
                <a:lnTo>
                  <a:pt x="11416" y="5116"/>
                </a:lnTo>
                <a:lnTo>
                  <a:pt x="11422" y="5126"/>
                </a:lnTo>
                <a:lnTo>
                  <a:pt x="11430" y="5142"/>
                </a:lnTo>
                <a:lnTo>
                  <a:pt x="11432" y="5146"/>
                </a:lnTo>
                <a:lnTo>
                  <a:pt x="11436" y="5148"/>
                </a:lnTo>
                <a:lnTo>
                  <a:pt x="11444" y="5150"/>
                </a:lnTo>
                <a:lnTo>
                  <a:pt x="11456" y="5150"/>
                </a:lnTo>
                <a:lnTo>
                  <a:pt x="11468" y="5148"/>
                </a:lnTo>
                <a:lnTo>
                  <a:pt x="11480" y="5148"/>
                </a:lnTo>
                <a:lnTo>
                  <a:pt x="11490" y="5148"/>
                </a:lnTo>
                <a:lnTo>
                  <a:pt x="11498" y="5150"/>
                </a:lnTo>
                <a:lnTo>
                  <a:pt x="11500" y="5152"/>
                </a:lnTo>
                <a:lnTo>
                  <a:pt x="11500" y="5154"/>
                </a:lnTo>
                <a:lnTo>
                  <a:pt x="11500" y="5160"/>
                </a:lnTo>
                <a:lnTo>
                  <a:pt x="11496" y="5162"/>
                </a:lnTo>
                <a:lnTo>
                  <a:pt x="11492" y="5162"/>
                </a:lnTo>
                <a:lnTo>
                  <a:pt x="11486" y="5160"/>
                </a:lnTo>
                <a:lnTo>
                  <a:pt x="11480" y="5158"/>
                </a:lnTo>
                <a:lnTo>
                  <a:pt x="11474" y="5158"/>
                </a:lnTo>
                <a:lnTo>
                  <a:pt x="11468" y="5160"/>
                </a:lnTo>
                <a:lnTo>
                  <a:pt x="11466" y="5164"/>
                </a:lnTo>
                <a:lnTo>
                  <a:pt x="11462" y="5170"/>
                </a:lnTo>
                <a:lnTo>
                  <a:pt x="11456" y="5172"/>
                </a:lnTo>
                <a:lnTo>
                  <a:pt x="11448" y="5172"/>
                </a:lnTo>
                <a:lnTo>
                  <a:pt x="11442" y="5170"/>
                </a:lnTo>
                <a:lnTo>
                  <a:pt x="11436" y="5170"/>
                </a:lnTo>
                <a:lnTo>
                  <a:pt x="11430" y="5170"/>
                </a:lnTo>
                <a:lnTo>
                  <a:pt x="11426" y="5172"/>
                </a:lnTo>
                <a:lnTo>
                  <a:pt x="11426" y="5178"/>
                </a:lnTo>
                <a:lnTo>
                  <a:pt x="11428" y="5182"/>
                </a:lnTo>
                <a:lnTo>
                  <a:pt x="11432" y="5184"/>
                </a:lnTo>
                <a:lnTo>
                  <a:pt x="11438" y="5186"/>
                </a:lnTo>
                <a:lnTo>
                  <a:pt x="11450" y="5196"/>
                </a:lnTo>
                <a:lnTo>
                  <a:pt x="11456" y="5204"/>
                </a:lnTo>
                <a:lnTo>
                  <a:pt x="11460" y="5208"/>
                </a:lnTo>
                <a:lnTo>
                  <a:pt x="11460" y="5212"/>
                </a:lnTo>
                <a:lnTo>
                  <a:pt x="11460" y="5214"/>
                </a:lnTo>
                <a:lnTo>
                  <a:pt x="11454" y="5220"/>
                </a:lnTo>
                <a:lnTo>
                  <a:pt x="11454" y="5222"/>
                </a:lnTo>
                <a:lnTo>
                  <a:pt x="11456" y="5228"/>
                </a:lnTo>
                <a:lnTo>
                  <a:pt x="11458" y="5232"/>
                </a:lnTo>
                <a:lnTo>
                  <a:pt x="11462" y="5236"/>
                </a:lnTo>
                <a:lnTo>
                  <a:pt x="11468" y="5238"/>
                </a:lnTo>
                <a:lnTo>
                  <a:pt x="11472" y="5238"/>
                </a:lnTo>
                <a:lnTo>
                  <a:pt x="11476" y="5236"/>
                </a:lnTo>
                <a:lnTo>
                  <a:pt x="11480" y="5232"/>
                </a:lnTo>
                <a:lnTo>
                  <a:pt x="11484" y="5226"/>
                </a:lnTo>
                <a:lnTo>
                  <a:pt x="11486" y="5216"/>
                </a:lnTo>
                <a:lnTo>
                  <a:pt x="11492" y="5198"/>
                </a:lnTo>
                <a:lnTo>
                  <a:pt x="11496" y="5190"/>
                </a:lnTo>
                <a:lnTo>
                  <a:pt x="11498" y="5190"/>
                </a:lnTo>
                <a:lnTo>
                  <a:pt x="11498" y="5192"/>
                </a:lnTo>
                <a:lnTo>
                  <a:pt x="11494" y="5206"/>
                </a:lnTo>
                <a:lnTo>
                  <a:pt x="11494" y="5212"/>
                </a:lnTo>
                <a:lnTo>
                  <a:pt x="11494" y="5216"/>
                </a:lnTo>
                <a:lnTo>
                  <a:pt x="11498" y="5220"/>
                </a:lnTo>
                <a:lnTo>
                  <a:pt x="11502" y="5222"/>
                </a:lnTo>
                <a:lnTo>
                  <a:pt x="11516" y="5228"/>
                </a:lnTo>
                <a:lnTo>
                  <a:pt x="11522" y="5232"/>
                </a:lnTo>
                <a:lnTo>
                  <a:pt x="11530" y="5238"/>
                </a:lnTo>
                <a:lnTo>
                  <a:pt x="11540" y="5246"/>
                </a:lnTo>
                <a:lnTo>
                  <a:pt x="11548" y="5252"/>
                </a:lnTo>
                <a:lnTo>
                  <a:pt x="11556" y="5254"/>
                </a:lnTo>
                <a:lnTo>
                  <a:pt x="11562" y="5256"/>
                </a:lnTo>
                <a:lnTo>
                  <a:pt x="11578" y="5258"/>
                </a:lnTo>
                <a:lnTo>
                  <a:pt x="11586" y="5260"/>
                </a:lnTo>
                <a:lnTo>
                  <a:pt x="11596" y="5264"/>
                </a:lnTo>
                <a:lnTo>
                  <a:pt x="11612" y="5272"/>
                </a:lnTo>
                <a:lnTo>
                  <a:pt x="11624" y="5276"/>
                </a:lnTo>
                <a:lnTo>
                  <a:pt x="11636" y="5282"/>
                </a:lnTo>
                <a:lnTo>
                  <a:pt x="11650" y="5290"/>
                </a:lnTo>
                <a:lnTo>
                  <a:pt x="11658" y="5298"/>
                </a:lnTo>
                <a:lnTo>
                  <a:pt x="11664" y="5304"/>
                </a:lnTo>
                <a:lnTo>
                  <a:pt x="11676" y="5322"/>
                </a:lnTo>
                <a:lnTo>
                  <a:pt x="11684" y="5342"/>
                </a:lnTo>
                <a:lnTo>
                  <a:pt x="11694" y="5358"/>
                </a:lnTo>
                <a:lnTo>
                  <a:pt x="11698" y="5364"/>
                </a:lnTo>
                <a:lnTo>
                  <a:pt x="11700" y="5368"/>
                </a:lnTo>
                <a:lnTo>
                  <a:pt x="11700" y="5370"/>
                </a:lnTo>
                <a:lnTo>
                  <a:pt x="11698" y="5372"/>
                </a:lnTo>
                <a:lnTo>
                  <a:pt x="11692" y="5374"/>
                </a:lnTo>
                <a:lnTo>
                  <a:pt x="11692" y="5378"/>
                </a:lnTo>
                <a:lnTo>
                  <a:pt x="11692" y="5382"/>
                </a:lnTo>
                <a:lnTo>
                  <a:pt x="11694" y="5390"/>
                </a:lnTo>
                <a:lnTo>
                  <a:pt x="11698" y="5394"/>
                </a:lnTo>
                <a:lnTo>
                  <a:pt x="11706" y="5400"/>
                </a:lnTo>
                <a:lnTo>
                  <a:pt x="11710" y="5402"/>
                </a:lnTo>
                <a:lnTo>
                  <a:pt x="11714" y="5406"/>
                </a:lnTo>
                <a:lnTo>
                  <a:pt x="11714" y="5412"/>
                </a:lnTo>
                <a:lnTo>
                  <a:pt x="11712" y="5420"/>
                </a:lnTo>
                <a:lnTo>
                  <a:pt x="11706" y="5434"/>
                </a:lnTo>
                <a:lnTo>
                  <a:pt x="11706" y="5436"/>
                </a:lnTo>
                <a:lnTo>
                  <a:pt x="11708" y="5436"/>
                </a:lnTo>
                <a:lnTo>
                  <a:pt x="11714" y="5434"/>
                </a:lnTo>
                <a:lnTo>
                  <a:pt x="11718" y="5434"/>
                </a:lnTo>
                <a:lnTo>
                  <a:pt x="11720" y="5436"/>
                </a:lnTo>
                <a:lnTo>
                  <a:pt x="11722" y="5438"/>
                </a:lnTo>
                <a:lnTo>
                  <a:pt x="11724" y="5438"/>
                </a:lnTo>
                <a:lnTo>
                  <a:pt x="11730" y="5438"/>
                </a:lnTo>
                <a:lnTo>
                  <a:pt x="11740" y="5438"/>
                </a:lnTo>
                <a:lnTo>
                  <a:pt x="11744" y="5440"/>
                </a:lnTo>
                <a:lnTo>
                  <a:pt x="11752" y="5444"/>
                </a:lnTo>
                <a:lnTo>
                  <a:pt x="11750" y="5154"/>
                </a:lnTo>
                <a:lnTo>
                  <a:pt x="11740" y="5154"/>
                </a:lnTo>
                <a:lnTo>
                  <a:pt x="11730" y="5150"/>
                </a:lnTo>
                <a:lnTo>
                  <a:pt x="11708" y="5138"/>
                </a:lnTo>
                <a:lnTo>
                  <a:pt x="11672" y="5114"/>
                </a:lnTo>
                <a:close/>
                <a:moveTo>
                  <a:pt x="11698" y="5436"/>
                </a:moveTo>
                <a:lnTo>
                  <a:pt x="11698" y="5436"/>
                </a:lnTo>
                <a:lnTo>
                  <a:pt x="11702" y="5434"/>
                </a:lnTo>
                <a:lnTo>
                  <a:pt x="11704" y="5430"/>
                </a:lnTo>
                <a:lnTo>
                  <a:pt x="11706" y="5420"/>
                </a:lnTo>
                <a:lnTo>
                  <a:pt x="11710" y="5412"/>
                </a:lnTo>
                <a:lnTo>
                  <a:pt x="11710" y="5410"/>
                </a:lnTo>
                <a:lnTo>
                  <a:pt x="11708" y="5408"/>
                </a:lnTo>
                <a:lnTo>
                  <a:pt x="11704" y="5406"/>
                </a:lnTo>
                <a:lnTo>
                  <a:pt x="11702" y="5404"/>
                </a:lnTo>
                <a:lnTo>
                  <a:pt x="11702" y="5402"/>
                </a:lnTo>
                <a:lnTo>
                  <a:pt x="11700" y="5400"/>
                </a:lnTo>
                <a:lnTo>
                  <a:pt x="11694" y="5398"/>
                </a:lnTo>
                <a:lnTo>
                  <a:pt x="11690" y="5398"/>
                </a:lnTo>
                <a:lnTo>
                  <a:pt x="11678" y="5404"/>
                </a:lnTo>
                <a:lnTo>
                  <a:pt x="11668" y="5414"/>
                </a:lnTo>
                <a:lnTo>
                  <a:pt x="11664" y="5418"/>
                </a:lnTo>
                <a:lnTo>
                  <a:pt x="11664" y="5422"/>
                </a:lnTo>
                <a:lnTo>
                  <a:pt x="11662" y="5428"/>
                </a:lnTo>
                <a:lnTo>
                  <a:pt x="11658" y="5436"/>
                </a:lnTo>
                <a:lnTo>
                  <a:pt x="11656" y="5442"/>
                </a:lnTo>
                <a:lnTo>
                  <a:pt x="11654" y="5448"/>
                </a:lnTo>
                <a:lnTo>
                  <a:pt x="11654" y="5450"/>
                </a:lnTo>
                <a:lnTo>
                  <a:pt x="11658" y="5448"/>
                </a:lnTo>
                <a:lnTo>
                  <a:pt x="11666" y="5448"/>
                </a:lnTo>
                <a:lnTo>
                  <a:pt x="11672" y="5448"/>
                </a:lnTo>
                <a:lnTo>
                  <a:pt x="11678" y="5450"/>
                </a:lnTo>
                <a:lnTo>
                  <a:pt x="11682" y="5450"/>
                </a:lnTo>
                <a:lnTo>
                  <a:pt x="11686" y="5450"/>
                </a:lnTo>
                <a:lnTo>
                  <a:pt x="11690" y="5446"/>
                </a:lnTo>
                <a:lnTo>
                  <a:pt x="11694" y="5440"/>
                </a:lnTo>
                <a:lnTo>
                  <a:pt x="11698" y="5436"/>
                </a:lnTo>
                <a:close/>
                <a:moveTo>
                  <a:pt x="10850" y="5438"/>
                </a:moveTo>
                <a:lnTo>
                  <a:pt x="10850" y="5438"/>
                </a:lnTo>
                <a:lnTo>
                  <a:pt x="10850" y="5436"/>
                </a:lnTo>
                <a:lnTo>
                  <a:pt x="10846" y="5436"/>
                </a:lnTo>
                <a:lnTo>
                  <a:pt x="10842" y="5438"/>
                </a:lnTo>
                <a:lnTo>
                  <a:pt x="10842" y="5442"/>
                </a:lnTo>
                <a:lnTo>
                  <a:pt x="10844" y="5446"/>
                </a:lnTo>
                <a:lnTo>
                  <a:pt x="10846" y="5446"/>
                </a:lnTo>
                <a:lnTo>
                  <a:pt x="10850" y="5438"/>
                </a:lnTo>
                <a:close/>
                <a:moveTo>
                  <a:pt x="10926" y="5458"/>
                </a:moveTo>
                <a:lnTo>
                  <a:pt x="10926" y="5458"/>
                </a:lnTo>
                <a:lnTo>
                  <a:pt x="10928" y="5458"/>
                </a:lnTo>
                <a:lnTo>
                  <a:pt x="10928" y="5456"/>
                </a:lnTo>
                <a:lnTo>
                  <a:pt x="10928" y="5452"/>
                </a:lnTo>
                <a:lnTo>
                  <a:pt x="10926" y="5452"/>
                </a:lnTo>
                <a:lnTo>
                  <a:pt x="10922" y="5450"/>
                </a:lnTo>
                <a:lnTo>
                  <a:pt x="10920" y="5450"/>
                </a:lnTo>
                <a:lnTo>
                  <a:pt x="10920" y="5452"/>
                </a:lnTo>
                <a:lnTo>
                  <a:pt x="10920" y="5456"/>
                </a:lnTo>
                <a:lnTo>
                  <a:pt x="10920" y="5462"/>
                </a:lnTo>
                <a:lnTo>
                  <a:pt x="10920" y="5464"/>
                </a:lnTo>
                <a:lnTo>
                  <a:pt x="10922" y="5462"/>
                </a:lnTo>
                <a:lnTo>
                  <a:pt x="10924" y="5460"/>
                </a:lnTo>
                <a:lnTo>
                  <a:pt x="10926" y="5458"/>
                </a:lnTo>
                <a:close/>
                <a:moveTo>
                  <a:pt x="10930" y="5468"/>
                </a:moveTo>
                <a:lnTo>
                  <a:pt x="10930" y="5468"/>
                </a:lnTo>
                <a:lnTo>
                  <a:pt x="10932" y="5466"/>
                </a:lnTo>
                <a:lnTo>
                  <a:pt x="10934" y="5464"/>
                </a:lnTo>
                <a:lnTo>
                  <a:pt x="10934" y="5460"/>
                </a:lnTo>
                <a:lnTo>
                  <a:pt x="10930" y="5460"/>
                </a:lnTo>
                <a:lnTo>
                  <a:pt x="10928" y="5462"/>
                </a:lnTo>
                <a:lnTo>
                  <a:pt x="10928" y="5464"/>
                </a:lnTo>
                <a:lnTo>
                  <a:pt x="10928" y="5468"/>
                </a:lnTo>
                <a:lnTo>
                  <a:pt x="10930" y="5468"/>
                </a:lnTo>
                <a:close/>
                <a:moveTo>
                  <a:pt x="10910" y="5150"/>
                </a:moveTo>
                <a:lnTo>
                  <a:pt x="10910" y="5150"/>
                </a:lnTo>
                <a:lnTo>
                  <a:pt x="10908" y="5158"/>
                </a:lnTo>
                <a:lnTo>
                  <a:pt x="10906" y="5164"/>
                </a:lnTo>
                <a:lnTo>
                  <a:pt x="10902" y="5166"/>
                </a:lnTo>
                <a:lnTo>
                  <a:pt x="10900" y="5168"/>
                </a:lnTo>
                <a:lnTo>
                  <a:pt x="10894" y="5170"/>
                </a:lnTo>
                <a:lnTo>
                  <a:pt x="10894" y="5172"/>
                </a:lnTo>
                <a:lnTo>
                  <a:pt x="10896" y="5176"/>
                </a:lnTo>
                <a:lnTo>
                  <a:pt x="10898" y="5184"/>
                </a:lnTo>
                <a:lnTo>
                  <a:pt x="10896" y="5186"/>
                </a:lnTo>
                <a:lnTo>
                  <a:pt x="10894" y="5190"/>
                </a:lnTo>
                <a:lnTo>
                  <a:pt x="10896" y="5202"/>
                </a:lnTo>
                <a:lnTo>
                  <a:pt x="10900" y="5208"/>
                </a:lnTo>
                <a:lnTo>
                  <a:pt x="10902" y="5210"/>
                </a:lnTo>
                <a:lnTo>
                  <a:pt x="10906" y="5210"/>
                </a:lnTo>
                <a:lnTo>
                  <a:pt x="10908" y="5210"/>
                </a:lnTo>
                <a:lnTo>
                  <a:pt x="10912" y="5208"/>
                </a:lnTo>
                <a:lnTo>
                  <a:pt x="10916" y="5210"/>
                </a:lnTo>
                <a:lnTo>
                  <a:pt x="10920" y="5214"/>
                </a:lnTo>
                <a:lnTo>
                  <a:pt x="10924" y="5222"/>
                </a:lnTo>
                <a:lnTo>
                  <a:pt x="10928" y="5232"/>
                </a:lnTo>
                <a:lnTo>
                  <a:pt x="10928" y="5244"/>
                </a:lnTo>
                <a:lnTo>
                  <a:pt x="10926" y="5256"/>
                </a:lnTo>
                <a:lnTo>
                  <a:pt x="10924" y="5268"/>
                </a:lnTo>
                <a:lnTo>
                  <a:pt x="10920" y="5280"/>
                </a:lnTo>
                <a:lnTo>
                  <a:pt x="10918" y="5292"/>
                </a:lnTo>
                <a:lnTo>
                  <a:pt x="10920" y="5302"/>
                </a:lnTo>
                <a:lnTo>
                  <a:pt x="10922" y="5310"/>
                </a:lnTo>
                <a:lnTo>
                  <a:pt x="10926" y="5314"/>
                </a:lnTo>
                <a:lnTo>
                  <a:pt x="10930" y="5316"/>
                </a:lnTo>
                <a:lnTo>
                  <a:pt x="10934" y="5316"/>
                </a:lnTo>
                <a:lnTo>
                  <a:pt x="10938" y="5316"/>
                </a:lnTo>
                <a:lnTo>
                  <a:pt x="10946" y="5312"/>
                </a:lnTo>
                <a:lnTo>
                  <a:pt x="10956" y="5312"/>
                </a:lnTo>
                <a:lnTo>
                  <a:pt x="10960" y="5312"/>
                </a:lnTo>
                <a:lnTo>
                  <a:pt x="10962" y="5308"/>
                </a:lnTo>
                <a:lnTo>
                  <a:pt x="10960" y="5300"/>
                </a:lnTo>
                <a:lnTo>
                  <a:pt x="10956" y="5286"/>
                </a:lnTo>
                <a:lnTo>
                  <a:pt x="10956" y="5280"/>
                </a:lnTo>
                <a:lnTo>
                  <a:pt x="10958" y="5274"/>
                </a:lnTo>
                <a:lnTo>
                  <a:pt x="10962" y="5270"/>
                </a:lnTo>
                <a:lnTo>
                  <a:pt x="10962" y="5264"/>
                </a:lnTo>
                <a:lnTo>
                  <a:pt x="10962" y="5250"/>
                </a:lnTo>
                <a:lnTo>
                  <a:pt x="10960" y="5234"/>
                </a:lnTo>
                <a:lnTo>
                  <a:pt x="10962" y="5214"/>
                </a:lnTo>
                <a:lnTo>
                  <a:pt x="10962" y="5204"/>
                </a:lnTo>
                <a:lnTo>
                  <a:pt x="10962" y="5196"/>
                </a:lnTo>
                <a:lnTo>
                  <a:pt x="10956" y="5190"/>
                </a:lnTo>
                <a:lnTo>
                  <a:pt x="10956" y="5186"/>
                </a:lnTo>
                <a:lnTo>
                  <a:pt x="10956" y="5184"/>
                </a:lnTo>
                <a:lnTo>
                  <a:pt x="10964" y="5174"/>
                </a:lnTo>
                <a:lnTo>
                  <a:pt x="10972" y="5168"/>
                </a:lnTo>
                <a:lnTo>
                  <a:pt x="10978" y="5166"/>
                </a:lnTo>
                <a:lnTo>
                  <a:pt x="10982" y="5168"/>
                </a:lnTo>
                <a:lnTo>
                  <a:pt x="10986" y="5170"/>
                </a:lnTo>
                <a:lnTo>
                  <a:pt x="10988" y="5176"/>
                </a:lnTo>
                <a:lnTo>
                  <a:pt x="10988" y="5182"/>
                </a:lnTo>
                <a:lnTo>
                  <a:pt x="10986" y="5188"/>
                </a:lnTo>
                <a:lnTo>
                  <a:pt x="10982" y="5196"/>
                </a:lnTo>
                <a:lnTo>
                  <a:pt x="10980" y="5202"/>
                </a:lnTo>
                <a:lnTo>
                  <a:pt x="10978" y="5208"/>
                </a:lnTo>
                <a:lnTo>
                  <a:pt x="10980" y="5212"/>
                </a:lnTo>
                <a:lnTo>
                  <a:pt x="10982" y="5216"/>
                </a:lnTo>
                <a:lnTo>
                  <a:pt x="10990" y="5224"/>
                </a:lnTo>
                <a:lnTo>
                  <a:pt x="11000" y="5232"/>
                </a:lnTo>
                <a:lnTo>
                  <a:pt x="11004" y="5238"/>
                </a:lnTo>
                <a:lnTo>
                  <a:pt x="11004" y="5246"/>
                </a:lnTo>
                <a:lnTo>
                  <a:pt x="11002" y="5260"/>
                </a:lnTo>
                <a:lnTo>
                  <a:pt x="11002" y="5268"/>
                </a:lnTo>
                <a:lnTo>
                  <a:pt x="11004" y="5272"/>
                </a:lnTo>
                <a:lnTo>
                  <a:pt x="11010" y="5276"/>
                </a:lnTo>
                <a:lnTo>
                  <a:pt x="11018" y="5278"/>
                </a:lnTo>
                <a:lnTo>
                  <a:pt x="11024" y="5276"/>
                </a:lnTo>
                <a:lnTo>
                  <a:pt x="11028" y="5274"/>
                </a:lnTo>
                <a:lnTo>
                  <a:pt x="11028" y="5272"/>
                </a:lnTo>
                <a:lnTo>
                  <a:pt x="11028" y="5268"/>
                </a:lnTo>
                <a:lnTo>
                  <a:pt x="11028" y="5262"/>
                </a:lnTo>
                <a:lnTo>
                  <a:pt x="11032" y="5258"/>
                </a:lnTo>
                <a:lnTo>
                  <a:pt x="11036" y="5256"/>
                </a:lnTo>
                <a:lnTo>
                  <a:pt x="11040" y="5254"/>
                </a:lnTo>
                <a:lnTo>
                  <a:pt x="11046" y="5254"/>
                </a:lnTo>
                <a:lnTo>
                  <a:pt x="11052" y="5256"/>
                </a:lnTo>
                <a:lnTo>
                  <a:pt x="11054" y="5256"/>
                </a:lnTo>
                <a:lnTo>
                  <a:pt x="11056" y="5256"/>
                </a:lnTo>
                <a:lnTo>
                  <a:pt x="11060" y="5246"/>
                </a:lnTo>
                <a:lnTo>
                  <a:pt x="11060" y="5240"/>
                </a:lnTo>
                <a:lnTo>
                  <a:pt x="11058" y="5236"/>
                </a:lnTo>
                <a:lnTo>
                  <a:pt x="11052" y="5232"/>
                </a:lnTo>
                <a:lnTo>
                  <a:pt x="11046" y="5228"/>
                </a:lnTo>
                <a:lnTo>
                  <a:pt x="11042" y="5224"/>
                </a:lnTo>
                <a:lnTo>
                  <a:pt x="11036" y="5220"/>
                </a:lnTo>
                <a:lnTo>
                  <a:pt x="11036" y="5216"/>
                </a:lnTo>
                <a:lnTo>
                  <a:pt x="11038" y="5210"/>
                </a:lnTo>
                <a:lnTo>
                  <a:pt x="11040" y="5204"/>
                </a:lnTo>
                <a:lnTo>
                  <a:pt x="11040" y="5196"/>
                </a:lnTo>
                <a:lnTo>
                  <a:pt x="11038" y="5188"/>
                </a:lnTo>
                <a:lnTo>
                  <a:pt x="11036" y="5180"/>
                </a:lnTo>
                <a:lnTo>
                  <a:pt x="11024" y="5162"/>
                </a:lnTo>
                <a:lnTo>
                  <a:pt x="11012" y="5146"/>
                </a:lnTo>
                <a:lnTo>
                  <a:pt x="11006" y="5140"/>
                </a:lnTo>
                <a:lnTo>
                  <a:pt x="11006" y="5134"/>
                </a:lnTo>
                <a:lnTo>
                  <a:pt x="11010" y="5130"/>
                </a:lnTo>
                <a:lnTo>
                  <a:pt x="11018" y="5126"/>
                </a:lnTo>
                <a:lnTo>
                  <a:pt x="11034" y="5114"/>
                </a:lnTo>
                <a:lnTo>
                  <a:pt x="11042" y="5106"/>
                </a:lnTo>
                <a:lnTo>
                  <a:pt x="11050" y="5096"/>
                </a:lnTo>
                <a:lnTo>
                  <a:pt x="11056" y="5088"/>
                </a:lnTo>
                <a:lnTo>
                  <a:pt x="11060" y="5084"/>
                </a:lnTo>
                <a:lnTo>
                  <a:pt x="11066" y="5084"/>
                </a:lnTo>
                <a:lnTo>
                  <a:pt x="11068" y="5084"/>
                </a:lnTo>
                <a:lnTo>
                  <a:pt x="11076" y="5090"/>
                </a:lnTo>
                <a:lnTo>
                  <a:pt x="11078" y="5090"/>
                </a:lnTo>
                <a:lnTo>
                  <a:pt x="11080" y="5088"/>
                </a:lnTo>
                <a:lnTo>
                  <a:pt x="11084" y="5080"/>
                </a:lnTo>
                <a:lnTo>
                  <a:pt x="11084" y="5076"/>
                </a:lnTo>
                <a:lnTo>
                  <a:pt x="11084" y="5074"/>
                </a:lnTo>
                <a:lnTo>
                  <a:pt x="11080" y="5072"/>
                </a:lnTo>
                <a:lnTo>
                  <a:pt x="11076" y="5070"/>
                </a:lnTo>
                <a:lnTo>
                  <a:pt x="11058" y="5070"/>
                </a:lnTo>
                <a:lnTo>
                  <a:pt x="11048" y="5072"/>
                </a:lnTo>
                <a:lnTo>
                  <a:pt x="11042" y="5074"/>
                </a:lnTo>
                <a:lnTo>
                  <a:pt x="11032" y="5080"/>
                </a:lnTo>
                <a:lnTo>
                  <a:pt x="11024" y="5084"/>
                </a:lnTo>
                <a:lnTo>
                  <a:pt x="11020" y="5084"/>
                </a:lnTo>
                <a:lnTo>
                  <a:pt x="11012" y="5082"/>
                </a:lnTo>
                <a:lnTo>
                  <a:pt x="11006" y="5082"/>
                </a:lnTo>
                <a:lnTo>
                  <a:pt x="11000" y="5084"/>
                </a:lnTo>
                <a:lnTo>
                  <a:pt x="10998" y="5088"/>
                </a:lnTo>
                <a:lnTo>
                  <a:pt x="10994" y="5094"/>
                </a:lnTo>
                <a:lnTo>
                  <a:pt x="10992" y="5100"/>
                </a:lnTo>
                <a:lnTo>
                  <a:pt x="10988" y="5104"/>
                </a:lnTo>
                <a:lnTo>
                  <a:pt x="10984" y="5108"/>
                </a:lnTo>
                <a:lnTo>
                  <a:pt x="10976" y="5108"/>
                </a:lnTo>
                <a:lnTo>
                  <a:pt x="10970" y="5106"/>
                </a:lnTo>
                <a:lnTo>
                  <a:pt x="10966" y="5104"/>
                </a:lnTo>
                <a:lnTo>
                  <a:pt x="10966" y="5102"/>
                </a:lnTo>
                <a:lnTo>
                  <a:pt x="10966" y="5098"/>
                </a:lnTo>
                <a:lnTo>
                  <a:pt x="10964" y="5090"/>
                </a:lnTo>
                <a:lnTo>
                  <a:pt x="10962" y="5086"/>
                </a:lnTo>
                <a:lnTo>
                  <a:pt x="10956" y="5082"/>
                </a:lnTo>
                <a:lnTo>
                  <a:pt x="10952" y="5080"/>
                </a:lnTo>
                <a:lnTo>
                  <a:pt x="10950" y="5076"/>
                </a:lnTo>
                <a:lnTo>
                  <a:pt x="10946" y="5064"/>
                </a:lnTo>
                <a:lnTo>
                  <a:pt x="10946" y="5052"/>
                </a:lnTo>
                <a:lnTo>
                  <a:pt x="10950" y="5038"/>
                </a:lnTo>
                <a:lnTo>
                  <a:pt x="10954" y="5026"/>
                </a:lnTo>
                <a:lnTo>
                  <a:pt x="10960" y="5018"/>
                </a:lnTo>
                <a:lnTo>
                  <a:pt x="10962" y="5016"/>
                </a:lnTo>
                <a:lnTo>
                  <a:pt x="10966" y="5014"/>
                </a:lnTo>
                <a:lnTo>
                  <a:pt x="10970" y="5014"/>
                </a:lnTo>
                <a:lnTo>
                  <a:pt x="10974" y="5016"/>
                </a:lnTo>
                <a:lnTo>
                  <a:pt x="10980" y="5018"/>
                </a:lnTo>
                <a:lnTo>
                  <a:pt x="10984" y="5018"/>
                </a:lnTo>
                <a:lnTo>
                  <a:pt x="10994" y="5018"/>
                </a:lnTo>
                <a:lnTo>
                  <a:pt x="11004" y="5016"/>
                </a:lnTo>
                <a:lnTo>
                  <a:pt x="11010" y="5016"/>
                </a:lnTo>
                <a:lnTo>
                  <a:pt x="11014" y="5018"/>
                </a:lnTo>
                <a:lnTo>
                  <a:pt x="11020" y="5018"/>
                </a:lnTo>
                <a:lnTo>
                  <a:pt x="11028" y="5018"/>
                </a:lnTo>
                <a:lnTo>
                  <a:pt x="11046" y="5016"/>
                </a:lnTo>
                <a:lnTo>
                  <a:pt x="11062" y="5016"/>
                </a:lnTo>
                <a:lnTo>
                  <a:pt x="11068" y="5016"/>
                </a:lnTo>
                <a:lnTo>
                  <a:pt x="11070" y="5018"/>
                </a:lnTo>
                <a:lnTo>
                  <a:pt x="11074" y="5022"/>
                </a:lnTo>
                <a:lnTo>
                  <a:pt x="11080" y="5024"/>
                </a:lnTo>
                <a:lnTo>
                  <a:pt x="11088" y="5026"/>
                </a:lnTo>
                <a:lnTo>
                  <a:pt x="11096" y="5026"/>
                </a:lnTo>
                <a:lnTo>
                  <a:pt x="11106" y="5024"/>
                </a:lnTo>
                <a:lnTo>
                  <a:pt x="11114" y="5020"/>
                </a:lnTo>
                <a:lnTo>
                  <a:pt x="11122" y="5016"/>
                </a:lnTo>
                <a:lnTo>
                  <a:pt x="11128" y="5010"/>
                </a:lnTo>
                <a:lnTo>
                  <a:pt x="11148" y="4980"/>
                </a:lnTo>
                <a:lnTo>
                  <a:pt x="11150" y="4974"/>
                </a:lnTo>
                <a:lnTo>
                  <a:pt x="11152" y="4970"/>
                </a:lnTo>
                <a:lnTo>
                  <a:pt x="11152" y="4964"/>
                </a:lnTo>
                <a:lnTo>
                  <a:pt x="11150" y="4958"/>
                </a:lnTo>
                <a:lnTo>
                  <a:pt x="11146" y="4956"/>
                </a:lnTo>
                <a:lnTo>
                  <a:pt x="11142" y="4956"/>
                </a:lnTo>
                <a:lnTo>
                  <a:pt x="11138" y="4958"/>
                </a:lnTo>
                <a:lnTo>
                  <a:pt x="11134" y="4962"/>
                </a:lnTo>
                <a:lnTo>
                  <a:pt x="11124" y="4976"/>
                </a:lnTo>
                <a:lnTo>
                  <a:pt x="11116" y="4990"/>
                </a:lnTo>
                <a:lnTo>
                  <a:pt x="11110" y="4996"/>
                </a:lnTo>
                <a:lnTo>
                  <a:pt x="11104" y="4998"/>
                </a:lnTo>
                <a:lnTo>
                  <a:pt x="11096" y="4998"/>
                </a:lnTo>
                <a:lnTo>
                  <a:pt x="11086" y="4996"/>
                </a:lnTo>
                <a:lnTo>
                  <a:pt x="11072" y="4994"/>
                </a:lnTo>
                <a:lnTo>
                  <a:pt x="11066" y="4994"/>
                </a:lnTo>
                <a:lnTo>
                  <a:pt x="11062" y="4994"/>
                </a:lnTo>
                <a:lnTo>
                  <a:pt x="11060" y="4996"/>
                </a:lnTo>
                <a:lnTo>
                  <a:pt x="11056" y="4996"/>
                </a:lnTo>
                <a:lnTo>
                  <a:pt x="11048" y="4994"/>
                </a:lnTo>
                <a:lnTo>
                  <a:pt x="11034" y="4990"/>
                </a:lnTo>
                <a:lnTo>
                  <a:pt x="11028" y="4990"/>
                </a:lnTo>
                <a:lnTo>
                  <a:pt x="11018" y="4990"/>
                </a:lnTo>
                <a:lnTo>
                  <a:pt x="11010" y="4990"/>
                </a:lnTo>
                <a:lnTo>
                  <a:pt x="11006" y="4988"/>
                </a:lnTo>
                <a:lnTo>
                  <a:pt x="11004" y="4986"/>
                </a:lnTo>
                <a:lnTo>
                  <a:pt x="11004" y="4984"/>
                </a:lnTo>
                <a:lnTo>
                  <a:pt x="11004" y="4980"/>
                </a:lnTo>
                <a:lnTo>
                  <a:pt x="11002" y="4978"/>
                </a:lnTo>
                <a:lnTo>
                  <a:pt x="11000" y="4978"/>
                </a:lnTo>
                <a:lnTo>
                  <a:pt x="10992" y="4978"/>
                </a:lnTo>
                <a:lnTo>
                  <a:pt x="10986" y="4976"/>
                </a:lnTo>
                <a:lnTo>
                  <a:pt x="10980" y="4976"/>
                </a:lnTo>
                <a:lnTo>
                  <a:pt x="10978" y="4976"/>
                </a:lnTo>
                <a:lnTo>
                  <a:pt x="10976" y="4980"/>
                </a:lnTo>
                <a:lnTo>
                  <a:pt x="10974" y="4988"/>
                </a:lnTo>
                <a:lnTo>
                  <a:pt x="10968" y="4996"/>
                </a:lnTo>
                <a:lnTo>
                  <a:pt x="10966" y="4998"/>
                </a:lnTo>
                <a:lnTo>
                  <a:pt x="10962" y="5000"/>
                </a:lnTo>
                <a:lnTo>
                  <a:pt x="10960" y="4998"/>
                </a:lnTo>
                <a:lnTo>
                  <a:pt x="10958" y="4996"/>
                </a:lnTo>
                <a:lnTo>
                  <a:pt x="10954" y="4992"/>
                </a:lnTo>
                <a:lnTo>
                  <a:pt x="10952" y="4992"/>
                </a:lnTo>
                <a:lnTo>
                  <a:pt x="10950" y="4998"/>
                </a:lnTo>
                <a:lnTo>
                  <a:pt x="10946" y="5008"/>
                </a:lnTo>
                <a:lnTo>
                  <a:pt x="10940" y="5020"/>
                </a:lnTo>
                <a:lnTo>
                  <a:pt x="10936" y="5024"/>
                </a:lnTo>
                <a:lnTo>
                  <a:pt x="10936" y="5028"/>
                </a:lnTo>
                <a:lnTo>
                  <a:pt x="10936" y="5034"/>
                </a:lnTo>
                <a:lnTo>
                  <a:pt x="10936" y="5038"/>
                </a:lnTo>
                <a:lnTo>
                  <a:pt x="10936" y="5040"/>
                </a:lnTo>
                <a:lnTo>
                  <a:pt x="10932" y="5040"/>
                </a:lnTo>
                <a:lnTo>
                  <a:pt x="10928" y="5044"/>
                </a:lnTo>
                <a:lnTo>
                  <a:pt x="10930" y="5046"/>
                </a:lnTo>
                <a:lnTo>
                  <a:pt x="10932" y="5054"/>
                </a:lnTo>
                <a:lnTo>
                  <a:pt x="10932" y="5064"/>
                </a:lnTo>
                <a:lnTo>
                  <a:pt x="10928" y="5076"/>
                </a:lnTo>
                <a:lnTo>
                  <a:pt x="10922" y="5086"/>
                </a:lnTo>
                <a:lnTo>
                  <a:pt x="10918" y="5098"/>
                </a:lnTo>
                <a:lnTo>
                  <a:pt x="10918" y="5106"/>
                </a:lnTo>
                <a:lnTo>
                  <a:pt x="10918" y="5118"/>
                </a:lnTo>
                <a:lnTo>
                  <a:pt x="10918" y="5132"/>
                </a:lnTo>
                <a:lnTo>
                  <a:pt x="10916" y="5134"/>
                </a:lnTo>
                <a:lnTo>
                  <a:pt x="10916" y="5136"/>
                </a:lnTo>
                <a:lnTo>
                  <a:pt x="10914" y="5136"/>
                </a:lnTo>
                <a:lnTo>
                  <a:pt x="10912" y="5138"/>
                </a:lnTo>
                <a:lnTo>
                  <a:pt x="10910" y="5142"/>
                </a:lnTo>
                <a:lnTo>
                  <a:pt x="10910" y="5150"/>
                </a:lnTo>
                <a:close/>
                <a:moveTo>
                  <a:pt x="11186" y="5194"/>
                </a:moveTo>
                <a:lnTo>
                  <a:pt x="11186" y="5194"/>
                </a:lnTo>
                <a:lnTo>
                  <a:pt x="11188" y="5202"/>
                </a:lnTo>
                <a:lnTo>
                  <a:pt x="11192" y="5208"/>
                </a:lnTo>
                <a:lnTo>
                  <a:pt x="11200" y="5216"/>
                </a:lnTo>
                <a:lnTo>
                  <a:pt x="11210" y="5224"/>
                </a:lnTo>
                <a:lnTo>
                  <a:pt x="11214" y="5226"/>
                </a:lnTo>
                <a:lnTo>
                  <a:pt x="11220" y="5224"/>
                </a:lnTo>
                <a:lnTo>
                  <a:pt x="11226" y="5222"/>
                </a:lnTo>
                <a:lnTo>
                  <a:pt x="11230" y="5220"/>
                </a:lnTo>
                <a:lnTo>
                  <a:pt x="11232" y="5214"/>
                </a:lnTo>
                <a:lnTo>
                  <a:pt x="11234" y="5210"/>
                </a:lnTo>
                <a:lnTo>
                  <a:pt x="11234" y="5204"/>
                </a:lnTo>
                <a:lnTo>
                  <a:pt x="11230" y="5198"/>
                </a:lnTo>
                <a:lnTo>
                  <a:pt x="11226" y="5192"/>
                </a:lnTo>
                <a:lnTo>
                  <a:pt x="11218" y="5188"/>
                </a:lnTo>
                <a:lnTo>
                  <a:pt x="11212" y="5186"/>
                </a:lnTo>
                <a:lnTo>
                  <a:pt x="11204" y="5186"/>
                </a:lnTo>
                <a:lnTo>
                  <a:pt x="11198" y="5186"/>
                </a:lnTo>
                <a:lnTo>
                  <a:pt x="11192" y="5188"/>
                </a:lnTo>
                <a:lnTo>
                  <a:pt x="11188" y="5190"/>
                </a:lnTo>
                <a:lnTo>
                  <a:pt x="11186" y="5194"/>
                </a:lnTo>
                <a:close/>
                <a:moveTo>
                  <a:pt x="11302" y="5178"/>
                </a:moveTo>
                <a:lnTo>
                  <a:pt x="11302" y="5178"/>
                </a:lnTo>
                <a:lnTo>
                  <a:pt x="11294" y="5178"/>
                </a:lnTo>
                <a:lnTo>
                  <a:pt x="11284" y="5178"/>
                </a:lnTo>
                <a:lnTo>
                  <a:pt x="11278" y="5178"/>
                </a:lnTo>
                <a:lnTo>
                  <a:pt x="11272" y="5182"/>
                </a:lnTo>
                <a:lnTo>
                  <a:pt x="11268" y="5186"/>
                </a:lnTo>
                <a:lnTo>
                  <a:pt x="11264" y="5190"/>
                </a:lnTo>
                <a:lnTo>
                  <a:pt x="11262" y="5196"/>
                </a:lnTo>
                <a:lnTo>
                  <a:pt x="11262" y="5202"/>
                </a:lnTo>
                <a:lnTo>
                  <a:pt x="11264" y="5208"/>
                </a:lnTo>
                <a:lnTo>
                  <a:pt x="11266" y="5204"/>
                </a:lnTo>
                <a:lnTo>
                  <a:pt x="11270" y="5196"/>
                </a:lnTo>
                <a:lnTo>
                  <a:pt x="11272" y="5194"/>
                </a:lnTo>
                <a:lnTo>
                  <a:pt x="11272" y="5192"/>
                </a:lnTo>
                <a:lnTo>
                  <a:pt x="11274" y="5192"/>
                </a:lnTo>
                <a:lnTo>
                  <a:pt x="11276" y="5194"/>
                </a:lnTo>
                <a:lnTo>
                  <a:pt x="11282" y="5200"/>
                </a:lnTo>
                <a:lnTo>
                  <a:pt x="11284" y="5202"/>
                </a:lnTo>
                <a:lnTo>
                  <a:pt x="11288" y="5202"/>
                </a:lnTo>
                <a:lnTo>
                  <a:pt x="11292" y="5202"/>
                </a:lnTo>
                <a:lnTo>
                  <a:pt x="11296" y="5200"/>
                </a:lnTo>
                <a:lnTo>
                  <a:pt x="11302" y="5198"/>
                </a:lnTo>
                <a:lnTo>
                  <a:pt x="11306" y="5198"/>
                </a:lnTo>
                <a:lnTo>
                  <a:pt x="11316" y="5202"/>
                </a:lnTo>
                <a:lnTo>
                  <a:pt x="11324" y="5206"/>
                </a:lnTo>
                <a:lnTo>
                  <a:pt x="11328" y="5206"/>
                </a:lnTo>
                <a:lnTo>
                  <a:pt x="11330" y="5204"/>
                </a:lnTo>
                <a:lnTo>
                  <a:pt x="11332" y="5202"/>
                </a:lnTo>
                <a:lnTo>
                  <a:pt x="11334" y="5202"/>
                </a:lnTo>
                <a:lnTo>
                  <a:pt x="11344" y="5204"/>
                </a:lnTo>
                <a:lnTo>
                  <a:pt x="11356" y="5212"/>
                </a:lnTo>
                <a:lnTo>
                  <a:pt x="11370" y="5222"/>
                </a:lnTo>
                <a:lnTo>
                  <a:pt x="11376" y="5226"/>
                </a:lnTo>
                <a:lnTo>
                  <a:pt x="11380" y="5226"/>
                </a:lnTo>
                <a:lnTo>
                  <a:pt x="11384" y="5226"/>
                </a:lnTo>
                <a:lnTo>
                  <a:pt x="11384" y="5222"/>
                </a:lnTo>
                <a:lnTo>
                  <a:pt x="11382" y="5210"/>
                </a:lnTo>
                <a:lnTo>
                  <a:pt x="11372" y="5194"/>
                </a:lnTo>
                <a:lnTo>
                  <a:pt x="11368" y="5186"/>
                </a:lnTo>
                <a:lnTo>
                  <a:pt x="11364" y="5184"/>
                </a:lnTo>
                <a:lnTo>
                  <a:pt x="11360" y="5182"/>
                </a:lnTo>
                <a:lnTo>
                  <a:pt x="11358" y="5182"/>
                </a:lnTo>
                <a:lnTo>
                  <a:pt x="11352" y="5184"/>
                </a:lnTo>
                <a:lnTo>
                  <a:pt x="11346" y="5182"/>
                </a:lnTo>
                <a:lnTo>
                  <a:pt x="11340" y="5178"/>
                </a:lnTo>
                <a:lnTo>
                  <a:pt x="11328" y="5174"/>
                </a:lnTo>
                <a:lnTo>
                  <a:pt x="11326" y="5174"/>
                </a:lnTo>
                <a:lnTo>
                  <a:pt x="11324" y="5176"/>
                </a:lnTo>
                <a:lnTo>
                  <a:pt x="11318" y="5178"/>
                </a:lnTo>
                <a:lnTo>
                  <a:pt x="11312" y="5178"/>
                </a:lnTo>
                <a:lnTo>
                  <a:pt x="11302" y="5178"/>
                </a:lnTo>
                <a:close/>
                <a:moveTo>
                  <a:pt x="11158" y="5128"/>
                </a:moveTo>
                <a:lnTo>
                  <a:pt x="11158" y="5128"/>
                </a:lnTo>
                <a:lnTo>
                  <a:pt x="11156" y="5126"/>
                </a:lnTo>
                <a:lnTo>
                  <a:pt x="11152" y="5122"/>
                </a:lnTo>
                <a:lnTo>
                  <a:pt x="11138" y="5118"/>
                </a:lnTo>
                <a:lnTo>
                  <a:pt x="11132" y="5118"/>
                </a:lnTo>
                <a:lnTo>
                  <a:pt x="11126" y="5120"/>
                </a:lnTo>
                <a:lnTo>
                  <a:pt x="11120" y="5124"/>
                </a:lnTo>
                <a:lnTo>
                  <a:pt x="11118" y="5128"/>
                </a:lnTo>
                <a:lnTo>
                  <a:pt x="11120" y="5132"/>
                </a:lnTo>
                <a:lnTo>
                  <a:pt x="11124" y="5136"/>
                </a:lnTo>
                <a:lnTo>
                  <a:pt x="11132" y="5136"/>
                </a:lnTo>
                <a:lnTo>
                  <a:pt x="11138" y="5136"/>
                </a:lnTo>
                <a:lnTo>
                  <a:pt x="11152" y="5132"/>
                </a:lnTo>
                <a:lnTo>
                  <a:pt x="11156" y="5130"/>
                </a:lnTo>
                <a:lnTo>
                  <a:pt x="11158" y="5128"/>
                </a:lnTo>
                <a:close/>
                <a:moveTo>
                  <a:pt x="11162" y="5130"/>
                </a:moveTo>
                <a:lnTo>
                  <a:pt x="11162" y="5130"/>
                </a:lnTo>
                <a:lnTo>
                  <a:pt x="11162" y="5132"/>
                </a:lnTo>
                <a:lnTo>
                  <a:pt x="11166" y="5134"/>
                </a:lnTo>
                <a:lnTo>
                  <a:pt x="11176" y="5132"/>
                </a:lnTo>
                <a:lnTo>
                  <a:pt x="11200" y="5128"/>
                </a:lnTo>
                <a:lnTo>
                  <a:pt x="11200" y="5126"/>
                </a:lnTo>
                <a:lnTo>
                  <a:pt x="11198" y="5124"/>
                </a:lnTo>
                <a:lnTo>
                  <a:pt x="11184" y="5124"/>
                </a:lnTo>
                <a:lnTo>
                  <a:pt x="11170" y="5124"/>
                </a:lnTo>
                <a:lnTo>
                  <a:pt x="11164" y="5126"/>
                </a:lnTo>
                <a:lnTo>
                  <a:pt x="11162" y="5130"/>
                </a:lnTo>
                <a:close/>
                <a:moveTo>
                  <a:pt x="11242" y="5116"/>
                </a:moveTo>
                <a:lnTo>
                  <a:pt x="11242" y="5116"/>
                </a:lnTo>
                <a:lnTo>
                  <a:pt x="11242" y="5122"/>
                </a:lnTo>
                <a:lnTo>
                  <a:pt x="11246" y="5122"/>
                </a:lnTo>
                <a:lnTo>
                  <a:pt x="11254" y="5122"/>
                </a:lnTo>
                <a:lnTo>
                  <a:pt x="11270" y="5122"/>
                </a:lnTo>
                <a:lnTo>
                  <a:pt x="11272" y="5120"/>
                </a:lnTo>
                <a:lnTo>
                  <a:pt x="11268" y="5112"/>
                </a:lnTo>
                <a:lnTo>
                  <a:pt x="11262" y="5108"/>
                </a:lnTo>
                <a:lnTo>
                  <a:pt x="11258" y="5106"/>
                </a:lnTo>
                <a:lnTo>
                  <a:pt x="11254" y="5104"/>
                </a:lnTo>
                <a:lnTo>
                  <a:pt x="11250" y="5104"/>
                </a:lnTo>
                <a:lnTo>
                  <a:pt x="11246" y="5106"/>
                </a:lnTo>
                <a:lnTo>
                  <a:pt x="11244" y="5108"/>
                </a:lnTo>
                <a:lnTo>
                  <a:pt x="11242" y="5110"/>
                </a:lnTo>
                <a:lnTo>
                  <a:pt x="11242" y="5116"/>
                </a:lnTo>
                <a:close/>
                <a:moveTo>
                  <a:pt x="11340" y="5134"/>
                </a:moveTo>
                <a:lnTo>
                  <a:pt x="11340" y="5134"/>
                </a:lnTo>
                <a:lnTo>
                  <a:pt x="11344" y="5138"/>
                </a:lnTo>
                <a:lnTo>
                  <a:pt x="11352" y="5140"/>
                </a:lnTo>
                <a:lnTo>
                  <a:pt x="11358" y="5140"/>
                </a:lnTo>
                <a:lnTo>
                  <a:pt x="11360" y="5136"/>
                </a:lnTo>
                <a:lnTo>
                  <a:pt x="11362" y="5134"/>
                </a:lnTo>
                <a:lnTo>
                  <a:pt x="11362" y="5126"/>
                </a:lnTo>
                <a:lnTo>
                  <a:pt x="11360" y="5122"/>
                </a:lnTo>
                <a:lnTo>
                  <a:pt x="11354" y="5122"/>
                </a:lnTo>
                <a:lnTo>
                  <a:pt x="11346" y="5124"/>
                </a:lnTo>
                <a:lnTo>
                  <a:pt x="11336" y="5130"/>
                </a:lnTo>
                <a:lnTo>
                  <a:pt x="11336" y="5132"/>
                </a:lnTo>
                <a:lnTo>
                  <a:pt x="11340" y="5134"/>
                </a:lnTo>
                <a:close/>
                <a:moveTo>
                  <a:pt x="11380" y="5104"/>
                </a:moveTo>
                <a:lnTo>
                  <a:pt x="11380" y="5104"/>
                </a:lnTo>
                <a:lnTo>
                  <a:pt x="11382" y="5104"/>
                </a:lnTo>
                <a:lnTo>
                  <a:pt x="11384" y="5102"/>
                </a:lnTo>
                <a:lnTo>
                  <a:pt x="11386" y="5096"/>
                </a:lnTo>
                <a:lnTo>
                  <a:pt x="11386" y="5090"/>
                </a:lnTo>
                <a:lnTo>
                  <a:pt x="11386" y="5086"/>
                </a:lnTo>
                <a:lnTo>
                  <a:pt x="11386" y="5084"/>
                </a:lnTo>
                <a:lnTo>
                  <a:pt x="11380" y="5084"/>
                </a:lnTo>
                <a:lnTo>
                  <a:pt x="11374" y="5084"/>
                </a:lnTo>
                <a:lnTo>
                  <a:pt x="11370" y="5086"/>
                </a:lnTo>
                <a:lnTo>
                  <a:pt x="11370" y="5088"/>
                </a:lnTo>
                <a:lnTo>
                  <a:pt x="11370" y="5090"/>
                </a:lnTo>
                <a:lnTo>
                  <a:pt x="11374" y="5096"/>
                </a:lnTo>
                <a:lnTo>
                  <a:pt x="11380" y="5104"/>
                </a:lnTo>
                <a:close/>
                <a:moveTo>
                  <a:pt x="11362" y="5052"/>
                </a:moveTo>
                <a:lnTo>
                  <a:pt x="11362" y="5052"/>
                </a:lnTo>
                <a:lnTo>
                  <a:pt x="11368" y="5054"/>
                </a:lnTo>
                <a:lnTo>
                  <a:pt x="11372" y="5056"/>
                </a:lnTo>
                <a:lnTo>
                  <a:pt x="11378" y="5060"/>
                </a:lnTo>
                <a:lnTo>
                  <a:pt x="11384" y="5060"/>
                </a:lnTo>
                <a:lnTo>
                  <a:pt x="11386" y="5058"/>
                </a:lnTo>
                <a:lnTo>
                  <a:pt x="11382" y="5054"/>
                </a:lnTo>
                <a:lnTo>
                  <a:pt x="11380" y="5052"/>
                </a:lnTo>
                <a:lnTo>
                  <a:pt x="11380" y="5050"/>
                </a:lnTo>
                <a:lnTo>
                  <a:pt x="11384" y="5052"/>
                </a:lnTo>
                <a:lnTo>
                  <a:pt x="11388" y="5056"/>
                </a:lnTo>
                <a:lnTo>
                  <a:pt x="11394" y="5058"/>
                </a:lnTo>
                <a:lnTo>
                  <a:pt x="11398" y="5056"/>
                </a:lnTo>
                <a:lnTo>
                  <a:pt x="11400" y="5054"/>
                </a:lnTo>
                <a:lnTo>
                  <a:pt x="11400" y="5052"/>
                </a:lnTo>
                <a:lnTo>
                  <a:pt x="11394" y="5046"/>
                </a:lnTo>
                <a:lnTo>
                  <a:pt x="11384" y="5040"/>
                </a:lnTo>
                <a:lnTo>
                  <a:pt x="11378" y="5040"/>
                </a:lnTo>
                <a:lnTo>
                  <a:pt x="11372" y="5040"/>
                </a:lnTo>
                <a:lnTo>
                  <a:pt x="11364" y="5044"/>
                </a:lnTo>
                <a:lnTo>
                  <a:pt x="11358" y="5046"/>
                </a:lnTo>
                <a:lnTo>
                  <a:pt x="11358" y="5050"/>
                </a:lnTo>
                <a:lnTo>
                  <a:pt x="11362" y="5052"/>
                </a:lnTo>
                <a:close/>
                <a:moveTo>
                  <a:pt x="11246" y="4990"/>
                </a:moveTo>
                <a:lnTo>
                  <a:pt x="11246" y="4990"/>
                </a:lnTo>
                <a:lnTo>
                  <a:pt x="11248" y="4998"/>
                </a:lnTo>
                <a:lnTo>
                  <a:pt x="11246" y="5006"/>
                </a:lnTo>
                <a:lnTo>
                  <a:pt x="11246" y="5012"/>
                </a:lnTo>
                <a:lnTo>
                  <a:pt x="11248" y="5016"/>
                </a:lnTo>
                <a:lnTo>
                  <a:pt x="11250" y="5020"/>
                </a:lnTo>
                <a:lnTo>
                  <a:pt x="11252" y="5024"/>
                </a:lnTo>
                <a:lnTo>
                  <a:pt x="11254" y="5028"/>
                </a:lnTo>
                <a:lnTo>
                  <a:pt x="11252" y="5038"/>
                </a:lnTo>
                <a:lnTo>
                  <a:pt x="11252" y="5046"/>
                </a:lnTo>
                <a:lnTo>
                  <a:pt x="11254" y="5050"/>
                </a:lnTo>
                <a:lnTo>
                  <a:pt x="11256" y="5056"/>
                </a:lnTo>
                <a:lnTo>
                  <a:pt x="11270" y="5074"/>
                </a:lnTo>
                <a:lnTo>
                  <a:pt x="11276" y="5080"/>
                </a:lnTo>
                <a:lnTo>
                  <a:pt x="11278" y="5082"/>
                </a:lnTo>
                <a:lnTo>
                  <a:pt x="11282" y="5082"/>
                </a:lnTo>
                <a:lnTo>
                  <a:pt x="11284" y="5082"/>
                </a:lnTo>
                <a:lnTo>
                  <a:pt x="11282" y="5080"/>
                </a:lnTo>
                <a:lnTo>
                  <a:pt x="11278" y="5076"/>
                </a:lnTo>
                <a:lnTo>
                  <a:pt x="11272" y="5068"/>
                </a:lnTo>
                <a:lnTo>
                  <a:pt x="11268" y="5058"/>
                </a:lnTo>
                <a:lnTo>
                  <a:pt x="11264" y="5046"/>
                </a:lnTo>
                <a:lnTo>
                  <a:pt x="11262" y="5036"/>
                </a:lnTo>
                <a:lnTo>
                  <a:pt x="11262" y="5026"/>
                </a:lnTo>
                <a:lnTo>
                  <a:pt x="11266" y="5018"/>
                </a:lnTo>
                <a:lnTo>
                  <a:pt x="11268" y="5018"/>
                </a:lnTo>
                <a:lnTo>
                  <a:pt x="11270" y="5016"/>
                </a:lnTo>
                <a:lnTo>
                  <a:pt x="11278" y="5018"/>
                </a:lnTo>
                <a:lnTo>
                  <a:pt x="11290" y="5024"/>
                </a:lnTo>
                <a:lnTo>
                  <a:pt x="11294" y="5026"/>
                </a:lnTo>
                <a:lnTo>
                  <a:pt x="11298" y="5026"/>
                </a:lnTo>
                <a:lnTo>
                  <a:pt x="11298" y="5024"/>
                </a:lnTo>
                <a:lnTo>
                  <a:pt x="11298" y="5022"/>
                </a:lnTo>
                <a:lnTo>
                  <a:pt x="11294" y="5014"/>
                </a:lnTo>
                <a:lnTo>
                  <a:pt x="11288" y="5012"/>
                </a:lnTo>
                <a:lnTo>
                  <a:pt x="11282" y="5008"/>
                </a:lnTo>
                <a:lnTo>
                  <a:pt x="11278" y="5006"/>
                </a:lnTo>
                <a:lnTo>
                  <a:pt x="11276" y="5004"/>
                </a:lnTo>
                <a:lnTo>
                  <a:pt x="11274" y="5002"/>
                </a:lnTo>
                <a:lnTo>
                  <a:pt x="11276" y="5000"/>
                </a:lnTo>
                <a:lnTo>
                  <a:pt x="11282" y="4994"/>
                </a:lnTo>
                <a:lnTo>
                  <a:pt x="11290" y="4990"/>
                </a:lnTo>
                <a:lnTo>
                  <a:pt x="11292" y="4988"/>
                </a:lnTo>
                <a:lnTo>
                  <a:pt x="11294" y="4984"/>
                </a:lnTo>
                <a:lnTo>
                  <a:pt x="11296" y="4974"/>
                </a:lnTo>
                <a:lnTo>
                  <a:pt x="11294" y="4970"/>
                </a:lnTo>
                <a:lnTo>
                  <a:pt x="11292" y="4966"/>
                </a:lnTo>
                <a:lnTo>
                  <a:pt x="11290" y="4964"/>
                </a:lnTo>
                <a:lnTo>
                  <a:pt x="11284" y="4964"/>
                </a:lnTo>
                <a:lnTo>
                  <a:pt x="11278" y="4968"/>
                </a:lnTo>
                <a:lnTo>
                  <a:pt x="11274" y="4974"/>
                </a:lnTo>
                <a:lnTo>
                  <a:pt x="11266" y="4988"/>
                </a:lnTo>
                <a:lnTo>
                  <a:pt x="11262" y="4998"/>
                </a:lnTo>
                <a:lnTo>
                  <a:pt x="11260" y="5000"/>
                </a:lnTo>
                <a:lnTo>
                  <a:pt x="11258" y="4998"/>
                </a:lnTo>
                <a:lnTo>
                  <a:pt x="11256" y="4992"/>
                </a:lnTo>
                <a:lnTo>
                  <a:pt x="11258" y="4988"/>
                </a:lnTo>
                <a:lnTo>
                  <a:pt x="11262" y="4982"/>
                </a:lnTo>
                <a:lnTo>
                  <a:pt x="11266" y="4972"/>
                </a:lnTo>
                <a:lnTo>
                  <a:pt x="11268" y="4966"/>
                </a:lnTo>
                <a:lnTo>
                  <a:pt x="11268" y="4962"/>
                </a:lnTo>
                <a:lnTo>
                  <a:pt x="11264" y="4954"/>
                </a:lnTo>
                <a:lnTo>
                  <a:pt x="11262" y="4950"/>
                </a:lnTo>
                <a:lnTo>
                  <a:pt x="11262" y="4946"/>
                </a:lnTo>
                <a:lnTo>
                  <a:pt x="11262" y="4944"/>
                </a:lnTo>
                <a:lnTo>
                  <a:pt x="11266" y="4932"/>
                </a:lnTo>
                <a:lnTo>
                  <a:pt x="11258" y="4936"/>
                </a:lnTo>
                <a:lnTo>
                  <a:pt x="11254" y="4940"/>
                </a:lnTo>
                <a:lnTo>
                  <a:pt x="11250" y="4946"/>
                </a:lnTo>
                <a:lnTo>
                  <a:pt x="11246" y="4960"/>
                </a:lnTo>
                <a:lnTo>
                  <a:pt x="11244" y="4976"/>
                </a:lnTo>
                <a:lnTo>
                  <a:pt x="11244" y="4984"/>
                </a:lnTo>
                <a:lnTo>
                  <a:pt x="11246" y="4990"/>
                </a:lnTo>
                <a:close/>
                <a:moveTo>
                  <a:pt x="11276" y="4936"/>
                </a:moveTo>
                <a:lnTo>
                  <a:pt x="11276" y="4936"/>
                </a:lnTo>
                <a:lnTo>
                  <a:pt x="11276" y="4940"/>
                </a:lnTo>
                <a:lnTo>
                  <a:pt x="11280" y="4942"/>
                </a:lnTo>
                <a:lnTo>
                  <a:pt x="11284" y="4940"/>
                </a:lnTo>
                <a:lnTo>
                  <a:pt x="11288" y="4936"/>
                </a:lnTo>
                <a:lnTo>
                  <a:pt x="11290" y="4930"/>
                </a:lnTo>
                <a:lnTo>
                  <a:pt x="11292" y="4924"/>
                </a:lnTo>
                <a:lnTo>
                  <a:pt x="11294" y="4918"/>
                </a:lnTo>
                <a:lnTo>
                  <a:pt x="11292" y="4914"/>
                </a:lnTo>
                <a:lnTo>
                  <a:pt x="11288" y="4912"/>
                </a:lnTo>
                <a:lnTo>
                  <a:pt x="11286" y="4912"/>
                </a:lnTo>
                <a:lnTo>
                  <a:pt x="11282" y="4912"/>
                </a:lnTo>
                <a:lnTo>
                  <a:pt x="11280" y="4916"/>
                </a:lnTo>
                <a:lnTo>
                  <a:pt x="11276" y="4926"/>
                </a:lnTo>
                <a:lnTo>
                  <a:pt x="11276" y="4936"/>
                </a:lnTo>
                <a:close/>
                <a:moveTo>
                  <a:pt x="11022" y="5302"/>
                </a:moveTo>
                <a:lnTo>
                  <a:pt x="11022" y="5302"/>
                </a:lnTo>
                <a:lnTo>
                  <a:pt x="11024" y="5306"/>
                </a:lnTo>
                <a:lnTo>
                  <a:pt x="11026" y="5302"/>
                </a:lnTo>
                <a:lnTo>
                  <a:pt x="11026" y="5296"/>
                </a:lnTo>
                <a:lnTo>
                  <a:pt x="11022" y="5288"/>
                </a:lnTo>
                <a:lnTo>
                  <a:pt x="11020" y="5284"/>
                </a:lnTo>
                <a:lnTo>
                  <a:pt x="11018" y="5288"/>
                </a:lnTo>
                <a:lnTo>
                  <a:pt x="11018" y="5294"/>
                </a:lnTo>
                <a:lnTo>
                  <a:pt x="11022" y="5302"/>
                </a:lnTo>
                <a:close/>
                <a:moveTo>
                  <a:pt x="11040" y="5304"/>
                </a:moveTo>
                <a:lnTo>
                  <a:pt x="11040" y="5304"/>
                </a:lnTo>
                <a:lnTo>
                  <a:pt x="11048" y="5300"/>
                </a:lnTo>
                <a:lnTo>
                  <a:pt x="11050" y="5296"/>
                </a:lnTo>
                <a:lnTo>
                  <a:pt x="11050" y="5292"/>
                </a:lnTo>
                <a:lnTo>
                  <a:pt x="11050" y="5288"/>
                </a:lnTo>
                <a:lnTo>
                  <a:pt x="11050" y="5284"/>
                </a:lnTo>
                <a:lnTo>
                  <a:pt x="11052" y="5278"/>
                </a:lnTo>
                <a:lnTo>
                  <a:pt x="11054" y="5270"/>
                </a:lnTo>
                <a:lnTo>
                  <a:pt x="11054" y="5266"/>
                </a:lnTo>
                <a:lnTo>
                  <a:pt x="11052" y="5264"/>
                </a:lnTo>
                <a:lnTo>
                  <a:pt x="11048" y="5264"/>
                </a:lnTo>
                <a:lnTo>
                  <a:pt x="11046" y="5264"/>
                </a:lnTo>
                <a:lnTo>
                  <a:pt x="11040" y="5270"/>
                </a:lnTo>
                <a:lnTo>
                  <a:pt x="11038" y="5274"/>
                </a:lnTo>
                <a:lnTo>
                  <a:pt x="11038" y="5278"/>
                </a:lnTo>
                <a:lnTo>
                  <a:pt x="11038" y="5288"/>
                </a:lnTo>
                <a:lnTo>
                  <a:pt x="11036" y="5298"/>
                </a:lnTo>
                <a:lnTo>
                  <a:pt x="11036" y="5304"/>
                </a:lnTo>
                <a:lnTo>
                  <a:pt x="11038" y="5304"/>
                </a:lnTo>
                <a:lnTo>
                  <a:pt x="11040" y="5304"/>
                </a:lnTo>
                <a:close/>
                <a:moveTo>
                  <a:pt x="11052" y="5316"/>
                </a:moveTo>
                <a:lnTo>
                  <a:pt x="11052" y="5316"/>
                </a:lnTo>
                <a:lnTo>
                  <a:pt x="11056" y="5318"/>
                </a:lnTo>
                <a:lnTo>
                  <a:pt x="11058" y="5316"/>
                </a:lnTo>
                <a:lnTo>
                  <a:pt x="11060" y="5308"/>
                </a:lnTo>
                <a:lnTo>
                  <a:pt x="11062" y="5306"/>
                </a:lnTo>
                <a:lnTo>
                  <a:pt x="11066" y="5304"/>
                </a:lnTo>
                <a:lnTo>
                  <a:pt x="11072" y="5302"/>
                </a:lnTo>
                <a:lnTo>
                  <a:pt x="11074" y="5302"/>
                </a:lnTo>
                <a:lnTo>
                  <a:pt x="11074" y="5300"/>
                </a:lnTo>
                <a:lnTo>
                  <a:pt x="11068" y="5292"/>
                </a:lnTo>
                <a:lnTo>
                  <a:pt x="11064" y="5286"/>
                </a:lnTo>
                <a:lnTo>
                  <a:pt x="11064" y="5282"/>
                </a:lnTo>
                <a:lnTo>
                  <a:pt x="11064" y="5278"/>
                </a:lnTo>
                <a:lnTo>
                  <a:pt x="11068" y="5274"/>
                </a:lnTo>
                <a:lnTo>
                  <a:pt x="11072" y="5268"/>
                </a:lnTo>
                <a:lnTo>
                  <a:pt x="11072" y="5264"/>
                </a:lnTo>
                <a:lnTo>
                  <a:pt x="11070" y="5258"/>
                </a:lnTo>
                <a:lnTo>
                  <a:pt x="11068" y="5254"/>
                </a:lnTo>
                <a:lnTo>
                  <a:pt x="11066" y="5252"/>
                </a:lnTo>
                <a:lnTo>
                  <a:pt x="11064" y="5252"/>
                </a:lnTo>
                <a:lnTo>
                  <a:pt x="11062" y="5256"/>
                </a:lnTo>
                <a:lnTo>
                  <a:pt x="11058" y="5270"/>
                </a:lnTo>
                <a:lnTo>
                  <a:pt x="11056" y="5286"/>
                </a:lnTo>
                <a:lnTo>
                  <a:pt x="11056" y="5294"/>
                </a:lnTo>
                <a:lnTo>
                  <a:pt x="11052" y="5300"/>
                </a:lnTo>
                <a:lnTo>
                  <a:pt x="11048" y="5306"/>
                </a:lnTo>
                <a:lnTo>
                  <a:pt x="11046" y="5310"/>
                </a:lnTo>
                <a:lnTo>
                  <a:pt x="11046" y="5312"/>
                </a:lnTo>
                <a:lnTo>
                  <a:pt x="11052" y="5316"/>
                </a:lnTo>
                <a:close/>
                <a:moveTo>
                  <a:pt x="11240" y="5058"/>
                </a:moveTo>
                <a:lnTo>
                  <a:pt x="11240" y="5058"/>
                </a:lnTo>
                <a:lnTo>
                  <a:pt x="11240" y="5062"/>
                </a:lnTo>
                <a:lnTo>
                  <a:pt x="11242" y="5068"/>
                </a:lnTo>
                <a:lnTo>
                  <a:pt x="11246" y="5074"/>
                </a:lnTo>
                <a:lnTo>
                  <a:pt x="11250" y="5076"/>
                </a:lnTo>
                <a:lnTo>
                  <a:pt x="11252" y="5072"/>
                </a:lnTo>
                <a:lnTo>
                  <a:pt x="11252" y="5064"/>
                </a:lnTo>
                <a:lnTo>
                  <a:pt x="11250" y="5058"/>
                </a:lnTo>
                <a:lnTo>
                  <a:pt x="11248" y="5054"/>
                </a:lnTo>
                <a:lnTo>
                  <a:pt x="11244" y="5054"/>
                </a:lnTo>
                <a:lnTo>
                  <a:pt x="11240" y="5058"/>
                </a:lnTo>
                <a:close/>
                <a:moveTo>
                  <a:pt x="11412" y="5392"/>
                </a:moveTo>
                <a:lnTo>
                  <a:pt x="11412" y="5392"/>
                </a:lnTo>
                <a:lnTo>
                  <a:pt x="11412" y="5390"/>
                </a:lnTo>
                <a:lnTo>
                  <a:pt x="11410" y="5390"/>
                </a:lnTo>
                <a:lnTo>
                  <a:pt x="11406" y="5392"/>
                </a:lnTo>
                <a:lnTo>
                  <a:pt x="11402" y="5398"/>
                </a:lnTo>
                <a:lnTo>
                  <a:pt x="11398" y="5406"/>
                </a:lnTo>
                <a:lnTo>
                  <a:pt x="11394" y="5420"/>
                </a:lnTo>
                <a:lnTo>
                  <a:pt x="11394" y="5426"/>
                </a:lnTo>
                <a:lnTo>
                  <a:pt x="11396" y="5426"/>
                </a:lnTo>
                <a:lnTo>
                  <a:pt x="11406" y="5420"/>
                </a:lnTo>
                <a:lnTo>
                  <a:pt x="11412" y="5412"/>
                </a:lnTo>
                <a:lnTo>
                  <a:pt x="11414" y="5402"/>
                </a:lnTo>
                <a:lnTo>
                  <a:pt x="11412" y="5392"/>
                </a:lnTo>
                <a:close/>
                <a:moveTo>
                  <a:pt x="11514" y="5376"/>
                </a:moveTo>
                <a:lnTo>
                  <a:pt x="11514" y="5376"/>
                </a:lnTo>
                <a:lnTo>
                  <a:pt x="11522" y="5372"/>
                </a:lnTo>
                <a:lnTo>
                  <a:pt x="11526" y="5366"/>
                </a:lnTo>
                <a:lnTo>
                  <a:pt x="11526" y="5360"/>
                </a:lnTo>
                <a:lnTo>
                  <a:pt x="11520" y="5352"/>
                </a:lnTo>
                <a:lnTo>
                  <a:pt x="11516" y="5346"/>
                </a:lnTo>
                <a:lnTo>
                  <a:pt x="11512" y="5346"/>
                </a:lnTo>
                <a:lnTo>
                  <a:pt x="11510" y="5350"/>
                </a:lnTo>
                <a:lnTo>
                  <a:pt x="11510" y="5356"/>
                </a:lnTo>
                <a:lnTo>
                  <a:pt x="11510" y="5370"/>
                </a:lnTo>
                <a:lnTo>
                  <a:pt x="11512" y="5374"/>
                </a:lnTo>
                <a:lnTo>
                  <a:pt x="11514" y="5376"/>
                </a:lnTo>
                <a:close/>
                <a:moveTo>
                  <a:pt x="10442" y="5192"/>
                </a:moveTo>
                <a:lnTo>
                  <a:pt x="10442" y="5192"/>
                </a:lnTo>
                <a:lnTo>
                  <a:pt x="10446" y="5198"/>
                </a:lnTo>
                <a:lnTo>
                  <a:pt x="10448" y="5198"/>
                </a:lnTo>
                <a:lnTo>
                  <a:pt x="10450" y="5194"/>
                </a:lnTo>
                <a:lnTo>
                  <a:pt x="10452" y="5192"/>
                </a:lnTo>
                <a:lnTo>
                  <a:pt x="10454" y="5192"/>
                </a:lnTo>
                <a:lnTo>
                  <a:pt x="10458" y="5194"/>
                </a:lnTo>
                <a:lnTo>
                  <a:pt x="10462" y="5194"/>
                </a:lnTo>
                <a:lnTo>
                  <a:pt x="10468" y="5188"/>
                </a:lnTo>
                <a:lnTo>
                  <a:pt x="10470" y="5180"/>
                </a:lnTo>
                <a:lnTo>
                  <a:pt x="10470" y="5176"/>
                </a:lnTo>
                <a:lnTo>
                  <a:pt x="10470" y="5174"/>
                </a:lnTo>
                <a:lnTo>
                  <a:pt x="10464" y="5168"/>
                </a:lnTo>
                <a:lnTo>
                  <a:pt x="10456" y="5164"/>
                </a:lnTo>
                <a:lnTo>
                  <a:pt x="10450" y="5162"/>
                </a:lnTo>
                <a:lnTo>
                  <a:pt x="10448" y="5164"/>
                </a:lnTo>
                <a:lnTo>
                  <a:pt x="10444" y="5166"/>
                </a:lnTo>
                <a:lnTo>
                  <a:pt x="10442" y="5170"/>
                </a:lnTo>
                <a:lnTo>
                  <a:pt x="10440" y="5182"/>
                </a:lnTo>
                <a:lnTo>
                  <a:pt x="10440" y="5186"/>
                </a:lnTo>
                <a:lnTo>
                  <a:pt x="10442" y="5192"/>
                </a:lnTo>
                <a:close/>
                <a:moveTo>
                  <a:pt x="10396" y="5160"/>
                </a:moveTo>
                <a:lnTo>
                  <a:pt x="10396" y="5160"/>
                </a:lnTo>
                <a:lnTo>
                  <a:pt x="10392" y="5156"/>
                </a:lnTo>
                <a:lnTo>
                  <a:pt x="10388" y="5150"/>
                </a:lnTo>
                <a:lnTo>
                  <a:pt x="10386" y="5132"/>
                </a:lnTo>
                <a:lnTo>
                  <a:pt x="10382" y="5124"/>
                </a:lnTo>
                <a:lnTo>
                  <a:pt x="10380" y="5116"/>
                </a:lnTo>
                <a:lnTo>
                  <a:pt x="10372" y="5112"/>
                </a:lnTo>
                <a:lnTo>
                  <a:pt x="10364" y="5112"/>
                </a:lnTo>
                <a:lnTo>
                  <a:pt x="10356" y="5116"/>
                </a:lnTo>
                <a:lnTo>
                  <a:pt x="10352" y="5120"/>
                </a:lnTo>
                <a:lnTo>
                  <a:pt x="10352" y="5124"/>
                </a:lnTo>
                <a:lnTo>
                  <a:pt x="10352" y="5128"/>
                </a:lnTo>
                <a:lnTo>
                  <a:pt x="10348" y="5130"/>
                </a:lnTo>
                <a:lnTo>
                  <a:pt x="10344" y="5134"/>
                </a:lnTo>
                <a:lnTo>
                  <a:pt x="10342" y="5138"/>
                </a:lnTo>
                <a:lnTo>
                  <a:pt x="10344" y="5140"/>
                </a:lnTo>
                <a:lnTo>
                  <a:pt x="10346" y="5142"/>
                </a:lnTo>
                <a:lnTo>
                  <a:pt x="10354" y="5142"/>
                </a:lnTo>
                <a:lnTo>
                  <a:pt x="10362" y="5142"/>
                </a:lnTo>
                <a:lnTo>
                  <a:pt x="10366" y="5144"/>
                </a:lnTo>
                <a:lnTo>
                  <a:pt x="10368" y="5146"/>
                </a:lnTo>
                <a:lnTo>
                  <a:pt x="10372" y="5158"/>
                </a:lnTo>
                <a:lnTo>
                  <a:pt x="10376" y="5170"/>
                </a:lnTo>
                <a:lnTo>
                  <a:pt x="10378" y="5176"/>
                </a:lnTo>
                <a:lnTo>
                  <a:pt x="10384" y="5178"/>
                </a:lnTo>
                <a:lnTo>
                  <a:pt x="10392" y="5182"/>
                </a:lnTo>
                <a:lnTo>
                  <a:pt x="10396" y="5186"/>
                </a:lnTo>
                <a:lnTo>
                  <a:pt x="10400" y="5190"/>
                </a:lnTo>
                <a:lnTo>
                  <a:pt x="10404" y="5190"/>
                </a:lnTo>
                <a:lnTo>
                  <a:pt x="10406" y="5188"/>
                </a:lnTo>
                <a:lnTo>
                  <a:pt x="10408" y="5186"/>
                </a:lnTo>
                <a:lnTo>
                  <a:pt x="10406" y="5182"/>
                </a:lnTo>
                <a:lnTo>
                  <a:pt x="10404" y="5178"/>
                </a:lnTo>
                <a:lnTo>
                  <a:pt x="10404" y="5176"/>
                </a:lnTo>
                <a:lnTo>
                  <a:pt x="10404" y="5172"/>
                </a:lnTo>
                <a:lnTo>
                  <a:pt x="10406" y="5168"/>
                </a:lnTo>
                <a:lnTo>
                  <a:pt x="10406" y="5166"/>
                </a:lnTo>
                <a:lnTo>
                  <a:pt x="10402" y="5162"/>
                </a:lnTo>
                <a:lnTo>
                  <a:pt x="10396" y="5160"/>
                </a:lnTo>
                <a:close/>
                <a:moveTo>
                  <a:pt x="10682" y="5374"/>
                </a:moveTo>
                <a:lnTo>
                  <a:pt x="10682" y="5374"/>
                </a:lnTo>
                <a:lnTo>
                  <a:pt x="10670" y="5374"/>
                </a:lnTo>
                <a:lnTo>
                  <a:pt x="10658" y="5376"/>
                </a:lnTo>
                <a:lnTo>
                  <a:pt x="10652" y="5378"/>
                </a:lnTo>
                <a:lnTo>
                  <a:pt x="10652" y="5382"/>
                </a:lnTo>
                <a:lnTo>
                  <a:pt x="10652" y="5384"/>
                </a:lnTo>
                <a:lnTo>
                  <a:pt x="10656" y="5388"/>
                </a:lnTo>
                <a:lnTo>
                  <a:pt x="10668" y="5390"/>
                </a:lnTo>
                <a:lnTo>
                  <a:pt x="10680" y="5392"/>
                </a:lnTo>
                <a:lnTo>
                  <a:pt x="10684" y="5390"/>
                </a:lnTo>
                <a:lnTo>
                  <a:pt x="10686" y="5390"/>
                </a:lnTo>
                <a:lnTo>
                  <a:pt x="10692" y="5386"/>
                </a:lnTo>
                <a:lnTo>
                  <a:pt x="10700" y="5382"/>
                </a:lnTo>
                <a:lnTo>
                  <a:pt x="10706" y="5378"/>
                </a:lnTo>
                <a:lnTo>
                  <a:pt x="10706" y="5376"/>
                </a:lnTo>
                <a:lnTo>
                  <a:pt x="10702" y="5374"/>
                </a:lnTo>
                <a:lnTo>
                  <a:pt x="10700" y="5374"/>
                </a:lnTo>
                <a:lnTo>
                  <a:pt x="10694" y="5374"/>
                </a:lnTo>
                <a:lnTo>
                  <a:pt x="10682" y="5374"/>
                </a:lnTo>
                <a:close/>
                <a:moveTo>
                  <a:pt x="11090" y="5452"/>
                </a:moveTo>
                <a:lnTo>
                  <a:pt x="11090" y="5452"/>
                </a:lnTo>
                <a:lnTo>
                  <a:pt x="11092" y="5450"/>
                </a:lnTo>
                <a:lnTo>
                  <a:pt x="11094" y="5448"/>
                </a:lnTo>
                <a:lnTo>
                  <a:pt x="11096" y="5446"/>
                </a:lnTo>
                <a:lnTo>
                  <a:pt x="11098" y="5444"/>
                </a:lnTo>
                <a:lnTo>
                  <a:pt x="11102" y="5440"/>
                </a:lnTo>
                <a:lnTo>
                  <a:pt x="11100" y="5440"/>
                </a:lnTo>
                <a:lnTo>
                  <a:pt x="11096" y="5438"/>
                </a:lnTo>
                <a:lnTo>
                  <a:pt x="11086" y="5440"/>
                </a:lnTo>
                <a:lnTo>
                  <a:pt x="11082" y="5442"/>
                </a:lnTo>
                <a:lnTo>
                  <a:pt x="11082" y="5444"/>
                </a:lnTo>
                <a:lnTo>
                  <a:pt x="11082" y="5446"/>
                </a:lnTo>
                <a:lnTo>
                  <a:pt x="11082" y="5448"/>
                </a:lnTo>
                <a:lnTo>
                  <a:pt x="11076" y="5452"/>
                </a:lnTo>
                <a:lnTo>
                  <a:pt x="11074" y="5454"/>
                </a:lnTo>
                <a:lnTo>
                  <a:pt x="11074" y="5456"/>
                </a:lnTo>
                <a:lnTo>
                  <a:pt x="11086" y="5456"/>
                </a:lnTo>
                <a:lnTo>
                  <a:pt x="11088" y="5456"/>
                </a:lnTo>
                <a:lnTo>
                  <a:pt x="11088" y="5454"/>
                </a:lnTo>
                <a:lnTo>
                  <a:pt x="11088" y="5452"/>
                </a:lnTo>
                <a:lnTo>
                  <a:pt x="11090" y="5452"/>
                </a:lnTo>
                <a:close/>
                <a:moveTo>
                  <a:pt x="11138" y="5436"/>
                </a:moveTo>
                <a:lnTo>
                  <a:pt x="11138" y="5436"/>
                </a:lnTo>
                <a:lnTo>
                  <a:pt x="11130" y="5436"/>
                </a:lnTo>
                <a:lnTo>
                  <a:pt x="11126" y="5434"/>
                </a:lnTo>
                <a:lnTo>
                  <a:pt x="11124" y="5434"/>
                </a:lnTo>
                <a:lnTo>
                  <a:pt x="11122" y="5434"/>
                </a:lnTo>
                <a:lnTo>
                  <a:pt x="11120" y="5442"/>
                </a:lnTo>
                <a:lnTo>
                  <a:pt x="11118" y="5448"/>
                </a:lnTo>
                <a:lnTo>
                  <a:pt x="11120" y="5450"/>
                </a:lnTo>
                <a:lnTo>
                  <a:pt x="11122" y="5450"/>
                </a:lnTo>
                <a:lnTo>
                  <a:pt x="11132" y="5448"/>
                </a:lnTo>
                <a:lnTo>
                  <a:pt x="11146" y="5446"/>
                </a:lnTo>
                <a:lnTo>
                  <a:pt x="11148" y="5446"/>
                </a:lnTo>
                <a:lnTo>
                  <a:pt x="11152" y="5444"/>
                </a:lnTo>
                <a:lnTo>
                  <a:pt x="11152" y="5442"/>
                </a:lnTo>
                <a:lnTo>
                  <a:pt x="11152" y="5440"/>
                </a:lnTo>
                <a:lnTo>
                  <a:pt x="11146" y="5438"/>
                </a:lnTo>
                <a:lnTo>
                  <a:pt x="11142" y="5436"/>
                </a:lnTo>
                <a:lnTo>
                  <a:pt x="11138" y="5436"/>
                </a:lnTo>
                <a:close/>
                <a:moveTo>
                  <a:pt x="10372" y="5326"/>
                </a:moveTo>
                <a:lnTo>
                  <a:pt x="10372" y="5326"/>
                </a:lnTo>
                <a:lnTo>
                  <a:pt x="10374" y="5322"/>
                </a:lnTo>
                <a:lnTo>
                  <a:pt x="10374" y="5318"/>
                </a:lnTo>
                <a:lnTo>
                  <a:pt x="10376" y="5306"/>
                </a:lnTo>
                <a:lnTo>
                  <a:pt x="10376" y="5292"/>
                </a:lnTo>
                <a:lnTo>
                  <a:pt x="10376" y="5274"/>
                </a:lnTo>
                <a:lnTo>
                  <a:pt x="10376" y="5262"/>
                </a:lnTo>
                <a:lnTo>
                  <a:pt x="10374" y="5254"/>
                </a:lnTo>
                <a:lnTo>
                  <a:pt x="10374" y="5250"/>
                </a:lnTo>
                <a:lnTo>
                  <a:pt x="10376" y="5238"/>
                </a:lnTo>
                <a:lnTo>
                  <a:pt x="10376" y="5226"/>
                </a:lnTo>
                <a:lnTo>
                  <a:pt x="10376" y="5220"/>
                </a:lnTo>
                <a:lnTo>
                  <a:pt x="10376" y="5214"/>
                </a:lnTo>
                <a:lnTo>
                  <a:pt x="10380" y="5204"/>
                </a:lnTo>
                <a:lnTo>
                  <a:pt x="10382" y="5198"/>
                </a:lnTo>
                <a:lnTo>
                  <a:pt x="10384" y="5192"/>
                </a:lnTo>
                <a:lnTo>
                  <a:pt x="10382" y="5190"/>
                </a:lnTo>
                <a:lnTo>
                  <a:pt x="10380" y="5186"/>
                </a:lnTo>
                <a:lnTo>
                  <a:pt x="10374" y="5180"/>
                </a:lnTo>
                <a:lnTo>
                  <a:pt x="10372" y="5176"/>
                </a:lnTo>
                <a:lnTo>
                  <a:pt x="10368" y="5172"/>
                </a:lnTo>
                <a:lnTo>
                  <a:pt x="10364" y="5160"/>
                </a:lnTo>
                <a:lnTo>
                  <a:pt x="10360" y="5154"/>
                </a:lnTo>
                <a:lnTo>
                  <a:pt x="10356" y="5154"/>
                </a:lnTo>
                <a:lnTo>
                  <a:pt x="10348" y="5156"/>
                </a:lnTo>
                <a:lnTo>
                  <a:pt x="10344" y="5158"/>
                </a:lnTo>
                <a:lnTo>
                  <a:pt x="10342" y="5156"/>
                </a:lnTo>
                <a:lnTo>
                  <a:pt x="10338" y="5154"/>
                </a:lnTo>
                <a:lnTo>
                  <a:pt x="10334" y="5158"/>
                </a:lnTo>
                <a:lnTo>
                  <a:pt x="10330" y="5162"/>
                </a:lnTo>
                <a:lnTo>
                  <a:pt x="10328" y="5162"/>
                </a:lnTo>
                <a:lnTo>
                  <a:pt x="10330" y="5154"/>
                </a:lnTo>
                <a:lnTo>
                  <a:pt x="10334" y="5144"/>
                </a:lnTo>
                <a:lnTo>
                  <a:pt x="10334" y="5142"/>
                </a:lnTo>
                <a:lnTo>
                  <a:pt x="10330" y="5140"/>
                </a:lnTo>
                <a:lnTo>
                  <a:pt x="10326" y="5136"/>
                </a:lnTo>
                <a:lnTo>
                  <a:pt x="10324" y="5130"/>
                </a:lnTo>
                <a:lnTo>
                  <a:pt x="10320" y="5114"/>
                </a:lnTo>
                <a:lnTo>
                  <a:pt x="10316" y="5104"/>
                </a:lnTo>
                <a:lnTo>
                  <a:pt x="10314" y="5096"/>
                </a:lnTo>
                <a:lnTo>
                  <a:pt x="10310" y="5092"/>
                </a:lnTo>
                <a:lnTo>
                  <a:pt x="10308" y="5090"/>
                </a:lnTo>
                <a:lnTo>
                  <a:pt x="10304" y="5090"/>
                </a:lnTo>
                <a:lnTo>
                  <a:pt x="10298" y="5090"/>
                </a:lnTo>
                <a:lnTo>
                  <a:pt x="10292" y="5088"/>
                </a:lnTo>
                <a:lnTo>
                  <a:pt x="10282" y="5084"/>
                </a:lnTo>
                <a:lnTo>
                  <a:pt x="10278" y="5080"/>
                </a:lnTo>
                <a:lnTo>
                  <a:pt x="10276" y="5076"/>
                </a:lnTo>
                <a:lnTo>
                  <a:pt x="10276" y="5072"/>
                </a:lnTo>
                <a:lnTo>
                  <a:pt x="10278" y="5066"/>
                </a:lnTo>
                <a:lnTo>
                  <a:pt x="10280" y="5062"/>
                </a:lnTo>
                <a:lnTo>
                  <a:pt x="10280" y="5058"/>
                </a:lnTo>
                <a:lnTo>
                  <a:pt x="10278" y="5052"/>
                </a:lnTo>
                <a:lnTo>
                  <a:pt x="10278" y="5048"/>
                </a:lnTo>
                <a:lnTo>
                  <a:pt x="10280" y="5046"/>
                </a:lnTo>
                <a:lnTo>
                  <a:pt x="10284" y="5044"/>
                </a:lnTo>
                <a:lnTo>
                  <a:pt x="10288" y="5040"/>
                </a:lnTo>
                <a:lnTo>
                  <a:pt x="10290" y="5036"/>
                </a:lnTo>
                <a:lnTo>
                  <a:pt x="10290" y="5030"/>
                </a:lnTo>
                <a:lnTo>
                  <a:pt x="10288" y="5026"/>
                </a:lnTo>
                <a:lnTo>
                  <a:pt x="10284" y="5020"/>
                </a:lnTo>
                <a:lnTo>
                  <a:pt x="10280" y="5018"/>
                </a:lnTo>
                <a:lnTo>
                  <a:pt x="10274" y="5016"/>
                </a:lnTo>
                <a:lnTo>
                  <a:pt x="10270" y="5018"/>
                </a:lnTo>
                <a:lnTo>
                  <a:pt x="10264" y="5020"/>
                </a:lnTo>
                <a:lnTo>
                  <a:pt x="10262" y="5018"/>
                </a:lnTo>
                <a:lnTo>
                  <a:pt x="10262" y="5014"/>
                </a:lnTo>
                <a:lnTo>
                  <a:pt x="10260" y="5010"/>
                </a:lnTo>
                <a:lnTo>
                  <a:pt x="10258" y="5008"/>
                </a:lnTo>
                <a:lnTo>
                  <a:pt x="10252" y="5004"/>
                </a:lnTo>
                <a:lnTo>
                  <a:pt x="10244" y="5004"/>
                </a:lnTo>
                <a:lnTo>
                  <a:pt x="10236" y="5000"/>
                </a:lnTo>
                <a:lnTo>
                  <a:pt x="10232" y="4996"/>
                </a:lnTo>
                <a:lnTo>
                  <a:pt x="10228" y="4990"/>
                </a:lnTo>
                <a:lnTo>
                  <a:pt x="10226" y="4982"/>
                </a:lnTo>
                <a:lnTo>
                  <a:pt x="10224" y="4974"/>
                </a:lnTo>
                <a:lnTo>
                  <a:pt x="10220" y="4968"/>
                </a:lnTo>
                <a:lnTo>
                  <a:pt x="10212" y="4962"/>
                </a:lnTo>
                <a:lnTo>
                  <a:pt x="10202" y="4958"/>
                </a:lnTo>
                <a:lnTo>
                  <a:pt x="10196" y="4956"/>
                </a:lnTo>
                <a:lnTo>
                  <a:pt x="10194" y="4952"/>
                </a:lnTo>
                <a:lnTo>
                  <a:pt x="10190" y="4948"/>
                </a:lnTo>
                <a:lnTo>
                  <a:pt x="10190" y="4940"/>
                </a:lnTo>
                <a:lnTo>
                  <a:pt x="10188" y="4936"/>
                </a:lnTo>
                <a:lnTo>
                  <a:pt x="10184" y="4932"/>
                </a:lnTo>
                <a:lnTo>
                  <a:pt x="10176" y="4928"/>
                </a:lnTo>
                <a:lnTo>
                  <a:pt x="10172" y="4926"/>
                </a:lnTo>
                <a:lnTo>
                  <a:pt x="10172" y="4928"/>
                </a:lnTo>
                <a:lnTo>
                  <a:pt x="10170" y="4932"/>
                </a:lnTo>
                <a:lnTo>
                  <a:pt x="10172" y="4940"/>
                </a:lnTo>
                <a:lnTo>
                  <a:pt x="10170" y="4940"/>
                </a:lnTo>
                <a:lnTo>
                  <a:pt x="10168" y="4938"/>
                </a:lnTo>
                <a:lnTo>
                  <a:pt x="10162" y="4934"/>
                </a:lnTo>
                <a:lnTo>
                  <a:pt x="10158" y="4932"/>
                </a:lnTo>
                <a:lnTo>
                  <a:pt x="10154" y="4928"/>
                </a:lnTo>
                <a:lnTo>
                  <a:pt x="10150" y="4918"/>
                </a:lnTo>
                <a:lnTo>
                  <a:pt x="10146" y="4908"/>
                </a:lnTo>
                <a:lnTo>
                  <a:pt x="10144" y="4908"/>
                </a:lnTo>
                <a:lnTo>
                  <a:pt x="10140" y="4908"/>
                </a:lnTo>
                <a:lnTo>
                  <a:pt x="10138" y="4902"/>
                </a:lnTo>
                <a:lnTo>
                  <a:pt x="10132" y="4892"/>
                </a:lnTo>
                <a:lnTo>
                  <a:pt x="10122" y="4880"/>
                </a:lnTo>
                <a:lnTo>
                  <a:pt x="10110" y="4868"/>
                </a:lnTo>
                <a:lnTo>
                  <a:pt x="10104" y="4866"/>
                </a:lnTo>
                <a:lnTo>
                  <a:pt x="10098" y="4862"/>
                </a:lnTo>
                <a:lnTo>
                  <a:pt x="10092" y="4860"/>
                </a:lnTo>
                <a:lnTo>
                  <a:pt x="10088" y="4858"/>
                </a:lnTo>
                <a:lnTo>
                  <a:pt x="10084" y="4852"/>
                </a:lnTo>
                <a:lnTo>
                  <a:pt x="10080" y="4844"/>
                </a:lnTo>
                <a:lnTo>
                  <a:pt x="10078" y="4842"/>
                </a:lnTo>
                <a:lnTo>
                  <a:pt x="10074" y="4842"/>
                </a:lnTo>
                <a:lnTo>
                  <a:pt x="10070" y="4840"/>
                </a:lnTo>
                <a:lnTo>
                  <a:pt x="10068" y="4838"/>
                </a:lnTo>
                <a:lnTo>
                  <a:pt x="10068" y="4832"/>
                </a:lnTo>
                <a:lnTo>
                  <a:pt x="10068" y="4826"/>
                </a:lnTo>
                <a:lnTo>
                  <a:pt x="10066" y="4824"/>
                </a:lnTo>
                <a:lnTo>
                  <a:pt x="10062" y="4822"/>
                </a:lnTo>
                <a:lnTo>
                  <a:pt x="10058" y="4820"/>
                </a:lnTo>
                <a:lnTo>
                  <a:pt x="10056" y="4818"/>
                </a:lnTo>
                <a:lnTo>
                  <a:pt x="10056" y="4812"/>
                </a:lnTo>
                <a:lnTo>
                  <a:pt x="10054" y="4804"/>
                </a:lnTo>
                <a:lnTo>
                  <a:pt x="10050" y="4798"/>
                </a:lnTo>
                <a:lnTo>
                  <a:pt x="10046" y="4790"/>
                </a:lnTo>
                <a:lnTo>
                  <a:pt x="10038" y="4782"/>
                </a:lnTo>
                <a:lnTo>
                  <a:pt x="10036" y="4782"/>
                </a:lnTo>
                <a:lnTo>
                  <a:pt x="10034" y="4782"/>
                </a:lnTo>
                <a:lnTo>
                  <a:pt x="10030" y="4786"/>
                </a:lnTo>
                <a:lnTo>
                  <a:pt x="10028" y="4786"/>
                </a:lnTo>
                <a:lnTo>
                  <a:pt x="10024" y="4784"/>
                </a:lnTo>
                <a:lnTo>
                  <a:pt x="10020" y="4780"/>
                </a:lnTo>
                <a:lnTo>
                  <a:pt x="10016" y="4780"/>
                </a:lnTo>
                <a:lnTo>
                  <a:pt x="10010" y="4782"/>
                </a:lnTo>
                <a:lnTo>
                  <a:pt x="10002" y="4784"/>
                </a:lnTo>
                <a:lnTo>
                  <a:pt x="9996" y="4784"/>
                </a:lnTo>
                <a:lnTo>
                  <a:pt x="9988" y="4784"/>
                </a:lnTo>
                <a:lnTo>
                  <a:pt x="9976" y="4780"/>
                </a:lnTo>
                <a:lnTo>
                  <a:pt x="9974" y="4778"/>
                </a:lnTo>
                <a:lnTo>
                  <a:pt x="9972" y="4776"/>
                </a:lnTo>
                <a:lnTo>
                  <a:pt x="9970" y="4770"/>
                </a:lnTo>
                <a:lnTo>
                  <a:pt x="9966" y="4768"/>
                </a:lnTo>
                <a:lnTo>
                  <a:pt x="9960" y="4764"/>
                </a:lnTo>
                <a:lnTo>
                  <a:pt x="9952" y="4764"/>
                </a:lnTo>
                <a:lnTo>
                  <a:pt x="9946" y="4764"/>
                </a:lnTo>
                <a:lnTo>
                  <a:pt x="9944" y="4770"/>
                </a:lnTo>
                <a:lnTo>
                  <a:pt x="9944" y="4776"/>
                </a:lnTo>
                <a:lnTo>
                  <a:pt x="9946" y="4784"/>
                </a:lnTo>
                <a:lnTo>
                  <a:pt x="9950" y="4792"/>
                </a:lnTo>
                <a:lnTo>
                  <a:pt x="9958" y="4812"/>
                </a:lnTo>
                <a:lnTo>
                  <a:pt x="9968" y="4826"/>
                </a:lnTo>
                <a:lnTo>
                  <a:pt x="9976" y="4834"/>
                </a:lnTo>
                <a:lnTo>
                  <a:pt x="9982" y="4840"/>
                </a:lnTo>
                <a:lnTo>
                  <a:pt x="9990" y="4850"/>
                </a:lnTo>
                <a:lnTo>
                  <a:pt x="9994" y="4854"/>
                </a:lnTo>
                <a:lnTo>
                  <a:pt x="9996" y="4856"/>
                </a:lnTo>
                <a:lnTo>
                  <a:pt x="10002" y="4856"/>
                </a:lnTo>
                <a:lnTo>
                  <a:pt x="10004" y="4858"/>
                </a:lnTo>
                <a:lnTo>
                  <a:pt x="10008" y="4860"/>
                </a:lnTo>
                <a:lnTo>
                  <a:pt x="10012" y="4864"/>
                </a:lnTo>
                <a:lnTo>
                  <a:pt x="10018" y="4872"/>
                </a:lnTo>
                <a:lnTo>
                  <a:pt x="10026" y="4884"/>
                </a:lnTo>
                <a:lnTo>
                  <a:pt x="10026" y="4890"/>
                </a:lnTo>
                <a:lnTo>
                  <a:pt x="10028" y="4892"/>
                </a:lnTo>
                <a:lnTo>
                  <a:pt x="10034" y="4896"/>
                </a:lnTo>
                <a:lnTo>
                  <a:pt x="10040" y="4902"/>
                </a:lnTo>
                <a:lnTo>
                  <a:pt x="10042" y="4906"/>
                </a:lnTo>
                <a:lnTo>
                  <a:pt x="10042" y="4914"/>
                </a:lnTo>
                <a:lnTo>
                  <a:pt x="10044" y="4920"/>
                </a:lnTo>
                <a:lnTo>
                  <a:pt x="10046" y="4924"/>
                </a:lnTo>
                <a:lnTo>
                  <a:pt x="10050" y="4930"/>
                </a:lnTo>
                <a:lnTo>
                  <a:pt x="10060" y="4934"/>
                </a:lnTo>
                <a:lnTo>
                  <a:pt x="10070" y="4940"/>
                </a:lnTo>
                <a:lnTo>
                  <a:pt x="10080" y="4948"/>
                </a:lnTo>
                <a:lnTo>
                  <a:pt x="10086" y="4954"/>
                </a:lnTo>
                <a:lnTo>
                  <a:pt x="10088" y="4958"/>
                </a:lnTo>
                <a:lnTo>
                  <a:pt x="10088" y="4962"/>
                </a:lnTo>
                <a:lnTo>
                  <a:pt x="10086" y="4966"/>
                </a:lnTo>
                <a:lnTo>
                  <a:pt x="10088" y="4970"/>
                </a:lnTo>
                <a:lnTo>
                  <a:pt x="10096" y="4994"/>
                </a:lnTo>
                <a:lnTo>
                  <a:pt x="10102" y="5020"/>
                </a:lnTo>
                <a:lnTo>
                  <a:pt x="10106" y="5026"/>
                </a:lnTo>
                <a:lnTo>
                  <a:pt x="10116" y="5032"/>
                </a:lnTo>
                <a:lnTo>
                  <a:pt x="10122" y="5038"/>
                </a:lnTo>
                <a:lnTo>
                  <a:pt x="10124" y="5044"/>
                </a:lnTo>
                <a:lnTo>
                  <a:pt x="10130" y="5054"/>
                </a:lnTo>
                <a:lnTo>
                  <a:pt x="10144" y="5070"/>
                </a:lnTo>
                <a:lnTo>
                  <a:pt x="10148" y="5076"/>
                </a:lnTo>
                <a:lnTo>
                  <a:pt x="10152" y="5080"/>
                </a:lnTo>
                <a:lnTo>
                  <a:pt x="10152" y="5086"/>
                </a:lnTo>
                <a:lnTo>
                  <a:pt x="10152" y="5090"/>
                </a:lnTo>
                <a:lnTo>
                  <a:pt x="10150" y="5096"/>
                </a:lnTo>
                <a:lnTo>
                  <a:pt x="10152" y="5100"/>
                </a:lnTo>
                <a:lnTo>
                  <a:pt x="10154" y="5104"/>
                </a:lnTo>
                <a:lnTo>
                  <a:pt x="10162" y="5112"/>
                </a:lnTo>
                <a:lnTo>
                  <a:pt x="10166" y="5122"/>
                </a:lnTo>
                <a:lnTo>
                  <a:pt x="10170" y="5132"/>
                </a:lnTo>
                <a:lnTo>
                  <a:pt x="10174" y="5146"/>
                </a:lnTo>
                <a:lnTo>
                  <a:pt x="10178" y="5160"/>
                </a:lnTo>
                <a:lnTo>
                  <a:pt x="10188" y="5176"/>
                </a:lnTo>
                <a:lnTo>
                  <a:pt x="10200" y="5192"/>
                </a:lnTo>
                <a:lnTo>
                  <a:pt x="10214" y="5206"/>
                </a:lnTo>
                <a:lnTo>
                  <a:pt x="10224" y="5218"/>
                </a:lnTo>
                <a:lnTo>
                  <a:pt x="10230" y="5226"/>
                </a:lnTo>
                <a:lnTo>
                  <a:pt x="10238" y="5238"/>
                </a:lnTo>
                <a:lnTo>
                  <a:pt x="10252" y="5254"/>
                </a:lnTo>
                <a:lnTo>
                  <a:pt x="10270" y="5272"/>
                </a:lnTo>
                <a:lnTo>
                  <a:pt x="10282" y="5284"/>
                </a:lnTo>
                <a:lnTo>
                  <a:pt x="10294" y="5294"/>
                </a:lnTo>
                <a:lnTo>
                  <a:pt x="10304" y="5306"/>
                </a:lnTo>
                <a:lnTo>
                  <a:pt x="10314" y="5322"/>
                </a:lnTo>
                <a:lnTo>
                  <a:pt x="10322" y="5332"/>
                </a:lnTo>
                <a:lnTo>
                  <a:pt x="10326" y="5334"/>
                </a:lnTo>
                <a:lnTo>
                  <a:pt x="10326" y="5332"/>
                </a:lnTo>
                <a:lnTo>
                  <a:pt x="10324" y="5320"/>
                </a:lnTo>
                <a:lnTo>
                  <a:pt x="10322" y="5312"/>
                </a:lnTo>
                <a:lnTo>
                  <a:pt x="10322" y="5310"/>
                </a:lnTo>
                <a:lnTo>
                  <a:pt x="10326" y="5310"/>
                </a:lnTo>
                <a:lnTo>
                  <a:pt x="10332" y="5314"/>
                </a:lnTo>
                <a:lnTo>
                  <a:pt x="10338" y="5316"/>
                </a:lnTo>
                <a:lnTo>
                  <a:pt x="10342" y="5318"/>
                </a:lnTo>
                <a:lnTo>
                  <a:pt x="10348" y="5318"/>
                </a:lnTo>
                <a:lnTo>
                  <a:pt x="10348" y="5312"/>
                </a:lnTo>
                <a:lnTo>
                  <a:pt x="10350" y="5308"/>
                </a:lnTo>
                <a:lnTo>
                  <a:pt x="10352" y="5308"/>
                </a:lnTo>
                <a:lnTo>
                  <a:pt x="10358" y="5314"/>
                </a:lnTo>
                <a:lnTo>
                  <a:pt x="10366" y="5324"/>
                </a:lnTo>
                <a:lnTo>
                  <a:pt x="10368" y="5328"/>
                </a:lnTo>
                <a:lnTo>
                  <a:pt x="10372" y="5326"/>
                </a:lnTo>
                <a:close/>
                <a:moveTo>
                  <a:pt x="10716" y="5464"/>
                </a:moveTo>
                <a:lnTo>
                  <a:pt x="10716" y="5464"/>
                </a:lnTo>
                <a:lnTo>
                  <a:pt x="10722" y="5468"/>
                </a:lnTo>
                <a:lnTo>
                  <a:pt x="10724" y="5466"/>
                </a:lnTo>
                <a:lnTo>
                  <a:pt x="10726" y="5466"/>
                </a:lnTo>
                <a:lnTo>
                  <a:pt x="10724" y="5462"/>
                </a:lnTo>
                <a:lnTo>
                  <a:pt x="10722" y="5458"/>
                </a:lnTo>
                <a:lnTo>
                  <a:pt x="10718" y="5454"/>
                </a:lnTo>
                <a:lnTo>
                  <a:pt x="10716" y="5448"/>
                </a:lnTo>
                <a:lnTo>
                  <a:pt x="10720" y="5432"/>
                </a:lnTo>
                <a:lnTo>
                  <a:pt x="10720" y="5426"/>
                </a:lnTo>
                <a:lnTo>
                  <a:pt x="10720" y="5418"/>
                </a:lnTo>
                <a:lnTo>
                  <a:pt x="10716" y="5414"/>
                </a:lnTo>
                <a:lnTo>
                  <a:pt x="10708" y="5410"/>
                </a:lnTo>
                <a:lnTo>
                  <a:pt x="10696" y="5412"/>
                </a:lnTo>
                <a:lnTo>
                  <a:pt x="10686" y="5414"/>
                </a:lnTo>
                <a:lnTo>
                  <a:pt x="10676" y="5416"/>
                </a:lnTo>
                <a:lnTo>
                  <a:pt x="10668" y="5414"/>
                </a:lnTo>
                <a:lnTo>
                  <a:pt x="10660" y="5412"/>
                </a:lnTo>
                <a:lnTo>
                  <a:pt x="10650" y="5406"/>
                </a:lnTo>
                <a:lnTo>
                  <a:pt x="10650" y="5404"/>
                </a:lnTo>
                <a:lnTo>
                  <a:pt x="10650" y="5402"/>
                </a:lnTo>
                <a:lnTo>
                  <a:pt x="10652" y="5396"/>
                </a:lnTo>
                <a:lnTo>
                  <a:pt x="10650" y="5390"/>
                </a:lnTo>
                <a:lnTo>
                  <a:pt x="10648" y="5382"/>
                </a:lnTo>
                <a:lnTo>
                  <a:pt x="10644" y="5376"/>
                </a:lnTo>
                <a:lnTo>
                  <a:pt x="10640" y="5374"/>
                </a:lnTo>
                <a:lnTo>
                  <a:pt x="10636" y="5374"/>
                </a:lnTo>
                <a:lnTo>
                  <a:pt x="10634" y="5374"/>
                </a:lnTo>
                <a:lnTo>
                  <a:pt x="10630" y="5378"/>
                </a:lnTo>
                <a:lnTo>
                  <a:pt x="10626" y="5376"/>
                </a:lnTo>
                <a:lnTo>
                  <a:pt x="10624" y="5374"/>
                </a:lnTo>
                <a:lnTo>
                  <a:pt x="10618" y="5368"/>
                </a:lnTo>
                <a:lnTo>
                  <a:pt x="10616" y="5368"/>
                </a:lnTo>
                <a:lnTo>
                  <a:pt x="10614" y="5370"/>
                </a:lnTo>
                <a:lnTo>
                  <a:pt x="10608" y="5366"/>
                </a:lnTo>
                <a:lnTo>
                  <a:pt x="10606" y="5362"/>
                </a:lnTo>
                <a:lnTo>
                  <a:pt x="10602" y="5362"/>
                </a:lnTo>
                <a:lnTo>
                  <a:pt x="10596" y="5364"/>
                </a:lnTo>
                <a:lnTo>
                  <a:pt x="10592" y="5366"/>
                </a:lnTo>
                <a:lnTo>
                  <a:pt x="10590" y="5366"/>
                </a:lnTo>
                <a:lnTo>
                  <a:pt x="10588" y="5362"/>
                </a:lnTo>
                <a:lnTo>
                  <a:pt x="10582" y="5352"/>
                </a:lnTo>
                <a:lnTo>
                  <a:pt x="10580" y="5350"/>
                </a:lnTo>
                <a:lnTo>
                  <a:pt x="10578" y="5348"/>
                </a:lnTo>
                <a:lnTo>
                  <a:pt x="10574" y="5348"/>
                </a:lnTo>
                <a:lnTo>
                  <a:pt x="10572" y="5352"/>
                </a:lnTo>
                <a:lnTo>
                  <a:pt x="10568" y="5356"/>
                </a:lnTo>
                <a:lnTo>
                  <a:pt x="10564" y="5364"/>
                </a:lnTo>
                <a:lnTo>
                  <a:pt x="10560" y="5378"/>
                </a:lnTo>
                <a:lnTo>
                  <a:pt x="10556" y="5380"/>
                </a:lnTo>
                <a:lnTo>
                  <a:pt x="10554" y="5380"/>
                </a:lnTo>
                <a:lnTo>
                  <a:pt x="10548" y="5376"/>
                </a:lnTo>
                <a:lnTo>
                  <a:pt x="10542" y="5374"/>
                </a:lnTo>
                <a:lnTo>
                  <a:pt x="10536" y="5372"/>
                </a:lnTo>
                <a:lnTo>
                  <a:pt x="10524" y="5372"/>
                </a:lnTo>
                <a:lnTo>
                  <a:pt x="10518" y="5374"/>
                </a:lnTo>
                <a:lnTo>
                  <a:pt x="10514" y="5374"/>
                </a:lnTo>
                <a:lnTo>
                  <a:pt x="10508" y="5374"/>
                </a:lnTo>
                <a:lnTo>
                  <a:pt x="10500" y="5372"/>
                </a:lnTo>
                <a:lnTo>
                  <a:pt x="10492" y="5372"/>
                </a:lnTo>
                <a:lnTo>
                  <a:pt x="10488" y="5370"/>
                </a:lnTo>
                <a:lnTo>
                  <a:pt x="10484" y="5366"/>
                </a:lnTo>
                <a:lnTo>
                  <a:pt x="10482" y="5362"/>
                </a:lnTo>
                <a:lnTo>
                  <a:pt x="10478" y="5352"/>
                </a:lnTo>
                <a:lnTo>
                  <a:pt x="10476" y="5346"/>
                </a:lnTo>
                <a:lnTo>
                  <a:pt x="10474" y="5344"/>
                </a:lnTo>
                <a:lnTo>
                  <a:pt x="10472" y="5342"/>
                </a:lnTo>
                <a:lnTo>
                  <a:pt x="10470" y="5342"/>
                </a:lnTo>
                <a:lnTo>
                  <a:pt x="10464" y="5344"/>
                </a:lnTo>
                <a:lnTo>
                  <a:pt x="10462" y="5344"/>
                </a:lnTo>
                <a:lnTo>
                  <a:pt x="10458" y="5342"/>
                </a:lnTo>
                <a:lnTo>
                  <a:pt x="10454" y="5340"/>
                </a:lnTo>
                <a:lnTo>
                  <a:pt x="10452" y="5338"/>
                </a:lnTo>
                <a:lnTo>
                  <a:pt x="10446" y="5340"/>
                </a:lnTo>
                <a:lnTo>
                  <a:pt x="10442" y="5340"/>
                </a:lnTo>
                <a:lnTo>
                  <a:pt x="10440" y="5340"/>
                </a:lnTo>
                <a:lnTo>
                  <a:pt x="10438" y="5336"/>
                </a:lnTo>
                <a:lnTo>
                  <a:pt x="10432" y="5330"/>
                </a:lnTo>
                <a:lnTo>
                  <a:pt x="10426" y="5326"/>
                </a:lnTo>
                <a:lnTo>
                  <a:pt x="10420" y="5326"/>
                </a:lnTo>
                <a:lnTo>
                  <a:pt x="10418" y="5328"/>
                </a:lnTo>
                <a:lnTo>
                  <a:pt x="10418" y="5332"/>
                </a:lnTo>
                <a:lnTo>
                  <a:pt x="10416" y="5334"/>
                </a:lnTo>
                <a:lnTo>
                  <a:pt x="10414" y="5336"/>
                </a:lnTo>
                <a:lnTo>
                  <a:pt x="10410" y="5334"/>
                </a:lnTo>
                <a:lnTo>
                  <a:pt x="10400" y="5332"/>
                </a:lnTo>
                <a:lnTo>
                  <a:pt x="10386" y="5328"/>
                </a:lnTo>
                <a:lnTo>
                  <a:pt x="10380" y="5328"/>
                </a:lnTo>
                <a:lnTo>
                  <a:pt x="10376" y="5330"/>
                </a:lnTo>
                <a:lnTo>
                  <a:pt x="10374" y="5334"/>
                </a:lnTo>
                <a:lnTo>
                  <a:pt x="10372" y="5340"/>
                </a:lnTo>
                <a:lnTo>
                  <a:pt x="10370" y="5348"/>
                </a:lnTo>
                <a:lnTo>
                  <a:pt x="10368" y="5352"/>
                </a:lnTo>
                <a:lnTo>
                  <a:pt x="10366" y="5354"/>
                </a:lnTo>
                <a:lnTo>
                  <a:pt x="10362" y="5356"/>
                </a:lnTo>
                <a:lnTo>
                  <a:pt x="10362" y="5360"/>
                </a:lnTo>
                <a:lnTo>
                  <a:pt x="10360" y="5362"/>
                </a:lnTo>
                <a:lnTo>
                  <a:pt x="10354" y="5364"/>
                </a:lnTo>
                <a:lnTo>
                  <a:pt x="10350" y="5366"/>
                </a:lnTo>
                <a:lnTo>
                  <a:pt x="10348" y="5368"/>
                </a:lnTo>
                <a:lnTo>
                  <a:pt x="10348" y="5370"/>
                </a:lnTo>
                <a:lnTo>
                  <a:pt x="10354" y="5374"/>
                </a:lnTo>
                <a:lnTo>
                  <a:pt x="10362" y="5374"/>
                </a:lnTo>
                <a:lnTo>
                  <a:pt x="10370" y="5372"/>
                </a:lnTo>
                <a:lnTo>
                  <a:pt x="10378" y="5372"/>
                </a:lnTo>
                <a:lnTo>
                  <a:pt x="10382" y="5374"/>
                </a:lnTo>
                <a:lnTo>
                  <a:pt x="10386" y="5376"/>
                </a:lnTo>
                <a:lnTo>
                  <a:pt x="10388" y="5380"/>
                </a:lnTo>
                <a:lnTo>
                  <a:pt x="10392" y="5380"/>
                </a:lnTo>
                <a:lnTo>
                  <a:pt x="10398" y="5378"/>
                </a:lnTo>
                <a:lnTo>
                  <a:pt x="10400" y="5378"/>
                </a:lnTo>
                <a:lnTo>
                  <a:pt x="10400" y="5380"/>
                </a:lnTo>
                <a:lnTo>
                  <a:pt x="10398" y="5388"/>
                </a:lnTo>
                <a:lnTo>
                  <a:pt x="10396" y="5394"/>
                </a:lnTo>
                <a:lnTo>
                  <a:pt x="10396" y="5396"/>
                </a:lnTo>
                <a:lnTo>
                  <a:pt x="10398" y="5398"/>
                </a:lnTo>
                <a:lnTo>
                  <a:pt x="10404" y="5400"/>
                </a:lnTo>
                <a:lnTo>
                  <a:pt x="10424" y="5404"/>
                </a:lnTo>
                <a:lnTo>
                  <a:pt x="10440" y="5408"/>
                </a:lnTo>
                <a:lnTo>
                  <a:pt x="10458" y="5416"/>
                </a:lnTo>
                <a:lnTo>
                  <a:pt x="10464" y="5420"/>
                </a:lnTo>
                <a:lnTo>
                  <a:pt x="10472" y="5420"/>
                </a:lnTo>
                <a:lnTo>
                  <a:pt x="10478" y="5418"/>
                </a:lnTo>
                <a:lnTo>
                  <a:pt x="10482" y="5416"/>
                </a:lnTo>
                <a:lnTo>
                  <a:pt x="10490" y="5412"/>
                </a:lnTo>
                <a:lnTo>
                  <a:pt x="10494" y="5412"/>
                </a:lnTo>
                <a:lnTo>
                  <a:pt x="10496" y="5414"/>
                </a:lnTo>
                <a:lnTo>
                  <a:pt x="10502" y="5416"/>
                </a:lnTo>
                <a:lnTo>
                  <a:pt x="10508" y="5416"/>
                </a:lnTo>
                <a:lnTo>
                  <a:pt x="10516" y="5416"/>
                </a:lnTo>
                <a:lnTo>
                  <a:pt x="10530" y="5418"/>
                </a:lnTo>
                <a:lnTo>
                  <a:pt x="10536" y="5420"/>
                </a:lnTo>
                <a:lnTo>
                  <a:pt x="10542" y="5422"/>
                </a:lnTo>
                <a:lnTo>
                  <a:pt x="10550" y="5430"/>
                </a:lnTo>
                <a:lnTo>
                  <a:pt x="10556" y="5434"/>
                </a:lnTo>
                <a:lnTo>
                  <a:pt x="10566" y="5438"/>
                </a:lnTo>
                <a:lnTo>
                  <a:pt x="10578" y="5440"/>
                </a:lnTo>
                <a:lnTo>
                  <a:pt x="10594" y="5444"/>
                </a:lnTo>
                <a:lnTo>
                  <a:pt x="10610" y="5446"/>
                </a:lnTo>
                <a:lnTo>
                  <a:pt x="10614" y="5444"/>
                </a:lnTo>
                <a:lnTo>
                  <a:pt x="10616" y="5444"/>
                </a:lnTo>
                <a:lnTo>
                  <a:pt x="10620" y="5444"/>
                </a:lnTo>
                <a:lnTo>
                  <a:pt x="10640" y="5446"/>
                </a:lnTo>
                <a:lnTo>
                  <a:pt x="10652" y="5448"/>
                </a:lnTo>
                <a:lnTo>
                  <a:pt x="10658" y="5448"/>
                </a:lnTo>
                <a:lnTo>
                  <a:pt x="10662" y="5446"/>
                </a:lnTo>
                <a:lnTo>
                  <a:pt x="10662" y="5444"/>
                </a:lnTo>
                <a:lnTo>
                  <a:pt x="10662" y="5442"/>
                </a:lnTo>
                <a:lnTo>
                  <a:pt x="10664" y="5442"/>
                </a:lnTo>
                <a:lnTo>
                  <a:pt x="10682" y="5450"/>
                </a:lnTo>
                <a:lnTo>
                  <a:pt x="10694" y="5456"/>
                </a:lnTo>
                <a:lnTo>
                  <a:pt x="10702" y="5458"/>
                </a:lnTo>
                <a:lnTo>
                  <a:pt x="10708" y="5460"/>
                </a:lnTo>
                <a:lnTo>
                  <a:pt x="10716" y="5464"/>
                </a:lnTo>
                <a:close/>
                <a:moveTo>
                  <a:pt x="10750" y="5470"/>
                </a:moveTo>
                <a:lnTo>
                  <a:pt x="10750" y="5470"/>
                </a:lnTo>
                <a:lnTo>
                  <a:pt x="10754" y="5468"/>
                </a:lnTo>
                <a:lnTo>
                  <a:pt x="10756" y="5464"/>
                </a:lnTo>
                <a:lnTo>
                  <a:pt x="10760" y="5460"/>
                </a:lnTo>
                <a:lnTo>
                  <a:pt x="10766" y="5454"/>
                </a:lnTo>
                <a:lnTo>
                  <a:pt x="10770" y="5448"/>
                </a:lnTo>
                <a:lnTo>
                  <a:pt x="10770" y="5446"/>
                </a:lnTo>
                <a:lnTo>
                  <a:pt x="10770" y="5444"/>
                </a:lnTo>
                <a:lnTo>
                  <a:pt x="10764" y="5440"/>
                </a:lnTo>
                <a:lnTo>
                  <a:pt x="10758" y="5434"/>
                </a:lnTo>
                <a:lnTo>
                  <a:pt x="10754" y="5432"/>
                </a:lnTo>
                <a:lnTo>
                  <a:pt x="10752" y="5432"/>
                </a:lnTo>
                <a:lnTo>
                  <a:pt x="10748" y="5434"/>
                </a:lnTo>
                <a:lnTo>
                  <a:pt x="10742" y="5436"/>
                </a:lnTo>
                <a:lnTo>
                  <a:pt x="10738" y="5436"/>
                </a:lnTo>
                <a:lnTo>
                  <a:pt x="10734" y="5436"/>
                </a:lnTo>
                <a:lnTo>
                  <a:pt x="10726" y="5432"/>
                </a:lnTo>
                <a:lnTo>
                  <a:pt x="10724" y="5434"/>
                </a:lnTo>
                <a:lnTo>
                  <a:pt x="10722" y="5434"/>
                </a:lnTo>
                <a:lnTo>
                  <a:pt x="10724" y="5440"/>
                </a:lnTo>
                <a:lnTo>
                  <a:pt x="10726" y="5446"/>
                </a:lnTo>
                <a:lnTo>
                  <a:pt x="10728" y="5448"/>
                </a:lnTo>
                <a:lnTo>
                  <a:pt x="10732" y="5448"/>
                </a:lnTo>
                <a:lnTo>
                  <a:pt x="10738" y="5450"/>
                </a:lnTo>
                <a:lnTo>
                  <a:pt x="10744" y="5456"/>
                </a:lnTo>
                <a:lnTo>
                  <a:pt x="10748" y="5462"/>
                </a:lnTo>
                <a:lnTo>
                  <a:pt x="10748" y="5466"/>
                </a:lnTo>
                <a:lnTo>
                  <a:pt x="10748" y="5468"/>
                </a:lnTo>
                <a:lnTo>
                  <a:pt x="10750" y="5470"/>
                </a:lnTo>
                <a:close/>
                <a:moveTo>
                  <a:pt x="10784" y="5464"/>
                </a:moveTo>
                <a:lnTo>
                  <a:pt x="10784" y="5464"/>
                </a:lnTo>
                <a:lnTo>
                  <a:pt x="10778" y="5466"/>
                </a:lnTo>
                <a:lnTo>
                  <a:pt x="10778" y="5468"/>
                </a:lnTo>
                <a:lnTo>
                  <a:pt x="10782" y="5472"/>
                </a:lnTo>
                <a:lnTo>
                  <a:pt x="10792" y="5474"/>
                </a:lnTo>
                <a:lnTo>
                  <a:pt x="10802" y="5474"/>
                </a:lnTo>
                <a:lnTo>
                  <a:pt x="10804" y="5472"/>
                </a:lnTo>
                <a:lnTo>
                  <a:pt x="10806" y="5470"/>
                </a:lnTo>
                <a:lnTo>
                  <a:pt x="10806" y="5466"/>
                </a:lnTo>
                <a:lnTo>
                  <a:pt x="10810" y="5456"/>
                </a:lnTo>
                <a:lnTo>
                  <a:pt x="10812" y="5448"/>
                </a:lnTo>
                <a:lnTo>
                  <a:pt x="10814" y="5444"/>
                </a:lnTo>
                <a:lnTo>
                  <a:pt x="10810" y="5442"/>
                </a:lnTo>
                <a:lnTo>
                  <a:pt x="10804" y="5440"/>
                </a:lnTo>
                <a:lnTo>
                  <a:pt x="10800" y="5440"/>
                </a:lnTo>
                <a:lnTo>
                  <a:pt x="10796" y="5440"/>
                </a:lnTo>
                <a:lnTo>
                  <a:pt x="10790" y="5442"/>
                </a:lnTo>
                <a:lnTo>
                  <a:pt x="10786" y="5448"/>
                </a:lnTo>
                <a:lnTo>
                  <a:pt x="10784" y="5452"/>
                </a:lnTo>
                <a:lnTo>
                  <a:pt x="10786" y="5460"/>
                </a:lnTo>
                <a:lnTo>
                  <a:pt x="10784" y="5464"/>
                </a:lnTo>
                <a:close/>
                <a:moveTo>
                  <a:pt x="10826" y="5482"/>
                </a:moveTo>
                <a:lnTo>
                  <a:pt x="10826" y="5482"/>
                </a:lnTo>
                <a:lnTo>
                  <a:pt x="10836" y="5480"/>
                </a:lnTo>
                <a:lnTo>
                  <a:pt x="10848" y="5476"/>
                </a:lnTo>
                <a:lnTo>
                  <a:pt x="10860" y="5472"/>
                </a:lnTo>
                <a:lnTo>
                  <a:pt x="10866" y="5472"/>
                </a:lnTo>
                <a:lnTo>
                  <a:pt x="10872" y="5470"/>
                </a:lnTo>
                <a:lnTo>
                  <a:pt x="10874" y="5468"/>
                </a:lnTo>
                <a:lnTo>
                  <a:pt x="10878" y="5466"/>
                </a:lnTo>
                <a:lnTo>
                  <a:pt x="10878" y="5468"/>
                </a:lnTo>
                <a:lnTo>
                  <a:pt x="10880" y="5470"/>
                </a:lnTo>
                <a:lnTo>
                  <a:pt x="10884" y="5470"/>
                </a:lnTo>
                <a:lnTo>
                  <a:pt x="10888" y="5468"/>
                </a:lnTo>
                <a:lnTo>
                  <a:pt x="10892" y="5470"/>
                </a:lnTo>
                <a:lnTo>
                  <a:pt x="10902" y="5472"/>
                </a:lnTo>
                <a:lnTo>
                  <a:pt x="10904" y="5470"/>
                </a:lnTo>
                <a:lnTo>
                  <a:pt x="10902" y="5468"/>
                </a:lnTo>
                <a:lnTo>
                  <a:pt x="10896" y="5466"/>
                </a:lnTo>
                <a:lnTo>
                  <a:pt x="10894" y="5464"/>
                </a:lnTo>
                <a:lnTo>
                  <a:pt x="10896" y="5462"/>
                </a:lnTo>
                <a:lnTo>
                  <a:pt x="10900" y="5462"/>
                </a:lnTo>
                <a:lnTo>
                  <a:pt x="10908" y="5466"/>
                </a:lnTo>
                <a:lnTo>
                  <a:pt x="10910" y="5464"/>
                </a:lnTo>
                <a:lnTo>
                  <a:pt x="10912" y="5462"/>
                </a:lnTo>
                <a:lnTo>
                  <a:pt x="10910" y="5458"/>
                </a:lnTo>
                <a:lnTo>
                  <a:pt x="10908" y="5450"/>
                </a:lnTo>
                <a:lnTo>
                  <a:pt x="10902" y="5444"/>
                </a:lnTo>
                <a:lnTo>
                  <a:pt x="10900" y="5442"/>
                </a:lnTo>
                <a:lnTo>
                  <a:pt x="10896" y="5444"/>
                </a:lnTo>
                <a:lnTo>
                  <a:pt x="10894" y="5444"/>
                </a:lnTo>
                <a:lnTo>
                  <a:pt x="10892" y="5444"/>
                </a:lnTo>
                <a:lnTo>
                  <a:pt x="10888" y="5442"/>
                </a:lnTo>
                <a:lnTo>
                  <a:pt x="10886" y="5440"/>
                </a:lnTo>
                <a:lnTo>
                  <a:pt x="10884" y="5440"/>
                </a:lnTo>
                <a:lnTo>
                  <a:pt x="10880" y="5442"/>
                </a:lnTo>
                <a:lnTo>
                  <a:pt x="10878" y="5444"/>
                </a:lnTo>
                <a:lnTo>
                  <a:pt x="10874" y="5444"/>
                </a:lnTo>
                <a:lnTo>
                  <a:pt x="10870" y="5440"/>
                </a:lnTo>
                <a:lnTo>
                  <a:pt x="10866" y="5434"/>
                </a:lnTo>
                <a:lnTo>
                  <a:pt x="10862" y="5434"/>
                </a:lnTo>
                <a:lnTo>
                  <a:pt x="10858" y="5434"/>
                </a:lnTo>
                <a:lnTo>
                  <a:pt x="10854" y="5434"/>
                </a:lnTo>
                <a:lnTo>
                  <a:pt x="10852" y="5436"/>
                </a:lnTo>
                <a:lnTo>
                  <a:pt x="10852" y="5440"/>
                </a:lnTo>
                <a:lnTo>
                  <a:pt x="10854" y="5444"/>
                </a:lnTo>
                <a:lnTo>
                  <a:pt x="10858" y="5450"/>
                </a:lnTo>
                <a:lnTo>
                  <a:pt x="10862" y="5450"/>
                </a:lnTo>
                <a:lnTo>
                  <a:pt x="10866" y="5452"/>
                </a:lnTo>
                <a:lnTo>
                  <a:pt x="10872" y="5454"/>
                </a:lnTo>
                <a:lnTo>
                  <a:pt x="10874" y="5458"/>
                </a:lnTo>
                <a:lnTo>
                  <a:pt x="10874" y="5460"/>
                </a:lnTo>
                <a:lnTo>
                  <a:pt x="10870" y="5460"/>
                </a:lnTo>
                <a:lnTo>
                  <a:pt x="10864" y="5460"/>
                </a:lnTo>
                <a:lnTo>
                  <a:pt x="10862" y="5462"/>
                </a:lnTo>
                <a:lnTo>
                  <a:pt x="10858" y="5464"/>
                </a:lnTo>
                <a:lnTo>
                  <a:pt x="10854" y="5460"/>
                </a:lnTo>
                <a:lnTo>
                  <a:pt x="10848" y="5452"/>
                </a:lnTo>
                <a:lnTo>
                  <a:pt x="10846" y="5450"/>
                </a:lnTo>
                <a:lnTo>
                  <a:pt x="10842" y="5450"/>
                </a:lnTo>
                <a:lnTo>
                  <a:pt x="10838" y="5450"/>
                </a:lnTo>
                <a:lnTo>
                  <a:pt x="10832" y="5448"/>
                </a:lnTo>
                <a:lnTo>
                  <a:pt x="10828" y="5446"/>
                </a:lnTo>
                <a:lnTo>
                  <a:pt x="10826" y="5446"/>
                </a:lnTo>
                <a:lnTo>
                  <a:pt x="10824" y="5448"/>
                </a:lnTo>
                <a:lnTo>
                  <a:pt x="10820" y="5452"/>
                </a:lnTo>
                <a:lnTo>
                  <a:pt x="10818" y="5456"/>
                </a:lnTo>
                <a:lnTo>
                  <a:pt x="10814" y="5458"/>
                </a:lnTo>
                <a:lnTo>
                  <a:pt x="10814" y="5464"/>
                </a:lnTo>
                <a:lnTo>
                  <a:pt x="10814" y="5470"/>
                </a:lnTo>
                <a:lnTo>
                  <a:pt x="10814" y="5474"/>
                </a:lnTo>
                <a:lnTo>
                  <a:pt x="10814" y="5476"/>
                </a:lnTo>
                <a:lnTo>
                  <a:pt x="10816" y="5480"/>
                </a:lnTo>
                <a:lnTo>
                  <a:pt x="10826" y="5482"/>
                </a:lnTo>
                <a:close/>
                <a:moveTo>
                  <a:pt x="10994" y="5474"/>
                </a:moveTo>
                <a:lnTo>
                  <a:pt x="10994" y="5474"/>
                </a:lnTo>
                <a:lnTo>
                  <a:pt x="10996" y="5474"/>
                </a:lnTo>
                <a:lnTo>
                  <a:pt x="10998" y="5472"/>
                </a:lnTo>
                <a:lnTo>
                  <a:pt x="11000" y="5470"/>
                </a:lnTo>
                <a:lnTo>
                  <a:pt x="11008" y="5470"/>
                </a:lnTo>
                <a:lnTo>
                  <a:pt x="11012" y="5472"/>
                </a:lnTo>
                <a:lnTo>
                  <a:pt x="11016" y="5472"/>
                </a:lnTo>
                <a:lnTo>
                  <a:pt x="11022" y="5470"/>
                </a:lnTo>
                <a:lnTo>
                  <a:pt x="11028" y="5466"/>
                </a:lnTo>
                <a:lnTo>
                  <a:pt x="11032" y="5466"/>
                </a:lnTo>
                <a:lnTo>
                  <a:pt x="11038" y="5466"/>
                </a:lnTo>
                <a:lnTo>
                  <a:pt x="11046" y="5462"/>
                </a:lnTo>
                <a:lnTo>
                  <a:pt x="11054" y="5458"/>
                </a:lnTo>
                <a:lnTo>
                  <a:pt x="11058" y="5456"/>
                </a:lnTo>
                <a:lnTo>
                  <a:pt x="11058" y="5454"/>
                </a:lnTo>
                <a:lnTo>
                  <a:pt x="11058" y="5450"/>
                </a:lnTo>
                <a:lnTo>
                  <a:pt x="11062" y="5448"/>
                </a:lnTo>
                <a:lnTo>
                  <a:pt x="11064" y="5444"/>
                </a:lnTo>
                <a:lnTo>
                  <a:pt x="11064" y="5436"/>
                </a:lnTo>
                <a:lnTo>
                  <a:pt x="11062" y="5434"/>
                </a:lnTo>
                <a:lnTo>
                  <a:pt x="11060" y="5432"/>
                </a:lnTo>
                <a:lnTo>
                  <a:pt x="11056" y="5434"/>
                </a:lnTo>
                <a:lnTo>
                  <a:pt x="11054" y="5438"/>
                </a:lnTo>
                <a:lnTo>
                  <a:pt x="11056" y="5440"/>
                </a:lnTo>
                <a:lnTo>
                  <a:pt x="11058" y="5440"/>
                </a:lnTo>
                <a:lnTo>
                  <a:pt x="11058" y="5442"/>
                </a:lnTo>
                <a:lnTo>
                  <a:pt x="11056" y="5444"/>
                </a:lnTo>
                <a:lnTo>
                  <a:pt x="11050" y="5448"/>
                </a:lnTo>
                <a:lnTo>
                  <a:pt x="11044" y="5452"/>
                </a:lnTo>
                <a:lnTo>
                  <a:pt x="11044" y="5454"/>
                </a:lnTo>
                <a:lnTo>
                  <a:pt x="11044" y="5456"/>
                </a:lnTo>
                <a:lnTo>
                  <a:pt x="11040" y="5460"/>
                </a:lnTo>
                <a:lnTo>
                  <a:pt x="11036" y="5460"/>
                </a:lnTo>
                <a:lnTo>
                  <a:pt x="11034" y="5458"/>
                </a:lnTo>
                <a:lnTo>
                  <a:pt x="11030" y="5454"/>
                </a:lnTo>
                <a:lnTo>
                  <a:pt x="11026" y="5450"/>
                </a:lnTo>
                <a:lnTo>
                  <a:pt x="11024" y="5450"/>
                </a:lnTo>
                <a:lnTo>
                  <a:pt x="11020" y="5450"/>
                </a:lnTo>
                <a:lnTo>
                  <a:pt x="11016" y="5454"/>
                </a:lnTo>
                <a:lnTo>
                  <a:pt x="11012" y="5454"/>
                </a:lnTo>
                <a:lnTo>
                  <a:pt x="11010" y="5454"/>
                </a:lnTo>
                <a:lnTo>
                  <a:pt x="11006" y="5456"/>
                </a:lnTo>
                <a:lnTo>
                  <a:pt x="11002" y="5456"/>
                </a:lnTo>
                <a:lnTo>
                  <a:pt x="11000" y="5456"/>
                </a:lnTo>
                <a:lnTo>
                  <a:pt x="10994" y="5452"/>
                </a:lnTo>
                <a:lnTo>
                  <a:pt x="10988" y="5448"/>
                </a:lnTo>
                <a:lnTo>
                  <a:pt x="10980" y="5446"/>
                </a:lnTo>
                <a:lnTo>
                  <a:pt x="10966" y="5440"/>
                </a:lnTo>
                <a:lnTo>
                  <a:pt x="10956" y="5440"/>
                </a:lnTo>
                <a:lnTo>
                  <a:pt x="10952" y="5442"/>
                </a:lnTo>
                <a:lnTo>
                  <a:pt x="10948" y="5446"/>
                </a:lnTo>
                <a:lnTo>
                  <a:pt x="10944" y="5448"/>
                </a:lnTo>
                <a:lnTo>
                  <a:pt x="10940" y="5452"/>
                </a:lnTo>
                <a:lnTo>
                  <a:pt x="10936" y="5454"/>
                </a:lnTo>
                <a:lnTo>
                  <a:pt x="10936" y="5462"/>
                </a:lnTo>
                <a:lnTo>
                  <a:pt x="10938" y="5470"/>
                </a:lnTo>
                <a:lnTo>
                  <a:pt x="10940" y="5470"/>
                </a:lnTo>
                <a:lnTo>
                  <a:pt x="10944" y="5468"/>
                </a:lnTo>
                <a:lnTo>
                  <a:pt x="10950" y="5468"/>
                </a:lnTo>
                <a:lnTo>
                  <a:pt x="10966" y="5470"/>
                </a:lnTo>
                <a:lnTo>
                  <a:pt x="10974" y="5470"/>
                </a:lnTo>
                <a:lnTo>
                  <a:pt x="10980" y="5474"/>
                </a:lnTo>
                <a:lnTo>
                  <a:pt x="10984" y="5476"/>
                </a:lnTo>
                <a:lnTo>
                  <a:pt x="10988" y="5476"/>
                </a:lnTo>
                <a:lnTo>
                  <a:pt x="10990" y="5474"/>
                </a:lnTo>
                <a:lnTo>
                  <a:pt x="10994" y="5474"/>
                </a:lnTo>
                <a:close/>
                <a:moveTo>
                  <a:pt x="10934" y="5522"/>
                </a:moveTo>
                <a:lnTo>
                  <a:pt x="10934" y="5522"/>
                </a:lnTo>
                <a:lnTo>
                  <a:pt x="10942" y="5528"/>
                </a:lnTo>
                <a:lnTo>
                  <a:pt x="10946" y="5534"/>
                </a:lnTo>
                <a:lnTo>
                  <a:pt x="10950" y="5538"/>
                </a:lnTo>
                <a:lnTo>
                  <a:pt x="10952" y="5538"/>
                </a:lnTo>
                <a:lnTo>
                  <a:pt x="10956" y="5540"/>
                </a:lnTo>
                <a:lnTo>
                  <a:pt x="10958" y="5540"/>
                </a:lnTo>
                <a:lnTo>
                  <a:pt x="10962" y="5542"/>
                </a:lnTo>
                <a:lnTo>
                  <a:pt x="10964" y="5540"/>
                </a:lnTo>
                <a:lnTo>
                  <a:pt x="10966" y="5538"/>
                </a:lnTo>
                <a:lnTo>
                  <a:pt x="10968" y="5536"/>
                </a:lnTo>
                <a:lnTo>
                  <a:pt x="10970" y="5536"/>
                </a:lnTo>
                <a:lnTo>
                  <a:pt x="10974" y="5532"/>
                </a:lnTo>
                <a:lnTo>
                  <a:pt x="10974" y="5530"/>
                </a:lnTo>
                <a:lnTo>
                  <a:pt x="10974" y="5526"/>
                </a:lnTo>
                <a:lnTo>
                  <a:pt x="10970" y="5518"/>
                </a:lnTo>
                <a:lnTo>
                  <a:pt x="10964" y="5512"/>
                </a:lnTo>
                <a:lnTo>
                  <a:pt x="10958" y="5508"/>
                </a:lnTo>
                <a:lnTo>
                  <a:pt x="10956" y="5508"/>
                </a:lnTo>
                <a:lnTo>
                  <a:pt x="10954" y="5506"/>
                </a:lnTo>
                <a:lnTo>
                  <a:pt x="10952" y="5502"/>
                </a:lnTo>
                <a:lnTo>
                  <a:pt x="10948" y="5498"/>
                </a:lnTo>
                <a:lnTo>
                  <a:pt x="10942" y="5494"/>
                </a:lnTo>
                <a:lnTo>
                  <a:pt x="10938" y="5494"/>
                </a:lnTo>
                <a:lnTo>
                  <a:pt x="10934" y="5494"/>
                </a:lnTo>
                <a:lnTo>
                  <a:pt x="10930" y="5494"/>
                </a:lnTo>
                <a:lnTo>
                  <a:pt x="10924" y="5494"/>
                </a:lnTo>
                <a:lnTo>
                  <a:pt x="10914" y="5494"/>
                </a:lnTo>
                <a:lnTo>
                  <a:pt x="10910" y="5496"/>
                </a:lnTo>
                <a:lnTo>
                  <a:pt x="10906" y="5498"/>
                </a:lnTo>
                <a:lnTo>
                  <a:pt x="10902" y="5500"/>
                </a:lnTo>
                <a:lnTo>
                  <a:pt x="10902" y="5506"/>
                </a:lnTo>
                <a:lnTo>
                  <a:pt x="10902" y="5508"/>
                </a:lnTo>
                <a:lnTo>
                  <a:pt x="10906" y="5512"/>
                </a:lnTo>
                <a:lnTo>
                  <a:pt x="10914" y="5514"/>
                </a:lnTo>
                <a:lnTo>
                  <a:pt x="10924" y="5518"/>
                </a:lnTo>
                <a:lnTo>
                  <a:pt x="10934" y="5522"/>
                </a:lnTo>
                <a:close/>
                <a:moveTo>
                  <a:pt x="11090" y="5546"/>
                </a:moveTo>
                <a:lnTo>
                  <a:pt x="11090" y="5546"/>
                </a:lnTo>
                <a:lnTo>
                  <a:pt x="11094" y="5544"/>
                </a:lnTo>
                <a:lnTo>
                  <a:pt x="11098" y="5544"/>
                </a:lnTo>
                <a:lnTo>
                  <a:pt x="11104" y="5540"/>
                </a:lnTo>
                <a:lnTo>
                  <a:pt x="11108" y="5536"/>
                </a:lnTo>
                <a:lnTo>
                  <a:pt x="11112" y="5534"/>
                </a:lnTo>
                <a:lnTo>
                  <a:pt x="11114" y="5534"/>
                </a:lnTo>
                <a:lnTo>
                  <a:pt x="11118" y="5536"/>
                </a:lnTo>
                <a:lnTo>
                  <a:pt x="11122" y="5534"/>
                </a:lnTo>
                <a:lnTo>
                  <a:pt x="11134" y="5520"/>
                </a:lnTo>
                <a:lnTo>
                  <a:pt x="11140" y="5512"/>
                </a:lnTo>
                <a:lnTo>
                  <a:pt x="11144" y="5506"/>
                </a:lnTo>
                <a:lnTo>
                  <a:pt x="11148" y="5500"/>
                </a:lnTo>
                <a:lnTo>
                  <a:pt x="11156" y="5494"/>
                </a:lnTo>
                <a:lnTo>
                  <a:pt x="11168" y="5488"/>
                </a:lnTo>
                <a:lnTo>
                  <a:pt x="11176" y="5484"/>
                </a:lnTo>
                <a:lnTo>
                  <a:pt x="11182" y="5484"/>
                </a:lnTo>
                <a:lnTo>
                  <a:pt x="11188" y="5480"/>
                </a:lnTo>
                <a:lnTo>
                  <a:pt x="11192" y="5476"/>
                </a:lnTo>
                <a:lnTo>
                  <a:pt x="11196" y="5476"/>
                </a:lnTo>
                <a:lnTo>
                  <a:pt x="11202" y="5476"/>
                </a:lnTo>
                <a:lnTo>
                  <a:pt x="11206" y="5470"/>
                </a:lnTo>
                <a:lnTo>
                  <a:pt x="11212" y="5466"/>
                </a:lnTo>
                <a:lnTo>
                  <a:pt x="11218" y="5464"/>
                </a:lnTo>
                <a:lnTo>
                  <a:pt x="11222" y="5464"/>
                </a:lnTo>
                <a:lnTo>
                  <a:pt x="11228" y="5460"/>
                </a:lnTo>
                <a:lnTo>
                  <a:pt x="11236" y="5450"/>
                </a:lnTo>
                <a:lnTo>
                  <a:pt x="11238" y="5448"/>
                </a:lnTo>
                <a:lnTo>
                  <a:pt x="11232" y="5444"/>
                </a:lnTo>
                <a:lnTo>
                  <a:pt x="11230" y="5444"/>
                </a:lnTo>
                <a:lnTo>
                  <a:pt x="11226" y="5444"/>
                </a:lnTo>
                <a:lnTo>
                  <a:pt x="11218" y="5446"/>
                </a:lnTo>
                <a:lnTo>
                  <a:pt x="11210" y="5450"/>
                </a:lnTo>
                <a:lnTo>
                  <a:pt x="11204" y="5450"/>
                </a:lnTo>
                <a:lnTo>
                  <a:pt x="11200" y="5450"/>
                </a:lnTo>
                <a:lnTo>
                  <a:pt x="11194" y="5452"/>
                </a:lnTo>
                <a:lnTo>
                  <a:pt x="11188" y="5454"/>
                </a:lnTo>
                <a:lnTo>
                  <a:pt x="11184" y="5454"/>
                </a:lnTo>
                <a:lnTo>
                  <a:pt x="11180" y="5452"/>
                </a:lnTo>
                <a:lnTo>
                  <a:pt x="11176" y="5452"/>
                </a:lnTo>
                <a:lnTo>
                  <a:pt x="11158" y="5458"/>
                </a:lnTo>
                <a:lnTo>
                  <a:pt x="11150" y="5460"/>
                </a:lnTo>
                <a:lnTo>
                  <a:pt x="11146" y="5466"/>
                </a:lnTo>
                <a:lnTo>
                  <a:pt x="11144" y="5470"/>
                </a:lnTo>
                <a:lnTo>
                  <a:pt x="11138" y="5478"/>
                </a:lnTo>
                <a:lnTo>
                  <a:pt x="11128" y="5484"/>
                </a:lnTo>
                <a:lnTo>
                  <a:pt x="11122" y="5486"/>
                </a:lnTo>
                <a:lnTo>
                  <a:pt x="11114" y="5488"/>
                </a:lnTo>
                <a:lnTo>
                  <a:pt x="11104" y="5496"/>
                </a:lnTo>
                <a:lnTo>
                  <a:pt x="11094" y="5504"/>
                </a:lnTo>
                <a:lnTo>
                  <a:pt x="11090" y="5510"/>
                </a:lnTo>
                <a:lnTo>
                  <a:pt x="11088" y="5522"/>
                </a:lnTo>
                <a:lnTo>
                  <a:pt x="11088" y="5524"/>
                </a:lnTo>
                <a:lnTo>
                  <a:pt x="11088" y="5526"/>
                </a:lnTo>
                <a:lnTo>
                  <a:pt x="11092" y="5528"/>
                </a:lnTo>
                <a:lnTo>
                  <a:pt x="11094" y="5530"/>
                </a:lnTo>
                <a:lnTo>
                  <a:pt x="11092" y="5532"/>
                </a:lnTo>
                <a:lnTo>
                  <a:pt x="11086" y="5536"/>
                </a:lnTo>
                <a:lnTo>
                  <a:pt x="11082" y="5540"/>
                </a:lnTo>
                <a:lnTo>
                  <a:pt x="11082" y="5542"/>
                </a:lnTo>
                <a:lnTo>
                  <a:pt x="11090" y="5546"/>
                </a:lnTo>
                <a:close/>
                <a:moveTo>
                  <a:pt x="11218" y="5414"/>
                </a:moveTo>
                <a:lnTo>
                  <a:pt x="11218" y="5414"/>
                </a:lnTo>
                <a:lnTo>
                  <a:pt x="11218" y="5412"/>
                </a:lnTo>
                <a:lnTo>
                  <a:pt x="11214" y="5410"/>
                </a:lnTo>
                <a:lnTo>
                  <a:pt x="11202" y="5410"/>
                </a:lnTo>
                <a:lnTo>
                  <a:pt x="11190" y="5414"/>
                </a:lnTo>
                <a:lnTo>
                  <a:pt x="11184" y="5416"/>
                </a:lnTo>
                <a:lnTo>
                  <a:pt x="11180" y="5420"/>
                </a:lnTo>
                <a:lnTo>
                  <a:pt x="11178" y="5422"/>
                </a:lnTo>
                <a:lnTo>
                  <a:pt x="11180" y="5424"/>
                </a:lnTo>
                <a:lnTo>
                  <a:pt x="11194" y="5424"/>
                </a:lnTo>
                <a:lnTo>
                  <a:pt x="11210" y="5418"/>
                </a:lnTo>
                <a:lnTo>
                  <a:pt x="11216" y="5416"/>
                </a:lnTo>
                <a:lnTo>
                  <a:pt x="11218" y="5414"/>
                </a:lnTo>
                <a:close/>
                <a:moveTo>
                  <a:pt x="9966" y="4902"/>
                </a:moveTo>
                <a:lnTo>
                  <a:pt x="9966" y="4902"/>
                </a:lnTo>
                <a:lnTo>
                  <a:pt x="9966" y="4906"/>
                </a:lnTo>
                <a:lnTo>
                  <a:pt x="9968" y="4910"/>
                </a:lnTo>
                <a:lnTo>
                  <a:pt x="9972" y="4914"/>
                </a:lnTo>
                <a:lnTo>
                  <a:pt x="9980" y="4918"/>
                </a:lnTo>
                <a:lnTo>
                  <a:pt x="9990" y="4928"/>
                </a:lnTo>
                <a:lnTo>
                  <a:pt x="9994" y="4928"/>
                </a:lnTo>
                <a:lnTo>
                  <a:pt x="9994" y="4926"/>
                </a:lnTo>
                <a:lnTo>
                  <a:pt x="9990" y="4916"/>
                </a:lnTo>
                <a:lnTo>
                  <a:pt x="9982" y="4906"/>
                </a:lnTo>
                <a:lnTo>
                  <a:pt x="9972" y="4900"/>
                </a:lnTo>
                <a:lnTo>
                  <a:pt x="9970" y="4900"/>
                </a:lnTo>
                <a:lnTo>
                  <a:pt x="9966" y="4902"/>
                </a:lnTo>
                <a:close/>
                <a:moveTo>
                  <a:pt x="10026" y="4966"/>
                </a:moveTo>
                <a:lnTo>
                  <a:pt x="10026" y="4966"/>
                </a:lnTo>
                <a:lnTo>
                  <a:pt x="10022" y="4968"/>
                </a:lnTo>
                <a:lnTo>
                  <a:pt x="10022" y="4970"/>
                </a:lnTo>
                <a:lnTo>
                  <a:pt x="10026" y="4980"/>
                </a:lnTo>
                <a:lnTo>
                  <a:pt x="10044" y="5006"/>
                </a:lnTo>
                <a:lnTo>
                  <a:pt x="10046" y="5010"/>
                </a:lnTo>
                <a:lnTo>
                  <a:pt x="10050" y="5012"/>
                </a:lnTo>
                <a:lnTo>
                  <a:pt x="10052" y="5008"/>
                </a:lnTo>
                <a:lnTo>
                  <a:pt x="10054" y="5004"/>
                </a:lnTo>
                <a:lnTo>
                  <a:pt x="10054" y="4994"/>
                </a:lnTo>
                <a:lnTo>
                  <a:pt x="10052" y="4988"/>
                </a:lnTo>
                <a:lnTo>
                  <a:pt x="10050" y="4984"/>
                </a:lnTo>
                <a:lnTo>
                  <a:pt x="10044" y="4978"/>
                </a:lnTo>
                <a:lnTo>
                  <a:pt x="10038" y="4972"/>
                </a:lnTo>
                <a:lnTo>
                  <a:pt x="10032" y="4966"/>
                </a:lnTo>
                <a:lnTo>
                  <a:pt x="10030" y="4966"/>
                </a:lnTo>
                <a:lnTo>
                  <a:pt x="10026" y="4966"/>
                </a:lnTo>
                <a:close/>
                <a:moveTo>
                  <a:pt x="10084" y="5086"/>
                </a:moveTo>
                <a:lnTo>
                  <a:pt x="10084" y="5086"/>
                </a:lnTo>
                <a:lnTo>
                  <a:pt x="10080" y="5090"/>
                </a:lnTo>
                <a:lnTo>
                  <a:pt x="10080" y="5096"/>
                </a:lnTo>
                <a:lnTo>
                  <a:pt x="10082" y="5102"/>
                </a:lnTo>
                <a:lnTo>
                  <a:pt x="10086" y="5110"/>
                </a:lnTo>
                <a:lnTo>
                  <a:pt x="10098" y="5120"/>
                </a:lnTo>
                <a:lnTo>
                  <a:pt x="10102" y="5122"/>
                </a:lnTo>
                <a:lnTo>
                  <a:pt x="10106" y="5122"/>
                </a:lnTo>
                <a:lnTo>
                  <a:pt x="10108" y="5120"/>
                </a:lnTo>
                <a:lnTo>
                  <a:pt x="10108" y="5114"/>
                </a:lnTo>
                <a:lnTo>
                  <a:pt x="10102" y="5100"/>
                </a:lnTo>
                <a:lnTo>
                  <a:pt x="10098" y="5092"/>
                </a:lnTo>
                <a:lnTo>
                  <a:pt x="10092" y="5088"/>
                </a:lnTo>
                <a:lnTo>
                  <a:pt x="10088" y="5084"/>
                </a:lnTo>
                <a:lnTo>
                  <a:pt x="10084" y="5086"/>
                </a:lnTo>
                <a:close/>
                <a:moveTo>
                  <a:pt x="10070" y="5066"/>
                </a:moveTo>
                <a:lnTo>
                  <a:pt x="10070" y="5066"/>
                </a:lnTo>
                <a:lnTo>
                  <a:pt x="10072" y="5066"/>
                </a:lnTo>
                <a:lnTo>
                  <a:pt x="10074" y="5066"/>
                </a:lnTo>
                <a:lnTo>
                  <a:pt x="10076" y="5060"/>
                </a:lnTo>
                <a:lnTo>
                  <a:pt x="10076" y="5054"/>
                </a:lnTo>
                <a:lnTo>
                  <a:pt x="10074" y="5050"/>
                </a:lnTo>
                <a:lnTo>
                  <a:pt x="10072" y="5048"/>
                </a:lnTo>
                <a:lnTo>
                  <a:pt x="10070" y="5048"/>
                </a:lnTo>
                <a:lnTo>
                  <a:pt x="10068" y="5054"/>
                </a:lnTo>
                <a:lnTo>
                  <a:pt x="10068" y="5060"/>
                </a:lnTo>
                <a:lnTo>
                  <a:pt x="10068" y="5062"/>
                </a:lnTo>
                <a:lnTo>
                  <a:pt x="10070" y="5066"/>
                </a:lnTo>
                <a:close/>
                <a:moveTo>
                  <a:pt x="11590" y="5128"/>
                </a:moveTo>
                <a:lnTo>
                  <a:pt x="11590" y="5128"/>
                </a:lnTo>
                <a:lnTo>
                  <a:pt x="11592" y="5130"/>
                </a:lnTo>
                <a:lnTo>
                  <a:pt x="11598" y="5130"/>
                </a:lnTo>
                <a:lnTo>
                  <a:pt x="11618" y="5128"/>
                </a:lnTo>
                <a:lnTo>
                  <a:pt x="11628" y="5124"/>
                </a:lnTo>
                <a:lnTo>
                  <a:pt x="11628" y="5122"/>
                </a:lnTo>
                <a:lnTo>
                  <a:pt x="11624" y="5122"/>
                </a:lnTo>
                <a:lnTo>
                  <a:pt x="11590" y="5118"/>
                </a:lnTo>
                <a:lnTo>
                  <a:pt x="11576" y="5116"/>
                </a:lnTo>
                <a:lnTo>
                  <a:pt x="11572" y="5116"/>
                </a:lnTo>
                <a:lnTo>
                  <a:pt x="11578" y="5120"/>
                </a:lnTo>
                <a:lnTo>
                  <a:pt x="11590" y="5128"/>
                </a:lnTo>
                <a:close/>
                <a:moveTo>
                  <a:pt x="11600" y="5086"/>
                </a:moveTo>
                <a:lnTo>
                  <a:pt x="11600" y="5086"/>
                </a:lnTo>
                <a:lnTo>
                  <a:pt x="11594" y="5082"/>
                </a:lnTo>
                <a:lnTo>
                  <a:pt x="11592" y="5078"/>
                </a:lnTo>
                <a:lnTo>
                  <a:pt x="11586" y="5074"/>
                </a:lnTo>
                <a:lnTo>
                  <a:pt x="11576" y="5070"/>
                </a:lnTo>
                <a:lnTo>
                  <a:pt x="11566" y="5068"/>
                </a:lnTo>
                <a:lnTo>
                  <a:pt x="11566" y="5070"/>
                </a:lnTo>
                <a:lnTo>
                  <a:pt x="11566" y="5072"/>
                </a:lnTo>
                <a:lnTo>
                  <a:pt x="11572" y="5078"/>
                </a:lnTo>
                <a:lnTo>
                  <a:pt x="11580" y="5082"/>
                </a:lnTo>
                <a:lnTo>
                  <a:pt x="11582" y="5084"/>
                </a:lnTo>
                <a:lnTo>
                  <a:pt x="11584" y="5088"/>
                </a:lnTo>
                <a:lnTo>
                  <a:pt x="11584" y="5092"/>
                </a:lnTo>
                <a:lnTo>
                  <a:pt x="11586" y="5094"/>
                </a:lnTo>
                <a:lnTo>
                  <a:pt x="11588" y="5096"/>
                </a:lnTo>
                <a:lnTo>
                  <a:pt x="11592" y="5096"/>
                </a:lnTo>
                <a:lnTo>
                  <a:pt x="11600" y="5096"/>
                </a:lnTo>
                <a:lnTo>
                  <a:pt x="11606" y="5094"/>
                </a:lnTo>
                <a:lnTo>
                  <a:pt x="11608" y="5092"/>
                </a:lnTo>
                <a:lnTo>
                  <a:pt x="11606" y="5090"/>
                </a:lnTo>
                <a:lnTo>
                  <a:pt x="11600" y="5086"/>
                </a:lnTo>
                <a:close/>
                <a:moveTo>
                  <a:pt x="11538" y="5324"/>
                </a:moveTo>
                <a:lnTo>
                  <a:pt x="11538" y="5324"/>
                </a:lnTo>
                <a:lnTo>
                  <a:pt x="11536" y="5310"/>
                </a:lnTo>
                <a:lnTo>
                  <a:pt x="11532" y="5304"/>
                </a:lnTo>
                <a:lnTo>
                  <a:pt x="11530" y="5304"/>
                </a:lnTo>
                <a:lnTo>
                  <a:pt x="11528" y="5304"/>
                </a:lnTo>
                <a:lnTo>
                  <a:pt x="11526" y="5310"/>
                </a:lnTo>
                <a:lnTo>
                  <a:pt x="11524" y="5316"/>
                </a:lnTo>
                <a:lnTo>
                  <a:pt x="11520" y="5316"/>
                </a:lnTo>
                <a:lnTo>
                  <a:pt x="11518" y="5316"/>
                </a:lnTo>
                <a:lnTo>
                  <a:pt x="11518" y="5318"/>
                </a:lnTo>
                <a:lnTo>
                  <a:pt x="11518" y="5320"/>
                </a:lnTo>
                <a:lnTo>
                  <a:pt x="11520" y="5320"/>
                </a:lnTo>
                <a:lnTo>
                  <a:pt x="11520" y="5322"/>
                </a:lnTo>
                <a:lnTo>
                  <a:pt x="11520" y="5328"/>
                </a:lnTo>
                <a:lnTo>
                  <a:pt x="11520" y="5334"/>
                </a:lnTo>
                <a:lnTo>
                  <a:pt x="11522" y="5340"/>
                </a:lnTo>
                <a:lnTo>
                  <a:pt x="11530" y="5348"/>
                </a:lnTo>
                <a:lnTo>
                  <a:pt x="11534" y="5348"/>
                </a:lnTo>
                <a:lnTo>
                  <a:pt x="11536" y="5344"/>
                </a:lnTo>
                <a:lnTo>
                  <a:pt x="11538" y="5336"/>
                </a:lnTo>
                <a:lnTo>
                  <a:pt x="11538" y="5324"/>
                </a:lnTo>
                <a:close/>
                <a:moveTo>
                  <a:pt x="11188" y="5150"/>
                </a:moveTo>
                <a:lnTo>
                  <a:pt x="11188" y="5150"/>
                </a:lnTo>
                <a:lnTo>
                  <a:pt x="11186" y="5144"/>
                </a:lnTo>
                <a:lnTo>
                  <a:pt x="11186" y="5138"/>
                </a:lnTo>
                <a:lnTo>
                  <a:pt x="11184" y="5136"/>
                </a:lnTo>
                <a:lnTo>
                  <a:pt x="11182" y="5136"/>
                </a:lnTo>
                <a:lnTo>
                  <a:pt x="11180" y="5138"/>
                </a:lnTo>
                <a:lnTo>
                  <a:pt x="11180" y="5142"/>
                </a:lnTo>
                <a:lnTo>
                  <a:pt x="11184" y="5154"/>
                </a:lnTo>
                <a:lnTo>
                  <a:pt x="11186" y="5160"/>
                </a:lnTo>
                <a:lnTo>
                  <a:pt x="11188" y="5160"/>
                </a:lnTo>
                <a:lnTo>
                  <a:pt x="11188" y="5156"/>
                </a:lnTo>
                <a:lnTo>
                  <a:pt x="11188" y="5150"/>
                </a:lnTo>
                <a:close/>
                <a:moveTo>
                  <a:pt x="11232" y="5052"/>
                </a:moveTo>
                <a:lnTo>
                  <a:pt x="11232" y="5052"/>
                </a:lnTo>
                <a:lnTo>
                  <a:pt x="11232" y="5054"/>
                </a:lnTo>
                <a:lnTo>
                  <a:pt x="11230" y="5060"/>
                </a:lnTo>
                <a:lnTo>
                  <a:pt x="11232" y="5064"/>
                </a:lnTo>
                <a:lnTo>
                  <a:pt x="11234" y="5064"/>
                </a:lnTo>
                <a:lnTo>
                  <a:pt x="11236" y="5062"/>
                </a:lnTo>
                <a:lnTo>
                  <a:pt x="11238" y="5056"/>
                </a:lnTo>
                <a:lnTo>
                  <a:pt x="11236" y="5052"/>
                </a:lnTo>
                <a:lnTo>
                  <a:pt x="11234" y="5052"/>
                </a:lnTo>
                <a:lnTo>
                  <a:pt x="11232" y="5052"/>
                </a:lnTo>
                <a:close/>
                <a:moveTo>
                  <a:pt x="11262" y="5078"/>
                </a:moveTo>
                <a:lnTo>
                  <a:pt x="11262" y="5078"/>
                </a:lnTo>
                <a:lnTo>
                  <a:pt x="11262" y="5076"/>
                </a:lnTo>
                <a:lnTo>
                  <a:pt x="11260" y="5072"/>
                </a:lnTo>
                <a:lnTo>
                  <a:pt x="11256" y="5072"/>
                </a:lnTo>
                <a:lnTo>
                  <a:pt x="11254" y="5076"/>
                </a:lnTo>
                <a:lnTo>
                  <a:pt x="11254" y="5078"/>
                </a:lnTo>
                <a:lnTo>
                  <a:pt x="11256" y="5080"/>
                </a:lnTo>
                <a:lnTo>
                  <a:pt x="11258" y="5080"/>
                </a:lnTo>
                <a:lnTo>
                  <a:pt x="11262" y="5078"/>
                </a:lnTo>
                <a:close/>
                <a:moveTo>
                  <a:pt x="11280" y="5212"/>
                </a:moveTo>
                <a:lnTo>
                  <a:pt x="11280" y="5212"/>
                </a:lnTo>
                <a:lnTo>
                  <a:pt x="11278" y="5210"/>
                </a:lnTo>
                <a:lnTo>
                  <a:pt x="11276" y="5210"/>
                </a:lnTo>
                <a:lnTo>
                  <a:pt x="11270" y="5212"/>
                </a:lnTo>
                <a:lnTo>
                  <a:pt x="11264" y="5218"/>
                </a:lnTo>
                <a:lnTo>
                  <a:pt x="11262" y="5220"/>
                </a:lnTo>
                <a:lnTo>
                  <a:pt x="11264" y="5222"/>
                </a:lnTo>
                <a:lnTo>
                  <a:pt x="11266" y="5222"/>
                </a:lnTo>
                <a:lnTo>
                  <a:pt x="11272" y="5222"/>
                </a:lnTo>
                <a:lnTo>
                  <a:pt x="11276" y="5218"/>
                </a:lnTo>
                <a:lnTo>
                  <a:pt x="11280" y="5212"/>
                </a:lnTo>
                <a:close/>
                <a:moveTo>
                  <a:pt x="11234" y="5078"/>
                </a:moveTo>
                <a:lnTo>
                  <a:pt x="11234" y="5078"/>
                </a:lnTo>
                <a:lnTo>
                  <a:pt x="11238" y="5078"/>
                </a:lnTo>
                <a:lnTo>
                  <a:pt x="11240" y="5076"/>
                </a:lnTo>
                <a:lnTo>
                  <a:pt x="11238" y="5074"/>
                </a:lnTo>
                <a:lnTo>
                  <a:pt x="11236" y="5072"/>
                </a:lnTo>
                <a:lnTo>
                  <a:pt x="11234" y="5070"/>
                </a:lnTo>
                <a:lnTo>
                  <a:pt x="11232" y="5072"/>
                </a:lnTo>
                <a:lnTo>
                  <a:pt x="11232" y="5076"/>
                </a:lnTo>
                <a:lnTo>
                  <a:pt x="11234" y="5078"/>
                </a:lnTo>
                <a:close/>
                <a:moveTo>
                  <a:pt x="11378" y="5078"/>
                </a:moveTo>
                <a:lnTo>
                  <a:pt x="11378" y="5078"/>
                </a:lnTo>
                <a:lnTo>
                  <a:pt x="11366" y="5078"/>
                </a:lnTo>
                <a:lnTo>
                  <a:pt x="11360" y="5080"/>
                </a:lnTo>
                <a:lnTo>
                  <a:pt x="11360" y="5082"/>
                </a:lnTo>
                <a:lnTo>
                  <a:pt x="11362" y="5084"/>
                </a:lnTo>
                <a:lnTo>
                  <a:pt x="11364" y="5084"/>
                </a:lnTo>
                <a:lnTo>
                  <a:pt x="11372" y="5082"/>
                </a:lnTo>
                <a:lnTo>
                  <a:pt x="11378" y="5078"/>
                </a:lnTo>
                <a:close/>
                <a:moveTo>
                  <a:pt x="11216" y="4816"/>
                </a:moveTo>
                <a:lnTo>
                  <a:pt x="11216" y="4816"/>
                </a:lnTo>
                <a:lnTo>
                  <a:pt x="11214" y="4820"/>
                </a:lnTo>
                <a:lnTo>
                  <a:pt x="11214" y="4828"/>
                </a:lnTo>
                <a:lnTo>
                  <a:pt x="11214" y="4830"/>
                </a:lnTo>
                <a:lnTo>
                  <a:pt x="11216" y="4830"/>
                </a:lnTo>
                <a:lnTo>
                  <a:pt x="11216" y="4834"/>
                </a:lnTo>
                <a:lnTo>
                  <a:pt x="11214" y="4838"/>
                </a:lnTo>
                <a:lnTo>
                  <a:pt x="11212" y="4842"/>
                </a:lnTo>
                <a:lnTo>
                  <a:pt x="11214" y="4844"/>
                </a:lnTo>
                <a:lnTo>
                  <a:pt x="11218" y="4842"/>
                </a:lnTo>
                <a:lnTo>
                  <a:pt x="11220" y="4838"/>
                </a:lnTo>
                <a:lnTo>
                  <a:pt x="11220" y="4836"/>
                </a:lnTo>
                <a:lnTo>
                  <a:pt x="11222" y="4832"/>
                </a:lnTo>
                <a:lnTo>
                  <a:pt x="11222" y="4830"/>
                </a:lnTo>
                <a:lnTo>
                  <a:pt x="11222" y="4826"/>
                </a:lnTo>
                <a:lnTo>
                  <a:pt x="11220" y="4824"/>
                </a:lnTo>
                <a:lnTo>
                  <a:pt x="11220" y="4820"/>
                </a:lnTo>
                <a:lnTo>
                  <a:pt x="11220" y="4816"/>
                </a:lnTo>
                <a:lnTo>
                  <a:pt x="11216" y="4816"/>
                </a:lnTo>
                <a:close/>
                <a:moveTo>
                  <a:pt x="13306" y="5908"/>
                </a:moveTo>
                <a:lnTo>
                  <a:pt x="13306" y="5908"/>
                </a:lnTo>
                <a:lnTo>
                  <a:pt x="13306" y="5902"/>
                </a:lnTo>
                <a:lnTo>
                  <a:pt x="13304" y="5898"/>
                </a:lnTo>
                <a:lnTo>
                  <a:pt x="13302" y="5896"/>
                </a:lnTo>
                <a:lnTo>
                  <a:pt x="13296" y="5892"/>
                </a:lnTo>
                <a:lnTo>
                  <a:pt x="13286" y="5890"/>
                </a:lnTo>
                <a:lnTo>
                  <a:pt x="13278" y="5890"/>
                </a:lnTo>
                <a:lnTo>
                  <a:pt x="13266" y="5898"/>
                </a:lnTo>
                <a:lnTo>
                  <a:pt x="13260" y="5904"/>
                </a:lnTo>
                <a:lnTo>
                  <a:pt x="13254" y="5910"/>
                </a:lnTo>
                <a:lnTo>
                  <a:pt x="13250" y="5916"/>
                </a:lnTo>
                <a:lnTo>
                  <a:pt x="13250" y="5918"/>
                </a:lnTo>
                <a:lnTo>
                  <a:pt x="13250" y="5922"/>
                </a:lnTo>
                <a:lnTo>
                  <a:pt x="13252" y="5924"/>
                </a:lnTo>
                <a:lnTo>
                  <a:pt x="13256" y="5928"/>
                </a:lnTo>
                <a:lnTo>
                  <a:pt x="13270" y="5932"/>
                </a:lnTo>
                <a:lnTo>
                  <a:pt x="13280" y="5934"/>
                </a:lnTo>
                <a:lnTo>
                  <a:pt x="13286" y="5934"/>
                </a:lnTo>
                <a:lnTo>
                  <a:pt x="13292" y="5930"/>
                </a:lnTo>
                <a:lnTo>
                  <a:pt x="13294" y="5926"/>
                </a:lnTo>
                <a:lnTo>
                  <a:pt x="13296" y="5926"/>
                </a:lnTo>
                <a:lnTo>
                  <a:pt x="13302" y="5926"/>
                </a:lnTo>
                <a:lnTo>
                  <a:pt x="13306" y="5930"/>
                </a:lnTo>
                <a:lnTo>
                  <a:pt x="13308" y="5930"/>
                </a:lnTo>
                <a:lnTo>
                  <a:pt x="13312" y="5928"/>
                </a:lnTo>
                <a:lnTo>
                  <a:pt x="13312" y="5926"/>
                </a:lnTo>
                <a:lnTo>
                  <a:pt x="13312" y="5924"/>
                </a:lnTo>
                <a:lnTo>
                  <a:pt x="13310" y="5920"/>
                </a:lnTo>
                <a:lnTo>
                  <a:pt x="13308" y="5914"/>
                </a:lnTo>
                <a:lnTo>
                  <a:pt x="13306" y="5912"/>
                </a:lnTo>
                <a:lnTo>
                  <a:pt x="13306" y="5908"/>
                </a:lnTo>
                <a:close/>
                <a:moveTo>
                  <a:pt x="13336" y="5840"/>
                </a:moveTo>
                <a:lnTo>
                  <a:pt x="13336" y="5840"/>
                </a:lnTo>
                <a:lnTo>
                  <a:pt x="13328" y="5844"/>
                </a:lnTo>
                <a:lnTo>
                  <a:pt x="13322" y="5844"/>
                </a:lnTo>
                <a:lnTo>
                  <a:pt x="13318" y="5846"/>
                </a:lnTo>
                <a:lnTo>
                  <a:pt x="13316" y="5850"/>
                </a:lnTo>
                <a:lnTo>
                  <a:pt x="13314" y="5854"/>
                </a:lnTo>
                <a:lnTo>
                  <a:pt x="13312" y="5854"/>
                </a:lnTo>
                <a:lnTo>
                  <a:pt x="13306" y="5854"/>
                </a:lnTo>
                <a:lnTo>
                  <a:pt x="13304" y="5854"/>
                </a:lnTo>
                <a:lnTo>
                  <a:pt x="13306" y="5864"/>
                </a:lnTo>
                <a:lnTo>
                  <a:pt x="13310" y="5870"/>
                </a:lnTo>
                <a:lnTo>
                  <a:pt x="13312" y="5872"/>
                </a:lnTo>
                <a:lnTo>
                  <a:pt x="13326" y="5862"/>
                </a:lnTo>
                <a:lnTo>
                  <a:pt x="13330" y="5860"/>
                </a:lnTo>
                <a:lnTo>
                  <a:pt x="13334" y="5858"/>
                </a:lnTo>
                <a:lnTo>
                  <a:pt x="13336" y="5860"/>
                </a:lnTo>
                <a:lnTo>
                  <a:pt x="13338" y="5864"/>
                </a:lnTo>
                <a:lnTo>
                  <a:pt x="13340" y="5862"/>
                </a:lnTo>
                <a:lnTo>
                  <a:pt x="13348" y="5860"/>
                </a:lnTo>
                <a:lnTo>
                  <a:pt x="13354" y="5858"/>
                </a:lnTo>
                <a:lnTo>
                  <a:pt x="13360" y="5860"/>
                </a:lnTo>
                <a:lnTo>
                  <a:pt x="13360" y="5858"/>
                </a:lnTo>
                <a:lnTo>
                  <a:pt x="13358" y="5854"/>
                </a:lnTo>
                <a:lnTo>
                  <a:pt x="13360" y="5848"/>
                </a:lnTo>
                <a:lnTo>
                  <a:pt x="13358" y="5846"/>
                </a:lnTo>
                <a:lnTo>
                  <a:pt x="13354" y="5848"/>
                </a:lnTo>
                <a:lnTo>
                  <a:pt x="13350" y="5850"/>
                </a:lnTo>
                <a:lnTo>
                  <a:pt x="13350" y="5848"/>
                </a:lnTo>
                <a:lnTo>
                  <a:pt x="13352" y="5842"/>
                </a:lnTo>
                <a:lnTo>
                  <a:pt x="13358" y="5834"/>
                </a:lnTo>
                <a:lnTo>
                  <a:pt x="13360" y="5830"/>
                </a:lnTo>
                <a:lnTo>
                  <a:pt x="13360" y="5828"/>
                </a:lnTo>
                <a:lnTo>
                  <a:pt x="13358" y="5828"/>
                </a:lnTo>
                <a:lnTo>
                  <a:pt x="13356" y="5828"/>
                </a:lnTo>
                <a:lnTo>
                  <a:pt x="13346" y="5832"/>
                </a:lnTo>
                <a:lnTo>
                  <a:pt x="13336" y="5840"/>
                </a:lnTo>
                <a:close/>
                <a:moveTo>
                  <a:pt x="12084" y="5310"/>
                </a:moveTo>
                <a:lnTo>
                  <a:pt x="12084" y="5310"/>
                </a:lnTo>
                <a:lnTo>
                  <a:pt x="12086" y="5316"/>
                </a:lnTo>
                <a:lnTo>
                  <a:pt x="12090" y="5320"/>
                </a:lnTo>
                <a:lnTo>
                  <a:pt x="12098" y="5324"/>
                </a:lnTo>
                <a:lnTo>
                  <a:pt x="12106" y="5330"/>
                </a:lnTo>
                <a:lnTo>
                  <a:pt x="12112" y="5336"/>
                </a:lnTo>
                <a:lnTo>
                  <a:pt x="12116" y="5338"/>
                </a:lnTo>
                <a:lnTo>
                  <a:pt x="12120" y="5338"/>
                </a:lnTo>
                <a:lnTo>
                  <a:pt x="12122" y="5336"/>
                </a:lnTo>
                <a:lnTo>
                  <a:pt x="12124" y="5336"/>
                </a:lnTo>
                <a:lnTo>
                  <a:pt x="12126" y="5336"/>
                </a:lnTo>
                <a:lnTo>
                  <a:pt x="12128" y="5336"/>
                </a:lnTo>
                <a:lnTo>
                  <a:pt x="12132" y="5342"/>
                </a:lnTo>
                <a:lnTo>
                  <a:pt x="12140" y="5346"/>
                </a:lnTo>
                <a:lnTo>
                  <a:pt x="12148" y="5346"/>
                </a:lnTo>
                <a:lnTo>
                  <a:pt x="12160" y="5346"/>
                </a:lnTo>
                <a:lnTo>
                  <a:pt x="12172" y="5342"/>
                </a:lnTo>
                <a:lnTo>
                  <a:pt x="12184" y="5336"/>
                </a:lnTo>
                <a:lnTo>
                  <a:pt x="12196" y="5330"/>
                </a:lnTo>
                <a:lnTo>
                  <a:pt x="12204" y="5324"/>
                </a:lnTo>
                <a:lnTo>
                  <a:pt x="12208" y="5318"/>
                </a:lnTo>
                <a:lnTo>
                  <a:pt x="12212" y="5312"/>
                </a:lnTo>
                <a:lnTo>
                  <a:pt x="12214" y="5310"/>
                </a:lnTo>
                <a:lnTo>
                  <a:pt x="12218" y="5308"/>
                </a:lnTo>
                <a:lnTo>
                  <a:pt x="12220" y="5310"/>
                </a:lnTo>
                <a:lnTo>
                  <a:pt x="12228" y="5310"/>
                </a:lnTo>
                <a:lnTo>
                  <a:pt x="12232" y="5310"/>
                </a:lnTo>
                <a:lnTo>
                  <a:pt x="12236" y="5306"/>
                </a:lnTo>
                <a:lnTo>
                  <a:pt x="12238" y="5302"/>
                </a:lnTo>
                <a:lnTo>
                  <a:pt x="12240" y="5298"/>
                </a:lnTo>
                <a:lnTo>
                  <a:pt x="12236" y="5290"/>
                </a:lnTo>
                <a:lnTo>
                  <a:pt x="12234" y="5284"/>
                </a:lnTo>
                <a:lnTo>
                  <a:pt x="12234" y="5282"/>
                </a:lnTo>
                <a:lnTo>
                  <a:pt x="12238" y="5282"/>
                </a:lnTo>
                <a:lnTo>
                  <a:pt x="12242" y="5280"/>
                </a:lnTo>
                <a:lnTo>
                  <a:pt x="12246" y="5276"/>
                </a:lnTo>
                <a:lnTo>
                  <a:pt x="12250" y="5266"/>
                </a:lnTo>
                <a:lnTo>
                  <a:pt x="12250" y="5256"/>
                </a:lnTo>
                <a:lnTo>
                  <a:pt x="12250" y="5250"/>
                </a:lnTo>
                <a:lnTo>
                  <a:pt x="12246" y="5246"/>
                </a:lnTo>
                <a:lnTo>
                  <a:pt x="12242" y="5242"/>
                </a:lnTo>
                <a:lnTo>
                  <a:pt x="12236" y="5240"/>
                </a:lnTo>
                <a:lnTo>
                  <a:pt x="12218" y="5242"/>
                </a:lnTo>
                <a:lnTo>
                  <a:pt x="12216" y="5242"/>
                </a:lnTo>
                <a:lnTo>
                  <a:pt x="12214" y="5244"/>
                </a:lnTo>
                <a:lnTo>
                  <a:pt x="12212" y="5250"/>
                </a:lnTo>
                <a:lnTo>
                  <a:pt x="12216" y="5264"/>
                </a:lnTo>
                <a:lnTo>
                  <a:pt x="12220" y="5276"/>
                </a:lnTo>
                <a:lnTo>
                  <a:pt x="12218" y="5280"/>
                </a:lnTo>
                <a:lnTo>
                  <a:pt x="12214" y="5278"/>
                </a:lnTo>
                <a:lnTo>
                  <a:pt x="12206" y="5278"/>
                </a:lnTo>
                <a:lnTo>
                  <a:pt x="12202" y="5282"/>
                </a:lnTo>
                <a:lnTo>
                  <a:pt x="12196" y="5286"/>
                </a:lnTo>
                <a:lnTo>
                  <a:pt x="12194" y="5294"/>
                </a:lnTo>
                <a:lnTo>
                  <a:pt x="12190" y="5300"/>
                </a:lnTo>
                <a:lnTo>
                  <a:pt x="12186" y="5306"/>
                </a:lnTo>
                <a:lnTo>
                  <a:pt x="12180" y="5308"/>
                </a:lnTo>
                <a:lnTo>
                  <a:pt x="12174" y="5306"/>
                </a:lnTo>
                <a:lnTo>
                  <a:pt x="12170" y="5304"/>
                </a:lnTo>
                <a:lnTo>
                  <a:pt x="12168" y="5304"/>
                </a:lnTo>
                <a:lnTo>
                  <a:pt x="12164" y="5306"/>
                </a:lnTo>
                <a:lnTo>
                  <a:pt x="12162" y="5308"/>
                </a:lnTo>
                <a:lnTo>
                  <a:pt x="12158" y="5302"/>
                </a:lnTo>
                <a:lnTo>
                  <a:pt x="12156" y="5294"/>
                </a:lnTo>
                <a:lnTo>
                  <a:pt x="12158" y="5290"/>
                </a:lnTo>
                <a:lnTo>
                  <a:pt x="12160" y="5288"/>
                </a:lnTo>
                <a:lnTo>
                  <a:pt x="12160" y="5284"/>
                </a:lnTo>
                <a:lnTo>
                  <a:pt x="12160" y="5282"/>
                </a:lnTo>
                <a:lnTo>
                  <a:pt x="12158" y="5282"/>
                </a:lnTo>
                <a:lnTo>
                  <a:pt x="12154" y="5284"/>
                </a:lnTo>
                <a:lnTo>
                  <a:pt x="12150" y="5290"/>
                </a:lnTo>
                <a:lnTo>
                  <a:pt x="12150" y="5302"/>
                </a:lnTo>
                <a:lnTo>
                  <a:pt x="12150" y="5304"/>
                </a:lnTo>
                <a:lnTo>
                  <a:pt x="12148" y="5306"/>
                </a:lnTo>
                <a:lnTo>
                  <a:pt x="12140" y="5308"/>
                </a:lnTo>
                <a:lnTo>
                  <a:pt x="12130" y="5308"/>
                </a:lnTo>
                <a:lnTo>
                  <a:pt x="12118" y="5306"/>
                </a:lnTo>
                <a:lnTo>
                  <a:pt x="12106" y="5304"/>
                </a:lnTo>
                <a:lnTo>
                  <a:pt x="12094" y="5304"/>
                </a:lnTo>
                <a:lnTo>
                  <a:pt x="12088" y="5306"/>
                </a:lnTo>
                <a:lnTo>
                  <a:pt x="12086" y="5308"/>
                </a:lnTo>
                <a:lnTo>
                  <a:pt x="12084" y="5310"/>
                </a:lnTo>
                <a:close/>
                <a:moveTo>
                  <a:pt x="12010" y="5142"/>
                </a:moveTo>
                <a:lnTo>
                  <a:pt x="12010" y="5142"/>
                </a:lnTo>
                <a:lnTo>
                  <a:pt x="12010" y="5148"/>
                </a:lnTo>
                <a:lnTo>
                  <a:pt x="12014" y="5148"/>
                </a:lnTo>
                <a:lnTo>
                  <a:pt x="12022" y="5146"/>
                </a:lnTo>
                <a:lnTo>
                  <a:pt x="12032" y="5146"/>
                </a:lnTo>
                <a:lnTo>
                  <a:pt x="12040" y="5146"/>
                </a:lnTo>
                <a:lnTo>
                  <a:pt x="12046" y="5142"/>
                </a:lnTo>
                <a:lnTo>
                  <a:pt x="12046" y="5140"/>
                </a:lnTo>
                <a:lnTo>
                  <a:pt x="12046" y="5138"/>
                </a:lnTo>
                <a:lnTo>
                  <a:pt x="12044" y="5136"/>
                </a:lnTo>
                <a:lnTo>
                  <a:pt x="12042" y="5136"/>
                </a:lnTo>
                <a:lnTo>
                  <a:pt x="12032" y="5134"/>
                </a:lnTo>
                <a:lnTo>
                  <a:pt x="12022" y="5134"/>
                </a:lnTo>
                <a:lnTo>
                  <a:pt x="12014" y="5136"/>
                </a:lnTo>
                <a:lnTo>
                  <a:pt x="12012" y="5138"/>
                </a:lnTo>
                <a:lnTo>
                  <a:pt x="12010" y="5142"/>
                </a:lnTo>
                <a:close/>
                <a:moveTo>
                  <a:pt x="12154" y="5158"/>
                </a:moveTo>
                <a:lnTo>
                  <a:pt x="12154" y="5158"/>
                </a:lnTo>
                <a:lnTo>
                  <a:pt x="12154" y="5160"/>
                </a:lnTo>
                <a:lnTo>
                  <a:pt x="12154" y="5164"/>
                </a:lnTo>
                <a:lnTo>
                  <a:pt x="12158" y="5168"/>
                </a:lnTo>
                <a:lnTo>
                  <a:pt x="12166" y="5170"/>
                </a:lnTo>
                <a:lnTo>
                  <a:pt x="12168" y="5168"/>
                </a:lnTo>
                <a:lnTo>
                  <a:pt x="12170" y="5168"/>
                </a:lnTo>
                <a:lnTo>
                  <a:pt x="12172" y="5164"/>
                </a:lnTo>
                <a:lnTo>
                  <a:pt x="12172" y="5162"/>
                </a:lnTo>
                <a:lnTo>
                  <a:pt x="12166" y="5156"/>
                </a:lnTo>
                <a:lnTo>
                  <a:pt x="12164" y="5154"/>
                </a:lnTo>
                <a:lnTo>
                  <a:pt x="12160" y="5152"/>
                </a:lnTo>
                <a:lnTo>
                  <a:pt x="12156" y="5154"/>
                </a:lnTo>
                <a:lnTo>
                  <a:pt x="12154" y="5158"/>
                </a:lnTo>
                <a:close/>
                <a:moveTo>
                  <a:pt x="12228" y="5192"/>
                </a:moveTo>
                <a:lnTo>
                  <a:pt x="12228" y="5192"/>
                </a:lnTo>
                <a:lnTo>
                  <a:pt x="12208" y="5182"/>
                </a:lnTo>
                <a:lnTo>
                  <a:pt x="12196" y="5172"/>
                </a:lnTo>
                <a:lnTo>
                  <a:pt x="12190" y="5166"/>
                </a:lnTo>
                <a:lnTo>
                  <a:pt x="12186" y="5166"/>
                </a:lnTo>
                <a:lnTo>
                  <a:pt x="12186" y="5168"/>
                </a:lnTo>
                <a:lnTo>
                  <a:pt x="12180" y="5170"/>
                </a:lnTo>
                <a:lnTo>
                  <a:pt x="12178" y="5172"/>
                </a:lnTo>
                <a:lnTo>
                  <a:pt x="12182" y="5174"/>
                </a:lnTo>
                <a:lnTo>
                  <a:pt x="12186" y="5178"/>
                </a:lnTo>
                <a:lnTo>
                  <a:pt x="12200" y="5184"/>
                </a:lnTo>
                <a:lnTo>
                  <a:pt x="12208" y="5190"/>
                </a:lnTo>
                <a:lnTo>
                  <a:pt x="12216" y="5196"/>
                </a:lnTo>
                <a:lnTo>
                  <a:pt x="12222" y="5202"/>
                </a:lnTo>
                <a:lnTo>
                  <a:pt x="12232" y="5210"/>
                </a:lnTo>
                <a:lnTo>
                  <a:pt x="12242" y="5218"/>
                </a:lnTo>
                <a:lnTo>
                  <a:pt x="12254" y="5230"/>
                </a:lnTo>
                <a:lnTo>
                  <a:pt x="12258" y="5236"/>
                </a:lnTo>
                <a:lnTo>
                  <a:pt x="12260" y="5242"/>
                </a:lnTo>
                <a:lnTo>
                  <a:pt x="12260" y="5250"/>
                </a:lnTo>
                <a:lnTo>
                  <a:pt x="12260" y="5258"/>
                </a:lnTo>
                <a:lnTo>
                  <a:pt x="12262" y="5264"/>
                </a:lnTo>
                <a:lnTo>
                  <a:pt x="12264" y="5272"/>
                </a:lnTo>
                <a:lnTo>
                  <a:pt x="12268" y="5274"/>
                </a:lnTo>
                <a:lnTo>
                  <a:pt x="12272" y="5274"/>
                </a:lnTo>
                <a:lnTo>
                  <a:pt x="12276" y="5270"/>
                </a:lnTo>
                <a:lnTo>
                  <a:pt x="12278" y="5262"/>
                </a:lnTo>
                <a:lnTo>
                  <a:pt x="12278" y="5254"/>
                </a:lnTo>
                <a:lnTo>
                  <a:pt x="12278" y="5244"/>
                </a:lnTo>
                <a:lnTo>
                  <a:pt x="12274" y="5236"/>
                </a:lnTo>
                <a:lnTo>
                  <a:pt x="12266" y="5230"/>
                </a:lnTo>
                <a:lnTo>
                  <a:pt x="12252" y="5218"/>
                </a:lnTo>
                <a:lnTo>
                  <a:pt x="12244" y="5208"/>
                </a:lnTo>
                <a:lnTo>
                  <a:pt x="12236" y="5200"/>
                </a:lnTo>
                <a:lnTo>
                  <a:pt x="12228" y="5192"/>
                </a:lnTo>
                <a:close/>
                <a:moveTo>
                  <a:pt x="12134" y="5108"/>
                </a:moveTo>
                <a:lnTo>
                  <a:pt x="12134" y="5108"/>
                </a:lnTo>
                <a:lnTo>
                  <a:pt x="12134" y="5112"/>
                </a:lnTo>
                <a:lnTo>
                  <a:pt x="12136" y="5116"/>
                </a:lnTo>
                <a:lnTo>
                  <a:pt x="12138" y="5118"/>
                </a:lnTo>
                <a:lnTo>
                  <a:pt x="12144" y="5120"/>
                </a:lnTo>
                <a:lnTo>
                  <a:pt x="12146" y="5118"/>
                </a:lnTo>
                <a:lnTo>
                  <a:pt x="12144" y="5112"/>
                </a:lnTo>
                <a:lnTo>
                  <a:pt x="12140" y="5108"/>
                </a:lnTo>
                <a:lnTo>
                  <a:pt x="12136" y="5106"/>
                </a:lnTo>
                <a:lnTo>
                  <a:pt x="12134" y="5108"/>
                </a:lnTo>
                <a:close/>
                <a:moveTo>
                  <a:pt x="12378" y="5340"/>
                </a:moveTo>
                <a:lnTo>
                  <a:pt x="12378" y="5340"/>
                </a:lnTo>
                <a:lnTo>
                  <a:pt x="12374" y="5338"/>
                </a:lnTo>
                <a:lnTo>
                  <a:pt x="12370" y="5334"/>
                </a:lnTo>
                <a:lnTo>
                  <a:pt x="12364" y="5324"/>
                </a:lnTo>
                <a:lnTo>
                  <a:pt x="12360" y="5314"/>
                </a:lnTo>
                <a:lnTo>
                  <a:pt x="12356" y="5310"/>
                </a:lnTo>
                <a:lnTo>
                  <a:pt x="12352" y="5308"/>
                </a:lnTo>
                <a:lnTo>
                  <a:pt x="12348" y="5306"/>
                </a:lnTo>
                <a:lnTo>
                  <a:pt x="12346" y="5302"/>
                </a:lnTo>
                <a:lnTo>
                  <a:pt x="12342" y="5290"/>
                </a:lnTo>
                <a:lnTo>
                  <a:pt x="12340" y="5284"/>
                </a:lnTo>
                <a:lnTo>
                  <a:pt x="12338" y="5282"/>
                </a:lnTo>
                <a:lnTo>
                  <a:pt x="12334" y="5284"/>
                </a:lnTo>
                <a:lnTo>
                  <a:pt x="12334" y="5288"/>
                </a:lnTo>
                <a:lnTo>
                  <a:pt x="12334" y="5290"/>
                </a:lnTo>
                <a:lnTo>
                  <a:pt x="12336" y="5296"/>
                </a:lnTo>
                <a:lnTo>
                  <a:pt x="12342" y="5304"/>
                </a:lnTo>
                <a:lnTo>
                  <a:pt x="12342" y="5308"/>
                </a:lnTo>
                <a:lnTo>
                  <a:pt x="12342" y="5314"/>
                </a:lnTo>
                <a:lnTo>
                  <a:pt x="12342" y="5322"/>
                </a:lnTo>
                <a:lnTo>
                  <a:pt x="12344" y="5328"/>
                </a:lnTo>
                <a:lnTo>
                  <a:pt x="12350" y="5336"/>
                </a:lnTo>
                <a:lnTo>
                  <a:pt x="12358" y="5346"/>
                </a:lnTo>
                <a:lnTo>
                  <a:pt x="12362" y="5350"/>
                </a:lnTo>
                <a:lnTo>
                  <a:pt x="12362" y="5354"/>
                </a:lnTo>
                <a:lnTo>
                  <a:pt x="12364" y="5364"/>
                </a:lnTo>
                <a:lnTo>
                  <a:pt x="12370" y="5368"/>
                </a:lnTo>
                <a:lnTo>
                  <a:pt x="12378" y="5370"/>
                </a:lnTo>
                <a:lnTo>
                  <a:pt x="12388" y="5370"/>
                </a:lnTo>
                <a:lnTo>
                  <a:pt x="12390" y="5368"/>
                </a:lnTo>
                <a:lnTo>
                  <a:pt x="12392" y="5364"/>
                </a:lnTo>
                <a:lnTo>
                  <a:pt x="12392" y="5360"/>
                </a:lnTo>
                <a:lnTo>
                  <a:pt x="12392" y="5356"/>
                </a:lnTo>
                <a:lnTo>
                  <a:pt x="12386" y="5346"/>
                </a:lnTo>
                <a:lnTo>
                  <a:pt x="12382" y="5342"/>
                </a:lnTo>
                <a:lnTo>
                  <a:pt x="12378" y="5340"/>
                </a:lnTo>
                <a:close/>
                <a:moveTo>
                  <a:pt x="12070" y="5308"/>
                </a:moveTo>
                <a:lnTo>
                  <a:pt x="12070" y="5308"/>
                </a:lnTo>
                <a:lnTo>
                  <a:pt x="12064" y="5304"/>
                </a:lnTo>
                <a:lnTo>
                  <a:pt x="12062" y="5304"/>
                </a:lnTo>
                <a:lnTo>
                  <a:pt x="12062" y="5306"/>
                </a:lnTo>
                <a:lnTo>
                  <a:pt x="12062" y="5310"/>
                </a:lnTo>
                <a:lnTo>
                  <a:pt x="12066" y="5320"/>
                </a:lnTo>
                <a:lnTo>
                  <a:pt x="12068" y="5322"/>
                </a:lnTo>
                <a:lnTo>
                  <a:pt x="12070" y="5322"/>
                </a:lnTo>
                <a:lnTo>
                  <a:pt x="12072" y="5322"/>
                </a:lnTo>
                <a:lnTo>
                  <a:pt x="12074" y="5320"/>
                </a:lnTo>
                <a:lnTo>
                  <a:pt x="12074" y="5314"/>
                </a:lnTo>
                <a:lnTo>
                  <a:pt x="12074" y="5310"/>
                </a:lnTo>
                <a:lnTo>
                  <a:pt x="12070" y="5308"/>
                </a:lnTo>
                <a:close/>
                <a:moveTo>
                  <a:pt x="12042" y="5304"/>
                </a:moveTo>
                <a:lnTo>
                  <a:pt x="12042" y="5304"/>
                </a:lnTo>
                <a:lnTo>
                  <a:pt x="12044" y="5302"/>
                </a:lnTo>
                <a:lnTo>
                  <a:pt x="12044" y="5300"/>
                </a:lnTo>
                <a:lnTo>
                  <a:pt x="12040" y="5294"/>
                </a:lnTo>
                <a:lnTo>
                  <a:pt x="12036" y="5290"/>
                </a:lnTo>
                <a:lnTo>
                  <a:pt x="12034" y="5292"/>
                </a:lnTo>
                <a:lnTo>
                  <a:pt x="12032" y="5292"/>
                </a:lnTo>
                <a:lnTo>
                  <a:pt x="12030" y="5296"/>
                </a:lnTo>
                <a:lnTo>
                  <a:pt x="12030" y="5298"/>
                </a:lnTo>
                <a:lnTo>
                  <a:pt x="12032" y="5304"/>
                </a:lnTo>
                <a:lnTo>
                  <a:pt x="12038" y="5306"/>
                </a:lnTo>
                <a:lnTo>
                  <a:pt x="12042" y="5304"/>
                </a:lnTo>
                <a:close/>
                <a:moveTo>
                  <a:pt x="11990" y="5256"/>
                </a:moveTo>
                <a:lnTo>
                  <a:pt x="11990" y="5256"/>
                </a:lnTo>
                <a:lnTo>
                  <a:pt x="11988" y="5256"/>
                </a:lnTo>
                <a:lnTo>
                  <a:pt x="11986" y="5256"/>
                </a:lnTo>
                <a:lnTo>
                  <a:pt x="11984" y="5260"/>
                </a:lnTo>
                <a:lnTo>
                  <a:pt x="11984" y="5266"/>
                </a:lnTo>
                <a:lnTo>
                  <a:pt x="11986" y="5270"/>
                </a:lnTo>
                <a:lnTo>
                  <a:pt x="11988" y="5272"/>
                </a:lnTo>
                <a:lnTo>
                  <a:pt x="11990" y="5272"/>
                </a:lnTo>
                <a:lnTo>
                  <a:pt x="11994" y="5268"/>
                </a:lnTo>
                <a:lnTo>
                  <a:pt x="11994" y="5262"/>
                </a:lnTo>
                <a:lnTo>
                  <a:pt x="11994" y="5260"/>
                </a:lnTo>
                <a:lnTo>
                  <a:pt x="11990" y="5256"/>
                </a:lnTo>
                <a:close/>
                <a:moveTo>
                  <a:pt x="12272" y="5478"/>
                </a:moveTo>
                <a:lnTo>
                  <a:pt x="12272" y="5478"/>
                </a:lnTo>
                <a:lnTo>
                  <a:pt x="12264" y="5474"/>
                </a:lnTo>
                <a:lnTo>
                  <a:pt x="12258" y="5474"/>
                </a:lnTo>
                <a:lnTo>
                  <a:pt x="12256" y="5476"/>
                </a:lnTo>
                <a:lnTo>
                  <a:pt x="12258" y="5478"/>
                </a:lnTo>
                <a:lnTo>
                  <a:pt x="12260" y="5480"/>
                </a:lnTo>
                <a:lnTo>
                  <a:pt x="12260" y="5482"/>
                </a:lnTo>
                <a:lnTo>
                  <a:pt x="12262" y="5486"/>
                </a:lnTo>
                <a:lnTo>
                  <a:pt x="12266" y="5486"/>
                </a:lnTo>
                <a:lnTo>
                  <a:pt x="12270" y="5488"/>
                </a:lnTo>
                <a:lnTo>
                  <a:pt x="12274" y="5486"/>
                </a:lnTo>
                <a:lnTo>
                  <a:pt x="12276" y="5482"/>
                </a:lnTo>
                <a:lnTo>
                  <a:pt x="12272" y="5478"/>
                </a:lnTo>
                <a:close/>
                <a:moveTo>
                  <a:pt x="12280" y="5594"/>
                </a:moveTo>
                <a:lnTo>
                  <a:pt x="12280" y="5594"/>
                </a:lnTo>
                <a:lnTo>
                  <a:pt x="12286" y="5598"/>
                </a:lnTo>
                <a:lnTo>
                  <a:pt x="12296" y="5602"/>
                </a:lnTo>
                <a:lnTo>
                  <a:pt x="12302" y="5604"/>
                </a:lnTo>
                <a:lnTo>
                  <a:pt x="12304" y="5604"/>
                </a:lnTo>
                <a:lnTo>
                  <a:pt x="12304" y="5602"/>
                </a:lnTo>
                <a:lnTo>
                  <a:pt x="12298" y="5596"/>
                </a:lnTo>
                <a:lnTo>
                  <a:pt x="12288" y="5592"/>
                </a:lnTo>
                <a:lnTo>
                  <a:pt x="12280" y="5590"/>
                </a:lnTo>
                <a:lnTo>
                  <a:pt x="12280" y="5594"/>
                </a:lnTo>
                <a:close/>
                <a:moveTo>
                  <a:pt x="12164" y="5488"/>
                </a:moveTo>
                <a:lnTo>
                  <a:pt x="12164" y="5488"/>
                </a:lnTo>
                <a:lnTo>
                  <a:pt x="12160" y="5486"/>
                </a:lnTo>
                <a:lnTo>
                  <a:pt x="12158" y="5486"/>
                </a:lnTo>
                <a:lnTo>
                  <a:pt x="12156" y="5492"/>
                </a:lnTo>
                <a:lnTo>
                  <a:pt x="12160" y="5498"/>
                </a:lnTo>
                <a:lnTo>
                  <a:pt x="12164" y="5502"/>
                </a:lnTo>
                <a:lnTo>
                  <a:pt x="12166" y="5502"/>
                </a:lnTo>
                <a:lnTo>
                  <a:pt x="12168" y="5500"/>
                </a:lnTo>
                <a:lnTo>
                  <a:pt x="12168" y="5494"/>
                </a:lnTo>
                <a:lnTo>
                  <a:pt x="12164" y="5488"/>
                </a:lnTo>
                <a:close/>
                <a:moveTo>
                  <a:pt x="12190" y="5504"/>
                </a:moveTo>
                <a:lnTo>
                  <a:pt x="12190" y="5504"/>
                </a:lnTo>
                <a:lnTo>
                  <a:pt x="12188" y="5498"/>
                </a:lnTo>
                <a:lnTo>
                  <a:pt x="12182" y="5494"/>
                </a:lnTo>
                <a:lnTo>
                  <a:pt x="12178" y="5494"/>
                </a:lnTo>
                <a:lnTo>
                  <a:pt x="12176" y="5494"/>
                </a:lnTo>
                <a:lnTo>
                  <a:pt x="12174" y="5496"/>
                </a:lnTo>
                <a:lnTo>
                  <a:pt x="12172" y="5500"/>
                </a:lnTo>
                <a:lnTo>
                  <a:pt x="12170" y="5506"/>
                </a:lnTo>
                <a:lnTo>
                  <a:pt x="12170" y="5508"/>
                </a:lnTo>
                <a:lnTo>
                  <a:pt x="12174" y="5510"/>
                </a:lnTo>
                <a:lnTo>
                  <a:pt x="12186" y="5510"/>
                </a:lnTo>
                <a:lnTo>
                  <a:pt x="12188" y="5510"/>
                </a:lnTo>
                <a:lnTo>
                  <a:pt x="12190" y="5504"/>
                </a:lnTo>
                <a:close/>
                <a:moveTo>
                  <a:pt x="12204" y="5532"/>
                </a:moveTo>
                <a:lnTo>
                  <a:pt x="12204" y="5532"/>
                </a:lnTo>
                <a:lnTo>
                  <a:pt x="12206" y="5526"/>
                </a:lnTo>
                <a:lnTo>
                  <a:pt x="12204" y="5522"/>
                </a:lnTo>
                <a:lnTo>
                  <a:pt x="12202" y="5520"/>
                </a:lnTo>
                <a:lnTo>
                  <a:pt x="12200" y="5522"/>
                </a:lnTo>
                <a:lnTo>
                  <a:pt x="12198" y="5524"/>
                </a:lnTo>
                <a:lnTo>
                  <a:pt x="12196" y="5524"/>
                </a:lnTo>
                <a:lnTo>
                  <a:pt x="12192" y="5520"/>
                </a:lnTo>
                <a:lnTo>
                  <a:pt x="12188" y="5516"/>
                </a:lnTo>
                <a:lnTo>
                  <a:pt x="12186" y="5518"/>
                </a:lnTo>
                <a:lnTo>
                  <a:pt x="12188" y="5526"/>
                </a:lnTo>
                <a:lnTo>
                  <a:pt x="12194" y="5532"/>
                </a:lnTo>
                <a:lnTo>
                  <a:pt x="12198" y="5536"/>
                </a:lnTo>
                <a:lnTo>
                  <a:pt x="12202" y="5534"/>
                </a:lnTo>
                <a:lnTo>
                  <a:pt x="12204" y="5532"/>
                </a:lnTo>
                <a:close/>
                <a:moveTo>
                  <a:pt x="12424" y="5380"/>
                </a:moveTo>
                <a:lnTo>
                  <a:pt x="12424" y="5380"/>
                </a:lnTo>
                <a:lnTo>
                  <a:pt x="12430" y="5386"/>
                </a:lnTo>
                <a:lnTo>
                  <a:pt x="12436" y="5394"/>
                </a:lnTo>
                <a:lnTo>
                  <a:pt x="12446" y="5398"/>
                </a:lnTo>
                <a:lnTo>
                  <a:pt x="12450" y="5400"/>
                </a:lnTo>
                <a:lnTo>
                  <a:pt x="12454" y="5400"/>
                </a:lnTo>
                <a:lnTo>
                  <a:pt x="12458" y="5398"/>
                </a:lnTo>
                <a:lnTo>
                  <a:pt x="12454" y="5394"/>
                </a:lnTo>
                <a:lnTo>
                  <a:pt x="12446" y="5390"/>
                </a:lnTo>
                <a:lnTo>
                  <a:pt x="12444" y="5388"/>
                </a:lnTo>
                <a:lnTo>
                  <a:pt x="12442" y="5384"/>
                </a:lnTo>
                <a:lnTo>
                  <a:pt x="12438" y="5376"/>
                </a:lnTo>
                <a:lnTo>
                  <a:pt x="12434" y="5372"/>
                </a:lnTo>
                <a:lnTo>
                  <a:pt x="12416" y="5360"/>
                </a:lnTo>
                <a:lnTo>
                  <a:pt x="12412" y="5358"/>
                </a:lnTo>
                <a:lnTo>
                  <a:pt x="12410" y="5358"/>
                </a:lnTo>
                <a:lnTo>
                  <a:pt x="12412" y="5366"/>
                </a:lnTo>
                <a:lnTo>
                  <a:pt x="12414" y="5370"/>
                </a:lnTo>
                <a:lnTo>
                  <a:pt x="12418" y="5372"/>
                </a:lnTo>
                <a:lnTo>
                  <a:pt x="12422" y="5376"/>
                </a:lnTo>
                <a:lnTo>
                  <a:pt x="12424" y="5380"/>
                </a:lnTo>
                <a:close/>
                <a:moveTo>
                  <a:pt x="12528" y="5426"/>
                </a:moveTo>
                <a:lnTo>
                  <a:pt x="12528" y="5426"/>
                </a:lnTo>
                <a:lnTo>
                  <a:pt x="12520" y="5420"/>
                </a:lnTo>
                <a:lnTo>
                  <a:pt x="12516" y="5416"/>
                </a:lnTo>
                <a:lnTo>
                  <a:pt x="12512" y="5412"/>
                </a:lnTo>
                <a:lnTo>
                  <a:pt x="12502" y="5408"/>
                </a:lnTo>
                <a:lnTo>
                  <a:pt x="12498" y="5406"/>
                </a:lnTo>
                <a:lnTo>
                  <a:pt x="12496" y="5406"/>
                </a:lnTo>
                <a:lnTo>
                  <a:pt x="12498" y="5416"/>
                </a:lnTo>
                <a:lnTo>
                  <a:pt x="12500" y="5422"/>
                </a:lnTo>
                <a:lnTo>
                  <a:pt x="12504" y="5426"/>
                </a:lnTo>
                <a:lnTo>
                  <a:pt x="12518" y="5434"/>
                </a:lnTo>
                <a:lnTo>
                  <a:pt x="12534" y="5444"/>
                </a:lnTo>
                <a:lnTo>
                  <a:pt x="12548" y="5452"/>
                </a:lnTo>
                <a:lnTo>
                  <a:pt x="12552" y="5456"/>
                </a:lnTo>
                <a:lnTo>
                  <a:pt x="12552" y="5454"/>
                </a:lnTo>
                <a:lnTo>
                  <a:pt x="12550" y="5446"/>
                </a:lnTo>
                <a:lnTo>
                  <a:pt x="12540" y="5434"/>
                </a:lnTo>
                <a:lnTo>
                  <a:pt x="12534" y="5430"/>
                </a:lnTo>
                <a:lnTo>
                  <a:pt x="12528" y="5426"/>
                </a:lnTo>
                <a:close/>
                <a:moveTo>
                  <a:pt x="12608" y="5498"/>
                </a:moveTo>
                <a:lnTo>
                  <a:pt x="12608" y="5498"/>
                </a:lnTo>
                <a:lnTo>
                  <a:pt x="12608" y="5492"/>
                </a:lnTo>
                <a:lnTo>
                  <a:pt x="12608" y="5488"/>
                </a:lnTo>
                <a:lnTo>
                  <a:pt x="12606" y="5482"/>
                </a:lnTo>
                <a:lnTo>
                  <a:pt x="12602" y="5476"/>
                </a:lnTo>
                <a:lnTo>
                  <a:pt x="12598" y="5472"/>
                </a:lnTo>
                <a:lnTo>
                  <a:pt x="12596" y="5468"/>
                </a:lnTo>
                <a:lnTo>
                  <a:pt x="12594" y="5458"/>
                </a:lnTo>
                <a:lnTo>
                  <a:pt x="12590" y="5450"/>
                </a:lnTo>
                <a:lnTo>
                  <a:pt x="12586" y="5446"/>
                </a:lnTo>
                <a:lnTo>
                  <a:pt x="12582" y="5444"/>
                </a:lnTo>
                <a:lnTo>
                  <a:pt x="12578" y="5444"/>
                </a:lnTo>
                <a:lnTo>
                  <a:pt x="12576" y="5444"/>
                </a:lnTo>
                <a:lnTo>
                  <a:pt x="12578" y="5450"/>
                </a:lnTo>
                <a:lnTo>
                  <a:pt x="12582" y="5462"/>
                </a:lnTo>
                <a:lnTo>
                  <a:pt x="12586" y="5480"/>
                </a:lnTo>
                <a:lnTo>
                  <a:pt x="12588" y="5484"/>
                </a:lnTo>
                <a:lnTo>
                  <a:pt x="12592" y="5488"/>
                </a:lnTo>
                <a:lnTo>
                  <a:pt x="12596" y="5492"/>
                </a:lnTo>
                <a:lnTo>
                  <a:pt x="12600" y="5498"/>
                </a:lnTo>
                <a:lnTo>
                  <a:pt x="12606" y="5504"/>
                </a:lnTo>
                <a:lnTo>
                  <a:pt x="12610" y="5508"/>
                </a:lnTo>
                <a:lnTo>
                  <a:pt x="12612" y="5508"/>
                </a:lnTo>
                <a:lnTo>
                  <a:pt x="12612" y="5506"/>
                </a:lnTo>
                <a:lnTo>
                  <a:pt x="12608" y="5498"/>
                </a:lnTo>
                <a:close/>
                <a:moveTo>
                  <a:pt x="12552" y="5494"/>
                </a:moveTo>
                <a:lnTo>
                  <a:pt x="12552" y="5494"/>
                </a:lnTo>
                <a:lnTo>
                  <a:pt x="12548" y="5490"/>
                </a:lnTo>
                <a:lnTo>
                  <a:pt x="12544" y="5490"/>
                </a:lnTo>
                <a:lnTo>
                  <a:pt x="12540" y="5492"/>
                </a:lnTo>
                <a:lnTo>
                  <a:pt x="12540" y="5502"/>
                </a:lnTo>
                <a:lnTo>
                  <a:pt x="12542" y="5508"/>
                </a:lnTo>
                <a:lnTo>
                  <a:pt x="12546" y="5512"/>
                </a:lnTo>
                <a:lnTo>
                  <a:pt x="12554" y="5516"/>
                </a:lnTo>
                <a:lnTo>
                  <a:pt x="12562" y="5516"/>
                </a:lnTo>
                <a:lnTo>
                  <a:pt x="12570" y="5516"/>
                </a:lnTo>
                <a:lnTo>
                  <a:pt x="12572" y="5518"/>
                </a:lnTo>
                <a:lnTo>
                  <a:pt x="12574" y="5520"/>
                </a:lnTo>
                <a:lnTo>
                  <a:pt x="12582" y="5522"/>
                </a:lnTo>
                <a:lnTo>
                  <a:pt x="12586" y="5522"/>
                </a:lnTo>
                <a:lnTo>
                  <a:pt x="12590" y="5520"/>
                </a:lnTo>
                <a:lnTo>
                  <a:pt x="12590" y="5518"/>
                </a:lnTo>
                <a:lnTo>
                  <a:pt x="12590" y="5516"/>
                </a:lnTo>
                <a:lnTo>
                  <a:pt x="12584" y="5508"/>
                </a:lnTo>
                <a:lnTo>
                  <a:pt x="12576" y="5500"/>
                </a:lnTo>
                <a:lnTo>
                  <a:pt x="12574" y="5496"/>
                </a:lnTo>
                <a:lnTo>
                  <a:pt x="12570" y="5496"/>
                </a:lnTo>
                <a:lnTo>
                  <a:pt x="12562" y="5496"/>
                </a:lnTo>
                <a:lnTo>
                  <a:pt x="12556" y="5496"/>
                </a:lnTo>
                <a:lnTo>
                  <a:pt x="12554" y="5496"/>
                </a:lnTo>
                <a:lnTo>
                  <a:pt x="12552" y="5494"/>
                </a:lnTo>
                <a:close/>
                <a:moveTo>
                  <a:pt x="12636" y="5548"/>
                </a:moveTo>
                <a:lnTo>
                  <a:pt x="12636" y="5548"/>
                </a:lnTo>
                <a:lnTo>
                  <a:pt x="12628" y="5546"/>
                </a:lnTo>
                <a:lnTo>
                  <a:pt x="12620" y="5540"/>
                </a:lnTo>
                <a:lnTo>
                  <a:pt x="12612" y="5538"/>
                </a:lnTo>
                <a:lnTo>
                  <a:pt x="12608" y="5538"/>
                </a:lnTo>
                <a:lnTo>
                  <a:pt x="12606" y="5538"/>
                </a:lnTo>
                <a:lnTo>
                  <a:pt x="12604" y="5540"/>
                </a:lnTo>
                <a:lnTo>
                  <a:pt x="12606" y="5542"/>
                </a:lnTo>
                <a:lnTo>
                  <a:pt x="12608" y="5544"/>
                </a:lnTo>
                <a:lnTo>
                  <a:pt x="12612" y="5546"/>
                </a:lnTo>
                <a:lnTo>
                  <a:pt x="12614" y="5548"/>
                </a:lnTo>
                <a:lnTo>
                  <a:pt x="12614" y="5552"/>
                </a:lnTo>
                <a:lnTo>
                  <a:pt x="12616" y="5554"/>
                </a:lnTo>
                <a:lnTo>
                  <a:pt x="12618" y="5558"/>
                </a:lnTo>
                <a:lnTo>
                  <a:pt x="12628" y="5564"/>
                </a:lnTo>
                <a:lnTo>
                  <a:pt x="12638" y="5566"/>
                </a:lnTo>
                <a:lnTo>
                  <a:pt x="12646" y="5568"/>
                </a:lnTo>
                <a:lnTo>
                  <a:pt x="12648" y="5568"/>
                </a:lnTo>
                <a:lnTo>
                  <a:pt x="12648" y="5564"/>
                </a:lnTo>
                <a:lnTo>
                  <a:pt x="12646" y="5558"/>
                </a:lnTo>
                <a:lnTo>
                  <a:pt x="12642" y="5552"/>
                </a:lnTo>
                <a:lnTo>
                  <a:pt x="12640" y="5548"/>
                </a:lnTo>
                <a:lnTo>
                  <a:pt x="12636" y="5548"/>
                </a:lnTo>
                <a:close/>
                <a:moveTo>
                  <a:pt x="12554" y="5600"/>
                </a:moveTo>
                <a:lnTo>
                  <a:pt x="12554" y="5600"/>
                </a:lnTo>
                <a:lnTo>
                  <a:pt x="12558" y="5604"/>
                </a:lnTo>
                <a:lnTo>
                  <a:pt x="12564" y="5610"/>
                </a:lnTo>
                <a:lnTo>
                  <a:pt x="12574" y="5614"/>
                </a:lnTo>
                <a:lnTo>
                  <a:pt x="12576" y="5616"/>
                </a:lnTo>
                <a:lnTo>
                  <a:pt x="12580" y="5614"/>
                </a:lnTo>
                <a:lnTo>
                  <a:pt x="12580" y="5612"/>
                </a:lnTo>
                <a:lnTo>
                  <a:pt x="12578" y="5610"/>
                </a:lnTo>
                <a:lnTo>
                  <a:pt x="12570" y="5602"/>
                </a:lnTo>
                <a:lnTo>
                  <a:pt x="12560" y="5598"/>
                </a:lnTo>
                <a:lnTo>
                  <a:pt x="12556" y="5598"/>
                </a:lnTo>
                <a:lnTo>
                  <a:pt x="12554" y="5600"/>
                </a:lnTo>
                <a:close/>
                <a:moveTo>
                  <a:pt x="12456" y="5426"/>
                </a:moveTo>
                <a:lnTo>
                  <a:pt x="12456" y="5426"/>
                </a:lnTo>
                <a:lnTo>
                  <a:pt x="12454" y="5426"/>
                </a:lnTo>
                <a:lnTo>
                  <a:pt x="12450" y="5428"/>
                </a:lnTo>
                <a:lnTo>
                  <a:pt x="12446" y="5434"/>
                </a:lnTo>
                <a:lnTo>
                  <a:pt x="12446" y="5442"/>
                </a:lnTo>
                <a:lnTo>
                  <a:pt x="12448" y="5444"/>
                </a:lnTo>
                <a:lnTo>
                  <a:pt x="12450" y="5444"/>
                </a:lnTo>
                <a:lnTo>
                  <a:pt x="12456" y="5442"/>
                </a:lnTo>
                <a:lnTo>
                  <a:pt x="12458" y="5444"/>
                </a:lnTo>
                <a:lnTo>
                  <a:pt x="12460" y="5448"/>
                </a:lnTo>
                <a:lnTo>
                  <a:pt x="12464" y="5454"/>
                </a:lnTo>
                <a:lnTo>
                  <a:pt x="12468" y="5454"/>
                </a:lnTo>
                <a:lnTo>
                  <a:pt x="12470" y="5452"/>
                </a:lnTo>
                <a:lnTo>
                  <a:pt x="12468" y="5446"/>
                </a:lnTo>
                <a:lnTo>
                  <a:pt x="12464" y="5440"/>
                </a:lnTo>
                <a:lnTo>
                  <a:pt x="12460" y="5436"/>
                </a:lnTo>
                <a:lnTo>
                  <a:pt x="12460" y="5432"/>
                </a:lnTo>
                <a:lnTo>
                  <a:pt x="12460" y="5428"/>
                </a:lnTo>
                <a:lnTo>
                  <a:pt x="12456" y="5426"/>
                </a:lnTo>
                <a:close/>
                <a:moveTo>
                  <a:pt x="12432" y="5420"/>
                </a:moveTo>
                <a:lnTo>
                  <a:pt x="12432" y="5420"/>
                </a:lnTo>
                <a:lnTo>
                  <a:pt x="12432" y="5426"/>
                </a:lnTo>
                <a:lnTo>
                  <a:pt x="12436" y="5432"/>
                </a:lnTo>
                <a:lnTo>
                  <a:pt x="12438" y="5434"/>
                </a:lnTo>
                <a:lnTo>
                  <a:pt x="12440" y="5434"/>
                </a:lnTo>
                <a:lnTo>
                  <a:pt x="12442" y="5432"/>
                </a:lnTo>
                <a:lnTo>
                  <a:pt x="12444" y="5428"/>
                </a:lnTo>
                <a:lnTo>
                  <a:pt x="12444" y="5426"/>
                </a:lnTo>
                <a:lnTo>
                  <a:pt x="12440" y="5420"/>
                </a:lnTo>
                <a:lnTo>
                  <a:pt x="12436" y="5418"/>
                </a:lnTo>
                <a:lnTo>
                  <a:pt x="12434" y="5418"/>
                </a:lnTo>
                <a:lnTo>
                  <a:pt x="12432" y="5420"/>
                </a:lnTo>
                <a:close/>
                <a:moveTo>
                  <a:pt x="12414" y="5408"/>
                </a:moveTo>
                <a:lnTo>
                  <a:pt x="12414" y="5408"/>
                </a:lnTo>
                <a:lnTo>
                  <a:pt x="12416" y="5412"/>
                </a:lnTo>
                <a:lnTo>
                  <a:pt x="12418" y="5418"/>
                </a:lnTo>
                <a:lnTo>
                  <a:pt x="12422" y="5420"/>
                </a:lnTo>
                <a:lnTo>
                  <a:pt x="12424" y="5420"/>
                </a:lnTo>
                <a:lnTo>
                  <a:pt x="12428" y="5418"/>
                </a:lnTo>
                <a:lnTo>
                  <a:pt x="12428" y="5416"/>
                </a:lnTo>
                <a:lnTo>
                  <a:pt x="12428" y="5414"/>
                </a:lnTo>
                <a:lnTo>
                  <a:pt x="12424" y="5408"/>
                </a:lnTo>
                <a:lnTo>
                  <a:pt x="12418" y="5406"/>
                </a:lnTo>
                <a:lnTo>
                  <a:pt x="12416" y="5406"/>
                </a:lnTo>
                <a:lnTo>
                  <a:pt x="12414" y="5408"/>
                </a:lnTo>
                <a:close/>
                <a:moveTo>
                  <a:pt x="12472" y="5456"/>
                </a:moveTo>
                <a:lnTo>
                  <a:pt x="12472" y="5456"/>
                </a:lnTo>
                <a:lnTo>
                  <a:pt x="12470" y="5460"/>
                </a:lnTo>
                <a:lnTo>
                  <a:pt x="12472" y="5464"/>
                </a:lnTo>
                <a:lnTo>
                  <a:pt x="12474" y="5464"/>
                </a:lnTo>
                <a:lnTo>
                  <a:pt x="12480" y="5464"/>
                </a:lnTo>
                <a:lnTo>
                  <a:pt x="12482" y="5462"/>
                </a:lnTo>
                <a:lnTo>
                  <a:pt x="12482" y="5460"/>
                </a:lnTo>
                <a:lnTo>
                  <a:pt x="12480" y="5456"/>
                </a:lnTo>
                <a:lnTo>
                  <a:pt x="12476" y="5454"/>
                </a:lnTo>
                <a:lnTo>
                  <a:pt x="12474" y="5454"/>
                </a:lnTo>
                <a:lnTo>
                  <a:pt x="12472" y="5456"/>
                </a:lnTo>
                <a:close/>
                <a:moveTo>
                  <a:pt x="12382" y="5382"/>
                </a:moveTo>
                <a:lnTo>
                  <a:pt x="12382" y="5382"/>
                </a:lnTo>
                <a:lnTo>
                  <a:pt x="12382" y="5384"/>
                </a:lnTo>
                <a:lnTo>
                  <a:pt x="12386" y="5386"/>
                </a:lnTo>
                <a:lnTo>
                  <a:pt x="12388" y="5386"/>
                </a:lnTo>
                <a:lnTo>
                  <a:pt x="12390" y="5384"/>
                </a:lnTo>
                <a:lnTo>
                  <a:pt x="12390" y="5380"/>
                </a:lnTo>
                <a:lnTo>
                  <a:pt x="12386" y="5378"/>
                </a:lnTo>
                <a:lnTo>
                  <a:pt x="12384" y="5378"/>
                </a:lnTo>
                <a:lnTo>
                  <a:pt x="12382" y="5382"/>
                </a:lnTo>
                <a:close/>
                <a:moveTo>
                  <a:pt x="12828" y="5768"/>
                </a:moveTo>
                <a:lnTo>
                  <a:pt x="12828" y="5768"/>
                </a:lnTo>
                <a:lnTo>
                  <a:pt x="12826" y="5762"/>
                </a:lnTo>
                <a:lnTo>
                  <a:pt x="12824" y="5758"/>
                </a:lnTo>
                <a:lnTo>
                  <a:pt x="12822" y="5756"/>
                </a:lnTo>
                <a:lnTo>
                  <a:pt x="12820" y="5754"/>
                </a:lnTo>
                <a:lnTo>
                  <a:pt x="12818" y="5756"/>
                </a:lnTo>
                <a:lnTo>
                  <a:pt x="12816" y="5758"/>
                </a:lnTo>
                <a:lnTo>
                  <a:pt x="12816" y="5762"/>
                </a:lnTo>
                <a:lnTo>
                  <a:pt x="12818" y="5766"/>
                </a:lnTo>
                <a:lnTo>
                  <a:pt x="12822" y="5776"/>
                </a:lnTo>
                <a:lnTo>
                  <a:pt x="12822" y="5780"/>
                </a:lnTo>
                <a:lnTo>
                  <a:pt x="12822" y="5786"/>
                </a:lnTo>
                <a:lnTo>
                  <a:pt x="12822" y="5792"/>
                </a:lnTo>
                <a:lnTo>
                  <a:pt x="12826" y="5800"/>
                </a:lnTo>
                <a:lnTo>
                  <a:pt x="12828" y="5804"/>
                </a:lnTo>
                <a:lnTo>
                  <a:pt x="12830" y="5806"/>
                </a:lnTo>
                <a:lnTo>
                  <a:pt x="12838" y="5804"/>
                </a:lnTo>
                <a:lnTo>
                  <a:pt x="12842" y="5802"/>
                </a:lnTo>
                <a:lnTo>
                  <a:pt x="12844" y="5800"/>
                </a:lnTo>
                <a:lnTo>
                  <a:pt x="12846" y="5798"/>
                </a:lnTo>
                <a:lnTo>
                  <a:pt x="12846" y="5794"/>
                </a:lnTo>
                <a:lnTo>
                  <a:pt x="12844" y="5786"/>
                </a:lnTo>
                <a:lnTo>
                  <a:pt x="12840" y="5776"/>
                </a:lnTo>
                <a:lnTo>
                  <a:pt x="12838" y="5772"/>
                </a:lnTo>
                <a:lnTo>
                  <a:pt x="12836" y="5770"/>
                </a:lnTo>
                <a:lnTo>
                  <a:pt x="12834" y="5774"/>
                </a:lnTo>
                <a:lnTo>
                  <a:pt x="12832" y="5776"/>
                </a:lnTo>
                <a:lnTo>
                  <a:pt x="12828" y="5768"/>
                </a:lnTo>
                <a:close/>
                <a:moveTo>
                  <a:pt x="12844" y="5822"/>
                </a:moveTo>
                <a:lnTo>
                  <a:pt x="12844" y="5822"/>
                </a:lnTo>
                <a:lnTo>
                  <a:pt x="12844" y="5828"/>
                </a:lnTo>
                <a:lnTo>
                  <a:pt x="12850" y="5832"/>
                </a:lnTo>
                <a:lnTo>
                  <a:pt x="12852" y="5834"/>
                </a:lnTo>
                <a:lnTo>
                  <a:pt x="12854" y="5836"/>
                </a:lnTo>
                <a:lnTo>
                  <a:pt x="12856" y="5842"/>
                </a:lnTo>
                <a:lnTo>
                  <a:pt x="12858" y="5848"/>
                </a:lnTo>
                <a:lnTo>
                  <a:pt x="12862" y="5848"/>
                </a:lnTo>
                <a:lnTo>
                  <a:pt x="12866" y="5848"/>
                </a:lnTo>
                <a:lnTo>
                  <a:pt x="12870" y="5844"/>
                </a:lnTo>
                <a:lnTo>
                  <a:pt x="12868" y="5840"/>
                </a:lnTo>
                <a:lnTo>
                  <a:pt x="12866" y="5834"/>
                </a:lnTo>
                <a:lnTo>
                  <a:pt x="12862" y="5828"/>
                </a:lnTo>
                <a:lnTo>
                  <a:pt x="12856" y="5822"/>
                </a:lnTo>
                <a:lnTo>
                  <a:pt x="12850" y="5820"/>
                </a:lnTo>
                <a:lnTo>
                  <a:pt x="12846" y="5820"/>
                </a:lnTo>
                <a:lnTo>
                  <a:pt x="12844" y="5822"/>
                </a:lnTo>
                <a:close/>
                <a:moveTo>
                  <a:pt x="12888" y="5902"/>
                </a:moveTo>
                <a:lnTo>
                  <a:pt x="12888" y="5902"/>
                </a:lnTo>
                <a:lnTo>
                  <a:pt x="12886" y="5906"/>
                </a:lnTo>
                <a:lnTo>
                  <a:pt x="12888" y="5910"/>
                </a:lnTo>
                <a:lnTo>
                  <a:pt x="12892" y="5912"/>
                </a:lnTo>
                <a:lnTo>
                  <a:pt x="12898" y="5912"/>
                </a:lnTo>
                <a:lnTo>
                  <a:pt x="12900" y="5912"/>
                </a:lnTo>
                <a:lnTo>
                  <a:pt x="12902" y="5910"/>
                </a:lnTo>
                <a:lnTo>
                  <a:pt x="12898" y="5904"/>
                </a:lnTo>
                <a:lnTo>
                  <a:pt x="12892" y="5900"/>
                </a:lnTo>
                <a:lnTo>
                  <a:pt x="12890" y="5898"/>
                </a:lnTo>
                <a:lnTo>
                  <a:pt x="12888" y="5902"/>
                </a:lnTo>
                <a:close/>
                <a:moveTo>
                  <a:pt x="12890" y="5864"/>
                </a:moveTo>
                <a:lnTo>
                  <a:pt x="12890" y="5864"/>
                </a:lnTo>
                <a:lnTo>
                  <a:pt x="12892" y="5862"/>
                </a:lnTo>
                <a:lnTo>
                  <a:pt x="12888" y="5854"/>
                </a:lnTo>
                <a:lnTo>
                  <a:pt x="12886" y="5852"/>
                </a:lnTo>
                <a:lnTo>
                  <a:pt x="12884" y="5852"/>
                </a:lnTo>
                <a:lnTo>
                  <a:pt x="12882" y="5856"/>
                </a:lnTo>
                <a:lnTo>
                  <a:pt x="12884" y="5860"/>
                </a:lnTo>
                <a:lnTo>
                  <a:pt x="12886" y="5862"/>
                </a:lnTo>
                <a:lnTo>
                  <a:pt x="12890" y="5864"/>
                </a:lnTo>
                <a:close/>
                <a:moveTo>
                  <a:pt x="12876" y="5836"/>
                </a:moveTo>
                <a:lnTo>
                  <a:pt x="12876" y="5836"/>
                </a:lnTo>
                <a:lnTo>
                  <a:pt x="12880" y="5840"/>
                </a:lnTo>
                <a:lnTo>
                  <a:pt x="12884" y="5840"/>
                </a:lnTo>
                <a:lnTo>
                  <a:pt x="12888" y="5838"/>
                </a:lnTo>
                <a:lnTo>
                  <a:pt x="12888" y="5832"/>
                </a:lnTo>
                <a:lnTo>
                  <a:pt x="12886" y="5830"/>
                </a:lnTo>
                <a:lnTo>
                  <a:pt x="12884" y="5828"/>
                </a:lnTo>
                <a:lnTo>
                  <a:pt x="12878" y="5828"/>
                </a:lnTo>
                <a:lnTo>
                  <a:pt x="12876" y="5832"/>
                </a:lnTo>
                <a:lnTo>
                  <a:pt x="12876" y="5834"/>
                </a:lnTo>
                <a:lnTo>
                  <a:pt x="12876" y="5836"/>
                </a:lnTo>
                <a:close/>
                <a:moveTo>
                  <a:pt x="12866" y="5796"/>
                </a:moveTo>
                <a:lnTo>
                  <a:pt x="12866" y="5796"/>
                </a:lnTo>
                <a:lnTo>
                  <a:pt x="12874" y="5792"/>
                </a:lnTo>
                <a:lnTo>
                  <a:pt x="12876" y="5790"/>
                </a:lnTo>
                <a:lnTo>
                  <a:pt x="12878" y="5788"/>
                </a:lnTo>
                <a:lnTo>
                  <a:pt x="12878" y="5786"/>
                </a:lnTo>
                <a:lnTo>
                  <a:pt x="12872" y="5786"/>
                </a:lnTo>
                <a:lnTo>
                  <a:pt x="12868" y="5788"/>
                </a:lnTo>
                <a:lnTo>
                  <a:pt x="12864" y="5792"/>
                </a:lnTo>
                <a:lnTo>
                  <a:pt x="12864" y="5794"/>
                </a:lnTo>
                <a:lnTo>
                  <a:pt x="12866" y="5796"/>
                </a:lnTo>
                <a:close/>
                <a:moveTo>
                  <a:pt x="12918" y="5954"/>
                </a:moveTo>
                <a:lnTo>
                  <a:pt x="12918" y="5954"/>
                </a:lnTo>
                <a:lnTo>
                  <a:pt x="12918" y="5956"/>
                </a:lnTo>
                <a:lnTo>
                  <a:pt x="12918" y="5960"/>
                </a:lnTo>
                <a:lnTo>
                  <a:pt x="12920" y="5966"/>
                </a:lnTo>
                <a:lnTo>
                  <a:pt x="12926" y="5970"/>
                </a:lnTo>
                <a:lnTo>
                  <a:pt x="12928" y="5970"/>
                </a:lnTo>
                <a:lnTo>
                  <a:pt x="12930" y="5970"/>
                </a:lnTo>
                <a:lnTo>
                  <a:pt x="12932" y="5968"/>
                </a:lnTo>
                <a:lnTo>
                  <a:pt x="12932" y="5964"/>
                </a:lnTo>
                <a:lnTo>
                  <a:pt x="12930" y="5956"/>
                </a:lnTo>
                <a:lnTo>
                  <a:pt x="12924" y="5952"/>
                </a:lnTo>
                <a:lnTo>
                  <a:pt x="12922" y="5952"/>
                </a:lnTo>
                <a:lnTo>
                  <a:pt x="12918" y="5954"/>
                </a:lnTo>
                <a:close/>
                <a:moveTo>
                  <a:pt x="12928" y="5988"/>
                </a:moveTo>
                <a:lnTo>
                  <a:pt x="12928" y="5988"/>
                </a:lnTo>
                <a:lnTo>
                  <a:pt x="12926" y="5990"/>
                </a:lnTo>
                <a:lnTo>
                  <a:pt x="12926" y="5992"/>
                </a:lnTo>
                <a:lnTo>
                  <a:pt x="12928" y="5998"/>
                </a:lnTo>
                <a:lnTo>
                  <a:pt x="12932" y="6004"/>
                </a:lnTo>
                <a:lnTo>
                  <a:pt x="12936" y="6006"/>
                </a:lnTo>
                <a:lnTo>
                  <a:pt x="12938" y="6004"/>
                </a:lnTo>
                <a:lnTo>
                  <a:pt x="12938" y="6000"/>
                </a:lnTo>
                <a:lnTo>
                  <a:pt x="12936" y="5994"/>
                </a:lnTo>
                <a:lnTo>
                  <a:pt x="12932" y="5988"/>
                </a:lnTo>
                <a:lnTo>
                  <a:pt x="12930" y="5986"/>
                </a:lnTo>
                <a:lnTo>
                  <a:pt x="12928" y="5988"/>
                </a:lnTo>
                <a:close/>
                <a:moveTo>
                  <a:pt x="12874" y="6102"/>
                </a:moveTo>
                <a:lnTo>
                  <a:pt x="12874" y="6102"/>
                </a:lnTo>
                <a:lnTo>
                  <a:pt x="12876" y="6104"/>
                </a:lnTo>
                <a:lnTo>
                  <a:pt x="12878" y="6106"/>
                </a:lnTo>
                <a:lnTo>
                  <a:pt x="12882" y="6104"/>
                </a:lnTo>
                <a:lnTo>
                  <a:pt x="12884" y="6100"/>
                </a:lnTo>
                <a:lnTo>
                  <a:pt x="12884" y="6096"/>
                </a:lnTo>
                <a:lnTo>
                  <a:pt x="12884" y="6092"/>
                </a:lnTo>
                <a:lnTo>
                  <a:pt x="12880" y="6090"/>
                </a:lnTo>
                <a:lnTo>
                  <a:pt x="12878" y="6088"/>
                </a:lnTo>
                <a:lnTo>
                  <a:pt x="12876" y="6088"/>
                </a:lnTo>
                <a:lnTo>
                  <a:pt x="12874" y="6088"/>
                </a:lnTo>
                <a:lnTo>
                  <a:pt x="12872" y="6094"/>
                </a:lnTo>
                <a:lnTo>
                  <a:pt x="12874" y="6102"/>
                </a:lnTo>
                <a:close/>
                <a:moveTo>
                  <a:pt x="12842" y="6076"/>
                </a:moveTo>
                <a:lnTo>
                  <a:pt x="12842" y="6076"/>
                </a:lnTo>
                <a:lnTo>
                  <a:pt x="12848" y="6078"/>
                </a:lnTo>
                <a:lnTo>
                  <a:pt x="12852" y="6078"/>
                </a:lnTo>
                <a:lnTo>
                  <a:pt x="12854" y="6078"/>
                </a:lnTo>
                <a:lnTo>
                  <a:pt x="12856" y="6076"/>
                </a:lnTo>
                <a:lnTo>
                  <a:pt x="12856" y="6070"/>
                </a:lnTo>
                <a:lnTo>
                  <a:pt x="12854" y="6062"/>
                </a:lnTo>
                <a:lnTo>
                  <a:pt x="12848" y="6058"/>
                </a:lnTo>
                <a:lnTo>
                  <a:pt x="12842" y="6056"/>
                </a:lnTo>
                <a:lnTo>
                  <a:pt x="12838" y="6058"/>
                </a:lnTo>
                <a:lnTo>
                  <a:pt x="12840" y="6060"/>
                </a:lnTo>
                <a:lnTo>
                  <a:pt x="12842" y="6062"/>
                </a:lnTo>
                <a:lnTo>
                  <a:pt x="12842" y="6064"/>
                </a:lnTo>
                <a:lnTo>
                  <a:pt x="12840" y="6068"/>
                </a:lnTo>
                <a:lnTo>
                  <a:pt x="12838" y="6072"/>
                </a:lnTo>
                <a:lnTo>
                  <a:pt x="12840" y="6074"/>
                </a:lnTo>
                <a:lnTo>
                  <a:pt x="12842" y="6076"/>
                </a:lnTo>
                <a:close/>
                <a:moveTo>
                  <a:pt x="12794" y="6104"/>
                </a:moveTo>
                <a:lnTo>
                  <a:pt x="12794" y="6104"/>
                </a:lnTo>
                <a:lnTo>
                  <a:pt x="12790" y="6100"/>
                </a:lnTo>
                <a:lnTo>
                  <a:pt x="12786" y="6098"/>
                </a:lnTo>
                <a:lnTo>
                  <a:pt x="12786" y="6100"/>
                </a:lnTo>
                <a:lnTo>
                  <a:pt x="12766" y="6082"/>
                </a:lnTo>
                <a:lnTo>
                  <a:pt x="12764" y="6076"/>
                </a:lnTo>
                <a:lnTo>
                  <a:pt x="12760" y="6070"/>
                </a:lnTo>
                <a:lnTo>
                  <a:pt x="12746" y="6058"/>
                </a:lnTo>
                <a:lnTo>
                  <a:pt x="12730" y="6046"/>
                </a:lnTo>
                <a:lnTo>
                  <a:pt x="12720" y="6038"/>
                </a:lnTo>
                <a:lnTo>
                  <a:pt x="12720" y="6044"/>
                </a:lnTo>
                <a:lnTo>
                  <a:pt x="12714" y="6036"/>
                </a:lnTo>
                <a:lnTo>
                  <a:pt x="12710" y="6032"/>
                </a:lnTo>
                <a:lnTo>
                  <a:pt x="12708" y="6032"/>
                </a:lnTo>
                <a:lnTo>
                  <a:pt x="12710" y="6040"/>
                </a:lnTo>
                <a:lnTo>
                  <a:pt x="12722" y="6060"/>
                </a:lnTo>
                <a:lnTo>
                  <a:pt x="12722" y="6064"/>
                </a:lnTo>
                <a:lnTo>
                  <a:pt x="12724" y="6064"/>
                </a:lnTo>
                <a:lnTo>
                  <a:pt x="12722" y="6066"/>
                </a:lnTo>
                <a:lnTo>
                  <a:pt x="12734" y="6076"/>
                </a:lnTo>
                <a:lnTo>
                  <a:pt x="12740" y="6080"/>
                </a:lnTo>
                <a:lnTo>
                  <a:pt x="12746" y="6094"/>
                </a:lnTo>
                <a:lnTo>
                  <a:pt x="12748" y="6092"/>
                </a:lnTo>
                <a:lnTo>
                  <a:pt x="12750" y="6098"/>
                </a:lnTo>
                <a:lnTo>
                  <a:pt x="12752" y="6098"/>
                </a:lnTo>
                <a:lnTo>
                  <a:pt x="12758" y="6104"/>
                </a:lnTo>
                <a:lnTo>
                  <a:pt x="12764" y="6108"/>
                </a:lnTo>
                <a:lnTo>
                  <a:pt x="12772" y="6114"/>
                </a:lnTo>
                <a:lnTo>
                  <a:pt x="12780" y="6120"/>
                </a:lnTo>
                <a:lnTo>
                  <a:pt x="12788" y="6126"/>
                </a:lnTo>
                <a:lnTo>
                  <a:pt x="12806" y="6136"/>
                </a:lnTo>
                <a:lnTo>
                  <a:pt x="12806" y="6140"/>
                </a:lnTo>
                <a:lnTo>
                  <a:pt x="12806" y="6142"/>
                </a:lnTo>
                <a:lnTo>
                  <a:pt x="12824" y="6138"/>
                </a:lnTo>
                <a:lnTo>
                  <a:pt x="12828" y="6136"/>
                </a:lnTo>
                <a:lnTo>
                  <a:pt x="12828" y="6134"/>
                </a:lnTo>
                <a:lnTo>
                  <a:pt x="12818" y="6126"/>
                </a:lnTo>
                <a:lnTo>
                  <a:pt x="12794" y="6104"/>
                </a:lnTo>
                <a:close/>
                <a:moveTo>
                  <a:pt x="10286" y="4978"/>
                </a:moveTo>
                <a:lnTo>
                  <a:pt x="10286" y="4978"/>
                </a:lnTo>
                <a:lnTo>
                  <a:pt x="10288" y="4980"/>
                </a:lnTo>
                <a:lnTo>
                  <a:pt x="10290" y="4980"/>
                </a:lnTo>
                <a:lnTo>
                  <a:pt x="10294" y="4978"/>
                </a:lnTo>
                <a:lnTo>
                  <a:pt x="10298" y="4976"/>
                </a:lnTo>
                <a:lnTo>
                  <a:pt x="10300" y="4974"/>
                </a:lnTo>
                <a:lnTo>
                  <a:pt x="10296" y="4972"/>
                </a:lnTo>
                <a:lnTo>
                  <a:pt x="10290" y="4972"/>
                </a:lnTo>
                <a:lnTo>
                  <a:pt x="10286" y="4974"/>
                </a:lnTo>
                <a:lnTo>
                  <a:pt x="10286" y="4976"/>
                </a:lnTo>
                <a:lnTo>
                  <a:pt x="10286" y="4978"/>
                </a:lnTo>
                <a:close/>
                <a:moveTo>
                  <a:pt x="10310" y="4974"/>
                </a:moveTo>
                <a:lnTo>
                  <a:pt x="10310" y="4974"/>
                </a:lnTo>
                <a:lnTo>
                  <a:pt x="10304" y="4978"/>
                </a:lnTo>
                <a:lnTo>
                  <a:pt x="10300" y="4982"/>
                </a:lnTo>
                <a:lnTo>
                  <a:pt x="10298" y="4984"/>
                </a:lnTo>
                <a:lnTo>
                  <a:pt x="10294" y="4986"/>
                </a:lnTo>
                <a:lnTo>
                  <a:pt x="10296" y="4990"/>
                </a:lnTo>
                <a:lnTo>
                  <a:pt x="10298" y="4990"/>
                </a:lnTo>
                <a:lnTo>
                  <a:pt x="10302" y="4990"/>
                </a:lnTo>
                <a:lnTo>
                  <a:pt x="10308" y="4996"/>
                </a:lnTo>
                <a:lnTo>
                  <a:pt x="10306" y="4996"/>
                </a:lnTo>
                <a:lnTo>
                  <a:pt x="10304" y="4996"/>
                </a:lnTo>
                <a:lnTo>
                  <a:pt x="10302" y="4998"/>
                </a:lnTo>
                <a:lnTo>
                  <a:pt x="10302" y="5000"/>
                </a:lnTo>
                <a:lnTo>
                  <a:pt x="10306" y="5004"/>
                </a:lnTo>
                <a:lnTo>
                  <a:pt x="10308" y="5004"/>
                </a:lnTo>
                <a:lnTo>
                  <a:pt x="10310" y="5002"/>
                </a:lnTo>
                <a:lnTo>
                  <a:pt x="10308" y="4998"/>
                </a:lnTo>
                <a:lnTo>
                  <a:pt x="10308" y="4996"/>
                </a:lnTo>
                <a:lnTo>
                  <a:pt x="10322" y="5008"/>
                </a:lnTo>
                <a:lnTo>
                  <a:pt x="10324" y="5006"/>
                </a:lnTo>
                <a:lnTo>
                  <a:pt x="10326" y="5002"/>
                </a:lnTo>
                <a:lnTo>
                  <a:pt x="10328" y="4996"/>
                </a:lnTo>
                <a:lnTo>
                  <a:pt x="10326" y="4988"/>
                </a:lnTo>
                <a:lnTo>
                  <a:pt x="10326" y="4982"/>
                </a:lnTo>
                <a:lnTo>
                  <a:pt x="10322" y="4976"/>
                </a:lnTo>
                <a:lnTo>
                  <a:pt x="10316" y="4972"/>
                </a:lnTo>
                <a:lnTo>
                  <a:pt x="10310" y="4974"/>
                </a:lnTo>
                <a:close/>
                <a:moveTo>
                  <a:pt x="8358" y="3706"/>
                </a:moveTo>
                <a:lnTo>
                  <a:pt x="8358" y="3706"/>
                </a:lnTo>
                <a:lnTo>
                  <a:pt x="8356" y="3708"/>
                </a:lnTo>
                <a:lnTo>
                  <a:pt x="8354" y="3710"/>
                </a:lnTo>
                <a:lnTo>
                  <a:pt x="8346" y="3714"/>
                </a:lnTo>
                <a:lnTo>
                  <a:pt x="8340" y="3718"/>
                </a:lnTo>
                <a:lnTo>
                  <a:pt x="8338" y="3720"/>
                </a:lnTo>
                <a:lnTo>
                  <a:pt x="8338" y="3722"/>
                </a:lnTo>
                <a:lnTo>
                  <a:pt x="8340" y="3722"/>
                </a:lnTo>
                <a:lnTo>
                  <a:pt x="8344" y="3722"/>
                </a:lnTo>
                <a:lnTo>
                  <a:pt x="8352" y="3720"/>
                </a:lnTo>
                <a:lnTo>
                  <a:pt x="8364" y="3712"/>
                </a:lnTo>
                <a:lnTo>
                  <a:pt x="8374" y="3704"/>
                </a:lnTo>
                <a:lnTo>
                  <a:pt x="8374" y="3702"/>
                </a:lnTo>
                <a:lnTo>
                  <a:pt x="8374" y="3700"/>
                </a:lnTo>
                <a:lnTo>
                  <a:pt x="8368" y="3700"/>
                </a:lnTo>
                <a:lnTo>
                  <a:pt x="8358" y="3706"/>
                </a:lnTo>
                <a:close/>
                <a:moveTo>
                  <a:pt x="8050" y="3552"/>
                </a:moveTo>
                <a:lnTo>
                  <a:pt x="8050" y="3552"/>
                </a:lnTo>
                <a:lnTo>
                  <a:pt x="8050" y="3556"/>
                </a:lnTo>
                <a:lnTo>
                  <a:pt x="8050" y="3562"/>
                </a:lnTo>
                <a:lnTo>
                  <a:pt x="8054" y="3566"/>
                </a:lnTo>
                <a:lnTo>
                  <a:pt x="8056" y="3566"/>
                </a:lnTo>
                <a:lnTo>
                  <a:pt x="8056" y="3562"/>
                </a:lnTo>
                <a:lnTo>
                  <a:pt x="8056" y="3556"/>
                </a:lnTo>
                <a:lnTo>
                  <a:pt x="8052" y="3552"/>
                </a:lnTo>
                <a:lnTo>
                  <a:pt x="8050" y="3552"/>
                </a:lnTo>
                <a:close/>
                <a:moveTo>
                  <a:pt x="7034" y="3210"/>
                </a:moveTo>
                <a:lnTo>
                  <a:pt x="7034" y="3210"/>
                </a:lnTo>
                <a:lnTo>
                  <a:pt x="7032" y="3208"/>
                </a:lnTo>
                <a:lnTo>
                  <a:pt x="7030" y="3210"/>
                </a:lnTo>
                <a:lnTo>
                  <a:pt x="7030" y="3214"/>
                </a:lnTo>
                <a:lnTo>
                  <a:pt x="7032" y="3220"/>
                </a:lnTo>
                <a:lnTo>
                  <a:pt x="7036" y="3222"/>
                </a:lnTo>
                <a:lnTo>
                  <a:pt x="7038" y="3220"/>
                </a:lnTo>
                <a:lnTo>
                  <a:pt x="7036" y="3214"/>
                </a:lnTo>
                <a:lnTo>
                  <a:pt x="7034" y="3210"/>
                </a:lnTo>
                <a:close/>
                <a:moveTo>
                  <a:pt x="7154" y="3110"/>
                </a:moveTo>
                <a:lnTo>
                  <a:pt x="7154" y="3110"/>
                </a:lnTo>
                <a:lnTo>
                  <a:pt x="7158" y="3108"/>
                </a:lnTo>
                <a:lnTo>
                  <a:pt x="7160" y="3104"/>
                </a:lnTo>
                <a:lnTo>
                  <a:pt x="7162" y="3100"/>
                </a:lnTo>
                <a:lnTo>
                  <a:pt x="7160" y="3094"/>
                </a:lnTo>
                <a:lnTo>
                  <a:pt x="7160" y="3090"/>
                </a:lnTo>
                <a:lnTo>
                  <a:pt x="7158" y="3088"/>
                </a:lnTo>
                <a:lnTo>
                  <a:pt x="7154" y="3086"/>
                </a:lnTo>
                <a:lnTo>
                  <a:pt x="7150" y="3088"/>
                </a:lnTo>
                <a:lnTo>
                  <a:pt x="7148" y="3090"/>
                </a:lnTo>
                <a:lnTo>
                  <a:pt x="7148" y="3092"/>
                </a:lnTo>
                <a:lnTo>
                  <a:pt x="7152" y="3096"/>
                </a:lnTo>
                <a:lnTo>
                  <a:pt x="7152" y="3100"/>
                </a:lnTo>
                <a:lnTo>
                  <a:pt x="7150" y="3106"/>
                </a:lnTo>
                <a:lnTo>
                  <a:pt x="7150" y="3110"/>
                </a:lnTo>
                <a:lnTo>
                  <a:pt x="7152" y="3112"/>
                </a:lnTo>
                <a:lnTo>
                  <a:pt x="7154" y="3110"/>
                </a:lnTo>
                <a:close/>
                <a:moveTo>
                  <a:pt x="7226" y="3234"/>
                </a:moveTo>
                <a:lnTo>
                  <a:pt x="7226" y="3234"/>
                </a:lnTo>
                <a:lnTo>
                  <a:pt x="7228" y="3234"/>
                </a:lnTo>
                <a:lnTo>
                  <a:pt x="7232" y="3232"/>
                </a:lnTo>
                <a:lnTo>
                  <a:pt x="7238" y="3222"/>
                </a:lnTo>
                <a:lnTo>
                  <a:pt x="7244" y="3210"/>
                </a:lnTo>
                <a:lnTo>
                  <a:pt x="7244" y="3206"/>
                </a:lnTo>
                <a:lnTo>
                  <a:pt x="7244" y="3204"/>
                </a:lnTo>
                <a:lnTo>
                  <a:pt x="7242" y="3204"/>
                </a:lnTo>
                <a:lnTo>
                  <a:pt x="7238" y="3204"/>
                </a:lnTo>
                <a:lnTo>
                  <a:pt x="7230" y="3208"/>
                </a:lnTo>
                <a:lnTo>
                  <a:pt x="7224" y="3214"/>
                </a:lnTo>
                <a:lnTo>
                  <a:pt x="7222" y="3218"/>
                </a:lnTo>
                <a:lnTo>
                  <a:pt x="7224" y="3220"/>
                </a:lnTo>
                <a:lnTo>
                  <a:pt x="7224" y="3224"/>
                </a:lnTo>
                <a:lnTo>
                  <a:pt x="7224" y="3226"/>
                </a:lnTo>
                <a:lnTo>
                  <a:pt x="7224" y="3230"/>
                </a:lnTo>
                <a:lnTo>
                  <a:pt x="7226" y="3234"/>
                </a:lnTo>
                <a:close/>
                <a:moveTo>
                  <a:pt x="7168" y="3044"/>
                </a:moveTo>
                <a:lnTo>
                  <a:pt x="7168" y="3044"/>
                </a:lnTo>
                <a:lnTo>
                  <a:pt x="7166" y="3042"/>
                </a:lnTo>
                <a:lnTo>
                  <a:pt x="7162" y="3044"/>
                </a:lnTo>
                <a:lnTo>
                  <a:pt x="7152" y="3048"/>
                </a:lnTo>
                <a:lnTo>
                  <a:pt x="7150" y="3050"/>
                </a:lnTo>
                <a:lnTo>
                  <a:pt x="7148" y="3052"/>
                </a:lnTo>
                <a:lnTo>
                  <a:pt x="7150" y="3056"/>
                </a:lnTo>
                <a:lnTo>
                  <a:pt x="7156" y="3060"/>
                </a:lnTo>
                <a:lnTo>
                  <a:pt x="7166" y="3064"/>
                </a:lnTo>
                <a:lnTo>
                  <a:pt x="7170" y="3066"/>
                </a:lnTo>
                <a:lnTo>
                  <a:pt x="7176" y="3064"/>
                </a:lnTo>
                <a:lnTo>
                  <a:pt x="7178" y="3062"/>
                </a:lnTo>
                <a:lnTo>
                  <a:pt x="7178" y="3060"/>
                </a:lnTo>
                <a:lnTo>
                  <a:pt x="7178" y="3058"/>
                </a:lnTo>
                <a:lnTo>
                  <a:pt x="7176" y="3054"/>
                </a:lnTo>
                <a:lnTo>
                  <a:pt x="7172" y="3050"/>
                </a:lnTo>
                <a:lnTo>
                  <a:pt x="7170" y="3048"/>
                </a:lnTo>
                <a:lnTo>
                  <a:pt x="7170" y="3046"/>
                </a:lnTo>
                <a:lnTo>
                  <a:pt x="7168" y="3044"/>
                </a:lnTo>
                <a:close/>
                <a:moveTo>
                  <a:pt x="7100" y="2966"/>
                </a:moveTo>
                <a:lnTo>
                  <a:pt x="7100" y="2966"/>
                </a:lnTo>
                <a:lnTo>
                  <a:pt x="7096" y="2968"/>
                </a:lnTo>
                <a:lnTo>
                  <a:pt x="7094" y="2970"/>
                </a:lnTo>
                <a:lnTo>
                  <a:pt x="7096" y="2974"/>
                </a:lnTo>
                <a:lnTo>
                  <a:pt x="7098" y="2976"/>
                </a:lnTo>
                <a:lnTo>
                  <a:pt x="7100" y="2978"/>
                </a:lnTo>
                <a:lnTo>
                  <a:pt x="7102" y="2976"/>
                </a:lnTo>
                <a:lnTo>
                  <a:pt x="7104" y="2972"/>
                </a:lnTo>
                <a:lnTo>
                  <a:pt x="7104" y="2968"/>
                </a:lnTo>
                <a:lnTo>
                  <a:pt x="7102" y="2966"/>
                </a:lnTo>
                <a:lnTo>
                  <a:pt x="7100" y="2966"/>
                </a:lnTo>
                <a:close/>
                <a:moveTo>
                  <a:pt x="6938" y="3124"/>
                </a:moveTo>
                <a:lnTo>
                  <a:pt x="6938" y="3124"/>
                </a:lnTo>
                <a:lnTo>
                  <a:pt x="6938" y="3126"/>
                </a:lnTo>
                <a:lnTo>
                  <a:pt x="6940" y="3132"/>
                </a:lnTo>
                <a:lnTo>
                  <a:pt x="6944" y="3136"/>
                </a:lnTo>
                <a:lnTo>
                  <a:pt x="6950" y="3136"/>
                </a:lnTo>
                <a:lnTo>
                  <a:pt x="6952" y="3136"/>
                </a:lnTo>
                <a:lnTo>
                  <a:pt x="6952" y="3134"/>
                </a:lnTo>
                <a:lnTo>
                  <a:pt x="6948" y="3128"/>
                </a:lnTo>
                <a:lnTo>
                  <a:pt x="6942" y="3124"/>
                </a:lnTo>
                <a:lnTo>
                  <a:pt x="6938" y="3124"/>
                </a:lnTo>
                <a:close/>
                <a:moveTo>
                  <a:pt x="7062" y="3248"/>
                </a:moveTo>
                <a:lnTo>
                  <a:pt x="7062" y="3248"/>
                </a:lnTo>
                <a:lnTo>
                  <a:pt x="7060" y="3252"/>
                </a:lnTo>
                <a:lnTo>
                  <a:pt x="7058" y="3252"/>
                </a:lnTo>
                <a:lnTo>
                  <a:pt x="7056" y="3256"/>
                </a:lnTo>
                <a:lnTo>
                  <a:pt x="7056" y="3264"/>
                </a:lnTo>
                <a:lnTo>
                  <a:pt x="7058" y="3268"/>
                </a:lnTo>
                <a:lnTo>
                  <a:pt x="7060" y="3270"/>
                </a:lnTo>
                <a:lnTo>
                  <a:pt x="7072" y="3270"/>
                </a:lnTo>
                <a:lnTo>
                  <a:pt x="7086" y="3272"/>
                </a:lnTo>
                <a:lnTo>
                  <a:pt x="7094" y="3274"/>
                </a:lnTo>
                <a:lnTo>
                  <a:pt x="7102" y="3278"/>
                </a:lnTo>
                <a:lnTo>
                  <a:pt x="7106" y="3282"/>
                </a:lnTo>
                <a:lnTo>
                  <a:pt x="7112" y="3284"/>
                </a:lnTo>
                <a:lnTo>
                  <a:pt x="7124" y="3284"/>
                </a:lnTo>
                <a:lnTo>
                  <a:pt x="7136" y="3282"/>
                </a:lnTo>
                <a:lnTo>
                  <a:pt x="7152" y="3280"/>
                </a:lnTo>
                <a:lnTo>
                  <a:pt x="7160" y="3280"/>
                </a:lnTo>
                <a:lnTo>
                  <a:pt x="7164" y="3278"/>
                </a:lnTo>
                <a:lnTo>
                  <a:pt x="7168" y="3274"/>
                </a:lnTo>
                <a:lnTo>
                  <a:pt x="7168" y="3272"/>
                </a:lnTo>
                <a:lnTo>
                  <a:pt x="7166" y="3270"/>
                </a:lnTo>
                <a:lnTo>
                  <a:pt x="7164" y="3268"/>
                </a:lnTo>
                <a:lnTo>
                  <a:pt x="7158" y="3268"/>
                </a:lnTo>
                <a:lnTo>
                  <a:pt x="7152" y="3272"/>
                </a:lnTo>
                <a:lnTo>
                  <a:pt x="7148" y="3274"/>
                </a:lnTo>
                <a:lnTo>
                  <a:pt x="7146" y="3274"/>
                </a:lnTo>
                <a:lnTo>
                  <a:pt x="7146" y="3270"/>
                </a:lnTo>
                <a:lnTo>
                  <a:pt x="7144" y="3266"/>
                </a:lnTo>
                <a:lnTo>
                  <a:pt x="7142" y="3264"/>
                </a:lnTo>
                <a:lnTo>
                  <a:pt x="7136" y="3264"/>
                </a:lnTo>
                <a:lnTo>
                  <a:pt x="7130" y="3264"/>
                </a:lnTo>
                <a:lnTo>
                  <a:pt x="7126" y="3264"/>
                </a:lnTo>
                <a:lnTo>
                  <a:pt x="7118" y="3262"/>
                </a:lnTo>
                <a:lnTo>
                  <a:pt x="7108" y="3260"/>
                </a:lnTo>
                <a:lnTo>
                  <a:pt x="7102" y="3260"/>
                </a:lnTo>
                <a:lnTo>
                  <a:pt x="7094" y="3260"/>
                </a:lnTo>
                <a:lnTo>
                  <a:pt x="7090" y="3260"/>
                </a:lnTo>
                <a:lnTo>
                  <a:pt x="7086" y="3260"/>
                </a:lnTo>
                <a:lnTo>
                  <a:pt x="7084" y="3256"/>
                </a:lnTo>
                <a:lnTo>
                  <a:pt x="7080" y="3250"/>
                </a:lnTo>
                <a:lnTo>
                  <a:pt x="7078" y="3250"/>
                </a:lnTo>
                <a:lnTo>
                  <a:pt x="7076" y="3252"/>
                </a:lnTo>
                <a:lnTo>
                  <a:pt x="7074" y="3252"/>
                </a:lnTo>
                <a:lnTo>
                  <a:pt x="7072" y="3252"/>
                </a:lnTo>
                <a:lnTo>
                  <a:pt x="7068" y="3248"/>
                </a:lnTo>
                <a:lnTo>
                  <a:pt x="7064" y="3246"/>
                </a:lnTo>
                <a:lnTo>
                  <a:pt x="7062" y="3248"/>
                </a:lnTo>
                <a:close/>
                <a:moveTo>
                  <a:pt x="6928" y="3106"/>
                </a:moveTo>
                <a:lnTo>
                  <a:pt x="6928" y="3106"/>
                </a:lnTo>
                <a:lnTo>
                  <a:pt x="6928" y="3110"/>
                </a:lnTo>
                <a:lnTo>
                  <a:pt x="6932" y="3112"/>
                </a:lnTo>
                <a:lnTo>
                  <a:pt x="6936" y="3112"/>
                </a:lnTo>
                <a:lnTo>
                  <a:pt x="6940" y="3114"/>
                </a:lnTo>
                <a:lnTo>
                  <a:pt x="6944" y="3116"/>
                </a:lnTo>
                <a:lnTo>
                  <a:pt x="6944" y="3114"/>
                </a:lnTo>
                <a:lnTo>
                  <a:pt x="6944" y="3112"/>
                </a:lnTo>
                <a:lnTo>
                  <a:pt x="6942" y="3108"/>
                </a:lnTo>
                <a:lnTo>
                  <a:pt x="6938" y="3104"/>
                </a:lnTo>
                <a:lnTo>
                  <a:pt x="6936" y="3098"/>
                </a:lnTo>
                <a:lnTo>
                  <a:pt x="6936" y="3096"/>
                </a:lnTo>
                <a:lnTo>
                  <a:pt x="6934" y="3098"/>
                </a:lnTo>
                <a:lnTo>
                  <a:pt x="6932" y="3100"/>
                </a:lnTo>
                <a:lnTo>
                  <a:pt x="6930" y="3100"/>
                </a:lnTo>
                <a:lnTo>
                  <a:pt x="6928" y="3102"/>
                </a:lnTo>
                <a:lnTo>
                  <a:pt x="6928" y="3106"/>
                </a:lnTo>
                <a:close/>
                <a:moveTo>
                  <a:pt x="7092" y="3110"/>
                </a:moveTo>
                <a:lnTo>
                  <a:pt x="7092" y="3110"/>
                </a:lnTo>
                <a:lnTo>
                  <a:pt x="7086" y="3106"/>
                </a:lnTo>
                <a:lnTo>
                  <a:pt x="7084" y="3102"/>
                </a:lnTo>
                <a:lnTo>
                  <a:pt x="7080" y="3086"/>
                </a:lnTo>
                <a:lnTo>
                  <a:pt x="7080" y="3084"/>
                </a:lnTo>
                <a:lnTo>
                  <a:pt x="7078" y="3082"/>
                </a:lnTo>
                <a:lnTo>
                  <a:pt x="7072" y="3080"/>
                </a:lnTo>
                <a:lnTo>
                  <a:pt x="7064" y="3078"/>
                </a:lnTo>
                <a:lnTo>
                  <a:pt x="7058" y="3074"/>
                </a:lnTo>
                <a:lnTo>
                  <a:pt x="7050" y="3068"/>
                </a:lnTo>
                <a:lnTo>
                  <a:pt x="7048" y="3066"/>
                </a:lnTo>
                <a:lnTo>
                  <a:pt x="7044" y="3066"/>
                </a:lnTo>
                <a:lnTo>
                  <a:pt x="7036" y="3066"/>
                </a:lnTo>
                <a:lnTo>
                  <a:pt x="7030" y="3070"/>
                </a:lnTo>
                <a:lnTo>
                  <a:pt x="7028" y="3072"/>
                </a:lnTo>
                <a:lnTo>
                  <a:pt x="7038" y="3074"/>
                </a:lnTo>
                <a:lnTo>
                  <a:pt x="7052" y="3082"/>
                </a:lnTo>
                <a:lnTo>
                  <a:pt x="7058" y="3088"/>
                </a:lnTo>
                <a:lnTo>
                  <a:pt x="7060" y="3092"/>
                </a:lnTo>
                <a:lnTo>
                  <a:pt x="7062" y="3096"/>
                </a:lnTo>
                <a:lnTo>
                  <a:pt x="7068" y="3098"/>
                </a:lnTo>
                <a:lnTo>
                  <a:pt x="7072" y="3098"/>
                </a:lnTo>
                <a:lnTo>
                  <a:pt x="7076" y="3100"/>
                </a:lnTo>
                <a:lnTo>
                  <a:pt x="7082" y="3108"/>
                </a:lnTo>
                <a:lnTo>
                  <a:pt x="7086" y="3116"/>
                </a:lnTo>
                <a:lnTo>
                  <a:pt x="7092" y="3122"/>
                </a:lnTo>
                <a:lnTo>
                  <a:pt x="7096" y="3122"/>
                </a:lnTo>
                <a:lnTo>
                  <a:pt x="7098" y="3118"/>
                </a:lnTo>
                <a:lnTo>
                  <a:pt x="7096" y="3114"/>
                </a:lnTo>
                <a:lnTo>
                  <a:pt x="7092" y="3110"/>
                </a:lnTo>
                <a:close/>
                <a:moveTo>
                  <a:pt x="7132" y="3176"/>
                </a:moveTo>
                <a:lnTo>
                  <a:pt x="7132" y="3176"/>
                </a:lnTo>
                <a:lnTo>
                  <a:pt x="7136" y="3178"/>
                </a:lnTo>
                <a:lnTo>
                  <a:pt x="7136" y="3176"/>
                </a:lnTo>
                <a:lnTo>
                  <a:pt x="7138" y="3172"/>
                </a:lnTo>
                <a:lnTo>
                  <a:pt x="7138" y="3166"/>
                </a:lnTo>
                <a:lnTo>
                  <a:pt x="7136" y="3164"/>
                </a:lnTo>
                <a:lnTo>
                  <a:pt x="7134" y="3164"/>
                </a:lnTo>
                <a:lnTo>
                  <a:pt x="7130" y="3166"/>
                </a:lnTo>
                <a:lnTo>
                  <a:pt x="7128" y="3170"/>
                </a:lnTo>
                <a:lnTo>
                  <a:pt x="7130" y="3174"/>
                </a:lnTo>
                <a:lnTo>
                  <a:pt x="7132" y="3176"/>
                </a:lnTo>
                <a:close/>
                <a:moveTo>
                  <a:pt x="7202" y="3244"/>
                </a:moveTo>
                <a:lnTo>
                  <a:pt x="7202" y="3244"/>
                </a:lnTo>
                <a:lnTo>
                  <a:pt x="7200" y="3242"/>
                </a:lnTo>
                <a:lnTo>
                  <a:pt x="7198" y="3248"/>
                </a:lnTo>
                <a:lnTo>
                  <a:pt x="7198" y="3256"/>
                </a:lnTo>
                <a:lnTo>
                  <a:pt x="7200" y="3258"/>
                </a:lnTo>
                <a:lnTo>
                  <a:pt x="7202" y="3258"/>
                </a:lnTo>
                <a:lnTo>
                  <a:pt x="7206" y="3258"/>
                </a:lnTo>
                <a:lnTo>
                  <a:pt x="7206" y="3254"/>
                </a:lnTo>
                <a:lnTo>
                  <a:pt x="7202" y="3244"/>
                </a:lnTo>
                <a:close/>
                <a:moveTo>
                  <a:pt x="6898" y="3024"/>
                </a:moveTo>
                <a:lnTo>
                  <a:pt x="6898" y="3024"/>
                </a:lnTo>
                <a:lnTo>
                  <a:pt x="6898" y="3028"/>
                </a:lnTo>
                <a:lnTo>
                  <a:pt x="6902" y="3034"/>
                </a:lnTo>
                <a:lnTo>
                  <a:pt x="6908" y="3040"/>
                </a:lnTo>
                <a:lnTo>
                  <a:pt x="6914" y="3044"/>
                </a:lnTo>
                <a:lnTo>
                  <a:pt x="6916" y="3042"/>
                </a:lnTo>
                <a:lnTo>
                  <a:pt x="6912" y="3036"/>
                </a:lnTo>
                <a:lnTo>
                  <a:pt x="6908" y="3030"/>
                </a:lnTo>
                <a:lnTo>
                  <a:pt x="6906" y="3026"/>
                </a:lnTo>
                <a:lnTo>
                  <a:pt x="6906" y="3022"/>
                </a:lnTo>
                <a:lnTo>
                  <a:pt x="6904" y="3020"/>
                </a:lnTo>
                <a:lnTo>
                  <a:pt x="6900" y="3020"/>
                </a:lnTo>
                <a:lnTo>
                  <a:pt x="6898" y="3024"/>
                </a:lnTo>
                <a:close/>
                <a:moveTo>
                  <a:pt x="7128" y="3010"/>
                </a:moveTo>
                <a:lnTo>
                  <a:pt x="7128" y="3010"/>
                </a:lnTo>
                <a:lnTo>
                  <a:pt x="7124" y="3010"/>
                </a:lnTo>
                <a:lnTo>
                  <a:pt x="7120" y="3008"/>
                </a:lnTo>
                <a:lnTo>
                  <a:pt x="7116" y="3010"/>
                </a:lnTo>
                <a:lnTo>
                  <a:pt x="7116" y="3012"/>
                </a:lnTo>
                <a:lnTo>
                  <a:pt x="7114" y="3016"/>
                </a:lnTo>
                <a:lnTo>
                  <a:pt x="7114" y="3018"/>
                </a:lnTo>
                <a:lnTo>
                  <a:pt x="7116" y="3020"/>
                </a:lnTo>
                <a:lnTo>
                  <a:pt x="7118" y="3020"/>
                </a:lnTo>
                <a:lnTo>
                  <a:pt x="7122" y="3018"/>
                </a:lnTo>
                <a:lnTo>
                  <a:pt x="7122" y="3016"/>
                </a:lnTo>
                <a:lnTo>
                  <a:pt x="7124" y="3016"/>
                </a:lnTo>
                <a:lnTo>
                  <a:pt x="7126" y="3018"/>
                </a:lnTo>
                <a:lnTo>
                  <a:pt x="7128" y="3020"/>
                </a:lnTo>
                <a:lnTo>
                  <a:pt x="7132" y="3010"/>
                </a:lnTo>
                <a:lnTo>
                  <a:pt x="7132" y="3008"/>
                </a:lnTo>
                <a:lnTo>
                  <a:pt x="7128" y="3010"/>
                </a:lnTo>
                <a:close/>
                <a:moveTo>
                  <a:pt x="7142" y="3002"/>
                </a:moveTo>
                <a:lnTo>
                  <a:pt x="7142" y="3002"/>
                </a:lnTo>
                <a:lnTo>
                  <a:pt x="7142" y="3004"/>
                </a:lnTo>
                <a:lnTo>
                  <a:pt x="7144" y="3004"/>
                </a:lnTo>
                <a:lnTo>
                  <a:pt x="7154" y="3002"/>
                </a:lnTo>
                <a:lnTo>
                  <a:pt x="7156" y="3000"/>
                </a:lnTo>
                <a:lnTo>
                  <a:pt x="7152" y="2996"/>
                </a:lnTo>
                <a:lnTo>
                  <a:pt x="7146" y="2996"/>
                </a:lnTo>
                <a:lnTo>
                  <a:pt x="7144" y="2998"/>
                </a:lnTo>
                <a:lnTo>
                  <a:pt x="7142" y="3002"/>
                </a:lnTo>
                <a:close/>
                <a:moveTo>
                  <a:pt x="7120" y="3174"/>
                </a:moveTo>
                <a:lnTo>
                  <a:pt x="7120" y="3174"/>
                </a:lnTo>
                <a:lnTo>
                  <a:pt x="7122" y="3174"/>
                </a:lnTo>
                <a:lnTo>
                  <a:pt x="7124" y="3172"/>
                </a:lnTo>
                <a:lnTo>
                  <a:pt x="7126" y="3168"/>
                </a:lnTo>
                <a:lnTo>
                  <a:pt x="7124" y="3166"/>
                </a:lnTo>
                <a:lnTo>
                  <a:pt x="7122" y="3166"/>
                </a:lnTo>
                <a:lnTo>
                  <a:pt x="7118" y="3168"/>
                </a:lnTo>
                <a:lnTo>
                  <a:pt x="7118" y="3170"/>
                </a:lnTo>
                <a:lnTo>
                  <a:pt x="7120" y="3174"/>
                </a:lnTo>
                <a:close/>
                <a:moveTo>
                  <a:pt x="7094" y="3190"/>
                </a:moveTo>
                <a:lnTo>
                  <a:pt x="7094" y="3190"/>
                </a:lnTo>
                <a:lnTo>
                  <a:pt x="7096" y="3188"/>
                </a:lnTo>
                <a:lnTo>
                  <a:pt x="7094" y="3186"/>
                </a:lnTo>
                <a:lnTo>
                  <a:pt x="7092" y="3186"/>
                </a:lnTo>
                <a:lnTo>
                  <a:pt x="7088" y="3188"/>
                </a:lnTo>
                <a:lnTo>
                  <a:pt x="7086" y="3188"/>
                </a:lnTo>
                <a:lnTo>
                  <a:pt x="7084" y="3192"/>
                </a:lnTo>
                <a:lnTo>
                  <a:pt x="7086" y="3194"/>
                </a:lnTo>
                <a:lnTo>
                  <a:pt x="7090" y="3194"/>
                </a:lnTo>
                <a:lnTo>
                  <a:pt x="7094" y="3190"/>
                </a:lnTo>
                <a:close/>
                <a:moveTo>
                  <a:pt x="7086" y="3144"/>
                </a:moveTo>
                <a:lnTo>
                  <a:pt x="7086" y="3144"/>
                </a:lnTo>
                <a:lnTo>
                  <a:pt x="7088" y="3144"/>
                </a:lnTo>
                <a:lnTo>
                  <a:pt x="7090" y="3142"/>
                </a:lnTo>
                <a:lnTo>
                  <a:pt x="7090" y="3138"/>
                </a:lnTo>
                <a:lnTo>
                  <a:pt x="7090" y="3136"/>
                </a:lnTo>
                <a:lnTo>
                  <a:pt x="7088" y="3136"/>
                </a:lnTo>
                <a:lnTo>
                  <a:pt x="7086" y="3138"/>
                </a:lnTo>
                <a:lnTo>
                  <a:pt x="7084" y="3142"/>
                </a:lnTo>
                <a:lnTo>
                  <a:pt x="7086" y="3144"/>
                </a:lnTo>
                <a:close/>
                <a:moveTo>
                  <a:pt x="7090" y="3156"/>
                </a:moveTo>
                <a:lnTo>
                  <a:pt x="7090" y="3156"/>
                </a:lnTo>
                <a:lnTo>
                  <a:pt x="7094" y="3156"/>
                </a:lnTo>
                <a:lnTo>
                  <a:pt x="7092" y="3150"/>
                </a:lnTo>
                <a:lnTo>
                  <a:pt x="7090" y="3150"/>
                </a:lnTo>
                <a:lnTo>
                  <a:pt x="7088" y="3152"/>
                </a:lnTo>
                <a:lnTo>
                  <a:pt x="7088" y="3156"/>
                </a:lnTo>
                <a:lnTo>
                  <a:pt x="7090" y="3156"/>
                </a:lnTo>
                <a:close/>
                <a:moveTo>
                  <a:pt x="7170" y="3136"/>
                </a:moveTo>
                <a:lnTo>
                  <a:pt x="7170" y="3136"/>
                </a:lnTo>
                <a:lnTo>
                  <a:pt x="7168" y="3136"/>
                </a:lnTo>
                <a:lnTo>
                  <a:pt x="7162" y="3136"/>
                </a:lnTo>
                <a:lnTo>
                  <a:pt x="7156" y="3140"/>
                </a:lnTo>
                <a:lnTo>
                  <a:pt x="7154" y="3144"/>
                </a:lnTo>
                <a:lnTo>
                  <a:pt x="7156" y="3146"/>
                </a:lnTo>
                <a:lnTo>
                  <a:pt x="7162" y="3144"/>
                </a:lnTo>
                <a:lnTo>
                  <a:pt x="7166" y="3140"/>
                </a:lnTo>
                <a:lnTo>
                  <a:pt x="7170" y="3136"/>
                </a:lnTo>
                <a:close/>
                <a:moveTo>
                  <a:pt x="6936" y="3086"/>
                </a:moveTo>
                <a:lnTo>
                  <a:pt x="6936" y="3086"/>
                </a:lnTo>
                <a:lnTo>
                  <a:pt x="6938" y="3086"/>
                </a:lnTo>
                <a:lnTo>
                  <a:pt x="6940" y="3084"/>
                </a:lnTo>
                <a:lnTo>
                  <a:pt x="6940" y="3080"/>
                </a:lnTo>
                <a:lnTo>
                  <a:pt x="6940" y="3076"/>
                </a:lnTo>
                <a:lnTo>
                  <a:pt x="6938" y="3076"/>
                </a:lnTo>
                <a:lnTo>
                  <a:pt x="6936" y="3076"/>
                </a:lnTo>
                <a:lnTo>
                  <a:pt x="6934" y="3080"/>
                </a:lnTo>
                <a:lnTo>
                  <a:pt x="6932" y="3084"/>
                </a:lnTo>
                <a:lnTo>
                  <a:pt x="6934" y="3086"/>
                </a:lnTo>
                <a:lnTo>
                  <a:pt x="6936" y="3086"/>
                </a:lnTo>
                <a:close/>
                <a:moveTo>
                  <a:pt x="7094" y="3066"/>
                </a:moveTo>
                <a:lnTo>
                  <a:pt x="7094" y="3066"/>
                </a:lnTo>
                <a:lnTo>
                  <a:pt x="7094" y="3072"/>
                </a:lnTo>
                <a:lnTo>
                  <a:pt x="7096" y="3076"/>
                </a:lnTo>
                <a:lnTo>
                  <a:pt x="7100" y="3078"/>
                </a:lnTo>
                <a:lnTo>
                  <a:pt x="7102" y="3076"/>
                </a:lnTo>
                <a:lnTo>
                  <a:pt x="7102" y="3074"/>
                </a:lnTo>
                <a:lnTo>
                  <a:pt x="7098" y="3070"/>
                </a:lnTo>
                <a:lnTo>
                  <a:pt x="7096" y="3066"/>
                </a:lnTo>
                <a:lnTo>
                  <a:pt x="7094" y="3064"/>
                </a:lnTo>
                <a:lnTo>
                  <a:pt x="7094" y="3066"/>
                </a:lnTo>
                <a:close/>
                <a:moveTo>
                  <a:pt x="7102" y="3120"/>
                </a:moveTo>
                <a:lnTo>
                  <a:pt x="7102" y="3120"/>
                </a:lnTo>
                <a:lnTo>
                  <a:pt x="7102" y="3124"/>
                </a:lnTo>
                <a:lnTo>
                  <a:pt x="7106" y="3128"/>
                </a:lnTo>
                <a:lnTo>
                  <a:pt x="7116" y="3140"/>
                </a:lnTo>
                <a:lnTo>
                  <a:pt x="7120" y="3144"/>
                </a:lnTo>
                <a:lnTo>
                  <a:pt x="7122" y="3146"/>
                </a:lnTo>
                <a:lnTo>
                  <a:pt x="7124" y="3142"/>
                </a:lnTo>
                <a:lnTo>
                  <a:pt x="7120" y="3138"/>
                </a:lnTo>
                <a:lnTo>
                  <a:pt x="7116" y="3132"/>
                </a:lnTo>
                <a:lnTo>
                  <a:pt x="7110" y="3124"/>
                </a:lnTo>
                <a:lnTo>
                  <a:pt x="7106" y="3120"/>
                </a:lnTo>
                <a:lnTo>
                  <a:pt x="7104" y="3120"/>
                </a:lnTo>
                <a:lnTo>
                  <a:pt x="7102" y="3120"/>
                </a:lnTo>
                <a:close/>
                <a:moveTo>
                  <a:pt x="11690" y="3124"/>
                </a:moveTo>
                <a:lnTo>
                  <a:pt x="11690" y="3124"/>
                </a:lnTo>
                <a:lnTo>
                  <a:pt x="11694" y="3116"/>
                </a:lnTo>
                <a:lnTo>
                  <a:pt x="11694" y="3108"/>
                </a:lnTo>
                <a:lnTo>
                  <a:pt x="11694" y="3106"/>
                </a:lnTo>
                <a:lnTo>
                  <a:pt x="11692" y="3104"/>
                </a:lnTo>
                <a:lnTo>
                  <a:pt x="11688" y="3106"/>
                </a:lnTo>
                <a:lnTo>
                  <a:pt x="11684" y="3110"/>
                </a:lnTo>
                <a:lnTo>
                  <a:pt x="11682" y="3114"/>
                </a:lnTo>
                <a:lnTo>
                  <a:pt x="11680" y="3118"/>
                </a:lnTo>
                <a:lnTo>
                  <a:pt x="11680" y="3122"/>
                </a:lnTo>
                <a:lnTo>
                  <a:pt x="11682" y="3124"/>
                </a:lnTo>
                <a:lnTo>
                  <a:pt x="11684" y="3126"/>
                </a:lnTo>
                <a:lnTo>
                  <a:pt x="11686" y="3126"/>
                </a:lnTo>
                <a:lnTo>
                  <a:pt x="11688" y="3126"/>
                </a:lnTo>
                <a:lnTo>
                  <a:pt x="11690" y="3124"/>
                </a:lnTo>
                <a:close/>
                <a:moveTo>
                  <a:pt x="11438" y="3278"/>
                </a:moveTo>
                <a:lnTo>
                  <a:pt x="11438" y="3278"/>
                </a:lnTo>
                <a:lnTo>
                  <a:pt x="11430" y="3286"/>
                </a:lnTo>
                <a:lnTo>
                  <a:pt x="11426" y="3292"/>
                </a:lnTo>
                <a:lnTo>
                  <a:pt x="11418" y="3294"/>
                </a:lnTo>
                <a:lnTo>
                  <a:pt x="11412" y="3296"/>
                </a:lnTo>
                <a:lnTo>
                  <a:pt x="11406" y="3306"/>
                </a:lnTo>
                <a:lnTo>
                  <a:pt x="11402" y="3310"/>
                </a:lnTo>
                <a:lnTo>
                  <a:pt x="11398" y="3314"/>
                </a:lnTo>
                <a:lnTo>
                  <a:pt x="11392" y="3314"/>
                </a:lnTo>
                <a:lnTo>
                  <a:pt x="11388" y="3314"/>
                </a:lnTo>
                <a:lnTo>
                  <a:pt x="11386" y="3316"/>
                </a:lnTo>
                <a:lnTo>
                  <a:pt x="11384" y="3320"/>
                </a:lnTo>
                <a:lnTo>
                  <a:pt x="11384" y="3326"/>
                </a:lnTo>
                <a:lnTo>
                  <a:pt x="11384" y="3332"/>
                </a:lnTo>
                <a:lnTo>
                  <a:pt x="11388" y="3336"/>
                </a:lnTo>
                <a:lnTo>
                  <a:pt x="11392" y="3336"/>
                </a:lnTo>
                <a:lnTo>
                  <a:pt x="11398" y="3336"/>
                </a:lnTo>
                <a:lnTo>
                  <a:pt x="11410" y="3334"/>
                </a:lnTo>
                <a:lnTo>
                  <a:pt x="11418" y="3334"/>
                </a:lnTo>
                <a:lnTo>
                  <a:pt x="11424" y="3336"/>
                </a:lnTo>
                <a:lnTo>
                  <a:pt x="11430" y="3340"/>
                </a:lnTo>
                <a:lnTo>
                  <a:pt x="11434" y="3338"/>
                </a:lnTo>
                <a:lnTo>
                  <a:pt x="11434" y="3336"/>
                </a:lnTo>
                <a:lnTo>
                  <a:pt x="11434" y="3332"/>
                </a:lnTo>
                <a:lnTo>
                  <a:pt x="11434" y="3324"/>
                </a:lnTo>
                <a:lnTo>
                  <a:pt x="11436" y="3320"/>
                </a:lnTo>
                <a:lnTo>
                  <a:pt x="11440" y="3316"/>
                </a:lnTo>
                <a:lnTo>
                  <a:pt x="11444" y="3314"/>
                </a:lnTo>
                <a:lnTo>
                  <a:pt x="11448" y="3316"/>
                </a:lnTo>
                <a:lnTo>
                  <a:pt x="11450" y="3320"/>
                </a:lnTo>
                <a:lnTo>
                  <a:pt x="11460" y="3320"/>
                </a:lnTo>
                <a:lnTo>
                  <a:pt x="11484" y="3314"/>
                </a:lnTo>
                <a:lnTo>
                  <a:pt x="11510" y="3306"/>
                </a:lnTo>
                <a:lnTo>
                  <a:pt x="11514" y="3304"/>
                </a:lnTo>
                <a:lnTo>
                  <a:pt x="11518" y="3302"/>
                </a:lnTo>
                <a:lnTo>
                  <a:pt x="11520" y="3296"/>
                </a:lnTo>
                <a:lnTo>
                  <a:pt x="11522" y="3294"/>
                </a:lnTo>
                <a:lnTo>
                  <a:pt x="11524" y="3294"/>
                </a:lnTo>
                <a:lnTo>
                  <a:pt x="11536" y="3298"/>
                </a:lnTo>
                <a:lnTo>
                  <a:pt x="11544" y="3300"/>
                </a:lnTo>
                <a:lnTo>
                  <a:pt x="11550" y="3300"/>
                </a:lnTo>
                <a:lnTo>
                  <a:pt x="11560" y="3298"/>
                </a:lnTo>
                <a:lnTo>
                  <a:pt x="11564" y="3296"/>
                </a:lnTo>
                <a:lnTo>
                  <a:pt x="11566" y="3302"/>
                </a:lnTo>
                <a:lnTo>
                  <a:pt x="11566" y="3306"/>
                </a:lnTo>
                <a:lnTo>
                  <a:pt x="11564" y="3308"/>
                </a:lnTo>
                <a:lnTo>
                  <a:pt x="11560" y="3314"/>
                </a:lnTo>
                <a:lnTo>
                  <a:pt x="11556" y="3318"/>
                </a:lnTo>
                <a:lnTo>
                  <a:pt x="11554" y="3320"/>
                </a:lnTo>
                <a:lnTo>
                  <a:pt x="11554" y="3324"/>
                </a:lnTo>
                <a:lnTo>
                  <a:pt x="11554" y="3330"/>
                </a:lnTo>
                <a:lnTo>
                  <a:pt x="11552" y="3336"/>
                </a:lnTo>
                <a:lnTo>
                  <a:pt x="11552" y="3340"/>
                </a:lnTo>
                <a:lnTo>
                  <a:pt x="11554" y="3342"/>
                </a:lnTo>
                <a:lnTo>
                  <a:pt x="11556" y="3346"/>
                </a:lnTo>
                <a:lnTo>
                  <a:pt x="11562" y="3348"/>
                </a:lnTo>
                <a:lnTo>
                  <a:pt x="11562" y="3352"/>
                </a:lnTo>
                <a:lnTo>
                  <a:pt x="11564" y="3356"/>
                </a:lnTo>
                <a:lnTo>
                  <a:pt x="11574" y="3362"/>
                </a:lnTo>
                <a:lnTo>
                  <a:pt x="11572" y="3364"/>
                </a:lnTo>
                <a:lnTo>
                  <a:pt x="11576" y="3366"/>
                </a:lnTo>
                <a:lnTo>
                  <a:pt x="11580" y="3364"/>
                </a:lnTo>
                <a:lnTo>
                  <a:pt x="11584" y="3360"/>
                </a:lnTo>
                <a:lnTo>
                  <a:pt x="11588" y="3354"/>
                </a:lnTo>
                <a:lnTo>
                  <a:pt x="11604" y="3328"/>
                </a:lnTo>
                <a:lnTo>
                  <a:pt x="11608" y="3324"/>
                </a:lnTo>
                <a:lnTo>
                  <a:pt x="11612" y="3320"/>
                </a:lnTo>
                <a:lnTo>
                  <a:pt x="11622" y="3318"/>
                </a:lnTo>
                <a:lnTo>
                  <a:pt x="11626" y="3316"/>
                </a:lnTo>
                <a:lnTo>
                  <a:pt x="11626" y="3314"/>
                </a:lnTo>
                <a:lnTo>
                  <a:pt x="11624" y="3312"/>
                </a:lnTo>
                <a:lnTo>
                  <a:pt x="11618" y="3308"/>
                </a:lnTo>
                <a:lnTo>
                  <a:pt x="11612" y="3302"/>
                </a:lnTo>
                <a:lnTo>
                  <a:pt x="11610" y="3296"/>
                </a:lnTo>
                <a:lnTo>
                  <a:pt x="11610" y="3290"/>
                </a:lnTo>
                <a:lnTo>
                  <a:pt x="11612" y="3284"/>
                </a:lnTo>
                <a:lnTo>
                  <a:pt x="11616" y="3280"/>
                </a:lnTo>
                <a:lnTo>
                  <a:pt x="11620" y="3280"/>
                </a:lnTo>
                <a:lnTo>
                  <a:pt x="11622" y="3280"/>
                </a:lnTo>
                <a:lnTo>
                  <a:pt x="11624" y="3286"/>
                </a:lnTo>
                <a:lnTo>
                  <a:pt x="11624" y="3292"/>
                </a:lnTo>
                <a:lnTo>
                  <a:pt x="11626" y="3294"/>
                </a:lnTo>
                <a:lnTo>
                  <a:pt x="11630" y="3296"/>
                </a:lnTo>
                <a:lnTo>
                  <a:pt x="11634" y="3296"/>
                </a:lnTo>
                <a:lnTo>
                  <a:pt x="11638" y="3294"/>
                </a:lnTo>
                <a:lnTo>
                  <a:pt x="11634" y="3300"/>
                </a:lnTo>
                <a:lnTo>
                  <a:pt x="11632" y="3302"/>
                </a:lnTo>
                <a:lnTo>
                  <a:pt x="11630" y="3304"/>
                </a:lnTo>
                <a:lnTo>
                  <a:pt x="11638" y="3304"/>
                </a:lnTo>
                <a:lnTo>
                  <a:pt x="11650" y="3302"/>
                </a:lnTo>
                <a:lnTo>
                  <a:pt x="11662" y="3302"/>
                </a:lnTo>
                <a:lnTo>
                  <a:pt x="11670" y="3302"/>
                </a:lnTo>
                <a:lnTo>
                  <a:pt x="11674" y="3302"/>
                </a:lnTo>
                <a:lnTo>
                  <a:pt x="11676" y="3300"/>
                </a:lnTo>
                <a:lnTo>
                  <a:pt x="11682" y="3292"/>
                </a:lnTo>
                <a:lnTo>
                  <a:pt x="11688" y="3282"/>
                </a:lnTo>
                <a:lnTo>
                  <a:pt x="11696" y="3276"/>
                </a:lnTo>
                <a:lnTo>
                  <a:pt x="11698" y="3276"/>
                </a:lnTo>
                <a:lnTo>
                  <a:pt x="11700" y="3276"/>
                </a:lnTo>
                <a:lnTo>
                  <a:pt x="11700" y="3282"/>
                </a:lnTo>
                <a:lnTo>
                  <a:pt x="11700" y="3288"/>
                </a:lnTo>
                <a:lnTo>
                  <a:pt x="11698" y="3296"/>
                </a:lnTo>
                <a:lnTo>
                  <a:pt x="11700" y="3300"/>
                </a:lnTo>
                <a:lnTo>
                  <a:pt x="11702" y="3302"/>
                </a:lnTo>
                <a:lnTo>
                  <a:pt x="11704" y="3302"/>
                </a:lnTo>
                <a:lnTo>
                  <a:pt x="11708" y="3298"/>
                </a:lnTo>
                <a:lnTo>
                  <a:pt x="11712" y="3286"/>
                </a:lnTo>
                <a:lnTo>
                  <a:pt x="11714" y="3274"/>
                </a:lnTo>
                <a:lnTo>
                  <a:pt x="11718" y="3268"/>
                </a:lnTo>
                <a:lnTo>
                  <a:pt x="11720" y="3266"/>
                </a:lnTo>
                <a:lnTo>
                  <a:pt x="11722" y="3264"/>
                </a:lnTo>
                <a:lnTo>
                  <a:pt x="11730" y="3270"/>
                </a:lnTo>
                <a:lnTo>
                  <a:pt x="11736" y="3274"/>
                </a:lnTo>
                <a:lnTo>
                  <a:pt x="11736" y="3270"/>
                </a:lnTo>
                <a:lnTo>
                  <a:pt x="11736" y="3264"/>
                </a:lnTo>
                <a:lnTo>
                  <a:pt x="11736" y="3258"/>
                </a:lnTo>
                <a:lnTo>
                  <a:pt x="11738" y="3254"/>
                </a:lnTo>
                <a:lnTo>
                  <a:pt x="11740" y="3250"/>
                </a:lnTo>
                <a:lnTo>
                  <a:pt x="11744" y="3248"/>
                </a:lnTo>
                <a:lnTo>
                  <a:pt x="11750" y="3246"/>
                </a:lnTo>
                <a:lnTo>
                  <a:pt x="11752" y="3248"/>
                </a:lnTo>
                <a:lnTo>
                  <a:pt x="11752" y="3252"/>
                </a:lnTo>
                <a:lnTo>
                  <a:pt x="11750" y="3256"/>
                </a:lnTo>
                <a:lnTo>
                  <a:pt x="11746" y="3266"/>
                </a:lnTo>
                <a:lnTo>
                  <a:pt x="11742" y="3280"/>
                </a:lnTo>
                <a:lnTo>
                  <a:pt x="11742" y="3288"/>
                </a:lnTo>
                <a:lnTo>
                  <a:pt x="11744" y="3288"/>
                </a:lnTo>
                <a:lnTo>
                  <a:pt x="11748" y="3284"/>
                </a:lnTo>
                <a:lnTo>
                  <a:pt x="11752" y="3280"/>
                </a:lnTo>
                <a:lnTo>
                  <a:pt x="11754" y="3278"/>
                </a:lnTo>
                <a:lnTo>
                  <a:pt x="11760" y="3276"/>
                </a:lnTo>
                <a:lnTo>
                  <a:pt x="11762" y="3274"/>
                </a:lnTo>
                <a:lnTo>
                  <a:pt x="11764" y="3272"/>
                </a:lnTo>
                <a:lnTo>
                  <a:pt x="11766" y="3258"/>
                </a:lnTo>
                <a:lnTo>
                  <a:pt x="11770" y="3252"/>
                </a:lnTo>
                <a:lnTo>
                  <a:pt x="11774" y="3248"/>
                </a:lnTo>
                <a:lnTo>
                  <a:pt x="11778" y="3246"/>
                </a:lnTo>
                <a:lnTo>
                  <a:pt x="11784" y="3248"/>
                </a:lnTo>
                <a:lnTo>
                  <a:pt x="11786" y="3248"/>
                </a:lnTo>
                <a:lnTo>
                  <a:pt x="11788" y="3246"/>
                </a:lnTo>
                <a:lnTo>
                  <a:pt x="11786" y="3242"/>
                </a:lnTo>
                <a:lnTo>
                  <a:pt x="11780" y="3232"/>
                </a:lnTo>
                <a:lnTo>
                  <a:pt x="11776" y="3226"/>
                </a:lnTo>
                <a:lnTo>
                  <a:pt x="11774" y="3222"/>
                </a:lnTo>
                <a:lnTo>
                  <a:pt x="11772" y="3210"/>
                </a:lnTo>
                <a:lnTo>
                  <a:pt x="11776" y="3200"/>
                </a:lnTo>
                <a:lnTo>
                  <a:pt x="11780" y="3188"/>
                </a:lnTo>
                <a:lnTo>
                  <a:pt x="11786" y="3176"/>
                </a:lnTo>
                <a:lnTo>
                  <a:pt x="11790" y="3164"/>
                </a:lnTo>
                <a:lnTo>
                  <a:pt x="11792" y="3152"/>
                </a:lnTo>
                <a:lnTo>
                  <a:pt x="11790" y="3138"/>
                </a:lnTo>
                <a:lnTo>
                  <a:pt x="11788" y="3128"/>
                </a:lnTo>
                <a:lnTo>
                  <a:pt x="11786" y="3120"/>
                </a:lnTo>
                <a:lnTo>
                  <a:pt x="11788" y="3112"/>
                </a:lnTo>
                <a:lnTo>
                  <a:pt x="11790" y="3106"/>
                </a:lnTo>
                <a:lnTo>
                  <a:pt x="11792" y="3100"/>
                </a:lnTo>
                <a:lnTo>
                  <a:pt x="11796" y="3098"/>
                </a:lnTo>
                <a:lnTo>
                  <a:pt x="11800" y="3098"/>
                </a:lnTo>
                <a:lnTo>
                  <a:pt x="11806" y="3102"/>
                </a:lnTo>
                <a:lnTo>
                  <a:pt x="11810" y="3104"/>
                </a:lnTo>
                <a:lnTo>
                  <a:pt x="11812" y="3104"/>
                </a:lnTo>
                <a:lnTo>
                  <a:pt x="11812" y="3096"/>
                </a:lnTo>
                <a:lnTo>
                  <a:pt x="11812" y="3082"/>
                </a:lnTo>
                <a:lnTo>
                  <a:pt x="11814" y="3074"/>
                </a:lnTo>
                <a:lnTo>
                  <a:pt x="11820" y="3068"/>
                </a:lnTo>
                <a:lnTo>
                  <a:pt x="11824" y="3058"/>
                </a:lnTo>
                <a:lnTo>
                  <a:pt x="11828" y="3050"/>
                </a:lnTo>
                <a:lnTo>
                  <a:pt x="11830" y="3040"/>
                </a:lnTo>
                <a:lnTo>
                  <a:pt x="11832" y="3030"/>
                </a:lnTo>
                <a:lnTo>
                  <a:pt x="11832" y="3020"/>
                </a:lnTo>
                <a:lnTo>
                  <a:pt x="11830" y="3010"/>
                </a:lnTo>
                <a:lnTo>
                  <a:pt x="11826" y="3002"/>
                </a:lnTo>
                <a:lnTo>
                  <a:pt x="11820" y="2994"/>
                </a:lnTo>
                <a:lnTo>
                  <a:pt x="11814" y="2988"/>
                </a:lnTo>
                <a:lnTo>
                  <a:pt x="11810" y="2980"/>
                </a:lnTo>
                <a:lnTo>
                  <a:pt x="11806" y="2964"/>
                </a:lnTo>
                <a:lnTo>
                  <a:pt x="11806" y="2950"/>
                </a:lnTo>
                <a:lnTo>
                  <a:pt x="11806" y="2940"/>
                </a:lnTo>
                <a:lnTo>
                  <a:pt x="11808" y="2936"/>
                </a:lnTo>
                <a:lnTo>
                  <a:pt x="11806" y="2934"/>
                </a:lnTo>
                <a:lnTo>
                  <a:pt x="11802" y="2932"/>
                </a:lnTo>
                <a:lnTo>
                  <a:pt x="11796" y="2930"/>
                </a:lnTo>
                <a:lnTo>
                  <a:pt x="11790" y="2926"/>
                </a:lnTo>
                <a:lnTo>
                  <a:pt x="11788" y="2926"/>
                </a:lnTo>
                <a:lnTo>
                  <a:pt x="11786" y="2928"/>
                </a:lnTo>
                <a:lnTo>
                  <a:pt x="11782" y="2936"/>
                </a:lnTo>
                <a:lnTo>
                  <a:pt x="11782" y="2940"/>
                </a:lnTo>
                <a:lnTo>
                  <a:pt x="11784" y="2944"/>
                </a:lnTo>
                <a:lnTo>
                  <a:pt x="11786" y="2944"/>
                </a:lnTo>
                <a:lnTo>
                  <a:pt x="11790" y="2944"/>
                </a:lnTo>
                <a:lnTo>
                  <a:pt x="11796" y="2944"/>
                </a:lnTo>
                <a:lnTo>
                  <a:pt x="11798" y="2946"/>
                </a:lnTo>
                <a:lnTo>
                  <a:pt x="11800" y="2948"/>
                </a:lnTo>
                <a:lnTo>
                  <a:pt x="11800" y="2952"/>
                </a:lnTo>
                <a:lnTo>
                  <a:pt x="11798" y="2960"/>
                </a:lnTo>
                <a:lnTo>
                  <a:pt x="11794" y="2960"/>
                </a:lnTo>
                <a:lnTo>
                  <a:pt x="11792" y="2960"/>
                </a:lnTo>
                <a:lnTo>
                  <a:pt x="11790" y="2958"/>
                </a:lnTo>
                <a:lnTo>
                  <a:pt x="11786" y="2958"/>
                </a:lnTo>
                <a:lnTo>
                  <a:pt x="11782" y="2962"/>
                </a:lnTo>
                <a:lnTo>
                  <a:pt x="11780" y="2964"/>
                </a:lnTo>
                <a:lnTo>
                  <a:pt x="11778" y="2964"/>
                </a:lnTo>
                <a:lnTo>
                  <a:pt x="11776" y="2962"/>
                </a:lnTo>
                <a:lnTo>
                  <a:pt x="11776" y="2956"/>
                </a:lnTo>
                <a:lnTo>
                  <a:pt x="11774" y="2944"/>
                </a:lnTo>
                <a:lnTo>
                  <a:pt x="11772" y="2942"/>
                </a:lnTo>
                <a:lnTo>
                  <a:pt x="11770" y="2940"/>
                </a:lnTo>
                <a:lnTo>
                  <a:pt x="11766" y="2940"/>
                </a:lnTo>
                <a:lnTo>
                  <a:pt x="11764" y="2944"/>
                </a:lnTo>
                <a:lnTo>
                  <a:pt x="11762" y="2948"/>
                </a:lnTo>
                <a:lnTo>
                  <a:pt x="11762" y="2956"/>
                </a:lnTo>
                <a:lnTo>
                  <a:pt x="11760" y="2964"/>
                </a:lnTo>
                <a:lnTo>
                  <a:pt x="11758" y="2966"/>
                </a:lnTo>
                <a:lnTo>
                  <a:pt x="11754" y="2968"/>
                </a:lnTo>
                <a:lnTo>
                  <a:pt x="11750" y="2968"/>
                </a:lnTo>
                <a:lnTo>
                  <a:pt x="11746" y="2970"/>
                </a:lnTo>
                <a:lnTo>
                  <a:pt x="11744" y="2972"/>
                </a:lnTo>
                <a:lnTo>
                  <a:pt x="11744" y="2976"/>
                </a:lnTo>
                <a:lnTo>
                  <a:pt x="11746" y="2984"/>
                </a:lnTo>
                <a:lnTo>
                  <a:pt x="11748" y="2994"/>
                </a:lnTo>
                <a:lnTo>
                  <a:pt x="11748" y="3000"/>
                </a:lnTo>
                <a:lnTo>
                  <a:pt x="11746" y="3004"/>
                </a:lnTo>
                <a:lnTo>
                  <a:pt x="11744" y="3006"/>
                </a:lnTo>
                <a:lnTo>
                  <a:pt x="11740" y="3008"/>
                </a:lnTo>
                <a:lnTo>
                  <a:pt x="11738" y="3010"/>
                </a:lnTo>
                <a:lnTo>
                  <a:pt x="11738" y="3014"/>
                </a:lnTo>
                <a:lnTo>
                  <a:pt x="11738" y="3016"/>
                </a:lnTo>
                <a:lnTo>
                  <a:pt x="11740" y="3016"/>
                </a:lnTo>
                <a:lnTo>
                  <a:pt x="11744" y="3018"/>
                </a:lnTo>
                <a:lnTo>
                  <a:pt x="11746" y="3020"/>
                </a:lnTo>
                <a:lnTo>
                  <a:pt x="11748" y="3024"/>
                </a:lnTo>
                <a:lnTo>
                  <a:pt x="11748" y="3032"/>
                </a:lnTo>
                <a:lnTo>
                  <a:pt x="11748" y="3046"/>
                </a:lnTo>
                <a:lnTo>
                  <a:pt x="11742" y="3066"/>
                </a:lnTo>
                <a:lnTo>
                  <a:pt x="11738" y="3082"/>
                </a:lnTo>
                <a:lnTo>
                  <a:pt x="11732" y="3094"/>
                </a:lnTo>
                <a:lnTo>
                  <a:pt x="11728" y="3104"/>
                </a:lnTo>
                <a:lnTo>
                  <a:pt x="11722" y="3112"/>
                </a:lnTo>
                <a:lnTo>
                  <a:pt x="11710" y="3124"/>
                </a:lnTo>
                <a:lnTo>
                  <a:pt x="11698" y="3142"/>
                </a:lnTo>
                <a:lnTo>
                  <a:pt x="11690" y="3152"/>
                </a:lnTo>
                <a:lnTo>
                  <a:pt x="11684" y="3158"/>
                </a:lnTo>
                <a:lnTo>
                  <a:pt x="11676" y="3164"/>
                </a:lnTo>
                <a:lnTo>
                  <a:pt x="11670" y="3166"/>
                </a:lnTo>
                <a:lnTo>
                  <a:pt x="11656" y="3172"/>
                </a:lnTo>
                <a:lnTo>
                  <a:pt x="11648" y="3176"/>
                </a:lnTo>
                <a:lnTo>
                  <a:pt x="11640" y="3182"/>
                </a:lnTo>
                <a:lnTo>
                  <a:pt x="11632" y="3190"/>
                </a:lnTo>
                <a:lnTo>
                  <a:pt x="11630" y="3188"/>
                </a:lnTo>
                <a:lnTo>
                  <a:pt x="11630" y="3186"/>
                </a:lnTo>
                <a:lnTo>
                  <a:pt x="11632" y="3178"/>
                </a:lnTo>
                <a:lnTo>
                  <a:pt x="11632" y="3174"/>
                </a:lnTo>
                <a:lnTo>
                  <a:pt x="11630" y="3170"/>
                </a:lnTo>
                <a:lnTo>
                  <a:pt x="11628" y="3168"/>
                </a:lnTo>
                <a:lnTo>
                  <a:pt x="11628" y="3164"/>
                </a:lnTo>
                <a:lnTo>
                  <a:pt x="11636" y="3160"/>
                </a:lnTo>
                <a:lnTo>
                  <a:pt x="11644" y="3152"/>
                </a:lnTo>
                <a:lnTo>
                  <a:pt x="11644" y="3148"/>
                </a:lnTo>
                <a:lnTo>
                  <a:pt x="11642" y="3144"/>
                </a:lnTo>
                <a:lnTo>
                  <a:pt x="11640" y="3144"/>
                </a:lnTo>
                <a:lnTo>
                  <a:pt x="11636" y="3144"/>
                </a:lnTo>
                <a:lnTo>
                  <a:pt x="11628" y="3148"/>
                </a:lnTo>
                <a:lnTo>
                  <a:pt x="11622" y="3152"/>
                </a:lnTo>
                <a:lnTo>
                  <a:pt x="11620" y="3156"/>
                </a:lnTo>
                <a:lnTo>
                  <a:pt x="11618" y="3160"/>
                </a:lnTo>
                <a:lnTo>
                  <a:pt x="11618" y="3166"/>
                </a:lnTo>
                <a:lnTo>
                  <a:pt x="11618" y="3176"/>
                </a:lnTo>
                <a:lnTo>
                  <a:pt x="11616" y="3186"/>
                </a:lnTo>
                <a:lnTo>
                  <a:pt x="11612" y="3196"/>
                </a:lnTo>
                <a:lnTo>
                  <a:pt x="11604" y="3206"/>
                </a:lnTo>
                <a:lnTo>
                  <a:pt x="11592" y="3220"/>
                </a:lnTo>
                <a:lnTo>
                  <a:pt x="11588" y="3226"/>
                </a:lnTo>
                <a:lnTo>
                  <a:pt x="11588" y="3230"/>
                </a:lnTo>
                <a:lnTo>
                  <a:pt x="11588" y="3236"/>
                </a:lnTo>
                <a:lnTo>
                  <a:pt x="11588" y="3242"/>
                </a:lnTo>
                <a:lnTo>
                  <a:pt x="11586" y="3246"/>
                </a:lnTo>
                <a:lnTo>
                  <a:pt x="11584" y="3248"/>
                </a:lnTo>
                <a:lnTo>
                  <a:pt x="11578" y="3250"/>
                </a:lnTo>
                <a:lnTo>
                  <a:pt x="11570" y="3252"/>
                </a:lnTo>
                <a:lnTo>
                  <a:pt x="11564" y="3254"/>
                </a:lnTo>
                <a:lnTo>
                  <a:pt x="11560" y="3252"/>
                </a:lnTo>
                <a:lnTo>
                  <a:pt x="11560" y="3250"/>
                </a:lnTo>
                <a:lnTo>
                  <a:pt x="11560" y="3248"/>
                </a:lnTo>
                <a:lnTo>
                  <a:pt x="11562" y="3242"/>
                </a:lnTo>
                <a:lnTo>
                  <a:pt x="11560" y="3242"/>
                </a:lnTo>
                <a:lnTo>
                  <a:pt x="11558" y="3240"/>
                </a:lnTo>
                <a:lnTo>
                  <a:pt x="11550" y="3242"/>
                </a:lnTo>
                <a:lnTo>
                  <a:pt x="11540" y="3244"/>
                </a:lnTo>
                <a:lnTo>
                  <a:pt x="11514" y="3252"/>
                </a:lnTo>
                <a:lnTo>
                  <a:pt x="11502" y="3256"/>
                </a:lnTo>
                <a:lnTo>
                  <a:pt x="11492" y="3258"/>
                </a:lnTo>
                <a:lnTo>
                  <a:pt x="11482" y="3258"/>
                </a:lnTo>
                <a:lnTo>
                  <a:pt x="11480" y="3256"/>
                </a:lnTo>
                <a:lnTo>
                  <a:pt x="11478" y="3254"/>
                </a:lnTo>
                <a:lnTo>
                  <a:pt x="11476" y="3250"/>
                </a:lnTo>
                <a:lnTo>
                  <a:pt x="11472" y="3248"/>
                </a:lnTo>
                <a:lnTo>
                  <a:pt x="11468" y="3250"/>
                </a:lnTo>
                <a:lnTo>
                  <a:pt x="11464" y="3252"/>
                </a:lnTo>
                <a:lnTo>
                  <a:pt x="11452" y="3262"/>
                </a:lnTo>
                <a:lnTo>
                  <a:pt x="11438" y="3278"/>
                </a:lnTo>
                <a:close/>
                <a:moveTo>
                  <a:pt x="11364" y="3348"/>
                </a:moveTo>
                <a:lnTo>
                  <a:pt x="11364" y="3348"/>
                </a:lnTo>
                <a:lnTo>
                  <a:pt x="11362" y="3354"/>
                </a:lnTo>
                <a:lnTo>
                  <a:pt x="11358" y="3354"/>
                </a:lnTo>
                <a:lnTo>
                  <a:pt x="11356" y="3354"/>
                </a:lnTo>
                <a:lnTo>
                  <a:pt x="11352" y="3360"/>
                </a:lnTo>
                <a:lnTo>
                  <a:pt x="11350" y="3362"/>
                </a:lnTo>
                <a:lnTo>
                  <a:pt x="11348" y="3364"/>
                </a:lnTo>
                <a:lnTo>
                  <a:pt x="11344" y="3360"/>
                </a:lnTo>
                <a:lnTo>
                  <a:pt x="11342" y="3358"/>
                </a:lnTo>
                <a:lnTo>
                  <a:pt x="11340" y="3362"/>
                </a:lnTo>
                <a:lnTo>
                  <a:pt x="11340" y="3366"/>
                </a:lnTo>
                <a:lnTo>
                  <a:pt x="11338" y="3368"/>
                </a:lnTo>
                <a:lnTo>
                  <a:pt x="11332" y="3368"/>
                </a:lnTo>
                <a:lnTo>
                  <a:pt x="11328" y="3368"/>
                </a:lnTo>
                <a:lnTo>
                  <a:pt x="11330" y="3374"/>
                </a:lnTo>
                <a:lnTo>
                  <a:pt x="11334" y="3382"/>
                </a:lnTo>
                <a:lnTo>
                  <a:pt x="11332" y="3386"/>
                </a:lnTo>
                <a:lnTo>
                  <a:pt x="11332" y="3390"/>
                </a:lnTo>
                <a:lnTo>
                  <a:pt x="11334" y="3396"/>
                </a:lnTo>
                <a:lnTo>
                  <a:pt x="11338" y="3400"/>
                </a:lnTo>
                <a:lnTo>
                  <a:pt x="11338" y="3404"/>
                </a:lnTo>
                <a:lnTo>
                  <a:pt x="11338" y="3408"/>
                </a:lnTo>
                <a:lnTo>
                  <a:pt x="11338" y="3410"/>
                </a:lnTo>
                <a:lnTo>
                  <a:pt x="11346" y="3404"/>
                </a:lnTo>
                <a:lnTo>
                  <a:pt x="11350" y="3400"/>
                </a:lnTo>
                <a:lnTo>
                  <a:pt x="11352" y="3400"/>
                </a:lnTo>
                <a:lnTo>
                  <a:pt x="11352" y="3402"/>
                </a:lnTo>
                <a:lnTo>
                  <a:pt x="11354" y="3406"/>
                </a:lnTo>
                <a:lnTo>
                  <a:pt x="11356" y="3406"/>
                </a:lnTo>
                <a:lnTo>
                  <a:pt x="11360" y="3404"/>
                </a:lnTo>
                <a:lnTo>
                  <a:pt x="11362" y="3402"/>
                </a:lnTo>
                <a:lnTo>
                  <a:pt x="11364" y="3400"/>
                </a:lnTo>
                <a:lnTo>
                  <a:pt x="11362" y="3398"/>
                </a:lnTo>
                <a:lnTo>
                  <a:pt x="11358" y="3394"/>
                </a:lnTo>
                <a:lnTo>
                  <a:pt x="11354" y="3392"/>
                </a:lnTo>
                <a:lnTo>
                  <a:pt x="11354" y="3388"/>
                </a:lnTo>
                <a:lnTo>
                  <a:pt x="11354" y="3382"/>
                </a:lnTo>
                <a:lnTo>
                  <a:pt x="11354" y="3380"/>
                </a:lnTo>
                <a:lnTo>
                  <a:pt x="11356" y="3380"/>
                </a:lnTo>
                <a:lnTo>
                  <a:pt x="11360" y="3382"/>
                </a:lnTo>
                <a:lnTo>
                  <a:pt x="11362" y="3386"/>
                </a:lnTo>
                <a:lnTo>
                  <a:pt x="11368" y="3396"/>
                </a:lnTo>
                <a:lnTo>
                  <a:pt x="11370" y="3406"/>
                </a:lnTo>
                <a:lnTo>
                  <a:pt x="11368" y="3416"/>
                </a:lnTo>
                <a:lnTo>
                  <a:pt x="11362" y="3428"/>
                </a:lnTo>
                <a:lnTo>
                  <a:pt x="11356" y="3436"/>
                </a:lnTo>
                <a:lnTo>
                  <a:pt x="11354" y="3442"/>
                </a:lnTo>
                <a:lnTo>
                  <a:pt x="11358" y="3458"/>
                </a:lnTo>
                <a:lnTo>
                  <a:pt x="11358" y="3464"/>
                </a:lnTo>
                <a:lnTo>
                  <a:pt x="11358" y="3468"/>
                </a:lnTo>
                <a:lnTo>
                  <a:pt x="11354" y="3474"/>
                </a:lnTo>
                <a:lnTo>
                  <a:pt x="11354" y="3476"/>
                </a:lnTo>
                <a:lnTo>
                  <a:pt x="11364" y="3480"/>
                </a:lnTo>
                <a:lnTo>
                  <a:pt x="11370" y="3482"/>
                </a:lnTo>
                <a:lnTo>
                  <a:pt x="11374" y="3486"/>
                </a:lnTo>
                <a:lnTo>
                  <a:pt x="11374" y="3490"/>
                </a:lnTo>
                <a:lnTo>
                  <a:pt x="11376" y="3492"/>
                </a:lnTo>
                <a:lnTo>
                  <a:pt x="11384" y="3486"/>
                </a:lnTo>
                <a:lnTo>
                  <a:pt x="11388" y="3482"/>
                </a:lnTo>
                <a:lnTo>
                  <a:pt x="11392" y="3480"/>
                </a:lnTo>
                <a:lnTo>
                  <a:pt x="11392" y="3476"/>
                </a:lnTo>
                <a:lnTo>
                  <a:pt x="11390" y="3474"/>
                </a:lnTo>
                <a:lnTo>
                  <a:pt x="11388" y="3472"/>
                </a:lnTo>
                <a:lnTo>
                  <a:pt x="11388" y="3470"/>
                </a:lnTo>
                <a:lnTo>
                  <a:pt x="11390" y="3468"/>
                </a:lnTo>
                <a:lnTo>
                  <a:pt x="11394" y="3468"/>
                </a:lnTo>
                <a:lnTo>
                  <a:pt x="11396" y="3470"/>
                </a:lnTo>
                <a:lnTo>
                  <a:pt x="11398" y="3472"/>
                </a:lnTo>
                <a:lnTo>
                  <a:pt x="11402" y="3472"/>
                </a:lnTo>
                <a:lnTo>
                  <a:pt x="11404" y="3468"/>
                </a:lnTo>
                <a:lnTo>
                  <a:pt x="11406" y="3458"/>
                </a:lnTo>
                <a:lnTo>
                  <a:pt x="11410" y="3434"/>
                </a:lnTo>
                <a:lnTo>
                  <a:pt x="11416" y="3410"/>
                </a:lnTo>
                <a:lnTo>
                  <a:pt x="11420" y="3402"/>
                </a:lnTo>
                <a:lnTo>
                  <a:pt x="11422" y="3400"/>
                </a:lnTo>
                <a:lnTo>
                  <a:pt x="11426" y="3398"/>
                </a:lnTo>
                <a:lnTo>
                  <a:pt x="11428" y="3396"/>
                </a:lnTo>
                <a:lnTo>
                  <a:pt x="11430" y="3394"/>
                </a:lnTo>
                <a:lnTo>
                  <a:pt x="11428" y="3386"/>
                </a:lnTo>
                <a:lnTo>
                  <a:pt x="11424" y="3380"/>
                </a:lnTo>
                <a:lnTo>
                  <a:pt x="11418" y="3378"/>
                </a:lnTo>
                <a:lnTo>
                  <a:pt x="11414" y="3376"/>
                </a:lnTo>
                <a:lnTo>
                  <a:pt x="11410" y="3376"/>
                </a:lnTo>
                <a:lnTo>
                  <a:pt x="11408" y="3374"/>
                </a:lnTo>
                <a:lnTo>
                  <a:pt x="11412" y="3368"/>
                </a:lnTo>
                <a:lnTo>
                  <a:pt x="11414" y="3362"/>
                </a:lnTo>
                <a:lnTo>
                  <a:pt x="11416" y="3358"/>
                </a:lnTo>
                <a:lnTo>
                  <a:pt x="11414" y="3354"/>
                </a:lnTo>
                <a:lnTo>
                  <a:pt x="11410" y="3352"/>
                </a:lnTo>
                <a:lnTo>
                  <a:pt x="11406" y="3352"/>
                </a:lnTo>
                <a:lnTo>
                  <a:pt x="11398" y="3354"/>
                </a:lnTo>
                <a:lnTo>
                  <a:pt x="11396" y="3356"/>
                </a:lnTo>
                <a:lnTo>
                  <a:pt x="11392" y="3356"/>
                </a:lnTo>
                <a:lnTo>
                  <a:pt x="11390" y="3354"/>
                </a:lnTo>
                <a:lnTo>
                  <a:pt x="11388" y="3348"/>
                </a:lnTo>
                <a:lnTo>
                  <a:pt x="11386" y="3344"/>
                </a:lnTo>
                <a:lnTo>
                  <a:pt x="11384" y="3342"/>
                </a:lnTo>
                <a:lnTo>
                  <a:pt x="11378" y="3338"/>
                </a:lnTo>
                <a:lnTo>
                  <a:pt x="11374" y="3338"/>
                </a:lnTo>
                <a:lnTo>
                  <a:pt x="11370" y="3340"/>
                </a:lnTo>
                <a:lnTo>
                  <a:pt x="11368" y="3342"/>
                </a:lnTo>
                <a:lnTo>
                  <a:pt x="11364" y="3348"/>
                </a:lnTo>
                <a:close/>
                <a:moveTo>
                  <a:pt x="11528" y="3322"/>
                </a:moveTo>
                <a:lnTo>
                  <a:pt x="11528" y="3322"/>
                </a:lnTo>
                <a:lnTo>
                  <a:pt x="11522" y="3318"/>
                </a:lnTo>
                <a:lnTo>
                  <a:pt x="11516" y="3316"/>
                </a:lnTo>
                <a:lnTo>
                  <a:pt x="11508" y="3316"/>
                </a:lnTo>
                <a:lnTo>
                  <a:pt x="11500" y="3318"/>
                </a:lnTo>
                <a:lnTo>
                  <a:pt x="11496" y="3322"/>
                </a:lnTo>
                <a:lnTo>
                  <a:pt x="11492" y="3326"/>
                </a:lnTo>
                <a:lnTo>
                  <a:pt x="11490" y="3332"/>
                </a:lnTo>
                <a:lnTo>
                  <a:pt x="11488" y="3336"/>
                </a:lnTo>
                <a:lnTo>
                  <a:pt x="11486" y="3336"/>
                </a:lnTo>
                <a:lnTo>
                  <a:pt x="11484" y="3336"/>
                </a:lnTo>
                <a:lnTo>
                  <a:pt x="11482" y="3334"/>
                </a:lnTo>
                <a:lnTo>
                  <a:pt x="11478" y="3336"/>
                </a:lnTo>
                <a:lnTo>
                  <a:pt x="11474" y="3338"/>
                </a:lnTo>
                <a:lnTo>
                  <a:pt x="11472" y="3340"/>
                </a:lnTo>
                <a:lnTo>
                  <a:pt x="11470" y="3334"/>
                </a:lnTo>
                <a:lnTo>
                  <a:pt x="11468" y="3328"/>
                </a:lnTo>
                <a:lnTo>
                  <a:pt x="11466" y="3328"/>
                </a:lnTo>
                <a:lnTo>
                  <a:pt x="11462" y="3332"/>
                </a:lnTo>
                <a:lnTo>
                  <a:pt x="11456" y="3344"/>
                </a:lnTo>
                <a:lnTo>
                  <a:pt x="11452" y="3350"/>
                </a:lnTo>
                <a:lnTo>
                  <a:pt x="11448" y="3356"/>
                </a:lnTo>
                <a:lnTo>
                  <a:pt x="11438" y="3364"/>
                </a:lnTo>
                <a:lnTo>
                  <a:pt x="11432" y="3368"/>
                </a:lnTo>
                <a:lnTo>
                  <a:pt x="11438" y="3368"/>
                </a:lnTo>
                <a:lnTo>
                  <a:pt x="11442" y="3368"/>
                </a:lnTo>
                <a:lnTo>
                  <a:pt x="11444" y="3368"/>
                </a:lnTo>
                <a:lnTo>
                  <a:pt x="11446" y="3370"/>
                </a:lnTo>
                <a:lnTo>
                  <a:pt x="11446" y="3374"/>
                </a:lnTo>
                <a:lnTo>
                  <a:pt x="11446" y="3380"/>
                </a:lnTo>
                <a:lnTo>
                  <a:pt x="11448" y="3384"/>
                </a:lnTo>
                <a:lnTo>
                  <a:pt x="11450" y="3388"/>
                </a:lnTo>
                <a:lnTo>
                  <a:pt x="11452" y="3392"/>
                </a:lnTo>
                <a:lnTo>
                  <a:pt x="11454" y="3394"/>
                </a:lnTo>
                <a:lnTo>
                  <a:pt x="11452" y="3398"/>
                </a:lnTo>
                <a:lnTo>
                  <a:pt x="11452" y="3400"/>
                </a:lnTo>
                <a:lnTo>
                  <a:pt x="11462" y="3402"/>
                </a:lnTo>
                <a:lnTo>
                  <a:pt x="11466" y="3400"/>
                </a:lnTo>
                <a:lnTo>
                  <a:pt x="11468" y="3398"/>
                </a:lnTo>
                <a:lnTo>
                  <a:pt x="11474" y="3386"/>
                </a:lnTo>
                <a:lnTo>
                  <a:pt x="11476" y="3378"/>
                </a:lnTo>
                <a:lnTo>
                  <a:pt x="11478" y="3372"/>
                </a:lnTo>
                <a:lnTo>
                  <a:pt x="11484" y="3366"/>
                </a:lnTo>
                <a:lnTo>
                  <a:pt x="11490" y="3362"/>
                </a:lnTo>
                <a:lnTo>
                  <a:pt x="11496" y="3362"/>
                </a:lnTo>
                <a:lnTo>
                  <a:pt x="11502" y="3364"/>
                </a:lnTo>
                <a:lnTo>
                  <a:pt x="11510" y="3368"/>
                </a:lnTo>
                <a:lnTo>
                  <a:pt x="11512" y="3370"/>
                </a:lnTo>
                <a:lnTo>
                  <a:pt x="11514" y="3372"/>
                </a:lnTo>
                <a:lnTo>
                  <a:pt x="11516" y="3370"/>
                </a:lnTo>
                <a:lnTo>
                  <a:pt x="11518" y="3364"/>
                </a:lnTo>
                <a:lnTo>
                  <a:pt x="11520" y="3358"/>
                </a:lnTo>
                <a:lnTo>
                  <a:pt x="11524" y="3354"/>
                </a:lnTo>
                <a:lnTo>
                  <a:pt x="11530" y="3350"/>
                </a:lnTo>
                <a:lnTo>
                  <a:pt x="11534" y="3346"/>
                </a:lnTo>
                <a:lnTo>
                  <a:pt x="11536" y="3344"/>
                </a:lnTo>
                <a:lnTo>
                  <a:pt x="11534" y="3340"/>
                </a:lnTo>
                <a:lnTo>
                  <a:pt x="11532" y="3332"/>
                </a:lnTo>
                <a:lnTo>
                  <a:pt x="11534" y="3328"/>
                </a:lnTo>
                <a:lnTo>
                  <a:pt x="11532" y="3324"/>
                </a:lnTo>
                <a:lnTo>
                  <a:pt x="11528" y="3322"/>
                </a:lnTo>
                <a:close/>
                <a:moveTo>
                  <a:pt x="11746" y="2888"/>
                </a:moveTo>
                <a:lnTo>
                  <a:pt x="11746" y="2888"/>
                </a:lnTo>
                <a:lnTo>
                  <a:pt x="11752" y="2894"/>
                </a:lnTo>
                <a:lnTo>
                  <a:pt x="11754" y="2900"/>
                </a:lnTo>
                <a:lnTo>
                  <a:pt x="11754" y="2904"/>
                </a:lnTo>
                <a:lnTo>
                  <a:pt x="11752" y="2910"/>
                </a:lnTo>
                <a:lnTo>
                  <a:pt x="11748" y="2920"/>
                </a:lnTo>
                <a:lnTo>
                  <a:pt x="11750" y="2926"/>
                </a:lnTo>
                <a:lnTo>
                  <a:pt x="11752" y="2932"/>
                </a:lnTo>
                <a:lnTo>
                  <a:pt x="11756" y="2934"/>
                </a:lnTo>
                <a:lnTo>
                  <a:pt x="11758" y="2934"/>
                </a:lnTo>
                <a:lnTo>
                  <a:pt x="11762" y="2930"/>
                </a:lnTo>
                <a:lnTo>
                  <a:pt x="11768" y="2920"/>
                </a:lnTo>
                <a:lnTo>
                  <a:pt x="11774" y="2910"/>
                </a:lnTo>
                <a:lnTo>
                  <a:pt x="11776" y="2910"/>
                </a:lnTo>
                <a:lnTo>
                  <a:pt x="11778" y="2910"/>
                </a:lnTo>
                <a:lnTo>
                  <a:pt x="11784" y="2914"/>
                </a:lnTo>
                <a:lnTo>
                  <a:pt x="11790" y="2914"/>
                </a:lnTo>
                <a:lnTo>
                  <a:pt x="11796" y="2912"/>
                </a:lnTo>
                <a:lnTo>
                  <a:pt x="11800" y="2908"/>
                </a:lnTo>
                <a:lnTo>
                  <a:pt x="11798" y="2906"/>
                </a:lnTo>
                <a:lnTo>
                  <a:pt x="11782" y="2896"/>
                </a:lnTo>
                <a:lnTo>
                  <a:pt x="11774" y="2892"/>
                </a:lnTo>
                <a:lnTo>
                  <a:pt x="11766" y="2886"/>
                </a:lnTo>
                <a:lnTo>
                  <a:pt x="11764" y="2878"/>
                </a:lnTo>
                <a:lnTo>
                  <a:pt x="11764" y="2876"/>
                </a:lnTo>
                <a:lnTo>
                  <a:pt x="11764" y="2872"/>
                </a:lnTo>
                <a:lnTo>
                  <a:pt x="11770" y="2866"/>
                </a:lnTo>
                <a:lnTo>
                  <a:pt x="11774" y="2864"/>
                </a:lnTo>
                <a:lnTo>
                  <a:pt x="11778" y="2866"/>
                </a:lnTo>
                <a:lnTo>
                  <a:pt x="11780" y="2870"/>
                </a:lnTo>
                <a:lnTo>
                  <a:pt x="11784" y="2874"/>
                </a:lnTo>
                <a:lnTo>
                  <a:pt x="11788" y="2876"/>
                </a:lnTo>
                <a:lnTo>
                  <a:pt x="11794" y="2876"/>
                </a:lnTo>
                <a:lnTo>
                  <a:pt x="11800" y="2874"/>
                </a:lnTo>
                <a:lnTo>
                  <a:pt x="11808" y="2868"/>
                </a:lnTo>
                <a:lnTo>
                  <a:pt x="11814" y="2866"/>
                </a:lnTo>
                <a:lnTo>
                  <a:pt x="11818" y="2866"/>
                </a:lnTo>
                <a:lnTo>
                  <a:pt x="11826" y="2868"/>
                </a:lnTo>
                <a:lnTo>
                  <a:pt x="11842" y="2878"/>
                </a:lnTo>
                <a:lnTo>
                  <a:pt x="11872" y="2896"/>
                </a:lnTo>
                <a:lnTo>
                  <a:pt x="11880" y="2898"/>
                </a:lnTo>
                <a:lnTo>
                  <a:pt x="11884" y="2896"/>
                </a:lnTo>
                <a:lnTo>
                  <a:pt x="11888" y="2890"/>
                </a:lnTo>
                <a:lnTo>
                  <a:pt x="11890" y="2882"/>
                </a:lnTo>
                <a:lnTo>
                  <a:pt x="11896" y="2864"/>
                </a:lnTo>
                <a:lnTo>
                  <a:pt x="11900" y="2856"/>
                </a:lnTo>
                <a:lnTo>
                  <a:pt x="11906" y="2850"/>
                </a:lnTo>
                <a:lnTo>
                  <a:pt x="11918" y="2846"/>
                </a:lnTo>
                <a:lnTo>
                  <a:pt x="11930" y="2846"/>
                </a:lnTo>
                <a:lnTo>
                  <a:pt x="11942" y="2844"/>
                </a:lnTo>
                <a:lnTo>
                  <a:pt x="11956" y="2840"/>
                </a:lnTo>
                <a:lnTo>
                  <a:pt x="11978" y="2828"/>
                </a:lnTo>
                <a:lnTo>
                  <a:pt x="11984" y="2824"/>
                </a:lnTo>
                <a:lnTo>
                  <a:pt x="11984" y="2822"/>
                </a:lnTo>
                <a:lnTo>
                  <a:pt x="11984" y="2820"/>
                </a:lnTo>
                <a:lnTo>
                  <a:pt x="11982" y="2820"/>
                </a:lnTo>
                <a:lnTo>
                  <a:pt x="11978" y="2820"/>
                </a:lnTo>
                <a:lnTo>
                  <a:pt x="11972" y="2822"/>
                </a:lnTo>
                <a:lnTo>
                  <a:pt x="11970" y="2822"/>
                </a:lnTo>
                <a:lnTo>
                  <a:pt x="11966" y="2820"/>
                </a:lnTo>
                <a:lnTo>
                  <a:pt x="11962" y="2818"/>
                </a:lnTo>
                <a:lnTo>
                  <a:pt x="11958" y="2810"/>
                </a:lnTo>
                <a:lnTo>
                  <a:pt x="11956" y="2802"/>
                </a:lnTo>
                <a:lnTo>
                  <a:pt x="11956" y="2794"/>
                </a:lnTo>
                <a:lnTo>
                  <a:pt x="11958" y="2786"/>
                </a:lnTo>
                <a:lnTo>
                  <a:pt x="11962" y="2780"/>
                </a:lnTo>
                <a:lnTo>
                  <a:pt x="11966" y="2770"/>
                </a:lnTo>
                <a:lnTo>
                  <a:pt x="11966" y="2768"/>
                </a:lnTo>
                <a:lnTo>
                  <a:pt x="11964" y="2768"/>
                </a:lnTo>
                <a:lnTo>
                  <a:pt x="11960" y="2770"/>
                </a:lnTo>
                <a:lnTo>
                  <a:pt x="11958" y="2772"/>
                </a:lnTo>
                <a:lnTo>
                  <a:pt x="11950" y="2780"/>
                </a:lnTo>
                <a:lnTo>
                  <a:pt x="11944" y="2788"/>
                </a:lnTo>
                <a:lnTo>
                  <a:pt x="11938" y="2790"/>
                </a:lnTo>
                <a:lnTo>
                  <a:pt x="11932" y="2792"/>
                </a:lnTo>
                <a:lnTo>
                  <a:pt x="11928" y="2790"/>
                </a:lnTo>
                <a:lnTo>
                  <a:pt x="11926" y="2788"/>
                </a:lnTo>
                <a:lnTo>
                  <a:pt x="11924" y="2784"/>
                </a:lnTo>
                <a:lnTo>
                  <a:pt x="11922" y="2782"/>
                </a:lnTo>
                <a:lnTo>
                  <a:pt x="11920" y="2780"/>
                </a:lnTo>
                <a:lnTo>
                  <a:pt x="11916" y="2778"/>
                </a:lnTo>
                <a:lnTo>
                  <a:pt x="11910" y="2776"/>
                </a:lnTo>
                <a:lnTo>
                  <a:pt x="11900" y="2774"/>
                </a:lnTo>
                <a:lnTo>
                  <a:pt x="11892" y="2770"/>
                </a:lnTo>
                <a:lnTo>
                  <a:pt x="11882" y="2762"/>
                </a:lnTo>
                <a:lnTo>
                  <a:pt x="11872" y="2754"/>
                </a:lnTo>
                <a:lnTo>
                  <a:pt x="11854" y="2734"/>
                </a:lnTo>
                <a:lnTo>
                  <a:pt x="11840" y="2716"/>
                </a:lnTo>
                <a:lnTo>
                  <a:pt x="11836" y="2710"/>
                </a:lnTo>
                <a:lnTo>
                  <a:pt x="11828" y="2706"/>
                </a:lnTo>
                <a:lnTo>
                  <a:pt x="11822" y="2704"/>
                </a:lnTo>
                <a:lnTo>
                  <a:pt x="11818" y="2704"/>
                </a:lnTo>
                <a:lnTo>
                  <a:pt x="11814" y="2706"/>
                </a:lnTo>
                <a:lnTo>
                  <a:pt x="11812" y="2712"/>
                </a:lnTo>
                <a:lnTo>
                  <a:pt x="11812" y="2720"/>
                </a:lnTo>
                <a:lnTo>
                  <a:pt x="11816" y="2728"/>
                </a:lnTo>
                <a:lnTo>
                  <a:pt x="11820" y="2738"/>
                </a:lnTo>
                <a:lnTo>
                  <a:pt x="11822" y="2746"/>
                </a:lnTo>
                <a:lnTo>
                  <a:pt x="11820" y="2752"/>
                </a:lnTo>
                <a:lnTo>
                  <a:pt x="11820" y="2756"/>
                </a:lnTo>
                <a:lnTo>
                  <a:pt x="11816" y="2764"/>
                </a:lnTo>
                <a:lnTo>
                  <a:pt x="11814" y="2768"/>
                </a:lnTo>
                <a:lnTo>
                  <a:pt x="11816" y="2774"/>
                </a:lnTo>
                <a:lnTo>
                  <a:pt x="11818" y="2778"/>
                </a:lnTo>
                <a:lnTo>
                  <a:pt x="11816" y="2784"/>
                </a:lnTo>
                <a:lnTo>
                  <a:pt x="11812" y="2792"/>
                </a:lnTo>
                <a:lnTo>
                  <a:pt x="11806" y="2800"/>
                </a:lnTo>
                <a:lnTo>
                  <a:pt x="11804" y="2806"/>
                </a:lnTo>
                <a:lnTo>
                  <a:pt x="11804" y="2810"/>
                </a:lnTo>
                <a:lnTo>
                  <a:pt x="11806" y="2820"/>
                </a:lnTo>
                <a:lnTo>
                  <a:pt x="11806" y="2830"/>
                </a:lnTo>
                <a:lnTo>
                  <a:pt x="11804" y="2834"/>
                </a:lnTo>
                <a:lnTo>
                  <a:pt x="11800" y="2836"/>
                </a:lnTo>
                <a:lnTo>
                  <a:pt x="11794" y="2836"/>
                </a:lnTo>
                <a:lnTo>
                  <a:pt x="11788" y="2832"/>
                </a:lnTo>
                <a:lnTo>
                  <a:pt x="11774" y="2826"/>
                </a:lnTo>
                <a:lnTo>
                  <a:pt x="11764" y="2824"/>
                </a:lnTo>
                <a:lnTo>
                  <a:pt x="11762" y="2824"/>
                </a:lnTo>
                <a:lnTo>
                  <a:pt x="11762" y="2826"/>
                </a:lnTo>
                <a:lnTo>
                  <a:pt x="11762" y="2830"/>
                </a:lnTo>
                <a:lnTo>
                  <a:pt x="11766" y="2836"/>
                </a:lnTo>
                <a:lnTo>
                  <a:pt x="11768" y="2838"/>
                </a:lnTo>
                <a:lnTo>
                  <a:pt x="11770" y="2842"/>
                </a:lnTo>
                <a:lnTo>
                  <a:pt x="11766" y="2848"/>
                </a:lnTo>
                <a:lnTo>
                  <a:pt x="11760" y="2854"/>
                </a:lnTo>
                <a:lnTo>
                  <a:pt x="11754" y="2862"/>
                </a:lnTo>
                <a:lnTo>
                  <a:pt x="11746" y="2868"/>
                </a:lnTo>
                <a:lnTo>
                  <a:pt x="11742" y="2876"/>
                </a:lnTo>
                <a:lnTo>
                  <a:pt x="11740" y="2878"/>
                </a:lnTo>
                <a:lnTo>
                  <a:pt x="11740" y="2882"/>
                </a:lnTo>
                <a:lnTo>
                  <a:pt x="11742" y="2886"/>
                </a:lnTo>
                <a:lnTo>
                  <a:pt x="11746" y="2888"/>
                </a:lnTo>
                <a:close/>
                <a:moveTo>
                  <a:pt x="11370" y="3520"/>
                </a:moveTo>
                <a:lnTo>
                  <a:pt x="11370" y="3520"/>
                </a:lnTo>
                <a:lnTo>
                  <a:pt x="11368" y="3522"/>
                </a:lnTo>
                <a:lnTo>
                  <a:pt x="11366" y="3524"/>
                </a:lnTo>
                <a:lnTo>
                  <a:pt x="11366" y="3528"/>
                </a:lnTo>
                <a:lnTo>
                  <a:pt x="11366" y="3530"/>
                </a:lnTo>
                <a:lnTo>
                  <a:pt x="11370" y="3532"/>
                </a:lnTo>
                <a:lnTo>
                  <a:pt x="11374" y="3530"/>
                </a:lnTo>
                <a:lnTo>
                  <a:pt x="11374" y="3528"/>
                </a:lnTo>
                <a:lnTo>
                  <a:pt x="11372" y="3524"/>
                </a:lnTo>
                <a:lnTo>
                  <a:pt x="11370" y="3520"/>
                </a:lnTo>
                <a:close/>
                <a:moveTo>
                  <a:pt x="11300" y="3398"/>
                </a:moveTo>
                <a:lnTo>
                  <a:pt x="11300" y="3398"/>
                </a:lnTo>
                <a:lnTo>
                  <a:pt x="11296" y="3398"/>
                </a:lnTo>
                <a:lnTo>
                  <a:pt x="11294" y="3402"/>
                </a:lnTo>
                <a:lnTo>
                  <a:pt x="11294" y="3406"/>
                </a:lnTo>
                <a:lnTo>
                  <a:pt x="11296" y="3408"/>
                </a:lnTo>
                <a:lnTo>
                  <a:pt x="11302" y="3406"/>
                </a:lnTo>
                <a:lnTo>
                  <a:pt x="11304" y="3404"/>
                </a:lnTo>
                <a:lnTo>
                  <a:pt x="11304" y="3402"/>
                </a:lnTo>
                <a:lnTo>
                  <a:pt x="11300" y="3398"/>
                </a:lnTo>
                <a:close/>
                <a:moveTo>
                  <a:pt x="11356" y="3414"/>
                </a:moveTo>
                <a:lnTo>
                  <a:pt x="11356" y="3414"/>
                </a:lnTo>
                <a:lnTo>
                  <a:pt x="11356" y="3412"/>
                </a:lnTo>
                <a:lnTo>
                  <a:pt x="11352" y="3412"/>
                </a:lnTo>
                <a:lnTo>
                  <a:pt x="11348" y="3416"/>
                </a:lnTo>
                <a:lnTo>
                  <a:pt x="11348" y="3424"/>
                </a:lnTo>
                <a:lnTo>
                  <a:pt x="11350" y="3426"/>
                </a:lnTo>
                <a:lnTo>
                  <a:pt x="11352" y="3424"/>
                </a:lnTo>
                <a:lnTo>
                  <a:pt x="11356" y="3420"/>
                </a:lnTo>
                <a:lnTo>
                  <a:pt x="11356" y="3414"/>
                </a:lnTo>
                <a:close/>
                <a:moveTo>
                  <a:pt x="11550" y="3304"/>
                </a:moveTo>
                <a:lnTo>
                  <a:pt x="11550" y="3304"/>
                </a:lnTo>
                <a:lnTo>
                  <a:pt x="11548" y="3304"/>
                </a:lnTo>
                <a:lnTo>
                  <a:pt x="11544" y="3308"/>
                </a:lnTo>
                <a:lnTo>
                  <a:pt x="11540" y="3316"/>
                </a:lnTo>
                <a:lnTo>
                  <a:pt x="11540" y="3320"/>
                </a:lnTo>
                <a:lnTo>
                  <a:pt x="11542" y="3324"/>
                </a:lnTo>
                <a:lnTo>
                  <a:pt x="11544" y="3324"/>
                </a:lnTo>
                <a:lnTo>
                  <a:pt x="11548" y="3318"/>
                </a:lnTo>
                <a:lnTo>
                  <a:pt x="11550" y="3310"/>
                </a:lnTo>
                <a:lnTo>
                  <a:pt x="11550" y="3304"/>
                </a:lnTo>
                <a:close/>
                <a:moveTo>
                  <a:pt x="11484" y="3218"/>
                </a:moveTo>
                <a:lnTo>
                  <a:pt x="11484" y="3218"/>
                </a:lnTo>
                <a:lnTo>
                  <a:pt x="11486" y="3216"/>
                </a:lnTo>
                <a:lnTo>
                  <a:pt x="11484" y="3212"/>
                </a:lnTo>
                <a:lnTo>
                  <a:pt x="11482" y="3210"/>
                </a:lnTo>
                <a:lnTo>
                  <a:pt x="11480" y="3208"/>
                </a:lnTo>
                <a:lnTo>
                  <a:pt x="11478" y="3210"/>
                </a:lnTo>
                <a:lnTo>
                  <a:pt x="11476" y="3214"/>
                </a:lnTo>
                <a:lnTo>
                  <a:pt x="11478" y="3216"/>
                </a:lnTo>
                <a:lnTo>
                  <a:pt x="11482" y="3218"/>
                </a:lnTo>
                <a:lnTo>
                  <a:pt x="11484" y="3218"/>
                </a:lnTo>
                <a:close/>
                <a:moveTo>
                  <a:pt x="11262" y="3740"/>
                </a:moveTo>
                <a:lnTo>
                  <a:pt x="11262" y="3740"/>
                </a:lnTo>
                <a:lnTo>
                  <a:pt x="11262" y="3736"/>
                </a:lnTo>
                <a:lnTo>
                  <a:pt x="11264" y="3732"/>
                </a:lnTo>
                <a:lnTo>
                  <a:pt x="11276" y="3720"/>
                </a:lnTo>
                <a:lnTo>
                  <a:pt x="11282" y="3712"/>
                </a:lnTo>
                <a:lnTo>
                  <a:pt x="11282" y="3708"/>
                </a:lnTo>
                <a:lnTo>
                  <a:pt x="11278" y="3708"/>
                </a:lnTo>
                <a:lnTo>
                  <a:pt x="11272" y="3712"/>
                </a:lnTo>
                <a:lnTo>
                  <a:pt x="11262" y="3722"/>
                </a:lnTo>
                <a:lnTo>
                  <a:pt x="11258" y="3728"/>
                </a:lnTo>
                <a:lnTo>
                  <a:pt x="11254" y="3738"/>
                </a:lnTo>
                <a:lnTo>
                  <a:pt x="11254" y="3742"/>
                </a:lnTo>
                <a:lnTo>
                  <a:pt x="11256" y="3744"/>
                </a:lnTo>
                <a:lnTo>
                  <a:pt x="11260" y="3744"/>
                </a:lnTo>
                <a:lnTo>
                  <a:pt x="11262" y="3740"/>
                </a:lnTo>
                <a:close/>
                <a:moveTo>
                  <a:pt x="11304" y="3662"/>
                </a:moveTo>
                <a:lnTo>
                  <a:pt x="11304" y="3662"/>
                </a:lnTo>
                <a:lnTo>
                  <a:pt x="11308" y="3664"/>
                </a:lnTo>
                <a:lnTo>
                  <a:pt x="11310" y="3664"/>
                </a:lnTo>
                <a:lnTo>
                  <a:pt x="11310" y="3660"/>
                </a:lnTo>
                <a:lnTo>
                  <a:pt x="11308" y="3654"/>
                </a:lnTo>
                <a:lnTo>
                  <a:pt x="11306" y="3652"/>
                </a:lnTo>
                <a:lnTo>
                  <a:pt x="11304" y="3654"/>
                </a:lnTo>
                <a:lnTo>
                  <a:pt x="11304" y="3658"/>
                </a:lnTo>
                <a:lnTo>
                  <a:pt x="11304" y="3662"/>
                </a:lnTo>
                <a:close/>
                <a:moveTo>
                  <a:pt x="11320" y="3638"/>
                </a:moveTo>
                <a:lnTo>
                  <a:pt x="11320" y="3638"/>
                </a:lnTo>
                <a:lnTo>
                  <a:pt x="11320" y="3640"/>
                </a:lnTo>
                <a:lnTo>
                  <a:pt x="11322" y="3640"/>
                </a:lnTo>
                <a:lnTo>
                  <a:pt x="11330" y="3636"/>
                </a:lnTo>
                <a:lnTo>
                  <a:pt x="11336" y="3628"/>
                </a:lnTo>
                <a:lnTo>
                  <a:pt x="11336" y="3624"/>
                </a:lnTo>
                <a:lnTo>
                  <a:pt x="11336" y="3622"/>
                </a:lnTo>
                <a:lnTo>
                  <a:pt x="11332" y="3622"/>
                </a:lnTo>
                <a:lnTo>
                  <a:pt x="11328" y="3624"/>
                </a:lnTo>
                <a:lnTo>
                  <a:pt x="11322" y="3630"/>
                </a:lnTo>
                <a:lnTo>
                  <a:pt x="11320" y="3632"/>
                </a:lnTo>
                <a:lnTo>
                  <a:pt x="11320" y="3638"/>
                </a:lnTo>
                <a:close/>
                <a:moveTo>
                  <a:pt x="11104" y="3838"/>
                </a:moveTo>
                <a:lnTo>
                  <a:pt x="11104" y="3838"/>
                </a:lnTo>
                <a:lnTo>
                  <a:pt x="11104" y="3834"/>
                </a:lnTo>
                <a:lnTo>
                  <a:pt x="11100" y="3830"/>
                </a:lnTo>
                <a:lnTo>
                  <a:pt x="11098" y="3830"/>
                </a:lnTo>
                <a:lnTo>
                  <a:pt x="11096" y="3832"/>
                </a:lnTo>
                <a:lnTo>
                  <a:pt x="11094" y="3834"/>
                </a:lnTo>
                <a:lnTo>
                  <a:pt x="11096" y="3838"/>
                </a:lnTo>
                <a:lnTo>
                  <a:pt x="11098" y="3840"/>
                </a:lnTo>
                <a:lnTo>
                  <a:pt x="11102" y="3840"/>
                </a:lnTo>
                <a:lnTo>
                  <a:pt x="11104" y="3838"/>
                </a:lnTo>
                <a:close/>
                <a:moveTo>
                  <a:pt x="11122" y="3824"/>
                </a:moveTo>
                <a:lnTo>
                  <a:pt x="11122" y="3824"/>
                </a:lnTo>
                <a:lnTo>
                  <a:pt x="11120" y="3824"/>
                </a:lnTo>
                <a:lnTo>
                  <a:pt x="11116" y="3826"/>
                </a:lnTo>
                <a:lnTo>
                  <a:pt x="11110" y="3830"/>
                </a:lnTo>
                <a:lnTo>
                  <a:pt x="11110" y="3832"/>
                </a:lnTo>
                <a:lnTo>
                  <a:pt x="11112" y="3834"/>
                </a:lnTo>
                <a:lnTo>
                  <a:pt x="11116" y="3836"/>
                </a:lnTo>
                <a:lnTo>
                  <a:pt x="11118" y="3834"/>
                </a:lnTo>
                <a:lnTo>
                  <a:pt x="11122" y="3824"/>
                </a:lnTo>
                <a:close/>
                <a:moveTo>
                  <a:pt x="11164" y="3810"/>
                </a:moveTo>
                <a:lnTo>
                  <a:pt x="11164" y="3810"/>
                </a:lnTo>
                <a:lnTo>
                  <a:pt x="11162" y="3810"/>
                </a:lnTo>
                <a:lnTo>
                  <a:pt x="11158" y="3810"/>
                </a:lnTo>
                <a:lnTo>
                  <a:pt x="11156" y="3814"/>
                </a:lnTo>
                <a:lnTo>
                  <a:pt x="11156" y="3816"/>
                </a:lnTo>
                <a:lnTo>
                  <a:pt x="11160" y="3818"/>
                </a:lnTo>
                <a:lnTo>
                  <a:pt x="11162" y="3816"/>
                </a:lnTo>
                <a:lnTo>
                  <a:pt x="11164" y="3814"/>
                </a:lnTo>
                <a:lnTo>
                  <a:pt x="11164" y="3810"/>
                </a:lnTo>
                <a:close/>
                <a:moveTo>
                  <a:pt x="11654" y="2152"/>
                </a:moveTo>
                <a:lnTo>
                  <a:pt x="11654" y="2152"/>
                </a:lnTo>
                <a:lnTo>
                  <a:pt x="11660" y="2154"/>
                </a:lnTo>
                <a:lnTo>
                  <a:pt x="11664" y="2152"/>
                </a:lnTo>
                <a:lnTo>
                  <a:pt x="11668" y="2148"/>
                </a:lnTo>
                <a:lnTo>
                  <a:pt x="11670" y="2144"/>
                </a:lnTo>
                <a:lnTo>
                  <a:pt x="11672" y="2138"/>
                </a:lnTo>
                <a:lnTo>
                  <a:pt x="11672" y="2134"/>
                </a:lnTo>
                <a:lnTo>
                  <a:pt x="11668" y="2130"/>
                </a:lnTo>
                <a:lnTo>
                  <a:pt x="11664" y="2128"/>
                </a:lnTo>
                <a:lnTo>
                  <a:pt x="11658" y="2128"/>
                </a:lnTo>
                <a:lnTo>
                  <a:pt x="11652" y="2128"/>
                </a:lnTo>
                <a:lnTo>
                  <a:pt x="11650" y="2132"/>
                </a:lnTo>
                <a:lnTo>
                  <a:pt x="11648" y="2134"/>
                </a:lnTo>
                <a:lnTo>
                  <a:pt x="11646" y="2138"/>
                </a:lnTo>
                <a:lnTo>
                  <a:pt x="11648" y="2142"/>
                </a:lnTo>
                <a:lnTo>
                  <a:pt x="11650" y="2146"/>
                </a:lnTo>
                <a:lnTo>
                  <a:pt x="11654" y="2152"/>
                </a:lnTo>
                <a:close/>
                <a:moveTo>
                  <a:pt x="13688" y="1366"/>
                </a:moveTo>
                <a:lnTo>
                  <a:pt x="13688" y="1366"/>
                </a:lnTo>
                <a:lnTo>
                  <a:pt x="13680" y="1356"/>
                </a:lnTo>
                <a:lnTo>
                  <a:pt x="13670" y="1348"/>
                </a:lnTo>
                <a:lnTo>
                  <a:pt x="13660" y="1344"/>
                </a:lnTo>
                <a:lnTo>
                  <a:pt x="13648" y="1340"/>
                </a:lnTo>
                <a:lnTo>
                  <a:pt x="13620" y="1338"/>
                </a:lnTo>
                <a:lnTo>
                  <a:pt x="13588" y="1336"/>
                </a:lnTo>
                <a:lnTo>
                  <a:pt x="13580" y="1336"/>
                </a:lnTo>
                <a:lnTo>
                  <a:pt x="13576" y="1340"/>
                </a:lnTo>
                <a:lnTo>
                  <a:pt x="13574" y="1342"/>
                </a:lnTo>
                <a:lnTo>
                  <a:pt x="13574" y="1348"/>
                </a:lnTo>
                <a:lnTo>
                  <a:pt x="13578" y="1358"/>
                </a:lnTo>
                <a:lnTo>
                  <a:pt x="13584" y="1372"/>
                </a:lnTo>
                <a:lnTo>
                  <a:pt x="13590" y="1382"/>
                </a:lnTo>
                <a:lnTo>
                  <a:pt x="13592" y="1390"/>
                </a:lnTo>
                <a:lnTo>
                  <a:pt x="13592" y="1392"/>
                </a:lnTo>
                <a:lnTo>
                  <a:pt x="13588" y="1392"/>
                </a:lnTo>
                <a:lnTo>
                  <a:pt x="13572" y="1384"/>
                </a:lnTo>
                <a:lnTo>
                  <a:pt x="13564" y="1378"/>
                </a:lnTo>
                <a:lnTo>
                  <a:pt x="13558" y="1372"/>
                </a:lnTo>
                <a:lnTo>
                  <a:pt x="13554" y="1366"/>
                </a:lnTo>
                <a:lnTo>
                  <a:pt x="13552" y="1362"/>
                </a:lnTo>
                <a:lnTo>
                  <a:pt x="13552" y="1350"/>
                </a:lnTo>
                <a:lnTo>
                  <a:pt x="13554" y="1338"/>
                </a:lnTo>
                <a:lnTo>
                  <a:pt x="13554" y="1326"/>
                </a:lnTo>
                <a:lnTo>
                  <a:pt x="13552" y="1320"/>
                </a:lnTo>
                <a:lnTo>
                  <a:pt x="13550" y="1314"/>
                </a:lnTo>
                <a:lnTo>
                  <a:pt x="13544" y="1306"/>
                </a:lnTo>
                <a:lnTo>
                  <a:pt x="13534" y="1300"/>
                </a:lnTo>
                <a:lnTo>
                  <a:pt x="13522" y="1292"/>
                </a:lnTo>
                <a:lnTo>
                  <a:pt x="13506" y="1284"/>
                </a:lnTo>
                <a:lnTo>
                  <a:pt x="13470" y="1266"/>
                </a:lnTo>
                <a:lnTo>
                  <a:pt x="13434" y="1248"/>
                </a:lnTo>
                <a:lnTo>
                  <a:pt x="13366" y="1214"/>
                </a:lnTo>
                <a:lnTo>
                  <a:pt x="13366" y="1208"/>
                </a:lnTo>
                <a:lnTo>
                  <a:pt x="13336" y="1194"/>
                </a:lnTo>
                <a:lnTo>
                  <a:pt x="13306" y="1180"/>
                </a:lnTo>
                <a:lnTo>
                  <a:pt x="13276" y="1170"/>
                </a:lnTo>
                <a:lnTo>
                  <a:pt x="13244" y="1162"/>
                </a:lnTo>
                <a:lnTo>
                  <a:pt x="13200" y="1150"/>
                </a:lnTo>
                <a:lnTo>
                  <a:pt x="13182" y="1146"/>
                </a:lnTo>
                <a:lnTo>
                  <a:pt x="13158" y="1142"/>
                </a:lnTo>
                <a:lnTo>
                  <a:pt x="13098" y="1138"/>
                </a:lnTo>
                <a:lnTo>
                  <a:pt x="13058" y="1134"/>
                </a:lnTo>
                <a:lnTo>
                  <a:pt x="13032" y="1128"/>
                </a:lnTo>
                <a:lnTo>
                  <a:pt x="13014" y="1122"/>
                </a:lnTo>
                <a:lnTo>
                  <a:pt x="13004" y="1118"/>
                </a:lnTo>
                <a:lnTo>
                  <a:pt x="12996" y="1116"/>
                </a:lnTo>
                <a:lnTo>
                  <a:pt x="12992" y="1118"/>
                </a:lnTo>
                <a:lnTo>
                  <a:pt x="12984" y="1126"/>
                </a:lnTo>
                <a:lnTo>
                  <a:pt x="12974" y="1142"/>
                </a:lnTo>
                <a:lnTo>
                  <a:pt x="12968" y="1150"/>
                </a:lnTo>
                <a:lnTo>
                  <a:pt x="12966" y="1158"/>
                </a:lnTo>
                <a:lnTo>
                  <a:pt x="12966" y="1162"/>
                </a:lnTo>
                <a:lnTo>
                  <a:pt x="12968" y="1168"/>
                </a:lnTo>
                <a:lnTo>
                  <a:pt x="12972" y="1170"/>
                </a:lnTo>
                <a:lnTo>
                  <a:pt x="12976" y="1174"/>
                </a:lnTo>
                <a:lnTo>
                  <a:pt x="12988" y="1178"/>
                </a:lnTo>
                <a:lnTo>
                  <a:pt x="12998" y="1182"/>
                </a:lnTo>
                <a:lnTo>
                  <a:pt x="13002" y="1184"/>
                </a:lnTo>
                <a:lnTo>
                  <a:pt x="13004" y="1188"/>
                </a:lnTo>
                <a:lnTo>
                  <a:pt x="13004" y="1192"/>
                </a:lnTo>
                <a:lnTo>
                  <a:pt x="13002" y="1196"/>
                </a:lnTo>
                <a:lnTo>
                  <a:pt x="12998" y="1204"/>
                </a:lnTo>
                <a:lnTo>
                  <a:pt x="12988" y="1212"/>
                </a:lnTo>
                <a:lnTo>
                  <a:pt x="12972" y="1224"/>
                </a:lnTo>
                <a:lnTo>
                  <a:pt x="12966" y="1228"/>
                </a:lnTo>
                <a:lnTo>
                  <a:pt x="12960" y="1228"/>
                </a:lnTo>
                <a:lnTo>
                  <a:pt x="12956" y="1228"/>
                </a:lnTo>
                <a:lnTo>
                  <a:pt x="12952" y="1226"/>
                </a:lnTo>
                <a:lnTo>
                  <a:pt x="12946" y="1220"/>
                </a:lnTo>
                <a:lnTo>
                  <a:pt x="12940" y="1210"/>
                </a:lnTo>
                <a:lnTo>
                  <a:pt x="12934" y="1202"/>
                </a:lnTo>
                <a:lnTo>
                  <a:pt x="12928" y="1198"/>
                </a:lnTo>
                <a:lnTo>
                  <a:pt x="12922" y="1196"/>
                </a:lnTo>
                <a:lnTo>
                  <a:pt x="12916" y="1194"/>
                </a:lnTo>
                <a:lnTo>
                  <a:pt x="12908" y="1194"/>
                </a:lnTo>
                <a:lnTo>
                  <a:pt x="12900" y="1194"/>
                </a:lnTo>
                <a:lnTo>
                  <a:pt x="12894" y="1192"/>
                </a:lnTo>
                <a:lnTo>
                  <a:pt x="12892" y="1190"/>
                </a:lnTo>
                <a:lnTo>
                  <a:pt x="12890" y="1186"/>
                </a:lnTo>
                <a:lnTo>
                  <a:pt x="12888" y="1178"/>
                </a:lnTo>
                <a:lnTo>
                  <a:pt x="12888" y="1170"/>
                </a:lnTo>
                <a:lnTo>
                  <a:pt x="12888" y="1162"/>
                </a:lnTo>
                <a:lnTo>
                  <a:pt x="12886" y="1158"/>
                </a:lnTo>
                <a:lnTo>
                  <a:pt x="12882" y="1156"/>
                </a:lnTo>
                <a:lnTo>
                  <a:pt x="12876" y="1156"/>
                </a:lnTo>
                <a:lnTo>
                  <a:pt x="12870" y="1156"/>
                </a:lnTo>
                <a:lnTo>
                  <a:pt x="12846" y="1164"/>
                </a:lnTo>
                <a:lnTo>
                  <a:pt x="12832" y="1168"/>
                </a:lnTo>
                <a:lnTo>
                  <a:pt x="12820" y="1170"/>
                </a:lnTo>
                <a:lnTo>
                  <a:pt x="12808" y="1170"/>
                </a:lnTo>
                <a:lnTo>
                  <a:pt x="12796" y="1170"/>
                </a:lnTo>
                <a:lnTo>
                  <a:pt x="12778" y="1168"/>
                </a:lnTo>
                <a:lnTo>
                  <a:pt x="12758" y="1162"/>
                </a:lnTo>
                <a:lnTo>
                  <a:pt x="12740" y="1158"/>
                </a:lnTo>
                <a:lnTo>
                  <a:pt x="12716" y="1154"/>
                </a:lnTo>
                <a:lnTo>
                  <a:pt x="12704" y="1152"/>
                </a:lnTo>
                <a:lnTo>
                  <a:pt x="12688" y="1154"/>
                </a:lnTo>
                <a:lnTo>
                  <a:pt x="12672" y="1154"/>
                </a:lnTo>
                <a:lnTo>
                  <a:pt x="12654" y="1158"/>
                </a:lnTo>
                <a:lnTo>
                  <a:pt x="12620" y="1164"/>
                </a:lnTo>
                <a:lnTo>
                  <a:pt x="12594" y="1166"/>
                </a:lnTo>
                <a:lnTo>
                  <a:pt x="12574" y="1164"/>
                </a:lnTo>
                <a:lnTo>
                  <a:pt x="12562" y="1160"/>
                </a:lnTo>
                <a:lnTo>
                  <a:pt x="12558" y="1156"/>
                </a:lnTo>
                <a:lnTo>
                  <a:pt x="12554" y="1152"/>
                </a:lnTo>
                <a:lnTo>
                  <a:pt x="12552" y="1142"/>
                </a:lnTo>
                <a:lnTo>
                  <a:pt x="12552" y="1132"/>
                </a:lnTo>
                <a:lnTo>
                  <a:pt x="12556" y="1122"/>
                </a:lnTo>
                <a:lnTo>
                  <a:pt x="12558" y="1118"/>
                </a:lnTo>
                <a:lnTo>
                  <a:pt x="12558" y="1112"/>
                </a:lnTo>
                <a:lnTo>
                  <a:pt x="12556" y="1104"/>
                </a:lnTo>
                <a:lnTo>
                  <a:pt x="12552" y="1098"/>
                </a:lnTo>
                <a:lnTo>
                  <a:pt x="12544" y="1090"/>
                </a:lnTo>
                <a:lnTo>
                  <a:pt x="12536" y="1084"/>
                </a:lnTo>
                <a:lnTo>
                  <a:pt x="12524" y="1078"/>
                </a:lnTo>
                <a:lnTo>
                  <a:pt x="12512" y="1072"/>
                </a:lnTo>
                <a:lnTo>
                  <a:pt x="12496" y="1066"/>
                </a:lnTo>
                <a:lnTo>
                  <a:pt x="12480" y="1062"/>
                </a:lnTo>
                <a:lnTo>
                  <a:pt x="12460" y="1058"/>
                </a:lnTo>
                <a:lnTo>
                  <a:pt x="12440" y="1056"/>
                </a:lnTo>
                <a:lnTo>
                  <a:pt x="12416" y="1056"/>
                </a:lnTo>
                <a:lnTo>
                  <a:pt x="12392" y="1056"/>
                </a:lnTo>
                <a:lnTo>
                  <a:pt x="12364" y="1058"/>
                </a:lnTo>
                <a:lnTo>
                  <a:pt x="12336" y="1064"/>
                </a:lnTo>
                <a:lnTo>
                  <a:pt x="12308" y="1068"/>
                </a:lnTo>
                <a:lnTo>
                  <a:pt x="12284" y="1068"/>
                </a:lnTo>
                <a:lnTo>
                  <a:pt x="12264" y="1068"/>
                </a:lnTo>
                <a:lnTo>
                  <a:pt x="12246" y="1064"/>
                </a:lnTo>
                <a:lnTo>
                  <a:pt x="12230" y="1060"/>
                </a:lnTo>
                <a:lnTo>
                  <a:pt x="12218" y="1054"/>
                </a:lnTo>
                <a:lnTo>
                  <a:pt x="12206" y="1046"/>
                </a:lnTo>
                <a:lnTo>
                  <a:pt x="12196" y="1038"/>
                </a:lnTo>
                <a:lnTo>
                  <a:pt x="12180" y="1022"/>
                </a:lnTo>
                <a:lnTo>
                  <a:pt x="12168" y="1004"/>
                </a:lnTo>
                <a:lnTo>
                  <a:pt x="12152" y="988"/>
                </a:lnTo>
                <a:lnTo>
                  <a:pt x="12144" y="982"/>
                </a:lnTo>
                <a:lnTo>
                  <a:pt x="12136" y="978"/>
                </a:lnTo>
                <a:lnTo>
                  <a:pt x="12116" y="972"/>
                </a:lnTo>
                <a:lnTo>
                  <a:pt x="12102" y="968"/>
                </a:lnTo>
                <a:lnTo>
                  <a:pt x="12076" y="966"/>
                </a:lnTo>
                <a:lnTo>
                  <a:pt x="12042" y="964"/>
                </a:lnTo>
                <a:lnTo>
                  <a:pt x="12018" y="960"/>
                </a:lnTo>
                <a:lnTo>
                  <a:pt x="11988" y="954"/>
                </a:lnTo>
                <a:lnTo>
                  <a:pt x="11958" y="946"/>
                </a:lnTo>
                <a:lnTo>
                  <a:pt x="11932" y="942"/>
                </a:lnTo>
                <a:lnTo>
                  <a:pt x="11890" y="940"/>
                </a:lnTo>
                <a:lnTo>
                  <a:pt x="11854" y="936"/>
                </a:lnTo>
                <a:lnTo>
                  <a:pt x="11834" y="934"/>
                </a:lnTo>
                <a:lnTo>
                  <a:pt x="11810" y="928"/>
                </a:lnTo>
                <a:lnTo>
                  <a:pt x="11790" y="924"/>
                </a:lnTo>
                <a:lnTo>
                  <a:pt x="11782" y="924"/>
                </a:lnTo>
                <a:lnTo>
                  <a:pt x="11780" y="926"/>
                </a:lnTo>
                <a:lnTo>
                  <a:pt x="11778" y="928"/>
                </a:lnTo>
                <a:lnTo>
                  <a:pt x="11780" y="934"/>
                </a:lnTo>
                <a:lnTo>
                  <a:pt x="11780" y="940"/>
                </a:lnTo>
                <a:lnTo>
                  <a:pt x="11778" y="942"/>
                </a:lnTo>
                <a:lnTo>
                  <a:pt x="11776" y="946"/>
                </a:lnTo>
                <a:lnTo>
                  <a:pt x="11772" y="948"/>
                </a:lnTo>
                <a:lnTo>
                  <a:pt x="11764" y="950"/>
                </a:lnTo>
                <a:lnTo>
                  <a:pt x="11742" y="954"/>
                </a:lnTo>
                <a:lnTo>
                  <a:pt x="11730" y="954"/>
                </a:lnTo>
                <a:lnTo>
                  <a:pt x="11722" y="958"/>
                </a:lnTo>
                <a:lnTo>
                  <a:pt x="11720" y="962"/>
                </a:lnTo>
                <a:lnTo>
                  <a:pt x="11718" y="968"/>
                </a:lnTo>
                <a:lnTo>
                  <a:pt x="11720" y="974"/>
                </a:lnTo>
                <a:lnTo>
                  <a:pt x="11724" y="982"/>
                </a:lnTo>
                <a:lnTo>
                  <a:pt x="11734" y="996"/>
                </a:lnTo>
                <a:lnTo>
                  <a:pt x="11746" y="1010"/>
                </a:lnTo>
                <a:lnTo>
                  <a:pt x="11748" y="1016"/>
                </a:lnTo>
                <a:lnTo>
                  <a:pt x="11750" y="1022"/>
                </a:lnTo>
                <a:lnTo>
                  <a:pt x="11748" y="1024"/>
                </a:lnTo>
                <a:lnTo>
                  <a:pt x="11744" y="1026"/>
                </a:lnTo>
                <a:lnTo>
                  <a:pt x="11736" y="1026"/>
                </a:lnTo>
                <a:lnTo>
                  <a:pt x="11724" y="1024"/>
                </a:lnTo>
                <a:lnTo>
                  <a:pt x="11698" y="1018"/>
                </a:lnTo>
                <a:lnTo>
                  <a:pt x="11680" y="1016"/>
                </a:lnTo>
                <a:lnTo>
                  <a:pt x="11668" y="1018"/>
                </a:lnTo>
                <a:lnTo>
                  <a:pt x="11658" y="1020"/>
                </a:lnTo>
                <a:lnTo>
                  <a:pt x="11650" y="1022"/>
                </a:lnTo>
                <a:lnTo>
                  <a:pt x="11640" y="1024"/>
                </a:lnTo>
                <a:lnTo>
                  <a:pt x="11624" y="1024"/>
                </a:lnTo>
                <a:lnTo>
                  <a:pt x="11604" y="1020"/>
                </a:lnTo>
                <a:lnTo>
                  <a:pt x="11592" y="1018"/>
                </a:lnTo>
                <a:lnTo>
                  <a:pt x="11582" y="1016"/>
                </a:lnTo>
                <a:lnTo>
                  <a:pt x="11574" y="1018"/>
                </a:lnTo>
                <a:lnTo>
                  <a:pt x="11566" y="1020"/>
                </a:lnTo>
                <a:lnTo>
                  <a:pt x="11552" y="1024"/>
                </a:lnTo>
                <a:lnTo>
                  <a:pt x="11538" y="1030"/>
                </a:lnTo>
                <a:lnTo>
                  <a:pt x="11526" y="1036"/>
                </a:lnTo>
                <a:lnTo>
                  <a:pt x="11520" y="1036"/>
                </a:lnTo>
                <a:lnTo>
                  <a:pt x="11512" y="1036"/>
                </a:lnTo>
                <a:lnTo>
                  <a:pt x="11504" y="1034"/>
                </a:lnTo>
                <a:lnTo>
                  <a:pt x="11496" y="1032"/>
                </a:lnTo>
                <a:lnTo>
                  <a:pt x="11486" y="1026"/>
                </a:lnTo>
                <a:lnTo>
                  <a:pt x="11474" y="1018"/>
                </a:lnTo>
                <a:lnTo>
                  <a:pt x="11464" y="1012"/>
                </a:lnTo>
                <a:lnTo>
                  <a:pt x="11454" y="1010"/>
                </a:lnTo>
                <a:lnTo>
                  <a:pt x="11446" y="1010"/>
                </a:lnTo>
                <a:lnTo>
                  <a:pt x="11440" y="1014"/>
                </a:lnTo>
                <a:lnTo>
                  <a:pt x="11434" y="1020"/>
                </a:lnTo>
                <a:lnTo>
                  <a:pt x="11428" y="1028"/>
                </a:lnTo>
                <a:lnTo>
                  <a:pt x="11418" y="1046"/>
                </a:lnTo>
                <a:lnTo>
                  <a:pt x="11408" y="1064"/>
                </a:lnTo>
                <a:lnTo>
                  <a:pt x="11404" y="1070"/>
                </a:lnTo>
                <a:lnTo>
                  <a:pt x="11396" y="1076"/>
                </a:lnTo>
                <a:lnTo>
                  <a:pt x="11390" y="1078"/>
                </a:lnTo>
                <a:lnTo>
                  <a:pt x="11380" y="1078"/>
                </a:lnTo>
                <a:lnTo>
                  <a:pt x="11370" y="1072"/>
                </a:lnTo>
                <a:lnTo>
                  <a:pt x="11358" y="1062"/>
                </a:lnTo>
                <a:lnTo>
                  <a:pt x="11316" y="1022"/>
                </a:lnTo>
                <a:lnTo>
                  <a:pt x="11290" y="994"/>
                </a:lnTo>
                <a:lnTo>
                  <a:pt x="11278" y="984"/>
                </a:lnTo>
                <a:lnTo>
                  <a:pt x="11268" y="976"/>
                </a:lnTo>
                <a:lnTo>
                  <a:pt x="11256" y="968"/>
                </a:lnTo>
                <a:lnTo>
                  <a:pt x="11242" y="962"/>
                </a:lnTo>
                <a:lnTo>
                  <a:pt x="11234" y="960"/>
                </a:lnTo>
                <a:lnTo>
                  <a:pt x="11230" y="960"/>
                </a:lnTo>
                <a:lnTo>
                  <a:pt x="11226" y="962"/>
                </a:lnTo>
                <a:lnTo>
                  <a:pt x="11226" y="964"/>
                </a:lnTo>
                <a:lnTo>
                  <a:pt x="11228" y="972"/>
                </a:lnTo>
                <a:lnTo>
                  <a:pt x="11232" y="982"/>
                </a:lnTo>
                <a:lnTo>
                  <a:pt x="11236" y="992"/>
                </a:lnTo>
                <a:lnTo>
                  <a:pt x="11238" y="996"/>
                </a:lnTo>
                <a:lnTo>
                  <a:pt x="11238" y="998"/>
                </a:lnTo>
                <a:lnTo>
                  <a:pt x="11234" y="996"/>
                </a:lnTo>
                <a:lnTo>
                  <a:pt x="11224" y="988"/>
                </a:lnTo>
                <a:lnTo>
                  <a:pt x="11206" y="976"/>
                </a:lnTo>
                <a:lnTo>
                  <a:pt x="11184" y="964"/>
                </a:lnTo>
                <a:lnTo>
                  <a:pt x="11158" y="954"/>
                </a:lnTo>
                <a:lnTo>
                  <a:pt x="11130" y="944"/>
                </a:lnTo>
                <a:lnTo>
                  <a:pt x="11096" y="934"/>
                </a:lnTo>
                <a:lnTo>
                  <a:pt x="11058" y="926"/>
                </a:lnTo>
                <a:lnTo>
                  <a:pt x="11018" y="920"/>
                </a:lnTo>
                <a:lnTo>
                  <a:pt x="10970" y="916"/>
                </a:lnTo>
                <a:lnTo>
                  <a:pt x="10918" y="910"/>
                </a:lnTo>
                <a:lnTo>
                  <a:pt x="10900" y="908"/>
                </a:lnTo>
                <a:lnTo>
                  <a:pt x="10890" y="904"/>
                </a:lnTo>
                <a:lnTo>
                  <a:pt x="10882" y="900"/>
                </a:lnTo>
                <a:lnTo>
                  <a:pt x="10880" y="898"/>
                </a:lnTo>
                <a:lnTo>
                  <a:pt x="10880" y="894"/>
                </a:lnTo>
                <a:lnTo>
                  <a:pt x="10882" y="890"/>
                </a:lnTo>
                <a:lnTo>
                  <a:pt x="10890" y="884"/>
                </a:lnTo>
                <a:lnTo>
                  <a:pt x="10896" y="878"/>
                </a:lnTo>
                <a:lnTo>
                  <a:pt x="10898" y="874"/>
                </a:lnTo>
                <a:lnTo>
                  <a:pt x="10896" y="872"/>
                </a:lnTo>
                <a:lnTo>
                  <a:pt x="10890" y="870"/>
                </a:lnTo>
                <a:lnTo>
                  <a:pt x="10880" y="870"/>
                </a:lnTo>
                <a:lnTo>
                  <a:pt x="10834" y="866"/>
                </a:lnTo>
                <a:lnTo>
                  <a:pt x="10792" y="864"/>
                </a:lnTo>
                <a:lnTo>
                  <a:pt x="10752" y="864"/>
                </a:lnTo>
                <a:lnTo>
                  <a:pt x="10732" y="866"/>
                </a:lnTo>
                <a:lnTo>
                  <a:pt x="10710" y="868"/>
                </a:lnTo>
                <a:lnTo>
                  <a:pt x="10702" y="870"/>
                </a:lnTo>
                <a:lnTo>
                  <a:pt x="10694" y="870"/>
                </a:lnTo>
                <a:lnTo>
                  <a:pt x="10688" y="870"/>
                </a:lnTo>
                <a:lnTo>
                  <a:pt x="10684" y="866"/>
                </a:lnTo>
                <a:lnTo>
                  <a:pt x="10678" y="860"/>
                </a:lnTo>
                <a:lnTo>
                  <a:pt x="10674" y="854"/>
                </a:lnTo>
                <a:lnTo>
                  <a:pt x="10672" y="848"/>
                </a:lnTo>
                <a:lnTo>
                  <a:pt x="10668" y="842"/>
                </a:lnTo>
                <a:lnTo>
                  <a:pt x="10666" y="842"/>
                </a:lnTo>
                <a:lnTo>
                  <a:pt x="10662" y="842"/>
                </a:lnTo>
                <a:lnTo>
                  <a:pt x="10650" y="848"/>
                </a:lnTo>
                <a:lnTo>
                  <a:pt x="10636" y="852"/>
                </a:lnTo>
                <a:lnTo>
                  <a:pt x="10626" y="854"/>
                </a:lnTo>
                <a:lnTo>
                  <a:pt x="10618" y="852"/>
                </a:lnTo>
                <a:lnTo>
                  <a:pt x="10610" y="848"/>
                </a:lnTo>
                <a:lnTo>
                  <a:pt x="10602" y="842"/>
                </a:lnTo>
                <a:lnTo>
                  <a:pt x="10594" y="838"/>
                </a:lnTo>
                <a:lnTo>
                  <a:pt x="10580" y="838"/>
                </a:lnTo>
                <a:lnTo>
                  <a:pt x="10564" y="840"/>
                </a:lnTo>
                <a:lnTo>
                  <a:pt x="10548" y="844"/>
                </a:lnTo>
                <a:lnTo>
                  <a:pt x="10542" y="850"/>
                </a:lnTo>
                <a:lnTo>
                  <a:pt x="10538" y="856"/>
                </a:lnTo>
                <a:lnTo>
                  <a:pt x="10536" y="864"/>
                </a:lnTo>
                <a:lnTo>
                  <a:pt x="10532" y="872"/>
                </a:lnTo>
                <a:lnTo>
                  <a:pt x="10522" y="878"/>
                </a:lnTo>
                <a:lnTo>
                  <a:pt x="10504" y="886"/>
                </a:lnTo>
                <a:lnTo>
                  <a:pt x="10474" y="892"/>
                </a:lnTo>
                <a:lnTo>
                  <a:pt x="10442" y="896"/>
                </a:lnTo>
                <a:lnTo>
                  <a:pt x="10418" y="896"/>
                </a:lnTo>
                <a:lnTo>
                  <a:pt x="10404" y="896"/>
                </a:lnTo>
                <a:lnTo>
                  <a:pt x="10402" y="894"/>
                </a:lnTo>
                <a:lnTo>
                  <a:pt x="10400" y="892"/>
                </a:lnTo>
                <a:lnTo>
                  <a:pt x="10400" y="888"/>
                </a:lnTo>
                <a:lnTo>
                  <a:pt x="10404" y="886"/>
                </a:lnTo>
                <a:lnTo>
                  <a:pt x="10416" y="876"/>
                </a:lnTo>
                <a:lnTo>
                  <a:pt x="10438" y="866"/>
                </a:lnTo>
                <a:lnTo>
                  <a:pt x="10468" y="852"/>
                </a:lnTo>
                <a:lnTo>
                  <a:pt x="10498" y="838"/>
                </a:lnTo>
                <a:lnTo>
                  <a:pt x="10520" y="828"/>
                </a:lnTo>
                <a:lnTo>
                  <a:pt x="10548" y="808"/>
                </a:lnTo>
                <a:lnTo>
                  <a:pt x="10562" y="800"/>
                </a:lnTo>
                <a:lnTo>
                  <a:pt x="10576" y="792"/>
                </a:lnTo>
                <a:lnTo>
                  <a:pt x="10596" y="784"/>
                </a:lnTo>
                <a:lnTo>
                  <a:pt x="10622" y="776"/>
                </a:lnTo>
                <a:lnTo>
                  <a:pt x="10650" y="766"/>
                </a:lnTo>
                <a:lnTo>
                  <a:pt x="10670" y="754"/>
                </a:lnTo>
                <a:lnTo>
                  <a:pt x="10678" y="748"/>
                </a:lnTo>
                <a:lnTo>
                  <a:pt x="10684" y="740"/>
                </a:lnTo>
                <a:lnTo>
                  <a:pt x="10692" y="728"/>
                </a:lnTo>
                <a:lnTo>
                  <a:pt x="10694" y="714"/>
                </a:lnTo>
                <a:lnTo>
                  <a:pt x="10694" y="700"/>
                </a:lnTo>
                <a:lnTo>
                  <a:pt x="10692" y="688"/>
                </a:lnTo>
                <a:lnTo>
                  <a:pt x="10686" y="678"/>
                </a:lnTo>
                <a:lnTo>
                  <a:pt x="10680" y="670"/>
                </a:lnTo>
                <a:lnTo>
                  <a:pt x="10672" y="664"/>
                </a:lnTo>
                <a:lnTo>
                  <a:pt x="10664" y="660"/>
                </a:lnTo>
                <a:lnTo>
                  <a:pt x="10656" y="658"/>
                </a:lnTo>
                <a:lnTo>
                  <a:pt x="10636" y="652"/>
                </a:lnTo>
                <a:lnTo>
                  <a:pt x="10626" y="646"/>
                </a:lnTo>
                <a:lnTo>
                  <a:pt x="10614" y="638"/>
                </a:lnTo>
                <a:lnTo>
                  <a:pt x="10600" y="630"/>
                </a:lnTo>
                <a:lnTo>
                  <a:pt x="10588" y="624"/>
                </a:lnTo>
                <a:lnTo>
                  <a:pt x="10574" y="624"/>
                </a:lnTo>
                <a:lnTo>
                  <a:pt x="10562" y="624"/>
                </a:lnTo>
                <a:lnTo>
                  <a:pt x="10532" y="626"/>
                </a:lnTo>
                <a:lnTo>
                  <a:pt x="10518" y="626"/>
                </a:lnTo>
                <a:lnTo>
                  <a:pt x="10500" y="624"/>
                </a:lnTo>
                <a:lnTo>
                  <a:pt x="10486" y="622"/>
                </a:lnTo>
                <a:lnTo>
                  <a:pt x="10478" y="622"/>
                </a:lnTo>
                <a:lnTo>
                  <a:pt x="10472" y="624"/>
                </a:lnTo>
                <a:lnTo>
                  <a:pt x="10466" y="628"/>
                </a:lnTo>
                <a:lnTo>
                  <a:pt x="10462" y="632"/>
                </a:lnTo>
                <a:lnTo>
                  <a:pt x="10454" y="636"/>
                </a:lnTo>
                <a:lnTo>
                  <a:pt x="10442" y="640"/>
                </a:lnTo>
                <a:lnTo>
                  <a:pt x="10426" y="642"/>
                </a:lnTo>
                <a:lnTo>
                  <a:pt x="10404" y="644"/>
                </a:lnTo>
                <a:lnTo>
                  <a:pt x="10400" y="644"/>
                </a:lnTo>
                <a:lnTo>
                  <a:pt x="10400" y="642"/>
                </a:lnTo>
                <a:lnTo>
                  <a:pt x="10406" y="636"/>
                </a:lnTo>
                <a:lnTo>
                  <a:pt x="10416" y="628"/>
                </a:lnTo>
                <a:lnTo>
                  <a:pt x="10426" y="620"/>
                </a:lnTo>
                <a:lnTo>
                  <a:pt x="10430" y="616"/>
                </a:lnTo>
                <a:lnTo>
                  <a:pt x="10430" y="612"/>
                </a:lnTo>
                <a:lnTo>
                  <a:pt x="10428" y="608"/>
                </a:lnTo>
                <a:lnTo>
                  <a:pt x="10422" y="606"/>
                </a:lnTo>
                <a:lnTo>
                  <a:pt x="10412" y="604"/>
                </a:lnTo>
                <a:lnTo>
                  <a:pt x="10396" y="602"/>
                </a:lnTo>
                <a:lnTo>
                  <a:pt x="10366" y="600"/>
                </a:lnTo>
                <a:lnTo>
                  <a:pt x="10348" y="598"/>
                </a:lnTo>
                <a:lnTo>
                  <a:pt x="10336" y="594"/>
                </a:lnTo>
                <a:lnTo>
                  <a:pt x="10334" y="592"/>
                </a:lnTo>
                <a:lnTo>
                  <a:pt x="10338" y="588"/>
                </a:lnTo>
                <a:lnTo>
                  <a:pt x="10346" y="584"/>
                </a:lnTo>
                <a:lnTo>
                  <a:pt x="10374" y="578"/>
                </a:lnTo>
                <a:lnTo>
                  <a:pt x="10380" y="576"/>
                </a:lnTo>
                <a:lnTo>
                  <a:pt x="10384" y="572"/>
                </a:lnTo>
                <a:lnTo>
                  <a:pt x="10384" y="570"/>
                </a:lnTo>
                <a:lnTo>
                  <a:pt x="10384" y="566"/>
                </a:lnTo>
                <a:lnTo>
                  <a:pt x="10380" y="562"/>
                </a:lnTo>
                <a:lnTo>
                  <a:pt x="10374" y="558"/>
                </a:lnTo>
                <a:lnTo>
                  <a:pt x="10358" y="552"/>
                </a:lnTo>
                <a:lnTo>
                  <a:pt x="10336" y="548"/>
                </a:lnTo>
                <a:lnTo>
                  <a:pt x="10310" y="546"/>
                </a:lnTo>
                <a:lnTo>
                  <a:pt x="10296" y="548"/>
                </a:lnTo>
                <a:lnTo>
                  <a:pt x="10280" y="550"/>
                </a:lnTo>
                <a:lnTo>
                  <a:pt x="10266" y="554"/>
                </a:lnTo>
                <a:lnTo>
                  <a:pt x="10250" y="560"/>
                </a:lnTo>
                <a:lnTo>
                  <a:pt x="10230" y="570"/>
                </a:lnTo>
                <a:lnTo>
                  <a:pt x="10214" y="578"/>
                </a:lnTo>
                <a:lnTo>
                  <a:pt x="10202" y="586"/>
                </a:lnTo>
                <a:lnTo>
                  <a:pt x="10192" y="594"/>
                </a:lnTo>
                <a:lnTo>
                  <a:pt x="10184" y="602"/>
                </a:lnTo>
                <a:lnTo>
                  <a:pt x="10180" y="608"/>
                </a:lnTo>
                <a:lnTo>
                  <a:pt x="10174" y="618"/>
                </a:lnTo>
                <a:lnTo>
                  <a:pt x="10172" y="626"/>
                </a:lnTo>
                <a:lnTo>
                  <a:pt x="10168" y="634"/>
                </a:lnTo>
                <a:lnTo>
                  <a:pt x="10166" y="636"/>
                </a:lnTo>
                <a:lnTo>
                  <a:pt x="10160" y="638"/>
                </a:lnTo>
                <a:lnTo>
                  <a:pt x="10144" y="640"/>
                </a:lnTo>
                <a:lnTo>
                  <a:pt x="10112" y="640"/>
                </a:lnTo>
                <a:lnTo>
                  <a:pt x="10098" y="642"/>
                </a:lnTo>
                <a:lnTo>
                  <a:pt x="10094" y="644"/>
                </a:lnTo>
                <a:lnTo>
                  <a:pt x="10094" y="646"/>
                </a:lnTo>
                <a:lnTo>
                  <a:pt x="10096" y="648"/>
                </a:lnTo>
                <a:lnTo>
                  <a:pt x="10098" y="652"/>
                </a:lnTo>
                <a:lnTo>
                  <a:pt x="10098" y="654"/>
                </a:lnTo>
                <a:lnTo>
                  <a:pt x="10094" y="658"/>
                </a:lnTo>
                <a:lnTo>
                  <a:pt x="10080" y="664"/>
                </a:lnTo>
                <a:lnTo>
                  <a:pt x="10050" y="670"/>
                </a:lnTo>
                <a:lnTo>
                  <a:pt x="10020" y="676"/>
                </a:lnTo>
                <a:lnTo>
                  <a:pt x="10006" y="676"/>
                </a:lnTo>
                <a:lnTo>
                  <a:pt x="10002" y="676"/>
                </a:lnTo>
                <a:lnTo>
                  <a:pt x="10000" y="674"/>
                </a:lnTo>
                <a:lnTo>
                  <a:pt x="10000" y="670"/>
                </a:lnTo>
                <a:lnTo>
                  <a:pt x="10000" y="666"/>
                </a:lnTo>
                <a:lnTo>
                  <a:pt x="9998" y="664"/>
                </a:lnTo>
                <a:lnTo>
                  <a:pt x="9994" y="662"/>
                </a:lnTo>
                <a:lnTo>
                  <a:pt x="9988" y="660"/>
                </a:lnTo>
                <a:lnTo>
                  <a:pt x="9964" y="660"/>
                </a:lnTo>
                <a:lnTo>
                  <a:pt x="9922" y="664"/>
                </a:lnTo>
                <a:lnTo>
                  <a:pt x="9882" y="670"/>
                </a:lnTo>
                <a:lnTo>
                  <a:pt x="9870" y="674"/>
                </a:lnTo>
                <a:lnTo>
                  <a:pt x="9862" y="678"/>
                </a:lnTo>
                <a:lnTo>
                  <a:pt x="9858" y="680"/>
                </a:lnTo>
                <a:lnTo>
                  <a:pt x="9856" y="684"/>
                </a:lnTo>
                <a:lnTo>
                  <a:pt x="9858" y="690"/>
                </a:lnTo>
                <a:lnTo>
                  <a:pt x="9860" y="692"/>
                </a:lnTo>
                <a:lnTo>
                  <a:pt x="9858" y="696"/>
                </a:lnTo>
                <a:lnTo>
                  <a:pt x="9856" y="698"/>
                </a:lnTo>
                <a:lnTo>
                  <a:pt x="9852" y="700"/>
                </a:lnTo>
                <a:lnTo>
                  <a:pt x="9844" y="704"/>
                </a:lnTo>
                <a:lnTo>
                  <a:pt x="9830" y="706"/>
                </a:lnTo>
                <a:lnTo>
                  <a:pt x="9786" y="710"/>
                </a:lnTo>
                <a:lnTo>
                  <a:pt x="9738" y="716"/>
                </a:lnTo>
                <a:lnTo>
                  <a:pt x="9708" y="720"/>
                </a:lnTo>
                <a:lnTo>
                  <a:pt x="9688" y="726"/>
                </a:lnTo>
                <a:lnTo>
                  <a:pt x="9678" y="732"/>
                </a:lnTo>
                <a:lnTo>
                  <a:pt x="9672" y="738"/>
                </a:lnTo>
                <a:lnTo>
                  <a:pt x="9664" y="742"/>
                </a:lnTo>
                <a:lnTo>
                  <a:pt x="9652" y="746"/>
                </a:lnTo>
                <a:lnTo>
                  <a:pt x="9630" y="748"/>
                </a:lnTo>
                <a:lnTo>
                  <a:pt x="9618" y="750"/>
                </a:lnTo>
                <a:lnTo>
                  <a:pt x="9606" y="752"/>
                </a:lnTo>
                <a:lnTo>
                  <a:pt x="9596" y="756"/>
                </a:lnTo>
                <a:lnTo>
                  <a:pt x="9588" y="760"/>
                </a:lnTo>
                <a:lnTo>
                  <a:pt x="9580" y="766"/>
                </a:lnTo>
                <a:lnTo>
                  <a:pt x="9574" y="772"/>
                </a:lnTo>
                <a:lnTo>
                  <a:pt x="9570" y="778"/>
                </a:lnTo>
                <a:lnTo>
                  <a:pt x="9568" y="784"/>
                </a:lnTo>
                <a:lnTo>
                  <a:pt x="9566" y="790"/>
                </a:lnTo>
                <a:lnTo>
                  <a:pt x="9566" y="796"/>
                </a:lnTo>
                <a:lnTo>
                  <a:pt x="9568" y="802"/>
                </a:lnTo>
                <a:lnTo>
                  <a:pt x="9570" y="806"/>
                </a:lnTo>
                <a:lnTo>
                  <a:pt x="9574" y="810"/>
                </a:lnTo>
                <a:lnTo>
                  <a:pt x="9580" y="814"/>
                </a:lnTo>
                <a:lnTo>
                  <a:pt x="9586" y="818"/>
                </a:lnTo>
                <a:lnTo>
                  <a:pt x="9592" y="818"/>
                </a:lnTo>
                <a:lnTo>
                  <a:pt x="9604" y="820"/>
                </a:lnTo>
                <a:lnTo>
                  <a:pt x="9612" y="824"/>
                </a:lnTo>
                <a:lnTo>
                  <a:pt x="9614" y="828"/>
                </a:lnTo>
                <a:lnTo>
                  <a:pt x="9612" y="832"/>
                </a:lnTo>
                <a:lnTo>
                  <a:pt x="9604" y="838"/>
                </a:lnTo>
                <a:lnTo>
                  <a:pt x="9594" y="842"/>
                </a:lnTo>
                <a:lnTo>
                  <a:pt x="9578" y="848"/>
                </a:lnTo>
                <a:lnTo>
                  <a:pt x="9560" y="852"/>
                </a:lnTo>
                <a:lnTo>
                  <a:pt x="9526" y="858"/>
                </a:lnTo>
                <a:lnTo>
                  <a:pt x="9494" y="860"/>
                </a:lnTo>
                <a:lnTo>
                  <a:pt x="9430" y="862"/>
                </a:lnTo>
                <a:lnTo>
                  <a:pt x="9402" y="862"/>
                </a:lnTo>
                <a:lnTo>
                  <a:pt x="9378" y="866"/>
                </a:lnTo>
                <a:lnTo>
                  <a:pt x="9368" y="868"/>
                </a:lnTo>
                <a:lnTo>
                  <a:pt x="9358" y="870"/>
                </a:lnTo>
                <a:lnTo>
                  <a:pt x="9352" y="876"/>
                </a:lnTo>
                <a:lnTo>
                  <a:pt x="9346" y="882"/>
                </a:lnTo>
                <a:lnTo>
                  <a:pt x="9340" y="892"/>
                </a:lnTo>
                <a:lnTo>
                  <a:pt x="9338" y="894"/>
                </a:lnTo>
                <a:lnTo>
                  <a:pt x="9340" y="898"/>
                </a:lnTo>
                <a:lnTo>
                  <a:pt x="9344" y="900"/>
                </a:lnTo>
                <a:lnTo>
                  <a:pt x="9352" y="902"/>
                </a:lnTo>
                <a:lnTo>
                  <a:pt x="9358" y="906"/>
                </a:lnTo>
                <a:lnTo>
                  <a:pt x="9364" y="910"/>
                </a:lnTo>
                <a:lnTo>
                  <a:pt x="9366" y="914"/>
                </a:lnTo>
                <a:lnTo>
                  <a:pt x="9366" y="918"/>
                </a:lnTo>
                <a:lnTo>
                  <a:pt x="9364" y="924"/>
                </a:lnTo>
                <a:lnTo>
                  <a:pt x="9360" y="930"/>
                </a:lnTo>
                <a:lnTo>
                  <a:pt x="9356" y="938"/>
                </a:lnTo>
                <a:lnTo>
                  <a:pt x="9356" y="944"/>
                </a:lnTo>
                <a:lnTo>
                  <a:pt x="9356" y="948"/>
                </a:lnTo>
                <a:lnTo>
                  <a:pt x="9360" y="952"/>
                </a:lnTo>
                <a:lnTo>
                  <a:pt x="9368" y="956"/>
                </a:lnTo>
                <a:lnTo>
                  <a:pt x="9382" y="958"/>
                </a:lnTo>
                <a:lnTo>
                  <a:pt x="9394" y="960"/>
                </a:lnTo>
                <a:lnTo>
                  <a:pt x="9408" y="962"/>
                </a:lnTo>
                <a:lnTo>
                  <a:pt x="9412" y="966"/>
                </a:lnTo>
                <a:lnTo>
                  <a:pt x="9418" y="968"/>
                </a:lnTo>
                <a:lnTo>
                  <a:pt x="9420" y="974"/>
                </a:lnTo>
                <a:lnTo>
                  <a:pt x="9422" y="978"/>
                </a:lnTo>
                <a:lnTo>
                  <a:pt x="9422" y="984"/>
                </a:lnTo>
                <a:lnTo>
                  <a:pt x="9426" y="988"/>
                </a:lnTo>
                <a:lnTo>
                  <a:pt x="9428" y="992"/>
                </a:lnTo>
                <a:lnTo>
                  <a:pt x="9434" y="994"/>
                </a:lnTo>
                <a:lnTo>
                  <a:pt x="9446" y="996"/>
                </a:lnTo>
                <a:lnTo>
                  <a:pt x="9458" y="996"/>
                </a:lnTo>
                <a:lnTo>
                  <a:pt x="9468" y="998"/>
                </a:lnTo>
                <a:lnTo>
                  <a:pt x="9472" y="1000"/>
                </a:lnTo>
                <a:lnTo>
                  <a:pt x="9474" y="1002"/>
                </a:lnTo>
                <a:lnTo>
                  <a:pt x="9476" y="1006"/>
                </a:lnTo>
                <a:lnTo>
                  <a:pt x="9476" y="1012"/>
                </a:lnTo>
                <a:lnTo>
                  <a:pt x="9474" y="1018"/>
                </a:lnTo>
                <a:lnTo>
                  <a:pt x="9470" y="1028"/>
                </a:lnTo>
                <a:lnTo>
                  <a:pt x="9466" y="1036"/>
                </a:lnTo>
                <a:lnTo>
                  <a:pt x="9466" y="1044"/>
                </a:lnTo>
                <a:lnTo>
                  <a:pt x="9464" y="1050"/>
                </a:lnTo>
                <a:lnTo>
                  <a:pt x="9466" y="1056"/>
                </a:lnTo>
                <a:lnTo>
                  <a:pt x="9470" y="1066"/>
                </a:lnTo>
                <a:lnTo>
                  <a:pt x="9478" y="1074"/>
                </a:lnTo>
                <a:lnTo>
                  <a:pt x="9484" y="1082"/>
                </a:lnTo>
                <a:lnTo>
                  <a:pt x="9486" y="1086"/>
                </a:lnTo>
                <a:lnTo>
                  <a:pt x="9486" y="1090"/>
                </a:lnTo>
                <a:lnTo>
                  <a:pt x="9486" y="1094"/>
                </a:lnTo>
                <a:lnTo>
                  <a:pt x="9484" y="1100"/>
                </a:lnTo>
                <a:lnTo>
                  <a:pt x="9480" y="1106"/>
                </a:lnTo>
                <a:lnTo>
                  <a:pt x="9472" y="1112"/>
                </a:lnTo>
                <a:lnTo>
                  <a:pt x="9458" y="1122"/>
                </a:lnTo>
                <a:lnTo>
                  <a:pt x="9456" y="1122"/>
                </a:lnTo>
                <a:lnTo>
                  <a:pt x="9454" y="1120"/>
                </a:lnTo>
                <a:lnTo>
                  <a:pt x="9454" y="1112"/>
                </a:lnTo>
                <a:lnTo>
                  <a:pt x="9458" y="1098"/>
                </a:lnTo>
                <a:lnTo>
                  <a:pt x="9460" y="1084"/>
                </a:lnTo>
                <a:lnTo>
                  <a:pt x="9460" y="1076"/>
                </a:lnTo>
                <a:lnTo>
                  <a:pt x="9460" y="1070"/>
                </a:lnTo>
                <a:lnTo>
                  <a:pt x="9458" y="1066"/>
                </a:lnTo>
                <a:lnTo>
                  <a:pt x="9454" y="1064"/>
                </a:lnTo>
                <a:lnTo>
                  <a:pt x="9448" y="1062"/>
                </a:lnTo>
                <a:lnTo>
                  <a:pt x="9440" y="1064"/>
                </a:lnTo>
                <a:lnTo>
                  <a:pt x="9432" y="1066"/>
                </a:lnTo>
                <a:lnTo>
                  <a:pt x="9426" y="1068"/>
                </a:lnTo>
                <a:lnTo>
                  <a:pt x="9424" y="1066"/>
                </a:lnTo>
                <a:lnTo>
                  <a:pt x="9424" y="1064"/>
                </a:lnTo>
                <a:lnTo>
                  <a:pt x="9430" y="1054"/>
                </a:lnTo>
                <a:lnTo>
                  <a:pt x="9440" y="1042"/>
                </a:lnTo>
                <a:lnTo>
                  <a:pt x="9448" y="1030"/>
                </a:lnTo>
                <a:lnTo>
                  <a:pt x="9450" y="1024"/>
                </a:lnTo>
                <a:lnTo>
                  <a:pt x="9452" y="1020"/>
                </a:lnTo>
                <a:lnTo>
                  <a:pt x="9450" y="1016"/>
                </a:lnTo>
                <a:lnTo>
                  <a:pt x="9446" y="1012"/>
                </a:lnTo>
                <a:lnTo>
                  <a:pt x="9440" y="1010"/>
                </a:lnTo>
                <a:lnTo>
                  <a:pt x="9428" y="1010"/>
                </a:lnTo>
                <a:lnTo>
                  <a:pt x="9408" y="1008"/>
                </a:lnTo>
                <a:lnTo>
                  <a:pt x="9392" y="1004"/>
                </a:lnTo>
                <a:lnTo>
                  <a:pt x="9380" y="998"/>
                </a:lnTo>
                <a:lnTo>
                  <a:pt x="9372" y="990"/>
                </a:lnTo>
                <a:lnTo>
                  <a:pt x="9362" y="982"/>
                </a:lnTo>
                <a:lnTo>
                  <a:pt x="9348" y="974"/>
                </a:lnTo>
                <a:lnTo>
                  <a:pt x="9330" y="966"/>
                </a:lnTo>
                <a:lnTo>
                  <a:pt x="9304" y="962"/>
                </a:lnTo>
                <a:lnTo>
                  <a:pt x="9288" y="960"/>
                </a:lnTo>
                <a:lnTo>
                  <a:pt x="9274" y="958"/>
                </a:lnTo>
                <a:lnTo>
                  <a:pt x="9262" y="960"/>
                </a:lnTo>
                <a:lnTo>
                  <a:pt x="9254" y="962"/>
                </a:lnTo>
                <a:lnTo>
                  <a:pt x="9246" y="964"/>
                </a:lnTo>
                <a:lnTo>
                  <a:pt x="9240" y="968"/>
                </a:lnTo>
                <a:lnTo>
                  <a:pt x="9234" y="974"/>
                </a:lnTo>
                <a:lnTo>
                  <a:pt x="9230" y="982"/>
                </a:lnTo>
                <a:lnTo>
                  <a:pt x="9228" y="988"/>
                </a:lnTo>
                <a:lnTo>
                  <a:pt x="9226" y="992"/>
                </a:lnTo>
                <a:lnTo>
                  <a:pt x="9222" y="992"/>
                </a:lnTo>
                <a:lnTo>
                  <a:pt x="9218" y="992"/>
                </a:lnTo>
                <a:lnTo>
                  <a:pt x="9204" y="988"/>
                </a:lnTo>
                <a:lnTo>
                  <a:pt x="9190" y="988"/>
                </a:lnTo>
                <a:lnTo>
                  <a:pt x="9180" y="990"/>
                </a:lnTo>
                <a:lnTo>
                  <a:pt x="9172" y="996"/>
                </a:lnTo>
                <a:lnTo>
                  <a:pt x="9170" y="1000"/>
                </a:lnTo>
                <a:lnTo>
                  <a:pt x="9170" y="1004"/>
                </a:lnTo>
                <a:lnTo>
                  <a:pt x="9170" y="1006"/>
                </a:lnTo>
                <a:lnTo>
                  <a:pt x="9172" y="1012"/>
                </a:lnTo>
                <a:lnTo>
                  <a:pt x="9178" y="1016"/>
                </a:lnTo>
                <a:lnTo>
                  <a:pt x="9184" y="1020"/>
                </a:lnTo>
                <a:lnTo>
                  <a:pt x="9202" y="1028"/>
                </a:lnTo>
                <a:lnTo>
                  <a:pt x="9220" y="1034"/>
                </a:lnTo>
                <a:lnTo>
                  <a:pt x="9230" y="1040"/>
                </a:lnTo>
                <a:lnTo>
                  <a:pt x="9232" y="1042"/>
                </a:lnTo>
                <a:lnTo>
                  <a:pt x="9234" y="1044"/>
                </a:lnTo>
                <a:lnTo>
                  <a:pt x="9230" y="1046"/>
                </a:lnTo>
                <a:lnTo>
                  <a:pt x="9220" y="1048"/>
                </a:lnTo>
                <a:lnTo>
                  <a:pt x="9206" y="1048"/>
                </a:lnTo>
                <a:lnTo>
                  <a:pt x="9168" y="1044"/>
                </a:lnTo>
                <a:lnTo>
                  <a:pt x="9160" y="1042"/>
                </a:lnTo>
                <a:lnTo>
                  <a:pt x="9152" y="1040"/>
                </a:lnTo>
                <a:lnTo>
                  <a:pt x="9148" y="1036"/>
                </a:lnTo>
                <a:lnTo>
                  <a:pt x="9146" y="1030"/>
                </a:lnTo>
                <a:lnTo>
                  <a:pt x="9144" y="1024"/>
                </a:lnTo>
                <a:lnTo>
                  <a:pt x="9144" y="1018"/>
                </a:lnTo>
                <a:lnTo>
                  <a:pt x="9148" y="1004"/>
                </a:lnTo>
                <a:lnTo>
                  <a:pt x="9152" y="988"/>
                </a:lnTo>
                <a:lnTo>
                  <a:pt x="9156" y="972"/>
                </a:lnTo>
                <a:lnTo>
                  <a:pt x="9158" y="956"/>
                </a:lnTo>
                <a:lnTo>
                  <a:pt x="9156" y="950"/>
                </a:lnTo>
                <a:lnTo>
                  <a:pt x="9154" y="944"/>
                </a:lnTo>
                <a:lnTo>
                  <a:pt x="9146" y="934"/>
                </a:lnTo>
                <a:lnTo>
                  <a:pt x="9140" y="926"/>
                </a:lnTo>
                <a:lnTo>
                  <a:pt x="9132" y="922"/>
                </a:lnTo>
                <a:lnTo>
                  <a:pt x="9128" y="920"/>
                </a:lnTo>
                <a:lnTo>
                  <a:pt x="9124" y="922"/>
                </a:lnTo>
                <a:lnTo>
                  <a:pt x="9122" y="928"/>
                </a:lnTo>
                <a:lnTo>
                  <a:pt x="9122" y="938"/>
                </a:lnTo>
                <a:lnTo>
                  <a:pt x="9126" y="952"/>
                </a:lnTo>
                <a:lnTo>
                  <a:pt x="9128" y="962"/>
                </a:lnTo>
                <a:lnTo>
                  <a:pt x="9128" y="970"/>
                </a:lnTo>
                <a:lnTo>
                  <a:pt x="9124" y="978"/>
                </a:lnTo>
                <a:lnTo>
                  <a:pt x="9118" y="984"/>
                </a:lnTo>
                <a:lnTo>
                  <a:pt x="9112" y="988"/>
                </a:lnTo>
                <a:lnTo>
                  <a:pt x="9104" y="992"/>
                </a:lnTo>
                <a:lnTo>
                  <a:pt x="9086" y="998"/>
                </a:lnTo>
                <a:lnTo>
                  <a:pt x="9070" y="1004"/>
                </a:lnTo>
                <a:lnTo>
                  <a:pt x="9064" y="1008"/>
                </a:lnTo>
                <a:lnTo>
                  <a:pt x="9060" y="1012"/>
                </a:lnTo>
                <a:lnTo>
                  <a:pt x="9056" y="1018"/>
                </a:lnTo>
                <a:lnTo>
                  <a:pt x="9056" y="1024"/>
                </a:lnTo>
                <a:lnTo>
                  <a:pt x="9060" y="1032"/>
                </a:lnTo>
                <a:lnTo>
                  <a:pt x="9066" y="1042"/>
                </a:lnTo>
                <a:lnTo>
                  <a:pt x="9090" y="1068"/>
                </a:lnTo>
                <a:lnTo>
                  <a:pt x="9096" y="1078"/>
                </a:lnTo>
                <a:lnTo>
                  <a:pt x="9100" y="1086"/>
                </a:lnTo>
                <a:lnTo>
                  <a:pt x="9100" y="1094"/>
                </a:lnTo>
                <a:lnTo>
                  <a:pt x="9098" y="1102"/>
                </a:lnTo>
                <a:lnTo>
                  <a:pt x="9092" y="1112"/>
                </a:lnTo>
                <a:lnTo>
                  <a:pt x="9082" y="1126"/>
                </a:lnTo>
                <a:lnTo>
                  <a:pt x="9072" y="1138"/>
                </a:lnTo>
                <a:lnTo>
                  <a:pt x="9068" y="1148"/>
                </a:lnTo>
                <a:lnTo>
                  <a:pt x="9068" y="1156"/>
                </a:lnTo>
                <a:lnTo>
                  <a:pt x="9070" y="1162"/>
                </a:lnTo>
                <a:lnTo>
                  <a:pt x="9078" y="1172"/>
                </a:lnTo>
                <a:lnTo>
                  <a:pt x="9080" y="1180"/>
                </a:lnTo>
                <a:lnTo>
                  <a:pt x="9082" y="1190"/>
                </a:lnTo>
                <a:lnTo>
                  <a:pt x="9082" y="1196"/>
                </a:lnTo>
                <a:lnTo>
                  <a:pt x="9084" y="1198"/>
                </a:lnTo>
                <a:lnTo>
                  <a:pt x="9088" y="1200"/>
                </a:lnTo>
                <a:lnTo>
                  <a:pt x="9092" y="1202"/>
                </a:lnTo>
                <a:lnTo>
                  <a:pt x="9106" y="1200"/>
                </a:lnTo>
                <a:lnTo>
                  <a:pt x="9122" y="1196"/>
                </a:lnTo>
                <a:lnTo>
                  <a:pt x="9142" y="1192"/>
                </a:lnTo>
                <a:lnTo>
                  <a:pt x="9164" y="1190"/>
                </a:lnTo>
                <a:lnTo>
                  <a:pt x="9176" y="1192"/>
                </a:lnTo>
                <a:lnTo>
                  <a:pt x="9188" y="1194"/>
                </a:lnTo>
                <a:lnTo>
                  <a:pt x="9198" y="1198"/>
                </a:lnTo>
                <a:lnTo>
                  <a:pt x="9210" y="1204"/>
                </a:lnTo>
                <a:lnTo>
                  <a:pt x="9228" y="1216"/>
                </a:lnTo>
                <a:lnTo>
                  <a:pt x="9240" y="1226"/>
                </a:lnTo>
                <a:lnTo>
                  <a:pt x="9246" y="1236"/>
                </a:lnTo>
                <a:lnTo>
                  <a:pt x="9248" y="1242"/>
                </a:lnTo>
                <a:lnTo>
                  <a:pt x="9248" y="1248"/>
                </a:lnTo>
                <a:lnTo>
                  <a:pt x="9246" y="1254"/>
                </a:lnTo>
                <a:lnTo>
                  <a:pt x="9238" y="1264"/>
                </a:lnTo>
                <a:lnTo>
                  <a:pt x="9232" y="1278"/>
                </a:lnTo>
                <a:lnTo>
                  <a:pt x="9224" y="1292"/>
                </a:lnTo>
                <a:lnTo>
                  <a:pt x="9220" y="1296"/>
                </a:lnTo>
                <a:lnTo>
                  <a:pt x="9218" y="1296"/>
                </a:lnTo>
                <a:lnTo>
                  <a:pt x="9218" y="1292"/>
                </a:lnTo>
                <a:lnTo>
                  <a:pt x="9220" y="1280"/>
                </a:lnTo>
                <a:lnTo>
                  <a:pt x="9222" y="1266"/>
                </a:lnTo>
                <a:lnTo>
                  <a:pt x="9222" y="1252"/>
                </a:lnTo>
                <a:lnTo>
                  <a:pt x="9218" y="1238"/>
                </a:lnTo>
                <a:lnTo>
                  <a:pt x="9212" y="1226"/>
                </a:lnTo>
                <a:lnTo>
                  <a:pt x="9206" y="1220"/>
                </a:lnTo>
                <a:lnTo>
                  <a:pt x="9200" y="1216"/>
                </a:lnTo>
                <a:lnTo>
                  <a:pt x="9194" y="1212"/>
                </a:lnTo>
                <a:lnTo>
                  <a:pt x="9186" y="1210"/>
                </a:lnTo>
                <a:lnTo>
                  <a:pt x="9176" y="1210"/>
                </a:lnTo>
                <a:lnTo>
                  <a:pt x="9166" y="1210"/>
                </a:lnTo>
                <a:lnTo>
                  <a:pt x="9154" y="1212"/>
                </a:lnTo>
                <a:lnTo>
                  <a:pt x="9142" y="1216"/>
                </a:lnTo>
                <a:lnTo>
                  <a:pt x="9130" y="1220"/>
                </a:lnTo>
                <a:lnTo>
                  <a:pt x="9122" y="1224"/>
                </a:lnTo>
                <a:lnTo>
                  <a:pt x="9116" y="1230"/>
                </a:lnTo>
                <a:lnTo>
                  <a:pt x="9112" y="1236"/>
                </a:lnTo>
                <a:lnTo>
                  <a:pt x="9110" y="1242"/>
                </a:lnTo>
                <a:lnTo>
                  <a:pt x="9110" y="1248"/>
                </a:lnTo>
                <a:lnTo>
                  <a:pt x="9114" y="1262"/>
                </a:lnTo>
                <a:lnTo>
                  <a:pt x="9118" y="1274"/>
                </a:lnTo>
                <a:lnTo>
                  <a:pt x="9122" y="1286"/>
                </a:lnTo>
                <a:lnTo>
                  <a:pt x="9122" y="1292"/>
                </a:lnTo>
                <a:lnTo>
                  <a:pt x="9120" y="1296"/>
                </a:lnTo>
                <a:lnTo>
                  <a:pt x="9116" y="1302"/>
                </a:lnTo>
                <a:lnTo>
                  <a:pt x="9110" y="1304"/>
                </a:lnTo>
                <a:lnTo>
                  <a:pt x="9098" y="1312"/>
                </a:lnTo>
                <a:lnTo>
                  <a:pt x="9090" y="1320"/>
                </a:lnTo>
                <a:lnTo>
                  <a:pt x="9086" y="1328"/>
                </a:lnTo>
                <a:lnTo>
                  <a:pt x="9084" y="1336"/>
                </a:lnTo>
                <a:lnTo>
                  <a:pt x="9082" y="1344"/>
                </a:lnTo>
                <a:lnTo>
                  <a:pt x="9078" y="1352"/>
                </a:lnTo>
                <a:lnTo>
                  <a:pt x="9068" y="1360"/>
                </a:lnTo>
                <a:lnTo>
                  <a:pt x="9054" y="1368"/>
                </a:lnTo>
                <a:lnTo>
                  <a:pt x="9040" y="1376"/>
                </a:lnTo>
                <a:lnTo>
                  <a:pt x="9032" y="1382"/>
                </a:lnTo>
                <a:lnTo>
                  <a:pt x="9024" y="1396"/>
                </a:lnTo>
                <a:lnTo>
                  <a:pt x="9018" y="1400"/>
                </a:lnTo>
                <a:lnTo>
                  <a:pt x="9006" y="1402"/>
                </a:lnTo>
                <a:lnTo>
                  <a:pt x="8988" y="1400"/>
                </a:lnTo>
                <a:lnTo>
                  <a:pt x="8958" y="1394"/>
                </a:lnTo>
                <a:lnTo>
                  <a:pt x="8932" y="1390"/>
                </a:lnTo>
                <a:lnTo>
                  <a:pt x="8924" y="1386"/>
                </a:lnTo>
                <a:lnTo>
                  <a:pt x="8924" y="1384"/>
                </a:lnTo>
                <a:lnTo>
                  <a:pt x="8928" y="1384"/>
                </a:lnTo>
                <a:lnTo>
                  <a:pt x="8942" y="1380"/>
                </a:lnTo>
                <a:lnTo>
                  <a:pt x="8960" y="1374"/>
                </a:lnTo>
                <a:lnTo>
                  <a:pt x="8982" y="1368"/>
                </a:lnTo>
                <a:lnTo>
                  <a:pt x="8992" y="1362"/>
                </a:lnTo>
                <a:lnTo>
                  <a:pt x="9002" y="1356"/>
                </a:lnTo>
                <a:lnTo>
                  <a:pt x="9010" y="1348"/>
                </a:lnTo>
                <a:lnTo>
                  <a:pt x="9016" y="1338"/>
                </a:lnTo>
                <a:lnTo>
                  <a:pt x="9026" y="1322"/>
                </a:lnTo>
                <a:lnTo>
                  <a:pt x="9034" y="1312"/>
                </a:lnTo>
                <a:lnTo>
                  <a:pt x="9042" y="1306"/>
                </a:lnTo>
                <a:lnTo>
                  <a:pt x="9048" y="1302"/>
                </a:lnTo>
                <a:lnTo>
                  <a:pt x="9054" y="1300"/>
                </a:lnTo>
                <a:lnTo>
                  <a:pt x="9058" y="1294"/>
                </a:lnTo>
                <a:lnTo>
                  <a:pt x="9062" y="1286"/>
                </a:lnTo>
                <a:lnTo>
                  <a:pt x="9066" y="1272"/>
                </a:lnTo>
                <a:lnTo>
                  <a:pt x="9066" y="1256"/>
                </a:lnTo>
                <a:lnTo>
                  <a:pt x="9062" y="1244"/>
                </a:lnTo>
                <a:lnTo>
                  <a:pt x="9056" y="1234"/>
                </a:lnTo>
                <a:lnTo>
                  <a:pt x="9048" y="1224"/>
                </a:lnTo>
                <a:lnTo>
                  <a:pt x="9040" y="1214"/>
                </a:lnTo>
                <a:lnTo>
                  <a:pt x="9034" y="1202"/>
                </a:lnTo>
                <a:lnTo>
                  <a:pt x="9030" y="1186"/>
                </a:lnTo>
                <a:lnTo>
                  <a:pt x="9032" y="1166"/>
                </a:lnTo>
                <a:lnTo>
                  <a:pt x="9038" y="1126"/>
                </a:lnTo>
                <a:lnTo>
                  <a:pt x="9040" y="1110"/>
                </a:lnTo>
                <a:lnTo>
                  <a:pt x="9042" y="1094"/>
                </a:lnTo>
                <a:lnTo>
                  <a:pt x="9040" y="1080"/>
                </a:lnTo>
                <a:lnTo>
                  <a:pt x="9036" y="1068"/>
                </a:lnTo>
                <a:lnTo>
                  <a:pt x="9028" y="1056"/>
                </a:lnTo>
                <a:lnTo>
                  <a:pt x="9014" y="1042"/>
                </a:lnTo>
                <a:lnTo>
                  <a:pt x="9004" y="1032"/>
                </a:lnTo>
                <a:lnTo>
                  <a:pt x="9002" y="1028"/>
                </a:lnTo>
                <a:lnTo>
                  <a:pt x="9002" y="1024"/>
                </a:lnTo>
                <a:lnTo>
                  <a:pt x="9002" y="1020"/>
                </a:lnTo>
                <a:lnTo>
                  <a:pt x="9006" y="1018"/>
                </a:lnTo>
                <a:lnTo>
                  <a:pt x="9014" y="1012"/>
                </a:lnTo>
                <a:lnTo>
                  <a:pt x="9024" y="1004"/>
                </a:lnTo>
                <a:lnTo>
                  <a:pt x="9034" y="994"/>
                </a:lnTo>
                <a:lnTo>
                  <a:pt x="9038" y="988"/>
                </a:lnTo>
                <a:lnTo>
                  <a:pt x="9042" y="982"/>
                </a:lnTo>
                <a:lnTo>
                  <a:pt x="9044" y="974"/>
                </a:lnTo>
                <a:lnTo>
                  <a:pt x="9044" y="964"/>
                </a:lnTo>
                <a:lnTo>
                  <a:pt x="9044" y="952"/>
                </a:lnTo>
                <a:lnTo>
                  <a:pt x="9040" y="944"/>
                </a:lnTo>
                <a:lnTo>
                  <a:pt x="9036" y="936"/>
                </a:lnTo>
                <a:lnTo>
                  <a:pt x="9030" y="932"/>
                </a:lnTo>
                <a:lnTo>
                  <a:pt x="9022" y="928"/>
                </a:lnTo>
                <a:lnTo>
                  <a:pt x="9014" y="924"/>
                </a:lnTo>
                <a:lnTo>
                  <a:pt x="8994" y="922"/>
                </a:lnTo>
                <a:lnTo>
                  <a:pt x="8974" y="922"/>
                </a:lnTo>
                <a:lnTo>
                  <a:pt x="8952" y="922"/>
                </a:lnTo>
                <a:lnTo>
                  <a:pt x="8932" y="924"/>
                </a:lnTo>
                <a:lnTo>
                  <a:pt x="8916" y="922"/>
                </a:lnTo>
                <a:lnTo>
                  <a:pt x="8908" y="920"/>
                </a:lnTo>
                <a:lnTo>
                  <a:pt x="8900" y="922"/>
                </a:lnTo>
                <a:lnTo>
                  <a:pt x="8896" y="926"/>
                </a:lnTo>
                <a:lnTo>
                  <a:pt x="8890" y="932"/>
                </a:lnTo>
                <a:lnTo>
                  <a:pt x="8882" y="946"/>
                </a:lnTo>
                <a:lnTo>
                  <a:pt x="8876" y="966"/>
                </a:lnTo>
                <a:lnTo>
                  <a:pt x="8868" y="986"/>
                </a:lnTo>
                <a:lnTo>
                  <a:pt x="8860" y="1006"/>
                </a:lnTo>
                <a:lnTo>
                  <a:pt x="8854" y="1016"/>
                </a:lnTo>
                <a:lnTo>
                  <a:pt x="8846" y="1024"/>
                </a:lnTo>
                <a:lnTo>
                  <a:pt x="8838" y="1030"/>
                </a:lnTo>
                <a:lnTo>
                  <a:pt x="8826" y="1036"/>
                </a:lnTo>
                <a:lnTo>
                  <a:pt x="8804" y="1048"/>
                </a:lnTo>
                <a:lnTo>
                  <a:pt x="8798" y="1052"/>
                </a:lnTo>
                <a:lnTo>
                  <a:pt x="8794" y="1058"/>
                </a:lnTo>
                <a:lnTo>
                  <a:pt x="8792" y="1062"/>
                </a:lnTo>
                <a:lnTo>
                  <a:pt x="8794" y="1066"/>
                </a:lnTo>
                <a:lnTo>
                  <a:pt x="8800" y="1074"/>
                </a:lnTo>
                <a:lnTo>
                  <a:pt x="8808" y="1082"/>
                </a:lnTo>
                <a:lnTo>
                  <a:pt x="8812" y="1088"/>
                </a:lnTo>
                <a:lnTo>
                  <a:pt x="8814" y="1094"/>
                </a:lnTo>
                <a:lnTo>
                  <a:pt x="8816" y="1102"/>
                </a:lnTo>
                <a:lnTo>
                  <a:pt x="8814" y="1108"/>
                </a:lnTo>
                <a:lnTo>
                  <a:pt x="8812" y="1118"/>
                </a:lnTo>
                <a:lnTo>
                  <a:pt x="8806" y="1128"/>
                </a:lnTo>
                <a:lnTo>
                  <a:pt x="8800" y="1138"/>
                </a:lnTo>
                <a:lnTo>
                  <a:pt x="8798" y="1146"/>
                </a:lnTo>
                <a:lnTo>
                  <a:pt x="8800" y="1154"/>
                </a:lnTo>
                <a:lnTo>
                  <a:pt x="8804" y="1162"/>
                </a:lnTo>
                <a:lnTo>
                  <a:pt x="8812" y="1168"/>
                </a:lnTo>
                <a:lnTo>
                  <a:pt x="8820" y="1174"/>
                </a:lnTo>
                <a:lnTo>
                  <a:pt x="8842" y="1184"/>
                </a:lnTo>
                <a:lnTo>
                  <a:pt x="8862" y="1196"/>
                </a:lnTo>
                <a:lnTo>
                  <a:pt x="8872" y="1200"/>
                </a:lnTo>
                <a:lnTo>
                  <a:pt x="8878" y="1208"/>
                </a:lnTo>
                <a:lnTo>
                  <a:pt x="8884" y="1214"/>
                </a:lnTo>
                <a:lnTo>
                  <a:pt x="8886" y="1220"/>
                </a:lnTo>
                <a:lnTo>
                  <a:pt x="8886" y="1230"/>
                </a:lnTo>
                <a:lnTo>
                  <a:pt x="8880" y="1238"/>
                </a:lnTo>
                <a:lnTo>
                  <a:pt x="8870" y="1254"/>
                </a:lnTo>
                <a:lnTo>
                  <a:pt x="8866" y="1258"/>
                </a:lnTo>
                <a:lnTo>
                  <a:pt x="8862" y="1260"/>
                </a:lnTo>
                <a:lnTo>
                  <a:pt x="8858" y="1260"/>
                </a:lnTo>
                <a:lnTo>
                  <a:pt x="8854" y="1258"/>
                </a:lnTo>
                <a:lnTo>
                  <a:pt x="8844" y="1252"/>
                </a:lnTo>
                <a:lnTo>
                  <a:pt x="8830" y="1240"/>
                </a:lnTo>
                <a:lnTo>
                  <a:pt x="8806" y="1224"/>
                </a:lnTo>
                <a:lnTo>
                  <a:pt x="8772" y="1204"/>
                </a:lnTo>
                <a:lnTo>
                  <a:pt x="8752" y="1194"/>
                </a:lnTo>
                <a:lnTo>
                  <a:pt x="8726" y="1184"/>
                </a:lnTo>
                <a:lnTo>
                  <a:pt x="8698" y="1174"/>
                </a:lnTo>
                <a:lnTo>
                  <a:pt x="8674" y="1166"/>
                </a:lnTo>
                <a:lnTo>
                  <a:pt x="8652" y="1160"/>
                </a:lnTo>
                <a:lnTo>
                  <a:pt x="8630" y="1156"/>
                </a:lnTo>
                <a:lnTo>
                  <a:pt x="8612" y="1152"/>
                </a:lnTo>
                <a:lnTo>
                  <a:pt x="8594" y="1152"/>
                </a:lnTo>
                <a:lnTo>
                  <a:pt x="8580" y="1152"/>
                </a:lnTo>
                <a:lnTo>
                  <a:pt x="8568" y="1152"/>
                </a:lnTo>
                <a:lnTo>
                  <a:pt x="8556" y="1156"/>
                </a:lnTo>
                <a:lnTo>
                  <a:pt x="8548" y="1158"/>
                </a:lnTo>
                <a:lnTo>
                  <a:pt x="8542" y="1162"/>
                </a:lnTo>
                <a:lnTo>
                  <a:pt x="8540" y="1168"/>
                </a:lnTo>
                <a:lnTo>
                  <a:pt x="8538" y="1174"/>
                </a:lnTo>
                <a:lnTo>
                  <a:pt x="8538" y="1180"/>
                </a:lnTo>
                <a:lnTo>
                  <a:pt x="8542" y="1186"/>
                </a:lnTo>
                <a:lnTo>
                  <a:pt x="8548" y="1194"/>
                </a:lnTo>
                <a:lnTo>
                  <a:pt x="8552" y="1198"/>
                </a:lnTo>
                <a:lnTo>
                  <a:pt x="8552" y="1204"/>
                </a:lnTo>
                <a:lnTo>
                  <a:pt x="8552" y="1210"/>
                </a:lnTo>
                <a:lnTo>
                  <a:pt x="8550" y="1216"/>
                </a:lnTo>
                <a:lnTo>
                  <a:pt x="8542" y="1228"/>
                </a:lnTo>
                <a:lnTo>
                  <a:pt x="8530" y="1238"/>
                </a:lnTo>
                <a:lnTo>
                  <a:pt x="8518" y="1244"/>
                </a:lnTo>
                <a:lnTo>
                  <a:pt x="8512" y="1246"/>
                </a:lnTo>
                <a:lnTo>
                  <a:pt x="8506" y="1246"/>
                </a:lnTo>
                <a:lnTo>
                  <a:pt x="8500" y="1244"/>
                </a:lnTo>
                <a:lnTo>
                  <a:pt x="8496" y="1242"/>
                </a:lnTo>
                <a:lnTo>
                  <a:pt x="8494" y="1236"/>
                </a:lnTo>
                <a:lnTo>
                  <a:pt x="8494" y="1230"/>
                </a:lnTo>
                <a:lnTo>
                  <a:pt x="8492" y="1216"/>
                </a:lnTo>
                <a:lnTo>
                  <a:pt x="8490" y="1208"/>
                </a:lnTo>
                <a:lnTo>
                  <a:pt x="8486" y="1206"/>
                </a:lnTo>
                <a:lnTo>
                  <a:pt x="8478" y="1206"/>
                </a:lnTo>
                <a:lnTo>
                  <a:pt x="8470" y="1208"/>
                </a:lnTo>
                <a:lnTo>
                  <a:pt x="8458" y="1214"/>
                </a:lnTo>
                <a:lnTo>
                  <a:pt x="8430" y="1234"/>
                </a:lnTo>
                <a:lnTo>
                  <a:pt x="8416" y="1242"/>
                </a:lnTo>
                <a:lnTo>
                  <a:pt x="8410" y="1242"/>
                </a:lnTo>
                <a:lnTo>
                  <a:pt x="8404" y="1242"/>
                </a:lnTo>
                <a:lnTo>
                  <a:pt x="8394" y="1240"/>
                </a:lnTo>
                <a:lnTo>
                  <a:pt x="8386" y="1236"/>
                </a:lnTo>
                <a:lnTo>
                  <a:pt x="8378" y="1232"/>
                </a:lnTo>
                <a:lnTo>
                  <a:pt x="8366" y="1230"/>
                </a:lnTo>
                <a:lnTo>
                  <a:pt x="8358" y="1232"/>
                </a:lnTo>
                <a:lnTo>
                  <a:pt x="8350" y="1234"/>
                </a:lnTo>
                <a:lnTo>
                  <a:pt x="8330" y="1246"/>
                </a:lnTo>
                <a:lnTo>
                  <a:pt x="8308" y="1256"/>
                </a:lnTo>
                <a:lnTo>
                  <a:pt x="8300" y="1258"/>
                </a:lnTo>
                <a:lnTo>
                  <a:pt x="8294" y="1260"/>
                </a:lnTo>
                <a:lnTo>
                  <a:pt x="8288" y="1260"/>
                </a:lnTo>
                <a:lnTo>
                  <a:pt x="8284" y="1258"/>
                </a:lnTo>
                <a:lnTo>
                  <a:pt x="8280" y="1254"/>
                </a:lnTo>
                <a:lnTo>
                  <a:pt x="8278" y="1250"/>
                </a:lnTo>
                <a:lnTo>
                  <a:pt x="8278" y="1240"/>
                </a:lnTo>
                <a:lnTo>
                  <a:pt x="8280" y="1230"/>
                </a:lnTo>
                <a:lnTo>
                  <a:pt x="8286" y="1220"/>
                </a:lnTo>
                <a:lnTo>
                  <a:pt x="8294" y="1212"/>
                </a:lnTo>
                <a:lnTo>
                  <a:pt x="8300" y="1206"/>
                </a:lnTo>
                <a:lnTo>
                  <a:pt x="8300" y="1204"/>
                </a:lnTo>
                <a:lnTo>
                  <a:pt x="8298" y="1204"/>
                </a:lnTo>
                <a:lnTo>
                  <a:pt x="8290" y="1204"/>
                </a:lnTo>
                <a:lnTo>
                  <a:pt x="8276" y="1206"/>
                </a:lnTo>
                <a:lnTo>
                  <a:pt x="8256" y="1214"/>
                </a:lnTo>
                <a:lnTo>
                  <a:pt x="8230" y="1224"/>
                </a:lnTo>
                <a:lnTo>
                  <a:pt x="8200" y="1236"/>
                </a:lnTo>
                <a:lnTo>
                  <a:pt x="8164" y="1254"/>
                </a:lnTo>
                <a:lnTo>
                  <a:pt x="8130" y="1270"/>
                </a:lnTo>
                <a:lnTo>
                  <a:pt x="8104" y="1278"/>
                </a:lnTo>
                <a:lnTo>
                  <a:pt x="8084" y="1282"/>
                </a:lnTo>
                <a:lnTo>
                  <a:pt x="8068" y="1286"/>
                </a:lnTo>
                <a:lnTo>
                  <a:pt x="8056" y="1288"/>
                </a:lnTo>
                <a:lnTo>
                  <a:pt x="8048" y="1294"/>
                </a:lnTo>
                <a:lnTo>
                  <a:pt x="8040" y="1304"/>
                </a:lnTo>
                <a:lnTo>
                  <a:pt x="8034" y="1322"/>
                </a:lnTo>
                <a:lnTo>
                  <a:pt x="8026" y="1342"/>
                </a:lnTo>
                <a:lnTo>
                  <a:pt x="8020" y="1352"/>
                </a:lnTo>
                <a:lnTo>
                  <a:pt x="8016" y="1356"/>
                </a:lnTo>
                <a:lnTo>
                  <a:pt x="8010" y="1358"/>
                </a:lnTo>
                <a:lnTo>
                  <a:pt x="7996" y="1354"/>
                </a:lnTo>
                <a:lnTo>
                  <a:pt x="7986" y="1356"/>
                </a:lnTo>
                <a:lnTo>
                  <a:pt x="7976" y="1360"/>
                </a:lnTo>
                <a:lnTo>
                  <a:pt x="7966" y="1364"/>
                </a:lnTo>
                <a:lnTo>
                  <a:pt x="7960" y="1364"/>
                </a:lnTo>
                <a:lnTo>
                  <a:pt x="7956" y="1362"/>
                </a:lnTo>
                <a:lnTo>
                  <a:pt x="7954" y="1358"/>
                </a:lnTo>
                <a:lnTo>
                  <a:pt x="7952" y="1352"/>
                </a:lnTo>
                <a:lnTo>
                  <a:pt x="7948" y="1344"/>
                </a:lnTo>
                <a:lnTo>
                  <a:pt x="7942" y="1338"/>
                </a:lnTo>
                <a:lnTo>
                  <a:pt x="7930" y="1330"/>
                </a:lnTo>
                <a:lnTo>
                  <a:pt x="7920" y="1324"/>
                </a:lnTo>
                <a:lnTo>
                  <a:pt x="7918" y="1322"/>
                </a:lnTo>
                <a:lnTo>
                  <a:pt x="7918" y="1318"/>
                </a:lnTo>
                <a:lnTo>
                  <a:pt x="7918" y="1314"/>
                </a:lnTo>
                <a:lnTo>
                  <a:pt x="7920" y="1312"/>
                </a:lnTo>
                <a:lnTo>
                  <a:pt x="7926" y="1304"/>
                </a:lnTo>
                <a:lnTo>
                  <a:pt x="7934" y="1300"/>
                </a:lnTo>
                <a:lnTo>
                  <a:pt x="7946" y="1296"/>
                </a:lnTo>
                <a:lnTo>
                  <a:pt x="7958" y="1292"/>
                </a:lnTo>
                <a:lnTo>
                  <a:pt x="7970" y="1292"/>
                </a:lnTo>
                <a:lnTo>
                  <a:pt x="7976" y="1290"/>
                </a:lnTo>
                <a:lnTo>
                  <a:pt x="7980" y="1288"/>
                </a:lnTo>
                <a:lnTo>
                  <a:pt x="7982" y="1286"/>
                </a:lnTo>
                <a:lnTo>
                  <a:pt x="7984" y="1282"/>
                </a:lnTo>
                <a:lnTo>
                  <a:pt x="7982" y="1274"/>
                </a:lnTo>
                <a:lnTo>
                  <a:pt x="7978" y="1264"/>
                </a:lnTo>
                <a:lnTo>
                  <a:pt x="7968" y="1254"/>
                </a:lnTo>
                <a:lnTo>
                  <a:pt x="7956" y="1246"/>
                </a:lnTo>
                <a:lnTo>
                  <a:pt x="7942" y="1240"/>
                </a:lnTo>
                <a:lnTo>
                  <a:pt x="7934" y="1238"/>
                </a:lnTo>
                <a:lnTo>
                  <a:pt x="7926" y="1238"/>
                </a:lnTo>
                <a:lnTo>
                  <a:pt x="7910" y="1238"/>
                </a:lnTo>
                <a:lnTo>
                  <a:pt x="7892" y="1236"/>
                </a:lnTo>
                <a:lnTo>
                  <a:pt x="7866" y="1230"/>
                </a:lnTo>
                <a:lnTo>
                  <a:pt x="7858" y="1230"/>
                </a:lnTo>
                <a:lnTo>
                  <a:pt x="7856" y="1230"/>
                </a:lnTo>
                <a:lnTo>
                  <a:pt x="7860" y="1236"/>
                </a:lnTo>
                <a:lnTo>
                  <a:pt x="7870" y="1246"/>
                </a:lnTo>
                <a:lnTo>
                  <a:pt x="7876" y="1252"/>
                </a:lnTo>
                <a:lnTo>
                  <a:pt x="7880" y="1258"/>
                </a:lnTo>
                <a:lnTo>
                  <a:pt x="7882" y="1264"/>
                </a:lnTo>
                <a:lnTo>
                  <a:pt x="7884" y="1270"/>
                </a:lnTo>
                <a:lnTo>
                  <a:pt x="7882" y="1284"/>
                </a:lnTo>
                <a:lnTo>
                  <a:pt x="7876" y="1296"/>
                </a:lnTo>
                <a:lnTo>
                  <a:pt x="7872" y="1306"/>
                </a:lnTo>
                <a:lnTo>
                  <a:pt x="7870" y="1318"/>
                </a:lnTo>
                <a:lnTo>
                  <a:pt x="7870" y="1324"/>
                </a:lnTo>
                <a:lnTo>
                  <a:pt x="7874" y="1328"/>
                </a:lnTo>
                <a:lnTo>
                  <a:pt x="7878" y="1334"/>
                </a:lnTo>
                <a:lnTo>
                  <a:pt x="7884" y="1340"/>
                </a:lnTo>
                <a:lnTo>
                  <a:pt x="7896" y="1348"/>
                </a:lnTo>
                <a:lnTo>
                  <a:pt x="7900" y="1352"/>
                </a:lnTo>
                <a:lnTo>
                  <a:pt x="7902" y="1356"/>
                </a:lnTo>
                <a:lnTo>
                  <a:pt x="7902" y="1364"/>
                </a:lnTo>
                <a:lnTo>
                  <a:pt x="7898" y="1372"/>
                </a:lnTo>
                <a:lnTo>
                  <a:pt x="7892" y="1380"/>
                </a:lnTo>
                <a:lnTo>
                  <a:pt x="7888" y="1390"/>
                </a:lnTo>
                <a:lnTo>
                  <a:pt x="7884" y="1400"/>
                </a:lnTo>
                <a:lnTo>
                  <a:pt x="7886" y="1414"/>
                </a:lnTo>
                <a:lnTo>
                  <a:pt x="7886" y="1424"/>
                </a:lnTo>
                <a:lnTo>
                  <a:pt x="7884" y="1422"/>
                </a:lnTo>
                <a:lnTo>
                  <a:pt x="7876" y="1414"/>
                </a:lnTo>
                <a:lnTo>
                  <a:pt x="7864" y="1402"/>
                </a:lnTo>
                <a:lnTo>
                  <a:pt x="7850" y="1390"/>
                </a:lnTo>
                <a:lnTo>
                  <a:pt x="7842" y="1386"/>
                </a:lnTo>
                <a:lnTo>
                  <a:pt x="7832" y="1382"/>
                </a:lnTo>
                <a:lnTo>
                  <a:pt x="7822" y="1382"/>
                </a:lnTo>
                <a:lnTo>
                  <a:pt x="7810" y="1382"/>
                </a:lnTo>
                <a:lnTo>
                  <a:pt x="7798" y="1386"/>
                </a:lnTo>
                <a:lnTo>
                  <a:pt x="7786" y="1394"/>
                </a:lnTo>
                <a:lnTo>
                  <a:pt x="7762" y="1410"/>
                </a:lnTo>
                <a:lnTo>
                  <a:pt x="7740" y="1422"/>
                </a:lnTo>
                <a:lnTo>
                  <a:pt x="7724" y="1432"/>
                </a:lnTo>
                <a:lnTo>
                  <a:pt x="7712" y="1440"/>
                </a:lnTo>
                <a:lnTo>
                  <a:pt x="7706" y="1448"/>
                </a:lnTo>
                <a:lnTo>
                  <a:pt x="7706" y="1452"/>
                </a:lnTo>
                <a:lnTo>
                  <a:pt x="7706" y="1456"/>
                </a:lnTo>
                <a:lnTo>
                  <a:pt x="7712" y="1468"/>
                </a:lnTo>
                <a:lnTo>
                  <a:pt x="7724" y="1482"/>
                </a:lnTo>
                <a:lnTo>
                  <a:pt x="7736" y="1498"/>
                </a:lnTo>
                <a:lnTo>
                  <a:pt x="7738" y="1504"/>
                </a:lnTo>
                <a:lnTo>
                  <a:pt x="7740" y="1508"/>
                </a:lnTo>
                <a:lnTo>
                  <a:pt x="7738" y="1512"/>
                </a:lnTo>
                <a:lnTo>
                  <a:pt x="7736" y="1516"/>
                </a:lnTo>
                <a:lnTo>
                  <a:pt x="7732" y="1518"/>
                </a:lnTo>
                <a:lnTo>
                  <a:pt x="7726" y="1520"/>
                </a:lnTo>
                <a:lnTo>
                  <a:pt x="7710" y="1520"/>
                </a:lnTo>
                <a:lnTo>
                  <a:pt x="7690" y="1516"/>
                </a:lnTo>
                <a:lnTo>
                  <a:pt x="7668" y="1508"/>
                </a:lnTo>
                <a:lnTo>
                  <a:pt x="7642" y="1496"/>
                </a:lnTo>
                <a:lnTo>
                  <a:pt x="7618" y="1486"/>
                </a:lnTo>
                <a:lnTo>
                  <a:pt x="7600" y="1482"/>
                </a:lnTo>
                <a:lnTo>
                  <a:pt x="7586" y="1480"/>
                </a:lnTo>
                <a:lnTo>
                  <a:pt x="7576" y="1482"/>
                </a:lnTo>
                <a:lnTo>
                  <a:pt x="7574" y="1484"/>
                </a:lnTo>
                <a:lnTo>
                  <a:pt x="7572" y="1486"/>
                </a:lnTo>
                <a:lnTo>
                  <a:pt x="7572" y="1494"/>
                </a:lnTo>
                <a:lnTo>
                  <a:pt x="7576" y="1504"/>
                </a:lnTo>
                <a:lnTo>
                  <a:pt x="7584" y="1514"/>
                </a:lnTo>
                <a:lnTo>
                  <a:pt x="7596" y="1524"/>
                </a:lnTo>
                <a:lnTo>
                  <a:pt x="7610" y="1530"/>
                </a:lnTo>
                <a:lnTo>
                  <a:pt x="7632" y="1540"/>
                </a:lnTo>
                <a:lnTo>
                  <a:pt x="7638" y="1544"/>
                </a:lnTo>
                <a:lnTo>
                  <a:pt x="7640" y="1546"/>
                </a:lnTo>
                <a:lnTo>
                  <a:pt x="7640" y="1548"/>
                </a:lnTo>
                <a:lnTo>
                  <a:pt x="7636" y="1554"/>
                </a:lnTo>
                <a:lnTo>
                  <a:pt x="7624" y="1562"/>
                </a:lnTo>
                <a:lnTo>
                  <a:pt x="7610" y="1568"/>
                </a:lnTo>
                <a:lnTo>
                  <a:pt x="7604" y="1570"/>
                </a:lnTo>
                <a:lnTo>
                  <a:pt x="7600" y="1568"/>
                </a:lnTo>
                <a:lnTo>
                  <a:pt x="7592" y="1564"/>
                </a:lnTo>
                <a:lnTo>
                  <a:pt x="7586" y="1558"/>
                </a:lnTo>
                <a:lnTo>
                  <a:pt x="7580" y="1550"/>
                </a:lnTo>
                <a:lnTo>
                  <a:pt x="7570" y="1540"/>
                </a:lnTo>
                <a:lnTo>
                  <a:pt x="7560" y="1532"/>
                </a:lnTo>
                <a:lnTo>
                  <a:pt x="7552" y="1530"/>
                </a:lnTo>
                <a:lnTo>
                  <a:pt x="7544" y="1528"/>
                </a:lnTo>
                <a:lnTo>
                  <a:pt x="7528" y="1524"/>
                </a:lnTo>
                <a:lnTo>
                  <a:pt x="7520" y="1518"/>
                </a:lnTo>
                <a:lnTo>
                  <a:pt x="7516" y="1512"/>
                </a:lnTo>
                <a:lnTo>
                  <a:pt x="7516" y="1506"/>
                </a:lnTo>
                <a:lnTo>
                  <a:pt x="7516" y="1498"/>
                </a:lnTo>
                <a:lnTo>
                  <a:pt x="7514" y="1490"/>
                </a:lnTo>
                <a:lnTo>
                  <a:pt x="7512" y="1482"/>
                </a:lnTo>
                <a:lnTo>
                  <a:pt x="7504" y="1474"/>
                </a:lnTo>
                <a:lnTo>
                  <a:pt x="7498" y="1468"/>
                </a:lnTo>
                <a:lnTo>
                  <a:pt x="7496" y="1464"/>
                </a:lnTo>
                <a:lnTo>
                  <a:pt x="7496" y="1460"/>
                </a:lnTo>
                <a:lnTo>
                  <a:pt x="7496" y="1458"/>
                </a:lnTo>
                <a:lnTo>
                  <a:pt x="7500" y="1452"/>
                </a:lnTo>
                <a:lnTo>
                  <a:pt x="7506" y="1446"/>
                </a:lnTo>
                <a:lnTo>
                  <a:pt x="7512" y="1438"/>
                </a:lnTo>
                <a:lnTo>
                  <a:pt x="7514" y="1432"/>
                </a:lnTo>
                <a:lnTo>
                  <a:pt x="7512" y="1428"/>
                </a:lnTo>
                <a:lnTo>
                  <a:pt x="7510" y="1424"/>
                </a:lnTo>
                <a:lnTo>
                  <a:pt x="7506" y="1418"/>
                </a:lnTo>
                <a:lnTo>
                  <a:pt x="7500" y="1412"/>
                </a:lnTo>
                <a:lnTo>
                  <a:pt x="7484" y="1402"/>
                </a:lnTo>
                <a:lnTo>
                  <a:pt x="7470" y="1394"/>
                </a:lnTo>
                <a:lnTo>
                  <a:pt x="7442" y="1378"/>
                </a:lnTo>
                <a:lnTo>
                  <a:pt x="7432" y="1370"/>
                </a:lnTo>
                <a:lnTo>
                  <a:pt x="7422" y="1364"/>
                </a:lnTo>
                <a:lnTo>
                  <a:pt x="7416" y="1354"/>
                </a:lnTo>
                <a:lnTo>
                  <a:pt x="7412" y="1344"/>
                </a:lnTo>
                <a:lnTo>
                  <a:pt x="7410" y="1336"/>
                </a:lnTo>
                <a:lnTo>
                  <a:pt x="7410" y="1334"/>
                </a:lnTo>
                <a:lnTo>
                  <a:pt x="7420" y="1344"/>
                </a:lnTo>
                <a:lnTo>
                  <a:pt x="7430" y="1352"/>
                </a:lnTo>
                <a:lnTo>
                  <a:pt x="7446" y="1362"/>
                </a:lnTo>
                <a:lnTo>
                  <a:pt x="7466" y="1370"/>
                </a:lnTo>
                <a:lnTo>
                  <a:pt x="7492" y="1376"/>
                </a:lnTo>
                <a:lnTo>
                  <a:pt x="7520" y="1382"/>
                </a:lnTo>
                <a:lnTo>
                  <a:pt x="7548" y="1390"/>
                </a:lnTo>
                <a:lnTo>
                  <a:pt x="7606" y="1408"/>
                </a:lnTo>
                <a:lnTo>
                  <a:pt x="7632" y="1414"/>
                </a:lnTo>
                <a:lnTo>
                  <a:pt x="7646" y="1416"/>
                </a:lnTo>
                <a:lnTo>
                  <a:pt x="7660" y="1416"/>
                </a:lnTo>
                <a:lnTo>
                  <a:pt x="7674" y="1416"/>
                </a:lnTo>
                <a:lnTo>
                  <a:pt x="7686" y="1414"/>
                </a:lnTo>
                <a:lnTo>
                  <a:pt x="7700" y="1408"/>
                </a:lnTo>
                <a:lnTo>
                  <a:pt x="7714" y="1402"/>
                </a:lnTo>
                <a:lnTo>
                  <a:pt x="7738" y="1388"/>
                </a:lnTo>
                <a:lnTo>
                  <a:pt x="7756" y="1374"/>
                </a:lnTo>
                <a:lnTo>
                  <a:pt x="7770" y="1360"/>
                </a:lnTo>
                <a:lnTo>
                  <a:pt x="7774" y="1354"/>
                </a:lnTo>
                <a:lnTo>
                  <a:pt x="7776" y="1346"/>
                </a:lnTo>
                <a:lnTo>
                  <a:pt x="7778" y="1340"/>
                </a:lnTo>
                <a:lnTo>
                  <a:pt x="7778" y="1334"/>
                </a:lnTo>
                <a:lnTo>
                  <a:pt x="7774" y="1326"/>
                </a:lnTo>
                <a:lnTo>
                  <a:pt x="7770" y="1320"/>
                </a:lnTo>
                <a:lnTo>
                  <a:pt x="7764" y="1312"/>
                </a:lnTo>
                <a:lnTo>
                  <a:pt x="7756" y="1304"/>
                </a:lnTo>
                <a:lnTo>
                  <a:pt x="7734" y="1288"/>
                </a:lnTo>
                <a:lnTo>
                  <a:pt x="7694" y="1264"/>
                </a:lnTo>
                <a:lnTo>
                  <a:pt x="7666" y="1252"/>
                </a:lnTo>
                <a:lnTo>
                  <a:pt x="7638" y="1238"/>
                </a:lnTo>
                <a:lnTo>
                  <a:pt x="7594" y="1212"/>
                </a:lnTo>
                <a:lnTo>
                  <a:pt x="7570" y="1198"/>
                </a:lnTo>
                <a:lnTo>
                  <a:pt x="7552" y="1190"/>
                </a:lnTo>
                <a:lnTo>
                  <a:pt x="7538" y="1188"/>
                </a:lnTo>
                <a:lnTo>
                  <a:pt x="7528" y="1188"/>
                </a:lnTo>
                <a:lnTo>
                  <a:pt x="7518" y="1190"/>
                </a:lnTo>
                <a:lnTo>
                  <a:pt x="7508" y="1190"/>
                </a:lnTo>
                <a:lnTo>
                  <a:pt x="7492" y="1188"/>
                </a:lnTo>
                <a:lnTo>
                  <a:pt x="7472" y="1182"/>
                </a:lnTo>
                <a:lnTo>
                  <a:pt x="7452" y="1176"/>
                </a:lnTo>
                <a:lnTo>
                  <a:pt x="7442" y="1170"/>
                </a:lnTo>
                <a:lnTo>
                  <a:pt x="7440" y="1166"/>
                </a:lnTo>
                <a:lnTo>
                  <a:pt x="7440" y="1164"/>
                </a:lnTo>
                <a:lnTo>
                  <a:pt x="7442" y="1160"/>
                </a:lnTo>
                <a:lnTo>
                  <a:pt x="7442" y="1156"/>
                </a:lnTo>
                <a:lnTo>
                  <a:pt x="7436" y="1152"/>
                </a:lnTo>
                <a:lnTo>
                  <a:pt x="7424" y="1146"/>
                </a:lnTo>
                <a:lnTo>
                  <a:pt x="7410" y="1140"/>
                </a:lnTo>
                <a:lnTo>
                  <a:pt x="7402" y="1140"/>
                </a:lnTo>
                <a:lnTo>
                  <a:pt x="7398" y="1144"/>
                </a:lnTo>
                <a:lnTo>
                  <a:pt x="7394" y="1148"/>
                </a:lnTo>
                <a:lnTo>
                  <a:pt x="7390" y="1152"/>
                </a:lnTo>
                <a:lnTo>
                  <a:pt x="7384" y="1156"/>
                </a:lnTo>
                <a:lnTo>
                  <a:pt x="7370" y="1156"/>
                </a:lnTo>
                <a:lnTo>
                  <a:pt x="7350" y="1150"/>
                </a:lnTo>
                <a:lnTo>
                  <a:pt x="7342" y="1150"/>
                </a:lnTo>
                <a:lnTo>
                  <a:pt x="7336" y="1150"/>
                </a:lnTo>
                <a:lnTo>
                  <a:pt x="7332" y="1148"/>
                </a:lnTo>
                <a:lnTo>
                  <a:pt x="7328" y="1146"/>
                </a:lnTo>
                <a:lnTo>
                  <a:pt x="7326" y="1144"/>
                </a:lnTo>
                <a:lnTo>
                  <a:pt x="7322" y="1148"/>
                </a:lnTo>
                <a:lnTo>
                  <a:pt x="7320" y="1152"/>
                </a:lnTo>
                <a:lnTo>
                  <a:pt x="7314" y="1154"/>
                </a:lnTo>
                <a:lnTo>
                  <a:pt x="7304" y="1156"/>
                </a:lnTo>
                <a:lnTo>
                  <a:pt x="7302" y="1154"/>
                </a:lnTo>
                <a:lnTo>
                  <a:pt x="7304" y="1152"/>
                </a:lnTo>
                <a:lnTo>
                  <a:pt x="7306" y="1148"/>
                </a:lnTo>
                <a:lnTo>
                  <a:pt x="7306" y="1142"/>
                </a:lnTo>
                <a:lnTo>
                  <a:pt x="7304" y="1140"/>
                </a:lnTo>
                <a:lnTo>
                  <a:pt x="7302" y="1138"/>
                </a:lnTo>
                <a:lnTo>
                  <a:pt x="7298" y="1136"/>
                </a:lnTo>
                <a:lnTo>
                  <a:pt x="7292" y="1134"/>
                </a:lnTo>
                <a:lnTo>
                  <a:pt x="7282" y="1134"/>
                </a:lnTo>
                <a:lnTo>
                  <a:pt x="7276" y="1130"/>
                </a:lnTo>
                <a:lnTo>
                  <a:pt x="7270" y="1128"/>
                </a:lnTo>
                <a:lnTo>
                  <a:pt x="7264" y="1128"/>
                </a:lnTo>
                <a:lnTo>
                  <a:pt x="7260" y="1126"/>
                </a:lnTo>
                <a:lnTo>
                  <a:pt x="7264" y="1124"/>
                </a:lnTo>
                <a:lnTo>
                  <a:pt x="7276" y="1124"/>
                </a:lnTo>
                <a:lnTo>
                  <a:pt x="7298" y="1128"/>
                </a:lnTo>
                <a:lnTo>
                  <a:pt x="7308" y="1130"/>
                </a:lnTo>
                <a:lnTo>
                  <a:pt x="7318" y="1130"/>
                </a:lnTo>
                <a:lnTo>
                  <a:pt x="7324" y="1128"/>
                </a:lnTo>
                <a:lnTo>
                  <a:pt x="7330" y="1124"/>
                </a:lnTo>
                <a:lnTo>
                  <a:pt x="7338" y="1118"/>
                </a:lnTo>
                <a:lnTo>
                  <a:pt x="7342" y="1116"/>
                </a:lnTo>
                <a:lnTo>
                  <a:pt x="7348" y="1116"/>
                </a:lnTo>
                <a:lnTo>
                  <a:pt x="7352" y="1116"/>
                </a:lnTo>
                <a:lnTo>
                  <a:pt x="7356" y="1116"/>
                </a:lnTo>
                <a:lnTo>
                  <a:pt x="7358" y="1114"/>
                </a:lnTo>
                <a:lnTo>
                  <a:pt x="7360" y="1110"/>
                </a:lnTo>
                <a:lnTo>
                  <a:pt x="7360" y="1108"/>
                </a:lnTo>
                <a:lnTo>
                  <a:pt x="7358" y="1106"/>
                </a:lnTo>
                <a:lnTo>
                  <a:pt x="7356" y="1104"/>
                </a:lnTo>
                <a:lnTo>
                  <a:pt x="7352" y="1104"/>
                </a:lnTo>
                <a:lnTo>
                  <a:pt x="7346" y="1102"/>
                </a:lnTo>
                <a:lnTo>
                  <a:pt x="7342" y="1100"/>
                </a:lnTo>
                <a:lnTo>
                  <a:pt x="7340" y="1096"/>
                </a:lnTo>
                <a:lnTo>
                  <a:pt x="7336" y="1094"/>
                </a:lnTo>
                <a:lnTo>
                  <a:pt x="7332" y="1094"/>
                </a:lnTo>
                <a:lnTo>
                  <a:pt x="7328" y="1092"/>
                </a:lnTo>
                <a:lnTo>
                  <a:pt x="7326" y="1088"/>
                </a:lnTo>
                <a:lnTo>
                  <a:pt x="7320" y="1084"/>
                </a:lnTo>
                <a:lnTo>
                  <a:pt x="7318" y="1084"/>
                </a:lnTo>
                <a:lnTo>
                  <a:pt x="7314" y="1084"/>
                </a:lnTo>
                <a:lnTo>
                  <a:pt x="7308" y="1086"/>
                </a:lnTo>
                <a:lnTo>
                  <a:pt x="7308" y="1084"/>
                </a:lnTo>
                <a:lnTo>
                  <a:pt x="7306" y="1082"/>
                </a:lnTo>
                <a:lnTo>
                  <a:pt x="7298" y="1084"/>
                </a:lnTo>
                <a:lnTo>
                  <a:pt x="7290" y="1084"/>
                </a:lnTo>
                <a:lnTo>
                  <a:pt x="7290" y="1082"/>
                </a:lnTo>
                <a:lnTo>
                  <a:pt x="7290" y="1080"/>
                </a:lnTo>
                <a:lnTo>
                  <a:pt x="7290" y="1078"/>
                </a:lnTo>
                <a:lnTo>
                  <a:pt x="7286" y="1074"/>
                </a:lnTo>
                <a:lnTo>
                  <a:pt x="7280" y="1072"/>
                </a:lnTo>
                <a:lnTo>
                  <a:pt x="7274" y="1072"/>
                </a:lnTo>
                <a:lnTo>
                  <a:pt x="7268" y="1072"/>
                </a:lnTo>
                <a:lnTo>
                  <a:pt x="7262" y="1074"/>
                </a:lnTo>
                <a:lnTo>
                  <a:pt x="7258" y="1078"/>
                </a:lnTo>
                <a:lnTo>
                  <a:pt x="7256" y="1082"/>
                </a:lnTo>
                <a:lnTo>
                  <a:pt x="7254" y="1088"/>
                </a:lnTo>
                <a:lnTo>
                  <a:pt x="7254" y="1098"/>
                </a:lnTo>
                <a:lnTo>
                  <a:pt x="7256" y="1104"/>
                </a:lnTo>
                <a:lnTo>
                  <a:pt x="7254" y="1102"/>
                </a:lnTo>
                <a:lnTo>
                  <a:pt x="7248" y="1100"/>
                </a:lnTo>
                <a:lnTo>
                  <a:pt x="7246" y="1100"/>
                </a:lnTo>
                <a:lnTo>
                  <a:pt x="7242" y="1100"/>
                </a:lnTo>
                <a:lnTo>
                  <a:pt x="7236" y="1102"/>
                </a:lnTo>
                <a:lnTo>
                  <a:pt x="7232" y="1100"/>
                </a:lnTo>
                <a:lnTo>
                  <a:pt x="7232" y="1098"/>
                </a:lnTo>
                <a:lnTo>
                  <a:pt x="7238" y="1094"/>
                </a:lnTo>
                <a:lnTo>
                  <a:pt x="7244" y="1090"/>
                </a:lnTo>
                <a:lnTo>
                  <a:pt x="7248" y="1086"/>
                </a:lnTo>
                <a:lnTo>
                  <a:pt x="7250" y="1084"/>
                </a:lnTo>
                <a:lnTo>
                  <a:pt x="7246" y="1082"/>
                </a:lnTo>
                <a:lnTo>
                  <a:pt x="7240" y="1084"/>
                </a:lnTo>
                <a:lnTo>
                  <a:pt x="7238" y="1082"/>
                </a:lnTo>
                <a:lnTo>
                  <a:pt x="7240" y="1078"/>
                </a:lnTo>
                <a:lnTo>
                  <a:pt x="7242" y="1076"/>
                </a:lnTo>
                <a:lnTo>
                  <a:pt x="7250" y="1074"/>
                </a:lnTo>
                <a:lnTo>
                  <a:pt x="7256" y="1070"/>
                </a:lnTo>
                <a:lnTo>
                  <a:pt x="7258" y="1068"/>
                </a:lnTo>
                <a:lnTo>
                  <a:pt x="7258" y="1066"/>
                </a:lnTo>
                <a:lnTo>
                  <a:pt x="7258" y="1064"/>
                </a:lnTo>
                <a:lnTo>
                  <a:pt x="7256" y="1062"/>
                </a:lnTo>
                <a:lnTo>
                  <a:pt x="7250" y="1064"/>
                </a:lnTo>
                <a:lnTo>
                  <a:pt x="7246" y="1064"/>
                </a:lnTo>
                <a:lnTo>
                  <a:pt x="7246" y="1062"/>
                </a:lnTo>
                <a:lnTo>
                  <a:pt x="7244" y="1060"/>
                </a:lnTo>
                <a:lnTo>
                  <a:pt x="7244" y="1058"/>
                </a:lnTo>
                <a:lnTo>
                  <a:pt x="7244" y="1056"/>
                </a:lnTo>
                <a:lnTo>
                  <a:pt x="7238" y="1058"/>
                </a:lnTo>
                <a:lnTo>
                  <a:pt x="7232" y="1058"/>
                </a:lnTo>
                <a:lnTo>
                  <a:pt x="7230" y="1058"/>
                </a:lnTo>
                <a:lnTo>
                  <a:pt x="7226" y="1056"/>
                </a:lnTo>
                <a:lnTo>
                  <a:pt x="7222" y="1054"/>
                </a:lnTo>
                <a:lnTo>
                  <a:pt x="7220" y="1054"/>
                </a:lnTo>
                <a:lnTo>
                  <a:pt x="7218" y="1058"/>
                </a:lnTo>
                <a:lnTo>
                  <a:pt x="7216" y="1062"/>
                </a:lnTo>
                <a:lnTo>
                  <a:pt x="7214" y="1062"/>
                </a:lnTo>
                <a:lnTo>
                  <a:pt x="7212" y="1062"/>
                </a:lnTo>
                <a:lnTo>
                  <a:pt x="7208" y="1060"/>
                </a:lnTo>
                <a:lnTo>
                  <a:pt x="7206" y="1060"/>
                </a:lnTo>
                <a:lnTo>
                  <a:pt x="7202" y="1064"/>
                </a:lnTo>
                <a:lnTo>
                  <a:pt x="7202" y="1066"/>
                </a:lnTo>
                <a:lnTo>
                  <a:pt x="7202" y="1068"/>
                </a:lnTo>
                <a:lnTo>
                  <a:pt x="7204" y="1070"/>
                </a:lnTo>
                <a:lnTo>
                  <a:pt x="7208" y="1070"/>
                </a:lnTo>
                <a:lnTo>
                  <a:pt x="7214" y="1072"/>
                </a:lnTo>
                <a:lnTo>
                  <a:pt x="7212" y="1074"/>
                </a:lnTo>
                <a:lnTo>
                  <a:pt x="7208" y="1076"/>
                </a:lnTo>
                <a:lnTo>
                  <a:pt x="7208" y="1080"/>
                </a:lnTo>
                <a:lnTo>
                  <a:pt x="7204" y="1082"/>
                </a:lnTo>
                <a:lnTo>
                  <a:pt x="7200" y="1082"/>
                </a:lnTo>
                <a:lnTo>
                  <a:pt x="7200" y="1086"/>
                </a:lnTo>
                <a:lnTo>
                  <a:pt x="7198" y="1088"/>
                </a:lnTo>
                <a:lnTo>
                  <a:pt x="7196" y="1090"/>
                </a:lnTo>
                <a:lnTo>
                  <a:pt x="7194" y="1092"/>
                </a:lnTo>
                <a:lnTo>
                  <a:pt x="7194" y="1096"/>
                </a:lnTo>
                <a:lnTo>
                  <a:pt x="7196" y="1100"/>
                </a:lnTo>
                <a:lnTo>
                  <a:pt x="7194" y="1102"/>
                </a:lnTo>
                <a:lnTo>
                  <a:pt x="7190" y="1102"/>
                </a:lnTo>
                <a:lnTo>
                  <a:pt x="7180" y="1106"/>
                </a:lnTo>
                <a:lnTo>
                  <a:pt x="7176" y="1108"/>
                </a:lnTo>
                <a:lnTo>
                  <a:pt x="7176" y="1102"/>
                </a:lnTo>
                <a:lnTo>
                  <a:pt x="7180" y="1094"/>
                </a:lnTo>
                <a:lnTo>
                  <a:pt x="7180" y="1088"/>
                </a:lnTo>
                <a:lnTo>
                  <a:pt x="7180" y="1084"/>
                </a:lnTo>
                <a:lnTo>
                  <a:pt x="7182" y="1078"/>
                </a:lnTo>
                <a:lnTo>
                  <a:pt x="7184" y="1070"/>
                </a:lnTo>
                <a:lnTo>
                  <a:pt x="7184" y="1068"/>
                </a:lnTo>
                <a:lnTo>
                  <a:pt x="7182" y="1066"/>
                </a:lnTo>
                <a:lnTo>
                  <a:pt x="7178" y="1066"/>
                </a:lnTo>
                <a:lnTo>
                  <a:pt x="7174" y="1070"/>
                </a:lnTo>
                <a:lnTo>
                  <a:pt x="7164" y="1078"/>
                </a:lnTo>
                <a:lnTo>
                  <a:pt x="7140" y="1102"/>
                </a:lnTo>
                <a:lnTo>
                  <a:pt x="7134" y="1108"/>
                </a:lnTo>
                <a:lnTo>
                  <a:pt x="7134" y="1112"/>
                </a:lnTo>
                <a:lnTo>
                  <a:pt x="7134" y="1116"/>
                </a:lnTo>
                <a:lnTo>
                  <a:pt x="7130" y="1122"/>
                </a:lnTo>
                <a:lnTo>
                  <a:pt x="7124" y="1126"/>
                </a:lnTo>
                <a:lnTo>
                  <a:pt x="7122" y="1128"/>
                </a:lnTo>
                <a:lnTo>
                  <a:pt x="7118" y="1126"/>
                </a:lnTo>
                <a:lnTo>
                  <a:pt x="7116" y="1128"/>
                </a:lnTo>
                <a:lnTo>
                  <a:pt x="7112" y="1130"/>
                </a:lnTo>
                <a:lnTo>
                  <a:pt x="7112" y="1128"/>
                </a:lnTo>
                <a:lnTo>
                  <a:pt x="7112" y="1126"/>
                </a:lnTo>
                <a:lnTo>
                  <a:pt x="7116" y="1120"/>
                </a:lnTo>
                <a:lnTo>
                  <a:pt x="7120" y="1114"/>
                </a:lnTo>
                <a:lnTo>
                  <a:pt x="7120" y="1112"/>
                </a:lnTo>
                <a:lnTo>
                  <a:pt x="7120" y="1110"/>
                </a:lnTo>
                <a:lnTo>
                  <a:pt x="7122" y="1106"/>
                </a:lnTo>
                <a:lnTo>
                  <a:pt x="7126" y="1102"/>
                </a:lnTo>
                <a:lnTo>
                  <a:pt x="7124" y="1100"/>
                </a:lnTo>
                <a:lnTo>
                  <a:pt x="7124" y="1098"/>
                </a:lnTo>
                <a:lnTo>
                  <a:pt x="7124" y="1096"/>
                </a:lnTo>
                <a:lnTo>
                  <a:pt x="7132" y="1088"/>
                </a:lnTo>
                <a:lnTo>
                  <a:pt x="7150" y="1072"/>
                </a:lnTo>
                <a:lnTo>
                  <a:pt x="7152" y="1072"/>
                </a:lnTo>
                <a:lnTo>
                  <a:pt x="7150" y="1070"/>
                </a:lnTo>
                <a:lnTo>
                  <a:pt x="7144" y="1070"/>
                </a:lnTo>
                <a:lnTo>
                  <a:pt x="7138" y="1070"/>
                </a:lnTo>
                <a:lnTo>
                  <a:pt x="7136" y="1068"/>
                </a:lnTo>
                <a:lnTo>
                  <a:pt x="7132" y="1064"/>
                </a:lnTo>
                <a:lnTo>
                  <a:pt x="7130" y="1064"/>
                </a:lnTo>
                <a:lnTo>
                  <a:pt x="7128" y="1070"/>
                </a:lnTo>
                <a:lnTo>
                  <a:pt x="7126" y="1076"/>
                </a:lnTo>
                <a:lnTo>
                  <a:pt x="7122" y="1070"/>
                </a:lnTo>
                <a:lnTo>
                  <a:pt x="7118" y="1066"/>
                </a:lnTo>
                <a:lnTo>
                  <a:pt x="7114" y="1066"/>
                </a:lnTo>
                <a:lnTo>
                  <a:pt x="7112" y="1066"/>
                </a:lnTo>
                <a:lnTo>
                  <a:pt x="7108" y="1066"/>
                </a:lnTo>
                <a:lnTo>
                  <a:pt x="7106" y="1066"/>
                </a:lnTo>
                <a:lnTo>
                  <a:pt x="7102" y="1064"/>
                </a:lnTo>
                <a:lnTo>
                  <a:pt x="7098" y="1064"/>
                </a:lnTo>
                <a:lnTo>
                  <a:pt x="7096" y="1066"/>
                </a:lnTo>
                <a:lnTo>
                  <a:pt x="7098" y="1068"/>
                </a:lnTo>
                <a:lnTo>
                  <a:pt x="7100" y="1072"/>
                </a:lnTo>
                <a:lnTo>
                  <a:pt x="7100" y="1076"/>
                </a:lnTo>
                <a:lnTo>
                  <a:pt x="7098" y="1076"/>
                </a:lnTo>
                <a:lnTo>
                  <a:pt x="7094" y="1074"/>
                </a:lnTo>
                <a:lnTo>
                  <a:pt x="7088" y="1072"/>
                </a:lnTo>
                <a:lnTo>
                  <a:pt x="7084" y="1074"/>
                </a:lnTo>
                <a:lnTo>
                  <a:pt x="7086" y="1078"/>
                </a:lnTo>
                <a:lnTo>
                  <a:pt x="7094" y="1082"/>
                </a:lnTo>
                <a:lnTo>
                  <a:pt x="7102" y="1086"/>
                </a:lnTo>
                <a:lnTo>
                  <a:pt x="7106" y="1088"/>
                </a:lnTo>
                <a:lnTo>
                  <a:pt x="7104" y="1088"/>
                </a:lnTo>
                <a:lnTo>
                  <a:pt x="7094" y="1086"/>
                </a:lnTo>
                <a:lnTo>
                  <a:pt x="7088" y="1084"/>
                </a:lnTo>
                <a:lnTo>
                  <a:pt x="7088" y="1086"/>
                </a:lnTo>
                <a:lnTo>
                  <a:pt x="7086" y="1088"/>
                </a:lnTo>
                <a:lnTo>
                  <a:pt x="7084" y="1090"/>
                </a:lnTo>
                <a:lnTo>
                  <a:pt x="7080" y="1094"/>
                </a:lnTo>
                <a:lnTo>
                  <a:pt x="7072" y="1100"/>
                </a:lnTo>
                <a:lnTo>
                  <a:pt x="7060" y="1106"/>
                </a:lnTo>
                <a:lnTo>
                  <a:pt x="7056" y="1110"/>
                </a:lnTo>
                <a:lnTo>
                  <a:pt x="7056" y="1112"/>
                </a:lnTo>
                <a:lnTo>
                  <a:pt x="7050" y="1116"/>
                </a:lnTo>
                <a:lnTo>
                  <a:pt x="7046" y="1118"/>
                </a:lnTo>
                <a:lnTo>
                  <a:pt x="7044" y="1120"/>
                </a:lnTo>
                <a:lnTo>
                  <a:pt x="7044" y="1122"/>
                </a:lnTo>
                <a:lnTo>
                  <a:pt x="7048" y="1124"/>
                </a:lnTo>
                <a:lnTo>
                  <a:pt x="7046" y="1126"/>
                </a:lnTo>
                <a:lnTo>
                  <a:pt x="7044" y="1126"/>
                </a:lnTo>
                <a:lnTo>
                  <a:pt x="7042" y="1128"/>
                </a:lnTo>
                <a:lnTo>
                  <a:pt x="7042" y="1130"/>
                </a:lnTo>
                <a:lnTo>
                  <a:pt x="7046" y="1132"/>
                </a:lnTo>
                <a:lnTo>
                  <a:pt x="7052" y="1134"/>
                </a:lnTo>
                <a:lnTo>
                  <a:pt x="7054" y="1136"/>
                </a:lnTo>
                <a:lnTo>
                  <a:pt x="7052" y="1136"/>
                </a:lnTo>
                <a:lnTo>
                  <a:pt x="7048" y="1136"/>
                </a:lnTo>
                <a:lnTo>
                  <a:pt x="7040" y="1136"/>
                </a:lnTo>
                <a:lnTo>
                  <a:pt x="7034" y="1132"/>
                </a:lnTo>
                <a:lnTo>
                  <a:pt x="7034" y="1130"/>
                </a:lnTo>
                <a:lnTo>
                  <a:pt x="7034" y="1128"/>
                </a:lnTo>
                <a:lnTo>
                  <a:pt x="7036" y="1124"/>
                </a:lnTo>
                <a:lnTo>
                  <a:pt x="7034" y="1122"/>
                </a:lnTo>
                <a:lnTo>
                  <a:pt x="7028" y="1118"/>
                </a:lnTo>
                <a:lnTo>
                  <a:pt x="7018" y="1116"/>
                </a:lnTo>
                <a:lnTo>
                  <a:pt x="7012" y="1116"/>
                </a:lnTo>
                <a:lnTo>
                  <a:pt x="7008" y="1116"/>
                </a:lnTo>
                <a:lnTo>
                  <a:pt x="7006" y="1114"/>
                </a:lnTo>
                <a:lnTo>
                  <a:pt x="7004" y="1114"/>
                </a:lnTo>
                <a:lnTo>
                  <a:pt x="7002" y="1114"/>
                </a:lnTo>
                <a:lnTo>
                  <a:pt x="6998" y="1114"/>
                </a:lnTo>
                <a:lnTo>
                  <a:pt x="6992" y="1112"/>
                </a:lnTo>
                <a:lnTo>
                  <a:pt x="6990" y="1112"/>
                </a:lnTo>
                <a:lnTo>
                  <a:pt x="6988" y="1120"/>
                </a:lnTo>
                <a:lnTo>
                  <a:pt x="6988" y="1124"/>
                </a:lnTo>
                <a:lnTo>
                  <a:pt x="6984" y="1120"/>
                </a:lnTo>
                <a:lnTo>
                  <a:pt x="6982" y="1116"/>
                </a:lnTo>
                <a:lnTo>
                  <a:pt x="6978" y="1114"/>
                </a:lnTo>
                <a:lnTo>
                  <a:pt x="6974" y="1114"/>
                </a:lnTo>
                <a:lnTo>
                  <a:pt x="6968" y="1114"/>
                </a:lnTo>
                <a:lnTo>
                  <a:pt x="6964" y="1118"/>
                </a:lnTo>
                <a:lnTo>
                  <a:pt x="6964" y="1120"/>
                </a:lnTo>
                <a:lnTo>
                  <a:pt x="6966" y="1122"/>
                </a:lnTo>
                <a:lnTo>
                  <a:pt x="6970" y="1124"/>
                </a:lnTo>
                <a:lnTo>
                  <a:pt x="6972" y="1124"/>
                </a:lnTo>
                <a:lnTo>
                  <a:pt x="6972" y="1126"/>
                </a:lnTo>
                <a:lnTo>
                  <a:pt x="6974" y="1128"/>
                </a:lnTo>
                <a:lnTo>
                  <a:pt x="6978" y="1128"/>
                </a:lnTo>
                <a:lnTo>
                  <a:pt x="6982" y="1128"/>
                </a:lnTo>
                <a:lnTo>
                  <a:pt x="6986" y="1132"/>
                </a:lnTo>
                <a:lnTo>
                  <a:pt x="6988" y="1134"/>
                </a:lnTo>
                <a:lnTo>
                  <a:pt x="6992" y="1134"/>
                </a:lnTo>
                <a:lnTo>
                  <a:pt x="6994" y="1134"/>
                </a:lnTo>
                <a:lnTo>
                  <a:pt x="6992" y="1138"/>
                </a:lnTo>
                <a:lnTo>
                  <a:pt x="6990" y="1140"/>
                </a:lnTo>
                <a:lnTo>
                  <a:pt x="6990" y="1142"/>
                </a:lnTo>
                <a:lnTo>
                  <a:pt x="6996" y="1150"/>
                </a:lnTo>
                <a:lnTo>
                  <a:pt x="6998" y="1154"/>
                </a:lnTo>
                <a:lnTo>
                  <a:pt x="6996" y="1152"/>
                </a:lnTo>
                <a:lnTo>
                  <a:pt x="6980" y="1140"/>
                </a:lnTo>
                <a:lnTo>
                  <a:pt x="6970" y="1134"/>
                </a:lnTo>
                <a:lnTo>
                  <a:pt x="6964" y="1134"/>
                </a:lnTo>
                <a:lnTo>
                  <a:pt x="6962" y="1136"/>
                </a:lnTo>
                <a:lnTo>
                  <a:pt x="6964" y="1138"/>
                </a:lnTo>
                <a:lnTo>
                  <a:pt x="6964" y="1140"/>
                </a:lnTo>
                <a:lnTo>
                  <a:pt x="6964" y="1142"/>
                </a:lnTo>
                <a:lnTo>
                  <a:pt x="6960" y="1144"/>
                </a:lnTo>
                <a:lnTo>
                  <a:pt x="6958" y="1144"/>
                </a:lnTo>
                <a:lnTo>
                  <a:pt x="6956" y="1142"/>
                </a:lnTo>
                <a:lnTo>
                  <a:pt x="6958" y="1140"/>
                </a:lnTo>
                <a:lnTo>
                  <a:pt x="6958" y="1138"/>
                </a:lnTo>
                <a:lnTo>
                  <a:pt x="6956" y="1138"/>
                </a:lnTo>
                <a:lnTo>
                  <a:pt x="6950" y="1142"/>
                </a:lnTo>
                <a:lnTo>
                  <a:pt x="6938" y="1152"/>
                </a:lnTo>
                <a:lnTo>
                  <a:pt x="6936" y="1152"/>
                </a:lnTo>
                <a:lnTo>
                  <a:pt x="6934" y="1154"/>
                </a:lnTo>
                <a:lnTo>
                  <a:pt x="6934" y="1162"/>
                </a:lnTo>
                <a:lnTo>
                  <a:pt x="6932" y="1168"/>
                </a:lnTo>
                <a:lnTo>
                  <a:pt x="6928" y="1172"/>
                </a:lnTo>
                <a:lnTo>
                  <a:pt x="6922" y="1180"/>
                </a:lnTo>
                <a:lnTo>
                  <a:pt x="6914" y="1186"/>
                </a:lnTo>
                <a:lnTo>
                  <a:pt x="6922" y="1172"/>
                </a:lnTo>
                <a:lnTo>
                  <a:pt x="6926" y="1160"/>
                </a:lnTo>
                <a:lnTo>
                  <a:pt x="6928" y="1150"/>
                </a:lnTo>
                <a:lnTo>
                  <a:pt x="6928" y="1140"/>
                </a:lnTo>
                <a:lnTo>
                  <a:pt x="6926" y="1136"/>
                </a:lnTo>
                <a:lnTo>
                  <a:pt x="6924" y="1138"/>
                </a:lnTo>
                <a:lnTo>
                  <a:pt x="6922" y="1142"/>
                </a:lnTo>
                <a:lnTo>
                  <a:pt x="6920" y="1142"/>
                </a:lnTo>
                <a:lnTo>
                  <a:pt x="6918" y="1140"/>
                </a:lnTo>
                <a:lnTo>
                  <a:pt x="6916" y="1140"/>
                </a:lnTo>
                <a:lnTo>
                  <a:pt x="6908" y="1150"/>
                </a:lnTo>
                <a:lnTo>
                  <a:pt x="6906" y="1156"/>
                </a:lnTo>
                <a:lnTo>
                  <a:pt x="6906" y="1160"/>
                </a:lnTo>
                <a:lnTo>
                  <a:pt x="6908" y="1160"/>
                </a:lnTo>
                <a:lnTo>
                  <a:pt x="6904" y="1164"/>
                </a:lnTo>
                <a:lnTo>
                  <a:pt x="6902" y="1166"/>
                </a:lnTo>
                <a:lnTo>
                  <a:pt x="6898" y="1166"/>
                </a:lnTo>
                <a:lnTo>
                  <a:pt x="6898" y="1162"/>
                </a:lnTo>
                <a:lnTo>
                  <a:pt x="6900" y="1158"/>
                </a:lnTo>
                <a:lnTo>
                  <a:pt x="6902" y="1152"/>
                </a:lnTo>
                <a:lnTo>
                  <a:pt x="6902" y="1150"/>
                </a:lnTo>
                <a:lnTo>
                  <a:pt x="6900" y="1148"/>
                </a:lnTo>
                <a:lnTo>
                  <a:pt x="6896" y="1148"/>
                </a:lnTo>
                <a:lnTo>
                  <a:pt x="6888" y="1150"/>
                </a:lnTo>
                <a:lnTo>
                  <a:pt x="6882" y="1152"/>
                </a:lnTo>
                <a:lnTo>
                  <a:pt x="6870" y="1160"/>
                </a:lnTo>
                <a:lnTo>
                  <a:pt x="6868" y="1162"/>
                </a:lnTo>
                <a:lnTo>
                  <a:pt x="6870" y="1164"/>
                </a:lnTo>
                <a:lnTo>
                  <a:pt x="6872" y="1166"/>
                </a:lnTo>
                <a:lnTo>
                  <a:pt x="6872" y="1168"/>
                </a:lnTo>
                <a:lnTo>
                  <a:pt x="6872" y="1170"/>
                </a:lnTo>
                <a:lnTo>
                  <a:pt x="6872" y="1174"/>
                </a:lnTo>
                <a:lnTo>
                  <a:pt x="6874" y="1174"/>
                </a:lnTo>
                <a:lnTo>
                  <a:pt x="6882" y="1178"/>
                </a:lnTo>
                <a:lnTo>
                  <a:pt x="6886" y="1178"/>
                </a:lnTo>
                <a:lnTo>
                  <a:pt x="6890" y="1182"/>
                </a:lnTo>
                <a:lnTo>
                  <a:pt x="6892" y="1186"/>
                </a:lnTo>
                <a:lnTo>
                  <a:pt x="6894" y="1192"/>
                </a:lnTo>
                <a:lnTo>
                  <a:pt x="6884" y="1188"/>
                </a:lnTo>
                <a:lnTo>
                  <a:pt x="6884" y="1186"/>
                </a:lnTo>
                <a:lnTo>
                  <a:pt x="6886" y="1184"/>
                </a:lnTo>
                <a:lnTo>
                  <a:pt x="6880" y="1182"/>
                </a:lnTo>
                <a:lnTo>
                  <a:pt x="6874" y="1180"/>
                </a:lnTo>
                <a:lnTo>
                  <a:pt x="6870" y="1178"/>
                </a:lnTo>
                <a:lnTo>
                  <a:pt x="6868" y="1172"/>
                </a:lnTo>
                <a:lnTo>
                  <a:pt x="6864" y="1168"/>
                </a:lnTo>
                <a:lnTo>
                  <a:pt x="6858" y="1168"/>
                </a:lnTo>
                <a:lnTo>
                  <a:pt x="6850" y="1172"/>
                </a:lnTo>
                <a:lnTo>
                  <a:pt x="6850" y="1174"/>
                </a:lnTo>
                <a:lnTo>
                  <a:pt x="6858" y="1180"/>
                </a:lnTo>
                <a:lnTo>
                  <a:pt x="6862" y="1184"/>
                </a:lnTo>
                <a:lnTo>
                  <a:pt x="6860" y="1186"/>
                </a:lnTo>
                <a:lnTo>
                  <a:pt x="6856" y="1184"/>
                </a:lnTo>
                <a:lnTo>
                  <a:pt x="6852" y="1180"/>
                </a:lnTo>
                <a:lnTo>
                  <a:pt x="6842" y="1172"/>
                </a:lnTo>
                <a:lnTo>
                  <a:pt x="6838" y="1172"/>
                </a:lnTo>
                <a:lnTo>
                  <a:pt x="6838" y="1174"/>
                </a:lnTo>
                <a:lnTo>
                  <a:pt x="6840" y="1178"/>
                </a:lnTo>
                <a:lnTo>
                  <a:pt x="6838" y="1180"/>
                </a:lnTo>
                <a:lnTo>
                  <a:pt x="6836" y="1182"/>
                </a:lnTo>
                <a:lnTo>
                  <a:pt x="6834" y="1184"/>
                </a:lnTo>
                <a:lnTo>
                  <a:pt x="6836" y="1190"/>
                </a:lnTo>
                <a:lnTo>
                  <a:pt x="6836" y="1194"/>
                </a:lnTo>
                <a:lnTo>
                  <a:pt x="6836" y="1196"/>
                </a:lnTo>
                <a:lnTo>
                  <a:pt x="6830" y="1198"/>
                </a:lnTo>
                <a:lnTo>
                  <a:pt x="6822" y="1200"/>
                </a:lnTo>
                <a:lnTo>
                  <a:pt x="6818" y="1202"/>
                </a:lnTo>
                <a:lnTo>
                  <a:pt x="6814" y="1206"/>
                </a:lnTo>
                <a:lnTo>
                  <a:pt x="6812" y="1210"/>
                </a:lnTo>
                <a:lnTo>
                  <a:pt x="6814" y="1212"/>
                </a:lnTo>
                <a:lnTo>
                  <a:pt x="6818" y="1214"/>
                </a:lnTo>
                <a:lnTo>
                  <a:pt x="6822" y="1214"/>
                </a:lnTo>
                <a:lnTo>
                  <a:pt x="6816" y="1216"/>
                </a:lnTo>
                <a:lnTo>
                  <a:pt x="6808" y="1220"/>
                </a:lnTo>
                <a:lnTo>
                  <a:pt x="6804" y="1222"/>
                </a:lnTo>
                <a:lnTo>
                  <a:pt x="6802" y="1226"/>
                </a:lnTo>
                <a:lnTo>
                  <a:pt x="6798" y="1228"/>
                </a:lnTo>
                <a:lnTo>
                  <a:pt x="6792" y="1230"/>
                </a:lnTo>
                <a:lnTo>
                  <a:pt x="6786" y="1230"/>
                </a:lnTo>
                <a:lnTo>
                  <a:pt x="6780" y="1232"/>
                </a:lnTo>
                <a:lnTo>
                  <a:pt x="6774" y="1240"/>
                </a:lnTo>
                <a:lnTo>
                  <a:pt x="6772" y="1244"/>
                </a:lnTo>
                <a:lnTo>
                  <a:pt x="6772" y="1246"/>
                </a:lnTo>
                <a:lnTo>
                  <a:pt x="6776" y="1248"/>
                </a:lnTo>
                <a:lnTo>
                  <a:pt x="6780" y="1246"/>
                </a:lnTo>
                <a:lnTo>
                  <a:pt x="6790" y="1244"/>
                </a:lnTo>
                <a:lnTo>
                  <a:pt x="6792" y="1244"/>
                </a:lnTo>
                <a:lnTo>
                  <a:pt x="6794" y="1244"/>
                </a:lnTo>
                <a:lnTo>
                  <a:pt x="6794" y="1246"/>
                </a:lnTo>
                <a:lnTo>
                  <a:pt x="6796" y="1248"/>
                </a:lnTo>
                <a:lnTo>
                  <a:pt x="6808" y="1242"/>
                </a:lnTo>
                <a:lnTo>
                  <a:pt x="6812" y="1240"/>
                </a:lnTo>
                <a:lnTo>
                  <a:pt x="6814" y="1240"/>
                </a:lnTo>
                <a:lnTo>
                  <a:pt x="6812" y="1244"/>
                </a:lnTo>
                <a:lnTo>
                  <a:pt x="6804" y="1250"/>
                </a:lnTo>
                <a:lnTo>
                  <a:pt x="6794" y="1254"/>
                </a:lnTo>
                <a:lnTo>
                  <a:pt x="6786" y="1254"/>
                </a:lnTo>
                <a:lnTo>
                  <a:pt x="6784" y="1252"/>
                </a:lnTo>
                <a:lnTo>
                  <a:pt x="6780" y="1252"/>
                </a:lnTo>
                <a:lnTo>
                  <a:pt x="6772" y="1250"/>
                </a:lnTo>
                <a:lnTo>
                  <a:pt x="6764" y="1252"/>
                </a:lnTo>
                <a:lnTo>
                  <a:pt x="6756" y="1254"/>
                </a:lnTo>
                <a:lnTo>
                  <a:pt x="6754" y="1258"/>
                </a:lnTo>
                <a:lnTo>
                  <a:pt x="6758" y="1260"/>
                </a:lnTo>
                <a:lnTo>
                  <a:pt x="6760" y="1262"/>
                </a:lnTo>
                <a:lnTo>
                  <a:pt x="6760" y="1264"/>
                </a:lnTo>
                <a:lnTo>
                  <a:pt x="6764" y="1264"/>
                </a:lnTo>
                <a:lnTo>
                  <a:pt x="6770" y="1266"/>
                </a:lnTo>
                <a:lnTo>
                  <a:pt x="6768" y="1270"/>
                </a:lnTo>
                <a:lnTo>
                  <a:pt x="6764" y="1274"/>
                </a:lnTo>
                <a:lnTo>
                  <a:pt x="6762" y="1278"/>
                </a:lnTo>
                <a:lnTo>
                  <a:pt x="6762" y="1282"/>
                </a:lnTo>
                <a:lnTo>
                  <a:pt x="6760" y="1286"/>
                </a:lnTo>
                <a:lnTo>
                  <a:pt x="6758" y="1284"/>
                </a:lnTo>
                <a:lnTo>
                  <a:pt x="6756" y="1278"/>
                </a:lnTo>
                <a:lnTo>
                  <a:pt x="6754" y="1272"/>
                </a:lnTo>
                <a:lnTo>
                  <a:pt x="6754" y="1266"/>
                </a:lnTo>
                <a:lnTo>
                  <a:pt x="6754" y="1262"/>
                </a:lnTo>
                <a:lnTo>
                  <a:pt x="6750" y="1262"/>
                </a:lnTo>
                <a:lnTo>
                  <a:pt x="6748" y="1266"/>
                </a:lnTo>
                <a:lnTo>
                  <a:pt x="6744" y="1270"/>
                </a:lnTo>
                <a:lnTo>
                  <a:pt x="6742" y="1272"/>
                </a:lnTo>
                <a:lnTo>
                  <a:pt x="6742" y="1270"/>
                </a:lnTo>
                <a:lnTo>
                  <a:pt x="6740" y="1268"/>
                </a:lnTo>
                <a:lnTo>
                  <a:pt x="6736" y="1268"/>
                </a:lnTo>
                <a:lnTo>
                  <a:pt x="6730" y="1270"/>
                </a:lnTo>
                <a:lnTo>
                  <a:pt x="6726" y="1272"/>
                </a:lnTo>
                <a:lnTo>
                  <a:pt x="6724" y="1274"/>
                </a:lnTo>
                <a:lnTo>
                  <a:pt x="6724" y="1276"/>
                </a:lnTo>
                <a:lnTo>
                  <a:pt x="6726" y="1278"/>
                </a:lnTo>
                <a:lnTo>
                  <a:pt x="6728" y="1276"/>
                </a:lnTo>
                <a:lnTo>
                  <a:pt x="6732" y="1276"/>
                </a:lnTo>
                <a:lnTo>
                  <a:pt x="6740" y="1276"/>
                </a:lnTo>
                <a:lnTo>
                  <a:pt x="6746" y="1278"/>
                </a:lnTo>
                <a:lnTo>
                  <a:pt x="6750" y="1280"/>
                </a:lnTo>
                <a:lnTo>
                  <a:pt x="6748" y="1282"/>
                </a:lnTo>
                <a:lnTo>
                  <a:pt x="6744" y="1282"/>
                </a:lnTo>
                <a:lnTo>
                  <a:pt x="6734" y="1284"/>
                </a:lnTo>
                <a:lnTo>
                  <a:pt x="6716" y="1286"/>
                </a:lnTo>
                <a:lnTo>
                  <a:pt x="6704" y="1290"/>
                </a:lnTo>
                <a:lnTo>
                  <a:pt x="6702" y="1294"/>
                </a:lnTo>
                <a:lnTo>
                  <a:pt x="6704" y="1296"/>
                </a:lnTo>
                <a:lnTo>
                  <a:pt x="6706" y="1296"/>
                </a:lnTo>
                <a:lnTo>
                  <a:pt x="6706" y="1298"/>
                </a:lnTo>
                <a:lnTo>
                  <a:pt x="6702" y="1300"/>
                </a:lnTo>
                <a:lnTo>
                  <a:pt x="6700" y="1302"/>
                </a:lnTo>
                <a:lnTo>
                  <a:pt x="6704" y="1304"/>
                </a:lnTo>
                <a:lnTo>
                  <a:pt x="6710" y="1304"/>
                </a:lnTo>
                <a:lnTo>
                  <a:pt x="6714" y="1304"/>
                </a:lnTo>
                <a:lnTo>
                  <a:pt x="6720" y="1298"/>
                </a:lnTo>
                <a:lnTo>
                  <a:pt x="6726" y="1294"/>
                </a:lnTo>
                <a:lnTo>
                  <a:pt x="6732" y="1294"/>
                </a:lnTo>
                <a:lnTo>
                  <a:pt x="6736" y="1294"/>
                </a:lnTo>
                <a:lnTo>
                  <a:pt x="6744" y="1296"/>
                </a:lnTo>
                <a:lnTo>
                  <a:pt x="6742" y="1298"/>
                </a:lnTo>
                <a:lnTo>
                  <a:pt x="6734" y="1298"/>
                </a:lnTo>
                <a:lnTo>
                  <a:pt x="6724" y="1300"/>
                </a:lnTo>
                <a:lnTo>
                  <a:pt x="6718" y="1304"/>
                </a:lnTo>
                <a:lnTo>
                  <a:pt x="6720" y="1306"/>
                </a:lnTo>
                <a:lnTo>
                  <a:pt x="6718" y="1308"/>
                </a:lnTo>
                <a:lnTo>
                  <a:pt x="6710" y="1310"/>
                </a:lnTo>
                <a:lnTo>
                  <a:pt x="6700" y="1312"/>
                </a:lnTo>
                <a:lnTo>
                  <a:pt x="6700" y="1314"/>
                </a:lnTo>
                <a:lnTo>
                  <a:pt x="6700" y="1316"/>
                </a:lnTo>
                <a:lnTo>
                  <a:pt x="6706" y="1318"/>
                </a:lnTo>
                <a:lnTo>
                  <a:pt x="6706" y="1320"/>
                </a:lnTo>
                <a:lnTo>
                  <a:pt x="6706" y="1322"/>
                </a:lnTo>
                <a:lnTo>
                  <a:pt x="6704" y="1322"/>
                </a:lnTo>
                <a:lnTo>
                  <a:pt x="6702" y="1320"/>
                </a:lnTo>
                <a:lnTo>
                  <a:pt x="6698" y="1320"/>
                </a:lnTo>
                <a:lnTo>
                  <a:pt x="6694" y="1322"/>
                </a:lnTo>
                <a:lnTo>
                  <a:pt x="6688" y="1328"/>
                </a:lnTo>
                <a:lnTo>
                  <a:pt x="6688" y="1330"/>
                </a:lnTo>
                <a:lnTo>
                  <a:pt x="6692" y="1332"/>
                </a:lnTo>
                <a:lnTo>
                  <a:pt x="6696" y="1332"/>
                </a:lnTo>
                <a:lnTo>
                  <a:pt x="6700" y="1330"/>
                </a:lnTo>
                <a:lnTo>
                  <a:pt x="6708" y="1330"/>
                </a:lnTo>
                <a:lnTo>
                  <a:pt x="6720" y="1330"/>
                </a:lnTo>
                <a:lnTo>
                  <a:pt x="6736" y="1332"/>
                </a:lnTo>
                <a:lnTo>
                  <a:pt x="6732" y="1334"/>
                </a:lnTo>
                <a:lnTo>
                  <a:pt x="6730" y="1336"/>
                </a:lnTo>
                <a:lnTo>
                  <a:pt x="6730" y="1338"/>
                </a:lnTo>
                <a:lnTo>
                  <a:pt x="6732" y="1342"/>
                </a:lnTo>
                <a:lnTo>
                  <a:pt x="6728" y="1340"/>
                </a:lnTo>
                <a:lnTo>
                  <a:pt x="6722" y="1336"/>
                </a:lnTo>
                <a:lnTo>
                  <a:pt x="6718" y="1334"/>
                </a:lnTo>
                <a:lnTo>
                  <a:pt x="6712" y="1332"/>
                </a:lnTo>
                <a:lnTo>
                  <a:pt x="6704" y="1334"/>
                </a:lnTo>
                <a:lnTo>
                  <a:pt x="6698" y="1334"/>
                </a:lnTo>
                <a:lnTo>
                  <a:pt x="6692" y="1336"/>
                </a:lnTo>
                <a:lnTo>
                  <a:pt x="6686" y="1338"/>
                </a:lnTo>
                <a:lnTo>
                  <a:pt x="6682" y="1338"/>
                </a:lnTo>
                <a:lnTo>
                  <a:pt x="6680" y="1338"/>
                </a:lnTo>
                <a:lnTo>
                  <a:pt x="6678" y="1340"/>
                </a:lnTo>
                <a:lnTo>
                  <a:pt x="6674" y="1340"/>
                </a:lnTo>
                <a:lnTo>
                  <a:pt x="6672" y="1340"/>
                </a:lnTo>
                <a:lnTo>
                  <a:pt x="6672" y="1342"/>
                </a:lnTo>
                <a:lnTo>
                  <a:pt x="6672" y="1346"/>
                </a:lnTo>
                <a:lnTo>
                  <a:pt x="6672" y="1348"/>
                </a:lnTo>
                <a:lnTo>
                  <a:pt x="6670" y="1350"/>
                </a:lnTo>
                <a:lnTo>
                  <a:pt x="6666" y="1350"/>
                </a:lnTo>
                <a:lnTo>
                  <a:pt x="6660" y="1352"/>
                </a:lnTo>
                <a:lnTo>
                  <a:pt x="6652" y="1352"/>
                </a:lnTo>
                <a:lnTo>
                  <a:pt x="6654" y="1356"/>
                </a:lnTo>
                <a:lnTo>
                  <a:pt x="6658" y="1360"/>
                </a:lnTo>
                <a:lnTo>
                  <a:pt x="6658" y="1362"/>
                </a:lnTo>
                <a:lnTo>
                  <a:pt x="6656" y="1364"/>
                </a:lnTo>
                <a:lnTo>
                  <a:pt x="6652" y="1366"/>
                </a:lnTo>
                <a:lnTo>
                  <a:pt x="6648" y="1366"/>
                </a:lnTo>
                <a:lnTo>
                  <a:pt x="6646" y="1366"/>
                </a:lnTo>
                <a:lnTo>
                  <a:pt x="6642" y="1370"/>
                </a:lnTo>
                <a:lnTo>
                  <a:pt x="6638" y="1374"/>
                </a:lnTo>
                <a:lnTo>
                  <a:pt x="6640" y="1374"/>
                </a:lnTo>
                <a:lnTo>
                  <a:pt x="6644" y="1376"/>
                </a:lnTo>
                <a:lnTo>
                  <a:pt x="6642" y="1378"/>
                </a:lnTo>
                <a:lnTo>
                  <a:pt x="6640" y="1380"/>
                </a:lnTo>
                <a:lnTo>
                  <a:pt x="6640" y="1382"/>
                </a:lnTo>
                <a:lnTo>
                  <a:pt x="6638" y="1382"/>
                </a:lnTo>
                <a:lnTo>
                  <a:pt x="6634" y="1382"/>
                </a:lnTo>
                <a:lnTo>
                  <a:pt x="6632" y="1382"/>
                </a:lnTo>
                <a:lnTo>
                  <a:pt x="6630" y="1382"/>
                </a:lnTo>
                <a:lnTo>
                  <a:pt x="6632" y="1386"/>
                </a:lnTo>
                <a:lnTo>
                  <a:pt x="6634" y="1388"/>
                </a:lnTo>
                <a:lnTo>
                  <a:pt x="6634" y="1390"/>
                </a:lnTo>
                <a:lnTo>
                  <a:pt x="6632" y="1394"/>
                </a:lnTo>
                <a:lnTo>
                  <a:pt x="6632" y="1396"/>
                </a:lnTo>
                <a:lnTo>
                  <a:pt x="6638" y="1398"/>
                </a:lnTo>
                <a:lnTo>
                  <a:pt x="6642" y="1398"/>
                </a:lnTo>
                <a:lnTo>
                  <a:pt x="6638" y="1400"/>
                </a:lnTo>
                <a:lnTo>
                  <a:pt x="6632" y="1402"/>
                </a:lnTo>
                <a:lnTo>
                  <a:pt x="6632" y="1404"/>
                </a:lnTo>
                <a:lnTo>
                  <a:pt x="6638" y="1404"/>
                </a:lnTo>
                <a:lnTo>
                  <a:pt x="6648" y="1402"/>
                </a:lnTo>
                <a:lnTo>
                  <a:pt x="6674" y="1396"/>
                </a:lnTo>
                <a:lnTo>
                  <a:pt x="6678" y="1396"/>
                </a:lnTo>
                <a:lnTo>
                  <a:pt x="6676" y="1398"/>
                </a:lnTo>
                <a:lnTo>
                  <a:pt x="6666" y="1402"/>
                </a:lnTo>
                <a:lnTo>
                  <a:pt x="6656" y="1404"/>
                </a:lnTo>
                <a:lnTo>
                  <a:pt x="6638" y="1408"/>
                </a:lnTo>
                <a:lnTo>
                  <a:pt x="6630" y="1408"/>
                </a:lnTo>
                <a:lnTo>
                  <a:pt x="6622" y="1412"/>
                </a:lnTo>
                <a:lnTo>
                  <a:pt x="6616" y="1414"/>
                </a:lnTo>
                <a:lnTo>
                  <a:pt x="6620" y="1414"/>
                </a:lnTo>
                <a:lnTo>
                  <a:pt x="6626" y="1414"/>
                </a:lnTo>
                <a:lnTo>
                  <a:pt x="6630" y="1416"/>
                </a:lnTo>
                <a:lnTo>
                  <a:pt x="6630" y="1418"/>
                </a:lnTo>
                <a:lnTo>
                  <a:pt x="6628" y="1422"/>
                </a:lnTo>
                <a:lnTo>
                  <a:pt x="6624" y="1422"/>
                </a:lnTo>
                <a:lnTo>
                  <a:pt x="6620" y="1426"/>
                </a:lnTo>
                <a:lnTo>
                  <a:pt x="6616" y="1432"/>
                </a:lnTo>
                <a:lnTo>
                  <a:pt x="6614" y="1436"/>
                </a:lnTo>
                <a:lnTo>
                  <a:pt x="6612" y="1438"/>
                </a:lnTo>
                <a:lnTo>
                  <a:pt x="6608" y="1438"/>
                </a:lnTo>
                <a:lnTo>
                  <a:pt x="6604" y="1440"/>
                </a:lnTo>
                <a:lnTo>
                  <a:pt x="6604" y="1444"/>
                </a:lnTo>
                <a:lnTo>
                  <a:pt x="6606" y="1450"/>
                </a:lnTo>
                <a:lnTo>
                  <a:pt x="6608" y="1450"/>
                </a:lnTo>
                <a:lnTo>
                  <a:pt x="6612" y="1450"/>
                </a:lnTo>
                <a:lnTo>
                  <a:pt x="6612" y="1454"/>
                </a:lnTo>
                <a:lnTo>
                  <a:pt x="6612" y="1458"/>
                </a:lnTo>
                <a:lnTo>
                  <a:pt x="6612" y="1460"/>
                </a:lnTo>
                <a:lnTo>
                  <a:pt x="6608" y="1464"/>
                </a:lnTo>
                <a:lnTo>
                  <a:pt x="6604" y="1468"/>
                </a:lnTo>
                <a:lnTo>
                  <a:pt x="6602" y="1468"/>
                </a:lnTo>
                <a:lnTo>
                  <a:pt x="6604" y="1470"/>
                </a:lnTo>
                <a:lnTo>
                  <a:pt x="6606" y="1474"/>
                </a:lnTo>
                <a:lnTo>
                  <a:pt x="6606" y="1478"/>
                </a:lnTo>
                <a:lnTo>
                  <a:pt x="6602" y="1482"/>
                </a:lnTo>
                <a:lnTo>
                  <a:pt x="6596" y="1484"/>
                </a:lnTo>
                <a:lnTo>
                  <a:pt x="6588" y="1484"/>
                </a:lnTo>
                <a:lnTo>
                  <a:pt x="6586" y="1486"/>
                </a:lnTo>
                <a:lnTo>
                  <a:pt x="6582" y="1488"/>
                </a:lnTo>
                <a:lnTo>
                  <a:pt x="6576" y="1490"/>
                </a:lnTo>
                <a:lnTo>
                  <a:pt x="6572" y="1490"/>
                </a:lnTo>
                <a:lnTo>
                  <a:pt x="6568" y="1492"/>
                </a:lnTo>
                <a:lnTo>
                  <a:pt x="6564" y="1494"/>
                </a:lnTo>
                <a:lnTo>
                  <a:pt x="6562" y="1494"/>
                </a:lnTo>
                <a:lnTo>
                  <a:pt x="6552" y="1492"/>
                </a:lnTo>
                <a:lnTo>
                  <a:pt x="6546" y="1494"/>
                </a:lnTo>
                <a:lnTo>
                  <a:pt x="6544" y="1496"/>
                </a:lnTo>
                <a:lnTo>
                  <a:pt x="6544" y="1498"/>
                </a:lnTo>
                <a:lnTo>
                  <a:pt x="6548" y="1498"/>
                </a:lnTo>
                <a:lnTo>
                  <a:pt x="6552" y="1498"/>
                </a:lnTo>
                <a:lnTo>
                  <a:pt x="6560" y="1498"/>
                </a:lnTo>
                <a:lnTo>
                  <a:pt x="6562" y="1500"/>
                </a:lnTo>
                <a:lnTo>
                  <a:pt x="6564" y="1500"/>
                </a:lnTo>
                <a:lnTo>
                  <a:pt x="6564" y="1504"/>
                </a:lnTo>
                <a:lnTo>
                  <a:pt x="6562" y="1506"/>
                </a:lnTo>
                <a:lnTo>
                  <a:pt x="6564" y="1506"/>
                </a:lnTo>
                <a:lnTo>
                  <a:pt x="6570" y="1502"/>
                </a:lnTo>
                <a:lnTo>
                  <a:pt x="6576" y="1500"/>
                </a:lnTo>
                <a:lnTo>
                  <a:pt x="6578" y="1500"/>
                </a:lnTo>
                <a:lnTo>
                  <a:pt x="6576" y="1504"/>
                </a:lnTo>
                <a:lnTo>
                  <a:pt x="6570" y="1506"/>
                </a:lnTo>
                <a:lnTo>
                  <a:pt x="6568" y="1508"/>
                </a:lnTo>
                <a:lnTo>
                  <a:pt x="6570" y="1512"/>
                </a:lnTo>
                <a:lnTo>
                  <a:pt x="6574" y="1514"/>
                </a:lnTo>
                <a:lnTo>
                  <a:pt x="6574" y="1516"/>
                </a:lnTo>
                <a:lnTo>
                  <a:pt x="6570" y="1520"/>
                </a:lnTo>
                <a:lnTo>
                  <a:pt x="6570" y="1524"/>
                </a:lnTo>
                <a:lnTo>
                  <a:pt x="6568" y="1524"/>
                </a:lnTo>
                <a:lnTo>
                  <a:pt x="6562" y="1526"/>
                </a:lnTo>
                <a:lnTo>
                  <a:pt x="6560" y="1526"/>
                </a:lnTo>
                <a:lnTo>
                  <a:pt x="6558" y="1524"/>
                </a:lnTo>
                <a:lnTo>
                  <a:pt x="6554" y="1520"/>
                </a:lnTo>
                <a:lnTo>
                  <a:pt x="6552" y="1516"/>
                </a:lnTo>
                <a:lnTo>
                  <a:pt x="6552" y="1514"/>
                </a:lnTo>
                <a:lnTo>
                  <a:pt x="6548" y="1514"/>
                </a:lnTo>
                <a:lnTo>
                  <a:pt x="6546" y="1516"/>
                </a:lnTo>
                <a:lnTo>
                  <a:pt x="6546" y="1518"/>
                </a:lnTo>
                <a:lnTo>
                  <a:pt x="6546" y="1520"/>
                </a:lnTo>
                <a:lnTo>
                  <a:pt x="6544" y="1520"/>
                </a:lnTo>
                <a:lnTo>
                  <a:pt x="6536" y="1522"/>
                </a:lnTo>
                <a:lnTo>
                  <a:pt x="6532" y="1524"/>
                </a:lnTo>
                <a:lnTo>
                  <a:pt x="6530" y="1528"/>
                </a:lnTo>
                <a:lnTo>
                  <a:pt x="6530" y="1530"/>
                </a:lnTo>
                <a:lnTo>
                  <a:pt x="6530" y="1534"/>
                </a:lnTo>
                <a:lnTo>
                  <a:pt x="6528" y="1536"/>
                </a:lnTo>
                <a:lnTo>
                  <a:pt x="6524" y="1538"/>
                </a:lnTo>
                <a:lnTo>
                  <a:pt x="6520" y="1538"/>
                </a:lnTo>
                <a:lnTo>
                  <a:pt x="6516" y="1540"/>
                </a:lnTo>
                <a:lnTo>
                  <a:pt x="6514" y="1544"/>
                </a:lnTo>
                <a:lnTo>
                  <a:pt x="6512" y="1552"/>
                </a:lnTo>
                <a:lnTo>
                  <a:pt x="6510" y="1556"/>
                </a:lnTo>
                <a:lnTo>
                  <a:pt x="6502" y="1562"/>
                </a:lnTo>
                <a:lnTo>
                  <a:pt x="6496" y="1566"/>
                </a:lnTo>
                <a:lnTo>
                  <a:pt x="6494" y="1570"/>
                </a:lnTo>
                <a:lnTo>
                  <a:pt x="6492" y="1572"/>
                </a:lnTo>
                <a:lnTo>
                  <a:pt x="6490" y="1576"/>
                </a:lnTo>
                <a:lnTo>
                  <a:pt x="6492" y="1578"/>
                </a:lnTo>
                <a:lnTo>
                  <a:pt x="6496" y="1576"/>
                </a:lnTo>
                <a:lnTo>
                  <a:pt x="6500" y="1574"/>
                </a:lnTo>
                <a:lnTo>
                  <a:pt x="6502" y="1574"/>
                </a:lnTo>
                <a:lnTo>
                  <a:pt x="6502" y="1576"/>
                </a:lnTo>
                <a:lnTo>
                  <a:pt x="6502" y="1578"/>
                </a:lnTo>
                <a:lnTo>
                  <a:pt x="6504" y="1580"/>
                </a:lnTo>
                <a:lnTo>
                  <a:pt x="6506" y="1582"/>
                </a:lnTo>
                <a:lnTo>
                  <a:pt x="6506" y="1584"/>
                </a:lnTo>
                <a:lnTo>
                  <a:pt x="6508" y="1586"/>
                </a:lnTo>
                <a:lnTo>
                  <a:pt x="6510" y="1588"/>
                </a:lnTo>
                <a:lnTo>
                  <a:pt x="6520" y="1586"/>
                </a:lnTo>
                <a:lnTo>
                  <a:pt x="6532" y="1582"/>
                </a:lnTo>
                <a:lnTo>
                  <a:pt x="6546" y="1572"/>
                </a:lnTo>
                <a:lnTo>
                  <a:pt x="6552" y="1566"/>
                </a:lnTo>
                <a:lnTo>
                  <a:pt x="6554" y="1564"/>
                </a:lnTo>
                <a:lnTo>
                  <a:pt x="6552" y="1562"/>
                </a:lnTo>
                <a:lnTo>
                  <a:pt x="6548" y="1562"/>
                </a:lnTo>
                <a:lnTo>
                  <a:pt x="6544" y="1562"/>
                </a:lnTo>
                <a:lnTo>
                  <a:pt x="6542" y="1562"/>
                </a:lnTo>
                <a:lnTo>
                  <a:pt x="6546" y="1560"/>
                </a:lnTo>
                <a:lnTo>
                  <a:pt x="6554" y="1554"/>
                </a:lnTo>
                <a:lnTo>
                  <a:pt x="6558" y="1552"/>
                </a:lnTo>
                <a:lnTo>
                  <a:pt x="6560" y="1552"/>
                </a:lnTo>
                <a:lnTo>
                  <a:pt x="6566" y="1552"/>
                </a:lnTo>
                <a:lnTo>
                  <a:pt x="6568" y="1554"/>
                </a:lnTo>
                <a:lnTo>
                  <a:pt x="6562" y="1558"/>
                </a:lnTo>
                <a:lnTo>
                  <a:pt x="6558" y="1560"/>
                </a:lnTo>
                <a:lnTo>
                  <a:pt x="6556" y="1562"/>
                </a:lnTo>
                <a:lnTo>
                  <a:pt x="6558" y="1564"/>
                </a:lnTo>
                <a:lnTo>
                  <a:pt x="6564" y="1566"/>
                </a:lnTo>
                <a:lnTo>
                  <a:pt x="6568" y="1568"/>
                </a:lnTo>
                <a:lnTo>
                  <a:pt x="6564" y="1570"/>
                </a:lnTo>
                <a:lnTo>
                  <a:pt x="6544" y="1580"/>
                </a:lnTo>
                <a:lnTo>
                  <a:pt x="6538" y="1584"/>
                </a:lnTo>
                <a:lnTo>
                  <a:pt x="6540" y="1584"/>
                </a:lnTo>
                <a:lnTo>
                  <a:pt x="6542" y="1584"/>
                </a:lnTo>
                <a:lnTo>
                  <a:pt x="6542" y="1586"/>
                </a:lnTo>
                <a:lnTo>
                  <a:pt x="6540" y="1588"/>
                </a:lnTo>
                <a:lnTo>
                  <a:pt x="6544" y="1590"/>
                </a:lnTo>
                <a:lnTo>
                  <a:pt x="6546" y="1592"/>
                </a:lnTo>
                <a:lnTo>
                  <a:pt x="6544" y="1594"/>
                </a:lnTo>
                <a:lnTo>
                  <a:pt x="6538" y="1594"/>
                </a:lnTo>
                <a:lnTo>
                  <a:pt x="6528" y="1592"/>
                </a:lnTo>
                <a:lnTo>
                  <a:pt x="6520" y="1592"/>
                </a:lnTo>
                <a:lnTo>
                  <a:pt x="6514" y="1594"/>
                </a:lnTo>
                <a:lnTo>
                  <a:pt x="6510" y="1596"/>
                </a:lnTo>
                <a:lnTo>
                  <a:pt x="6506" y="1600"/>
                </a:lnTo>
                <a:lnTo>
                  <a:pt x="6506" y="1598"/>
                </a:lnTo>
                <a:lnTo>
                  <a:pt x="6506" y="1594"/>
                </a:lnTo>
                <a:lnTo>
                  <a:pt x="6502" y="1586"/>
                </a:lnTo>
                <a:lnTo>
                  <a:pt x="6498" y="1580"/>
                </a:lnTo>
                <a:lnTo>
                  <a:pt x="6494" y="1580"/>
                </a:lnTo>
                <a:lnTo>
                  <a:pt x="6490" y="1582"/>
                </a:lnTo>
                <a:lnTo>
                  <a:pt x="6484" y="1584"/>
                </a:lnTo>
                <a:lnTo>
                  <a:pt x="6480" y="1586"/>
                </a:lnTo>
                <a:lnTo>
                  <a:pt x="6478" y="1586"/>
                </a:lnTo>
                <a:lnTo>
                  <a:pt x="6476" y="1590"/>
                </a:lnTo>
                <a:lnTo>
                  <a:pt x="6476" y="1594"/>
                </a:lnTo>
                <a:lnTo>
                  <a:pt x="6474" y="1592"/>
                </a:lnTo>
                <a:lnTo>
                  <a:pt x="6468" y="1590"/>
                </a:lnTo>
                <a:lnTo>
                  <a:pt x="6462" y="1592"/>
                </a:lnTo>
                <a:lnTo>
                  <a:pt x="6446" y="1598"/>
                </a:lnTo>
                <a:lnTo>
                  <a:pt x="6444" y="1600"/>
                </a:lnTo>
                <a:lnTo>
                  <a:pt x="6444" y="1602"/>
                </a:lnTo>
                <a:lnTo>
                  <a:pt x="6450" y="1606"/>
                </a:lnTo>
                <a:lnTo>
                  <a:pt x="6452" y="1608"/>
                </a:lnTo>
                <a:lnTo>
                  <a:pt x="6454" y="1610"/>
                </a:lnTo>
                <a:lnTo>
                  <a:pt x="6450" y="1612"/>
                </a:lnTo>
                <a:lnTo>
                  <a:pt x="6444" y="1612"/>
                </a:lnTo>
                <a:lnTo>
                  <a:pt x="6438" y="1614"/>
                </a:lnTo>
                <a:lnTo>
                  <a:pt x="6436" y="1614"/>
                </a:lnTo>
                <a:lnTo>
                  <a:pt x="6436" y="1616"/>
                </a:lnTo>
                <a:lnTo>
                  <a:pt x="6438" y="1618"/>
                </a:lnTo>
                <a:lnTo>
                  <a:pt x="6440" y="1620"/>
                </a:lnTo>
                <a:lnTo>
                  <a:pt x="6432" y="1618"/>
                </a:lnTo>
                <a:lnTo>
                  <a:pt x="6424" y="1616"/>
                </a:lnTo>
                <a:lnTo>
                  <a:pt x="6426" y="1618"/>
                </a:lnTo>
                <a:lnTo>
                  <a:pt x="6428" y="1622"/>
                </a:lnTo>
                <a:lnTo>
                  <a:pt x="6428" y="1624"/>
                </a:lnTo>
                <a:lnTo>
                  <a:pt x="6424" y="1624"/>
                </a:lnTo>
                <a:lnTo>
                  <a:pt x="6412" y="1626"/>
                </a:lnTo>
                <a:lnTo>
                  <a:pt x="6402" y="1624"/>
                </a:lnTo>
                <a:lnTo>
                  <a:pt x="6394" y="1624"/>
                </a:lnTo>
                <a:lnTo>
                  <a:pt x="6388" y="1624"/>
                </a:lnTo>
                <a:lnTo>
                  <a:pt x="6386" y="1628"/>
                </a:lnTo>
                <a:lnTo>
                  <a:pt x="6388" y="1632"/>
                </a:lnTo>
                <a:lnTo>
                  <a:pt x="6388" y="1634"/>
                </a:lnTo>
                <a:lnTo>
                  <a:pt x="6392" y="1636"/>
                </a:lnTo>
                <a:lnTo>
                  <a:pt x="6396" y="1638"/>
                </a:lnTo>
                <a:lnTo>
                  <a:pt x="6404" y="1638"/>
                </a:lnTo>
                <a:lnTo>
                  <a:pt x="6410" y="1636"/>
                </a:lnTo>
                <a:lnTo>
                  <a:pt x="6410" y="1638"/>
                </a:lnTo>
                <a:lnTo>
                  <a:pt x="6406" y="1642"/>
                </a:lnTo>
                <a:lnTo>
                  <a:pt x="6404" y="1646"/>
                </a:lnTo>
                <a:lnTo>
                  <a:pt x="6406" y="1648"/>
                </a:lnTo>
                <a:lnTo>
                  <a:pt x="6408" y="1652"/>
                </a:lnTo>
                <a:lnTo>
                  <a:pt x="6402" y="1650"/>
                </a:lnTo>
                <a:lnTo>
                  <a:pt x="6388" y="1646"/>
                </a:lnTo>
                <a:lnTo>
                  <a:pt x="6380" y="1646"/>
                </a:lnTo>
                <a:lnTo>
                  <a:pt x="6370" y="1648"/>
                </a:lnTo>
                <a:lnTo>
                  <a:pt x="6362" y="1650"/>
                </a:lnTo>
                <a:lnTo>
                  <a:pt x="6360" y="1652"/>
                </a:lnTo>
                <a:lnTo>
                  <a:pt x="6362" y="1654"/>
                </a:lnTo>
                <a:lnTo>
                  <a:pt x="6366" y="1654"/>
                </a:lnTo>
                <a:lnTo>
                  <a:pt x="6378" y="1656"/>
                </a:lnTo>
                <a:lnTo>
                  <a:pt x="6384" y="1658"/>
                </a:lnTo>
                <a:lnTo>
                  <a:pt x="6386" y="1662"/>
                </a:lnTo>
                <a:lnTo>
                  <a:pt x="6388" y="1666"/>
                </a:lnTo>
                <a:lnTo>
                  <a:pt x="6384" y="1664"/>
                </a:lnTo>
                <a:lnTo>
                  <a:pt x="6382" y="1662"/>
                </a:lnTo>
                <a:lnTo>
                  <a:pt x="6376" y="1662"/>
                </a:lnTo>
                <a:lnTo>
                  <a:pt x="6368" y="1662"/>
                </a:lnTo>
                <a:lnTo>
                  <a:pt x="6360" y="1664"/>
                </a:lnTo>
                <a:lnTo>
                  <a:pt x="6352" y="1668"/>
                </a:lnTo>
                <a:lnTo>
                  <a:pt x="6348" y="1670"/>
                </a:lnTo>
                <a:lnTo>
                  <a:pt x="6348" y="1672"/>
                </a:lnTo>
                <a:lnTo>
                  <a:pt x="6348" y="1674"/>
                </a:lnTo>
                <a:lnTo>
                  <a:pt x="6348" y="1676"/>
                </a:lnTo>
                <a:lnTo>
                  <a:pt x="6342" y="1676"/>
                </a:lnTo>
                <a:lnTo>
                  <a:pt x="6338" y="1674"/>
                </a:lnTo>
                <a:lnTo>
                  <a:pt x="6336" y="1676"/>
                </a:lnTo>
                <a:lnTo>
                  <a:pt x="6338" y="1678"/>
                </a:lnTo>
                <a:lnTo>
                  <a:pt x="6338" y="1680"/>
                </a:lnTo>
                <a:lnTo>
                  <a:pt x="6330" y="1680"/>
                </a:lnTo>
                <a:lnTo>
                  <a:pt x="6314" y="1678"/>
                </a:lnTo>
                <a:lnTo>
                  <a:pt x="6312" y="1678"/>
                </a:lnTo>
                <a:lnTo>
                  <a:pt x="6316" y="1684"/>
                </a:lnTo>
                <a:lnTo>
                  <a:pt x="6318" y="1686"/>
                </a:lnTo>
                <a:lnTo>
                  <a:pt x="6316" y="1686"/>
                </a:lnTo>
                <a:lnTo>
                  <a:pt x="6312" y="1686"/>
                </a:lnTo>
                <a:lnTo>
                  <a:pt x="6306" y="1686"/>
                </a:lnTo>
                <a:lnTo>
                  <a:pt x="6306" y="1688"/>
                </a:lnTo>
                <a:lnTo>
                  <a:pt x="6308" y="1690"/>
                </a:lnTo>
                <a:lnTo>
                  <a:pt x="6312" y="1692"/>
                </a:lnTo>
                <a:lnTo>
                  <a:pt x="6318" y="1694"/>
                </a:lnTo>
                <a:lnTo>
                  <a:pt x="6330" y="1694"/>
                </a:lnTo>
                <a:lnTo>
                  <a:pt x="6344" y="1694"/>
                </a:lnTo>
                <a:lnTo>
                  <a:pt x="6350" y="1696"/>
                </a:lnTo>
                <a:lnTo>
                  <a:pt x="6358" y="1698"/>
                </a:lnTo>
                <a:lnTo>
                  <a:pt x="6366" y="1702"/>
                </a:lnTo>
                <a:lnTo>
                  <a:pt x="6364" y="1702"/>
                </a:lnTo>
                <a:lnTo>
                  <a:pt x="6356" y="1702"/>
                </a:lnTo>
                <a:lnTo>
                  <a:pt x="6352" y="1702"/>
                </a:lnTo>
                <a:lnTo>
                  <a:pt x="6350" y="1702"/>
                </a:lnTo>
                <a:lnTo>
                  <a:pt x="6346" y="1704"/>
                </a:lnTo>
                <a:lnTo>
                  <a:pt x="6344" y="1702"/>
                </a:lnTo>
                <a:lnTo>
                  <a:pt x="6338" y="1698"/>
                </a:lnTo>
                <a:lnTo>
                  <a:pt x="6334" y="1696"/>
                </a:lnTo>
                <a:lnTo>
                  <a:pt x="6328" y="1696"/>
                </a:lnTo>
                <a:lnTo>
                  <a:pt x="6322" y="1698"/>
                </a:lnTo>
                <a:lnTo>
                  <a:pt x="6314" y="1702"/>
                </a:lnTo>
                <a:lnTo>
                  <a:pt x="6308" y="1706"/>
                </a:lnTo>
                <a:lnTo>
                  <a:pt x="6306" y="1710"/>
                </a:lnTo>
                <a:lnTo>
                  <a:pt x="6308" y="1714"/>
                </a:lnTo>
                <a:lnTo>
                  <a:pt x="6312" y="1716"/>
                </a:lnTo>
                <a:lnTo>
                  <a:pt x="6316" y="1720"/>
                </a:lnTo>
                <a:lnTo>
                  <a:pt x="6316" y="1722"/>
                </a:lnTo>
                <a:lnTo>
                  <a:pt x="6312" y="1724"/>
                </a:lnTo>
                <a:lnTo>
                  <a:pt x="6306" y="1728"/>
                </a:lnTo>
                <a:lnTo>
                  <a:pt x="6308" y="1730"/>
                </a:lnTo>
                <a:lnTo>
                  <a:pt x="6312" y="1732"/>
                </a:lnTo>
                <a:lnTo>
                  <a:pt x="6312" y="1734"/>
                </a:lnTo>
                <a:lnTo>
                  <a:pt x="6312" y="1736"/>
                </a:lnTo>
                <a:lnTo>
                  <a:pt x="6310" y="1738"/>
                </a:lnTo>
                <a:lnTo>
                  <a:pt x="6310" y="1740"/>
                </a:lnTo>
                <a:lnTo>
                  <a:pt x="6310" y="1744"/>
                </a:lnTo>
                <a:lnTo>
                  <a:pt x="6312" y="1746"/>
                </a:lnTo>
                <a:lnTo>
                  <a:pt x="6316" y="1748"/>
                </a:lnTo>
                <a:lnTo>
                  <a:pt x="6320" y="1748"/>
                </a:lnTo>
                <a:lnTo>
                  <a:pt x="6326" y="1748"/>
                </a:lnTo>
                <a:lnTo>
                  <a:pt x="6332" y="1744"/>
                </a:lnTo>
                <a:lnTo>
                  <a:pt x="6338" y="1742"/>
                </a:lnTo>
                <a:lnTo>
                  <a:pt x="6344" y="1742"/>
                </a:lnTo>
                <a:lnTo>
                  <a:pt x="6354" y="1744"/>
                </a:lnTo>
                <a:lnTo>
                  <a:pt x="6362" y="1744"/>
                </a:lnTo>
                <a:lnTo>
                  <a:pt x="6366" y="1744"/>
                </a:lnTo>
                <a:lnTo>
                  <a:pt x="6368" y="1740"/>
                </a:lnTo>
                <a:lnTo>
                  <a:pt x="6370" y="1736"/>
                </a:lnTo>
                <a:lnTo>
                  <a:pt x="6372" y="1736"/>
                </a:lnTo>
                <a:lnTo>
                  <a:pt x="6376" y="1738"/>
                </a:lnTo>
                <a:lnTo>
                  <a:pt x="6384" y="1742"/>
                </a:lnTo>
                <a:lnTo>
                  <a:pt x="6388" y="1742"/>
                </a:lnTo>
                <a:lnTo>
                  <a:pt x="6394" y="1742"/>
                </a:lnTo>
                <a:lnTo>
                  <a:pt x="6404" y="1742"/>
                </a:lnTo>
                <a:lnTo>
                  <a:pt x="6410" y="1742"/>
                </a:lnTo>
                <a:lnTo>
                  <a:pt x="6408" y="1744"/>
                </a:lnTo>
                <a:lnTo>
                  <a:pt x="6400" y="1746"/>
                </a:lnTo>
                <a:lnTo>
                  <a:pt x="6394" y="1748"/>
                </a:lnTo>
                <a:lnTo>
                  <a:pt x="6392" y="1752"/>
                </a:lnTo>
                <a:lnTo>
                  <a:pt x="6392" y="1754"/>
                </a:lnTo>
                <a:lnTo>
                  <a:pt x="6392" y="1756"/>
                </a:lnTo>
                <a:lnTo>
                  <a:pt x="6392" y="1758"/>
                </a:lnTo>
                <a:lnTo>
                  <a:pt x="6384" y="1750"/>
                </a:lnTo>
                <a:lnTo>
                  <a:pt x="6378" y="1746"/>
                </a:lnTo>
                <a:lnTo>
                  <a:pt x="6374" y="1744"/>
                </a:lnTo>
                <a:lnTo>
                  <a:pt x="6372" y="1746"/>
                </a:lnTo>
                <a:lnTo>
                  <a:pt x="6370" y="1748"/>
                </a:lnTo>
                <a:lnTo>
                  <a:pt x="6366" y="1750"/>
                </a:lnTo>
                <a:lnTo>
                  <a:pt x="6364" y="1752"/>
                </a:lnTo>
                <a:lnTo>
                  <a:pt x="6360" y="1750"/>
                </a:lnTo>
                <a:lnTo>
                  <a:pt x="6356" y="1748"/>
                </a:lnTo>
                <a:lnTo>
                  <a:pt x="6350" y="1748"/>
                </a:lnTo>
                <a:lnTo>
                  <a:pt x="6340" y="1750"/>
                </a:lnTo>
                <a:lnTo>
                  <a:pt x="6330" y="1754"/>
                </a:lnTo>
                <a:lnTo>
                  <a:pt x="6324" y="1754"/>
                </a:lnTo>
                <a:lnTo>
                  <a:pt x="6320" y="1754"/>
                </a:lnTo>
                <a:lnTo>
                  <a:pt x="6310" y="1752"/>
                </a:lnTo>
                <a:lnTo>
                  <a:pt x="6310" y="1754"/>
                </a:lnTo>
                <a:lnTo>
                  <a:pt x="6310" y="1760"/>
                </a:lnTo>
                <a:lnTo>
                  <a:pt x="6310" y="1764"/>
                </a:lnTo>
                <a:lnTo>
                  <a:pt x="6312" y="1764"/>
                </a:lnTo>
                <a:lnTo>
                  <a:pt x="6316" y="1766"/>
                </a:lnTo>
                <a:lnTo>
                  <a:pt x="6320" y="1766"/>
                </a:lnTo>
                <a:lnTo>
                  <a:pt x="6322" y="1768"/>
                </a:lnTo>
                <a:lnTo>
                  <a:pt x="6322" y="1770"/>
                </a:lnTo>
                <a:lnTo>
                  <a:pt x="6322" y="1774"/>
                </a:lnTo>
                <a:lnTo>
                  <a:pt x="6320" y="1774"/>
                </a:lnTo>
                <a:lnTo>
                  <a:pt x="6314" y="1772"/>
                </a:lnTo>
                <a:lnTo>
                  <a:pt x="6310" y="1770"/>
                </a:lnTo>
                <a:lnTo>
                  <a:pt x="6308" y="1772"/>
                </a:lnTo>
                <a:lnTo>
                  <a:pt x="6310" y="1774"/>
                </a:lnTo>
                <a:lnTo>
                  <a:pt x="6312" y="1778"/>
                </a:lnTo>
                <a:lnTo>
                  <a:pt x="6314" y="1780"/>
                </a:lnTo>
                <a:lnTo>
                  <a:pt x="6318" y="1780"/>
                </a:lnTo>
                <a:lnTo>
                  <a:pt x="6322" y="1780"/>
                </a:lnTo>
                <a:lnTo>
                  <a:pt x="6324" y="1782"/>
                </a:lnTo>
                <a:lnTo>
                  <a:pt x="6324" y="1786"/>
                </a:lnTo>
                <a:lnTo>
                  <a:pt x="6322" y="1790"/>
                </a:lnTo>
                <a:lnTo>
                  <a:pt x="6320" y="1792"/>
                </a:lnTo>
                <a:lnTo>
                  <a:pt x="6314" y="1796"/>
                </a:lnTo>
                <a:lnTo>
                  <a:pt x="6310" y="1798"/>
                </a:lnTo>
                <a:lnTo>
                  <a:pt x="6320" y="1808"/>
                </a:lnTo>
                <a:lnTo>
                  <a:pt x="6324" y="1810"/>
                </a:lnTo>
                <a:lnTo>
                  <a:pt x="6328" y="1806"/>
                </a:lnTo>
                <a:lnTo>
                  <a:pt x="6330" y="1806"/>
                </a:lnTo>
                <a:lnTo>
                  <a:pt x="6332" y="1808"/>
                </a:lnTo>
                <a:lnTo>
                  <a:pt x="6334" y="1810"/>
                </a:lnTo>
                <a:lnTo>
                  <a:pt x="6336" y="1810"/>
                </a:lnTo>
                <a:lnTo>
                  <a:pt x="6338" y="1808"/>
                </a:lnTo>
                <a:lnTo>
                  <a:pt x="6338" y="1814"/>
                </a:lnTo>
                <a:lnTo>
                  <a:pt x="6338" y="1818"/>
                </a:lnTo>
                <a:lnTo>
                  <a:pt x="6338" y="1820"/>
                </a:lnTo>
                <a:lnTo>
                  <a:pt x="6340" y="1820"/>
                </a:lnTo>
                <a:lnTo>
                  <a:pt x="6342" y="1818"/>
                </a:lnTo>
                <a:lnTo>
                  <a:pt x="6344" y="1816"/>
                </a:lnTo>
                <a:lnTo>
                  <a:pt x="6344" y="1812"/>
                </a:lnTo>
                <a:lnTo>
                  <a:pt x="6346" y="1806"/>
                </a:lnTo>
                <a:lnTo>
                  <a:pt x="6348" y="1804"/>
                </a:lnTo>
                <a:lnTo>
                  <a:pt x="6350" y="1802"/>
                </a:lnTo>
                <a:lnTo>
                  <a:pt x="6352" y="1804"/>
                </a:lnTo>
                <a:lnTo>
                  <a:pt x="6354" y="1806"/>
                </a:lnTo>
                <a:lnTo>
                  <a:pt x="6350" y="1812"/>
                </a:lnTo>
                <a:lnTo>
                  <a:pt x="6346" y="1820"/>
                </a:lnTo>
                <a:lnTo>
                  <a:pt x="6338" y="1826"/>
                </a:lnTo>
                <a:lnTo>
                  <a:pt x="6336" y="1828"/>
                </a:lnTo>
                <a:lnTo>
                  <a:pt x="6334" y="1828"/>
                </a:lnTo>
                <a:lnTo>
                  <a:pt x="6338" y="1832"/>
                </a:lnTo>
                <a:lnTo>
                  <a:pt x="6342" y="1834"/>
                </a:lnTo>
                <a:lnTo>
                  <a:pt x="6342" y="1836"/>
                </a:lnTo>
                <a:lnTo>
                  <a:pt x="6340" y="1838"/>
                </a:lnTo>
                <a:lnTo>
                  <a:pt x="6336" y="1840"/>
                </a:lnTo>
                <a:lnTo>
                  <a:pt x="6334" y="1840"/>
                </a:lnTo>
                <a:lnTo>
                  <a:pt x="6332" y="1840"/>
                </a:lnTo>
                <a:lnTo>
                  <a:pt x="6328" y="1838"/>
                </a:lnTo>
                <a:lnTo>
                  <a:pt x="6320" y="1844"/>
                </a:lnTo>
                <a:lnTo>
                  <a:pt x="6318" y="1848"/>
                </a:lnTo>
                <a:lnTo>
                  <a:pt x="6316" y="1852"/>
                </a:lnTo>
                <a:lnTo>
                  <a:pt x="6316" y="1858"/>
                </a:lnTo>
                <a:lnTo>
                  <a:pt x="6318" y="1862"/>
                </a:lnTo>
                <a:lnTo>
                  <a:pt x="6324" y="1866"/>
                </a:lnTo>
                <a:lnTo>
                  <a:pt x="6328" y="1866"/>
                </a:lnTo>
                <a:lnTo>
                  <a:pt x="6330" y="1864"/>
                </a:lnTo>
                <a:lnTo>
                  <a:pt x="6330" y="1862"/>
                </a:lnTo>
                <a:lnTo>
                  <a:pt x="6332" y="1862"/>
                </a:lnTo>
                <a:lnTo>
                  <a:pt x="6336" y="1864"/>
                </a:lnTo>
                <a:lnTo>
                  <a:pt x="6338" y="1864"/>
                </a:lnTo>
                <a:lnTo>
                  <a:pt x="6340" y="1862"/>
                </a:lnTo>
                <a:lnTo>
                  <a:pt x="6342" y="1858"/>
                </a:lnTo>
                <a:lnTo>
                  <a:pt x="6344" y="1858"/>
                </a:lnTo>
                <a:lnTo>
                  <a:pt x="6348" y="1858"/>
                </a:lnTo>
                <a:lnTo>
                  <a:pt x="6350" y="1862"/>
                </a:lnTo>
                <a:lnTo>
                  <a:pt x="6348" y="1864"/>
                </a:lnTo>
                <a:lnTo>
                  <a:pt x="6346" y="1866"/>
                </a:lnTo>
                <a:lnTo>
                  <a:pt x="6344" y="1868"/>
                </a:lnTo>
                <a:lnTo>
                  <a:pt x="6346" y="1870"/>
                </a:lnTo>
                <a:lnTo>
                  <a:pt x="6348" y="1872"/>
                </a:lnTo>
                <a:lnTo>
                  <a:pt x="6346" y="1876"/>
                </a:lnTo>
                <a:lnTo>
                  <a:pt x="6344" y="1878"/>
                </a:lnTo>
                <a:lnTo>
                  <a:pt x="6346" y="1882"/>
                </a:lnTo>
                <a:lnTo>
                  <a:pt x="6348" y="1884"/>
                </a:lnTo>
                <a:lnTo>
                  <a:pt x="6346" y="1886"/>
                </a:lnTo>
                <a:lnTo>
                  <a:pt x="6342" y="1888"/>
                </a:lnTo>
                <a:lnTo>
                  <a:pt x="6338" y="1890"/>
                </a:lnTo>
                <a:lnTo>
                  <a:pt x="6336" y="1888"/>
                </a:lnTo>
                <a:lnTo>
                  <a:pt x="6332" y="1884"/>
                </a:lnTo>
                <a:lnTo>
                  <a:pt x="6330" y="1884"/>
                </a:lnTo>
                <a:lnTo>
                  <a:pt x="6328" y="1892"/>
                </a:lnTo>
                <a:lnTo>
                  <a:pt x="6326" y="1904"/>
                </a:lnTo>
                <a:lnTo>
                  <a:pt x="6330" y="1910"/>
                </a:lnTo>
                <a:lnTo>
                  <a:pt x="6338" y="1916"/>
                </a:lnTo>
                <a:lnTo>
                  <a:pt x="6342" y="1918"/>
                </a:lnTo>
                <a:lnTo>
                  <a:pt x="6346" y="1918"/>
                </a:lnTo>
                <a:lnTo>
                  <a:pt x="6348" y="1920"/>
                </a:lnTo>
                <a:lnTo>
                  <a:pt x="6352" y="1926"/>
                </a:lnTo>
                <a:lnTo>
                  <a:pt x="6358" y="1928"/>
                </a:lnTo>
                <a:lnTo>
                  <a:pt x="6372" y="1934"/>
                </a:lnTo>
                <a:lnTo>
                  <a:pt x="6374" y="1936"/>
                </a:lnTo>
                <a:lnTo>
                  <a:pt x="6374" y="1938"/>
                </a:lnTo>
                <a:lnTo>
                  <a:pt x="6372" y="1940"/>
                </a:lnTo>
                <a:lnTo>
                  <a:pt x="6372" y="1942"/>
                </a:lnTo>
                <a:lnTo>
                  <a:pt x="6374" y="1944"/>
                </a:lnTo>
                <a:lnTo>
                  <a:pt x="6376" y="1946"/>
                </a:lnTo>
                <a:lnTo>
                  <a:pt x="6378" y="1944"/>
                </a:lnTo>
                <a:lnTo>
                  <a:pt x="6380" y="1942"/>
                </a:lnTo>
                <a:lnTo>
                  <a:pt x="6384" y="1944"/>
                </a:lnTo>
                <a:lnTo>
                  <a:pt x="6390" y="1946"/>
                </a:lnTo>
                <a:lnTo>
                  <a:pt x="6390" y="1948"/>
                </a:lnTo>
                <a:lnTo>
                  <a:pt x="6390" y="1950"/>
                </a:lnTo>
                <a:lnTo>
                  <a:pt x="6394" y="1948"/>
                </a:lnTo>
                <a:lnTo>
                  <a:pt x="6404" y="1946"/>
                </a:lnTo>
                <a:lnTo>
                  <a:pt x="6418" y="1944"/>
                </a:lnTo>
                <a:lnTo>
                  <a:pt x="6430" y="1942"/>
                </a:lnTo>
                <a:lnTo>
                  <a:pt x="6436" y="1940"/>
                </a:lnTo>
                <a:lnTo>
                  <a:pt x="6440" y="1938"/>
                </a:lnTo>
                <a:lnTo>
                  <a:pt x="6444" y="1934"/>
                </a:lnTo>
                <a:lnTo>
                  <a:pt x="6452" y="1930"/>
                </a:lnTo>
                <a:lnTo>
                  <a:pt x="6458" y="1926"/>
                </a:lnTo>
                <a:lnTo>
                  <a:pt x="6464" y="1918"/>
                </a:lnTo>
                <a:lnTo>
                  <a:pt x="6466" y="1914"/>
                </a:lnTo>
                <a:lnTo>
                  <a:pt x="6470" y="1912"/>
                </a:lnTo>
                <a:lnTo>
                  <a:pt x="6474" y="1910"/>
                </a:lnTo>
                <a:lnTo>
                  <a:pt x="6478" y="1910"/>
                </a:lnTo>
                <a:lnTo>
                  <a:pt x="6478" y="1906"/>
                </a:lnTo>
                <a:lnTo>
                  <a:pt x="6478" y="1904"/>
                </a:lnTo>
                <a:lnTo>
                  <a:pt x="6480" y="1902"/>
                </a:lnTo>
                <a:lnTo>
                  <a:pt x="6484" y="1902"/>
                </a:lnTo>
                <a:lnTo>
                  <a:pt x="6488" y="1900"/>
                </a:lnTo>
                <a:lnTo>
                  <a:pt x="6488" y="1898"/>
                </a:lnTo>
                <a:lnTo>
                  <a:pt x="6486" y="1896"/>
                </a:lnTo>
                <a:lnTo>
                  <a:pt x="6482" y="1894"/>
                </a:lnTo>
                <a:lnTo>
                  <a:pt x="6482" y="1892"/>
                </a:lnTo>
                <a:lnTo>
                  <a:pt x="6488" y="1892"/>
                </a:lnTo>
                <a:lnTo>
                  <a:pt x="6494" y="1890"/>
                </a:lnTo>
                <a:lnTo>
                  <a:pt x="6496" y="1888"/>
                </a:lnTo>
                <a:lnTo>
                  <a:pt x="6496" y="1884"/>
                </a:lnTo>
                <a:lnTo>
                  <a:pt x="6498" y="1880"/>
                </a:lnTo>
                <a:lnTo>
                  <a:pt x="6500" y="1882"/>
                </a:lnTo>
                <a:lnTo>
                  <a:pt x="6504" y="1886"/>
                </a:lnTo>
                <a:lnTo>
                  <a:pt x="6506" y="1886"/>
                </a:lnTo>
                <a:lnTo>
                  <a:pt x="6508" y="1886"/>
                </a:lnTo>
                <a:lnTo>
                  <a:pt x="6514" y="1884"/>
                </a:lnTo>
                <a:lnTo>
                  <a:pt x="6518" y="1884"/>
                </a:lnTo>
                <a:lnTo>
                  <a:pt x="6522" y="1882"/>
                </a:lnTo>
                <a:lnTo>
                  <a:pt x="6522" y="1876"/>
                </a:lnTo>
                <a:lnTo>
                  <a:pt x="6524" y="1872"/>
                </a:lnTo>
                <a:lnTo>
                  <a:pt x="6524" y="1870"/>
                </a:lnTo>
                <a:lnTo>
                  <a:pt x="6528" y="1866"/>
                </a:lnTo>
                <a:lnTo>
                  <a:pt x="6530" y="1866"/>
                </a:lnTo>
                <a:lnTo>
                  <a:pt x="6530" y="1864"/>
                </a:lnTo>
                <a:lnTo>
                  <a:pt x="6528" y="1858"/>
                </a:lnTo>
                <a:lnTo>
                  <a:pt x="6524" y="1854"/>
                </a:lnTo>
                <a:lnTo>
                  <a:pt x="6522" y="1848"/>
                </a:lnTo>
                <a:lnTo>
                  <a:pt x="6524" y="1846"/>
                </a:lnTo>
                <a:lnTo>
                  <a:pt x="6528" y="1848"/>
                </a:lnTo>
                <a:lnTo>
                  <a:pt x="6530" y="1850"/>
                </a:lnTo>
                <a:lnTo>
                  <a:pt x="6532" y="1850"/>
                </a:lnTo>
                <a:lnTo>
                  <a:pt x="6534" y="1848"/>
                </a:lnTo>
                <a:lnTo>
                  <a:pt x="6536" y="1846"/>
                </a:lnTo>
                <a:lnTo>
                  <a:pt x="6536" y="1848"/>
                </a:lnTo>
                <a:lnTo>
                  <a:pt x="6536" y="1852"/>
                </a:lnTo>
                <a:lnTo>
                  <a:pt x="6534" y="1854"/>
                </a:lnTo>
                <a:lnTo>
                  <a:pt x="6534" y="1856"/>
                </a:lnTo>
                <a:lnTo>
                  <a:pt x="6536" y="1860"/>
                </a:lnTo>
                <a:lnTo>
                  <a:pt x="6540" y="1864"/>
                </a:lnTo>
                <a:lnTo>
                  <a:pt x="6540" y="1870"/>
                </a:lnTo>
                <a:lnTo>
                  <a:pt x="6540" y="1872"/>
                </a:lnTo>
                <a:lnTo>
                  <a:pt x="6546" y="1874"/>
                </a:lnTo>
                <a:lnTo>
                  <a:pt x="6550" y="1874"/>
                </a:lnTo>
                <a:lnTo>
                  <a:pt x="6554" y="1876"/>
                </a:lnTo>
                <a:lnTo>
                  <a:pt x="6560" y="1878"/>
                </a:lnTo>
                <a:lnTo>
                  <a:pt x="6558" y="1880"/>
                </a:lnTo>
                <a:lnTo>
                  <a:pt x="6558" y="1884"/>
                </a:lnTo>
                <a:lnTo>
                  <a:pt x="6556" y="1888"/>
                </a:lnTo>
                <a:lnTo>
                  <a:pt x="6558" y="1894"/>
                </a:lnTo>
                <a:lnTo>
                  <a:pt x="6560" y="1902"/>
                </a:lnTo>
                <a:lnTo>
                  <a:pt x="6560" y="1910"/>
                </a:lnTo>
                <a:lnTo>
                  <a:pt x="6560" y="1920"/>
                </a:lnTo>
                <a:lnTo>
                  <a:pt x="6560" y="1924"/>
                </a:lnTo>
                <a:lnTo>
                  <a:pt x="6564" y="1930"/>
                </a:lnTo>
                <a:lnTo>
                  <a:pt x="6566" y="1932"/>
                </a:lnTo>
                <a:lnTo>
                  <a:pt x="6570" y="1934"/>
                </a:lnTo>
                <a:lnTo>
                  <a:pt x="6576" y="1930"/>
                </a:lnTo>
                <a:lnTo>
                  <a:pt x="6580" y="1928"/>
                </a:lnTo>
                <a:lnTo>
                  <a:pt x="6582" y="1928"/>
                </a:lnTo>
                <a:lnTo>
                  <a:pt x="6584" y="1932"/>
                </a:lnTo>
                <a:lnTo>
                  <a:pt x="6586" y="1936"/>
                </a:lnTo>
                <a:lnTo>
                  <a:pt x="6586" y="1940"/>
                </a:lnTo>
                <a:lnTo>
                  <a:pt x="6584" y="1946"/>
                </a:lnTo>
                <a:lnTo>
                  <a:pt x="6582" y="1954"/>
                </a:lnTo>
                <a:lnTo>
                  <a:pt x="6582" y="1960"/>
                </a:lnTo>
                <a:lnTo>
                  <a:pt x="6584" y="1968"/>
                </a:lnTo>
                <a:lnTo>
                  <a:pt x="6592" y="1988"/>
                </a:lnTo>
                <a:lnTo>
                  <a:pt x="6602" y="2010"/>
                </a:lnTo>
                <a:lnTo>
                  <a:pt x="6612" y="2028"/>
                </a:lnTo>
                <a:lnTo>
                  <a:pt x="6618" y="2032"/>
                </a:lnTo>
                <a:lnTo>
                  <a:pt x="6622" y="2034"/>
                </a:lnTo>
                <a:lnTo>
                  <a:pt x="6628" y="2034"/>
                </a:lnTo>
                <a:lnTo>
                  <a:pt x="6628" y="2036"/>
                </a:lnTo>
                <a:lnTo>
                  <a:pt x="6630" y="2038"/>
                </a:lnTo>
                <a:lnTo>
                  <a:pt x="6626" y="2042"/>
                </a:lnTo>
                <a:lnTo>
                  <a:pt x="6620" y="2046"/>
                </a:lnTo>
                <a:lnTo>
                  <a:pt x="6618" y="2048"/>
                </a:lnTo>
                <a:lnTo>
                  <a:pt x="6618" y="2050"/>
                </a:lnTo>
                <a:lnTo>
                  <a:pt x="6620" y="2056"/>
                </a:lnTo>
                <a:lnTo>
                  <a:pt x="6622" y="2060"/>
                </a:lnTo>
                <a:lnTo>
                  <a:pt x="6616" y="2058"/>
                </a:lnTo>
                <a:lnTo>
                  <a:pt x="6610" y="2056"/>
                </a:lnTo>
                <a:lnTo>
                  <a:pt x="6610" y="2058"/>
                </a:lnTo>
                <a:lnTo>
                  <a:pt x="6618" y="2068"/>
                </a:lnTo>
                <a:lnTo>
                  <a:pt x="6624" y="2076"/>
                </a:lnTo>
                <a:lnTo>
                  <a:pt x="6628" y="2086"/>
                </a:lnTo>
                <a:lnTo>
                  <a:pt x="6630" y="2094"/>
                </a:lnTo>
                <a:lnTo>
                  <a:pt x="6630" y="2098"/>
                </a:lnTo>
                <a:lnTo>
                  <a:pt x="6628" y="2104"/>
                </a:lnTo>
                <a:lnTo>
                  <a:pt x="6626" y="2110"/>
                </a:lnTo>
                <a:lnTo>
                  <a:pt x="6626" y="2114"/>
                </a:lnTo>
                <a:lnTo>
                  <a:pt x="6632" y="2116"/>
                </a:lnTo>
                <a:lnTo>
                  <a:pt x="6638" y="2114"/>
                </a:lnTo>
                <a:lnTo>
                  <a:pt x="6656" y="2112"/>
                </a:lnTo>
                <a:lnTo>
                  <a:pt x="6666" y="2112"/>
                </a:lnTo>
                <a:lnTo>
                  <a:pt x="6674" y="2112"/>
                </a:lnTo>
                <a:lnTo>
                  <a:pt x="6680" y="2110"/>
                </a:lnTo>
                <a:lnTo>
                  <a:pt x="6682" y="2106"/>
                </a:lnTo>
                <a:lnTo>
                  <a:pt x="6684" y="2092"/>
                </a:lnTo>
                <a:lnTo>
                  <a:pt x="6684" y="2084"/>
                </a:lnTo>
                <a:lnTo>
                  <a:pt x="6686" y="2078"/>
                </a:lnTo>
                <a:lnTo>
                  <a:pt x="6690" y="2074"/>
                </a:lnTo>
                <a:lnTo>
                  <a:pt x="6694" y="2074"/>
                </a:lnTo>
                <a:lnTo>
                  <a:pt x="6702" y="2074"/>
                </a:lnTo>
                <a:lnTo>
                  <a:pt x="6702" y="2070"/>
                </a:lnTo>
                <a:lnTo>
                  <a:pt x="6702" y="2068"/>
                </a:lnTo>
                <a:lnTo>
                  <a:pt x="6704" y="2066"/>
                </a:lnTo>
                <a:lnTo>
                  <a:pt x="6710" y="2064"/>
                </a:lnTo>
                <a:lnTo>
                  <a:pt x="6718" y="2064"/>
                </a:lnTo>
                <a:lnTo>
                  <a:pt x="6728" y="2062"/>
                </a:lnTo>
                <a:lnTo>
                  <a:pt x="6734" y="2064"/>
                </a:lnTo>
                <a:lnTo>
                  <a:pt x="6744" y="2068"/>
                </a:lnTo>
                <a:lnTo>
                  <a:pt x="6746" y="2068"/>
                </a:lnTo>
                <a:lnTo>
                  <a:pt x="6748" y="2066"/>
                </a:lnTo>
                <a:lnTo>
                  <a:pt x="6754" y="2054"/>
                </a:lnTo>
                <a:lnTo>
                  <a:pt x="6760" y="2038"/>
                </a:lnTo>
                <a:lnTo>
                  <a:pt x="6766" y="2026"/>
                </a:lnTo>
                <a:lnTo>
                  <a:pt x="6770" y="2018"/>
                </a:lnTo>
                <a:lnTo>
                  <a:pt x="6772" y="2010"/>
                </a:lnTo>
                <a:lnTo>
                  <a:pt x="6772" y="2002"/>
                </a:lnTo>
                <a:lnTo>
                  <a:pt x="6774" y="1992"/>
                </a:lnTo>
                <a:lnTo>
                  <a:pt x="6776" y="1984"/>
                </a:lnTo>
                <a:lnTo>
                  <a:pt x="6776" y="1976"/>
                </a:lnTo>
                <a:lnTo>
                  <a:pt x="6776" y="1972"/>
                </a:lnTo>
                <a:lnTo>
                  <a:pt x="6776" y="1968"/>
                </a:lnTo>
                <a:lnTo>
                  <a:pt x="6780" y="1962"/>
                </a:lnTo>
                <a:lnTo>
                  <a:pt x="6782" y="1956"/>
                </a:lnTo>
                <a:lnTo>
                  <a:pt x="6782" y="1952"/>
                </a:lnTo>
                <a:lnTo>
                  <a:pt x="6782" y="1948"/>
                </a:lnTo>
                <a:lnTo>
                  <a:pt x="6780" y="1944"/>
                </a:lnTo>
                <a:lnTo>
                  <a:pt x="6782" y="1940"/>
                </a:lnTo>
                <a:lnTo>
                  <a:pt x="6784" y="1934"/>
                </a:lnTo>
                <a:lnTo>
                  <a:pt x="6782" y="1928"/>
                </a:lnTo>
                <a:lnTo>
                  <a:pt x="6780" y="1924"/>
                </a:lnTo>
                <a:lnTo>
                  <a:pt x="6780" y="1922"/>
                </a:lnTo>
                <a:lnTo>
                  <a:pt x="6782" y="1920"/>
                </a:lnTo>
                <a:lnTo>
                  <a:pt x="6786" y="1920"/>
                </a:lnTo>
                <a:lnTo>
                  <a:pt x="6786" y="1918"/>
                </a:lnTo>
                <a:lnTo>
                  <a:pt x="6784" y="1916"/>
                </a:lnTo>
                <a:lnTo>
                  <a:pt x="6784" y="1912"/>
                </a:lnTo>
                <a:lnTo>
                  <a:pt x="6786" y="1910"/>
                </a:lnTo>
                <a:lnTo>
                  <a:pt x="6796" y="1906"/>
                </a:lnTo>
                <a:lnTo>
                  <a:pt x="6810" y="1900"/>
                </a:lnTo>
                <a:lnTo>
                  <a:pt x="6814" y="1896"/>
                </a:lnTo>
                <a:lnTo>
                  <a:pt x="6816" y="1892"/>
                </a:lnTo>
                <a:lnTo>
                  <a:pt x="6818" y="1888"/>
                </a:lnTo>
                <a:lnTo>
                  <a:pt x="6820" y="1886"/>
                </a:lnTo>
                <a:lnTo>
                  <a:pt x="6822" y="1888"/>
                </a:lnTo>
                <a:lnTo>
                  <a:pt x="6826" y="1892"/>
                </a:lnTo>
                <a:lnTo>
                  <a:pt x="6828" y="1892"/>
                </a:lnTo>
                <a:lnTo>
                  <a:pt x="6830" y="1890"/>
                </a:lnTo>
                <a:lnTo>
                  <a:pt x="6836" y="1882"/>
                </a:lnTo>
                <a:lnTo>
                  <a:pt x="6842" y="1880"/>
                </a:lnTo>
                <a:lnTo>
                  <a:pt x="6848" y="1876"/>
                </a:lnTo>
                <a:lnTo>
                  <a:pt x="6848" y="1874"/>
                </a:lnTo>
                <a:lnTo>
                  <a:pt x="6848" y="1872"/>
                </a:lnTo>
                <a:lnTo>
                  <a:pt x="6850" y="1872"/>
                </a:lnTo>
                <a:lnTo>
                  <a:pt x="6854" y="1870"/>
                </a:lnTo>
                <a:lnTo>
                  <a:pt x="6856" y="1868"/>
                </a:lnTo>
                <a:lnTo>
                  <a:pt x="6858" y="1866"/>
                </a:lnTo>
                <a:lnTo>
                  <a:pt x="6856" y="1864"/>
                </a:lnTo>
                <a:lnTo>
                  <a:pt x="6854" y="1858"/>
                </a:lnTo>
                <a:lnTo>
                  <a:pt x="6852" y="1856"/>
                </a:lnTo>
                <a:lnTo>
                  <a:pt x="6848" y="1858"/>
                </a:lnTo>
                <a:lnTo>
                  <a:pt x="6836" y="1864"/>
                </a:lnTo>
                <a:lnTo>
                  <a:pt x="6828" y="1866"/>
                </a:lnTo>
                <a:lnTo>
                  <a:pt x="6820" y="1868"/>
                </a:lnTo>
                <a:lnTo>
                  <a:pt x="6812" y="1866"/>
                </a:lnTo>
                <a:lnTo>
                  <a:pt x="6806" y="1862"/>
                </a:lnTo>
                <a:lnTo>
                  <a:pt x="6798" y="1858"/>
                </a:lnTo>
                <a:lnTo>
                  <a:pt x="6788" y="1856"/>
                </a:lnTo>
                <a:lnTo>
                  <a:pt x="6778" y="1854"/>
                </a:lnTo>
                <a:lnTo>
                  <a:pt x="6770" y="1856"/>
                </a:lnTo>
                <a:lnTo>
                  <a:pt x="6762" y="1856"/>
                </a:lnTo>
                <a:lnTo>
                  <a:pt x="6768" y="1852"/>
                </a:lnTo>
                <a:lnTo>
                  <a:pt x="6776" y="1848"/>
                </a:lnTo>
                <a:lnTo>
                  <a:pt x="6782" y="1846"/>
                </a:lnTo>
                <a:lnTo>
                  <a:pt x="6794" y="1848"/>
                </a:lnTo>
                <a:lnTo>
                  <a:pt x="6802" y="1850"/>
                </a:lnTo>
                <a:lnTo>
                  <a:pt x="6806" y="1850"/>
                </a:lnTo>
                <a:lnTo>
                  <a:pt x="6808" y="1850"/>
                </a:lnTo>
                <a:lnTo>
                  <a:pt x="6810" y="1848"/>
                </a:lnTo>
                <a:lnTo>
                  <a:pt x="6814" y="1850"/>
                </a:lnTo>
                <a:lnTo>
                  <a:pt x="6820" y="1856"/>
                </a:lnTo>
                <a:lnTo>
                  <a:pt x="6826" y="1860"/>
                </a:lnTo>
                <a:lnTo>
                  <a:pt x="6830" y="1862"/>
                </a:lnTo>
                <a:lnTo>
                  <a:pt x="6834" y="1860"/>
                </a:lnTo>
                <a:lnTo>
                  <a:pt x="6862" y="1844"/>
                </a:lnTo>
                <a:lnTo>
                  <a:pt x="6874" y="1836"/>
                </a:lnTo>
                <a:lnTo>
                  <a:pt x="6876" y="1832"/>
                </a:lnTo>
                <a:lnTo>
                  <a:pt x="6876" y="1828"/>
                </a:lnTo>
                <a:lnTo>
                  <a:pt x="6868" y="1818"/>
                </a:lnTo>
                <a:lnTo>
                  <a:pt x="6862" y="1814"/>
                </a:lnTo>
                <a:lnTo>
                  <a:pt x="6856" y="1812"/>
                </a:lnTo>
                <a:lnTo>
                  <a:pt x="6852" y="1812"/>
                </a:lnTo>
                <a:lnTo>
                  <a:pt x="6852" y="1806"/>
                </a:lnTo>
                <a:lnTo>
                  <a:pt x="6854" y="1802"/>
                </a:lnTo>
                <a:lnTo>
                  <a:pt x="6852" y="1800"/>
                </a:lnTo>
                <a:lnTo>
                  <a:pt x="6850" y="1798"/>
                </a:lnTo>
                <a:lnTo>
                  <a:pt x="6842" y="1794"/>
                </a:lnTo>
                <a:lnTo>
                  <a:pt x="6838" y="1788"/>
                </a:lnTo>
                <a:lnTo>
                  <a:pt x="6832" y="1784"/>
                </a:lnTo>
                <a:lnTo>
                  <a:pt x="6828" y="1784"/>
                </a:lnTo>
                <a:lnTo>
                  <a:pt x="6824" y="1784"/>
                </a:lnTo>
                <a:lnTo>
                  <a:pt x="6818" y="1786"/>
                </a:lnTo>
                <a:lnTo>
                  <a:pt x="6818" y="1782"/>
                </a:lnTo>
                <a:lnTo>
                  <a:pt x="6816" y="1780"/>
                </a:lnTo>
                <a:lnTo>
                  <a:pt x="6816" y="1778"/>
                </a:lnTo>
                <a:lnTo>
                  <a:pt x="6812" y="1778"/>
                </a:lnTo>
                <a:lnTo>
                  <a:pt x="6808" y="1778"/>
                </a:lnTo>
                <a:lnTo>
                  <a:pt x="6806" y="1776"/>
                </a:lnTo>
                <a:lnTo>
                  <a:pt x="6804" y="1768"/>
                </a:lnTo>
                <a:lnTo>
                  <a:pt x="6800" y="1758"/>
                </a:lnTo>
                <a:lnTo>
                  <a:pt x="6800" y="1746"/>
                </a:lnTo>
                <a:lnTo>
                  <a:pt x="6800" y="1734"/>
                </a:lnTo>
                <a:lnTo>
                  <a:pt x="6800" y="1722"/>
                </a:lnTo>
                <a:lnTo>
                  <a:pt x="6804" y="1716"/>
                </a:lnTo>
                <a:lnTo>
                  <a:pt x="6806" y="1714"/>
                </a:lnTo>
                <a:lnTo>
                  <a:pt x="6808" y="1712"/>
                </a:lnTo>
                <a:lnTo>
                  <a:pt x="6812" y="1712"/>
                </a:lnTo>
                <a:lnTo>
                  <a:pt x="6812" y="1710"/>
                </a:lnTo>
                <a:lnTo>
                  <a:pt x="6812" y="1702"/>
                </a:lnTo>
                <a:lnTo>
                  <a:pt x="6810" y="1692"/>
                </a:lnTo>
                <a:lnTo>
                  <a:pt x="6810" y="1686"/>
                </a:lnTo>
                <a:lnTo>
                  <a:pt x="6814" y="1678"/>
                </a:lnTo>
                <a:lnTo>
                  <a:pt x="6816" y="1672"/>
                </a:lnTo>
                <a:lnTo>
                  <a:pt x="6816" y="1670"/>
                </a:lnTo>
                <a:lnTo>
                  <a:pt x="6816" y="1668"/>
                </a:lnTo>
                <a:lnTo>
                  <a:pt x="6812" y="1668"/>
                </a:lnTo>
                <a:lnTo>
                  <a:pt x="6808" y="1668"/>
                </a:lnTo>
                <a:lnTo>
                  <a:pt x="6806" y="1664"/>
                </a:lnTo>
                <a:lnTo>
                  <a:pt x="6806" y="1660"/>
                </a:lnTo>
                <a:lnTo>
                  <a:pt x="6806" y="1654"/>
                </a:lnTo>
                <a:lnTo>
                  <a:pt x="6810" y="1656"/>
                </a:lnTo>
                <a:lnTo>
                  <a:pt x="6814" y="1658"/>
                </a:lnTo>
                <a:lnTo>
                  <a:pt x="6820" y="1658"/>
                </a:lnTo>
                <a:lnTo>
                  <a:pt x="6826" y="1656"/>
                </a:lnTo>
                <a:lnTo>
                  <a:pt x="6832" y="1652"/>
                </a:lnTo>
                <a:lnTo>
                  <a:pt x="6834" y="1650"/>
                </a:lnTo>
                <a:lnTo>
                  <a:pt x="6832" y="1646"/>
                </a:lnTo>
                <a:lnTo>
                  <a:pt x="6830" y="1644"/>
                </a:lnTo>
                <a:lnTo>
                  <a:pt x="6828" y="1642"/>
                </a:lnTo>
                <a:lnTo>
                  <a:pt x="6826" y="1640"/>
                </a:lnTo>
                <a:lnTo>
                  <a:pt x="6830" y="1638"/>
                </a:lnTo>
                <a:lnTo>
                  <a:pt x="6836" y="1638"/>
                </a:lnTo>
                <a:lnTo>
                  <a:pt x="6844" y="1634"/>
                </a:lnTo>
                <a:lnTo>
                  <a:pt x="6850" y="1630"/>
                </a:lnTo>
                <a:lnTo>
                  <a:pt x="6854" y="1624"/>
                </a:lnTo>
                <a:lnTo>
                  <a:pt x="6856" y="1620"/>
                </a:lnTo>
                <a:lnTo>
                  <a:pt x="6862" y="1610"/>
                </a:lnTo>
                <a:lnTo>
                  <a:pt x="6866" y="1608"/>
                </a:lnTo>
                <a:lnTo>
                  <a:pt x="6870" y="1610"/>
                </a:lnTo>
                <a:lnTo>
                  <a:pt x="6874" y="1612"/>
                </a:lnTo>
                <a:lnTo>
                  <a:pt x="6878" y="1610"/>
                </a:lnTo>
                <a:lnTo>
                  <a:pt x="6880" y="1602"/>
                </a:lnTo>
                <a:lnTo>
                  <a:pt x="6884" y="1594"/>
                </a:lnTo>
                <a:lnTo>
                  <a:pt x="6888" y="1592"/>
                </a:lnTo>
                <a:lnTo>
                  <a:pt x="6892" y="1592"/>
                </a:lnTo>
                <a:lnTo>
                  <a:pt x="6898" y="1592"/>
                </a:lnTo>
                <a:lnTo>
                  <a:pt x="6902" y="1590"/>
                </a:lnTo>
                <a:lnTo>
                  <a:pt x="6906" y="1586"/>
                </a:lnTo>
                <a:lnTo>
                  <a:pt x="6910" y="1582"/>
                </a:lnTo>
                <a:lnTo>
                  <a:pt x="6912" y="1580"/>
                </a:lnTo>
                <a:lnTo>
                  <a:pt x="6916" y="1582"/>
                </a:lnTo>
                <a:lnTo>
                  <a:pt x="6920" y="1582"/>
                </a:lnTo>
                <a:lnTo>
                  <a:pt x="6922" y="1580"/>
                </a:lnTo>
                <a:lnTo>
                  <a:pt x="6926" y="1576"/>
                </a:lnTo>
                <a:lnTo>
                  <a:pt x="6928" y="1572"/>
                </a:lnTo>
                <a:lnTo>
                  <a:pt x="6930" y="1570"/>
                </a:lnTo>
                <a:lnTo>
                  <a:pt x="6934" y="1570"/>
                </a:lnTo>
                <a:lnTo>
                  <a:pt x="6938" y="1570"/>
                </a:lnTo>
                <a:lnTo>
                  <a:pt x="6942" y="1568"/>
                </a:lnTo>
                <a:lnTo>
                  <a:pt x="6946" y="1558"/>
                </a:lnTo>
                <a:lnTo>
                  <a:pt x="6954" y="1544"/>
                </a:lnTo>
                <a:lnTo>
                  <a:pt x="6960" y="1538"/>
                </a:lnTo>
                <a:lnTo>
                  <a:pt x="6968" y="1530"/>
                </a:lnTo>
                <a:lnTo>
                  <a:pt x="6974" y="1526"/>
                </a:lnTo>
                <a:lnTo>
                  <a:pt x="6976" y="1524"/>
                </a:lnTo>
                <a:lnTo>
                  <a:pt x="6976" y="1520"/>
                </a:lnTo>
                <a:lnTo>
                  <a:pt x="6974" y="1520"/>
                </a:lnTo>
                <a:lnTo>
                  <a:pt x="6968" y="1514"/>
                </a:lnTo>
                <a:lnTo>
                  <a:pt x="6964" y="1512"/>
                </a:lnTo>
                <a:lnTo>
                  <a:pt x="6962" y="1506"/>
                </a:lnTo>
                <a:lnTo>
                  <a:pt x="6960" y="1502"/>
                </a:lnTo>
                <a:lnTo>
                  <a:pt x="6962" y="1498"/>
                </a:lnTo>
                <a:lnTo>
                  <a:pt x="6966" y="1492"/>
                </a:lnTo>
                <a:lnTo>
                  <a:pt x="6972" y="1486"/>
                </a:lnTo>
                <a:lnTo>
                  <a:pt x="6974" y="1480"/>
                </a:lnTo>
                <a:lnTo>
                  <a:pt x="6976" y="1474"/>
                </a:lnTo>
                <a:lnTo>
                  <a:pt x="6978" y="1468"/>
                </a:lnTo>
                <a:lnTo>
                  <a:pt x="6980" y="1464"/>
                </a:lnTo>
                <a:lnTo>
                  <a:pt x="6982" y="1462"/>
                </a:lnTo>
                <a:lnTo>
                  <a:pt x="6986" y="1460"/>
                </a:lnTo>
                <a:lnTo>
                  <a:pt x="6992" y="1460"/>
                </a:lnTo>
                <a:lnTo>
                  <a:pt x="6994" y="1458"/>
                </a:lnTo>
                <a:lnTo>
                  <a:pt x="6994" y="1456"/>
                </a:lnTo>
                <a:lnTo>
                  <a:pt x="6998" y="1450"/>
                </a:lnTo>
                <a:lnTo>
                  <a:pt x="7004" y="1444"/>
                </a:lnTo>
                <a:lnTo>
                  <a:pt x="7022" y="1430"/>
                </a:lnTo>
                <a:lnTo>
                  <a:pt x="7026" y="1428"/>
                </a:lnTo>
                <a:lnTo>
                  <a:pt x="7028" y="1430"/>
                </a:lnTo>
                <a:lnTo>
                  <a:pt x="7030" y="1434"/>
                </a:lnTo>
                <a:lnTo>
                  <a:pt x="7032" y="1436"/>
                </a:lnTo>
                <a:lnTo>
                  <a:pt x="7034" y="1438"/>
                </a:lnTo>
                <a:lnTo>
                  <a:pt x="7038" y="1438"/>
                </a:lnTo>
                <a:lnTo>
                  <a:pt x="7042" y="1436"/>
                </a:lnTo>
                <a:lnTo>
                  <a:pt x="7048" y="1434"/>
                </a:lnTo>
                <a:lnTo>
                  <a:pt x="7054" y="1432"/>
                </a:lnTo>
                <a:lnTo>
                  <a:pt x="7062" y="1434"/>
                </a:lnTo>
                <a:lnTo>
                  <a:pt x="7072" y="1434"/>
                </a:lnTo>
                <a:lnTo>
                  <a:pt x="7076" y="1434"/>
                </a:lnTo>
                <a:lnTo>
                  <a:pt x="7082" y="1432"/>
                </a:lnTo>
                <a:lnTo>
                  <a:pt x="7092" y="1434"/>
                </a:lnTo>
                <a:lnTo>
                  <a:pt x="7098" y="1438"/>
                </a:lnTo>
                <a:lnTo>
                  <a:pt x="7102" y="1440"/>
                </a:lnTo>
                <a:lnTo>
                  <a:pt x="7112" y="1444"/>
                </a:lnTo>
                <a:lnTo>
                  <a:pt x="7122" y="1448"/>
                </a:lnTo>
                <a:lnTo>
                  <a:pt x="7126" y="1450"/>
                </a:lnTo>
                <a:lnTo>
                  <a:pt x="7126" y="1454"/>
                </a:lnTo>
                <a:lnTo>
                  <a:pt x="7126" y="1462"/>
                </a:lnTo>
                <a:lnTo>
                  <a:pt x="7124" y="1472"/>
                </a:lnTo>
                <a:lnTo>
                  <a:pt x="7124" y="1480"/>
                </a:lnTo>
                <a:lnTo>
                  <a:pt x="7126" y="1484"/>
                </a:lnTo>
                <a:lnTo>
                  <a:pt x="7130" y="1486"/>
                </a:lnTo>
                <a:lnTo>
                  <a:pt x="7130" y="1490"/>
                </a:lnTo>
                <a:lnTo>
                  <a:pt x="7128" y="1494"/>
                </a:lnTo>
                <a:lnTo>
                  <a:pt x="7124" y="1494"/>
                </a:lnTo>
                <a:lnTo>
                  <a:pt x="7118" y="1494"/>
                </a:lnTo>
                <a:lnTo>
                  <a:pt x="7106" y="1496"/>
                </a:lnTo>
                <a:lnTo>
                  <a:pt x="7100" y="1498"/>
                </a:lnTo>
                <a:lnTo>
                  <a:pt x="7096" y="1502"/>
                </a:lnTo>
                <a:lnTo>
                  <a:pt x="7090" y="1512"/>
                </a:lnTo>
                <a:lnTo>
                  <a:pt x="7082" y="1526"/>
                </a:lnTo>
                <a:lnTo>
                  <a:pt x="7076" y="1532"/>
                </a:lnTo>
                <a:lnTo>
                  <a:pt x="7066" y="1540"/>
                </a:lnTo>
                <a:lnTo>
                  <a:pt x="7058" y="1546"/>
                </a:lnTo>
                <a:lnTo>
                  <a:pt x="7052" y="1550"/>
                </a:lnTo>
                <a:lnTo>
                  <a:pt x="7050" y="1554"/>
                </a:lnTo>
                <a:lnTo>
                  <a:pt x="7050" y="1556"/>
                </a:lnTo>
                <a:lnTo>
                  <a:pt x="7050" y="1558"/>
                </a:lnTo>
                <a:lnTo>
                  <a:pt x="7044" y="1560"/>
                </a:lnTo>
                <a:lnTo>
                  <a:pt x="7038" y="1562"/>
                </a:lnTo>
                <a:lnTo>
                  <a:pt x="7034" y="1566"/>
                </a:lnTo>
                <a:lnTo>
                  <a:pt x="7030" y="1572"/>
                </a:lnTo>
                <a:lnTo>
                  <a:pt x="7028" y="1576"/>
                </a:lnTo>
                <a:lnTo>
                  <a:pt x="7026" y="1578"/>
                </a:lnTo>
                <a:lnTo>
                  <a:pt x="7024" y="1576"/>
                </a:lnTo>
                <a:lnTo>
                  <a:pt x="7020" y="1576"/>
                </a:lnTo>
                <a:lnTo>
                  <a:pt x="7016" y="1578"/>
                </a:lnTo>
                <a:lnTo>
                  <a:pt x="7014" y="1582"/>
                </a:lnTo>
                <a:lnTo>
                  <a:pt x="7010" y="1586"/>
                </a:lnTo>
                <a:lnTo>
                  <a:pt x="7008" y="1588"/>
                </a:lnTo>
                <a:lnTo>
                  <a:pt x="7006" y="1588"/>
                </a:lnTo>
                <a:lnTo>
                  <a:pt x="7004" y="1588"/>
                </a:lnTo>
                <a:lnTo>
                  <a:pt x="7002" y="1590"/>
                </a:lnTo>
                <a:lnTo>
                  <a:pt x="7002" y="1596"/>
                </a:lnTo>
                <a:lnTo>
                  <a:pt x="7002" y="1602"/>
                </a:lnTo>
                <a:lnTo>
                  <a:pt x="7002" y="1606"/>
                </a:lnTo>
                <a:lnTo>
                  <a:pt x="6998" y="1610"/>
                </a:lnTo>
                <a:lnTo>
                  <a:pt x="6996" y="1610"/>
                </a:lnTo>
                <a:lnTo>
                  <a:pt x="6992" y="1612"/>
                </a:lnTo>
                <a:lnTo>
                  <a:pt x="6984" y="1610"/>
                </a:lnTo>
                <a:lnTo>
                  <a:pt x="6978" y="1608"/>
                </a:lnTo>
                <a:lnTo>
                  <a:pt x="6976" y="1610"/>
                </a:lnTo>
                <a:lnTo>
                  <a:pt x="6976" y="1612"/>
                </a:lnTo>
                <a:lnTo>
                  <a:pt x="6974" y="1616"/>
                </a:lnTo>
                <a:lnTo>
                  <a:pt x="6972" y="1622"/>
                </a:lnTo>
                <a:lnTo>
                  <a:pt x="6964" y="1632"/>
                </a:lnTo>
                <a:lnTo>
                  <a:pt x="6960" y="1638"/>
                </a:lnTo>
                <a:lnTo>
                  <a:pt x="6958" y="1646"/>
                </a:lnTo>
                <a:lnTo>
                  <a:pt x="6960" y="1654"/>
                </a:lnTo>
                <a:lnTo>
                  <a:pt x="6962" y="1664"/>
                </a:lnTo>
                <a:lnTo>
                  <a:pt x="6966" y="1672"/>
                </a:lnTo>
                <a:lnTo>
                  <a:pt x="6966" y="1678"/>
                </a:lnTo>
                <a:lnTo>
                  <a:pt x="6966" y="1680"/>
                </a:lnTo>
                <a:lnTo>
                  <a:pt x="6964" y="1684"/>
                </a:lnTo>
                <a:lnTo>
                  <a:pt x="6962" y="1686"/>
                </a:lnTo>
                <a:lnTo>
                  <a:pt x="6962" y="1690"/>
                </a:lnTo>
                <a:lnTo>
                  <a:pt x="6966" y="1696"/>
                </a:lnTo>
                <a:lnTo>
                  <a:pt x="6972" y="1704"/>
                </a:lnTo>
                <a:lnTo>
                  <a:pt x="6978" y="1710"/>
                </a:lnTo>
                <a:lnTo>
                  <a:pt x="6978" y="1714"/>
                </a:lnTo>
                <a:lnTo>
                  <a:pt x="6978" y="1716"/>
                </a:lnTo>
                <a:lnTo>
                  <a:pt x="6976" y="1716"/>
                </a:lnTo>
                <a:lnTo>
                  <a:pt x="6972" y="1718"/>
                </a:lnTo>
                <a:lnTo>
                  <a:pt x="6970" y="1720"/>
                </a:lnTo>
                <a:lnTo>
                  <a:pt x="6970" y="1724"/>
                </a:lnTo>
                <a:lnTo>
                  <a:pt x="6972" y="1732"/>
                </a:lnTo>
                <a:lnTo>
                  <a:pt x="6972" y="1740"/>
                </a:lnTo>
                <a:lnTo>
                  <a:pt x="6968" y="1762"/>
                </a:lnTo>
                <a:lnTo>
                  <a:pt x="6964" y="1772"/>
                </a:lnTo>
                <a:lnTo>
                  <a:pt x="6964" y="1780"/>
                </a:lnTo>
                <a:lnTo>
                  <a:pt x="6966" y="1782"/>
                </a:lnTo>
                <a:lnTo>
                  <a:pt x="6970" y="1784"/>
                </a:lnTo>
                <a:lnTo>
                  <a:pt x="6982" y="1788"/>
                </a:lnTo>
                <a:lnTo>
                  <a:pt x="7006" y="1792"/>
                </a:lnTo>
                <a:lnTo>
                  <a:pt x="7012" y="1796"/>
                </a:lnTo>
                <a:lnTo>
                  <a:pt x="7014" y="1798"/>
                </a:lnTo>
                <a:lnTo>
                  <a:pt x="7012" y="1802"/>
                </a:lnTo>
                <a:lnTo>
                  <a:pt x="7012" y="1810"/>
                </a:lnTo>
                <a:lnTo>
                  <a:pt x="7014" y="1818"/>
                </a:lnTo>
                <a:lnTo>
                  <a:pt x="7016" y="1820"/>
                </a:lnTo>
                <a:lnTo>
                  <a:pt x="7018" y="1822"/>
                </a:lnTo>
                <a:lnTo>
                  <a:pt x="7020" y="1820"/>
                </a:lnTo>
                <a:lnTo>
                  <a:pt x="7024" y="1818"/>
                </a:lnTo>
                <a:lnTo>
                  <a:pt x="7030" y="1812"/>
                </a:lnTo>
                <a:lnTo>
                  <a:pt x="7036" y="1812"/>
                </a:lnTo>
                <a:lnTo>
                  <a:pt x="7038" y="1812"/>
                </a:lnTo>
                <a:lnTo>
                  <a:pt x="7040" y="1814"/>
                </a:lnTo>
                <a:lnTo>
                  <a:pt x="7038" y="1818"/>
                </a:lnTo>
                <a:lnTo>
                  <a:pt x="7036" y="1822"/>
                </a:lnTo>
                <a:lnTo>
                  <a:pt x="7032" y="1830"/>
                </a:lnTo>
                <a:lnTo>
                  <a:pt x="7030" y="1832"/>
                </a:lnTo>
                <a:lnTo>
                  <a:pt x="7036" y="1832"/>
                </a:lnTo>
                <a:lnTo>
                  <a:pt x="7050" y="1824"/>
                </a:lnTo>
                <a:lnTo>
                  <a:pt x="7060" y="1822"/>
                </a:lnTo>
                <a:lnTo>
                  <a:pt x="7074" y="1820"/>
                </a:lnTo>
                <a:lnTo>
                  <a:pt x="7092" y="1816"/>
                </a:lnTo>
                <a:lnTo>
                  <a:pt x="7122" y="1806"/>
                </a:lnTo>
                <a:lnTo>
                  <a:pt x="7132" y="1802"/>
                </a:lnTo>
                <a:lnTo>
                  <a:pt x="7138" y="1800"/>
                </a:lnTo>
                <a:lnTo>
                  <a:pt x="7144" y="1802"/>
                </a:lnTo>
                <a:lnTo>
                  <a:pt x="7146" y="1802"/>
                </a:lnTo>
                <a:lnTo>
                  <a:pt x="7150" y="1804"/>
                </a:lnTo>
                <a:lnTo>
                  <a:pt x="7154" y="1798"/>
                </a:lnTo>
                <a:lnTo>
                  <a:pt x="7160" y="1794"/>
                </a:lnTo>
                <a:lnTo>
                  <a:pt x="7164" y="1794"/>
                </a:lnTo>
                <a:lnTo>
                  <a:pt x="7168" y="1796"/>
                </a:lnTo>
                <a:lnTo>
                  <a:pt x="7174" y="1794"/>
                </a:lnTo>
                <a:lnTo>
                  <a:pt x="7182" y="1792"/>
                </a:lnTo>
                <a:lnTo>
                  <a:pt x="7190" y="1788"/>
                </a:lnTo>
                <a:lnTo>
                  <a:pt x="7196" y="1788"/>
                </a:lnTo>
                <a:lnTo>
                  <a:pt x="7206" y="1788"/>
                </a:lnTo>
                <a:lnTo>
                  <a:pt x="7216" y="1788"/>
                </a:lnTo>
                <a:lnTo>
                  <a:pt x="7222" y="1786"/>
                </a:lnTo>
                <a:lnTo>
                  <a:pt x="7230" y="1784"/>
                </a:lnTo>
                <a:lnTo>
                  <a:pt x="7234" y="1786"/>
                </a:lnTo>
                <a:lnTo>
                  <a:pt x="7240" y="1786"/>
                </a:lnTo>
                <a:lnTo>
                  <a:pt x="7250" y="1780"/>
                </a:lnTo>
                <a:lnTo>
                  <a:pt x="7258" y="1772"/>
                </a:lnTo>
                <a:lnTo>
                  <a:pt x="7262" y="1772"/>
                </a:lnTo>
                <a:lnTo>
                  <a:pt x="7264" y="1772"/>
                </a:lnTo>
                <a:lnTo>
                  <a:pt x="7266" y="1774"/>
                </a:lnTo>
                <a:lnTo>
                  <a:pt x="7262" y="1776"/>
                </a:lnTo>
                <a:lnTo>
                  <a:pt x="7260" y="1778"/>
                </a:lnTo>
                <a:lnTo>
                  <a:pt x="7262" y="1784"/>
                </a:lnTo>
                <a:lnTo>
                  <a:pt x="7264" y="1788"/>
                </a:lnTo>
                <a:lnTo>
                  <a:pt x="7262" y="1788"/>
                </a:lnTo>
                <a:lnTo>
                  <a:pt x="7258" y="1786"/>
                </a:lnTo>
                <a:lnTo>
                  <a:pt x="7254" y="1786"/>
                </a:lnTo>
                <a:lnTo>
                  <a:pt x="7256" y="1792"/>
                </a:lnTo>
                <a:lnTo>
                  <a:pt x="7262" y="1798"/>
                </a:lnTo>
                <a:lnTo>
                  <a:pt x="7266" y="1798"/>
                </a:lnTo>
                <a:lnTo>
                  <a:pt x="7268" y="1798"/>
                </a:lnTo>
                <a:lnTo>
                  <a:pt x="7272" y="1804"/>
                </a:lnTo>
                <a:lnTo>
                  <a:pt x="7276" y="1806"/>
                </a:lnTo>
                <a:lnTo>
                  <a:pt x="7282" y="1808"/>
                </a:lnTo>
                <a:lnTo>
                  <a:pt x="7292" y="1808"/>
                </a:lnTo>
                <a:lnTo>
                  <a:pt x="7302" y="1808"/>
                </a:lnTo>
                <a:lnTo>
                  <a:pt x="7308" y="1810"/>
                </a:lnTo>
                <a:lnTo>
                  <a:pt x="7310" y="1812"/>
                </a:lnTo>
                <a:lnTo>
                  <a:pt x="7312" y="1816"/>
                </a:lnTo>
                <a:lnTo>
                  <a:pt x="7316" y="1818"/>
                </a:lnTo>
                <a:lnTo>
                  <a:pt x="7322" y="1820"/>
                </a:lnTo>
                <a:lnTo>
                  <a:pt x="7326" y="1820"/>
                </a:lnTo>
                <a:lnTo>
                  <a:pt x="7326" y="1822"/>
                </a:lnTo>
                <a:lnTo>
                  <a:pt x="7326" y="1824"/>
                </a:lnTo>
                <a:lnTo>
                  <a:pt x="7322" y="1828"/>
                </a:lnTo>
                <a:lnTo>
                  <a:pt x="7318" y="1828"/>
                </a:lnTo>
                <a:lnTo>
                  <a:pt x="7294" y="1820"/>
                </a:lnTo>
                <a:lnTo>
                  <a:pt x="7286" y="1820"/>
                </a:lnTo>
                <a:lnTo>
                  <a:pt x="7280" y="1820"/>
                </a:lnTo>
                <a:lnTo>
                  <a:pt x="7278" y="1824"/>
                </a:lnTo>
                <a:lnTo>
                  <a:pt x="7276" y="1826"/>
                </a:lnTo>
                <a:lnTo>
                  <a:pt x="7274" y="1830"/>
                </a:lnTo>
                <a:lnTo>
                  <a:pt x="7272" y="1832"/>
                </a:lnTo>
                <a:lnTo>
                  <a:pt x="7268" y="1834"/>
                </a:lnTo>
                <a:lnTo>
                  <a:pt x="7264" y="1832"/>
                </a:lnTo>
                <a:lnTo>
                  <a:pt x="7258" y="1830"/>
                </a:lnTo>
                <a:lnTo>
                  <a:pt x="7254" y="1830"/>
                </a:lnTo>
                <a:lnTo>
                  <a:pt x="7254" y="1834"/>
                </a:lnTo>
                <a:lnTo>
                  <a:pt x="7254" y="1836"/>
                </a:lnTo>
                <a:lnTo>
                  <a:pt x="7252" y="1840"/>
                </a:lnTo>
                <a:lnTo>
                  <a:pt x="7250" y="1840"/>
                </a:lnTo>
                <a:lnTo>
                  <a:pt x="7244" y="1838"/>
                </a:lnTo>
                <a:lnTo>
                  <a:pt x="7240" y="1834"/>
                </a:lnTo>
                <a:lnTo>
                  <a:pt x="7236" y="1834"/>
                </a:lnTo>
                <a:lnTo>
                  <a:pt x="7236" y="1836"/>
                </a:lnTo>
                <a:lnTo>
                  <a:pt x="7236" y="1838"/>
                </a:lnTo>
                <a:lnTo>
                  <a:pt x="7238" y="1846"/>
                </a:lnTo>
                <a:lnTo>
                  <a:pt x="7238" y="1850"/>
                </a:lnTo>
                <a:lnTo>
                  <a:pt x="7236" y="1854"/>
                </a:lnTo>
                <a:lnTo>
                  <a:pt x="7226" y="1858"/>
                </a:lnTo>
                <a:lnTo>
                  <a:pt x="7214" y="1858"/>
                </a:lnTo>
                <a:lnTo>
                  <a:pt x="7204" y="1858"/>
                </a:lnTo>
                <a:lnTo>
                  <a:pt x="7192" y="1854"/>
                </a:lnTo>
                <a:lnTo>
                  <a:pt x="7182" y="1848"/>
                </a:lnTo>
                <a:lnTo>
                  <a:pt x="7172" y="1846"/>
                </a:lnTo>
                <a:lnTo>
                  <a:pt x="7160" y="1846"/>
                </a:lnTo>
                <a:lnTo>
                  <a:pt x="7144" y="1842"/>
                </a:lnTo>
                <a:lnTo>
                  <a:pt x="7138" y="1842"/>
                </a:lnTo>
                <a:lnTo>
                  <a:pt x="7134" y="1842"/>
                </a:lnTo>
                <a:lnTo>
                  <a:pt x="7132" y="1844"/>
                </a:lnTo>
                <a:lnTo>
                  <a:pt x="7132" y="1846"/>
                </a:lnTo>
                <a:lnTo>
                  <a:pt x="7130" y="1850"/>
                </a:lnTo>
                <a:lnTo>
                  <a:pt x="7126" y="1852"/>
                </a:lnTo>
                <a:lnTo>
                  <a:pt x="7120" y="1852"/>
                </a:lnTo>
                <a:lnTo>
                  <a:pt x="7106" y="1850"/>
                </a:lnTo>
                <a:lnTo>
                  <a:pt x="7092" y="1852"/>
                </a:lnTo>
                <a:lnTo>
                  <a:pt x="7082" y="1856"/>
                </a:lnTo>
                <a:lnTo>
                  <a:pt x="7078" y="1858"/>
                </a:lnTo>
                <a:lnTo>
                  <a:pt x="7076" y="1862"/>
                </a:lnTo>
                <a:lnTo>
                  <a:pt x="7074" y="1864"/>
                </a:lnTo>
                <a:lnTo>
                  <a:pt x="7072" y="1866"/>
                </a:lnTo>
                <a:lnTo>
                  <a:pt x="7064" y="1868"/>
                </a:lnTo>
                <a:lnTo>
                  <a:pt x="7058" y="1872"/>
                </a:lnTo>
                <a:lnTo>
                  <a:pt x="7056" y="1874"/>
                </a:lnTo>
                <a:lnTo>
                  <a:pt x="7054" y="1880"/>
                </a:lnTo>
                <a:lnTo>
                  <a:pt x="7052" y="1890"/>
                </a:lnTo>
                <a:lnTo>
                  <a:pt x="7052" y="1898"/>
                </a:lnTo>
                <a:lnTo>
                  <a:pt x="7054" y="1904"/>
                </a:lnTo>
                <a:lnTo>
                  <a:pt x="7056" y="1912"/>
                </a:lnTo>
                <a:lnTo>
                  <a:pt x="7062" y="1920"/>
                </a:lnTo>
                <a:lnTo>
                  <a:pt x="7066" y="1928"/>
                </a:lnTo>
                <a:lnTo>
                  <a:pt x="7070" y="1930"/>
                </a:lnTo>
                <a:lnTo>
                  <a:pt x="7074" y="1932"/>
                </a:lnTo>
                <a:lnTo>
                  <a:pt x="7080" y="1930"/>
                </a:lnTo>
                <a:lnTo>
                  <a:pt x="7086" y="1928"/>
                </a:lnTo>
                <a:lnTo>
                  <a:pt x="7094" y="1924"/>
                </a:lnTo>
                <a:lnTo>
                  <a:pt x="7096" y="1924"/>
                </a:lnTo>
                <a:lnTo>
                  <a:pt x="7096" y="1928"/>
                </a:lnTo>
                <a:lnTo>
                  <a:pt x="7086" y="1956"/>
                </a:lnTo>
                <a:lnTo>
                  <a:pt x="7086" y="1964"/>
                </a:lnTo>
                <a:lnTo>
                  <a:pt x="7088" y="1972"/>
                </a:lnTo>
                <a:lnTo>
                  <a:pt x="7092" y="1986"/>
                </a:lnTo>
                <a:lnTo>
                  <a:pt x="7092" y="1992"/>
                </a:lnTo>
                <a:lnTo>
                  <a:pt x="7090" y="1998"/>
                </a:lnTo>
                <a:lnTo>
                  <a:pt x="7086" y="2004"/>
                </a:lnTo>
                <a:lnTo>
                  <a:pt x="7076" y="2008"/>
                </a:lnTo>
                <a:lnTo>
                  <a:pt x="7064" y="2012"/>
                </a:lnTo>
                <a:lnTo>
                  <a:pt x="7054" y="2010"/>
                </a:lnTo>
                <a:lnTo>
                  <a:pt x="7048" y="2008"/>
                </a:lnTo>
                <a:lnTo>
                  <a:pt x="7044" y="2002"/>
                </a:lnTo>
                <a:lnTo>
                  <a:pt x="7038" y="1990"/>
                </a:lnTo>
                <a:lnTo>
                  <a:pt x="7034" y="1984"/>
                </a:lnTo>
                <a:lnTo>
                  <a:pt x="7028" y="1980"/>
                </a:lnTo>
                <a:lnTo>
                  <a:pt x="7022" y="1976"/>
                </a:lnTo>
                <a:lnTo>
                  <a:pt x="7018" y="1974"/>
                </a:lnTo>
                <a:lnTo>
                  <a:pt x="7018" y="1970"/>
                </a:lnTo>
                <a:lnTo>
                  <a:pt x="7018" y="1968"/>
                </a:lnTo>
                <a:lnTo>
                  <a:pt x="7018" y="1966"/>
                </a:lnTo>
                <a:lnTo>
                  <a:pt x="7016" y="1964"/>
                </a:lnTo>
                <a:lnTo>
                  <a:pt x="7010" y="1966"/>
                </a:lnTo>
                <a:lnTo>
                  <a:pt x="6986" y="1974"/>
                </a:lnTo>
                <a:lnTo>
                  <a:pt x="6980" y="1978"/>
                </a:lnTo>
                <a:lnTo>
                  <a:pt x="6976" y="1980"/>
                </a:lnTo>
                <a:lnTo>
                  <a:pt x="6970" y="1992"/>
                </a:lnTo>
                <a:lnTo>
                  <a:pt x="6968" y="1996"/>
                </a:lnTo>
                <a:lnTo>
                  <a:pt x="6970" y="2002"/>
                </a:lnTo>
                <a:lnTo>
                  <a:pt x="6970" y="2006"/>
                </a:lnTo>
                <a:lnTo>
                  <a:pt x="6970" y="2008"/>
                </a:lnTo>
                <a:lnTo>
                  <a:pt x="6966" y="2012"/>
                </a:lnTo>
                <a:lnTo>
                  <a:pt x="6960" y="2018"/>
                </a:lnTo>
                <a:lnTo>
                  <a:pt x="6956" y="2022"/>
                </a:lnTo>
                <a:lnTo>
                  <a:pt x="6954" y="2026"/>
                </a:lnTo>
                <a:lnTo>
                  <a:pt x="6952" y="2038"/>
                </a:lnTo>
                <a:lnTo>
                  <a:pt x="6952" y="2048"/>
                </a:lnTo>
                <a:lnTo>
                  <a:pt x="6952" y="2070"/>
                </a:lnTo>
                <a:lnTo>
                  <a:pt x="6954" y="2084"/>
                </a:lnTo>
                <a:lnTo>
                  <a:pt x="6954" y="2088"/>
                </a:lnTo>
                <a:lnTo>
                  <a:pt x="6958" y="2094"/>
                </a:lnTo>
                <a:lnTo>
                  <a:pt x="6962" y="2100"/>
                </a:lnTo>
                <a:lnTo>
                  <a:pt x="6964" y="2108"/>
                </a:lnTo>
                <a:lnTo>
                  <a:pt x="6964" y="2120"/>
                </a:lnTo>
                <a:lnTo>
                  <a:pt x="6964" y="2124"/>
                </a:lnTo>
                <a:lnTo>
                  <a:pt x="6962" y="2124"/>
                </a:lnTo>
                <a:lnTo>
                  <a:pt x="6960" y="2126"/>
                </a:lnTo>
                <a:lnTo>
                  <a:pt x="6962" y="2134"/>
                </a:lnTo>
                <a:lnTo>
                  <a:pt x="6962" y="2136"/>
                </a:lnTo>
                <a:lnTo>
                  <a:pt x="6960" y="2138"/>
                </a:lnTo>
                <a:lnTo>
                  <a:pt x="6956" y="2142"/>
                </a:lnTo>
                <a:lnTo>
                  <a:pt x="6948" y="2142"/>
                </a:lnTo>
                <a:lnTo>
                  <a:pt x="6942" y="2142"/>
                </a:lnTo>
                <a:lnTo>
                  <a:pt x="6942" y="2140"/>
                </a:lnTo>
                <a:lnTo>
                  <a:pt x="6940" y="2140"/>
                </a:lnTo>
                <a:lnTo>
                  <a:pt x="6942" y="2134"/>
                </a:lnTo>
                <a:lnTo>
                  <a:pt x="6952" y="2122"/>
                </a:lnTo>
                <a:lnTo>
                  <a:pt x="6954" y="2118"/>
                </a:lnTo>
                <a:lnTo>
                  <a:pt x="6952" y="2118"/>
                </a:lnTo>
                <a:lnTo>
                  <a:pt x="6940" y="2130"/>
                </a:lnTo>
                <a:lnTo>
                  <a:pt x="6934" y="2138"/>
                </a:lnTo>
                <a:lnTo>
                  <a:pt x="6930" y="2138"/>
                </a:lnTo>
                <a:lnTo>
                  <a:pt x="6924" y="2138"/>
                </a:lnTo>
                <a:lnTo>
                  <a:pt x="6916" y="2138"/>
                </a:lnTo>
                <a:lnTo>
                  <a:pt x="6912" y="2140"/>
                </a:lnTo>
                <a:lnTo>
                  <a:pt x="6910" y="2142"/>
                </a:lnTo>
                <a:lnTo>
                  <a:pt x="6908" y="2148"/>
                </a:lnTo>
                <a:lnTo>
                  <a:pt x="6910" y="2152"/>
                </a:lnTo>
                <a:lnTo>
                  <a:pt x="6908" y="2158"/>
                </a:lnTo>
                <a:lnTo>
                  <a:pt x="6904" y="2162"/>
                </a:lnTo>
                <a:lnTo>
                  <a:pt x="6898" y="2168"/>
                </a:lnTo>
                <a:lnTo>
                  <a:pt x="6886" y="2174"/>
                </a:lnTo>
                <a:lnTo>
                  <a:pt x="6874" y="2176"/>
                </a:lnTo>
                <a:lnTo>
                  <a:pt x="6866" y="2176"/>
                </a:lnTo>
                <a:lnTo>
                  <a:pt x="6862" y="2174"/>
                </a:lnTo>
                <a:lnTo>
                  <a:pt x="6858" y="2170"/>
                </a:lnTo>
                <a:lnTo>
                  <a:pt x="6854" y="2166"/>
                </a:lnTo>
                <a:lnTo>
                  <a:pt x="6850" y="2154"/>
                </a:lnTo>
                <a:lnTo>
                  <a:pt x="6852" y="2154"/>
                </a:lnTo>
                <a:lnTo>
                  <a:pt x="6858" y="2158"/>
                </a:lnTo>
                <a:lnTo>
                  <a:pt x="6864" y="2162"/>
                </a:lnTo>
                <a:lnTo>
                  <a:pt x="6868" y="2162"/>
                </a:lnTo>
                <a:lnTo>
                  <a:pt x="6868" y="2160"/>
                </a:lnTo>
                <a:lnTo>
                  <a:pt x="6866" y="2158"/>
                </a:lnTo>
                <a:lnTo>
                  <a:pt x="6852" y="2150"/>
                </a:lnTo>
                <a:lnTo>
                  <a:pt x="6844" y="2146"/>
                </a:lnTo>
                <a:lnTo>
                  <a:pt x="6836" y="2146"/>
                </a:lnTo>
                <a:lnTo>
                  <a:pt x="6822" y="2148"/>
                </a:lnTo>
                <a:lnTo>
                  <a:pt x="6802" y="2152"/>
                </a:lnTo>
                <a:lnTo>
                  <a:pt x="6798" y="2156"/>
                </a:lnTo>
                <a:lnTo>
                  <a:pt x="6794" y="2158"/>
                </a:lnTo>
                <a:lnTo>
                  <a:pt x="6784" y="2162"/>
                </a:lnTo>
                <a:lnTo>
                  <a:pt x="6776" y="2164"/>
                </a:lnTo>
                <a:lnTo>
                  <a:pt x="6770" y="2168"/>
                </a:lnTo>
                <a:lnTo>
                  <a:pt x="6766" y="2172"/>
                </a:lnTo>
                <a:lnTo>
                  <a:pt x="6764" y="2176"/>
                </a:lnTo>
                <a:lnTo>
                  <a:pt x="6760" y="2178"/>
                </a:lnTo>
                <a:lnTo>
                  <a:pt x="6752" y="2182"/>
                </a:lnTo>
                <a:lnTo>
                  <a:pt x="6738" y="2186"/>
                </a:lnTo>
                <a:lnTo>
                  <a:pt x="6718" y="2192"/>
                </a:lnTo>
                <a:lnTo>
                  <a:pt x="6704" y="2198"/>
                </a:lnTo>
                <a:lnTo>
                  <a:pt x="6692" y="2202"/>
                </a:lnTo>
                <a:lnTo>
                  <a:pt x="6686" y="2202"/>
                </a:lnTo>
                <a:lnTo>
                  <a:pt x="6680" y="2202"/>
                </a:lnTo>
                <a:lnTo>
                  <a:pt x="6676" y="2200"/>
                </a:lnTo>
                <a:lnTo>
                  <a:pt x="6672" y="2196"/>
                </a:lnTo>
                <a:lnTo>
                  <a:pt x="6664" y="2188"/>
                </a:lnTo>
                <a:lnTo>
                  <a:pt x="6664" y="2192"/>
                </a:lnTo>
                <a:lnTo>
                  <a:pt x="6668" y="2200"/>
                </a:lnTo>
                <a:lnTo>
                  <a:pt x="6668" y="2202"/>
                </a:lnTo>
                <a:lnTo>
                  <a:pt x="6668" y="2204"/>
                </a:lnTo>
                <a:lnTo>
                  <a:pt x="6666" y="2206"/>
                </a:lnTo>
                <a:lnTo>
                  <a:pt x="6666" y="2208"/>
                </a:lnTo>
                <a:lnTo>
                  <a:pt x="6670" y="2208"/>
                </a:lnTo>
                <a:lnTo>
                  <a:pt x="6674" y="2206"/>
                </a:lnTo>
                <a:lnTo>
                  <a:pt x="6678" y="2206"/>
                </a:lnTo>
                <a:lnTo>
                  <a:pt x="6680" y="2206"/>
                </a:lnTo>
                <a:lnTo>
                  <a:pt x="6684" y="2210"/>
                </a:lnTo>
                <a:lnTo>
                  <a:pt x="6686" y="2208"/>
                </a:lnTo>
                <a:lnTo>
                  <a:pt x="6688" y="2208"/>
                </a:lnTo>
                <a:lnTo>
                  <a:pt x="6692" y="2208"/>
                </a:lnTo>
                <a:lnTo>
                  <a:pt x="6694" y="2210"/>
                </a:lnTo>
                <a:lnTo>
                  <a:pt x="6694" y="2218"/>
                </a:lnTo>
                <a:lnTo>
                  <a:pt x="6694" y="2220"/>
                </a:lnTo>
                <a:lnTo>
                  <a:pt x="6692" y="2220"/>
                </a:lnTo>
                <a:lnTo>
                  <a:pt x="6688" y="2218"/>
                </a:lnTo>
                <a:lnTo>
                  <a:pt x="6682" y="2216"/>
                </a:lnTo>
                <a:lnTo>
                  <a:pt x="6680" y="2214"/>
                </a:lnTo>
                <a:lnTo>
                  <a:pt x="6670" y="2212"/>
                </a:lnTo>
                <a:lnTo>
                  <a:pt x="6664" y="2210"/>
                </a:lnTo>
                <a:lnTo>
                  <a:pt x="6664" y="2208"/>
                </a:lnTo>
                <a:lnTo>
                  <a:pt x="6664" y="2204"/>
                </a:lnTo>
                <a:lnTo>
                  <a:pt x="6664" y="2200"/>
                </a:lnTo>
                <a:lnTo>
                  <a:pt x="6662" y="2198"/>
                </a:lnTo>
                <a:lnTo>
                  <a:pt x="6662" y="2194"/>
                </a:lnTo>
                <a:lnTo>
                  <a:pt x="6660" y="2188"/>
                </a:lnTo>
                <a:lnTo>
                  <a:pt x="6658" y="2188"/>
                </a:lnTo>
                <a:lnTo>
                  <a:pt x="6654" y="2190"/>
                </a:lnTo>
                <a:lnTo>
                  <a:pt x="6646" y="2190"/>
                </a:lnTo>
                <a:lnTo>
                  <a:pt x="6642" y="2188"/>
                </a:lnTo>
                <a:lnTo>
                  <a:pt x="6638" y="2184"/>
                </a:lnTo>
                <a:lnTo>
                  <a:pt x="6634" y="2178"/>
                </a:lnTo>
                <a:lnTo>
                  <a:pt x="6632" y="2174"/>
                </a:lnTo>
                <a:lnTo>
                  <a:pt x="6632" y="2172"/>
                </a:lnTo>
                <a:lnTo>
                  <a:pt x="6628" y="2172"/>
                </a:lnTo>
                <a:lnTo>
                  <a:pt x="6622" y="2172"/>
                </a:lnTo>
                <a:lnTo>
                  <a:pt x="6618" y="2170"/>
                </a:lnTo>
                <a:lnTo>
                  <a:pt x="6614" y="2168"/>
                </a:lnTo>
                <a:lnTo>
                  <a:pt x="6612" y="2168"/>
                </a:lnTo>
                <a:lnTo>
                  <a:pt x="6608" y="2172"/>
                </a:lnTo>
                <a:lnTo>
                  <a:pt x="6604" y="2178"/>
                </a:lnTo>
                <a:lnTo>
                  <a:pt x="6596" y="2184"/>
                </a:lnTo>
                <a:lnTo>
                  <a:pt x="6592" y="2186"/>
                </a:lnTo>
                <a:lnTo>
                  <a:pt x="6586" y="2188"/>
                </a:lnTo>
                <a:lnTo>
                  <a:pt x="6580" y="2188"/>
                </a:lnTo>
                <a:lnTo>
                  <a:pt x="6576" y="2190"/>
                </a:lnTo>
                <a:lnTo>
                  <a:pt x="6572" y="2198"/>
                </a:lnTo>
                <a:lnTo>
                  <a:pt x="6568" y="2202"/>
                </a:lnTo>
                <a:lnTo>
                  <a:pt x="6566" y="2202"/>
                </a:lnTo>
                <a:lnTo>
                  <a:pt x="6562" y="2200"/>
                </a:lnTo>
                <a:lnTo>
                  <a:pt x="6558" y="2198"/>
                </a:lnTo>
                <a:lnTo>
                  <a:pt x="6554" y="2198"/>
                </a:lnTo>
                <a:lnTo>
                  <a:pt x="6550" y="2198"/>
                </a:lnTo>
                <a:lnTo>
                  <a:pt x="6544" y="2200"/>
                </a:lnTo>
                <a:lnTo>
                  <a:pt x="6542" y="2200"/>
                </a:lnTo>
                <a:lnTo>
                  <a:pt x="6540" y="2198"/>
                </a:lnTo>
                <a:lnTo>
                  <a:pt x="6540" y="2196"/>
                </a:lnTo>
                <a:lnTo>
                  <a:pt x="6542" y="2194"/>
                </a:lnTo>
                <a:lnTo>
                  <a:pt x="6548" y="2190"/>
                </a:lnTo>
                <a:lnTo>
                  <a:pt x="6554" y="2186"/>
                </a:lnTo>
                <a:lnTo>
                  <a:pt x="6556" y="2184"/>
                </a:lnTo>
                <a:lnTo>
                  <a:pt x="6554" y="2182"/>
                </a:lnTo>
                <a:lnTo>
                  <a:pt x="6554" y="2180"/>
                </a:lnTo>
                <a:lnTo>
                  <a:pt x="6556" y="2176"/>
                </a:lnTo>
                <a:lnTo>
                  <a:pt x="6556" y="2174"/>
                </a:lnTo>
                <a:lnTo>
                  <a:pt x="6554" y="2174"/>
                </a:lnTo>
                <a:lnTo>
                  <a:pt x="6546" y="2176"/>
                </a:lnTo>
                <a:lnTo>
                  <a:pt x="6540" y="2178"/>
                </a:lnTo>
                <a:lnTo>
                  <a:pt x="6536" y="2178"/>
                </a:lnTo>
                <a:lnTo>
                  <a:pt x="6532" y="2178"/>
                </a:lnTo>
                <a:lnTo>
                  <a:pt x="6530" y="2176"/>
                </a:lnTo>
                <a:lnTo>
                  <a:pt x="6528" y="2172"/>
                </a:lnTo>
                <a:lnTo>
                  <a:pt x="6526" y="2172"/>
                </a:lnTo>
                <a:lnTo>
                  <a:pt x="6522" y="2172"/>
                </a:lnTo>
                <a:lnTo>
                  <a:pt x="6520" y="2174"/>
                </a:lnTo>
                <a:lnTo>
                  <a:pt x="6518" y="2172"/>
                </a:lnTo>
                <a:lnTo>
                  <a:pt x="6514" y="2168"/>
                </a:lnTo>
                <a:lnTo>
                  <a:pt x="6510" y="2168"/>
                </a:lnTo>
                <a:lnTo>
                  <a:pt x="6506" y="2168"/>
                </a:lnTo>
                <a:lnTo>
                  <a:pt x="6508" y="2166"/>
                </a:lnTo>
                <a:lnTo>
                  <a:pt x="6512" y="2162"/>
                </a:lnTo>
                <a:lnTo>
                  <a:pt x="6512" y="2158"/>
                </a:lnTo>
                <a:lnTo>
                  <a:pt x="6510" y="2156"/>
                </a:lnTo>
                <a:lnTo>
                  <a:pt x="6508" y="2150"/>
                </a:lnTo>
                <a:lnTo>
                  <a:pt x="6506" y="2150"/>
                </a:lnTo>
                <a:lnTo>
                  <a:pt x="6504" y="2150"/>
                </a:lnTo>
                <a:lnTo>
                  <a:pt x="6500" y="2150"/>
                </a:lnTo>
                <a:lnTo>
                  <a:pt x="6496" y="2148"/>
                </a:lnTo>
                <a:lnTo>
                  <a:pt x="6494" y="2148"/>
                </a:lnTo>
                <a:lnTo>
                  <a:pt x="6490" y="2148"/>
                </a:lnTo>
                <a:lnTo>
                  <a:pt x="6488" y="2148"/>
                </a:lnTo>
                <a:lnTo>
                  <a:pt x="6492" y="2142"/>
                </a:lnTo>
                <a:lnTo>
                  <a:pt x="6494" y="2142"/>
                </a:lnTo>
                <a:lnTo>
                  <a:pt x="6494" y="2144"/>
                </a:lnTo>
                <a:lnTo>
                  <a:pt x="6496" y="2144"/>
                </a:lnTo>
                <a:lnTo>
                  <a:pt x="6500" y="2146"/>
                </a:lnTo>
                <a:lnTo>
                  <a:pt x="6502" y="2144"/>
                </a:lnTo>
                <a:lnTo>
                  <a:pt x="6504" y="2144"/>
                </a:lnTo>
                <a:lnTo>
                  <a:pt x="6506" y="2144"/>
                </a:lnTo>
                <a:lnTo>
                  <a:pt x="6508" y="2146"/>
                </a:lnTo>
                <a:lnTo>
                  <a:pt x="6512" y="2144"/>
                </a:lnTo>
                <a:lnTo>
                  <a:pt x="6512" y="2142"/>
                </a:lnTo>
                <a:lnTo>
                  <a:pt x="6512" y="2140"/>
                </a:lnTo>
                <a:lnTo>
                  <a:pt x="6506" y="2134"/>
                </a:lnTo>
                <a:lnTo>
                  <a:pt x="6500" y="2132"/>
                </a:lnTo>
                <a:lnTo>
                  <a:pt x="6496" y="2134"/>
                </a:lnTo>
                <a:lnTo>
                  <a:pt x="6494" y="2134"/>
                </a:lnTo>
                <a:lnTo>
                  <a:pt x="6490" y="2132"/>
                </a:lnTo>
                <a:lnTo>
                  <a:pt x="6490" y="2130"/>
                </a:lnTo>
                <a:lnTo>
                  <a:pt x="6490" y="2128"/>
                </a:lnTo>
                <a:lnTo>
                  <a:pt x="6494" y="2124"/>
                </a:lnTo>
                <a:lnTo>
                  <a:pt x="6498" y="2122"/>
                </a:lnTo>
                <a:lnTo>
                  <a:pt x="6498" y="2120"/>
                </a:lnTo>
                <a:lnTo>
                  <a:pt x="6496" y="2118"/>
                </a:lnTo>
                <a:lnTo>
                  <a:pt x="6494" y="2114"/>
                </a:lnTo>
                <a:lnTo>
                  <a:pt x="6494" y="2112"/>
                </a:lnTo>
                <a:lnTo>
                  <a:pt x="6494" y="2110"/>
                </a:lnTo>
                <a:lnTo>
                  <a:pt x="6492" y="2106"/>
                </a:lnTo>
                <a:lnTo>
                  <a:pt x="6492" y="2104"/>
                </a:lnTo>
                <a:lnTo>
                  <a:pt x="6498" y="2102"/>
                </a:lnTo>
                <a:lnTo>
                  <a:pt x="6502" y="2100"/>
                </a:lnTo>
                <a:lnTo>
                  <a:pt x="6504" y="2098"/>
                </a:lnTo>
                <a:lnTo>
                  <a:pt x="6502" y="2096"/>
                </a:lnTo>
                <a:lnTo>
                  <a:pt x="6504" y="2094"/>
                </a:lnTo>
                <a:lnTo>
                  <a:pt x="6508" y="2092"/>
                </a:lnTo>
                <a:lnTo>
                  <a:pt x="6510" y="2090"/>
                </a:lnTo>
                <a:lnTo>
                  <a:pt x="6510" y="2088"/>
                </a:lnTo>
                <a:lnTo>
                  <a:pt x="6508" y="2086"/>
                </a:lnTo>
                <a:lnTo>
                  <a:pt x="6506" y="2082"/>
                </a:lnTo>
                <a:lnTo>
                  <a:pt x="6508" y="2082"/>
                </a:lnTo>
                <a:lnTo>
                  <a:pt x="6514" y="2084"/>
                </a:lnTo>
                <a:lnTo>
                  <a:pt x="6516" y="2084"/>
                </a:lnTo>
                <a:lnTo>
                  <a:pt x="6518" y="2084"/>
                </a:lnTo>
                <a:lnTo>
                  <a:pt x="6520" y="2080"/>
                </a:lnTo>
                <a:lnTo>
                  <a:pt x="6520" y="2078"/>
                </a:lnTo>
                <a:lnTo>
                  <a:pt x="6518" y="2068"/>
                </a:lnTo>
                <a:lnTo>
                  <a:pt x="6520" y="2060"/>
                </a:lnTo>
                <a:lnTo>
                  <a:pt x="6522" y="2056"/>
                </a:lnTo>
                <a:lnTo>
                  <a:pt x="6524" y="2056"/>
                </a:lnTo>
                <a:lnTo>
                  <a:pt x="6528" y="2056"/>
                </a:lnTo>
                <a:lnTo>
                  <a:pt x="6528" y="2058"/>
                </a:lnTo>
                <a:lnTo>
                  <a:pt x="6526" y="2062"/>
                </a:lnTo>
                <a:lnTo>
                  <a:pt x="6526" y="2064"/>
                </a:lnTo>
                <a:lnTo>
                  <a:pt x="6528" y="2066"/>
                </a:lnTo>
                <a:lnTo>
                  <a:pt x="6532" y="2068"/>
                </a:lnTo>
                <a:lnTo>
                  <a:pt x="6534" y="2066"/>
                </a:lnTo>
                <a:lnTo>
                  <a:pt x="6534" y="2064"/>
                </a:lnTo>
                <a:lnTo>
                  <a:pt x="6536" y="2064"/>
                </a:lnTo>
                <a:lnTo>
                  <a:pt x="6538" y="2064"/>
                </a:lnTo>
                <a:lnTo>
                  <a:pt x="6540" y="2064"/>
                </a:lnTo>
                <a:lnTo>
                  <a:pt x="6542" y="2060"/>
                </a:lnTo>
                <a:lnTo>
                  <a:pt x="6548" y="2050"/>
                </a:lnTo>
                <a:lnTo>
                  <a:pt x="6548" y="2046"/>
                </a:lnTo>
                <a:lnTo>
                  <a:pt x="6548" y="2044"/>
                </a:lnTo>
                <a:lnTo>
                  <a:pt x="6542" y="2042"/>
                </a:lnTo>
                <a:lnTo>
                  <a:pt x="6530" y="2042"/>
                </a:lnTo>
                <a:lnTo>
                  <a:pt x="6526" y="2040"/>
                </a:lnTo>
                <a:lnTo>
                  <a:pt x="6522" y="2040"/>
                </a:lnTo>
                <a:lnTo>
                  <a:pt x="6522" y="2038"/>
                </a:lnTo>
                <a:lnTo>
                  <a:pt x="6524" y="2036"/>
                </a:lnTo>
                <a:lnTo>
                  <a:pt x="6526" y="2030"/>
                </a:lnTo>
                <a:lnTo>
                  <a:pt x="6524" y="2026"/>
                </a:lnTo>
                <a:lnTo>
                  <a:pt x="6522" y="2022"/>
                </a:lnTo>
                <a:lnTo>
                  <a:pt x="6522" y="2018"/>
                </a:lnTo>
                <a:lnTo>
                  <a:pt x="6524" y="2008"/>
                </a:lnTo>
                <a:lnTo>
                  <a:pt x="6526" y="2004"/>
                </a:lnTo>
                <a:lnTo>
                  <a:pt x="6528" y="2002"/>
                </a:lnTo>
                <a:lnTo>
                  <a:pt x="6530" y="1998"/>
                </a:lnTo>
                <a:lnTo>
                  <a:pt x="6532" y="1994"/>
                </a:lnTo>
                <a:lnTo>
                  <a:pt x="6532" y="1988"/>
                </a:lnTo>
                <a:lnTo>
                  <a:pt x="6530" y="1980"/>
                </a:lnTo>
                <a:lnTo>
                  <a:pt x="6528" y="1976"/>
                </a:lnTo>
                <a:lnTo>
                  <a:pt x="6528" y="1974"/>
                </a:lnTo>
                <a:lnTo>
                  <a:pt x="6532" y="1968"/>
                </a:lnTo>
                <a:lnTo>
                  <a:pt x="6534" y="1966"/>
                </a:lnTo>
                <a:lnTo>
                  <a:pt x="6534" y="1964"/>
                </a:lnTo>
                <a:lnTo>
                  <a:pt x="6530" y="1964"/>
                </a:lnTo>
                <a:lnTo>
                  <a:pt x="6528" y="1966"/>
                </a:lnTo>
                <a:lnTo>
                  <a:pt x="6522" y="1970"/>
                </a:lnTo>
                <a:lnTo>
                  <a:pt x="6514" y="1974"/>
                </a:lnTo>
                <a:lnTo>
                  <a:pt x="6510" y="1974"/>
                </a:lnTo>
                <a:lnTo>
                  <a:pt x="6506" y="1978"/>
                </a:lnTo>
                <a:lnTo>
                  <a:pt x="6500" y="1988"/>
                </a:lnTo>
                <a:lnTo>
                  <a:pt x="6494" y="1994"/>
                </a:lnTo>
                <a:lnTo>
                  <a:pt x="6488" y="1998"/>
                </a:lnTo>
                <a:lnTo>
                  <a:pt x="6480" y="2002"/>
                </a:lnTo>
                <a:lnTo>
                  <a:pt x="6470" y="2002"/>
                </a:lnTo>
                <a:lnTo>
                  <a:pt x="6460" y="2004"/>
                </a:lnTo>
                <a:lnTo>
                  <a:pt x="6452" y="2006"/>
                </a:lnTo>
                <a:lnTo>
                  <a:pt x="6446" y="2012"/>
                </a:lnTo>
                <a:lnTo>
                  <a:pt x="6442" y="2018"/>
                </a:lnTo>
                <a:lnTo>
                  <a:pt x="6438" y="2026"/>
                </a:lnTo>
                <a:lnTo>
                  <a:pt x="6436" y="2034"/>
                </a:lnTo>
                <a:lnTo>
                  <a:pt x="6432" y="2054"/>
                </a:lnTo>
                <a:lnTo>
                  <a:pt x="6432" y="2070"/>
                </a:lnTo>
                <a:lnTo>
                  <a:pt x="6434" y="2080"/>
                </a:lnTo>
                <a:lnTo>
                  <a:pt x="6436" y="2088"/>
                </a:lnTo>
                <a:lnTo>
                  <a:pt x="6434" y="2096"/>
                </a:lnTo>
                <a:lnTo>
                  <a:pt x="6432" y="2102"/>
                </a:lnTo>
                <a:lnTo>
                  <a:pt x="6434" y="2104"/>
                </a:lnTo>
                <a:lnTo>
                  <a:pt x="6438" y="2106"/>
                </a:lnTo>
                <a:lnTo>
                  <a:pt x="6442" y="2110"/>
                </a:lnTo>
                <a:lnTo>
                  <a:pt x="6442" y="2108"/>
                </a:lnTo>
                <a:lnTo>
                  <a:pt x="6444" y="2104"/>
                </a:lnTo>
                <a:lnTo>
                  <a:pt x="6446" y="2106"/>
                </a:lnTo>
                <a:lnTo>
                  <a:pt x="6450" y="2108"/>
                </a:lnTo>
                <a:lnTo>
                  <a:pt x="6452" y="2110"/>
                </a:lnTo>
                <a:lnTo>
                  <a:pt x="6456" y="2114"/>
                </a:lnTo>
                <a:lnTo>
                  <a:pt x="6456" y="2122"/>
                </a:lnTo>
                <a:lnTo>
                  <a:pt x="6456" y="2128"/>
                </a:lnTo>
                <a:lnTo>
                  <a:pt x="6452" y="2126"/>
                </a:lnTo>
                <a:lnTo>
                  <a:pt x="6450" y="2124"/>
                </a:lnTo>
                <a:lnTo>
                  <a:pt x="6448" y="2128"/>
                </a:lnTo>
                <a:lnTo>
                  <a:pt x="6448" y="2132"/>
                </a:lnTo>
                <a:lnTo>
                  <a:pt x="6450" y="2132"/>
                </a:lnTo>
                <a:lnTo>
                  <a:pt x="6452" y="2130"/>
                </a:lnTo>
                <a:lnTo>
                  <a:pt x="6454" y="2130"/>
                </a:lnTo>
                <a:lnTo>
                  <a:pt x="6454" y="2142"/>
                </a:lnTo>
                <a:lnTo>
                  <a:pt x="6456" y="2148"/>
                </a:lnTo>
                <a:lnTo>
                  <a:pt x="6458" y="2154"/>
                </a:lnTo>
                <a:lnTo>
                  <a:pt x="6468" y="2164"/>
                </a:lnTo>
                <a:lnTo>
                  <a:pt x="6470" y="2168"/>
                </a:lnTo>
                <a:lnTo>
                  <a:pt x="6470" y="2170"/>
                </a:lnTo>
                <a:lnTo>
                  <a:pt x="6466" y="2172"/>
                </a:lnTo>
                <a:lnTo>
                  <a:pt x="6458" y="2172"/>
                </a:lnTo>
                <a:lnTo>
                  <a:pt x="6456" y="2174"/>
                </a:lnTo>
                <a:lnTo>
                  <a:pt x="6454" y="2178"/>
                </a:lnTo>
                <a:lnTo>
                  <a:pt x="6454" y="2180"/>
                </a:lnTo>
                <a:lnTo>
                  <a:pt x="6454" y="2182"/>
                </a:lnTo>
                <a:lnTo>
                  <a:pt x="6460" y="2180"/>
                </a:lnTo>
                <a:lnTo>
                  <a:pt x="6464" y="2180"/>
                </a:lnTo>
                <a:lnTo>
                  <a:pt x="6464" y="2184"/>
                </a:lnTo>
                <a:lnTo>
                  <a:pt x="6462" y="2186"/>
                </a:lnTo>
                <a:lnTo>
                  <a:pt x="6462" y="2188"/>
                </a:lnTo>
                <a:lnTo>
                  <a:pt x="6466" y="2192"/>
                </a:lnTo>
                <a:lnTo>
                  <a:pt x="6470" y="2194"/>
                </a:lnTo>
                <a:lnTo>
                  <a:pt x="6468" y="2196"/>
                </a:lnTo>
                <a:lnTo>
                  <a:pt x="6464" y="2198"/>
                </a:lnTo>
                <a:lnTo>
                  <a:pt x="6464" y="2200"/>
                </a:lnTo>
                <a:lnTo>
                  <a:pt x="6466" y="2202"/>
                </a:lnTo>
                <a:lnTo>
                  <a:pt x="6474" y="2204"/>
                </a:lnTo>
                <a:lnTo>
                  <a:pt x="6482" y="2206"/>
                </a:lnTo>
                <a:lnTo>
                  <a:pt x="6488" y="2212"/>
                </a:lnTo>
                <a:lnTo>
                  <a:pt x="6490" y="2214"/>
                </a:lnTo>
                <a:lnTo>
                  <a:pt x="6486" y="2212"/>
                </a:lnTo>
                <a:lnTo>
                  <a:pt x="6478" y="2208"/>
                </a:lnTo>
                <a:lnTo>
                  <a:pt x="6472" y="2208"/>
                </a:lnTo>
                <a:lnTo>
                  <a:pt x="6464" y="2208"/>
                </a:lnTo>
                <a:lnTo>
                  <a:pt x="6456" y="2206"/>
                </a:lnTo>
                <a:lnTo>
                  <a:pt x="6454" y="2206"/>
                </a:lnTo>
                <a:lnTo>
                  <a:pt x="6452" y="2208"/>
                </a:lnTo>
                <a:lnTo>
                  <a:pt x="6452" y="2216"/>
                </a:lnTo>
                <a:lnTo>
                  <a:pt x="6454" y="2228"/>
                </a:lnTo>
                <a:lnTo>
                  <a:pt x="6454" y="2232"/>
                </a:lnTo>
                <a:lnTo>
                  <a:pt x="6450" y="2236"/>
                </a:lnTo>
                <a:lnTo>
                  <a:pt x="6448" y="2236"/>
                </a:lnTo>
                <a:lnTo>
                  <a:pt x="6448" y="2232"/>
                </a:lnTo>
                <a:lnTo>
                  <a:pt x="6448" y="2226"/>
                </a:lnTo>
                <a:lnTo>
                  <a:pt x="6448" y="2224"/>
                </a:lnTo>
                <a:lnTo>
                  <a:pt x="6446" y="2222"/>
                </a:lnTo>
                <a:lnTo>
                  <a:pt x="6442" y="2222"/>
                </a:lnTo>
                <a:lnTo>
                  <a:pt x="6440" y="2224"/>
                </a:lnTo>
                <a:lnTo>
                  <a:pt x="6440" y="2228"/>
                </a:lnTo>
                <a:lnTo>
                  <a:pt x="6438" y="2232"/>
                </a:lnTo>
                <a:lnTo>
                  <a:pt x="6438" y="2234"/>
                </a:lnTo>
                <a:lnTo>
                  <a:pt x="6436" y="2232"/>
                </a:lnTo>
                <a:lnTo>
                  <a:pt x="6434" y="2230"/>
                </a:lnTo>
                <a:lnTo>
                  <a:pt x="6432" y="2226"/>
                </a:lnTo>
                <a:lnTo>
                  <a:pt x="6434" y="2222"/>
                </a:lnTo>
                <a:lnTo>
                  <a:pt x="6432" y="2220"/>
                </a:lnTo>
                <a:lnTo>
                  <a:pt x="6430" y="2218"/>
                </a:lnTo>
                <a:lnTo>
                  <a:pt x="6426" y="2216"/>
                </a:lnTo>
                <a:lnTo>
                  <a:pt x="6418" y="2216"/>
                </a:lnTo>
                <a:lnTo>
                  <a:pt x="6406" y="2216"/>
                </a:lnTo>
                <a:lnTo>
                  <a:pt x="6398" y="2218"/>
                </a:lnTo>
                <a:lnTo>
                  <a:pt x="6394" y="2222"/>
                </a:lnTo>
                <a:lnTo>
                  <a:pt x="6392" y="2230"/>
                </a:lnTo>
                <a:lnTo>
                  <a:pt x="6390" y="2234"/>
                </a:lnTo>
                <a:lnTo>
                  <a:pt x="6392" y="2236"/>
                </a:lnTo>
                <a:lnTo>
                  <a:pt x="6394" y="2238"/>
                </a:lnTo>
                <a:lnTo>
                  <a:pt x="6398" y="2240"/>
                </a:lnTo>
                <a:lnTo>
                  <a:pt x="6398" y="2242"/>
                </a:lnTo>
                <a:lnTo>
                  <a:pt x="6394" y="2244"/>
                </a:lnTo>
                <a:lnTo>
                  <a:pt x="6390" y="2242"/>
                </a:lnTo>
                <a:lnTo>
                  <a:pt x="6384" y="2234"/>
                </a:lnTo>
                <a:lnTo>
                  <a:pt x="6380" y="2232"/>
                </a:lnTo>
                <a:lnTo>
                  <a:pt x="6374" y="2230"/>
                </a:lnTo>
                <a:lnTo>
                  <a:pt x="6348" y="2234"/>
                </a:lnTo>
                <a:lnTo>
                  <a:pt x="6338" y="2238"/>
                </a:lnTo>
                <a:lnTo>
                  <a:pt x="6330" y="2240"/>
                </a:lnTo>
                <a:lnTo>
                  <a:pt x="6324" y="2244"/>
                </a:lnTo>
                <a:lnTo>
                  <a:pt x="6322" y="2248"/>
                </a:lnTo>
                <a:lnTo>
                  <a:pt x="6318" y="2252"/>
                </a:lnTo>
                <a:lnTo>
                  <a:pt x="6318" y="2254"/>
                </a:lnTo>
                <a:lnTo>
                  <a:pt x="6318" y="2258"/>
                </a:lnTo>
                <a:lnTo>
                  <a:pt x="6320" y="2258"/>
                </a:lnTo>
                <a:lnTo>
                  <a:pt x="6322" y="2258"/>
                </a:lnTo>
                <a:lnTo>
                  <a:pt x="6324" y="2260"/>
                </a:lnTo>
                <a:lnTo>
                  <a:pt x="6324" y="2264"/>
                </a:lnTo>
                <a:lnTo>
                  <a:pt x="6324" y="2266"/>
                </a:lnTo>
                <a:lnTo>
                  <a:pt x="6326" y="2268"/>
                </a:lnTo>
                <a:lnTo>
                  <a:pt x="6328" y="2268"/>
                </a:lnTo>
                <a:lnTo>
                  <a:pt x="6330" y="2270"/>
                </a:lnTo>
                <a:lnTo>
                  <a:pt x="6330" y="2276"/>
                </a:lnTo>
                <a:lnTo>
                  <a:pt x="6330" y="2280"/>
                </a:lnTo>
                <a:lnTo>
                  <a:pt x="6332" y="2282"/>
                </a:lnTo>
                <a:lnTo>
                  <a:pt x="6334" y="2284"/>
                </a:lnTo>
                <a:lnTo>
                  <a:pt x="6338" y="2286"/>
                </a:lnTo>
                <a:lnTo>
                  <a:pt x="6340" y="2288"/>
                </a:lnTo>
                <a:lnTo>
                  <a:pt x="6338" y="2292"/>
                </a:lnTo>
                <a:lnTo>
                  <a:pt x="6336" y="2298"/>
                </a:lnTo>
                <a:lnTo>
                  <a:pt x="6332" y="2300"/>
                </a:lnTo>
                <a:lnTo>
                  <a:pt x="6328" y="2304"/>
                </a:lnTo>
                <a:lnTo>
                  <a:pt x="6324" y="2304"/>
                </a:lnTo>
                <a:lnTo>
                  <a:pt x="6318" y="2304"/>
                </a:lnTo>
                <a:lnTo>
                  <a:pt x="6312" y="2298"/>
                </a:lnTo>
                <a:lnTo>
                  <a:pt x="6308" y="2292"/>
                </a:lnTo>
                <a:lnTo>
                  <a:pt x="6308" y="2288"/>
                </a:lnTo>
                <a:lnTo>
                  <a:pt x="6308" y="2286"/>
                </a:lnTo>
                <a:lnTo>
                  <a:pt x="6312" y="2282"/>
                </a:lnTo>
                <a:lnTo>
                  <a:pt x="6314" y="2280"/>
                </a:lnTo>
                <a:lnTo>
                  <a:pt x="6318" y="2278"/>
                </a:lnTo>
                <a:lnTo>
                  <a:pt x="6316" y="2276"/>
                </a:lnTo>
                <a:lnTo>
                  <a:pt x="6312" y="2272"/>
                </a:lnTo>
                <a:lnTo>
                  <a:pt x="6310" y="2272"/>
                </a:lnTo>
                <a:lnTo>
                  <a:pt x="6310" y="2270"/>
                </a:lnTo>
                <a:lnTo>
                  <a:pt x="6312" y="2264"/>
                </a:lnTo>
                <a:lnTo>
                  <a:pt x="6314" y="2260"/>
                </a:lnTo>
                <a:lnTo>
                  <a:pt x="6314" y="2258"/>
                </a:lnTo>
                <a:lnTo>
                  <a:pt x="6312" y="2258"/>
                </a:lnTo>
                <a:lnTo>
                  <a:pt x="6302" y="2262"/>
                </a:lnTo>
                <a:lnTo>
                  <a:pt x="6298" y="2262"/>
                </a:lnTo>
                <a:lnTo>
                  <a:pt x="6296" y="2262"/>
                </a:lnTo>
                <a:lnTo>
                  <a:pt x="6294" y="2272"/>
                </a:lnTo>
                <a:lnTo>
                  <a:pt x="6292" y="2286"/>
                </a:lnTo>
                <a:lnTo>
                  <a:pt x="6288" y="2294"/>
                </a:lnTo>
                <a:lnTo>
                  <a:pt x="6286" y="2304"/>
                </a:lnTo>
                <a:lnTo>
                  <a:pt x="6278" y="2316"/>
                </a:lnTo>
                <a:lnTo>
                  <a:pt x="6272" y="2320"/>
                </a:lnTo>
                <a:lnTo>
                  <a:pt x="6270" y="2322"/>
                </a:lnTo>
                <a:lnTo>
                  <a:pt x="6270" y="2324"/>
                </a:lnTo>
                <a:lnTo>
                  <a:pt x="6270" y="2328"/>
                </a:lnTo>
                <a:lnTo>
                  <a:pt x="6270" y="2330"/>
                </a:lnTo>
                <a:lnTo>
                  <a:pt x="6262" y="2332"/>
                </a:lnTo>
                <a:lnTo>
                  <a:pt x="6256" y="2334"/>
                </a:lnTo>
                <a:lnTo>
                  <a:pt x="6256" y="2336"/>
                </a:lnTo>
                <a:lnTo>
                  <a:pt x="6256" y="2338"/>
                </a:lnTo>
                <a:lnTo>
                  <a:pt x="6262" y="2340"/>
                </a:lnTo>
                <a:lnTo>
                  <a:pt x="6272" y="2342"/>
                </a:lnTo>
                <a:lnTo>
                  <a:pt x="6276" y="2344"/>
                </a:lnTo>
                <a:lnTo>
                  <a:pt x="6268" y="2346"/>
                </a:lnTo>
                <a:lnTo>
                  <a:pt x="6254" y="2344"/>
                </a:lnTo>
                <a:lnTo>
                  <a:pt x="6250" y="2344"/>
                </a:lnTo>
                <a:lnTo>
                  <a:pt x="6246" y="2346"/>
                </a:lnTo>
                <a:lnTo>
                  <a:pt x="6246" y="2348"/>
                </a:lnTo>
                <a:lnTo>
                  <a:pt x="6252" y="2352"/>
                </a:lnTo>
                <a:lnTo>
                  <a:pt x="6260" y="2354"/>
                </a:lnTo>
                <a:lnTo>
                  <a:pt x="6264" y="2354"/>
                </a:lnTo>
                <a:lnTo>
                  <a:pt x="6270" y="2352"/>
                </a:lnTo>
                <a:lnTo>
                  <a:pt x="6272" y="2354"/>
                </a:lnTo>
                <a:lnTo>
                  <a:pt x="6274" y="2356"/>
                </a:lnTo>
                <a:lnTo>
                  <a:pt x="6272" y="2356"/>
                </a:lnTo>
                <a:lnTo>
                  <a:pt x="6264" y="2358"/>
                </a:lnTo>
                <a:lnTo>
                  <a:pt x="6260" y="2360"/>
                </a:lnTo>
                <a:lnTo>
                  <a:pt x="6256" y="2358"/>
                </a:lnTo>
                <a:lnTo>
                  <a:pt x="6252" y="2356"/>
                </a:lnTo>
                <a:lnTo>
                  <a:pt x="6248" y="2356"/>
                </a:lnTo>
                <a:lnTo>
                  <a:pt x="6242" y="2356"/>
                </a:lnTo>
                <a:lnTo>
                  <a:pt x="6234" y="2360"/>
                </a:lnTo>
                <a:lnTo>
                  <a:pt x="6226" y="2366"/>
                </a:lnTo>
                <a:lnTo>
                  <a:pt x="6216" y="2372"/>
                </a:lnTo>
                <a:lnTo>
                  <a:pt x="6208" y="2374"/>
                </a:lnTo>
                <a:lnTo>
                  <a:pt x="6190" y="2378"/>
                </a:lnTo>
                <a:lnTo>
                  <a:pt x="6176" y="2382"/>
                </a:lnTo>
                <a:lnTo>
                  <a:pt x="6172" y="2384"/>
                </a:lnTo>
                <a:lnTo>
                  <a:pt x="6170" y="2388"/>
                </a:lnTo>
                <a:lnTo>
                  <a:pt x="6170" y="2390"/>
                </a:lnTo>
                <a:lnTo>
                  <a:pt x="6170" y="2396"/>
                </a:lnTo>
                <a:lnTo>
                  <a:pt x="6170" y="2402"/>
                </a:lnTo>
                <a:lnTo>
                  <a:pt x="6170" y="2408"/>
                </a:lnTo>
                <a:lnTo>
                  <a:pt x="6170" y="2410"/>
                </a:lnTo>
                <a:lnTo>
                  <a:pt x="6170" y="2414"/>
                </a:lnTo>
                <a:lnTo>
                  <a:pt x="6170" y="2416"/>
                </a:lnTo>
                <a:lnTo>
                  <a:pt x="6170" y="2418"/>
                </a:lnTo>
                <a:lnTo>
                  <a:pt x="6168" y="2420"/>
                </a:lnTo>
                <a:lnTo>
                  <a:pt x="6170" y="2424"/>
                </a:lnTo>
                <a:lnTo>
                  <a:pt x="6172" y="2426"/>
                </a:lnTo>
                <a:lnTo>
                  <a:pt x="6170" y="2428"/>
                </a:lnTo>
                <a:lnTo>
                  <a:pt x="6168" y="2428"/>
                </a:lnTo>
                <a:lnTo>
                  <a:pt x="6164" y="2432"/>
                </a:lnTo>
                <a:lnTo>
                  <a:pt x="6162" y="2436"/>
                </a:lnTo>
                <a:lnTo>
                  <a:pt x="6156" y="2438"/>
                </a:lnTo>
                <a:lnTo>
                  <a:pt x="6128" y="2448"/>
                </a:lnTo>
                <a:lnTo>
                  <a:pt x="6120" y="2454"/>
                </a:lnTo>
                <a:lnTo>
                  <a:pt x="6114" y="2458"/>
                </a:lnTo>
                <a:lnTo>
                  <a:pt x="6110" y="2460"/>
                </a:lnTo>
                <a:lnTo>
                  <a:pt x="6110" y="2464"/>
                </a:lnTo>
                <a:lnTo>
                  <a:pt x="6110" y="2466"/>
                </a:lnTo>
                <a:lnTo>
                  <a:pt x="6112" y="2468"/>
                </a:lnTo>
                <a:lnTo>
                  <a:pt x="6118" y="2470"/>
                </a:lnTo>
                <a:lnTo>
                  <a:pt x="6120" y="2472"/>
                </a:lnTo>
                <a:lnTo>
                  <a:pt x="6116" y="2474"/>
                </a:lnTo>
                <a:lnTo>
                  <a:pt x="6104" y="2480"/>
                </a:lnTo>
                <a:lnTo>
                  <a:pt x="6100" y="2480"/>
                </a:lnTo>
                <a:lnTo>
                  <a:pt x="6096" y="2480"/>
                </a:lnTo>
                <a:lnTo>
                  <a:pt x="6088" y="2478"/>
                </a:lnTo>
                <a:lnTo>
                  <a:pt x="6076" y="2476"/>
                </a:lnTo>
                <a:lnTo>
                  <a:pt x="6068" y="2476"/>
                </a:lnTo>
                <a:lnTo>
                  <a:pt x="6060" y="2478"/>
                </a:lnTo>
                <a:lnTo>
                  <a:pt x="6058" y="2476"/>
                </a:lnTo>
                <a:lnTo>
                  <a:pt x="6058" y="2474"/>
                </a:lnTo>
                <a:lnTo>
                  <a:pt x="6056" y="2466"/>
                </a:lnTo>
                <a:lnTo>
                  <a:pt x="6054" y="2458"/>
                </a:lnTo>
                <a:lnTo>
                  <a:pt x="6052" y="2456"/>
                </a:lnTo>
                <a:lnTo>
                  <a:pt x="6048" y="2456"/>
                </a:lnTo>
                <a:lnTo>
                  <a:pt x="6040" y="2458"/>
                </a:lnTo>
                <a:lnTo>
                  <a:pt x="6034" y="2456"/>
                </a:lnTo>
                <a:lnTo>
                  <a:pt x="6030" y="2456"/>
                </a:lnTo>
                <a:lnTo>
                  <a:pt x="6030" y="2460"/>
                </a:lnTo>
                <a:lnTo>
                  <a:pt x="6032" y="2464"/>
                </a:lnTo>
                <a:lnTo>
                  <a:pt x="6032" y="2470"/>
                </a:lnTo>
                <a:lnTo>
                  <a:pt x="6032" y="2474"/>
                </a:lnTo>
                <a:lnTo>
                  <a:pt x="6036" y="2476"/>
                </a:lnTo>
                <a:lnTo>
                  <a:pt x="6040" y="2480"/>
                </a:lnTo>
                <a:lnTo>
                  <a:pt x="6042" y="2488"/>
                </a:lnTo>
                <a:lnTo>
                  <a:pt x="6044" y="2498"/>
                </a:lnTo>
                <a:lnTo>
                  <a:pt x="6044" y="2506"/>
                </a:lnTo>
                <a:lnTo>
                  <a:pt x="6044" y="2510"/>
                </a:lnTo>
                <a:lnTo>
                  <a:pt x="6044" y="2512"/>
                </a:lnTo>
                <a:lnTo>
                  <a:pt x="6046" y="2516"/>
                </a:lnTo>
                <a:lnTo>
                  <a:pt x="6048" y="2520"/>
                </a:lnTo>
                <a:lnTo>
                  <a:pt x="6042" y="2522"/>
                </a:lnTo>
                <a:lnTo>
                  <a:pt x="6036" y="2522"/>
                </a:lnTo>
                <a:lnTo>
                  <a:pt x="6034" y="2518"/>
                </a:lnTo>
                <a:lnTo>
                  <a:pt x="6032" y="2516"/>
                </a:lnTo>
                <a:lnTo>
                  <a:pt x="6030" y="2514"/>
                </a:lnTo>
                <a:lnTo>
                  <a:pt x="6028" y="2516"/>
                </a:lnTo>
                <a:lnTo>
                  <a:pt x="6026" y="2518"/>
                </a:lnTo>
                <a:lnTo>
                  <a:pt x="6022" y="2520"/>
                </a:lnTo>
                <a:lnTo>
                  <a:pt x="6018" y="2520"/>
                </a:lnTo>
                <a:lnTo>
                  <a:pt x="6016" y="2518"/>
                </a:lnTo>
                <a:lnTo>
                  <a:pt x="6014" y="2516"/>
                </a:lnTo>
                <a:lnTo>
                  <a:pt x="6010" y="2518"/>
                </a:lnTo>
                <a:lnTo>
                  <a:pt x="6002" y="2524"/>
                </a:lnTo>
                <a:lnTo>
                  <a:pt x="5998" y="2526"/>
                </a:lnTo>
                <a:lnTo>
                  <a:pt x="5994" y="2522"/>
                </a:lnTo>
                <a:lnTo>
                  <a:pt x="5988" y="2508"/>
                </a:lnTo>
                <a:lnTo>
                  <a:pt x="5982" y="2504"/>
                </a:lnTo>
                <a:lnTo>
                  <a:pt x="5980" y="2504"/>
                </a:lnTo>
                <a:lnTo>
                  <a:pt x="5976" y="2504"/>
                </a:lnTo>
                <a:lnTo>
                  <a:pt x="5970" y="2508"/>
                </a:lnTo>
                <a:lnTo>
                  <a:pt x="5966" y="2508"/>
                </a:lnTo>
                <a:lnTo>
                  <a:pt x="5964" y="2508"/>
                </a:lnTo>
                <a:lnTo>
                  <a:pt x="5964" y="2512"/>
                </a:lnTo>
                <a:lnTo>
                  <a:pt x="5962" y="2514"/>
                </a:lnTo>
                <a:lnTo>
                  <a:pt x="5960" y="2516"/>
                </a:lnTo>
                <a:lnTo>
                  <a:pt x="5956" y="2518"/>
                </a:lnTo>
                <a:lnTo>
                  <a:pt x="5950" y="2516"/>
                </a:lnTo>
                <a:lnTo>
                  <a:pt x="5946" y="2514"/>
                </a:lnTo>
                <a:lnTo>
                  <a:pt x="5944" y="2514"/>
                </a:lnTo>
                <a:lnTo>
                  <a:pt x="5942" y="2516"/>
                </a:lnTo>
                <a:lnTo>
                  <a:pt x="5934" y="2518"/>
                </a:lnTo>
                <a:lnTo>
                  <a:pt x="5924" y="2520"/>
                </a:lnTo>
                <a:lnTo>
                  <a:pt x="5918" y="2524"/>
                </a:lnTo>
                <a:lnTo>
                  <a:pt x="5914" y="2528"/>
                </a:lnTo>
                <a:lnTo>
                  <a:pt x="5914" y="2534"/>
                </a:lnTo>
                <a:lnTo>
                  <a:pt x="5916" y="2536"/>
                </a:lnTo>
                <a:lnTo>
                  <a:pt x="5920" y="2536"/>
                </a:lnTo>
                <a:lnTo>
                  <a:pt x="5924" y="2534"/>
                </a:lnTo>
                <a:lnTo>
                  <a:pt x="5928" y="2536"/>
                </a:lnTo>
                <a:lnTo>
                  <a:pt x="5930" y="2538"/>
                </a:lnTo>
                <a:lnTo>
                  <a:pt x="5926" y="2538"/>
                </a:lnTo>
                <a:lnTo>
                  <a:pt x="5922" y="2540"/>
                </a:lnTo>
                <a:lnTo>
                  <a:pt x="5922" y="2542"/>
                </a:lnTo>
                <a:lnTo>
                  <a:pt x="5924" y="2544"/>
                </a:lnTo>
                <a:lnTo>
                  <a:pt x="5926" y="2544"/>
                </a:lnTo>
                <a:lnTo>
                  <a:pt x="5930" y="2544"/>
                </a:lnTo>
                <a:lnTo>
                  <a:pt x="5934" y="2546"/>
                </a:lnTo>
                <a:lnTo>
                  <a:pt x="5934" y="2548"/>
                </a:lnTo>
                <a:lnTo>
                  <a:pt x="5932" y="2550"/>
                </a:lnTo>
                <a:lnTo>
                  <a:pt x="5924" y="2550"/>
                </a:lnTo>
                <a:lnTo>
                  <a:pt x="5918" y="2552"/>
                </a:lnTo>
                <a:lnTo>
                  <a:pt x="5918" y="2554"/>
                </a:lnTo>
                <a:lnTo>
                  <a:pt x="5920" y="2556"/>
                </a:lnTo>
                <a:lnTo>
                  <a:pt x="5928" y="2562"/>
                </a:lnTo>
                <a:lnTo>
                  <a:pt x="5930" y="2566"/>
                </a:lnTo>
                <a:lnTo>
                  <a:pt x="5932" y="2568"/>
                </a:lnTo>
                <a:lnTo>
                  <a:pt x="5938" y="2566"/>
                </a:lnTo>
                <a:lnTo>
                  <a:pt x="5942" y="2566"/>
                </a:lnTo>
                <a:lnTo>
                  <a:pt x="5950" y="2566"/>
                </a:lnTo>
                <a:lnTo>
                  <a:pt x="5964" y="2572"/>
                </a:lnTo>
                <a:lnTo>
                  <a:pt x="5972" y="2574"/>
                </a:lnTo>
                <a:lnTo>
                  <a:pt x="5976" y="2578"/>
                </a:lnTo>
                <a:lnTo>
                  <a:pt x="5980" y="2580"/>
                </a:lnTo>
                <a:lnTo>
                  <a:pt x="5986" y="2580"/>
                </a:lnTo>
                <a:lnTo>
                  <a:pt x="5990" y="2580"/>
                </a:lnTo>
                <a:lnTo>
                  <a:pt x="5990" y="2582"/>
                </a:lnTo>
                <a:lnTo>
                  <a:pt x="5992" y="2584"/>
                </a:lnTo>
                <a:lnTo>
                  <a:pt x="5998" y="2586"/>
                </a:lnTo>
                <a:lnTo>
                  <a:pt x="6004" y="2584"/>
                </a:lnTo>
                <a:lnTo>
                  <a:pt x="6006" y="2586"/>
                </a:lnTo>
                <a:lnTo>
                  <a:pt x="6008" y="2588"/>
                </a:lnTo>
                <a:lnTo>
                  <a:pt x="6008" y="2590"/>
                </a:lnTo>
                <a:lnTo>
                  <a:pt x="6004" y="2594"/>
                </a:lnTo>
                <a:lnTo>
                  <a:pt x="6004" y="2596"/>
                </a:lnTo>
                <a:lnTo>
                  <a:pt x="6006" y="2598"/>
                </a:lnTo>
                <a:lnTo>
                  <a:pt x="6014" y="2600"/>
                </a:lnTo>
                <a:lnTo>
                  <a:pt x="6020" y="2600"/>
                </a:lnTo>
                <a:lnTo>
                  <a:pt x="6018" y="2602"/>
                </a:lnTo>
                <a:lnTo>
                  <a:pt x="6018" y="2606"/>
                </a:lnTo>
                <a:lnTo>
                  <a:pt x="6018" y="2608"/>
                </a:lnTo>
                <a:lnTo>
                  <a:pt x="6020" y="2608"/>
                </a:lnTo>
                <a:lnTo>
                  <a:pt x="6024" y="2610"/>
                </a:lnTo>
                <a:lnTo>
                  <a:pt x="6026" y="2612"/>
                </a:lnTo>
                <a:lnTo>
                  <a:pt x="6026" y="2614"/>
                </a:lnTo>
                <a:lnTo>
                  <a:pt x="6024" y="2618"/>
                </a:lnTo>
                <a:lnTo>
                  <a:pt x="6022" y="2620"/>
                </a:lnTo>
                <a:lnTo>
                  <a:pt x="6020" y="2624"/>
                </a:lnTo>
                <a:lnTo>
                  <a:pt x="6024" y="2632"/>
                </a:lnTo>
                <a:lnTo>
                  <a:pt x="6032" y="2642"/>
                </a:lnTo>
                <a:lnTo>
                  <a:pt x="6044" y="2650"/>
                </a:lnTo>
                <a:lnTo>
                  <a:pt x="6052" y="2654"/>
                </a:lnTo>
                <a:lnTo>
                  <a:pt x="6058" y="2656"/>
                </a:lnTo>
                <a:lnTo>
                  <a:pt x="6060" y="2656"/>
                </a:lnTo>
                <a:lnTo>
                  <a:pt x="6060" y="2658"/>
                </a:lnTo>
                <a:lnTo>
                  <a:pt x="6058" y="2662"/>
                </a:lnTo>
                <a:lnTo>
                  <a:pt x="6060" y="2664"/>
                </a:lnTo>
                <a:lnTo>
                  <a:pt x="6062" y="2668"/>
                </a:lnTo>
                <a:lnTo>
                  <a:pt x="6062" y="2678"/>
                </a:lnTo>
                <a:lnTo>
                  <a:pt x="6060" y="2682"/>
                </a:lnTo>
                <a:lnTo>
                  <a:pt x="6058" y="2684"/>
                </a:lnTo>
                <a:lnTo>
                  <a:pt x="6054" y="2686"/>
                </a:lnTo>
                <a:lnTo>
                  <a:pt x="6054" y="2688"/>
                </a:lnTo>
                <a:lnTo>
                  <a:pt x="6062" y="2692"/>
                </a:lnTo>
                <a:lnTo>
                  <a:pt x="6072" y="2700"/>
                </a:lnTo>
                <a:lnTo>
                  <a:pt x="6078" y="2706"/>
                </a:lnTo>
                <a:lnTo>
                  <a:pt x="6078" y="2712"/>
                </a:lnTo>
                <a:lnTo>
                  <a:pt x="6080" y="2720"/>
                </a:lnTo>
                <a:lnTo>
                  <a:pt x="6078" y="2722"/>
                </a:lnTo>
                <a:lnTo>
                  <a:pt x="6076" y="2716"/>
                </a:lnTo>
                <a:lnTo>
                  <a:pt x="6072" y="2706"/>
                </a:lnTo>
                <a:lnTo>
                  <a:pt x="6068" y="2702"/>
                </a:lnTo>
                <a:lnTo>
                  <a:pt x="6064" y="2700"/>
                </a:lnTo>
                <a:lnTo>
                  <a:pt x="6062" y="2708"/>
                </a:lnTo>
                <a:lnTo>
                  <a:pt x="6058" y="2728"/>
                </a:lnTo>
                <a:lnTo>
                  <a:pt x="6056" y="2744"/>
                </a:lnTo>
                <a:lnTo>
                  <a:pt x="6058" y="2744"/>
                </a:lnTo>
                <a:lnTo>
                  <a:pt x="6060" y="2742"/>
                </a:lnTo>
                <a:lnTo>
                  <a:pt x="6062" y="2744"/>
                </a:lnTo>
                <a:lnTo>
                  <a:pt x="6062" y="2746"/>
                </a:lnTo>
                <a:lnTo>
                  <a:pt x="6060" y="2748"/>
                </a:lnTo>
                <a:lnTo>
                  <a:pt x="6058" y="2750"/>
                </a:lnTo>
                <a:lnTo>
                  <a:pt x="6056" y="2752"/>
                </a:lnTo>
                <a:lnTo>
                  <a:pt x="6054" y="2778"/>
                </a:lnTo>
                <a:lnTo>
                  <a:pt x="6050" y="2798"/>
                </a:lnTo>
                <a:lnTo>
                  <a:pt x="6046" y="2810"/>
                </a:lnTo>
                <a:lnTo>
                  <a:pt x="6042" y="2816"/>
                </a:lnTo>
                <a:lnTo>
                  <a:pt x="6036" y="2820"/>
                </a:lnTo>
                <a:lnTo>
                  <a:pt x="6026" y="2822"/>
                </a:lnTo>
                <a:lnTo>
                  <a:pt x="6020" y="2824"/>
                </a:lnTo>
                <a:lnTo>
                  <a:pt x="6010" y="2820"/>
                </a:lnTo>
                <a:lnTo>
                  <a:pt x="5998" y="2818"/>
                </a:lnTo>
                <a:lnTo>
                  <a:pt x="5992" y="2818"/>
                </a:lnTo>
                <a:lnTo>
                  <a:pt x="5984" y="2818"/>
                </a:lnTo>
                <a:lnTo>
                  <a:pt x="5972" y="2816"/>
                </a:lnTo>
                <a:lnTo>
                  <a:pt x="5962" y="2814"/>
                </a:lnTo>
                <a:lnTo>
                  <a:pt x="5954" y="2814"/>
                </a:lnTo>
                <a:lnTo>
                  <a:pt x="5936" y="2816"/>
                </a:lnTo>
                <a:lnTo>
                  <a:pt x="5916" y="2816"/>
                </a:lnTo>
                <a:lnTo>
                  <a:pt x="5904" y="2814"/>
                </a:lnTo>
                <a:lnTo>
                  <a:pt x="5890" y="2810"/>
                </a:lnTo>
                <a:lnTo>
                  <a:pt x="5876" y="2808"/>
                </a:lnTo>
                <a:lnTo>
                  <a:pt x="5868" y="2808"/>
                </a:lnTo>
                <a:lnTo>
                  <a:pt x="5856" y="2810"/>
                </a:lnTo>
                <a:lnTo>
                  <a:pt x="5838" y="2810"/>
                </a:lnTo>
                <a:lnTo>
                  <a:pt x="5828" y="2810"/>
                </a:lnTo>
                <a:lnTo>
                  <a:pt x="5818" y="2808"/>
                </a:lnTo>
                <a:lnTo>
                  <a:pt x="5806" y="2802"/>
                </a:lnTo>
                <a:lnTo>
                  <a:pt x="5794" y="2800"/>
                </a:lnTo>
                <a:lnTo>
                  <a:pt x="5788" y="2800"/>
                </a:lnTo>
                <a:lnTo>
                  <a:pt x="5782" y="2802"/>
                </a:lnTo>
                <a:lnTo>
                  <a:pt x="5776" y="2806"/>
                </a:lnTo>
                <a:lnTo>
                  <a:pt x="5774" y="2810"/>
                </a:lnTo>
                <a:lnTo>
                  <a:pt x="5772" y="2816"/>
                </a:lnTo>
                <a:lnTo>
                  <a:pt x="5770" y="2822"/>
                </a:lnTo>
                <a:lnTo>
                  <a:pt x="5768" y="2822"/>
                </a:lnTo>
                <a:lnTo>
                  <a:pt x="5762" y="2822"/>
                </a:lnTo>
                <a:lnTo>
                  <a:pt x="5756" y="2824"/>
                </a:lnTo>
                <a:lnTo>
                  <a:pt x="5750" y="2826"/>
                </a:lnTo>
                <a:lnTo>
                  <a:pt x="5740" y="2834"/>
                </a:lnTo>
                <a:lnTo>
                  <a:pt x="5736" y="2838"/>
                </a:lnTo>
                <a:lnTo>
                  <a:pt x="5734" y="2842"/>
                </a:lnTo>
                <a:lnTo>
                  <a:pt x="5732" y="2844"/>
                </a:lnTo>
                <a:lnTo>
                  <a:pt x="5734" y="2848"/>
                </a:lnTo>
                <a:lnTo>
                  <a:pt x="5740" y="2852"/>
                </a:lnTo>
                <a:lnTo>
                  <a:pt x="5740" y="2856"/>
                </a:lnTo>
                <a:lnTo>
                  <a:pt x="5742" y="2862"/>
                </a:lnTo>
                <a:lnTo>
                  <a:pt x="5746" y="2870"/>
                </a:lnTo>
                <a:lnTo>
                  <a:pt x="5748" y="2878"/>
                </a:lnTo>
                <a:lnTo>
                  <a:pt x="5750" y="2886"/>
                </a:lnTo>
                <a:lnTo>
                  <a:pt x="5750" y="2896"/>
                </a:lnTo>
                <a:lnTo>
                  <a:pt x="5752" y="2904"/>
                </a:lnTo>
                <a:lnTo>
                  <a:pt x="5750" y="2910"/>
                </a:lnTo>
                <a:lnTo>
                  <a:pt x="5750" y="2914"/>
                </a:lnTo>
                <a:lnTo>
                  <a:pt x="5752" y="2916"/>
                </a:lnTo>
                <a:lnTo>
                  <a:pt x="5752" y="2920"/>
                </a:lnTo>
                <a:lnTo>
                  <a:pt x="5750" y="2924"/>
                </a:lnTo>
                <a:lnTo>
                  <a:pt x="5752" y="2930"/>
                </a:lnTo>
                <a:lnTo>
                  <a:pt x="5758" y="2944"/>
                </a:lnTo>
                <a:lnTo>
                  <a:pt x="5760" y="2950"/>
                </a:lnTo>
                <a:lnTo>
                  <a:pt x="5758" y="2956"/>
                </a:lnTo>
                <a:lnTo>
                  <a:pt x="5756" y="2972"/>
                </a:lnTo>
                <a:lnTo>
                  <a:pt x="5750" y="2986"/>
                </a:lnTo>
                <a:lnTo>
                  <a:pt x="5750" y="2996"/>
                </a:lnTo>
                <a:lnTo>
                  <a:pt x="5750" y="3000"/>
                </a:lnTo>
                <a:lnTo>
                  <a:pt x="5748" y="3004"/>
                </a:lnTo>
                <a:lnTo>
                  <a:pt x="5746" y="3012"/>
                </a:lnTo>
                <a:lnTo>
                  <a:pt x="5740" y="3026"/>
                </a:lnTo>
                <a:lnTo>
                  <a:pt x="5738" y="3032"/>
                </a:lnTo>
                <a:lnTo>
                  <a:pt x="5734" y="3038"/>
                </a:lnTo>
                <a:lnTo>
                  <a:pt x="5730" y="3042"/>
                </a:lnTo>
                <a:lnTo>
                  <a:pt x="5728" y="3042"/>
                </a:lnTo>
                <a:lnTo>
                  <a:pt x="5728" y="3048"/>
                </a:lnTo>
                <a:lnTo>
                  <a:pt x="5728" y="3052"/>
                </a:lnTo>
                <a:lnTo>
                  <a:pt x="5728" y="3056"/>
                </a:lnTo>
                <a:lnTo>
                  <a:pt x="5724" y="3068"/>
                </a:lnTo>
                <a:lnTo>
                  <a:pt x="5722" y="3074"/>
                </a:lnTo>
                <a:lnTo>
                  <a:pt x="5722" y="3078"/>
                </a:lnTo>
                <a:lnTo>
                  <a:pt x="5724" y="3080"/>
                </a:lnTo>
                <a:lnTo>
                  <a:pt x="5728" y="3080"/>
                </a:lnTo>
                <a:lnTo>
                  <a:pt x="5736" y="3080"/>
                </a:lnTo>
                <a:lnTo>
                  <a:pt x="5736" y="3082"/>
                </a:lnTo>
                <a:lnTo>
                  <a:pt x="5734" y="3084"/>
                </a:lnTo>
                <a:lnTo>
                  <a:pt x="5734" y="3086"/>
                </a:lnTo>
                <a:lnTo>
                  <a:pt x="5734" y="3090"/>
                </a:lnTo>
                <a:lnTo>
                  <a:pt x="5734" y="3094"/>
                </a:lnTo>
                <a:lnTo>
                  <a:pt x="5734" y="3096"/>
                </a:lnTo>
                <a:lnTo>
                  <a:pt x="5738" y="3096"/>
                </a:lnTo>
                <a:lnTo>
                  <a:pt x="5742" y="3094"/>
                </a:lnTo>
                <a:lnTo>
                  <a:pt x="5748" y="3094"/>
                </a:lnTo>
                <a:lnTo>
                  <a:pt x="5750" y="3096"/>
                </a:lnTo>
                <a:lnTo>
                  <a:pt x="5752" y="3100"/>
                </a:lnTo>
                <a:lnTo>
                  <a:pt x="5752" y="3104"/>
                </a:lnTo>
                <a:lnTo>
                  <a:pt x="5750" y="3110"/>
                </a:lnTo>
                <a:lnTo>
                  <a:pt x="5748" y="3120"/>
                </a:lnTo>
                <a:lnTo>
                  <a:pt x="5750" y="3126"/>
                </a:lnTo>
                <a:lnTo>
                  <a:pt x="5750" y="3138"/>
                </a:lnTo>
                <a:lnTo>
                  <a:pt x="5748" y="3160"/>
                </a:lnTo>
                <a:lnTo>
                  <a:pt x="5744" y="3172"/>
                </a:lnTo>
                <a:lnTo>
                  <a:pt x="5746" y="3174"/>
                </a:lnTo>
                <a:lnTo>
                  <a:pt x="5748" y="3172"/>
                </a:lnTo>
                <a:lnTo>
                  <a:pt x="5752" y="3170"/>
                </a:lnTo>
                <a:lnTo>
                  <a:pt x="5756" y="3168"/>
                </a:lnTo>
                <a:lnTo>
                  <a:pt x="5764" y="3168"/>
                </a:lnTo>
                <a:lnTo>
                  <a:pt x="5778" y="3172"/>
                </a:lnTo>
                <a:lnTo>
                  <a:pt x="5788" y="3174"/>
                </a:lnTo>
                <a:lnTo>
                  <a:pt x="5794" y="3172"/>
                </a:lnTo>
                <a:lnTo>
                  <a:pt x="5798" y="3168"/>
                </a:lnTo>
                <a:lnTo>
                  <a:pt x="5808" y="3162"/>
                </a:lnTo>
                <a:lnTo>
                  <a:pt x="5814" y="3162"/>
                </a:lnTo>
                <a:lnTo>
                  <a:pt x="5820" y="3162"/>
                </a:lnTo>
                <a:lnTo>
                  <a:pt x="5828" y="3164"/>
                </a:lnTo>
                <a:lnTo>
                  <a:pt x="5834" y="3166"/>
                </a:lnTo>
                <a:lnTo>
                  <a:pt x="5842" y="3176"/>
                </a:lnTo>
                <a:lnTo>
                  <a:pt x="5846" y="3180"/>
                </a:lnTo>
                <a:lnTo>
                  <a:pt x="5846" y="3184"/>
                </a:lnTo>
                <a:lnTo>
                  <a:pt x="5848" y="3192"/>
                </a:lnTo>
                <a:lnTo>
                  <a:pt x="5852" y="3200"/>
                </a:lnTo>
                <a:lnTo>
                  <a:pt x="5858" y="3210"/>
                </a:lnTo>
                <a:lnTo>
                  <a:pt x="5866" y="3218"/>
                </a:lnTo>
                <a:lnTo>
                  <a:pt x="5874" y="3226"/>
                </a:lnTo>
                <a:lnTo>
                  <a:pt x="5880" y="3228"/>
                </a:lnTo>
                <a:lnTo>
                  <a:pt x="5882" y="3228"/>
                </a:lnTo>
                <a:lnTo>
                  <a:pt x="5886" y="3224"/>
                </a:lnTo>
                <a:lnTo>
                  <a:pt x="5890" y="3220"/>
                </a:lnTo>
                <a:lnTo>
                  <a:pt x="5892" y="3216"/>
                </a:lnTo>
                <a:lnTo>
                  <a:pt x="5896" y="3210"/>
                </a:lnTo>
                <a:lnTo>
                  <a:pt x="5900" y="3206"/>
                </a:lnTo>
                <a:lnTo>
                  <a:pt x="5902" y="3204"/>
                </a:lnTo>
                <a:lnTo>
                  <a:pt x="5912" y="3202"/>
                </a:lnTo>
                <a:lnTo>
                  <a:pt x="5920" y="3200"/>
                </a:lnTo>
                <a:lnTo>
                  <a:pt x="5924" y="3198"/>
                </a:lnTo>
                <a:lnTo>
                  <a:pt x="5924" y="3196"/>
                </a:lnTo>
                <a:lnTo>
                  <a:pt x="5930" y="3190"/>
                </a:lnTo>
                <a:lnTo>
                  <a:pt x="5938" y="3186"/>
                </a:lnTo>
                <a:lnTo>
                  <a:pt x="5948" y="3184"/>
                </a:lnTo>
                <a:lnTo>
                  <a:pt x="5954" y="3186"/>
                </a:lnTo>
                <a:lnTo>
                  <a:pt x="5960" y="3188"/>
                </a:lnTo>
                <a:lnTo>
                  <a:pt x="5968" y="3190"/>
                </a:lnTo>
                <a:lnTo>
                  <a:pt x="5976" y="3190"/>
                </a:lnTo>
                <a:lnTo>
                  <a:pt x="5994" y="3188"/>
                </a:lnTo>
                <a:lnTo>
                  <a:pt x="6008" y="3184"/>
                </a:lnTo>
                <a:lnTo>
                  <a:pt x="6012" y="3184"/>
                </a:lnTo>
                <a:lnTo>
                  <a:pt x="6016" y="3186"/>
                </a:lnTo>
                <a:lnTo>
                  <a:pt x="6020" y="3186"/>
                </a:lnTo>
                <a:lnTo>
                  <a:pt x="6024" y="3184"/>
                </a:lnTo>
                <a:lnTo>
                  <a:pt x="6030" y="3170"/>
                </a:lnTo>
                <a:lnTo>
                  <a:pt x="6036" y="3162"/>
                </a:lnTo>
                <a:lnTo>
                  <a:pt x="6042" y="3154"/>
                </a:lnTo>
                <a:lnTo>
                  <a:pt x="6048" y="3148"/>
                </a:lnTo>
                <a:lnTo>
                  <a:pt x="6060" y="3144"/>
                </a:lnTo>
                <a:lnTo>
                  <a:pt x="6074" y="3144"/>
                </a:lnTo>
                <a:lnTo>
                  <a:pt x="6076" y="3140"/>
                </a:lnTo>
                <a:lnTo>
                  <a:pt x="6076" y="3136"/>
                </a:lnTo>
                <a:lnTo>
                  <a:pt x="6076" y="3124"/>
                </a:lnTo>
                <a:lnTo>
                  <a:pt x="6080" y="3114"/>
                </a:lnTo>
                <a:lnTo>
                  <a:pt x="6086" y="3106"/>
                </a:lnTo>
                <a:lnTo>
                  <a:pt x="6094" y="3098"/>
                </a:lnTo>
                <a:lnTo>
                  <a:pt x="6108" y="3086"/>
                </a:lnTo>
                <a:lnTo>
                  <a:pt x="6114" y="3082"/>
                </a:lnTo>
                <a:lnTo>
                  <a:pt x="6114" y="3078"/>
                </a:lnTo>
                <a:lnTo>
                  <a:pt x="6112" y="3074"/>
                </a:lnTo>
                <a:lnTo>
                  <a:pt x="6106" y="3070"/>
                </a:lnTo>
                <a:lnTo>
                  <a:pt x="6100" y="3064"/>
                </a:lnTo>
                <a:lnTo>
                  <a:pt x="6098" y="3058"/>
                </a:lnTo>
                <a:lnTo>
                  <a:pt x="6094" y="3050"/>
                </a:lnTo>
                <a:lnTo>
                  <a:pt x="6094" y="3042"/>
                </a:lnTo>
                <a:lnTo>
                  <a:pt x="6096" y="3032"/>
                </a:lnTo>
                <a:lnTo>
                  <a:pt x="6102" y="3020"/>
                </a:lnTo>
                <a:lnTo>
                  <a:pt x="6108" y="3008"/>
                </a:lnTo>
                <a:lnTo>
                  <a:pt x="6124" y="2988"/>
                </a:lnTo>
                <a:lnTo>
                  <a:pt x="6130" y="2982"/>
                </a:lnTo>
                <a:lnTo>
                  <a:pt x="6134" y="2978"/>
                </a:lnTo>
                <a:lnTo>
                  <a:pt x="6144" y="2972"/>
                </a:lnTo>
                <a:lnTo>
                  <a:pt x="6144" y="2970"/>
                </a:lnTo>
                <a:lnTo>
                  <a:pt x="6140" y="2966"/>
                </a:lnTo>
                <a:lnTo>
                  <a:pt x="6138" y="2964"/>
                </a:lnTo>
                <a:lnTo>
                  <a:pt x="6138" y="2960"/>
                </a:lnTo>
                <a:lnTo>
                  <a:pt x="6142" y="2956"/>
                </a:lnTo>
                <a:lnTo>
                  <a:pt x="6150" y="2952"/>
                </a:lnTo>
                <a:lnTo>
                  <a:pt x="6168" y="2946"/>
                </a:lnTo>
                <a:lnTo>
                  <a:pt x="6186" y="2940"/>
                </a:lnTo>
                <a:lnTo>
                  <a:pt x="6192" y="2938"/>
                </a:lnTo>
                <a:lnTo>
                  <a:pt x="6196" y="2934"/>
                </a:lnTo>
                <a:lnTo>
                  <a:pt x="6198" y="2930"/>
                </a:lnTo>
                <a:lnTo>
                  <a:pt x="6204" y="2926"/>
                </a:lnTo>
                <a:lnTo>
                  <a:pt x="6220" y="2918"/>
                </a:lnTo>
                <a:lnTo>
                  <a:pt x="6228" y="2912"/>
                </a:lnTo>
                <a:lnTo>
                  <a:pt x="6234" y="2908"/>
                </a:lnTo>
                <a:lnTo>
                  <a:pt x="6238" y="2900"/>
                </a:lnTo>
                <a:lnTo>
                  <a:pt x="6236" y="2896"/>
                </a:lnTo>
                <a:lnTo>
                  <a:pt x="6236" y="2892"/>
                </a:lnTo>
                <a:lnTo>
                  <a:pt x="6234" y="2890"/>
                </a:lnTo>
                <a:lnTo>
                  <a:pt x="6236" y="2888"/>
                </a:lnTo>
                <a:lnTo>
                  <a:pt x="6240" y="2884"/>
                </a:lnTo>
                <a:lnTo>
                  <a:pt x="6240" y="2882"/>
                </a:lnTo>
                <a:lnTo>
                  <a:pt x="6240" y="2880"/>
                </a:lnTo>
                <a:lnTo>
                  <a:pt x="6238" y="2876"/>
                </a:lnTo>
                <a:lnTo>
                  <a:pt x="6232" y="2872"/>
                </a:lnTo>
                <a:lnTo>
                  <a:pt x="6232" y="2860"/>
                </a:lnTo>
                <a:lnTo>
                  <a:pt x="6232" y="2854"/>
                </a:lnTo>
                <a:lnTo>
                  <a:pt x="6234" y="2848"/>
                </a:lnTo>
                <a:lnTo>
                  <a:pt x="6234" y="2840"/>
                </a:lnTo>
                <a:lnTo>
                  <a:pt x="6234" y="2836"/>
                </a:lnTo>
                <a:lnTo>
                  <a:pt x="6234" y="2832"/>
                </a:lnTo>
                <a:lnTo>
                  <a:pt x="6240" y="2828"/>
                </a:lnTo>
                <a:lnTo>
                  <a:pt x="6248" y="2824"/>
                </a:lnTo>
                <a:lnTo>
                  <a:pt x="6256" y="2820"/>
                </a:lnTo>
                <a:lnTo>
                  <a:pt x="6268" y="2810"/>
                </a:lnTo>
                <a:lnTo>
                  <a:pt x="6272" y="2810"/>
                </a:lnTo>
                <a:lnTo>
                  <a:pt x="6272" y="2812"/>
                </a:lnTo>
                <a:lnTo>
                  <a:pt x="6274" y="2816"/>
                </a:lnTo>
                <a:lnTo>
                  <a:pt x="6278" y="2818"/>
                </a:lnTo>
                <a:lnTo>
                  <a:pt x="6282" y="2818"/>
                </a:lnTo>
                <a:lnTo>
                  <a:pt x="6290" y="2820"/>
                </a:lnTo>
                <a:lnTo>
                  <a:pt x="6292" y="2822"/>
                </a:lnTo>
                <a:lnTo>
                  <a:pt x="6294" y="2824"/>
                </a:lnTo>
                <a:lnTo>
                  <a:pt x="6302" y="2822"/>
                </a:lnTo>
                <a:lnTo>
                  <a:pt x="6310" y="2820"/>
                </a:lnTo>
                <a:lnTo>
                  <a:pt x="6316" y="2822"/>
                </a:lnTo>
                <a:lnTo>
                  <a:pt x="6320" y="2824"/>
                </a:lnTo>
                <a:lnTo>
                  <a:pt x="6324" y="2830"/>
                </a:lnTo>
                <a:lnTo>
                  <a:pt x="6328" y="2834"/>
                </a:lnTo>
                <a:lnTo>
                  <a:pt x="6332" y="2832"/>
                </a:lnTo>
                <a:lnTo>
                  <a:pt x="6336" y="2832"/>
                </a:lnTo>
                <a:lnTo>
                  <a:pt x="6338" y="2832"/>
                </a:lnTo>
                <a:lnTo>
                  <a:pt x="6340" y="2834"/>
                </a:lnTo>
                <a:lnTo>
                  <a:pt x="6344" y="2836"/>
                </a:lnTo>
                <a:lnTo>
                  <a:pt x="6350" y="2836"/>
                </a:lnTo>
                <a:lnTo>
                  <a:pt x="6362" y="2834"/>
                </a:lnTo>
                <a:lnTo>
                  <a:pt x="6374" y="2830"/>
                </a:lnTo>
                <a:lnTo>
                  <a:pt x="6378" y="2826"/>
                </a:lnTo>
                <a:lnTo>
                  <a:pt x="6378" y="2822"/>
                </a:lnTo>
                <a:lnTo>
                  <a:pt x="6378" y="2820"/>
                </a:lnTo>
                <a:lnTo>
                  <a:pt x="6380" y="2818"/>
                </a:lnTo>
                <a:lnTo>
                  <a:pt x="6390" y="2812"/>
                </a:lnTo>
                <a:lnTo>
                  <a:pt x="6410" y="2800"/>
                </a:lnTo>
                <a:lnTo>
                  <a:pt x="6422" y="2794"/>
                </a:lnTo>
                <a:lnTo>
                  <a:pt x="6432" y="2788"/>
                </a:lnTo>
                <a:lnTo>
                  <a:pt x="6438" y="2784"/>
                </a:lnTo>
                <a:lnTo>
                  <a:pt x="6442" y="2778"/>
                </a:lnTo>
                <a:lnTo>
                  <a:pt x="6448" y="2770"/>
                </a:lnTo>
                <a:lnTo>
                  <a:pt x="6452" y="2766"/>
                </a:lnTo>
                <a:lnTo>
                  <a:pt x="6458" y="2762"/>
                </a:lnTo>
                <a:lnTo>
                  <a:pt x="6464" y="2760"/>
                </a:lnTo>
                <a:lnTo>
                  <a:pt x="6472" y="2762"/>
                </a:lnTo>
                <a:lnTo>
                  <a:pt x="6478" y="2766"/>
                </a:lnTo>
                <a:lnTo>
                  <a:pt x="6482" y="2770"/>
                </a:lnTo>
                <a:lnTo>
                  <a:pt x="6492" y="2780"/>
                </a:lnTo>
                <a:lnTo>
                  <a:pt x="6498" y="2782"/>
                </a:lnTo>
                <a:lnTo>
                  <a:pt x="6504" y="2782"/>
                </a:lnTo>
                <a:lnTo>
                  <a:pt x="6510" y="2782"/>
                </a:lnTo>
                <a:lnTo>
                  <a:pt x="6514" y="2786"/>
                </a:lnTo>
                <a:lnTo>
                  <a:pt x="6516" y="2790"/>
                </a:lnTo>
                <a:lnTo>
                  <a:pt x="6518" y="2798"/>
                </a:lnTo>
                <a:lnTo>
                  <a:pt x="6520" y="2812"/>
                </a:lnTo>
                <a:lnTo>
                  <a:pt x="6522" y="2818"/>
                </a:lnTo>
                <a:lnTo>
                  <a:pt x="6526" y="2822"/>
                </a:lnTo>
                <a:lnTo>
                  <a:pt x="6528" y="2826"/>
                </a:lnTo>
                <a:lnTo>
                  <a:pt x="6530" y="2828"/>
                </a:lnTo>
                <a:lnTo>
                  <a:pt x="6530" y="2836"/>
                </a:lnTo>
                <a:lnTo>
                  <a:pt x="6530" y="2840"/>
                </a:lnTo>
                <a:lnTo>
                  <a:pt x="6530" y="2844"/>
                </a:lnTo>
                <a:lnTo>
                  <a:pt x="6534" y="2848"/>
                </a:lnTo>
                <a:lnTo>
                  <a:pt x="6538" y="2852"/>
                </a:lnTo>
                <a:lnTo>
                  <a:pt x="6554" y="2864"/>
                </a:lnTo>
                <a:lnTo>
                  <a:pt x="6556" y="2868"/>
                </a:lnTo>
                <a:lnTo>
                  <a:pt x="6556" y="2874"/>
                </a:lnTo>
                <a:lnTo>
                  <a:pt x="6556" y="2876"/>
                </a:lnTo>
                <a:lnTo>
                  <a:pt x="6558" y="2878"/>
                </a:lnTo>
                <a:lnTo>
                  <a:pt x="6566" y="2880"/>
                </a:lnTo>
                <a:lnTo>
                  <a:pt x="6574" y="2884"/>
                </a:lnTo>
                <a:lnTo>
                  <a:pt x="6578" y="2888"/>
                </a:lnTo>
                <a:lnTo>
                  <a:pt x="6582" y="2894"/>
                </a:lnTo>
                <a:lnTo>
                  <a:pt x="6586" y="2900"/>
                </a:lnTo>
                <a:lnTo>
                  <a:pt x="6590" y="2902"/>
                </a:lnTo>
                <a:lnTo>
                  <a:pt x="6594" y="2906"/>
                </a:lnTo>
                <a:lnTo>
                  <a:pt x="6604" y="2916"/>
                </a:lnTo>
                <a:lnTo>
                  <a:pt x="6616" y="2928"/>
                </a:lnTo>
                <a:lnTo>
                  <a:pt x="6628" y="2936"/>
                </a:lnTo>
                <a:lnTo>
                  <a:pt x="6642" y="2940"/>
                </a:lnTo>
                <a:lnTo>
                  <a:pt x="6654" y="2942"/>
                </a:lnTo>
                <a:lnTo>
                  <a:pt x="6658" y="2942"/>
                </a:lnTo>
                <a:lnTo>
                  <a:pt x="6662" y="2946"/>
                </a:lnTo>
                <a:lnTo>
                  <a:pt x="6666" y="2956"/>
                </a:lnTo>
                <a:lnTo>
                  <a:pt x="6672" y="2964"/>
                </a:lnTo>
                <a:lnTo>
                  <a:pt x="6676" y="2966"/>
                </a:lnTo>
                <a:lnTo>
                  <a:pt x="6680" y="2968"/>
                </a:lnTo>
                <a:lnTo>
                  <a:pt x="6686" y="2966"/>
                </a:lnTo>
                <a:lnTo>
                  <a:pt x="6688" y="2968"/>
                </a:lnTo>
                <a:lnTo>
                  <a:pt x="6688" y="2972"/>
                </a:lnTo>
                <a:lnTo>
                  <a:pt x="6688" y="2974"/>
                </a:lnTo>
                <a:lnTo>
                  <a:pt x="6688" y="2976"/>
                </a:lnTo>
                <a:lnTo>
                  <a:pt x="6690" y="2976"/>
                </a:lnTo>
                <a:lnTo>
                  <a:pt x="6696" y="2976"/>
                </a:lnTo>
                <a:lnTo>
                  <a:pt x="6702" y="2976"/>
                </a:lnTo>
                <a:lnTo>
                  <a:pt x="6706" y="2976"/>
                </a:lnTo>
                <a:lnTo>
                  <a:pt x="6706" y="2980"/>
                </a:lnTo>
                <a:lnTo>
                  <a:pt x="6706" y="2982"/>
                </a:lnTo>
                <a:lnTo>
                  <a:pt x="6706" y="2992"/>
                </a:lnTo>
                <a:lnTo>
                  <a:pt x="6708" y="2998"/>
                </a:lnTo>
                <a:lnTo>
                  <a:pt x="6714" y="3002"/>
                </a:lnTo>
                <a:lnTo>
                  <a:pt x="6726" y="3008"/>
                </a:lnTo>
                <a:lnTo>
                  <a:pt x="6734" y="3012"/>
                </a:lnTo>
                <a:lnTo>
                  <a:pt x="6738" y="3014"/>
                </a:lnTo>
                <a:lnTo>
                  <a:pt x="6742" y="3020"/>
                </a:lnTo>
                <a:lnTo>
                  <a:pt x="6746" y="3026"/>
                </a:lnTo>
                <a:lnTo>
                  <a:pt x="6750" y="3038"/>
                </a:lnTo>
                <a:lnTo>
                  <a:pt x="6754" y="3058"/>
                </a:lnTo>
                <a:lnTo>
                  <a:pt x="6756" y="3068"/>
                </a:lnTo>
                <a:lnTo>
                  <a:pt x="6756" y="3076"/>
                </a:lnTo>
                <a:lnTo>
                  <a:pt x="6752" y="3080"/>
                </a:lnTo>
                <a:lnTo>
                  <a:pt x="6748" y="3084"/>
                </a:lnTo>
                <a:lnTo>
                  <a:pt x="6748" y="3090"/>
                </a:lnTo>
                <a:lnTo>
                  <a:pt x="6746" y="3094"/>
                </a:lnTo>
                <a:lnTo>
                  <a:pt x="6744" y="3100"/>
                </a:lnTo>
                <a:lnTo>
                  <a:pt x="6740" y="3108"/>
                </a:lnTo>
                <a:lnTo>
                  <a:pt x="6738" y="3114"/>
                </a:lnTo>
                <a:lnTo>
                  <a:pt x="6738" y="3120"/>
                </a:lnTo>
                <a:lnTo>
                  <a:pt x="6742" y="3124"/>
                </a:lnTo>
                <a:lnTo>
                  <a:pt x="6748" y="3126"/>
                </a:lnTo>
                <a:lnTo>
                  <a:pt x="6752" y="3126"/>
                </a:lnTo>
                <a:lnTo>
                  <a:pt x="6754" y="3124"/>
                </a:lnTo>
                <a:lnTo>
                  <a:pt x="6756" y="3122"/>
                </a:lnTo>
                <a:lnTo>
                  <a:pt x="6760" y="3112"/>
                </a:lnTo>
                <a:lnTo>
                  <a:pt x="6768" y="3102"/>
                </a:lnTo>
                <a:lnTo>
                  <a:pt x="6772" y="3096"/>
                </a:lnTo>
                <a:lnTo>
                  <a:pt x="6774" y="3092"/>
                </a:lnTo>
                <a:lnTo>
                  <a:pt x="6776" y="3086"/>
                </a:lnTo>
                <a:lnTo>
                  <a:pt x="6780" y="3078"/>
                </a:lnTo>
                <a:lnTo>
                  <a:pt x="6784" y="3074"/>
                </a:lnTo>
                <a:lnTo>
                  <a:pt x="6790" y="3070"/>
                </a:lnTo>
                <a:lnTo>
                  <a:pt x="6796" y="3066"/>
                </a:lnTo>
                <a:lnTo>
                  <a:pt x="6798" y="3060"/>
                </a:lnTo>
                <a:lnTo>
                  <a:pt x="6800" y="3054"/>
                </a:lnTo>
                <a:lnTo>
                  <a:pt x="6800" y="3050"/>
                </a:lnTo>
                <a:lnTo>
                  <a:pt x="6796" y="3044"/>
                </a:lnTo>
                <a:lnTo>
                  <a:pt x="6794" y="3040"/>
                </a:lnTo>
                <a:lnTo>
                  <a:pt x="6788" y="3036"/>
                </a:lnTo>
                <a:lnTo>
                  <a:pt x="6784" y="3034"/>
                </a:lnTo>
                <a:lnTo>
                  <a:pt x="6774" y="3030"/>
                </a:lnTo>
                <a:lnTo>
                  <a:pt x="6770" y="3026"/>
                </a:lnTo>
                <a:lnTo>
                  <a:pt x="6770" y="3022"/>
                </a:lnTo>
                <a:lnTo>
                  <a:pt x="6774" y="3016"/>
                </a:lnTo>
                <a:lnTo>
                  <a:pt x="6778" y="3008"/>
                </a:lnTo>
                <a:lnTo>
                  <a:pt x="6778" y="3002"/>
                </a:lnTo>
                <a:lnTo>
                  <a:pt x="6780" y="2994"/>
                </a:lnTo>
                <a:lnTo>
                  <a:pt x="6784" y="2990"/>
                </a:lnTo>
                <a:lnTo>
                  <a:pt x="6788" y="2986"/>
                </a:lnTo>
                <a:lnTo>
                  <a:pt x="6796" y="2984"/>
                </a:lnTo>
                <a:lnTo>
                  <a:pt x="6802" y="2984"/>
                </a:lnTo>
                <a:lnTo>
                  <a:pt x="6808" y="2988"/>
                </a:lnTo>
                <a:lnTo>
                  <a:pt x="6818" y="2990"/>
                </a:lnTo>
                <a:lnTo>
                  <a:pt x="6824" y="2992"/>
                </a:lnTo>
                <a:lnTo>
                  <a:pt x="6828" y="2996"/>
                </a:lnTo>
                <a:lnTo>
                  <a:pt x="6832" y="3004"/>
                </a:lnTo>
                <a:lnTo>
                  <a:pt x="6836" y="3014"/>
                </a:lnTo>
                <a:lnTo>
                  <a:pt x="6838" y="3018"/>
                </a:lnTo>
                <a:lnTo>
                  <a:pt x="6842" y="3020"/>
                </a:lnTo>
                <a:lnTo>
                  <a:pt x="6850" y="3020"/>
                </a:lnTo>
                <a:lnTo>
                  <a:pt x="6850" y="3018"/>
                </a:lnTo>
                <a:lnTo>
                  <a:pt x="6850" y="3014"/>
                </a:lnTo>
                <a:lnTo>
                  <a:pt x="6852" y="3006"/>
                </a:lnTo>
                <a:lnTo>
                  <a:pt x="6854" y="3000"/>
                </a:lnTo>
                <a:lnTo>
                  <a:pt x="6852" y="2996"/>
                </a:lnTo>
                <a:lnTo>
                  <a:pt x="6850" y="2992"/>
                </a:lnTo>
                <a:lnTo>
                  <a:pt x="6846" y="2986"/>
                </a:lnTo>
                <a:lnTo>
                  <a:pt x="6836" y="2978"/>
                </a:lnTo>
                <a:lnTo>
                  <a:pt x="6826" y="2972"/>
                </a:lnTo>
                <a:lnTo>
                  <a:pt x="6810" y="2962"/>
                </a:lnTo>
                <a:lnTo>
                  <a:pt x="6804" y="2958"/>
                </a:lnTo>
                <a:lnTo>
                  <a:pt x="6798" y="2952"/>
                </a:lnTo>
                <a:lnTo>
                  <a:pt x="6794" y="2950"/>
                </a:lnTo>
                <a:lnTo>
                  <a:pt x="6786" y="2946"/>
                </a:lnTo>
                <a:lnTo>
                  <a:pt x="6768" y="2938"/>
                </a:lnTo>
                <a:lnTo>
                  <a:pt x="6758" y="2932"/>
                </a:lnTo>
                <a:lnTo>
                  <a:pt x="6752" y="2928"/>
                </a:lnTo>
                <a:lnTo>
                  <a:pt x="6750" y="2922"/>
                </a:lnTo>
                <a:lnTo>
                  <a:pt x="6752" y="2920"/>
                </a:lnTo>
                <a:lnTo>
                  <a:pt x="6754" y="2918"/>
                </a:lnTo>
                <a:lnTo>
                  <a:pt x="6760" y="2912"/>
                </a:lnTo>
                <a:lnTo>
                  <a:pt x="6760" y="2908"/>
                </a:lnTo>
                <a:lnTo>
                  <a:pt x="6758" y="2908"/>
                </a:lnTo>
                <a:lnTo>
                  <a:pt x="6752" y="2906"/>
                </a:lnTo>
                <a:lnTo>
                  <a:pt x="6744" y="2904"/>
                </a:lnTo>
                <a:lnTo>
                  <a:pt x="6722" y="2902"/>
                </a:lnTo>
                <a:lnTo>
                  <a:pt x="6710" y="2898"/>
                </a:lnTo>
                <a:lnTo>
                  <a:pt x="6702" y="2894"/>
                </a:lnTo>
                <a:lnTo>
                  <a:pt x="6686" y="2878"/>
                </a:lnTo>
                <a:lnTo>
                  <a:pt x="6676" y="2862"/>
                </a:lnTo>
                <a:lnTo>
                  <a:pt x="6668" y="2848"/>
                </a:lnTo>
                <a:lnTo>
                  <a:pt x="6664" y="2834"/>
                </a:lnTo>
                <a:lnTo>
                  <a:pt x="6658" y="2816"/>
                </a:lnTo>
                <a:lnTo>
                  <a:pt x="6654" y="2810"/>
                </a:lnTo>
                <a:lnTo>
                  <a:pt x="6650" y="2808"/>
                </a:lnTo>
                <a:lnTo>
                  <a:pt x="6642" y="2806"/>
                </a:lnTo>
                <a:lnTo>
                  <a:pt x="6636" y="2800"/>
                </a:lnTo>
                <a:lnTo>
                  <a:pt x="6628" y="2794"/>
                </a:lnTo>
                <a:lnTo>
                  <a:pt x="6618" y="2786"/>
                </a:lnTo>
                <a:lnTo>
                  <a:pt x="6612" y="2780"/>
                </a:lnTo>
                <a:lnTo>
                  <a:pt x="6608" y="2774"/>
                </a:lnTo>
                <a:lnTo>
                  <a:pt x="6604" y="2766"/>
                </a:lnTo>
                <a:lnTo>
                  <a:pt x="6602" y="2758"/>
                </a:lnTo>
                <a:lnTo>
                  <a:pt x="6602" y="2752"/>
                </a:lnTo>
                <a:lnTo>
                  <a:pt x="6602" y="2746"/>
                </a:lnTo>
                <a:lnTo>
                  <a:pt x="6604" y="2742"/>
                </a:lnTo>
                <a:lnTo>
                  <a:pt x="6608" y="2738"/>
                </a:lnTo>
                <a:lnTo>
                  <a:pt x="6610" y="2738"/>
                </a:lnTo>
                <a:lnTo>
                  <a:pt x="6612" y="2736"/>
                </a:lnTo>
                <a:lnTo>
                  <a:pt x="6612" y="2730"/>
                </a:lnTo>
                <a:lnTo>
                  <a:pt x="6602" y="2718"/>
                </a:lnTo>
                <a:lnTo>
                  <a:pt x="6600" y="2710"/>
                </a:lnTo>
                <a:lnTo>
                  <a:pt x="6600" y="2704"/>
                </a:lnTo>
                <a:lnTo>
                  <a:pt x="6604" y="2702"/>
                </a:lnTo>
                <a:lnTo>
                  <a:pt x="6608" y="2704"/>
                </a:lnTo>
                <a:lnTo>
                  <a:pt x="6612" y="2704"/>
                </a:lnTo>
                <a:lnTo>
                  <a:pt x="6614" y="2704"/>
                </a:lnTo>
                <a:lnTo>
                  <a:pt x="6618" y="2702"/>
                </a:lnTo>
                <a:lnTo>
                  <a:pt x="6626" y="2696"/>
                </a:lnTo>
                <a:lnTo>
                  <a:pt x="6634" y="2690"/>
                </a:lnTo>
                <a:lnTo>
                  <a:pt x="6642" y="2688"/>
                </a:lnTo>
                <a:lnTo>
                  <a:pt x="6642" y="2690"/>
                </a:lnTo>
                <a:lnTo>
                  <a:pt x="6644" y="2692"/>
                </a:lnTo>
                <a:lnTo>
                  <a:pt x="6650" y="2690"/>
                </a:lnTo>
                <a:lnTo>
                  <a:pt x="6656" y="2690"/>
                </a:lnTo>
                <a:lnTo>
                  <a:pt x="6658" y="2690"/>
                </a:lnTo>
                <a:lnTo>
                  <a:pt x="6658" y="2696"/>
                </a:lnTo>
                <a:lnTo>
                  <a:pt x="6658" y="2698"/>
                </a:lnTo>
                <a:lnTo>
                  <a:pt x="6656" y="2698"/>
                </a:lnTo>
                <a:lnTo>
                  <a:pt x="6654" y="2700"/>
                </a:lnTo>
                <a:lnTo>
                  <a:pt x="6652" y="2702"/>
                </a:lnTo>
                <a:lnTo>
                  <a:pt x="6652" y="2704"/>
                </a:lnTo>
                <a:lnTo>
                  <a:pt x="6654" y="2716"/>
                </a:lnTo>
                <a:lnTo>
                  <a:pt x="6660" y="2730"/>
                </a:lnTo>
                <a:lnTo>
                  <a:pt x="6666" y="2742"/>
                </a:lnTo>
                <a:lnTo>
                  <a:pt x="6670" y="2744"/>
                </a:lnTo>
                <a:lnTo>
                  <a:pt x="6672" y="2742"/>
                </a:lnTo>
                <a:lnTo>
                  <a:pt x="6678" y="2718"/>
                </a:lnTo>
                <a:lnTo>
                  <a:pt x="6680" y="2714"/>
                </a:lnTo>
                <a:lnTo>
                  <a:pt x="6684" y="2712"/>
                </a:lnTo>
                <a:lnTo>
                  <a:pt x="6688" y="2712"/>
                </a:lnTo>
                <a:lnTo>
                  <a:pt x="6694" y="2714"/>
                </a:lnTo>
                <a:lnTo>
                  <a:pt x="6700" y="2722"/>
                </a:lnTo>
                <a:lnTo>
                  <a:pt x="6706" y="2728"/>
                </a:lnTo>
                <a:lnTo>
                  <a:pt x="6706" y="2732"/>
                </a:lnTo>
                <a:lnTo>
                  <a:pt x="6708" y="2736"/>
                </a:lnTo>
                <a:lnTo>
                  <a:pt x="6708" y="2746"/>
                </a:lnTo>
                <a:lnTo>
                  <a:pt x="6710" y="2752"/>
                </a:lnTo>
                <a:lnTo>
                  <a:pt x="6714" y="2758"/>
                </a:lnTo>
                <a:lnTo>
                  <a:pt x="6720" y="2764"/>
                </a:lnTo>
                <a:lnTo>
                  <a:pt x="6720" y="2768"/>
                </a:lnTo>
                <a:lnTo>
                  <a:pt x="6720" y="2770"/>
                </a:lnTo>
                <a:lnTo>
                  <a:pt x="6718" y="2772"/>
                </a:lnTo>
                <a:lnTo>
                  <a:pt x="6718" y="2774"/>
                </a:lnTo>
                <a:lnTo>
                  <a:pt x="6718" y="2778"/>
                </a:lnTo>
                <a:lnTo>
                  <a:pt x="6722" y="2782"/>
                </a:lnTo>
                <a:lnTo>
                  <a:pt x="6732" y="2790"/>
                </a:lnTo>
                <a:lnTo>
                  <a:pt x="6740" y="2798"/>
                </a:lnTo>
                <a:lnTo>
                  <a:pt x="6746" y="2804"/>
                </a:lnTo>
                <a:lnTo>
                  <a:pt x="6750" y="2812"/>
                </a:lnTo>
                <a:lnTo>
                  <a:pt x="6750" y="2814"/>
                </a:lnTo>
                <a:lnTo>
                  <a:pt x="6752" y="2814"/>
                </a:lnTo>
                <a:lnTo>
                  <a:pt x="6762" y="2814"/>
                </a:lnTo>
                <a:lnTo>
                  <a:pt x="6768" y="2814"/>
                </a:lnTo>
                <a:lnTo>
                  <a:pt x="6774" y="2814"/>
                </a:lnTo>
                <a:lnTo>
                  <a:pt x="6786" y="2822"/>
                </a:lnTo>
                <a:lnTo>
                  <a:pt x="6800" y="2832"/>
                </a:lnTo>
                <a:lnTo>
                  <a:pt x="6812" y="2844"/>
                </a:lnTo>
                <a:lnTo>
                  <a:pt x="6798" y="2842"/>
                </a:lnTo>
                <a:lnTo>
                  <a:pt x="6794" y="2842"/>
                </a:lnTo>
                <a:lnTo>
                  <a:pt x="6800" y="2846"/>
                </a:lnTo>
                <a:lnTo>
                  <a:pt x="6818" y="2854"/>
                </a:lnTo>
                <a:lnTo>
                  <a:pt x="6828" y="2858"/>
                </a:lnTo>
                <a:lnTo>
                  <a:pt x="6836" y="2862"/>
                </a:lnTo>
                <a:lnTo>
                  <a:pt x="6844" y="2870"/>
                </a:lnTo>
                <a:lnTo>
                  <a:pt x="6848" y="2876"/>
                </a:lnTo>
                <a:lnTo>
                  <a:pt x="6852" y="2876"/>
                </a:lnTo>
                <a:lnTo>
                  <a:pt x="6858" y="2876"/>
                </a:lnTo>
                <a:lnTo>
                  <a:pt x="6862" y="2880"/>
                </a:lnTo>
                <a:lnTo>
                  <a:pt x="6868" y="2882"/>
                </a:lnTo>
                <a:lnTo>
                  <a:pt x="6872" y="2886"/>
                </a:lnTo>
                <a:lnTo>
                  <a:pt x="6874" y="2892"/>
                </a:lnTo>
                <a:lnTo>
                  <a:pt x="6876" y="2898"/>
                </a:lnTo>
                <a:lnTo>
                  <a:pt x="6876" y="2902"/>
                </a:lnTo>
                <a:lnTo>
                  <a:pt x="6880" y="2904"/>
                </a:lnTo>
                <a:lnTo>
                  <a:pt x="6888" y="2904"/>
                </a:lnTo>
                <a:lnTo>
                  <a:pt x="6892" y="2908"/>
                </a:lnTo>
                <a:lnTo>
                  <a:pt x="6894" y="2912"/>
                </a:lnTo>
                <a:lnTo>
                  <a:pt x="6892" y="2928"/>
                </a:lnTo>
                <a:lnTo>
                  <a:pt x="6890" y="2944"/>
                </a:lnTo>
                <a:lnTo>
                  <a:pt x="6890" y="2950"/>
                </a:lnTo>
                <a:lnTo>
                  <a:pt x="6890" y="2954"/>
                </a:lnTo>
                <a:lnTo>
                  <a:pt x="6892" y="2956"/>
                </a:lnTo>
                <a:lnTo>
                  <a:pt x="6890" y="2958"/>
                </a:lnTo>
                <a:lnTo>
                  <a:pt x="6888" y="2962"/>
                </a:lnTo>
                <a:lnTo>
                  <a:pt x="6884" y="2968"/>
                </a:lnTo>
                <a:lnTo>
                  <a:pt x="6884" y="2974"/>
                </a:lnTo>
                <a:lnTo>
                  <a:pt x="6886" y="2978"/>
                </a:lnTo>
                <a:lnTo>
                  <a:pt x="6888" y="2984"/>
                </a:lnTo>
                <a:lnTo>
                  <a:pt x="6888" y="2988"/>
                </a:lnTo>
                <a:lnTo>
                  <a:pt x="6886" y="2990"/>
                </a:lnTo>
                <a:lnTo>
                  <a:pt x="6886" y="2992"/>
                </a:lnTo>
                <a:lnTo>
                  <a:pt x="6894" y="2996"/>
                </a:lnTo>
                <a:lnTo>
                  <a:pt x="6902" y="3002"/>
                </a:lnTo>
                <a:lnTo>
                  <a:pt x="6906" y="3008"/>
                </a:lnTo>
                <a:lnTo>
                  <a:pt x="6908" y="3012"/>
                </a:lnTo>
                <a:lnTo>
                  <a:pt x="6910" y="3016"/>
                </a:lnTo>
                <a:lnTo>
                  <a:pt x="6910" y="3022"/>
                </a:lnTo>
                <a:lnTo>
                  <a:pt x="6912" y="3026"/>
                </a:lnTo>
                <a:lnTo>
                  <a:pt x="6916" y="3026"/>
                </a:lnTo>
                <a:lnTo>
                  <a:pt x="6924" y="3044"/>
                </a:lnTo>
                <a:lnTo>
                  <a:pt x="6930" y="3052"/>
                </a:lnTo>
                <a:lnTo>
                  <a:pt x="6936" y="3058"/>
                </a:lnTo>
                <a:lnTo>
                  <a:pt x="6940" y="3062"/>
                </a:lnTo>
                <a:lnTo>
                  <a:pt x="6942" y="3066"/>
                </a:lnTo>
                <a:lnTo>
                  <a:pt x="6944" y="3064"/>
                </a:lnTo>
                <a:lnTo>
                  <a:pt x="6946" y="3064"/>
                </a:lnTo>
                <a:lnTo>
                  <a:pt x="6948" y="3062"/>
                </a:lnTo>
                <a:lnTo>
                  <a:pt x="6952" y="3064"/>
                </a:lnTo>
                <a:lnTo>
                  <a:pt x="6958" y="3068"/>
                </a:lnTo>
                <a:lnTo>
                  <a:pt x="6960" y="3070"/>
                </a:lnTo>
                <a:lnTo>
                  <a:pt x="6958" y="3070"/>
                </a:lnTo>
                <a:lnTo>
                  <a:pt x="6950" y="3070"/>
                </a:lnTo>
                <a:lnTo>
                  <a:pt x="6942" y="3072"/>
                </a:lnTo>
                <a:lnTo>
                  <a:pt x="6942" y="3074"/>
                </a:lnTo>
                <a:lnTo>
                  <a:pt x="6944" y="3078"/>
                </a:lnTo>
                <a:lnTo>
                  <a:pt x="6952" y="3088"/>
                </a:lnTo>
                <a:lnTo>
                  <a:pt x="6956" y="3098"/>
                </a:lnTo>
                <a:lnTo>
                  <a:pt x="6958" y="3102"/>
                </a:lnTo>
                <a:lnTo>
                  <a:pt x="6962" y="3102"/>
                </a:lnTo>
                <a:lnTo>
                  <a:pt x="6964" y="3100"/>
                </a:lnTo>
                <a:lnTo>
                  <a:pt x="6968" y="3098"/>
                </a:lnTo>
                <a:lnTo>
                  <a:pt x="6970" y="3098"/>
                </a:lnTo>
                <a:lnTo>
                  <a:pt x="6974" y="3100"/>
                </a:lnTo>
                <a:lnTo>
                  <a:pt x="6984" y="3098"/>
                </a:lnTo>
                <a:lnTo>
                  <a:pt x="6996" y="3098"/>
                </a:lnTo>
                <a:lnTo>
                  <a:pt x="7000" y="3098"/>
                </a:lnTo>
                <a:lnTo>
                  <a:pt x="7004" y="3100"/>
                </a:lnTo>
                <a:lnTo>
                  <a:pt x="7008" y="3100"/>
                </a:lnTo>
                <a:lnTo>
                  <a:pt x="7014" y="3100"/>
                </a:lnTo>
                <a:lnTo>
                  <a:pt x="7020" y="3104"/>
                </a:lnTo>
                <a:lnTo>
                  <a:pt x="7026" y="3106"/>
                </a:lnTo>
                <a:lnTo>
                  <a:pt x="7032" y="3108"/>
                </a:lnTo>
                <a:lnTo>
                  <a:pt x="7038" y="3108"/>
                </a:lnTo>
                <a:lnTo>
                  <a:pt x="7042" y="3110"/>
                </a:lnTo>
                <a:lnTo>
                  <a:pt x="7042" y="3112"/>
                </a:lnTo>
                <a:lnTo>
                  <a:pt x="7042" y="3114"/>
                </a:lnTo>
                <a:lnTo>
                  <a:pt x="7036" y="3116"/>
                </a:lnTo>
                <a:lnTo>
                  <a:pt x="7028" y="3118"/>
                </a:lnTo>
                <a:lnTo>
                  <a:pt x="7022" y="3118"/>
                </a:lnTo>
                <a:lnTo>
                  <a:pt x="7006" y="3108"/>
                </a:lnTo>
                <a:lnTo>
                  <a:pt x="6996" y="3104"/>
                </a:lnTo>
                <a:lnTo>
                  <a:pt x="6990" y="3102"/>
                </a:lnTo>
                <a:lnTo>
                  <a:pt x="6986" y="3104"/>
                </a:lnTo>
                <a:lnTo>
                  <a:pt x="6982" y="3108"/>
                </a:lnTo>
                <a:lnTo>
                  <a:pt x="6980" y="3110"/>
                </a:lnTo>
                <a:lnTo>
                  <a:pt x="6978" y="3110"/>
                </a:lnTo>
                <a:lnTo>
                  <a:pt x="6972" y="3110"/>
                </a:lnTo>
                <a:lnTo>
                  <a:pt x="6968" y="3110"/>
                </a:lnTo>
                <a:lnTo>
                  <a:pt x="6966" y="3112"/>
                </a:lnTo>
                <a:lnTo>
                  <a:pt x="6966" y="3116"/>
                </a:lnTo>
                <a:lnTo>
                  <a:pt x="6964" y="3120"/>
                </a:lnTo>
                <a:lnTo>
                  <a:pt x="6962" y="3122"/>
                </a:lnTo>
                <a:lnTo>
                  <a:pt x="6960" y="3124"/>
                </a:lnTo>
                <a:lnTo>
                  <a:pt x="6958" y="3126"/>
                </a:lnTo>
                <a:lnTo>
                  <a:pt x="6960" y="3130"/>
                </a:lnTo>
                <a:lnTo>
                  <a:pt x="6964" y="3134"/>
                </a:lnTo>
                <a:lnTo>
                  <a:pt x="6964" y="3138"/>
                </a:lnTo>
                <a:lnTo>
                  <a:pt x="6964" y="3140"/>
                </a:lnTo>
                <a:lnTo>
                  <a:pt x="6970" y="3142"/>
                </a:lnTo>
                <a:lnTo>
                  <a:pt x="6974" y="3142"/>
                </a:lnTo>
                <a:lnTo>
                  <a:pt x="6976" y="3144"/>
                </a:lnTo>
                <a:lnTo>
                  <a:pt x="6980" y="3148"/>
                </a:lnTo>
                <a:lnTo>
                  <a:pt x="6978" y="3156"/>
                </a:lnTo>
                <a:lnTo>
                  <a:pt x="6976" y="3162"/>
                </a:lnTo>
                <a:lnTo>
                  <a:pt x="6976" y="3166"/>
                </a:lnTo>
                <a:lnTo>
                  <a:pt x="6976" y="3170"/>
                </a:lnTo>
                <a:lnTo>
                  <a:pt x="6982" y="3180"/>
                </a:lnTo>
                <a:lnTo>
                  <a:pt x="6986" y="3184"/>
                </a:lnTo>
                <a:lnTo>
                  <a:pt x="6988" y="3186"/>
                </a:lnTo>
                <a:lnTo>
                  <a:pt x="6990" y="3184"/>
                </a:lnTo>
                <a:lnTo>
                  <a:pt x="6992" y="3178"/>
                </a:lnTo>
                <a:lnTo>
                  <a:pt x="6994" y="3174"/>
                </a:lnTo>
                <a:lnTo>
                  <a:pt x="6996" y="3172"/>
                </a:lnTo>
                <a:lnTo>
                  <a:pt x="6998" y="3172"/>
                </a:lnTo>
                <a:lnTo>
                  <a:pt x="7000" y="3174"/>
                </a:lnTo>
                <a:lnTo>
                  <a:pt x="7006" y="3184"/>
                </a:lnTo>
                <a:lnTo>
                  <a:pt x="7008" y="3196"/>
                </a:lnTo>
                <a:lnTo>
                  <a:pt x="7008" y="3204"/>
                </a:lnTo>
                <a:lnTo>
                  <a:pt x="7010" y="3206"/>
                </a:lnTo>
                <a:lnTo>
                  <a:pt x="7012" y="3206"/>
                </a:lnTo>
                <a:lnTo>
                  <a:pt x="7014" y="3200"/>
                </a:lnTo>
                <a:lnTo>
                  <a:pt x="7018" y="3190"/>
                </a:lnTo>
                <a:lnTo>
                  <a:pt x="7018" y="3184"/>
                </a:lnTo>
                <a:lnTo>
                  <a:pt x="7020" y="3182"/>
                </a:lnTo>
                <a:lnTo>
                  <a:pt x="7022" y="3184"/>
                </a:lnTo>
                <a:lnTo>
                  <a:pt x="7026" y="3190"/>
                </a:lnTo>
                <a:lnTo>
                  <a:pt x="7032" y="3200"/>
                </a:lnTo>
                <a:lnTo>
                  <a:pt x="7036" y="3204"/>
                </a:lnTo>
                <a:lnTo>
                  <a:pt x="7040" y="3204"/>
                </a:lnTo>
                <a:lnTo>
                  <a:pt x="7040" y="3200"/>
                </a:lnTo>
                <a:lnTo>
                  <a:pt x="7040" y="3192"/>
                </a:lnTo>
                <a:lnTo>
                  <a:pt x="7032" y="3172"/>
                </a:lnTo>
                <a:lnTo>
                  <a:pt x="7024" y="3150"/>
                </a:lnTo>
                <a:lnTo>
                  <a:pt x="7022" y="3144"/>
                </a:lnTo>
                <a:lnTo>
                  <a:pt x="7022" y="3142"/>
                </a:lnTo>
                <a:lnTo>
                  <a:pt x="7024" y="3142"/>
                </a:lnTo>
                <a:lnTo>
                  <a:pt x="7030" y="3144"/>
                </a:lnTo>
                <a:lnTo>
                  <a:pt x="7034" y="3146"/>
                </a:lnTo>
                <a:lnTo>
                  <a:pt x="7036" y="3150"/>
                </a:lnTo>
                <a:lnTo>
                  <a:pt x="7038" y="3154"/>
                </a:lnTo>
                <a:lnTo>
                  <a:pt x="7040" y="3158"/>
                </a:lnTo>
                <a:lnTo>
                  <a:pt x="7044" y="3158"/>
                </a:lnTo>
                <a:lnTo>
                  <a:pt x="7052" y="3152"/>
                </a:lnTo>
                <a:lnTo>
                  <a:pt x="7054" y="3152"/>
                </a:lnTo>
                <a:lnTo>
                  <a:pt x="7056" y="3150"/>
                </a:lnTo>
                <a:lnTo>
                  <a:pt x="7054" y="3146"/>
                </a:lnTo>
                <a:lnTo>
                  <a:pt x="7050" y="3142"/>
                </a:lnTo>
                <a:lnTo>
                  <a:pt x="7044" y="3140"/>
                </a:lnTo>
                <a:lnTo>
                  <a:pt x="7040" y="3140"/>
                </a:lnTo>
                <a:lnTo>
                  <a:pt x="7040" y="3138"/>
                </a:lnTo>
                <a:lnTo>
                  <a:pt x="7040" y="3134"/>
                </a:lnTo>
                <a:lnTo>
                  <a:pt x="7038" y="3130"/>
                </a:lnTo>
                <a:lnTo>
                  <a:pt x="7036" y="3128"/>
                </a:lnTo>
                <a:lnTo>
                  <a:pt x="7038" y="3124"/>
                </a:lnTo>
                <a:lnTo>
                  <a:pt x="7044" y="3120"/>
                </a:lnTo>
                <a:lnTo>
                  <a:pt x="7052" y="3118"/>
                </a:lnTo>
                <a:lnTo>
                  <a:pt x="7056" y="3118"/>
                </a:lnTo>
                <a:lnTo>
                  <a:pt x="7058" y="3120"/>
                </a:lnTo>
                <a:lnTo>
                  <a:pt x="7066" y="3132"/>
                </a:lnTo>
                <a:lnTo>
                  <a:pt x="7072" y="3136"/>
                </a:lnTo>
                <a:lnTo>
                  <a:pt x="7074" y="3138"/>
                </a:lnTo>
                <a:lnTo>
                  <a:pt x="7076" y="3138"/>
                </a:lnTo>
                <a:lnTo>
                  <a:pt x="7078" y="3136"/>
                </a:lnTo>
                <a:lnTo>
                  <a:pt x="7078" y="3134"/>
                </a:lnTo>
                <a:lnTo>
                  <a:pt x="7078" y="3128"/>
                </a:lnTo>
                <a:lnTo>
                  <a:pt x="7076" y="3120"/>
                </a:lnTo>
                <a:lnTo>
                  <a:pt x="7076" y="3114"/>
                </a:lnTo>
                <a:lnTo>
                  <a:pt x="7076" y="3110"/>
                </a:lnTo>
                <a:lnTo>
                  <a:pt x="7076" y="3108"/>
                </a:lnTo>
                <a:lnTo>
                  <a:pt x="7070" y="3104"/>
                </a:lnTo>
                <a:lnTo>
                  <a:pt x="7062" y="3102"/>
                </a:lnTo>
                <a:lnTo>
                  <a:pt x="7060" y="3100"/>
                </a:lnTo>
                <a:lnTo>
                  <a:pt x="7058" y="3096"/>
                </a:lnTo>
                <a:lnTo>
                  <a:pt x="7054" y="3092"/>
                </a:lnTo>
                <a:lnTo>
                  <a:pt x="7052" y="3092"/>
                </a:lnTo>
                <a:lnTo>
                  <a:pt x="7048" y="3090"/>
                </a:lnTo>
                <a:lnTo>
                  <a:pt x="7044" y="3086"/>
                </a:lnTo>
                <a:lnTo>
                  <a:pt x="7042" y="3082"/>
                </a:lnTo>
                <a:lnTo>
                  <a:pt x="7036" y="3078"/>
                </a:lnTo>
                <a:lnTo>
                  <a:pt x="7024" y="3074"/>
                </a:lnTo>
                <a:lnTo>
                  <a:pt x="7016" y="3072"/>
                </a:lnTo>
                <a:lnTo>
                  <a:pt x="7016" y="3070"/>
                </a:lnTo>
                <a:lnTo>
                  <a:pt x="7022" y="3068"/>
                </a:lnTo>
                <a:lnTo>
                  <a:pt x="7030" y="3068"/>
                </a:lnTo>
                <a:lnTo>
                  <a:pt x="7032" y="3064"/>
                </a:lnTo>
                <a:lnTo>
                  <a:pt x="7032" y="3060"/>
                </a:lnTo>
                <a:lnTo>
                  <a:pt x="7032" y="3056"/>
                </a:lnTo>
                <a:lnTo>
                  <a:pt x="7028" y="3050"/>
                </a:lnTo>
                <a:lnTo>
                  <a:pt x="7030" y="3048"/>
                </a:lnTo>
                <a:lnTo>
                  <a:pt x="7034" y="3046"/>
                </a:lnTo>
                <a:lnTo>
                  <a:pt x="7036" y="3048"/>
                </a:lnTo>
                <a:lnTo>
                  <a:pt x="7038" y="3048"/>
                </a:lnTo>
                <a:lnTo>
                  <a:pt x="7038" y="3054"/>
                </a:lnTo>
                <a:lnTo>
                  <a:pt x="7038" y="3060"/>
                </a:lnTo>
                <a:lnTo>
                  <a:pt x="7040" y="3060"/>
                </a:lnTo>
                <a:lnTo>
                  <a:pt x="7042" y="3058"/>
                </a:lnTo>
                <a:lnTo>
                  <a:pt x="7044" y="3056"/>
                </a:lnTo>
                <a:lnTo>
                  <a:pt x="7046" y="3052"/>
                </a:lnTo>
                <a:lnTo>
                  <a:pt x="7044" y="3046"/>
                </a:lnTo>
                <a:lnTo>
                  <a:pt x="7038" y="3038"/>
                </a:lnTo>
                <a:lnTo>
                  <a:pt x="7032" y="3028"/>
                </a:lnTo>
                <a:lnTo>
                  <a:pt x="7024" y="3018"/>
                </a:lnTo>
                <a:lnTo>
                  <a:pt x="7018" y="3010"/>
                </a:lnTo>
                <a:lnTo>
                  <a:pt x="7016" y="3000"/>
                </a:lnTo>
                <a:lnTo>
                  <a:pt x="7014" y="2996"/>
                </a:lnTo>
                <a:lnTo>
                  <a:pt x="7016" y="2990"/>
                </a:lnTo>
                <a:lnTo>
                  <a:pt x="7020" y="2984"/>
                </a:lnTo>
                <a:lnTo>
                  <a:pt x="7026" y="2978"/>
                </a:lnTo>
                <a:lnTo>
                  <a:pt x="7028" y="2976"/>
                </a:lnTo>
                <a:lnTo>
                  <a:pt x="7030" y="2976"/>
                </a:lnTo>
                <a:lnTo>
                  <a:pt x="7030" y="2980"/>
                </a:lnTo>
                <a:lnTo>
                  <a:pt x="7030" y="2984"/>
                </a:lnTo>
                <a:lnTo>
                  <a:pt x="7030" y="2988"/>
                </a:lnTo>
                <a:lnTo>
                  <a:pt x="7032" y="2988"/>
                </a:lnTo>
                <a:lnTo>
                  <a:pt x="7036" y="2990"/>
                </a:lnTo>
                <a:lnTo>
                  <a:pt x="7042" y="2994"/>
                </a:lnTo>
                <a:lnTo>
                  <a:pt x="7044" y="2998"/>
                </a:lnTo>
                <a:lnTo>
                  <a:pt x="7046" y="3004"/>
                </a:lnTo>
                <a:lnTo>
                  <a:pt x="7048" y="3008"/>
                </a:lnTo>
                <a:lnTo>
                  <a:pt x="7050" y="3012"/>
                </a:lnTo>
                <a:lnTo>
                  <a:pt x="7056" y="3014"/>
                </a:lnTo>
                <a:lnTo>
                  <a:pt x="7058" y="3014"/>
                </a:lnTo>
                <a:lnTo>
                  <a:pt x="7060" y="3012"/>
                </a:lnTo>
                <a:lnTo>
                  <a:pt x="7060" y="3010"/>
                </a:lnTo>
                <a:lnTo>
                  <a:pt x="7058" y="3008"/>
                </a:lnTo>
                <a:lnTo>
                  <a:pt x="7054" y="3002"/>
                </a:lnTo>
                <a:lnTo>
                  <a:pt x="7052" y="2996"/>
                </a:lnTo>
                <a:lnTo>
                  <a:pt x="7054" y="2996"/>
                </a:lnTo>
                <a:lnTo>
                  <a:pt x="7062" y="3002"/>
                </a:lnTo>
                <a:lnTo>
                  <a:pt x="7070" y="3010"/>
                </a:lnTo>
                <a:lnTo>
                  <a:pt x="7074" y="3012"/>
                </a:lnTo>
                <a:lnTo>
                  <a:pt x="7076" y="3010"/>
                </a:lnTo>
                <a:lnTo>
                  <a:pt x="7076" y="3008"/>
                </a:lnTo>
                <a:lnTo>
                  <a:pt x="7070" y="3000"/>
                </a:lnTo>
                <a:lnTo>
                  <a:pt x="7064" y="2992"/>
                </a:lnTo>
                <a:lnTo>
                  <a:pt x="7066" y="2990"/>
                </a:lnTo>
                <a:lnTo>
                  <a:pt x="7080" y="2998"/>
                </a:lnTo>
                <a:lnTo>
                  <a:pt x="7086" y="3002"/>
                </a:lnTo>
                <a:lnTo>
                  <a:pt x="7090" y="3002"/>
                </a:lnTo>
                <a:lnTo>
                  <a:pt x="7090" y="3000"/>
                </a:lnTo>
                <a:lnTo>
                  <a:pt x="7084" y="2994"/>
                </a:lnTo>
                <a:lnTo>
                  <a:pt x="7076" y="2988"/>
                </a:lnTo>
                <a:lnTo>
                  <a:pt x="7072" y="2986"/>
                </a:lnTo>
                <a:lnTo>
                  <a:pt x="7068" y="2986"/>
                </a:lnTo>
                <a:lnTo>
                  <a:pt x="7070" y="2982"/>
                </a:lnTo>
                <a:lnTo>
                  <a:pt x="7070" y="2980"/>
                </a:lnTo>
                <a:lnTo>
                  <a:pt x="7068" y="2976"/>
                </a:lnTo>
                <a:lnTo>
                  <a:pt x="7066" y="2974"/>
                </a:lnTo>
                <a:lnTo>
                  <a:pt x="7064" y="2972"/>
                </a:lnTo>
                <a:lnTo>
                  <a:pt x="7072" y="2970"/>
                </a:lnTo>
                <a:lnTo>
                  <a:pt x="7078" y="2968"/>
                </a:lnTo>
                <a:lnTo>
                  <a:pt x="7082" y="2966"/>
                </a:lnTo>
                <a:lnTo>
                  <a:pt x="7088" y="2962"/>
                </a:lnTo>
                <a:lnTo>
                  <a:pt x="7094" y="2958"/>
                </a:lnTo>
                <a:lnTo>
                  <a:pt x="7096" y="2958"/>
                </a:lnTo>
                <a:lnTo>
                  <a:pt x="7102" y="2960"/>
                </a:lnTo>
                <a:lnTo>
                  <a:pt x="7106" y="2962"/>
                </a:lnTo>
                <a:lnTo>
                  <a:pt x="7110" y="2960"/>
                </a:lnTo>
                <a:lnTo>
                  <a:pt x="7114" y="2958"/>
                </a:lnTo>
                <a:lnTo>
                  <a:pt x="7120" y="2956"/>
                </a:lnTo>
                <a:lnTo>
                  <a:pt x="7124" y="2956"/>
                </a:lnTo>
                <a:lnTo>
                  <a:pt x="7128" y="2958"/>
                </a:lnTo>
                <a:lnTo>
                  <a:pt x="7134" y="2960"/>
                </a:lnTo>
                <a:lnTo>
                  <a:pt x="7140" y="2962"/>
                </a:lnTo>
                <a:lnTo>
                  <a:pt x="7148" y="2962"/>
                </a:lnTo>
                <a:lnTo>
                  <a:pt x="7154" y="2962"/>
                </a:lnTo>
                <a:lnTo>
                  <a:pt x="7156" y="2964"/>
                </a:lnTo>
                <a:lnTo>
                  <a:pt x="7158" y="2968"/>
                </a:lnTo>
                <a:lnTo>
                  <a:pt x="7158" y="2974"/>
                </a:lnTo>
                <a:lnTo>
                  <a:pt x="7164" y="2976"/>
                </a:lnTo>
                <a:lnTo>
                  <a:pt x="7170" y="2978"/>
                </a:lnTo>
                <a:lnTo>
                  <a:pt x="7178" y="2976"/>
                </a:lnTo>
                <a:lnTo>
                  <a:pt x="7188" y="2974"/>
                </a:lnTo>
                <a:lnTo>
                  <a:pt x="7186" y="2976"/>
                </a:lnTo>
                <a:lnTo>
                  <a:pt x="7168" y="2986"/>
                </a:lnTo>
                <a:lnTo>
                  <a:pt x="7164" y="2990"/>
                </a:lnTo>
                <a:lnTo>
                  <a:pt x="7162" y="2998"/>
                </a:lnTo>
                <a:lnTo>
                  <a:pt x="7164" y="3002"/>
                </a:lnTo>
                <a:lnTo>
                  <a:pt x="7166" y="3000"/>
                </a:lnTo>
                <a:lnTo>
                  <a:pt x="7180" y="2988"/>
                </a:lnTo>
                <a:lnTo>
                  <a:pt x="7190" y="2980"/>
                </a:lnTo>
                <a:lnTo>
                  <a:pt x="7200" y="2976"/>
                </a:lnTo>
                <a:lnTo>
                  <a:pt x="7206" y="2972"/>
                </a:lnTo>
                <a:lnTo>
                  <a:pt x="7212" y="2964"/>
                </a:lnTo>
                <a:lnTo>
                  <a:pt x="7216" y="2956"/>
                </a:lnTo>
                <a:lnTo>
                  <a:pt x="7220" y="2952"/>
                </a:lnTo>
                <a:lnTo>
                  <a:pt x="7222" y="2952"/>
                </a:lnTo>
                <a:lnTo>
                  <a:pt x="7224" y="2952"/>
                </a:lnTo>
                <a:lnTo>
                  <a:pt x="7230" y="2956"/>
                </a:lnTo>
                <a:lnTo>
                  <a:pt x="7232" y="2956"/>
                </a:lnTo>
                <a:lnTo>
                  <a:pt x="7236" y="2954"/>
                </a:lnTo>
                <a:lnTo>
                  <a:pt x="7240" y="2952"/>
                </a:lnTo>
                <a:lnTo>
                  <a:pt x="7246" y="2952"/>
                </a:lnTo>
                <a:lnTo>
                  <a:pt x="7256" y="2954"/>
                </a:lnTo>
                <a:lnTo>
                  <a:pt x="7266" y="2956"/>
                </a:lnTo>
                <a:lnTo>
                  <a:pt x="7270" y="2954"/>
                </a:lnTo>
                <a:lnTo>
                  <a:pt x="7274" y="2950"/>
                </a:lnTo>
                <a:lnTo>
                  <a:pt x="7278" y="2944"/>
                </a:lnTo>
                <a:lnTo>
                  <a:pt x="7278" y="2942"/>
                </a:lnTo>
                <a:lnTo>
                  <a:pt x="7276" y="2940"/>
                </a:lnTo>
                <a:lnTo>
                  <a:pt x="7268" y="2938"/>
                </a:lnTo>
                <a:lnTo>
                  <a:pt x="7256" y="2934"/>
                </a:lnTo>
                <a:lnTo>
                  <a:pt x="7244" y="2926"/>
                </a:lnTo>
                <a:lnTo>
                  <a:pt x="7238" y="2918"/>
                </a:lnTo>
                <a:lnTo>
                  <a:pt x="7236" y="2910"/>
                </a:lnTo>
                <a:lnTo>
                  <a:pt x="7236" y="2900"/>
                </a:lnTo>
                <a:lnTo>
                  <a:pt x="7236" y="2896"/>
                </a:lnTo>
                <a:lnTo>
                  <a:pt x="7234" y="2892"/>
                </a:lnTo>
                <a:lnTo>
                  <a:pt x="7230" y="2890"/>
                </a:lnTo>
                <a:lnTo>
                  <a:pt x="7226" y="2888"/>
                </a:lnTo>
                <a:lnTo>
                  <a:pt x="7224" y="2884"/>
                </a:lnTo>
                <a:lnTo>
                  <a:pt x="7224" y="2882"/>
                </a:lnTo>
                <a:lnTo>
                  <a:pt x="7224" y="2878"/>
                </a:lnTo>
                <a:lnTo>
                  <a:pt x="7222" y="2876"/>
                </a:lnTo>
                <a:lnTo>
                  <a:pt x="7216" y="2874"/>
                </a:lnTo>
                <a:lnTo>
                  <a:pt x="7212" y="2872"/>
                </a:lnTo>
                <a:lnTo>
                  <a:pt x="7220" y="2864"/>
                </a:lnTo>
                <a:lnTo>
                  <a:pt x="7226" y="2860"/>
                </a:lnTo>
                <a:lnTo>
                  <a:pt x="7230" y="2856"/>
                </a:lnTo>
                <a:lnTo>
                  <a:pt x="7232" y="2852"/>
                </a:lnTo>
                <a:lnTo>
                  <a:pt x="7232" y="2848"/>
                </a:lnTo>
                <a:lnTo>
                  <a:pt x="7230" y="2840"/>
                </a:lnTo>
                <a:lnTo>
                  <a:pt x="7232" y="2834"/>
                </a:lnTo>
                <a:lnTo>
                  <a:pt x="7234" y="2826"/>
                </a:lnTo>
                <a:lnTo>
                  <a:pt x="7240" y="2822"/>
                </a:lnTo>
                <a:lnTo>
                  <a:pt x="7244" y="2820"/>
                </a:lnTo>
                <a:lnTo>
                  <a:pt x="7250" y="2822"/>
                </a:lnTo>
                <a:lnTo>
                  <a:pt x="7254" y="2822"/>
                </a:lnTo>
                <a:lnTo>
                  <a:pt x="7256" y="2818"/>
                </a:lnTo>
                <a:lnTo>
                  <a:pt x="7258" y="2812"/>
                </a:lnTo>
                <a:lnTo>
                  <a:pt x="7258" y="2800"/>
                </a:lnTo>
                <a:lnTo>
                  <a:pt x="7262" y="2776"/>
                </a:lnTo>
                <a:lnTo>
                  <a:pt x="7264" y="2766"/>
                </a:lnTo>
                <a:lnTo>
                  <a:pt x="7268" y="2758"/>
                </a:lnTo>
                <a:lnTo>
                  <a:pt x="7272" y="2752"/>
                </a:lnTo>
                <a:lnTo>
                  <a:pt x="7278" y="2746"/>
                </a:lnTo>
                <a:lnTo>
                  <a:pt x="7284" y="2742"/>
                </a:lnTo>
                <a:lnTo>
                  <a:pt x="7292" y="2740"/>
                </a:lnTo>
                <a:lnTo>
                  <a:pt x="7300" y="2736"/>
                </a:lnTo>
                <a:lnTo>
                  <a:pt x="7302" y="2730"/>
                </a:lnTo>
                <a:lnTo>
                  <a:pt x="7304" y="2724"/>
                </a:lnTo>
                <a:lnTo>
                  <a:pt x="7306" y="2716"/>
                </a:lnTo>
                <a:lnTo>
                  <a:pt x="7306" y="2708"/>
                </a:lnTo>
                <a:lnTo>
                  <a:pt x="7304" y="2704"/>
                </a:lnTo>
                <a:lnTo>
                  <a:pt x="7302" y="2702"/>
                </a:lnTo>
                <a:lnTo>
                  <a:pt x="7300" y="2696"/>
                </a:lnTo>
                <a:lnTo>
                  <a:pt x="7300" y="2688"/>
                </a:lnTo>
                <a:lnTo>
                  <a:pt x="7304" y="2688"/>
                </a:lnTo>
                <a:lnTo>
                  <a:pt x="7310" y="2690"/>
                </a:lnTo>
                <a:lnTo>
                  <a:pt x="7316" y="2688"/>
                </a:lnTo>
                <a:lnTo>
                  <a:pt x="7320" y="2684"/>
                </a:lnTo>
                <a:lnTo>
                  <a:pt x="7332" y="2674"/>
                </a:lnTo>
                <a:lnTo>
                  <a:pt x="7340" y="2666"/>
                </a:lnTo>
                <a:lnTo>
                  <a:pt x="7344" y="2658"/>
                </a:lnTo>
                <a:lnTo>
                  <a:pt x="7346" y="2648"/>
                </a:lnTo>
                <a:lnTo>
                  <a:pt x="7346" y="2644"/>
                </a:lnTo>
                <a:lnTo>
                  <a:pt x="7348" y="2640"/>
                </a:lnTo>
                <a:lnTo>
                  <a:pt x="7352" y="2640"/>
                </a:lnTo>
                <a:lnTo>
                  <a:pt x="7356" y="2638"/>
                </a:lnTo>
                <a:lnTo>
                  <a:pt x="7366" y="2638"/>
                </a:lnTo>
                <a:lnTo>
                  <a:pt x="7374" y="2636"/>
                </a:lnTo>
                <a:lnTo>
                  <a:pt x="7382" y="2634"/>
                </a:lnTo>
                <a:lnTo>
                  <a:pt x="7386" y="2636"/>
                </a:lnTo>
                <a:lnTo>
                  <a:pt x="7390" y="2636"/>
                </a:lnTo>
                <a:lnTo>
                  <a:pt x="7390" y="2630"/>
                </a:lnTo>
                <a:lnTo>
                  <a:pt x="7392" y="2612"/>
                </a:lnTo>
                <a:lnTo>
                  <a:pt x="7394" y="2610"/>
                </a:lnTo>
                <a:lnTo>
                  <a:pt x="7396" y="2616"/>
                </a:lnTo>
                <a:lnTo>
                  <a:pt x="7396" y="2626"/>
                </a:lnTo>
                <a:lnTo>
                  <a:pt x="7396" y="2634"/>
                </a:lnTo>
                <a:lnTo>
                  <a:pt x="7398" y="2636"/>
                </a:lnTo>
                <a:lnTo>
                  <a:pt x="7402" y="2638"/>
                </a:lnTo>
                <a:lnTo>
                  <a:pt x="7408" y="2640"/>
                </a:lnTo>
                <a:lnTo>
                  <a:pt x="7418" y="2640"/>
                </a:lnTo>
                <a:lnTo>
                  <a:pt x="7410" y="2642"/>
                </a:lnTo>
                <a:lnTo>
                  <a:pt x="7404" y="2644"/>
                </a:lnTo>
                <a:lnTo>
                  <a:pt x="7392" y="2642"/>
                </a:lnTo>
                <a:lnTo>
                  <a:pt x="7384" y="2640"/>
                </a:lnTo>
                <a:lnTo>
                  <a:pt x="7382" y="2640"/>
                </a:lnTo>
                <a:lnTo>
                  <a:pt x="7380" y="2642"/>
                </a:lnTo>
                <a:lnTo>
                  <a:pt x="7380" y="2644"/>
                </a:lnTo>
                <a:lnTo>
                  <a:pt x="7384" y="2648"/>
                </a:lnTo>
                <a:lnTo>
                  <a:pt x="7392" y="2654"/>
                </a:lnTo>
                <a:lnTo>
                  <a:pt x="7402" y="2660"/>
                </a:lnTo>
                <a:lnTo>
                  <a:pt x="7406" y="2664"/>
                </a:lnTo>
                <a:lnTo>
                  <a:pt x="7406" y="2666"/>
                </a:lnTo>
                <a:lnTo>
                  <a:pt x="7408" y="2668"/>
                </a:lnTo>
                <a:lnTo>
                  <a:pt x="7412" y="2668"/>
                </a:lnTo>
                <a:lnTo>
                  <a:pt x="7424" y="2666"/>
                </a:lnTo>
                <a:lnTo>
                  <a:pt x="7438" y="2666"/>
                </a:lnTo>
                <a:lnTo>
                  <a:pt x="7444" y="2666"/>
                </a:lnTo>
                <a:lnTo>
                  <a:pt x="7448" y="2666"/>
                </a:lnTo>
                <a:lnTo>
                  <a:pt x="7450" y="2668"/>
                </a:lnTo>
                <a:lnTo>
                  <a:pt x="7454" y="2668"/>
                </a:lnTo>
                <a:lnTo>
                  <a:pt x="7458" y="2668"/>
                </a:lnTo>
                <a:lnTo>
                  <a:pt x="7460" y="2666"/>
                </a:lnTo>
                <a:lnTo>
                  <a:pt x="7464" y="2672"/>
                </a:lnTo>
                <a:lnTo>
                  <a:pt x="7464" y="2676"/>
                </a:lnTo>
                <a:lnTo>
                  <a:pt x="7464" y="2678"/>
                </a:lnTo>
                <a:lnTo>
                  <a:pt x="7458" y="2682"/>
                </a:lnTo>
                <a:lnTo>
                  <a:pt x="7440" y="2692"/>
                </a:lnTo>
                <a:lnTo>
                  <a:pt x="7422" y="2700"/>
                </a:lnTo>
                <a:lnTo>
                  <a:pt x="7416" y="2704"/>
                </a:lnTo>
                <a:lnTo>
                  <a:pt x="7416" y="2706"/>
                </a:lnTo>
                <a:lnTo>
                  <a:pt x="7416" y="2708"/>
                </a:lnTo>
                <a:lnTo>
                  <a:pt x="7420" y="2710"/>
                </a:lnTo>
                <a:lnTo>
                  <a:pt x="7426" y="2712"/>
                </a:lnTo>
                <a:lnTo>
                  <a:pt x="7440" y="2716"/>
                </a:lnTo>
                <a:lnTo>
                  <a:pt x="7446" y="2718"/>
                </a:lnTo>
                <a:lnTo>
                  <a:pt x="7452" y="2722"/>
                </a:lnTo>
                <a:lnTo>
                  <a:pt x="7458" y="2726"/>
                </a:lnTo>
                <a:lnTo>
                  <a:pt x="7458" y="2734"/>
                </a:lnTo>
                <a:lnTo>
                  <a:pt x="7458" y="2742"/>
                </a:lnTo>
                <a:lnTo>
                  <a:pt x="7456" y="2746"/>
                </a:lnTo>
                <a:lnTo>
                  <a:pt x="7452" y="2750"/>
                </a:lnTo>
                <a:lnTo>
                  <a:pt x="7452" y="2752"/>
                </a:lnTo>
                <a:lnTo>
                  <a:pt x="7458" y="2760"/>
                </a:lnTo>
                <a:lnTo>
                  <a:pt x="7466" y="2764"/>
                </a:lnTo>
                <a:lnTo>
                  <a:pt x="7472" y="2764"/>
                </a:lnTo>
                <a:lnTo>
                  <a:pt x="7478" y="2762"/>
                </a:lnTo>
                <a:lnTo>
                  <a:pt x="7484" y="2760"/>
                </a:lnTo>
                <a:lnTo>
                  <a:pt x="7494" y="2750"/>
                </a:lnTo>
                <a:lnTo>
                  <a:pt x="7506" y="2740"/>
                </a:lnTo>
                <a:lnTo>
                  <a:pt x="7510" y="2738"/>
                </a:lnTo>
                <a:lnTo>
                  <a:pt x="7514" y="2736"/>
                </a:lnTo>
                <a:lnTo>
                  <a:pt x="7518" y="2738"/>
                </a:lnTo>
                <a:lnTo>
                  <a:pt x="7520" y="2738"/>
                </a:lnTo>
                <a:lnTo>
                  <a:pt x="7528" y="2734"/>
                </a:lnTo>
                <a:lnTo>
                  <a:pt x="7534" y="2728"/>
                </a:lnTo>
                <a:lnTo>
                  <a:pt x="7540" y="2724"/>
                </a:lnTo>
                <a:lnTo>
                  <a:pt x="7544" y="2724"/>
                </a:lnTo>
                <a:lnTo>
                  <a:pt x="7546" y="2726"/>
                </a:lnTo>
                <a:lnTo>
                  <a:pt x="7554" y="2730"/>
                </a:lnTo>
                <a:lnTo>
                  <a:pt x="7560" y="2730"/>
                </a:lnTo>
                <a:lnTo>
                  <a:pt x="7566" y="2730"/>
                </a:lnTo>
                <a:lnTo>
                  <a:pt x="7576" y="2724"/>
                </a:lnTo>
                <a:lnTo>
                  <a:pt x="7578" y="2724"/>
                </a:lnTo>
                <a:lnTo>
                  <a:pt x="7578" y="2722"/>
                </a:lnTo>
                <a:lnTo>
                  <a:pt x="7576" y="2718"/>
                </a:lnTo>
                <a:lnTo>
                  <a:pt x="7576" y="2716"/>
                </a:lnTo>
                <a:lnTo>
                  <a:pt x="7578" y="2712"/>
                </a:lnTo>
                <a:lnTo>
                  <a:pt x="7580" y="2706"/>
                </a:lnTo>
                <a:lnTo>
                  <a:pt x="7578" y="2704"/>
                </a:lnTo>
                <a:lnTo>
                  <a:pt x="7570" y="2702"/>
                </a:lnTo>
                <a:lnTo>
                  <a:pt x="7558" y="2704"/>
                </a:lnTo>
                <a:lnTo>
                  <a:pt x="7552" y="2706"/>
                </a:lnTo>
                <a:lnTo>
                  <a:pt x="7548" y="2708"/>
                </a:lnTo>
                <a:lnTo>
                  <a:pt x="7540" y="2712"/>
                </a:lnTo>
                <a:lnTo>
                  <a:pt x="7536" y="2712"/>
                </a:lnTo>
                <a:lnTo>
                  <a:pt x="7532" y="2710"/>
                </a:lnTo>
                <a:lnTo>
                  <a:pt x="7526" y="2704"/>
                </a:lnTo>
                <a:lnTo>
                  <a:pt x="7520" y="2694"/>
                </a:lnTo>
                <a:lnTo>
                  <a:pt x="7510" y="2676"/>
                </a:lnTo>
                <a:lnTo>
                  <a:pt x="7508" y="2666"/>
                </a:lnTo>
                <a:lnTo>
                  <a:pt x="7508" y="2664"/>
                </a:lnTo>
                <a:lnTo>
                  <a:pt x="7510" y="2662"/>
                </a:lnTo>
                <a:lnTo>
                  <a:pt x="7514" y="2660"/>
                </a:lnTo>
                <a:lnTo>
                  <a:pt x="7520" y="2656"/>
                </a:lnTo>
                <a:lnTo>
                  <a:pt x="7522" y="2656"/>
                </a:lnTo>
                <a:lnTo>
                  <a:pt x="7524" y="2658"/>
                </a:lnTo>
                <a:lnTo>
                  <a:pt x="7522" y="2662"/>
                </a:lnTo>
                <a:lnTo>
                  <a:pt x="7522" y="2666"/>
                </a:lnTo>
                <a:lnTo>
                  <a:pt x="7526" y="2662"/>
                </a:lnTo>
                <a:lnTo>
                  <a:pt x="7536" y="2654"/>
                </a:lnTo>
                <a:lnTo>
                  <a:pt x="7546" y="2644"/>
                </a:lnTo>
                <a:lnTo>
                  <a:pt x="7556" y="2636"/>
                </a:lnTo>
                <a:lnTo>
                  <a:pt x="7560" y="2634"/>
                </a:lnTo>
                <a:lnTo>
                  <a:pt x="7564" y="2634"/>
                </a:lnTo>
                <a:lnTo>
                  <a:pt x="7572" y="2636"/>
                </a:lnTo>
                <a:lnTo>
                  <a:pt x="7580" y="2634"/>
                </a:lnTo>
                <a:lnTo>
                  <a:pt x="7590" y="2630"/>
                </a:lnTo>
                <a:lnTo>
                  <a:pt x="7600" y="2624"/>
                </a:lnTo>
                <a:lnTo>
                  <a:pt x="7618" y="2614"/>
                </a:lnTo>
                <a:lnTo>
                  <a:pt x="7628" y="2608"/>
                </a:lnTo>
                <a:lnTo>
                  <a:pt x="7638" y="2610"/>
                </a:lnTo>
                <a:lnTo>
                  <a:pt x="7642" y="2612"/>
                </a:lnTo>
                <a:lnTo>
                  <a:pt x="7644" y="2614"/>
                </a:lnTo>
                <a:lnTo>
                  <a:pt x="7648" y="2610"/>
                </a:lnTo>
                <a:lnTo>
                  <a:pt x="7658" y="2604"/>
                </a:lnTo>
                <a:lnTo>
                  <a:pt x="7660" y="2604"/>
                </a:lnTo>
                <a:lnTo>
                  <a:pt x="7660" y="2606"/>
                </a:lnTo>
                <a:lnTo>
                  <a:pt x="7666" y="2608"/>
                </a:lnTo>
                <a:lnTo>
                  <a:pt x="7670" y="2606"/>
                </a:lnTo>
                <a:lnTo>
                  <a:pt x="7676" y="2604"/>
                </a:lnTo>
                <a:lnTo>
                  <a:pt x="7682" y="2602"/>
                </a:lnTo>
                <a:lnTo>
                  <a:pt x="7686" y="2600"/>
                </a:lnTo>
                <a:lnTo>
                  <a:pt x="7688" y="2602"/>
                </a:lnTo>
                <a:lnTo>
                  <a:pt x="7690" y="2604"/>
                </a:lnTo>
                <a:lnTo>
                  <a:pt x="7688" y="2608"/>
                </a:lnTo>
                <a:lnTo>
                  <a:pt x="7686" y="2612"/>
                </a:lnTo>
                <a:lnTo>
                  <a:pt x="7680" y="2614"/>
                </a:lnTo>
                <a:lnTo>
                  <a:pt x="7674" y="2618"/>
                </a:lnTo>
                <a:lnTo>
                  <a:pt x="7664" y="2620"/>
                </a:lnTo>
                <a:lnTo>
                  <a:pt x="7658" y="2624"/>
                </a:lnTo>
                <a:lnTo>
                  <a:pt x="7652" y="2628"/>
                </a:lnTo>
                <a:lnTo>
                  <a:pt x="7646" y="2632"/>
                </a:lnTo>
                <a:lnTo>
                  <a:pt x="7634" y="2634"/>
                </a:lnTo>
                <a:lnTo>
                  <a:pt x="7630" y="2636"/>
                </a:lnTo>
                <a:lnTo>
                  <a:pt x="7628" y="2638"/>
                </a:lnTo>
                <a:lnTo>
                  <a:pt x="7628" y="2640"/>
                </a:lnTo>
                <a:lnTo>
                  <a:pt x="7630" y="2644"/>
                </a:lnTo>
                <a:lnTo>
                  <a:pt x="7636" y="2650"/>
                </a:lnTo>
                <a:lnTo>
                  <a:pt x="7640" y="2652"/>
                </a:lnTo>
                <a:lnTo>
                  <a:pt x="7644" y="2652"/>
                </a:lnTo>
                <a:lnTo>
                  <a:pt x="7648" y="2652"/>
                </a:lnTo>
                <a:lnTo>
                  <a:pt x="7652" y="2654"/>
                </a:lnTo>
                <a:lnTo>
                  <a:pt x="7660" y="2662"/>
                </a:lnTo>
                <a:lnTo>
                  <a:pt x="7662" y="2668"/>
                </a:lnTo>
                <a:lnTo>
                  <a:pt x="7662" y="2670"/>
                </a:lnTo>
                <a:lnTo>
                  <a:pt x="7658" y="2670"/>
                </a:lnTo>
                <a:lnTo>
                  <a:pt x="7648" y="2668"/>
                </a:lnTo>
                <a:lnTo>
                  <a:pt x="7642" y="2668"/>
                </a:lnTo>
                <a:lnTo>
                  <a:pt x="7636" y="2670"/>
                </a:lnTo>
                <a:lnTo>
                  <a:pt x="7634" y="2678"/>
                </a:lnTo>
                <a:lnTo>
                  <a:pt x="7626" y="2694"/>
                </a:lnTo>
                <a:lnTo>
                  <a:pt x="7624" y="2698"/>
                </a:lnTo>
                <a:lnTo>
                  <a:pt x="7626" y="2704"/>
                </a:lnTo>
                <a:lnTo>
                  <a:pt x="7628" y="2712"/>
                </a:lnTo>
                <a:lnTo>
                  <a:pt x="7628" y="2714"/>
                </a:lnTo>
                <a:lnTo>
                  <a:pt x="7624" y="2712"/>
                </a:lnTo>
                <a:lnTo>
                  <a:pt x="7618" y="2710"/>
                </a:lnTo>
                <a:lnTo>
                  <a:pt x="7614" y="2710"/>
                </a:lnTo>
                <a:lnTo>
                  <a:pt x="7610" y="2710"/>
                </a:lnTo>
                <a:lnTo>
                  <a:pt x="7606" y="2710"/>
                </a:lnTo>
                <a:lnTo>
                  <a:pt x="7602" y="2710"/>
                </a:lnTo>
                <a:lnTo>
                  <a:pt x="7594" y="2708"/>
                </a:lnTo>
                <a:lnTo>
                  <a:pt x="7590" y="2706"/>
                </a:lnTo>
                <a:lnTo>
                  <a:pt x="7588" y="2706"/>
                </a:lnTo>
                <a:lnTo>
                  <a:pt x="7588" y="2710"/>
                </a:lnTo>
                <a:lnTo>
                  <a:pt x="7588" y="2712"/>
                </a:lnTo>
                <a:lnTo>
                  <a:pt x="7588" y="2716"/>
                </a:lnTo>
                <a:lnTo>
                  <a:pt x="7584" y="2718"/>
                </a:lnTo>
                <a:lnTo>
                  <a:pt x="7584" y="2720"/>
                </a:lnTo>
                <a:lnTo>
                  <a:pt x="7586" y="2722"/>
                </a:lnTo>
                <a:lnTo>
                  <a:pt x="7596" y="2728"/>
                </a:lnTo>
                <a:lnTo>
                  <a:pt x="7604" y="2732"/>
                </a:lnTo>
                <a:lnTo>
                  <a:pt x="7608" y="2736"/>
                </a:lnTo>
                <a:lnTo>
                  <a:pt x="7614" y="2742"/>
                </a:lnTo>
                <a:lnTo>
                  <a:pt x="7618" y="2748"/>
                </a:lnTo>
                <a:lnTo>
                  <a:pt x="7622" y="2750"/>
                </a:lnTo>
                <a:lnTo>
                  <a:pt x="7630" y="2750"/>
                </a:lnTo>
                <a:lnTo>
                  <a:pt x="7636" y="2752"/>
                </a:lnTo>
                <a:lnTo>
                  <a:pt x="7638" y="2754"/>
                </a:lnTo>
                <a:lnTo>
                  <a:pt x="7640" y="2758"/>
                </a:lnTo>
                <a:lnTo>
                  <a:pt x="7642" y="2760"/>
                </a:lnTo>
                <a:lnTo>
                  <a:pt x="7646" y="2762"/>
                </a:lnTo>
                <a:lnTo>
                  <a:pt x="7650" y="2766"/>
                </a:lnTo>
                <a:lnTo>
                  <a:pt x="7660" y="2768"/>
                </a:lnTo>
                <a:lnTo>
                  <a:pt x="7674" y="2774"/>
                </a:lnTo>
                <a:lnTo>
                  <a:pt x="7678" y="2776"/>
                </a:lnTo>
                <a:lnTo>
                  <a:pt x="7680" y="2778"/>
                </a:lnTo>
                <a:lnTo>
                  <a:pt x="7690" y="2792"/>
                </a:lnTo>
                <a:lnTo>
                  <a:pt x="7718" y="2820"/>
                </a:lnTo>
                <a:lnTo>
                  <a:pt x="7726" y="2828"/>
                </a:lnTo>
                <a:lnTo>
                  <a:pt x="7734" y="2832"/>
                </a:lnTo>
                <a:lnTo>
                  <a:pt x="7746" y="2838"/>
                </a:lnTo>
                <a:lnTo>
                  <a:pt x="7754" y="2840"/>
                </a:lnTo>
                <a:lnTo>
                  <a:pt x="7758" y="2844"/>
                </a:lnTo>
                <a:lnTo>
                  <a:pt x="7760" y="2848"/>
                </a:lnTo>
                <a:lnTo>
                  <a:pt x="7764" y="2852"/>
                </a:lnTo>
                <a:lnTo>
                  <a:pt x="7766" y="2854"/>
                </a:lnTo>
                <a:lnTo>
                  <a:pt x="7772" y="2856"/>
                </a:lnTo>
                <a:lnTo>
                  <a:pt x="7776" y="2858"/>
                </a:lnTo>
                <a:lnTo>
                  <a:pt x="7778" y="2862"/>
                </a:lnTo>
                <a:lnTo>
                  <a:pt x="7782" y="2868"/>
                </a:lnTo>
                <a:lnTo>
                  <a:pt x="7786" y="2880"/>
                </a:lnTo>
                <a:lnTo>
                  <a:pt x="7788" y="2902"/>
                </a:lnTo>
                <a:lnTo>
                  <a:pt x="7788" y="2916"/>
                </a:lnTo>
                <a:lnTo>
                  <a:pt x="7786" y="2922"/>
                </a:lnTo>
                <a:lnTo>
                  <a:pt x="7782" y="2926"/>
                </a:lnTo>
                <a:lnTo>
                  <a:pt x="7770" y="2936"/>
                </a:lnTo>
                <a:lnTo>
                  <a:pt x="7750" y="2948"/>
                </a:lnTo>
                <a:lnTo>
                  <a:pt x="7740" y="2954"/>
                </a:lnTo>
                <a:lnTo>
                  <a:pt x="7728" y="2956"/>
                </a:lnTo>
                <a:lnTo>
                  <a:pt x="7718" y="2956"/>
                </a:lnTo>
                <a:lnTo>
                  <a:pt x="7712" y="2954"/>
                </a:lnTo>
                <a:lnTo>
                  <a:pt x="7708" y="2952"/>
                </a:lnTo>
                <a:lnTo>
                  <a:pt x="7698" y="2948"/>
                </a:lnTo>
                <a:lnTo>
                  <a:pt x="7690" y="2946"/>
                </a:lnTo>
                <a:lnTo>
                  <a:pt x="7680" y="2950"/>
                </a:lnTo>
                <a:lnTo>
                  <a:pt x="7670" y="2954"/>
                </a:lnTo>
                <a:lnTo>
                  <a:pt x="7662" y="2956"/>
                </a:lnTo>
                <a:lnTo>
                  <a:pt x="7652" y="2960"/>
                </a:lnTo>
                <a:lnTo>
                  <a:pt x="7644" y="2958"/>
                </a:lnTo>
                <a:lnTo>
                  <a:pt x="7640" y="2956"/>
                </a:lnTo>
                <a:lnTo>
                  <a:pt x="7636" y="2954"/>
                </a:lnTo>
                <a:lnTo>
                  <a:pt x="7626" y="2946"/>
                </a:lnTo>
                <a:lnTo>
                  <a:pt x="7624" y="2946"/>
                </a:lnTo>
                <a:lnTo>
                  <a:pt x="7624" y="2948"/>
                </a:lnTo>
                <a:lnTo>
                  <a:pt x="7622" y="2950"/>
                </a:lnTo>
                <a:lnTo>
                  <a:pt x="7620" y="2950"/>
                </a:lnTo>
                <a:lnTo>
                  <a:pt x="7616" y="2950"/>
                </a:lnTo>
                <a:lnTo>
                  <a:pt x="7610" y="2948"/>
                </a:lnTo>
                <a:lnTo>
                  <a:pt x="7602" y="2944"/>
                </a:lnTo>
                <a:lnTo>
                  <a:pt x="7598" y="2940"/>
                </a:lnTo>
                <a:lnTo>
                  <a:pt x="7594" y="2936"/>
                </a:lnTo>
                <a:lnTo>
                  <a:pt x="7592" y="2934"/>
                </a:lnTo>
                <a:lnTo>
                  <a:pt x="7590" y="2934"/>
                </a:lnTo>
                <a:lnTo>
                  <a:pt x="7582" y="2938"/>
                </a:lnTo>
                <a:lnTo>
                  <a:pt x="7574" y="2938"/>
                </a:lnTo>
                <a:lnTo>
                  <a:pt x="7572" y="2936"/>
                </a:lnTo>
                <a:lnTo>
                  <a:pt x="7568" y="2932"/>
                </a:lnTo>
                <a:lnTo>
                  <a:pt x="7566" y="2926"/>
                </a:lnTo>
                <a:lnTo>
                  <a:pt x="7564" y="2920"/>
                </a:lnTo>
                <a:lnTo>
                  <a:pt x="7560" y="2916"/>
                </a:lnTo>
                <a:lnTo>
                  <a:pt x="7554" y="2914"/>
                </a:lnTo>
                <a:lnTo>
                  <a:pt x="7544" y="2916"/>
                </a:lnTo>
                <a:lnTo>
                  <a:pt x="7534" y="2916"/>
                </a:lnTo>
                <a:lnTo>
                  <a:pt x="7528" y="2914"/>
                </a:lnTo>
                <a:lnTo>
                  <a:pt x="7526" y="2910"/>
                </a:lnTo>
                <a:lnTo>
                  <a:pt x="7524" y="2904"/>
                </a:lnTo>
                <a:lnTo>
                  <a:pt x="7524" y="2898"/>
                </a:lnTo>
                <a:lnTo>
                  <a:pt x="7522" y="2894"/>
                </a:lnTo>
                <a:lnTo>
                  <a:pt x="7520" y="2894"/>
                </a:lnTo>
                <a:lnTo>
                  <a:pt x="7514" y="2896"/>
                </a:lnTo>
                <a:lnTo>
                  <a:pt x="7506" y="2900"/>
                </a:lnTo>
                <a:lnTo>
                  <a:pt x="7498" y="2902"/>
                </a:lnTo>
                <a:lnTo>
                  <a:pt x="7482" y="2900"/>
                </a:lnTo>
                <a:lnTo>
                  <a:pt x="7474" y="2898"/>
                </a:lnTo>
                <a:lnTo>
                  <a:pt x="7462" y="2898"/>
                </a:lnTo>
                <a:lnTo>
                  <a:pt x="7450" y="2898"/>
                </a:lnTo>
                <a:lnTo>
                  <a:pt x="7436" y="2902"/>
                </a:lnTo>
                <a:lnTo>
                  <a:pt x="7408" y="2914"/>
                </a:lnTo>
                <a:lnTo>
                  <a:pt x="7390" y="2924"/>
                </a:lnTo>
                <a:lnTo>
                  <a:pt x="7378" y="2934"/>
                </a:lnTo>
                <a:lnTo>
                  <a:pt x="7372" y="2942"/>
                </a:lnTo>
                <a:lnTo>
                  <a:pt x="7368" y="2948"/>
                </a:lnTo>
                <a:lnTo>
                  <a:pt x="7362" y="2950"/>
                </a:lnTo>
                <a:lnTo>
                  <a:pt x="7354" y="2950"/>
                </a:lnTo>
                <a:lnTo>
                  <a:pt x="7342" y="2946"/>
                </a:lnTo>
                <a:lnTo>
                  <a:pt x="7330" y="2944"/>
                </a:lnTo>
                <a:lnTo>
                  <a:pt x="7322" y="2944"/>
                </a:lnTo>
                <a:lnTo>
                  <a:pt x="7314" y="2946"/>
                </a:lnTo>
                <a:lnTo>
                  <a:pt x="7302" y="2944"/>
                </a:lnTo>
                <a:lnTo>
                  <a:pt x="7292" y="2942"/>
                </a:lnTo>
                <a:lnTo>
                  <a:pt x="7286" y="2942"/>
                </a:lnTo>
                <a:lnTo>
                  <a:pt x="7282" y="2946"/>
                </a:lnTo>
                <a:lnTo>
                  <a:pt x="7280" y="2952"/>
                </a:lnTo>
                <a:lnTo>
                  <a:pt x="7278" y="2956"/>
                </a:lnTo>
                <a:lnTo>
                  <a:pt x="7280" y="2958"/>
                </a:lnTo>
                <a:lnTo>
                  <a:pt x="7284" y="2960"/>
                </a:lnTo>
                <a:lnTo>
                  <a:pt x="7288" y="2964"/>
                </a:lnTo>
                <a:lnTo>
                  <a:pt x="7292" y="2966"/>
                </a:lnTo>
                <a:lnTo>
                  <a:pt x="7296" y="2968"/>
                </a:lnTo>
                <a:lnTo>
                  <a:pt x="7304" y="2970"/>
                </a:lnTo>
                <a:lnTo>
                  <a:pt x="7306" y="2970"/>
                </a:lnTo>
                <a:lnTo>
                  <a:pt x="7290" y="2974"/>
                </a:lnTo>
                <a:lnTo>
                  <a:pt x="7270" y="2978"/>
                </a:lnTo>
                <a:lnTo>
                  <a:pt x="7268" y="2980"/>
                </a:lnTo>
                <a:lnTo>
                  <a:pt x="7270" y="2982"/>
                </a:lnTo>
                <a:lnTo>
                  <a:pt x="7276" y="2984"/>
                </a:lnTo>
                <a:lnTo>
                  <a:pt x="7278" y="2986"/>
                </a:lnTo>
                <a:lnTo>
                  <a:pt x="7278" y="2990"/>
                </a:lnTo>
                <a:lnTo>
                  <a:pt x="7270" y="2990"/>
                </a:lnTo>
                <a:lnTo>
                  <a:pt x="7256" y="2990"/>
                </a:lnTo>
                <a:lnTo>
                  <a:pt x="7242" y="2988"/>
                </a:lnTo>
                <a:lnTo>
                  <a:pt x="7238" y="2986"/>
                </a:lnTo>
                <a:lnTo>
                  <a:pt x="7236" y="2984"/>
                </a:lnTo>
                <a:lnTo>
                  <a:pt x="7236" y="2982"/>
                </a:lnTo>
                <a:lnTo>
                  <a:pt x="7236" y="2980"/>
                </a:lnTo>
                <a:lnTo>
                  <a:pt x="7228" y="2980"/>
                </a:lnTo>
                <a:lnTo>
                  <a:pt x="7222" y="2982"/>
                </a:lnTo>
                <a:lnTo>
                  <a:pt x="7222" y="2984"/>
                </a:lnTo>
                <a:lnTo>
                  <a:pt x="7222" y="2986"/>
                </a:lnTo>
                <a:lnTo>
                  <a:pt x="7224" y="2990"/>
                </a:lnTo>
                <a:lnTo>
                  <a:pt x="7220" y="2994"/>
                </a:lnTo>
                <a:lnTo>
                  <a:pt x="7214" y="2994"/>
                </a:lnTo>
                <a:lnTo>
                  <a:pt x="7212" y="2992"/>
                </a:lnTo>
                <a:lnTo>
                  <a:pt x="7210" y="2990"/>
                </a:lnTo>
                <a:lnTo>
                  <a:pt x="7208" y="2986"/>
                </a:lnTo>
                <a:lnTo>
                  <a:pt x="7204" y="2986"/>
                </a:lnTo>
                <a:lnTo>
                  <a:pt x="7200" y="2984"/>
                </a:lnTo>
                <a:lnTo>
                  <a:pt x="7196" y="2984"/>
                </a:lnTo>
                <a:lnTo>
                  <a:pt x="7190" y="2986"/>
                </a:lnTo>
                <a:lnTo>
                  <a:pt x="7184" y="2990"/>
                </a:lnTo>
                <a:lnTo>
                  <a:pt x="7178" y="2996"/>
                </a:lnTo>
                <a:lnTo>
                  <a:pt x="7172" y="3004"/>
                </a:lnTo>
                <a:lnTo>
                  <a:pt x="7168" y="3010"/>
                </a:lnTo>
                <a:lnTo>
                  <a:pt x="7164" y="3010"/>
                </a:lnTo>
                <a:lnTo>
                  <a:pt x="7162" y="3014"/>
                </a:lnTo>
                <a:lnTo>
                  <a:pt x="7160" y="3022"/>
                </a:lnTo>
                <a:lnTo>
                  <a:pt x="7158" y="3032"/>
                </a:lnTo>
                <a:lnTo>
                  <a:pt x="7160" y="3036"/>
                </a:lnTo>
                <a:lnTo>
                  <a:pt x="7160" y="3038"/>
                </a:lnTo>
                <a:lnTo>
                  <a:pt x="7168" y="3038"/>
                </a:lnTo>
                <a:lnTo>
                  <a:pt x="7180" y="3034"/>
                </a:lnTo>
                <a:lnTo>
                  <a:pt x="7188" y="3032"/>
                </a:lnTo>
                <a:lnTo>
                  <a:pt x="7190" y="3032"/>
                </a:lnTo>
                <a:lnTo>
                  <a:pt x="7190" y="3034"/>
                </a:lnTo>
                <a:lnTo>
                  <a:pt x="7188" y="3038"/>
                </a:lnTo>
                <a:lnTo>
                  <a:pt x="7184" y="3044"/>
                </a:lnTo>
                <a:lnTo>
                  <a:pt x="7184" y="3048"/>
                </a:lnTo>
                <a:lnTo>
                  <a:pt x="7186" y="3052"/>
                </a:lnTo>
                <a:lnTo>
                  <a:pt x="7188" y="3054"/>
                </a:lnTo>
                <a:lnTo>
                  <a:pt x="7190" y="3058"/>
                </a:lnTo>
                <a:lnTo>
                  <a:pt x="7188" y="3064"/>
                </a:lnTo>
                <a:lnTo>
                  <a:pt x="7186" y="3068"/>
                </a:lnTo>
                <a:lnTo>
                  <a:pt x="7188" y="3068"/>
                </a:lnTo>
                <a:lnTo>
                  <a:pt x="7192" y="3070"/>
                </a:lnTo>
                <a:lnTo>
                  <a:pt x="7194" y="3070"/>
                </a:lnTo>
                <a:lnTo>
                  <a:pt x="7194" y="3072"/>
                </a:lnTo>
                <a:lnTo>
                  <a:pt x="7188" y="3078"/>
                </a:lnTo>
                <a:lnTo>
                  <a:pt x="7182" y="3082"/>
                </a:lnTo>
                <a:lnTo>
                  <a:pt x="7182" y="3086"/>
                </a:lnTo>
                <a:lnTo>
                  <a:pt x="7186" y="3088"/>
                </a:lnTo>
                <a:lnTo>
                  <a:pt x="7192" y="3092"/>
                </a:lnTo>
                <a:lnTo>
                  <a:pt x="7194" y="3094"/>
                </a:lnTo>
                <a:lnTo>
                  <a:pt x="7194" y="3098"/>
                </a:lnTo>
                <a:lnTo>
                  <a:pt x="7192" y="3100"/>
                </a:lnTo>
                <a:lnTo>
                  <a:pt x="7188" y="3100"/>
                </a:lnTo>
                <a:lnTo>
                  <a:pt x="7184" y="3100"/>
                </a:lnTo>
                <a:lnTo>
                  <a:pt x="7182" y="3096"/>
                </a:lnTo>
                <a:lnTo>
                  <a:pt x="7178" y="3090"/>
                </a:lnTo>
                <a:lnTo>
                  <a:pt x="7176" y="3086"/>
                </a:lnTo>
                <a:lnTo>
                  <a:pt x="7174" y="3084"/>
                </a:lnTo>
                <a:lnTo>
                  <a:pt x="7170" y="3086"/>
                </a:lnTo>
                <a:lnTo>
                  <a:pt x="7170" y="3090"/>
                </a:lnTo>
                <a:lnTo>
                  <a:pt x="7170" y="3100"/>
                </a:lnTo>
                <a:lnTo>
                  <a:pt x="7170" y="3104"/>
                </a:lnTo>
                <a:lnTo>
                  <a:pt x="7174" y="3108"/>
                </a:lnTo>
                <a:lnTo>
                  <a:pt x="7180" y="3112"/>
                </a:lnTo>
                <a:lnTo>
                  <a:pt x="7182" y="3112"/>
                </a:lnTo>
                <a:lnTo>
                  <a:pt x="7186" y="3110"/>
                </a:lnTo>
                <a:lnTo>
                  <a:pt x="7188" y="3114"/>
                </a:lnTo>
                <a:lnTo>
                  <a:pt x="7192" y="3116"/>
                </a:lnTo>
                <a:lnTo>
                  <a:pt x="7196" y="3118"/>
                </a:lnTo>
                <a:lnTo>
                  <a:pt x="7202" y="3120"/>
                </a:lnTo>
                <a:lnTo>
                  <a:pt x="7204" y="3120"/>
                </a:lnTo>
                <a:lnTo>
                  <a:pt x="7206" y="3122"/>
                </a:lnTo>
                <a:lnTo>
                  <a:pt x="7206" y="3124"/>
                </a:lnTo>
                <a:lnTo>
                  <a:pt x="7204" y="3128"/>
                </a:lnTo>
                <a:lnTo>
                  <a:pt x="7200" y="3136"/>
                </a:lnTo>
                <a:lnTo>
                  <a:pt x="7202" y="3140"/>
                </a:lnTo>
                <a:lnTo>
                  <a:pt x="7204" y="3144"/>
                </a:lnTo>
                <a:lnTo>
                  <a:pt x="7204" y="3150"/>
                </a:lnTo>
                <a:lnTo>
                  <a:pt x="7204" y="3154"/>
                </a:lnTo>
                <a:lnTo>
                  <a:pt x="7208" y="3154"/>
                </a:lnTo>
                <a:lnTo>
                  <a:pt x="7212" y="3156"/>
                </a:lnTo>
                <a:lnTo>
                  <a:pt x="7214" y="3158"/>
                </a:lnTo>
                <a:lnTo>
                  <a:pt x="7214" y="3162"/>
                </a:lnTo>
                <a:lnTo>
                  <a:pt x="7216" y="3164"/>
                </a:lnTo>
                <a:lnTo>
                  <a:pt x="7214" y="3166"/>
                </a:lnTo>
                <a:lnTo>
                  <a:pt x="7208" y="3166"/>
                </a:lnTo>
                <a:lnTo>
                  <a:pt x="7204" y="3166"/>
                </a:lnTo>
                <a:lnTo>
                  <a:pt x="7202" y="3168"/>
                </a:lnTo>
                <a:lnTo>
                  <a:pt x="7204" y="3172"/>
                </a:lnTo>
                <a:lnTo>
                  <a:pt x="7208" y="3174"/>
                </a:lnTo>
                <a:lnTo>
                  <a:pt x="7212" y="3174"/>
                </a:lnTo>
                <a:lnTo>
                  <a:pt x="7226" y="3174"/>
                </a:lnTo>
                <a:lnTo>
                  <a:pt x="7238" y="3174"/>
                </a:lnTo>
                <a:lnTo>
                  <a:pt x="7240" y="3174"/>
                </a:lnTo>
                <a:lnTo>
                  <a:pt x="7238" y="3178"/>
                </a:lnTo>
                <a:lnTo>
                  <a:pt x="7234" y="3182"/>
                </a:lnTo>
                <a:lnTo>
                  <a:pt x="7230" y="3184"/>
                </a:lnTo>
                <a:lnTo>
                  <a:pt x="7220" y="3186"/>
                </a:lnTo>
                <a:lnTo>
                  <a:pt x="7210" y="3186"/>
                </a:lnTo>
                <a:lnTo>
                  <a:pt x="7210" y="3188"/>
                </a:lnTo>
                <a:lnTo>
                  <a:pt x="7210" y="3190"/>
                </a:lnTo>
                <a:lnTo>
                  <a:pt x="7212" y="3192"/>
                </a:lnTo>
                <a:lnTo>
                  <a:pt x="7216" y="3192"/>
                </a:lnTo>
                <a:lnTo>
                  <a:pt x="7224" y="3190"/>
                </a:lnTo>
                <a:lnTo>
                  <a:pt x="7232" y="3190"/>
                </a:lnTo>
                <a:lnTo>
                  <a:pt x="7236" y="3190"/>
                </a:lnTo>
                <a:lnTo>
                  <a:pt x="7236" y="3194"/>
                </a:lnTo>
                <a:lnTo>
                  <a:pt x="7236" y="3196"/>
                </a:lnTo>
                <a:lnTo>
                  <a:pt x="7238" y="3196"/>
                </a:lnTo>
                <a:lnTo>
                  <a:pt x="7244" y="3190"/>
                </a:lnTo>
                <a:lnTo>
                  <a:pt x="7248" y="3186"/>
                </a:lnTo>
                <a:lnTo>
                  <a:pt x="7252" y="3184"/>
                </a:lnTo>
                <a:lnTo>
                  <a:pt x="7256" y="3184"/>
                </a:lnTo>
                <a:lnTo>
                  <a:pt x="7260" y="3188"/>
                </a:lnTo>
                <a:lnTo>
                  <a:pt x="7264" y="3192"/>
                </a:lnTo>
                <a:lnTo>
                  <a:pt x="7268" y="3192"/>
                </a:lnTo>
                <a:lnTo>
                  <a:pt x="7272" y="3190"/>
                </a:lnTo>
                <a:lnTo>
                  <a:pt x="7274" y="3190"/>
                </a:lnTo>
                <a:lnTo>
                  <a:pt x="7276" y="3190"/>
                </a:lnTo>
                <a:lnTo>
                  <a:pt x="7278" y="3192"/>
                </a:lnTo>
                <a:lnTo>
                  <a:pt x="7280" y="3198"/>
                </a:lnTo>
                <a:lnTo>
                  <a:pt x="7282" y="3204"/>
                </a:lnTo>
                <a:lnTo>
                  <a:pt x="7286" y="3210"/>
                </a:lnTo>
                <a:lnTo>
                  <a:pt x="7296" y="3218"/>
                </a:lnTo>
                <a:lnTo>
                  <a:pt x="7300" y="3220"/>
                </a:lnTo>
                <a:lnTo>
                  <a:pt x="7304" y="3222"/>
                </a:lnTo>
                <a:lnTo>
                  <a:pt x="7310" y="3220"/>
                </a:lnTo>
                <a:lnTo>
                  <a:pt x="7312" y="3218"/>
                </a:lnTo>
                <a:lnTo>
                  <a:pt x="7318" y="3214"/>
                </a:lnTo>
                <a:lnTo>
                  <a:pt x="7322" y="3212"/>
                </a:lnTo>
                <a:lnTo>
                  <a:pt x="7326" y="3212"/>
                </a:lnTo>
                <a:lnTo>
                  <a:pt x="7328" y="3212"/>
                </a:lnTo>
                <a:lnTo>
                  <a:pt x="7330" y="3214"/>
                </a:lnTo>
                <a:lnTo>
                  <a:pt x="7332" y="3214"/>
                </a:lnTo>
                <a:lnTo>
                  <a:pt x="7336" y="3212"/>
                </a:lnTo>
                <a:lnTo>
                  <a:pt x="7338" y="3208"/>
                </a:lnTo>
                <a:lnTo>
                  <a:pt x="7338" y="3202"/>
                </a:lnTo>
                <a:lnTo>
                  <a:pt x="7338" y="3188"/>
                </a:lnTo>
                <a:lnTo>
                  <a:pt x="7340" y="3184"/>
                </a:lnTo>
                <a:lnTo>
                  <a:pt x="7346" y="3180"/>
                </a:lnTo>
                <a:lnTo>
                  <a:pt x="7356" y="3180"/>
                </a:lnTo>
                <a:lnTo>
                  <a:pt x="7370" y="3184"/>
                </a:lnTo>
                <a:lnTo>
                  <a:pt x="7384" y="3192"/>
                </a:lnTo>
                <a:lnTo>
                  <a:pt x="7396" y="3200"/>
                </a:lnTo>
                <a:lnTo>
                  <a:pt x="7404" y="3208"/>
                </a:lnTo>
                <a:lnTo>
                  <a:pt x="7412" y="3214"/>
                </a:lnTo>
                <a:lnTo>
                  <a:pt x="7418" y="3222"/>
                </a:lnTo>
                <a:lnTo>
                  <a:pt x="7422" y="3226"/>
                </a:lnTo>
                <a:lnTo>
                  <a:pt x="7428" y="3228"/>
                </a:lnTo>
                <a:lnTo>
                  <a:pt x="7436" y="3226"/>
                </a:lnTo>
                <a:lnTo>
                  <a:pt x="7450" y="3222"/>
                </a:lnTo>
                <a:lnTo>
                  <a:pt x="7462" y="3220"/>
                </a:lnTo>
                <a:lnTo>
                  <a:pt x="7466" y="3218"/>
                </a:lnTo>
                <a:lnTo>
                  <a:pt x="7472" y="3214"/>
                </a:lnTo>
                <a:lnTo>
                  <a:pt x="7480" y="3210"/>
                </a:lnTo>
                <a:lnTo>
                  <a:pt x="7488" y="3200"/>
                </a:lnTo>
                <a:lnTo>
                  <a:pt x="7498" y="3190"/>
                </a:lnTo>
                <a:lnTo>
                  <a:pt x="7506" y="3186"/>
                </a:lnTo>
                <a:lnTo>
                  <a:pt x="7514" y="3186"/>
                </a:lnTo>
                <a:lnTo>
                  <a:pt x="7518" y="3190"/>
                </a:lnTo>
                <a:lnTo>
                  <a:pt x="7524" y="3194"/>
                </a:lnTo>
                <a:lnTo>
                  <a:pt x="7528" y="3196"/>
                </a:lnTo>
                <a:lnTo>
                  <a:pt x="7534" y="3198"/>
                </a:lnTo>
                <a:lnTo>
                  <a:pt x="7540" y="3194"/>
                </a:lnTo>
                <a:lnTo>
                  <a:pt x="7552" y="3182"/>
                </a:lnTo>
                <a:lnTo>
                  <a:pt x="7560" y="3178"/>
                </a:lnTo>
                <a:lnTo>
                  <a:pt x="7562" y="3178"/>
                </a:lnTo>
                <a:lnTo>
                  <a:pt x="7564" y="3178"/>
                </a:lnTo>
                <a:lnTo>
                  <a:pt x="7566" y="3186"/>
                </a:lnTo>
                <a:lnTo>
                  <a:pt x="7566" y="3192"/>
                </a:lnTo>
                <a:lnTo>
                  <a:pt x="7564" y="3196"/>
                </a:lnTo>
                <a:lnTo>
                  <a:pt x="7556" y="3202"/>
                </a:lnTo>
                <a:lnTo>
                  <a:pt x="7550" y="3208"/>
                </a:lnTo>
                <a:lnTo>
                  <a:pt x="7550" y="3212"/>
                </a:lnTo>
                <a:lnTo>
                  <a:pt x="7550" y="3214"/>
                </a:lnTo>
                <a:lnTo>
                  <a:pt x="7556" y="3222"/>
                </a:lnTo>
                <a:lnTo>
                  <a:pt x="7558" y="3226"/>
                </a:lnTo>
                <a:lnTo>
                  <a:pt x="7556" y="3230"/>
                </a:lnTo>
                <a:lnTo>
                  <a:pt x="7552" y="3236"/>
                </a:lnTo>
                <a:lnTo>
                  <a:pt x="7548" y="3242"/>
                </a:lnTo>
                <a:lnTo>
                  <a:pt x="7546" y="3248"/>
                </a:lnTo>
                <a:lnTo>
                  <a:pt x="7550" y="3256"/>
                </a:lnTo>
                <a:lnTo>
                  <a:pt x="7554" y="3264"/>
                </a:lnTo>
                <a:lnTo>
                  <a:pt x="7554" y="3272"/>
                </a:lnTo>
                <a:lnTo>
                  <a:pt x="7554" y="3284"/>
                </a:lnTo>
                <a:lnTo>
                  <a:pt x="7556" y="3298"/>
                </a:lnTo>
                <a:lnTo>
                  <a:pt x="7556" y="3304"/>
                </a:lnTo>
                <a:lnTo>
                  <a:pt x="7556" y="3308"/>
                </a:lnTo>
                <a:lnTo>
                  <a:pt x="7550" y="3312"/>
                </a:lnTo>
                <a:lnTo>
                  <a:pt x="7544" y="3318"/>
                </a:lnTo>
                <a:lnTo>
                  <a:pt x="7542" y="3322"/>
                </a:lnTo>
                <a:lnTo>
                  <a:pt x="7542" y="3328"/>
                </a:lnTo>
                <a:lnTo>
                  <a:pt x="7544" y="3336"/>
                </a:lnTo>
                <a:lnTo>
                  <a:pt x="7542" y="3338"/>
                </a:lnTo>
                <a:lnTo>
                  <a:pt x="7538" y="3340"/>
                </a:lnTo>
                <a:lnTo>
                  <a:pt x="7536" y="3350"/>
                </a:lnTo>
                <a:lnTo>
                  <a:pt x="7532" y="3362"/>
                </a:lnTo>
                <a:lnTo>
                  <a:pt x="7530" y="3366"/>
                </a:lnTo>
                <a:lnTo>
                  <a:pt x="7526" y="3372"/>
                </a:lnTo>
                <a:lnTo>
                  <a:pt x="7522" y="3382"/>
                </a:lnTo>
                <a:lnTo>
                  <a:pt x="7508" y="3424"/>
                </a:lnTo>
                <a:lnTo>
                  <a:pt x="7502" y="3446"/>
                </a:lnTo>
                <a:lnTo>
                  <a:pt x="7498" y="3460"/>
                </a:lnTo>
                <a:lnTo>
                  <a:pt x="7492" y="3472"/>
                </a:lnTo>
                <a:lnTo>
                  <a:pt x="7486" y="3478"/>
                </a:lnTo>
                <a:lnTo>
                  <a:pt x="7452" y="3488"/>
                </a:lnTo>
                <a:lnTo>
                  <a:pt x="7448" y="3488"/>
                </a:lnTo>
                <a:lnTo>
                  <a:pt x="7444" y="3484"/>
                </a:lnTo>
                <a:lnTo>
                  <a:pt x="7440" y="3482"/>
                </a:lnTo>
                <a:lnTo>
                  <a:pt x="7438" y="3482"/>
                </a:lnTo>
                <a:lnTo>
                  <a:pt x="7432" y="3486"/>
                </a:lnTo>
                <a:lnTo>
                  <a:pt x="7428" y="3488"/>
                </a:lnTo>
                <a:lnTo>
                  <a:pt x="7424" y="3488"/>
                </a:lnTo>
                <a:lnTo>
                  <a:pt x="7418" y="3486"/>
                </a:lnTo>
                <a:lnTo>
                  <a:pt x="7414" y="3482"/>
                </a:lnTo>
                <a:lnTo>
                  <a:pt x="7410" y="3478"/>
                </a:lnTo>
                <a:lnTo>
                  <a:pt x="7408" y="3478"/>
                </a:lnTo>
                <a:lnTo>
                  <a:pt x="7408" y="3482"/>
                </a:lnTo>
                <a:lnTo>
                  <a:pt x="7408" y="3484"/>
                </a:lnTo>
                <a:lnTo>
                  <a:pt x="7406" y="3486"/>
                </a:lnTo>
                <a:lnTo>
                  <a:pt x="7402" y="3488"/>
                </a:lnTo>
                <a:lnTo>
                  <a:pt x="7400" y="3484"/>
                </a:lnTo>
                <a:lnTo>
                  <a:pt x="7398" y="3482"/>
                </a:lnTo>
                <a:lnTo>
                  <a:pt x="7394" y="3482"/>
                </a:lnTo>
                <a:lnTo>
                  <a:pt x="7390" y="3482"/>
                </a:lnTo>
                <a:lnTo>
                  <a:pt x="7388" y="3480"/>
                </a:lnTo>
                <a:lnTo>
                  <a:pt x="7388" y="3478"/>
                </a:lnTo>
                <a:lnTo>
                  <a:pt x="7390" y="3476"/>
                </a:lnTo>
                <a:lnTo>
                  <a:pt x="7392" y="3474"/>
                </a:lnTo>
                <a:lnTo>
                  <a:pt x="7392" y="3470"/>
                </a:lnTo>
                <a:lnTo>
                  <a:pt x="7394" y="3470"/>
                </a:lnTo>
                <a:lnTo>
                  <a:pt x="7398" y="3472"/>
                </a:lnTo>
                <a:lnTo>
                  <a:pt x="7402" y="3476"/>
                </a:lnTo>
                <a:lnTo>
                  <a:pt x="7404" y="3478"/>
                </a:lnTo>
                <a:lnTo>
                  <a:pt x="7404" y="3476"/>
                </a:lnTo>
                <a:lnTo>
                  <a:pt x="7402" y="3472"/>
                </a:lnTo>
                <a:lnTo>
                  <a:pt x="7396" y="3466"/>
                </a:lnTo>
                <a:lnTo>
                  <a:pt x="7392" y="3464"/>
                </a:lnTo>
                <a:lnTo>
                  <a:pt x="7390" y="3464"/>
                </a:lnTo>
                <a:lnTo>
                  <a:pt x="7384" y="3468"/>
                </a:lnTo>
                <a:lnTo>
                  <a:pt x="7382" y="3468"/>
                </a:lnTo>
                <a:lnTo>
                  <a:pt x="7378" y="3468"/>
                </a:lnTo>
                <a:lnTo>
                  <a:pt x="7370" y="3464"/>
                </a:lnTo>
                <a:lnTo>
                  <a:pt x="7362" y="3460"/>
                </a:lnTo>
                <a:lnTo>
                  <a:pt x="7358" y="3460"/>
                </a:lnTo>
                <a:lnTo>
                  <a:pt x="7352" y="3462"/>
                </a:lnTo>
                <a:lnTo>
                  <a:pt x="7342" y="3466"/>
                </a:lnTo>
                <a:lnTo>
                  <a:pt x="7336" y="3468"/>
                </a:lnTo>
                <a:lnTo>
                  <a:pt x="7332" y="3468"/>
                </a:lnTo>
                <a:lnTo>
                  <a:pt x="7326" y="3474"/>
                </a:lnTo>
                <a:lnTo>
                  <a:pt x="7324" y="3476"/>
                </a:lnTo>
                <a:lnTo>
                  <a:pt x="7320" y="3476"/>
                </a:lnTo>
                <a:lnTo>
                  <a:pt x="7312" y="3482"/>
                </a:lnTo>
                <a:lnTo>
                  <a:pt x="7298" y="3496"/>
                </a:lnTo>
                <a:lnTo>
                  <a:pt x="7290" y="3500"/>
                </a:lnTo>
                <a:lnTo>
                  <a:pt x="7284" y="3502"/>
                </a:lnTo>
                <a:lnTo>
                  <a:pt x="7278" y="3502"/>
                </a:lnTo>
                <a:lnTo>
                  <a:pt x="7270" y="3498"/>
                </a:lnTo>
                <a:lnTo>
                  <a:pt x="7258" y="3492"/>
                </a:lnTo>
                <a:lnTo>
                  <a:pt x="7254" y="3490"/>
                </a:lnTo>
                <a:lnTo>
                  <a:pt x="7248" y="3490"/>
                </a:lnTo>
                <a:lnTo>
                  <a:pt x="7240" y="3488"/>
                </a:lnTo>
                <a:lnTo>
                  <a:pt x="7236" y="3484"/>
                </a:lnTo>
                <a:lnTo>
                  <a:pt x="7230" y="3482"/>
                </a:lnTo>
                <a:lnTo>
                  <a:pt x="7226" y="3482"/>
                </a:lnTo>
                <a:lnTo>
                  <a:pt x="7222" y="3482"/>
                </a:lnTo>
                <a:lnTo>
                  <a:pt x="7218" y="3482"/>
                </a:lnTo>
                <a:lnTo>
                  <a:pt x="7216" y="3478"/>
                </a:lnTo>
                <a:lnTo>
                  <a:pt x="7214" y="3476"/>
                </a:lnTo>
                <a:lnTo>
                  <a:pt x="7208" y="3474"/>
                </a:lnTo>
                <a:lnTo>
                  <a:pt x="7198" y="3470"/>
                </a:lnTo>
                <a:lnTo>
                  <a:pt x="7182" y="3466"/>
                </a:lnTo>
                <a:lnTo>
                  <a:pt x="7166" y="3464"/>
                </a:lnTo>
                <a:lnTo>
                  <a:pt x="7154" y="3462"/>
                </a:lnTo>
                <a:lnTo>
                  <a:pt x="7138" y="3464"/>
                </a:lnTo>
                <a:lnTo>
                  <a:pt x="7128" y="3466"/>
                </a:lnTo>
                <a:lnTo>
                  <a:pt x="7124" y="3466"/>
                </a:lnTo>
                <a:lnTo>
                  <a:pt x="7122" y="3464"/>
                </a:lnTo>
                <a:lnTo>
                  <a:pt x="7120" y="3456"/>
                </a:lnTo>
                <a:lnTo>
                  <a:pt x="7118" y="3448"/>
                </a:lnTo>
                <a:lnTo>
                  <a:pt x="7116" y="3444"/>
                </a:lnTo>
                <a:lnTo>
                  <a:pt x="7112" y="3442"/>
                </a:lnTo>
                <a:lnTo>
                  <a:pt x="7106" y="3440"/>
                </a:lnTo>
                <a:lnTo>
                  <a:pt x="7096" y="3440"/>
                </a:lnTo>
                <a:lnTo>
                  <a:pt x="7082" y="3440"/>
                </a:lnTo>
                <a:lnTo>
                  <a:pt x="7076" y="3438"/>
                </a:lnTo>
                <a:lnTo>
                  <a:pt x="7072" y="3436"/>
                </a:lnTo>
                <a:lnTo>
                  <a:pt x="7060" y="3434"/>
                </a:lnTo>
                <a:lnTo>
                  <a:pt x="7052" y="3432"/>
                </a:lnTo>
                <a:lnTo>
                  <a:pt x="7048" y="3430"/>
                </a:lnTo>
                <a:lnTo>
                  <a:pt x="7044" y="3422"/>
                </a:lnTo>
                <a:lnTo>
                  <a:pt x="7042" y="3416"/>
                </a:lnTo>
                <a:lnTo>
                  <a:pt x="7036" y="3410"/>
                </a:lnTo>
                <a:lnTo>
                  <a:pt x="7028" y="3404"/>
                </a:lnTo>
                <a:lnTo>
                  <a:pt x="7016" y="3398"/>
                </a:lnTo>
                <a:lnTo>
                  <a:pt x="7000" y="3392"/>
                </a:lnTo>
                <a:lnTo>
                  <a:pt x="6988" y="3390"/>
                </a:lnTo>
                <a:lnTo>
                  <a:pt x="6980" y="3392"/>
                </a:lnTo>
                <a:lnTo>
                  <a:pt x="6972" y="3398"/>
                </a:lnTo>
                <a:lnTo>
                  <a:pt x="6968" y="3400"/>
                </a:lnTo>
                <a:lnTo>
                  <a:pt x="6964" y="3400"/>
                </a:lnTo>
                <a:lnTo>
                  <a:pt x="6956" y="3402"/>
                </a:lnTo>
                <a:lnTo>
                  <a:pt x="6948" y="3404"/>
                </a:lnTo>
                <a:lnTo>
                  <a:pt x="6942" y="3408"/>
                </a:lnTo>
                <a:lnTo>
                  <a:pt x="6932" y="3416"/>
                </a:lnTo>
                <a:lnTo>
                  <a:pt x="6920" y="3428"/>
                </a:lnTo>
                <a:lnTo>
                  <a:pt x="6914" y="3438"/>
                </a:lnTo>
                <a:lnTo>
                  <a:pt x="6912" y="3448"/>
                </a:lnTo>
                <a:lnTo>
                  <a:pt x="6914" y="3458"/>
                </a:lnTo>
                <a:lnTo>
                  <a:pt x="6914" y="3468"/>
                </a:lnTo>
                <a:lnTo>
                  <a:pt x="6916" y="3478"/>
                </a:lnTo>
                <a:lnTo>
                  <a:pt x="6918" y="3488"/>
                </a:lnTo>
                <a:lnTo>
                  <a:pt x="6916" y="3498"/>
                </a:lnTo>
                <a:lnTo>
                  <a:pt x="6910" y="3508"/>
                </a:lnTo>
                <a:lnTo>
                  <a:pt x="6904" y="3518"/>
                </a:lnTo>
                <a:lnTo>
                  <a:pt x="6896" y="3524"/>
                </a:lnTo>
                <a:lnTo>
                  <a:pt x="6888" y="3528"/>
                </a:lnTo>
                <a:lnTo>
                  <a:pt x="6882" y="3530"/>
                </a:lnTo>
                <a:lnTo>
                  <a:pt x="6874" y="3530"/>
                </a:lnTo>
                <a:lnTo>
                  <a:pt x="6868" y="3528"/>
                </a:lnTo>
                <a:lnTo>
                  <a:pt x="6862" y="3524"/>
                </a:lnTo>
                <a:lnTo>
                  <a:pt x="6856" y="3518"/>
                </a:lnTo>
                <a:lnTo>
                  <a:pt x="6850" y="3510"/>
                </a:lnTo>
                <a:lnTo>
                  <a:pt x="6842" y="3504"/>
                </a:lnTo>
                <a:lnTo>
                  <a:pt x="6824" y="3494"/>
                </a:lnTo>
                <a:lnTo>
                  <a:pt x="6802" y="3486"/>
                </a:lnTo>
                <a:lnTo>
                  <a:pt x="6780" y="3482"/>
                </a:lnTo>
                <a:lnTo>
                  <a:pt x="6762" y="3480"/>
                </a:lnTo>
                <a:lnTo>
                  <a:pt x="6754" y="3478"/>
                </a:lnTo>
                <a:lnTo>
                  <a:pt x="6748" y="3476"/>
                </a:lnTo>
                <a:lnTo>
                  <a:pt x="6742" y="3472"/>
                </a:lnTo>
                <a:lnTo>
                  <a:pt x="6738" y="3464"/>
                </a:lnTo>
                <a:lnTo>
                  <a:pt x="6734" y="3454"/>
                </a:lnTo>
                <a:lnTo>
                  <a:pt x="6732" y="3442"/>
                </a:lnTo>
                <a:lnTo>
                  <a:pt x="6728" y="3430"/>
                </a:lnTo>
                <a:lnTo>
                  <a:pt x="6724" y="3422"/>
                </a:lnTo>
                <a:lnTo>
                  <a:pt x="6718" y="3418"/>
                </a:lnTo>
                <a:lnTo>
                  <a:pt x="6712" y="3416"/>
                </a:lnTo>
                <a:lnTo>
                  <a:pt x="6698" y="3414"/>
                </a:lnTo>
                <a:lnTo>
                  <a:pt x="6692" y="3412"/>
                </a:lnTo>
                <a:lnTo>
                  <a:pt x="6688" y="3410"/>
                </a:lnTo>
                <a:lnTo>
                  <a:pt x="6676" y="3402"/>
                </a:lnTo>
                <a:lnTo>
                  <a:pt x="6660" y="3396"/>
                </a:lnTo>
                <a:lnTo>
                  <a:pt x="6644" y="3394"/>
                </a:lnTo>
                <a:lnTo>
                  <a:pt x="6636" y="3394"/>
                </a:lnTo>
                <a:lnTo>
                  <a:pt x="6628" y="3396"/>
                </a:lnTo>
                <a:lnTo>
                  <a:pt x="6622" y="3396"/>
                </a:lnTo>
                <a:lnTo>
                  <a:pt x="6614" y="3396"/>
                </a:lnTo>
                <a:lnTo>
                  <a:pt x="6600" y="3392"/>
                </a:lnTo>
                <a:lnTo>
                  <a:pt x="6586" y="3386"/>
                </a:lnTo>
                <a:lnTo>
                  <a:pt x="6576" y="3380"/>
                </a:lnTo>
                <a:lnTo>
                  <a:pt x="6564" y="3374"/>
                </a:lnTo>
                <a:lnTo>
                  <a:pt x="6560" y="3370"/>
                </a:lnTo>
                <a:lnTo>
                  <a:pt x="6558" y="3362"/>
                </a:lnTo>
                <a:lnTo>
                  <a:pt x="6556" y="3354"/>
                </a:lnTo>
                <a:lnTo>
                  <a:pt x="6554" y="3352"/>
                </a:lnTo>
                <a:lnTo>
                  <a:pt x="6552" y="3354"/>
                </a:lnTo>
                <a:lnTo>
                  <a:pt x="6548" y="3354"/>
                </a:lnTo>
                <a:lnTo>
                  <a:pt x="6546" y="3354"/>
                </a:lnTo>
                <a:lnTo>
                  <a:pt x="6544" y="3354"/>
                </a:lnTo>
                <a:lnTo>
                  <a:pt x="6536" y="3352"/>
                </a:lnTo>
                <a:lnTo>
                  <a:pt x="6528" y="3350"/>
                </a:lnTo>
                <a:lnTo>
                  <a:pt x="6522" y="3348"/>
                </a:lnTo>
                <a:lnTo>
                  <a:pt x="6518" y="3344"/>
                </a:lnTo>
                <a:lnTo>
                  <a:pt x="6516" y="3340"/>
                </a:lnTo>
                <a:lnTo>
                  <a:pt x="6512" y="3332"/>
                </a:lnTo>
                <a:lnTo>
                  <a:pt x="6514" y="3326"/>
                </a:lnTo>
                <a:lnTo>
                  <a:pt x="6520" y="3318"/>
                </a:lnTo>
                <a:lnTo>
                  <a:pt x="6538" y="3298"/>
                </a:lnTo>
                <a:lnTo>
                  <a:pt x="6548" y="3288"/>
                </a:lnTo>
                <a:lnTo>
                  <a:pt x="6554" y="3280"/>
                </a:lnTo>
                <a:lnTo>
                  <a:pt x="6558" y="3272"/>
                </a:lnTo>
                <a:lnTo>
                  <a:pt x="6558" y="3268"/>
                </a:lnTo>
                <a:lnTo>
                  <a:pt x="6556" y="3266"/>
                </a:lnTo>
                <a:lnTo>
                  <a:pt x="6554" y="3262"/>
                </a:lnTo>
                <a:lnTo>
                  <a:pt x="6554" y="3258"/>
                </a:lnTo>
                <a:lnTo>
                  <a:pt x="6554" y="3252"/>
                </a:lnTo>
                <a:lnTo>
                  <a:pt x="6552" y="3248"/>
                </a:lnTo>
                <a:lnTo>
                  <a:pt x="6550" y="3244"/>
                </a:lnTo>
                <a:lnTo>
                  <a:pt x="6548" y="3242"/>
                </a:lnTo>
                <a:lnTo>
                  <a:pt x="6540" y="3236"/>
                </a:lnTo>
                <a:lnTo>
                  <a:pt x="6536" y="3234"/>
                </a:lnTo>
                <a:lnTo>
                  <a:pt x="6532" y="3230"/>
                </a:lnTo>
                <a:lnTo>
                  <a:pt x="6528" y="3220"/>
                </a:lnTo>
                <a:lnTo>
                  <a:pt x="6528" y="3216"/>
                </a:lnTo>
                <a:lnTo>
                  <a:pt x="6528" y="3210"/>
                </a:lnTo>
                <a:lnTo>
                  <a:pt x="6532" y="3208"/>
                </a:lnTo>
                <a:lnTo>
                  <a:pt x="6534" y="3204"/>
                </a:lnTo>
                <a:lnTo>
                  <a:pt x="6544" y="3198"/>
                </a:lnTo>
                <a:lnTo>
                  <a:pt x="6552" y="3190"/>
                </a:lnTo>
                <a:lnTo>
                  <a:pt x="6556" y="3180"/>
                </a:lnTo>
                <a:lnTo>
                  <a:pt x="6556" y="3176"/>
                </a:lnTo>
                <a:lnTo>
                  <a:pt x="6556" y="3172"/>
                </a:lnTo>
                <a:lnTo>
                  <a:pt x="6552" y="3170"/>
                </a:lnTo>
                <a:lnTo>
                  <a:pt x="6550" y="3170"/>
                </a:lnTo>
                <a:lnTo>
                  <a:pt x="6542" y="3176"/>
                </a:lnTo>
                <a:lnTo>
                  <a:pt x="6532" y="3184"/>
                </a:lnTo>
                <a:lnTo>
                  <a:pt x="6530" y="3186"/>
                </a:lnTo>
                <a:lnTo>
                  <a:pt x="6526" y="3188"/>
                </a:lnTo>
                <a:lnTo>
                  <a:pt x="6524" y="3186"/>
                </a:lnTo>
                <a:lnTo>
                  <a:pt x="6524" y="3182"/>
                </a:lnTo>
                <a:lnTo>
                  <a:pt x="6522" y="3174"/>
                </a:lnTo>
                <a:lnTo>
                  <a:pt x="6520" y="3164"/>
                </a:lnTo>
                <a:lnTo>
                  <a:pt x="6516" y="3162"/>
                </a:lnTo>
                <a:lnTo>
                  <a:pt x="6512" y="3158"/>
                </a:lnTo>
                <a:lnTo>
                  <a:pt x="6502" y="3156"/>
                </a:lnTo>
                <a:lnTo>
                  <a:pt x="6492" y="3156"/>
                </a:lnTo>
                <a:lnTo>
                  <a:pt x="6484" y="3158"/>
                </a:lnTo>
                <a:lnTo>
                  <a:pt x="6478" y="3162"/>
                </a:lnTo>
                <a:lnTo>
                  <a:pt x="6468" y="3170"/>
                </a:lnTo>
                <a:lnTo>
                  <a:pt x="6462" y="3176"/>
                </a:lnTo>
                <a:lnTo>
                  <a:pt x="6456" y="3178"/>
                </a:lnTo>
                <a:lnTo>
                  <a:pt x="6444" y="3178"/>
                </a:lnTo>
                <a:lnTo>
                  <a:pt x="6438" y="3178"/>
                </a:lnTo>
                <a:lnTo>
                  <a:pt x="6432" y="3180"/>
                </a:lnTo>
                <a:lnTo>
                  <a:pt x="6426" y="3182"/>
                </a:lnTo>
                <a:lnTo>
                  <a:pt x="6422" y="3180"/>
                </a:lnTo>
                <a:lnTo>
                  <a:pt x="6420" y="3174"/>
                </a:lnTo>
                <a:lnTo>
                  <a:pt x="6410" y="3168"/>
                </a:lnTo>
                <a:lnTo>
                  <a:pt x="6406" y="3168"/>
                </a:lnTo>
                <a:lnTo>
                  <a:pt x="6404" y="3168"/>
                </a:lnTo>
                <a:lnTo>
                  <a:pt x="6398" y="3174"/>
                </a:lnTo>
                <a:lnTo>
                  <a:pt x="6396" y="3176"/>
                </a:lnTo>
                <a:lnTo>
                  <a:pt x="6392" y="3178"/>
                </a:lnTo>
                <a:lnTo>
                  <a:pt x="6388" y="3178"/>
                </a:lnTo>
                <a:lnTo>
                  <a:pt x="6382" y="3176"/>
                </a:lnTo>
                <a:lnTo>
                  <a:pt x="6370" y="3172"/>
                </a:lnTo>
                <a:lnTo>
                  <a:pt x="6366" y="3172"/>
                </a:lnTo>
                <a:lnTo>
                  <a:pt x="6364" y="3172"/>
                </a:lnTo>
                <a:lnTo>
                  <a:pt x="6358" y="3176"/>
                </a:lnTo>
                <a:lnTo>
                  <a:pt x="6346" y="3182"/>
                </a:lnTo>
                <a:lnTo>
                  <a:pt x="6340" y="3184"/>
                </a:lnTo>
                <a:lnTo>
                  <a:pt x="6334" y="3186"/>
                </a:lnTo>
                <a:lnTo>
                  <a:pt x="6328" y="3192"/>
                </a:lnTo>
                <a:lnTo>
                  <a:pt x="6326" y="3192"/>
                </a:lnTo>
                <a:lnTo>
                  <a:pt x="6322" y="3192"/>
                </a:lnTo>
                <a:lnTo>
                  <a:pt x="6318" y="3192"/>
                </a:lnTo>
                <a:lnTo>
                  <a:pt x="6314" y="3188"/>
                </a:lnTo>
                <a:lnTo>
                  <a:pt x="6310" y="3184"/>
                </a:lnTo>
                <a:lnTo>
                  <a:pt x="6304" y="3182"/>
                </a:lnTo>
                <a:lnTo>
                  <a:pt x="6290" y="3178"/>
                </a:lnTo>
                <a:lnTo>
                  <a:pt x="6274" y="3178"/>
                </a:lnTo>
                <a:lnTo>
                  <a:pt x="6258" y="3182"/>
                </a:lnTo>
                <a:lnTo>
                  <a:pt x="6252" y="3184"/>
                </a:lnTo>
                <a:lnTo>
                  <a:pt x="6246" y="3184"/>
                </a:lnTo>
                <a:lnTo>
                  <a:pt x="6236" y="3184"/>
                </a:lnTo>
                <a:lnTo>
                  <a:pt x="6228" y="3184"/>
                </a:lnTo>
                <a:lnTo>
                  <a:pt x="6224" y="3184"/>
                </a:lnTo>
                <a:lnTo>
                  <a:pt x="6222" y="3188"/>
                </a:lnTo>
                <a:lnTo>
                  <a:pt x="6216" y="3194"/>
                </a:lnTo>
                <a:lnTo>
                  <a:pt x="6208" y="3196"/>
                </a:lnTo>
                <a:lnTo>
                  <a:pt x="6180" y="3196"/>
                </a:lnTo>
                <a:lnTo>
                  <a:pt x="6158" y="3200"/>
                </a:lnTo>
                <a:lnTo>
                  <a:pt x="6138" y="3208"/>
                </a:lnTo>
                <a:lnTo>
                  <a:pt x="6128" y="3212"/>
                </a:lnTo>
                <a:lnTo>
                  <a:pt x="6120" y="3218"/>
                </a:lnTo>
                <a:lnTo>
                  <a:pt x="6114" y="3226"/>
                </a:lnTo>
                <a:lnTo>
                  <a:pt x="6110" y="3232"/>
                </a:lnTo>
                <a:lnTo>
                  <a:pt x="6108" y="3238"/>
                </a:lnTo>
                <a:lnTo>
                  <a:pt x="6106" y="3240"/>
                </a:lnTo>
                <a:lnTo>
                  <a:pt x="6102" y="3240"/>
                </a:lnTo>
                <a:lnTo>
                  <a:pt x="6100" y="3240"/>
                </a:lnTo>
                <a:lnTo>
                  <a:pt x="6094" y="3236"/>
                </a:lnTo>
                <a:lnTo>
                  <a:pt x="6090" y="3236"/>
                </a:lnTo>
                <a:lnTo>
                  <a:pt x="6086" y="3240"/>
                </a:lnTo>
                <a:lnTo>
                  <a:pt x="6084" y="3242"/>
                </a:lnTo>
                <a:lnTo>
                  <a:pt x="6080" y="3244"/>
                </a:lnTo>
                <a:lnTo>
                  <a:pt x="6076" y="3242"/>
                </a:lnTo>
                <a:lnTo>
                  <a:pt x="6072" y="3242"/>
                </a:lnTo>
                <a:lnTo>
                  <a:pt x="6070" y="3242"/>
                </a:lnTo>
                <a:lnTo>
                  <a:pt x="6066" y="3246"/>
                </a:lnTo>
                <a:lnTo>
                  <a:pt x="6062" y="3250"/>
                </a:lnTo>
                <a:lnTo>
                  <a:pt x="6054" y="3260"/>
                </a:lnTo>
                <a:lnTo>
                  <a:pt x="6044" y="3270"/>
                </a:lnTo>
                <a:lnTo>
                  <a:pt x="6038" y="3274"/>
                </a:lnTo>
                <a:lnTo>
                  <a:pt x="6032" y="3276"/>
                </a:lnTo>
                <a:lnTo>
                  <a:pt x="6026" y="3276"/>
                </a:lnTo>
                <a:lnTo>
                  <a:pt x="6020" y="3276"/>
                </a:lnTo>
                <a:lnTo>
                  <a:pt x="6006" y="3274"/>
                </a:lnTo>
                <a:lnTo>
                  <a:pt x="6000" y="3274"/>
                </a:lnTo>
                <a:lnTo>
                  <a:pt x="5996" y="3272"/>
                </a:lnTo>
                <a:lnTo>
                  <a:pt x="5992" y="3268"/>
                </a:lnTo>
                <a:lnTo>
                  <a:pt x="5990" y="3262"/>
                </a:lnTo>
                <a:lnTo>
                  <a:pt x="5990" y="3258"/>
                </a:lnTo>
                <a:lnTo>
                  <a:pt x="5988" y="3258"/>
                </a:lnTo>
                <a:lnTo>
                  <a:pt x="5986" y="3262"/>
                </a:lnTo>
                <a:lnTo>
                  <a:pt x="5982" y="3266"/>
                </a:lnTo>
                <a:lnTo>
                  <a:pt x="5978" y="3268"/>
                </a:lnTo>
                <a:lnTo>
                  <a:pt x="5974" y="3268"/>
                </a:lnTo>
                <a:lnTo>
                  <a:pt x="5968" y="3266"/>
                </a:lnTo>
                <a:lnTo>
                  <a:pt x="5962" y="3266"/>
                </a:lnTo>
                <a:lnTo>
                  <a:pt x="5958" y="3266"/>
                </a:lnTo>
                <a:lnTo>
                  <a:pt x="5948" y="3270"/>
                </a:lnTo>
                <a:lnTo>
                  <a:pt x="5942" y="3272"/>
                </a:lnTo>
                <a:lnTo>
                  <a:pt x="5934" y="3272"/>
                </a:lnTo>
                <a:lnTo>
                  <a:pt x="5926" y="3272"/>
                </a:lnTo>
                <a:lnTo>
                  <a:pt x="5914" y="3266"/>
                </a:lnTo>
                <a:lnTo>
                  <a:pt x="5904" y="3260"/>
                </a:lnTo>
                <a:lnTo>
                  <a:pt x="5898" y="3254"/>
                </a:lnTo>
                <a:lnTo>
                  <a:pt x="5896" y="3248"/>
                </a:lnTo>
                <a:lnTo>
                  <a:pt x="5896" y="3242"/>
                </a:lnTo>
                <a:lnTo>
                  <a:pt x="5896" y="3236"/>
                </a:lnTo>
                <a:lnTo>
                  <a:pt x="5894" y="3234"/>
                </a:lnTo>
                <a:lnTo>
                  <a:pt x="5890" y="3232"/>
                </a:lnTo>
                <a:lnTo>
                  <a:pt x="5884" y="3234"/>
                </a:lnTo>
                <a:lnTo>
                  <a:pt x="5880" y="3238"/>
                </a:lnTo>
                <a:lnTo>
                  <a:pt x="5874" y="3242"/>
                </a:lnTo>
                <a:lnTo>
                  <a:pt x="5868" y="3254"/>
                </a:lnTo>
                <a:lnTo>
                  <a:pt x="5856" y="3290"/>
                </a:lnTo>
                <a:lnTo>
                  <a:pt x="5848" y="3310"/>
                </a:lnTo>
                <a:lnTo>
                  <a:pt x="5838" y="3328"/>
                </a:lnTo>
                <a:lnTo>
                  <a:pt x="5830" y="3336"/>
                </a:lnTo>
                <a:lnTo>
                  <a:pt x="5822" y="3344"/>
                </a:lnTo>
                <a:lnTo>
                  <a:pt x="5814" y="3350"/>
                </a:lnTo>
                <a:lnTo>
                  <a:pt x="5804" y="3354"/>
                </a:lnTo>
                <a:lnTo>
                  <a:pt x="5786" y="3362"/>
                </a:lnTo>
                <a:lnTo>
                  <a:pt x="5772" y="3368"/>
                </a:lnTo>
                <a:lnTo>
                  <a:pt x="5766" y="3374"/>
                </a:lnTo>
                <a:lnTo>
                  <a:pt x="5762" y="3378"/>
                </a:lnTo>
                <a:lnTo>
                  <a:pt x="5756" y="3386"/>
                </a:lnTo>
                <a:lnTo>
                  <a:pt x="5752" y="3392"/>
                </a:lnTo>
                <a:lnTo>
                  <a:pt x="5746" y="3400"/>
                </a:lnTo>
                <a:lnTo>
                  <a:pt x="5738" y="3406"/>
                </a:lnTo>
                <a:lnTo>
                  <a:pt x="5736" y="3412"/>
                </a:lnTo>
                <a:lnTo>
                  <a:pt x="5734" y="3416"/>
                </a:lnTo>
                <a:lnTo>
                  <a:pt x="5736" y="3420"/>
                </a:lnTo>
                <a:lnTo>
                  <a:pt x="5736" y="3424"/>
                </a:lnTo>
                <a:lnTo>
                  <a:pt x="5734" y="3430"/>
                </a:lnTo>
                <a:lnTo>
                  <a:pt x="5732" y="3438"/>
                </a:lnTo>
                <a:lnTo>
                  <a:pt x="5724" y="3448"/>
                </a:lnTo>
                <a:lnTo>
                  <a:pt x="5716" y="3462"/>
                </a:lnTo>
                <a:lnTo>
                  <a:pt x="5714" y="3476"/>
                </a:lnTo>
                <a:lnTo>
                  <a:pt x="5712" y="3490"/>
                </a:lnTo>
                <a:lnTo>
                  <a:pt x="5714" y="3504"/>
                </a:lnTo>
                <a:lnTo>
                  <a:pt x="5718" y="3530"/>
                </a:lnTo>
                <a:lnTo>
                  <a:pt x="5718" y="3542"/>
                </a:lnTo>
                <a:lnTo>
                  <a:pt x="5714" y="3554"/>
                </a:lnTo>
                <a:lnTo>
                  <a:pt x="5702" y="3576"/>
                </a:lnTo>
                <a:lnTo>
                  <a:pt x="5694" y="3590"/>
                </a:lnTo>
                <a:lnTo>
                  <a:pt x="5686" y="3598"/>
                </a:lnTo>
                <a:lnTo>
                  <a:pt x="5680" y="3602"/>
                </a:lnTo>
                <a:lnTo>
                  <a:pt x="5668" y="3606"/>
                </a:lnTo>
                <a:lnTo>
                  <a:pt x="5662" y="3612"/>
                </a:lnTo>
                <a:lnTo>
                  <a:pt x="5654" y="3622"/>
                </a:lnTo>
                <a:lnTo>
                  <a:pt x="5644" y="3632"/>
                </a:lnTo>
                <a:lnTo>
                  <a:pt x="5634" y="3640"/>
                </a:lnTo>
                <a:lnTo>
                  <a:pt x="5622" y="3642"/>
                </a:lnTo>
                <a:lnTo>
                  <a:pt x="5610" y="3646"/>
                </a:lnTo>
                <a:lnTo>
                  <a:pt x="5600" y="3648"/>
                </a:lnTo>
                <a:lnTo>
                  <a:pt x="5592" y="3650"/>
                </a:lnTo>
                <a:lnTo>
                  <a:pt x="5584" y="3656"/>
                </a:lnTo>
                <a:lnTo>
                  <a:pt x="5580" y="3666"/>
                </a:lnTo>
                <a:lnTo>
                  <a:pt x="5570" y="3694"/>
                </a:lnTo>
                <a:lnTo>
                  <a:pt x="5560" y="3712"/>
                </a:lnTo>
                <a:lnTo>
                  <a:pt x="5552" y="3722"/>
                </a:lnTo>
                <a:lnTo>
                  <a:pt x="5544" y="3726"/>
                </a:lnTo>
                <a:lnTo>
                  <a:pt x="5538" y="3730"/>
                </a:lnTo>
                <a:lnTo>
                  <a:pt x="5534" y="3732"/>
                </a:lnTo>
                <a:lnTo>
                  <a:pt x="5528" y="3738"/>
                </a:lnTo>
                <a:lnTo>
                  <a:pt x="5524" y="3752"/>
                </a:lnTo>
                <a:lnTo>
                  <a:pt x="5520" y="3766"/>
                </a:lnTo>
                <a:lnTo>
                  <a:pt x="5518" y="3770"/>
                </a:lnTo>
                <a:lnTo>
                  <a:pt x="5516" y="3776"/>
                </a:lnTo>
                <a:lnTo>
                  <a:pt x="5512" y="3794"/>
                </a:lnTo>
                <a:lnTo>
                  <a:pt x="5508" y="3816"/>
                </a:lnTo>
                <a:lnTo>
                  <a:pt x="5506" y="3822"/>
                </a:lnTo>
                <a:lnTo>
                  <a:pt x="5502" y="3826"/>
                </a:lnTo>
                <a:lnTo>
                  <a:pt x="5494" y="3834"/>
                </a:lnTo>
                <a:lnTo>
                  <a:pt x="5482" y="3848"/>
                </a:lnTo>
                <a:lnTo>
                  <a:pt x="5468" y="3862"/>
                </a:lnTo>
                <a:lnTo>
                  <a:pt x="5462" y="3868"/>
                </a:lnTo>
                <a:lnTo>
                  <a:pt x="5462" y="3870"/>
                </a:lnTo>
                <a:lnTo>
                  <a:pt x="5464" y="3870"/>
                </a:lnTo>
                <a:lnTo>
                  <a:pt x="5470" y="3870"/>
                </a:lnTo>
                <a:lnTo>
                  <a:pt x="5470" y="3872"/>
                </a:lnTo>
                <a:lnTo>
                  <a:pt x="5466" y="3880"/>
                </a:lnTo>
                <a:lnTo>
                  <a:pt x="5458" y="3896"/>
                </a:lnTo>
                <a:lnTo>
                  <a:pt x="5456" y="3906"/>
                </a:lnTo>
                <a:lnTo>
                  <a:pt x="5454" y="3918"/>
                </a:lnTo>
                <a:lnTo>
                  <a:pt x="5452" y="3928"/>
                </a:lnTo>
                <a:lnTo>
                  <a:pt x="5450" y="3934"/>
                </a:lnTo>
                <a:lnTo>
                  <a:pt x="5446" y="3938"/>
                </a:lnTo>
                <a:lnTo>
                  <a:pt x="5442" y="3940"/>
                </a:lnTo>
                <a:lnTo>
                  <a:pt x="5436" y="3944"/>
                </a:lnTo>
                <a:lnTo>
                  <a:pt x="5432" y="3948"/>
                </a:lnTo>
                <a:lnTo>
                  <a:pt x="5428" y="3956"/>
                </a:lnTo>
                <a:lnTo>
                  <a:pt x="5424" y="3966"/>
                </a:lnTo>
                <a:lnTo>
                  <a:pt x="5420" y="3990"/>
                </a:lnTo>
                <a:lnTo>
                  <a:pt x="5420" y="4006"/>
                </a:lnTo>
                <a:lnTo>
                  <a:pt x="5420" y="4014"/>
                </a:lnTo>
                <a:lnTo>
                  <a:pt x="5422" y="4016"/>
                </a:lnTo>
                <a:lnTo>
                  <a:pt x="5424" y="4016"/>
                </a:lnTo>
                <a:lnTo>
                  <a:pt x="5424" y="4014"/>
                </a:lnTo>
                <a:lnTo>
                  <a:pt x="5426" y="4012"/>
                </a:lnTo>
                <a:lnTo>
                  <a:pt x="5426" y="4006"/>
                </a:lnTo>
                <a:lnTo>
                  <a:pt x="5428" y="4002"/>
                </a:lnTo>
                <a:lnTo>
                  <a:pt x="5430" y="4000"/>
                </a:lnTo>
                <a:lnTo>
                  <a:pt x="5432" y="4000"/>
                </a:lnTo>
                <a:lnTo>
                  <a:pt x="5434" y="4002"/>
                </a:lnTo>
                <a:lnTo>
                  <a:pt x="5434" y="4006"/>
                </a:lnTo>
                <a:lnTo>
                  <a:pt x="5436" y="4014"/>
                </a:lnTo>
                <a:lnTo>
                  <a:pt x="5438" y="4022"/>
                </a:lnTo>
                <a:lnTo>
                  <a:pt x="5440" y="4024"/>
                </a:lnTo>
                <a:lnTo>
                  <a:pt x="5442" y="4024"/>
                </a:lnTo>
                <a:lnTo>
                  <a:pt x="5446" y="4022"/>
                </a:lnTo>
                <a:lnTo>
                  <a:pt x="5448" y="4024"/>
                </a:lnTo>
                <a:lnTo>
                  <a:pt x="5452" y="4032"/>
                </a:lnTo>
                <a:lnTo>
                  <a:pt x="5454" y="4044"/>
                </a:lnTo>
                <a:lnTo>
                  <a:pt x="5454" y="4058"/>
                </a:lnTo>
                <a:lnTo>
                  <a:pt x="5454" y="4066"/>
                </a:lnTo>
                <a:lnTo>
                  <a:pt x="5452" y="4072"/>
                </a:lnTo>
                <a:lnTo>
                  <a:pt x="5446" y="4080"/>
                </a:lnTo>
                <a:lnTo>
                  <a:pt x="5442" y="4086"/>
                </a:lnTo>
                <a:lnTo>
                  <a:pt x="5444" y="4088"/>
                </a:lnTo>
                <a:lnTo>
                  <a:pt x="5446" y="4090"/>
                </a:lnTo>
                <a:lnTo>
                  <a:pt x="5450" y="4096"/>
                </a:lnTo>
                <a:lnTo>
                  <a:pt x="5456" y="4104"/>
                </a:lnTo>
                <a:lnTo>
                  <a:pt x="5458" y="4114"/>
                </a:lnTo>
                <a:lnTo>
                  <a:pt x="5462" y="4128"/>
                </a:lnTo>
                <a:lnTo>
                  <a:pt x="5464" y="4142"/>
                </a:lnTo>
                <a:lnTo>
                  <a:pt x="5464" y="4156"/>
                </a:lnTo>
                <a:lnTo>
                  <a:pt x="5462" y="4172"/>
                </a:lnTo>
                <a:lnTo>
                  <a:pt x="5460" y="4186"/>
                </a:lnTo>
                <a:lnTo>
                  <a:pt x="5448" y="4222"/>
                </a:lnTo>
                <a:lnTo>
                  <a:pt x="5446" y="4232"/>
                </a:lnTo>
                <a:lnTo>
                  <a:pt x="5444" y="4242"/>
                </a:lnTo>
                <a:lnTo>
                  <a:pt x="5444" y="4258"/>
                </a:lnTo>
                <a:lnTo>
                  <a:pt x="5438" y="4278"/>
                </a:lnTo>
                <a:lnTo>
                  <a:pt x="5434" y="4288"/>
                </a:lnTo>
                <a:lnTo>
                  <a:pt x="5428" y="4298"/>
                </a:lnTo>
                <a:lnTo>
                  <a:pt x="5420" y="4304"/>
                </a:lnTo>
                <a:lnTo>
                  <a:pt x="5412" y="4310"/>
                </a:lnTo>
                <a:lnTo>
                  <a:pt x="5406" y="4314"/>
                </a:lnTo>
                <a:lnTo>
                  <a:pt x="5404" y="4318"/>
                </a:lnTo>
                <a:lnTo>
                  <a:pt x="5408" y="4320"/>
                </a:lnTo>
                <a:lnTo>
                  <a:pt x="5414" y="4318"/>
                </a:lnTo>
                <a:lnTo>
                  <a:pt x="5418" y="4320"/>
                </a:lnTo>
                <a:lnTo>
                  <a:pt x="5422" y="4324"/>
                </a:lnTo>
                <a:lnTo>
                  <a:pt x="5428" y="4338"/>
                </a:lnTo>
                <a:lnTo>
                  <a:pt x="5434" y="4358"/>
                </a:lnTo>
                <a:lnTo>
                  <a:pt x="5438" y="4366"/>
                </a:lnTo>
                <a:lnTo>
                  <a:pt x="5442" y="4374"/>
                </a:lnTo>
                <a:lnTo>
                  <a:pt x="5444" y="4378"/>
                </a:lnTo>
                <a:lnTo>
                  <a:pt x="5448" y="4380"/>
                </a:lnTo>
                <a:lnTo>
                  <a:pt x="5452" y="4382"/>
                </a:lnTo>
                <a:lnTo>
                  <a:pt x="5456" y="4382"/>
                </a:lnTo>
                <a:lnTo>
                  <a:pt x="5468" y="4380"/>
                </a:lnTo>
                <a:lnTo>
                  <a:pt x="5484" y="4378"/>
                </a:lnTo>
                <a:lnTo>
                  <a:pt x="5466" y="4382"/>
                </a:lnTo>
                <a:lnTo>
                  <a:pt x="5454" y="4386"/>
                </a:lnTo>
                <a:lnTo>
                  <a:pt x="5446" y="4388"/>
                </a:lnTo>
                <a:lnTo>
                  <a:pt x="5442" y="4386"/>
                </a:lnTo>
                <a:lnTo>
                  <a:pt x="5440" y="4384"/>
                </a:lnTo>
                <a:lnTo>
                  <a:pt x="5438" y="4380"/>
                </a:lnTo>
                <a:lnTo>
                  <a:pt x="5436" y="4380"/>
                </a:lnTo>
                <a:lnTo>
                  <a:pt x="5432" y="4382"/>
                </a:lnTo>
                <a:lnTo>
                  <a:pt x="5430" y="4390"/>
                </a:lnTo>
                <a:lnTo>
                  <a:pt x="5432" y="4398"/>
                </a:lnTo>
                <a:lnTo>
                  <a:pt x="5434" y="4408"/>
                </a:lnTo>
                <a:lnTo>
                  <a:pt x="5434" y="4416"/>
                </a:lnTo>
                <a:lnTo>
                  <a:pt x="5436" y="4420"/>
                </a:lnTo>
                <a:lnTo>
                  <a:pt x="5440" y="4418"/>
                </a:lnTo>
                <a:lnTo>
                  <a:pt x="5444" y="4416"/>
                </a:lnTo>
                <a:lnTo>
                  <a:pt x="5448" y="4418"/>
                </a:lnTo>
                <a:lnTo>
                  <a:pt x="5452" y="4420"/>
                </a:lnTo>
                <a:lnTo>
                  <a:pt x="5458" y="4420"/>
                </a:lnTo>
                <a:lnTo>
                  <a:pt x="5464" y="4418"/>
                </a:lnTo>
                <a:lnTo>
                  <a:pt x="5468" y="4420"/>
                </a:lnTo>
                <a:lnTo>
                  <a:pt x="5474" y="4422"/>
                </a:lnTo>
                <a:lnTo>
                  <a:pt x="5480" y="4424"/>
                </a:lnTo>
                <a:lnTo>
                  <a:pt x="5468" y="4426"/>
                </a:lnTo>
                <a:lnTo>
                  <a:pt x="5460" y="4426"/>
                </a:lnTo>
                <a:lnTo>
                  <a:pt x="5448" y="4424"/>
                </a:lnTo>
                <a:lnTo>
                  <a:pt x="5442" y="4422"/>
                </a:lnTo>
                <a:lnTo>
                  <a:pt x="5440" y="4422"/>
                </a:lnTo>
                <a:lnTo>
                  <a:pt x="5436" y="4426"/>
                </a:lnTo>
                <a:lnTo>
                  <a:pt x="5434" y="4430"/>
                </a:lnTo>
                <a:lnTo>
                  <a:pt x="5434" y="4432"/>
                </a:lnTo>
                <a:lnTo>
                  <a:pt x="5438" y="4434"/>
                </a:lnTo>
                <a:lnTo>
                  <a:pt x="5442" y="4438"/>
                </a:lnTo>
                <a:lnTo>
                  <a:pt x="5444" y="4440"/>
                </a:lnTo>
                <a:lnTo>
                  <a:pt x="5446" y="4440"/>
                </a:lnTo>
                <a:lnTo>
                  <a:pt x="5452" y="4440"/>
                </a:lnTo>
                <a:lnTo>
                  <a:pt x="5456" y="4440"/>
                </a:lnTo>
                <a:lnTo>
                  <a:pt x="5454" y="4444"/>
                </a:lnTo>
                <a:lnTo>
                  <a:pt x="5452" y="4452"/>
                </a:lnTo>
                <a:lnTo>
                  <a:pt x="5452" y="4454"/>
                </a:lnTo>
                <a:lnTo>
                  <a:pt x="5454" y="4456"/>
                </a:lnTo>
                <a:lnTo>
                  <a:pt x="5458" y="4456"/>
                </a:lnTo>
                <a:lnTo>
                  <a:pt x="5464" y="4454"/>
                </a:lnTo>
                <a:lnTo>
                  <a:pt x="5468" y="4454"/>
                </a:lnTo>
                <a:lnTo>
                  <a:pt x="5470" y="4456"/>
                </a:lnTo>
                <a:lnTo>
                  <a:pt x="5468" y="4462"/>
                </a:lnTo>
                <a:lnTo>
                  <a:pt x="5468" y="4468"/>
                </a:lnTo>
                <a:lnTo>
                  <a:pt x="5470" y="4468"/>
                </a:lnTo>
                <a:lnTo>
                  <a:pt x="5474" y="4464"/>
                </a:lnTo>
                <a:lnTo>
                  <a:pt x="5484" y="4458"/>
                </a:lnTo>
                <a:lnTo>
                  <a:pt x="5490" y="4456"/>
                </a:lnTo>
                <a:lnTo>
                  <a:pt x="5492" y="4456"/>
                </a:lnTo>
                <a:lnTo>
                  <a:pt x="5488" y="4460"/>
                </a:lnTo>
                <a:lnTo>
                  <a:pt x="5484" y="4462"/>
                </a:lnTo>
                <a:lnTo>
                  <a:pt x="5484" y="4464"/>
                </a:lnTo>
                <a:lnTo>
                  <a:pt x="5484" y="4468"/>
                </a:lnTo>
                <a:lnTo>
                  <a:pt x="5488" y="4472"/>
                </a:lnTo>
                <a:lnTo>
                  <a:pt x="5488" y="4476"/>
                </a:lnTo>
                <a:lnTo>
                  <a:pt x="5486" y="4478"/>
                </a:lnTo>
                <a:lnTo>
                  <a:pt x="5486" y="4482"/>
                </a:lnTo>
                <a:lnTo>
                  <a:pt x="5486" y="4484"/>
                </a:lnTo>
                <a:lnTo>
                  <a:pt x="5488" y="4484"/>
                </a:lnTo>
                <a:lnTo>
                  <a:pt x="5490" y="4488"/>
                </a:lnTo>
                <a:lnTo>
                  <a:pt x="5490" y="4492"/>
                </a:lnTo>
                <a:lnTo>
                  <a:pt x="5492" y="4492"/>
                </a:lnTo>
                <a:lnTo>
                  <a:pt x="5494" y="4492"/>
                </a:lnTo>
                <a:lnTo>
                  <a:pt x="5496" y="4496"/>
                </a:lnTo>
                <a:lnTo>
                  <a:pt x="5496" y="4500"/>
                </a:lnTo>
                <a:lnTo>
                  <a:pt x="5498" y="4500"/>
                </a:lnTo>
                <a:lnTo>
                  <a:pt x="5504" y="4492"/>
                </a:lnTo>
                <a:lnTo>
                  <a:pt x="5502" y="4500"/>
                </a:lnTo>
                <a:lnTo>
                  <a:pt x="5504" y="4504"/>
                </a:lnTo>
                <a:lnTo>
                  <a:pt x="5502" y="4508"/>
                </a:lnTo>
                <a:lnTo>
                  <a:pt x="5504" y="4510"/>
                </a:lnTo>
                <a:lnTo>
                  <a:pt x="5506" y="4512"/>
                </a:lnTo>
                <a:lnTo>
                  <a:pt x="5508" y="4510"/>
                </a:lnTo>
                <a:lnTo>
                  <a:pt x="5508" y="4506"/>
                </a:lnTo>
                <a:lnTo>
                  <a:pt x="5512" y="4502"/>
                </a:lnTo>
                <a:lnTo>
                  <a:pt x="5514" y="4500"/>
                </a:lnTo>
                <a:lnTo>
                  <a:pt x="5518" y="4498"/>
                </a:lnTo>
                <a:lnTo>
                  <a:pt x="5520" y="4500"/>
                </a:lnTo>
                <a:lnTo>
                  <a:pt x="5518" y="4502"/>
                </a:lnTo>
                <a:lnTo>
                  <a:pt x="5514" y="4506"/>
                </a:lnTo>
                <a:lnTo>
                  <a:pt x="5514" y="4508"/>
                </a:lnTo>
                <a:lnTo>
                  <a:pt x="5516" y="4512"/>
                </a:lnTo>
                <a:lnTo>
                  <a:pt x="5516" y="4514"/>
                </a:lnTo>
                <a:lnTo>
                  <a:pt x="5518" y="4516"/>
                </a:lnTo>
                <a:lnTo>
                  <a:pt x="5522" y="4512"/>
                </a:lnTo>
                <a:lnTo>
                  <a:pt x="5524" y="4510"/>
                </a:lnTo>
                <a:lnTo>
                  <a:pt x="5522" y="4518"/>
                </a:lnTo>
                <a:lnTo>
                  <a:pt x="5522" y="4528"/>
                </a:lnTo>
                <a:lnTo>
                  <a:pt x="5524" y="4528"/>
                </a:lnTo>
                <a:lnTo>
                  <a:pt x="5524" y="4534"/>
                </a:lnTo>
                <a:lnTo>
                  <a:pt x="5528" y="4538"/>
                </a:lnTo>
                <a:lnTo>
                  <a:pt x="5532" y="4542"/>
                </a:lnTo>
                <a:lnTo>
                  <a:pt x="5538" y="4544"/>
                </a:lnTo>
                <a:lnTo>
                  <a:pt x="5544" y="4548"/>
                </a:lnTo>
                <a:lnTo>
                  <a:pt x="5550" y="4554"/>
                </a:lnTo>
                <a:lnTo>
                  <a:pt x="5558" y="4556"/>
                </a:lnTo>
                <a:lnTo>
                  <a:pt x="5562" y="4560"/>
                </a:lnTo>
                <a:lnTo>
                  <a:pt x="5564" y="4562"/>
                </a:lnTo>
                <a:lnTo>
                  <a:pt x="5562" y="4564"/>
                </a:lnTo>
                <a:lnTo>
                  <a:pt x="5560" y="4568"/>
                </a:lnTo>
                <a:lnTo>
                  <a:pt x="5560" y="4572"/>
                </a:lnTo>
                <a:lnTo>
                  <a:pt x="5560" y="4576"/>
                </a:lnTo>
                <a:lnTo>
                  <a:pt x="5566" y="4578"/>
                </a:lnTo>
                <a:lnTo>
                  <a:pt x="5570" y="4582"/>
                </a:lnTo>
                <a:lnTo>
                  <a:pt x="5570" y="4584"/>
                </a:lnTo>
                <a:lnTo>
                  <a:pt x="5572" y="4586"/>
                </a:lnTo>
                <a:lnTo>
                  <a:pt x="5574" y="4588"/>
                </a:lnTo>
                <a:lnTo>
                  <a:pt x="5576" y="4592"/>
                </a:lnTo>
                <a:lnTo>
                  <a:pt x="5574" y="4594"/>
                </a:lnTo>
                <a:lnTo>
                  <a:pt x="5574" y="4596"/>
                </a:lnTo>
                <a:lnTo>
                  <a:pt x="5580" y="4604"/>
                </a:lnTo>
                <a:lnTo>
                  <a:pt x="5580" y="4606"/>
                </a:lnTo>
                <a:lnTo>
                  <a:pt x="5576" y="4608"/>
                </a:lnTo>
                <a:lnTo>
                  <a:pt x="5576" y="4610"/>
                </a:lnTo>
                <a:lnTo>
                  <a:pt x="5576" y="4612"/>
                </a:lnTo>
                <a:lnTo>
                  <a:pt x="5578" y="4618"/>
                </a:lnTo>
                <a:lnTo>
                  <a:pt x="5580" y="4618"/>
                </a:lnTo>
                <a:lnTo>
                  <a:pt x="5584" y="4616"/>
                </a:lnTo>
                <a:lnTo>
                  <a:pt x="5590" y="4620"/>
                </a:lnTo>
                <a:lnTo>
                  <a:pt x="5586" y="4624"/>
                </a:lnTo>
                <a:lnTo>
                  <a:pt x="5584" y="4624"/>
                </a:lnTo>
                <a:lnTo>
                  <a:pt x="5578" y="4624"/>
                </a:lnTo>
                <a:lnTo>
                  <a:pt x="5574" y="4624"/>
                </a:lnTo>
                <a:lnTo>
                  <a:pt x="5574" y="4628"/>
                </a:lnTo>
                <a:lnTo>
                  <a:pt x="5580" y="4636"/>
                </a:lnTo>
                <a:lnTo>
                  <a:pt x="5584" y="4638"/>
                </a:lnTo>
                <a:lnTo>
                  <a:pt x="5586" y="4638"/>
                </a:lnTo>
                <a:lnTo>
                  <a:pt x="5590" y="4642"/>
                </a:lnTo>
                <a:lnTo>
                  <a:pt x="5590" y="4648"/>
                </a:lnTo>
                <a:lnTo>
                  <a:pt x="5588" y="4650"/>
                </a:lnTo>
                <a:lnTo>
                  <a:pt x="5586" y="4650"/>
                </a:lnTo>
                <a:lnTo>
                  <a:pt x="5588" y="4654"/>
                </a:lnTo>
                <a:lnTo>
                  <a:pt x="5590" y="4656"/>
                </a:lnTo>
                <a:lnTo>
                  <a:pt x="5596" y="4658"/>
                </a:lnTo>
                <a:lnTo>
                  <a:pt x="5602" y="4660"/>
                </a:lnTo>
                <a:lnTo>
                  <a:pt x="5606" y="4666"/>
                </a:lnTo>
                <a:lnTo>
                  <a:pt x="5608" y="4668"/>
                </a:lnTo>
                <a:lnTo>
                  <a:pt x="5608" y="4670"/>
                </a:lnTo>
                <a:lnTo>
                  <a:pt x="5606" y="4672"/>
                </a:lnTo>
                <a:lnTo>
                  <a:pt x="5606" y="4674"/>
                </a:lnTo>
                <a:lnTo>
                  <a:pt x="5606" y="4676"/>
                </a:lnTo>
                <a:lnTo>
                  <a:pt x="5612" y="4680"/>
                </a:lnTo>
                <a:lnTo>
                  <a:pt x="5632" y="4688"/>
                </a:lnTo>
                <a:lnTo>
                  <a:pt x="5640" y="4694"/>
                </a:lnTo>
                <a:lnTo>
                  <a:pt x="5646" y="4700"/>
                </a:lnTo>
                <a:lnTo>
                  <a:pt x="5650" y="4706"/>
                </a:lnTo>
                <a:lnTo>
                  <a:pt x="5656" y="4710"/>
                </a:lnTo>
                <a:lnTo>
                  <a:pt x="5664" y="4716"/>
                </a:lnTo>
                <a:lnTo>
                  <a:pt x="5672" y="4722"/>
                </a:lnTo>
                <a:lnTo>
                  <a:pt x="5676" y="4724"/>
                </a:lnTo>
                <a:lnTo>
                  <a:pt x="5676" y="4728"/>
                </a:lnTo>
                <a:lnTo>
                  <a:pt x="5678" y="4732"/>
                </a:lnTo>
                <a:lnTo>
                  <a:pt x="5680" y="4734"/>
                </a:lnTo>
                <a:lnTo>
                  <a:pt x="5686" y="4738"/>
                </a:lnTo>
                <a:lnTo>
                  <a:pt x="5698" y="4744"/>
                </a:lnTo>
                <a:lnTo>
                  <a:pt x="5706" y="4752"/>
                </a:lnTo>
                <a:lnTo>
                  <a:pt x="5714" y="4762"/>
                </a:lnTo>
                <a:lnTo>
                  <a:pt x="5732" y="4782"/>
                </a:lnTo>
                <a:lnTo>
                  <a:pt x="5752" y="4798"/>
                </a:lnTo>
                <a:lnTo>
                  <a:pt x="5768" y="4810"/>
                </a:lnTo>
                <a:lnTo>
                  <a:pt x="5784" y="4816"/>
                </a:lnTo>
                <a:lnTo>
                  <a:pt x="5794" y="4820"/>
                </a:lnTo>
                <a:lnTo>
                  <a:pt x="5796" y="4824"/>
                </a:lnTo>
                <a:lnTo>
                  <a:pt x="5800" y="4826"/>
                </a:lnTo>
                <a:lnTo>
                  <a:pt x="5808" y="4826"/>
                </a:lnTo>
                <a:lnTo>
                  <a:pt x="5812" y="4824"/>
                </a:lnTo>
                <a:lnTo>
                  <a:pt x="5816" y="4822"/>
                </a:lnTo>
                <a:lnTo>
                  <a:pt x="5826" y="4814"/>
                </a:lnTo>
                <a:lnTo>
                  <a:pt x="5840" y="4804"/>
                </a:lnTo>
                <a:lnTo>
                  <a:pt x="5852" y="4798"/>
                </a:lnTo>
                <a:lnTo>
                  <a:pt x="5866" y="4794"/>
                </a:lnTo>
                <a:lnTo>
                  <a:pt x="5892" y="4788"/>
                </a:lnTo>
                <a:lnTo>
                  <a:pt x="5908" y="4788"/>
                </a:lnTo>
                <a:lnTo>
                  <a:pt x="5920" y="4788"/>
                </a:lnTo>
                <a:lnTo>
                  <a:pt x="5934" y="4786"/>
                </a:lnTo>
                <a:lnTo>
                  <a:pt x="5944" y="4782"/>
                </a:lnTo>
                <a:lnTo>
                  <a:pt x="5958" y="4786"/>
                </a:lnTo>
                <a:lnTo>
                  <a:pt x="5972" y="4786"/>
                </a:lnTo>
                <a:lnTo>
                  <a:pt x="5976" y="4786"/>
                </a:lnTo>
                <a:lnTo>
                  <a:pt x="5980" y="4784"/>
                </a:lnTo>
                <a:lnTo>
                  <a:pt x="5984" y="4784"/>
                </a:lnTo>
                <a:lnTo>
                  <a:pt x="5994" y="4786"/>
                </a:lnTo>
                <a:lnTo>
                  <a:pt x="5996" y="4788"/>
                </a:lnTo>
                <a:lnTo>
                  <a:pt x="5994" y="4788"/>
                </a:lnTo>
                <a:lnTo>
                  <a:pt x="5986" y="4790"/>
                </a:lnTo>
                <a:lnTo>
                  <a:pt x="5982" y="4790"/>
                </a:lnTo>
                <a:lnTo>
                  <a:pt x="5980" y="4790"/>
                </a:lnTo>
                <a:lnTo>
                  <a:pt x="5982" y="4792"/>
                </a:lnTo>
                <a:lnTo>
                  <a:pt x="6000" y="4796"/>
                </a:lnTo>
                <a:lnTo>
                  <a:pt x="6010" y="4800"/>
                </a:lnTo>
                <a:lnTo>
                  <a:pt x="6022" y="4804"/>
                </a:lnTo>
                <a:lnTo>
                  <a:pt x="6026" y="4806"/>
                </a:lnTo>
                <a:lnTo>
                  <a:pt x="6030" y="4806"/>
                </a:lnTo>
                <a:lnTo>
                  <a:pt x="6040" y="4800"/>
                </a:lnTo>
                <a:lnTo>
                  <a:pt x="6052" y="4790"/>
                </a:lnTo>
                <a:lnTo>
                  <a:pt x="6060" y="4786"/>
                </a:lnTo>
                <a:lnTo>
                  <a:pt x="6068" y="4784"/>
                </a:lnTo>
                <a:lnTo>
                  <a:pt x="6078" y="4782"/>
                </a:lnTo>
                <a:lnTo>
                  <a:pt x="6084" y="4778"/>
                </a:lnTo>
                <a:lnTo>
                  <a:pt x="6096" y="4770"/>
                </a:lnTo>
                <a:lnTo>
                  <a:pt x="6102" y="4766"/>
                </a:lnTo>
                <a:lnTo>
                  <a:pt x="6110" y="4762"/>
                </a:lnTo>
                <a:lnTo>
                  <a:pt x="6120" y="4758"/>
                </a:lnTo>
                <a:lnTo>
                  <a:pt x="6134" y="4756"/>
                </a:lnTo>
                <a:lnTo>
                  <a:pt x="6146" y="4754"/>
                </a:lnTo>
                <a:lnTo>
                  <a:pt x="6150" y="4752"/>
                </a:lnTo>
                <a:lnTo>
                  <a:pt x="6152" y="4750"/>
                </a:lnTo>
                <a:lnTo>
                  <a:pt x="6152" y="4746"/>
                </a:lnTo>
                <a:lnTo>
                  <a:pt x="6158" y="4740"/>
                </a:lnTo>
                <a:lnTo>
                  <a:pt x="6164" y="4736"/>
                </a:lnTo>
                <a:lnTo>
                  <a:pt x="6178" y="4732"/>
                </a:lnTo>
                <a:lnTo>
                  <a:pt x="6202" y="4730"/>
                </a:lnTo>
                <a:lnTo>
                  <a:pt x="6218" y="4728"/>
                </a:lnTo>
                <a:lnTo>
                  <a:pt x="6236" y="4726"/>
                </a:lnTo>
                <a:lnTo>
                  <a:pt x="6242" y="4726"/>
                </a:lnTo>
                <a:lnTo>
                  <a:pt x="6246" y="4722"/>
                </a:lnTo>
                <a:lnTo>
                  <a:pt x="6248" y="4720"/>
                </a:lnTo>
                <a:lnTo>
                  <a:pt x="6250" y="4722"/>
                </a:lnTo>
                <a:lnTo>
                  <a:pt x="6254" y="4724"/>
                </a:lnTo>
                <a:lnTo>
                  <a:pt x="6264" y="4726"/>
                </a:lnTo>
                <a:lnTo>
                  <a:pt x="6278" y="4726"/>
                </a:lnTo>
                <a:lnTo>
                  <a:pt x="6290" y="4730"/>
                </a:lnTo>
                <a:lnTo>
                  <a:pt x="6294" y="4734"/>
                </a:lnTo>
                <a:lnTo>
                  <a:pt x="6300" y="4738"/>
                </a:lnTo>
                <a:lnTo>
                  <a:pt x="6314" y="4756"/>
                </a:lnTo>
                <a:lnTo>
                  <a:pt x="6320" y="4772"/>
                </a:lnTo>
                <a:lnTo>
                  <a:pt x="6328" y="4796"/>
                </a:lnTo>
                <a:lnTo>
                  <a:pt x="6334" y="4808"/>
                </a:lnTo>
                <a:lnTo>
                  <a:pt x="6340" y="4818"/>
                </a:lnTo>
                <a:lnTo>
                  <a:pt x="6348" y="4826"/>
                </a:lnTo>
                <a:lnTo>
                  <a:pt x="6352" y="4826"/>
                </a:lnTo>
                <a:lnTo>
                  <a:pt x="6358" y="4828"/>
                </a:lnTo>
                <a:lnTo>
                  <a:pt x="6374" y="4828"/>
                </a:lnTo>
                <a:lnTo>
                  <a:pt x="6380" y="4828"/>
                </a:lnTo>
                <a:lnTo>
                  <a:pt x="6388" y="4826"/>
                </a:lnTo>
                <a:lnTo>
                  <a:pt x="6394" y="4822"/>
                </a:lnTo>
                <a:lnTo>
                  <a:pt x="6396" y="4820"/>
                </a:lnTo>
                <a:lnTo>
                  <a:pt x="6398" y="4816"/>
                </a:lnTo>
                <a:lnTo>
                  <a:pt x="6398" y="4814"/>
                </a:lnTo>
                <a:lnTo>
                  <a:pt x="6396" y="4810"/>
                </a:lnTo>
                <a:lnTo>
                  <a:pt x="6402" y="4814"/>
                </a:lnTo>
                <a:lnTo>
                  <a:pt x="6406" y="4816"/>
                </a:lnTo>
                <a:lnTo>
                  <a:pt x="6414" y="4818"/>
                </a:lnTo>
                <a:lnTo>
                  <a:pt x="6422" y="4818"/>
                </a:lnTo>
                <a:lnTo>
                  <a:pt x="6432" y="4818"/>
                </a:lnTo>
                <a:lnTo>
                  <a:pt x="6440" y="4816"/>
                </a:lnTo>
                <a:lnTo>
                  <a:pt x="6444" y="4812"/>
                </a:lnTo>
                <a:lnTo>
                  <a:pt x="6446" y="4808"/>
                </a:lnTo>
                <a:lnTo>
                  <a:pt x="6446" y="4806"/>
                </a:lnTo>
                <a:lnTo>
                  <a:pt x="6440" y="4796"/>
                </a:lnTo>
                <a:lnTo>
                  <a:pt x="6452" y="4806"/>
                </a:lnTo>
                <a:lnTo>
                  <a:pt x="6452" y="4814"/>
                </a:lnTo>
                <a:lnTo>
                  <a:pt x="6454" y="4818"/>
                </a:lnTo>
                <a:lnTo>
                  <a:pt x="6458" y="4818"/>
                </a:lnTo>
                <a:lnTo>
                  <a:pt x="6460" y="4818"/>
                </a:lnTo>
                <a:lnTo>
                  <a:pt x="6464" y="4816"/>
                </a:lnTo>
                <a:lnTo>
                  <a:pt x="6466" y="4816"/>
                </a:lnTo>
                <a:lnTo>
                  <a:pt x="6468" y="4822"/>
                </a:lnTo>
                <a:lnTo>
                  <a:pt x="6470" y="4836"/>
                </a:lnTo>
                <a:lnTo>
                  <a:pt x="6474" y="4840"/>
                </a:lnTo>
                <a:lnTo>
                  <a:pt x="6482" y="4844"/>
                </a:lnTo>
                <a:lnTo>
                  <a:pt x="6486" y="4846"/>
                </a:lnTo>
                <a:lnTo>
                  <a:pt x="6488" y="4844"/>
                </a:lnTo>
                <a:lnTo>
                  <a:pt x="6492" y="4842"/>
                </a:lnTo>
                <a:lnTo>
                  <a:pt x="6494" y="4838"/>
                </a:lnTo>
                <a:lnTo>
                  <a:pt x="6498" y="4840"/>
                </a:lnTo>
                <a:lnTo>
                  <a:pt x="6500" y="4844"/>
                </a:lnTo>
                <a:lnTo>
                  <a:pt x="6500" y="4846"/>
                </a:lnTo>
                <a:lnTo>
                  <a:pt x="6498" y="4850"/>
                </a:lnTo>
                <a:lnTo>
                  <a:pt x="6494" y="4852"/>
                </a:lnTo>
                <a:lnTo>
                  <a:pt x="6494" y="4856"/>
                </a:lnTo>
                <a:lnTo>
                  <a:pt x="6496" y="4858"/>
                </a:lnTo>
                <a:lnTo>
                  <a:pt x="6500" y="4862"/>
                </a:lnTo>
                <a:lnTo>
                  <a:pt x="6500" y="4864"/>
                </a:lnTo>
                <a:lnTo>
                  <a:pt x="6500" y="4866"/>
                </a:lnTo>
                <a:lnTo>
                  <a:pt x="6504" y="4874"/>
                </a:lnTo>
                <a:lnTo>
                  <a:pt x="6506" y="4880"/>
                </a:lnTo>
                <a:lnTo>
                  <a:pt x="6508" y="4886"/>
                </a:lnTo>
                <a:lnTo>
                  <a:pt x="6508" y="4898"/>
                </a:lnTo>
                <a:lnTo>
                  <a:pt x="6504" y="4910"/>
                </a:lnTo>
                <a:lnTo>
                  <a:pt x="6504" y="4924"/>
                </a:lnTo>
                <a:lnTo>
                  <a:pt x="6504" y="4936"/>
                </a:lnTo>
                <a:lnTo>
                  <a:pt x="6502" y="4946"/>
                </a:lnTo>
                <a:lnTo>
                  <a:pt x="6498" y="4954"/>
                </a:lnTo>
                <a:lnTo>
                  <a:pt x="6494" y="4960"/>
                </a:lnTo>
                <a:lnTo>
                  <a:pt x="6488" y="4970"/>
                </a:lnTo>
                <a:lnTo>
                  <a:pt x="6486" y="4974"/>
                </a:lnTo>
                <a:lnTo>
                  <a:pt x="6486" y="4978"/>
                </a:lnTo>
                <a:lnTo>
                  <a:pt x="6486" y="4982"/>
                </a:lnTo>
                <a:lnTo>
                  <a:pt x="6488" y="4984"/>
                </a:lnTo>
                <a:lnTo>
                  <a:pt x="6494" y="4984"/>
                </a:lnTo>
                <a:lnTo>
                  <a:pt x="6496" y="4984"/>
                </a:lnTo>
                <a:lnTo>
                  <a:pt x="6496" y="4988"/>
                </a:lnTo>
                <a:lnTo>
                  <a:pt x="6494" y="4994"/>
                </a:lnTo>
                <a:lnTo>
                  <a:pt x="6496" y="4998"/>
                </a:lnTo>
                <a:lnTo>
                  <a:pt x="6498" y="5002"/>
                </a:lnTo>
                <a:lnTo>
                  <a:pt x="6496" y="5006"/>
                </a:lnTo>
                <a:lnTo>
                  <a:pt x="6494" y="5006"/>
                </a:lnTo>
                <a:lnTo>
                  <a:pt x="6492" y="5004"/>
                </a:lnTo>
                <a:lnTo>
                  <a:pt x="6490" y="5004"/>
                </a:lnTo>
                <a:lnTo>
                  <a:pt x="6486" y="5006"/>
                </a:lnTo>
                <a:lnTo>
                  <a:pt x="6486" y="5010"/>
                </a:lnTo>
                <a:lnTo>
                  <a:pt x="6486" y="5014"/>
                </a:lnTo>
                <a:lnTo>
                  <a:pt x="6490" y="5018"/>
                </a:lnTo>
                <a:lnTo>
                  <a:pt x="6500" y="5024"/>
                </a:lnTo>
                <a:lnTo>
                  <a:pt x="6510" y="5026"/>
                </a:lnTo>
                <a:lnTo>
                  <a:pt x="6514" y="5028"/>
                </a:lnTo>
                <a:lnTo>
                  <a:pt x="6516" y="5030"/>
                </a:lnTo>
                <a:lnTo>
                  <a:pt x="6514" y="5032"/>
                </a:lnTo>
                <a:lnTo>
                  <a:pt x="6512" y="5034"/>
                </a:lnTo>
                <a:lnTo>
                  <a:pt x="6508" y="5034"/>
                </a:lnTo>
                <a:lnTo>
                  <a:pt x="6502" y="5034"/>
                </a:lnTo>
                <a:lnTo>
                  <a:pt x="6498" y="5034"/>
                </a:lnTo>
                <a:lnTo>
                  <a:pt x="6494" y="5030"/>
                </a:lnTo>
                <a:lnTo>
                  <a:pt x="6488" y="5022"/>
                </a:lnTo>
                <a:lnTo>
                  <a:pt x="6486" y="5022"/>
                </a:lnTo>
                <a:lnTo>
                  <a:pt x="6484" y="5022"/>
                </a:lnTo>
                <a:lnTo>
                  <a:pt x="6484" y="5026"/>
                </a:lnTo>
                <a:lnTo>
                  <a:pt x="6484" y="5038"/>
                </a:lnTo>
                <a:lnTo>
                  <a:pt x="6484" y="5052"/>
                </a:lnTo>
                <a:lnTo>
                  <a:pt x="6480" y="5066"/>
                </a:lnTo>
                <a:lnTo>
                  <a:pt x="6476" y="5070"/>
                </a:lnTo>
                <a:lnTo>
                  <a:pt x="6474" y="5072"/>
                </a:lnTo>
                <a:lnTo>
                  <a:pt x="6470" y="5072"/>
                </a:lnTo>
                <a:lnTo>
                  <a:pt x="6466" y="5070"/>
                </a:lnTo>
                <a:lnTo>
                  <a:pt x="6460" y="5066"/>
                </a:lnTo>
                <a:lnTo>
                  <a:pt x="6460" y="5068"/>
                </a:lnTo>
                <a:lnTo>
                  <a:pt x="6462" y="5076"/>
                </a:lnTo>
                <a:lnTo>
                  <a:pt x="6468" y="5092"/>
                </a:lnTo>
                <a:lnTo>
                  <a:pt x="6480" y="5120"/>
                </a:lnTo>
                <a:lnTo>
                  <a:pt x="6484" y="5130"/>
                </a:lnTo>
                <a:lnTo>
                  <a:pt x="6488" y="5136"/>
                </a:lnTo>
                <a:lnTo>
                  <a:pt x="6494" y="5144"/>
                </a:lnTo>
                <a:lnTo>
                  <a:pt x="6498" y="5152"/>
                </a:lnTo>
                <a:lnTo>
                  <a:pt x="6504" y="5162"/>
                </a:lnTo>
                <a:lnTo>
                  <a:pt x="6514" y="5174"/>
                </a:lnTo>
                <a:lnTo>
                  <a:pt x="6536" y="5198"/>
                </a:lnTo>
                <a:lnTo>
                  <a:pt x="6544" y="5208"/>
                </a:lnTo>
                <a:lnTo>
                  <a:pt x="6546" y="5214"/>
                </a:lnTo>
                <a:lnTo>
                  <a:pt x="6556" y="5224"/>
                </a:lnTo>
                <a:lnTo>
                  <a:pt x="6576" y="5248"/>
                </a:lnTo>
                <a:lnTo>
                  <a:pt x="6582" y="5256"/>
                </a:lnTo>
                <a:lnTo>
                  <a:pt x="6584" y="5264"/>
                </a:lnTo>
                <a:lnTo>
                  <a:pt x="6588" y="5274"/>
                </a:lnTo>
                <a:lnTo>
                  <a:pt x="6594" y="5282"/>
                </a:lnTo>
                <a:lnTo>
                  <a:pt x="6600" y="5292"/>
                </a:lnTo>
                <a:lnTo>
                  <a:pt x="6600" y="5296"/>
                </a:lnTo>
                <a:lnTo>
                  <a:pt x="6600" y="5302"/>
                </a:lnTo>
                <a:lnTo>
                  <a:pt x="6598" y="5310"/>
                </a:lnTo>
                <a:lnTo>
                  <a:pt x="6598" y="5314"/>
                </a:lnTo>
                <a:lnTo>
                  <a:pt x="6600" y="5314"/>
                </a:lnTo>
                <a:lnTo>
                  <a:pt x="6602" y="5318"/>
                </a:lnTo>
                <a:lnTo>
                  <a:pt x="6606" y="5324"/>
                </a:lnTo>
                <a:lnTo>
                  <a:pt x="6608" y="5324"/>
                </a:lnTo>
                <a:lnTo>
                  <a:pt x="6614" y="5322"/>
                </a:lnTo>
                <a:lnTo>
                  <a:pt x="6620" y="5320"/>
                </a:lnTo>
                <a:lnTo>
                  <a:pt x="6626" y="5318"/>
                </a:lnTo>
                <a:lnTo>
                  <a:pt x="6630" y="5316"/>
                </a:lnTo>
                <a:lnTo>
                  <a:pt x="6638" y="5318"/>
                </a:lnTo>
                <a:lnTo>
                  <a:pt x="6630" y="5324"/>
                </a:lnTo>
                <a:lnTo>
                  <a:pt x="6624" y="5328"/>
                </a:lnTo>
                <a:lnTo>
                  <a:pt x="6612" y="5330"/>
                </a:lnTo>
                <a:lnTo>
                  <a:pt x="6606" y="5332"/>
                </a:lnTo>
                <a:lnTo>
                  <a:pt x="6604" y="5334"/>
                </a:lnTo>
                <a:lnTo>
                  <a:pt x="6606" y="5336"/>
                </a:lnTo>
                <a:lnTo>
                  <a:pt x="6616" y="5358"/>
                </a:lnTo>
                <a:lnTo>
                  <a:pt x="6630" y="5394"/>
                </a:lnTo>
                <a:lnTo>
                  <a:pt x="6638" y="5416"/>
                </a:lnTo>
                <a:lnTo>
                  <a:pt x="6642" y="5434"/>
                </a:lnTo>
                <a:lnTo>
                  <a:pt x="6642" y="5450"/>
                </a:lnTo>
                <a:lnTo>
                  <a:pt x="6642" y="5456"/>
                </a:lnTo>
                <a:lnTo>
                  <a:pt x="6638" y="5460"/>
                </a:lnTo>
                <a:lnTo>
                  <a:pt x="6634" y="5470"/>
                </a:lnTo>
                <a:lnTo>
                  <a:pt x="6634" y="5480"/>
                </a:lnTo>
                <a:lnTo>
                  <a:pt x="6636" y="5490"/>
                </a:lnTo>
                <a:lnTo>
                  <a:pt x="6638" y="5502"/>
                </a:lnTo>
                <a:lnTo>
                  <a:pt x="6650" y="5526"/>
                </a:lnTo>
                <a:lnTo>
                  <a:pt x="6660" y="5552"/>
                </a:lnTo>
                <a:lnTo>
                  <a:pt x="6664" y="5564"/>
                </a:lnTo>
                <a:lnTo>
                  <a:pt x="6666" y="5578"/>
                </a:lnTo>
                <a:lnTo>
                  <a:pt x="6668" y="5592"/>
                </a:lnTo>
                <a:lnTo>
                  <a:pt x="6666" y="5606"/>
                </a:lnTo>
                <a:lnTo>
                  <a:pt x="6664" y="5618"/>
                </a:lnTo>
                <a:lnTo>
                  <a:pt x="6658" y="5630"/>
                </a:lnTo>
                <a:lnTo>
                  <a:pt x="6652" y="5642"/>
                </a:lnTo>
                <a:lnTo>
                  <a:pt x="6642" y="5650"/>
                </a:lnTo>
                <a:lnTo>
                  <a:pt x="6634" y="5658"/>
                </a:lnTo>
                <a:lnTo>
                  <a:pt x="6628" y="5666"/>
                </a:lnTo>
                <a:lnTo>
                  <a:pt x="6622" y="5674"/>
                </a:lnTo>
                <a:lnTo>
                  <a:pt x="6618" y="5684"/>
                </a:lnTo>
                <a:lnTo>
                  <a:pt x="6610" y="5704"/>
                </a:lnTo>
                <a:lnTo>
                  <a:pt x="6606" y="5724"/>
                </a:lnTo>
                <a:lnTo>
                  <a:pt x="6600" y="5764"/>
                </a:lnTo>
                <a:lnTo>
                  <a:pt x="6598" y="5782"/>
                </a:lnTo>
                <a:lnTo>
                  <a:pt x="6592" y="5794"/>
                </a:lnTo>
                <a:lnTo>
                  <a:pt x="6586" y="5806"/>
                </a:lnTo>
                <a:lnTo>
                  <a:pt x="6582" y="5816"/>
                </a:lnTo>
                <a:lnTo>
                  <a:pt x="6582" y="5826"/>
                </a:lnTo>
                <a:lnTo>
                  <a:pt x="6582" y="5836"/>
                </a:lnTo>
                <a:lnTo>
                  <a:pt x="6584" y="5854"/>
                </a:lnTo>
                <a:lnTo>
                  <a:pt x="6584" y="5868"/>
                </a:lnTo>
                <a:lnTo>
                  <a:pt x="6582" y="5882"/>
                </a:lnTo>
                <a:lnTo>
                  <a:pt x="6580" y="5892"/>
                </a:lnTo>
                <a:lnTo>
                  <a:pt x="6582" y="5900"/>
                </a:lnTo>
                <a:lnTo>
                  <a:pt x="6586" y="5920"/>
                </a:lnTo>
                <a:lnTo>
                  <a:pt x="6594" y="5938"/>
                </a:lnTo>
                <a:lnTo>
                  <a:pt x="6604" y="5960"/>
                </a:lnTo>
                <a:lnTo>
                  <a:pt x="6628" y="6004"/>
                </a:lnTo>
                <a:lnTo>
                  <a:pt x="6638" y="6030"/>
                </a:lnTo>
                <a:lnTo>
                  <a:pt x="6646" y="6060"/>
                </a:lnTo>
                <a:lnTo>
                  <a:pt x="6654" y="6084"/>
                </a:lnTo>
                <a:lnTo>
                  <a:pt x="6664" y="6102"/>
                </a:lnTo>
                <a:lnTo>
                  <a:pt x="6672" y="6112"/>
                </a:lnTo>
                <a:lnTo>
                  <a:pt x="6682" y="6122"/>
                </a:lnTo>
                <a:lnTo>
                  <a:pt x="6688" y="6132"/>
                </a:lnTo>
                <a:lnTo>
                  <a:pt x="6692" y="6144"/>
                </a:lnTo>
                <a:lnTo>
                  <a:pt x="6692" y="6164"/>
                </a:lnTo>
                <a:lnTo>
                  <a:pt x="6690" y="6194"/>
                </a:lnTo>
                <a:lnTo>
                  <a:pt x="6688" y="6208"/>
                </a:lnTo>
                <a:lnTo>
                  <a:pt x="6690" y="6226"/>
                </a:lnTo>
                <a:lnTo>
                  <a:pt x="6698" y="6266"/>
                </a:lnTo>
                <a:lnTo>
                  <a:pt x="6708" y="6312"/>
                </a:lnTo>
                <a:lnTo>
                  <a:pt x="6712" y="6334"/>
                </a:lnTo>
                <a:lnTo>
                  <a:pt x="6714" y="6356"/>
                </a:lnTo>
                <a:lnTo>
                  <a:pt x="6718" y="6376"/>
                </a:lnTo>
                <a:lnTo>
                  <a:pt x="6722" y="6394"/>
                </a:lnTo>
                <a:lnTo>
                  <a:pt x="6730" y="6408"/>
                </a:lnTo>
                <a:lnTo>
                  <a:pt x="6738" y="6422"/>
                </a:lnTo>
                <a:lnTo>
                  <a:pt x="6748" y="6432"/>
                </a:lnTo>
                <a:lnTo>
                  <a:pt x="6756" y="6442"/>
                </a:lnTo>
                <a:lnTo>
                  <a:pt x="6772" y="6456"/>
                </a:lnTo>
                <a:lnTo>
                  <a:pt x="6782" y="6470"/>
                </a:lnTo>
                <a:lnTo>
                  <a:pt x="6788" y="6484"/>
                </a:lnTo>
                <a:lnTo>
                  <a:pt x="6792" y="6498"/>
                </a:lnTo>
                <a:lnTo>
                  <a:pt x="6796" y="6514"/>
                </a:lnTo>
                <a:lnTo>
                  <a:pt x="6800" y="6530"/>
                </a:lnTo>
                <a:lnTo>
                  <a:pt x="6806" y="6548"/>
                </a:lnTo>
                <a:lnTo>
                  <a:pt x="6816" y="6568"/>
                </a:lnTo>
                <a:lnTo>
                  <a:pt x="6830" y="6592"/>
                </a:lnTo>
                <a:lnTo>
                  <a:pt x="6840" y="6612"/>
                </a:lnTo>
                <a:lnTo>
                  <a:pt x="6848" y="6630"/>
                </a:lnTo>
                <a:lnTo>
                  <a:pt x="6850" y="6644"/>
                </a:lnTo>
                <a:lnTo>
                  <a:pt x="6850" y="6656"/>
                </a:lnTo>
                <a:lnTo>
                  <a:pt x="6846" y="6666"/>
                </a:lnTo>
                <a:lnTo>
                  <a:pt x="6844" y="6672"/>
                </a:lnTo>
                <a:lnTo>
                  <a:pt x="6840" y="6674"/>
                </a:lnTo>
                <a:lnTo>
                  <a:pt x="6836" y="6674"/>
                </a:lnTo>
                <a:lnTo>
                  <a:pt x="6834" y="6672"/>
                </a:lnTo>
                <a:lnTo>
                  <a:pt x="6832" y="6672"/>
                </a:lnTo>
                <a:lnTo>
                  <a:pt x="6830" y="6674"/>
                </a:lnTo>
                <a:lnTo>
                  <a:pt x="6828" y="6676"/>
                </a:lnTo>
                <a:lnTo>
                  <a:pt x="6828" y="6682"/>
                </a:lnTo>
                <a:lnTo>
                  <a:pt x="6830" y="6686"/>
                </a:lnTo>
                <a:lnTo>
                  <a:pt x="6832" y="6694"/>
                </a:lnTo>
                <a:lnTo>
                  <a:pt x="6836" y="6700"/>
                </a:lnTo>
                <a:lnTo>
                  <a:pt x="6846" y="6714"/>
                </a:lnTo>
                <a:lnTo>
                  <a:pt x="6850" y="6722"/>
                </a:lnTo>
                <a:lnTo>
                  <a:pt x="6852" y="6730"/>
                </a:lnTo>
                <a:lnTo>
                  <a:pt x="6848" y="6734"/>
                </a:lnTo>
                <a:lnTo>
                  <a:pt x="6846" y="6738"/>
                </a:lnTo>
                <a:lnTo>
                  <a:pt x="6846" y="6742"/>
                </a:lnTo>
                <a:lnTo>
                  <a:pt x="6848" y="6752"/>
                </a:lnTo>
                <a:lnTo>
                  <a:pt x="6850" y="6758"/>
                </a:lnTo>
                <a:lnTo>
                  <a:pt x="6852" y="6756"/>
                </a:lnTo>
                <a:lnTo>
                  <a:pt x="6854" y="6754"/>
                </a:lnTo>
                <a:lnTo>
                  <a:pt x="6854" y="6750"/>
                </a:lnTo>
                <a:lnTo>
                  <a:pt x="6856" y="6746"/>
                </a:lnTo>
                <a:lnTo>
                  <a:pt x="6858" y="6744"/>
                </a:lnTo>
                <a:lnTo>
                  <a:pt x="6862" y="6744"/>
                </a:lnTo>
                <a:lnTo>
                  <a:pt x="6864" y="6744"/>
                </a:lnTo>
                <a:lnTo>
                  <a:pt x="6866" y="6746"/>
                </a:lnTo>
                <a:lnTo>
                  <a:pt x="6868" y="6748"/>
                </a:lnTo>
                <a:lnTo>
                  <a:pt x="6868" y="6752"/>
                </a:lnTo>
                <a:lnTo>
                  <a:pt x="6870" y="6758"/>
                </a:lnTo>
                <a:lnTo>
                  <a:pt x="6870" y="6760"/>
                </a:lnTo>
                <a:lnTo>
                  <a:pt x="6874" y="6760"/>
                </a:lnTo>
                <a:lnTo>
                  <a:pt x="6876" y="6760"/>
                </a:lnTo>
                <a:lnTo>
                  <a:pt x="6882" y="6762"/>
                </a:lnTo>
                <a:lnTo>
                  <a:pt x="6884" y="6764"/>
                </a:lnTo>
                <a:lnTo>
                  <a:pt x="6886" y="6768"/>
                </a:lnTo>
                <a:lnTo>
                  <a:pt x="6888" y="6774"/>
                </a:lnTo>
                <a:lnTo>
                  <a:pt x="6890" y="6776"/>
                </a:lnTo>
                <a:lnTo>
                  <a:pt x="6894" y="6776"/>
                </a:lnTo>
                <a:lnTo>
                  <a:pt x="6898" y="6780"/>
                </a:lnTo>
                <a:lnTo>
                  <a:pt x="6902" y="6782"/>
                </a:lnTo>
                <a:lnTo>
                  <a:pt x="6906" y="6782"/>
                </a:lnTo>
                <a:lnTo>
                  <a:pt x="6910" y="6782"/>
                </a:lnTo>
                <a:lnTo>
                  <a:pt x="6916" y="6782"/>
                </a:lnTo>
                <a:lnTo>
                  <a:pt x="6918" y="6782"/>
                </a:lnTo>
                <a:lnTo>
                  <a:pt x="6920" y="6782"/>
                </a:lnTo>
                <a:lnTo>
                  <a:pt x="6924" y="6774"/>
                </a:lnTo>
                <a:lnTo>
                  <a:pt x="6932" y="6768"/>
                </a:lnTo>
                <a:lnTo>
                  <a:pt x="6936" y="6764"/>
                </a:lnTo>
                <a:lnTo>
                  <a:pt x="6944" y="6762"/>
                </a:lnTo>
                <a:lnTo>
                  <a:pt x="6956" y="6762"/>
                </a:lnTo>
                <a:lnTo>
                  <a:pt x="6962" y="6764"/>
                </a:lnTo>
                <a:lnTo>
                  <a:pt x="6970" y="6764"/>
                </a:lnTo>
                <a:lnTo>
                  <a:pt x="6982" y="6760"/>
                </a:lnTo>
                <a:lnTo>
                  <a:pt x="6988" y="6758"/>
                </a:lnTo>
                <a:lnTo>
                  <a:pt x="6994" y="6754"/>
                </a:lnTo>
                <a:lnTo>
                  <a:pt x="7000" y="6748"/>
                </a:lnTo>
                <a:lnTo>
                  <a:pt x="7004" y="6742"/>
                </a:lnTo>
                <a:lnTo>
                  <a:pt x="7008" y="6740"/>
                </a:lnTo>
                <a:lnTo>
                  <a:pt x="7012" y="6740"/>
                </a:lnTo>
                <a:lnTo>
                  <a:pt x="7024" y="6740"/>
                </a:lnTo>
                <a:lnTo>
                  <a:pt x="7036" y="6742"/>
                </a:lnTo>
                <a:lnTo>
                  <a:pt x="7046" y="6744"/>
                </a:lnTo>
                <a:lnTo>
                  <a:pt x="7052" y="6744"/>
                </a:lnTo>
                <a:lnTo>
                  <a:pt x="7056" y="6742"/>
                </a:lnTo>
                <a:lnTo>
                  <a:pt x="7062" y="6740"/>
                </a:lnTo>
                <a:lnTo>
                  <a:pt x="7068" y="6742"/>
                </a:lnTo>
                <a:lnTo>
                  <a:pt x="7084" y="6746"/>
                </a:lnTo>
                <a:lnTo>
                  <a:pt x="7092" y="6750"/>
                </a:lnTo>
                <a:lnTo>
                  <a:pt x="7098" y="6750"/>
                </a:lnTo>
                <a:lnTo>
                  <a:pt x="7106" y="6748"/>
                </a:lnTo>
                <a:lnTo>
                  <a:pt x="7112" y="6744"/>
                </a:lnTo>
                <a:lnTo>
                  <a:pt x="7116" y="6740"/>
                </a:lnTo>
                <a:lnTo>
                  <a:pt x="7122" y="6738"/>
                </a:lnTo>
                <a:lnTo>
                  <a:pt x="7128" y="6738"/>
                </a:lnTo>
                <a:lnTo>
                  <a:pt x="7134" y="6740"/>
                </a:lnTo>
                <a:lnTo>
                  <a:pt x="7142" y="6742"/>
                </a:lnTo>
                <a:lnTo>
                  <a:pt x="7144" y="6740"/>
                </a:lnTo>
                <a:lnTo>
                  <a:pt x="7144" y="6734"/>
                </a:lnTo>
                <a:lnTo>
                  <a:pt x="7144" y="6730"/>
                </a:lnTo>
                <a:lnTo>
                  <a:pt x="7148" y="6728"/>
                </a:lnTo>
                <a:lnTo>
                  <a:pt x="7152" y="6726"/>
                </a:lnTo>
                <a:lnTo>
                  <a:pt x="7160" y="6726"/>
                </a:lnTo>
                <a:lnTo>
                  <a:pt x="7168" y="6726"/>
                </a:lnTo>
                <a:lnTo>
                  <a:pt x="7178" y="6726"/>
                </a:lnTo>
                <a:lnTo>
                  <a:pt x="7188" y="6724"/>
                </a:lnTo>
                <a:lnTo>
                  <a:pt x="7196" y="6718"/>
                </a:lnTo>
                <a:lnTo>
                  <a:pt x="7214" y="6704"/>
                </a:lnTo>
                <a:lnTo>
                  <a:pt x="7236" y="6686"/>
                </a:lnTo>
                <a:lnTo>
                  <a:pt x="7262" y="6662"/>
                </a:lnTo>
                <a:lnTo>
                  <a:pt x="7276" y="6646"/>
                </a:lnTo>
                <a:lnTo>
                  <a:pt x="7288" y="6626"/>
                </a:lnTo>
                <a:lnTo>
                  <a:pt x="7296" y="6618"/>
                </a:lnTo>
                <a:lnTo>
                  <a:pt x="7302" y="6610"/>
                </a:lnTo>
                <a:lnTo>
                  <a:pt x="7316" y="6598"/>
                </a:lnTo>
                <a:lnTo>
                  <a:pt x="7324" y="6588"/>
                </a:lnTo>
                <a:lnTo>
                  <a:pt x="7334" y="6574"/>
                </a:lnTo>
                <a:lnTo>
                  <a:pt x="7344" y="6554"/>
                </a:lnTo>
                <a:lnTo>
                  <a:pt x="7356" y="6528"/>
                </a:lnTo>
                <a:lnTo>
                  <a:pt x="7372" y="6498"/>
                </a:lnTo>
                <a:lnTo>
                  <a:pt x="7384" y="6480"/>
                </a:lnTo>
                <a:lnTo>
                  <a:pt x="7396" y="6468"/>
                </a:lnTo>
                <a:lnTo>
                  <a:pt x="7406" y="6460"/>
                </a:lnTo>
                <a:lnTo>
                  <a:pt x="7416" y="6448"/>
                </a:lnTo>
                <a:lnTo>
                  <a:pt x="7424" y="6432"/>
                </a:lnTo>
                <a:lnTo>
                  <a:pt x="7430" y="6406"/>
                </a:lnTo>
                <a:lnTo>
                  <a:pt x="7436" y="6366"/>
                </a:lnTo>
                <a:lnTo>
                  <a:pt x="7438" y="6338"/>
                </a:lnTo>
                <a:lnTo>
                  <a:pt x="7438" y="6332"/>
                </a:lnTo>
                <a:lnTo>
                  <a:pt x="7436" y="6330"/>
                </a:lnTo>
                <a:lnTo>
                  <a:pt x="7430" y="6332"/>
                </a:lnTo>
                <a:lnTo>
                  <a:pt x="7428" y="6330"/>
                </a:lnTo>
                <a:lnTo>
                  <a:pt x="7426" y="6326"/>
                </a:lnTo>
                <a:lnTo>
                  <a:pt x="7426" y="6320"/>
                </a:lnTo>
                <a:lnTo>
                  <a:pt x="7428" y="6312"/>
                </a:lnTo>
                <a:lnTo>
                  <a:pt x="7434" y="6304"/>
                </a:lnTo>
                <a:lnTo>
                  <a:pt x="7440" y="6296"/>
                </a:lnTo>
                <a:lnTo>
                  <a:pt x="7450" y="6288"/>
                </a:lnTo>
                <a:lnTo>
                  <a:pt x="7462" y="6280"/>
                </a:lnTo>
                <a:lnTo>
                  <a:pt x="7474" y="6274"/>
                </a:lnTo>
                <a:lnTo>
                  <a:pt x="7488" y="6268"/>
                </a:lnTo>
                <a:lnTo>
                  <a:pt x="7502" y="6262"/>
                </a:lnTo>
                <a:lnTo>
                  <a:pt x="7514" y="6256"/>
                </a:lnTo>
                <a:lnTo>
                  <a:pt x="7524" y="6248"/>
                </a:lnTo>
                <a:lnTo>
                  <a:pt x="7530" y="6242"/>
                </a:lnTo>
                <a:lnTo>
                  <a:pt x="7536" y="6234"/>
                </a:lnTo>
                <a:lnTo>
                  <a:pt x="7540" y="6226"/>
                </a:lnTo>
                <a:lnTo>
                  <a:pt x="7540" y="6218"/>
                </a:lnTo>
                <a:lnTo>
                  <a:pt x="7538" y="6210"/>
                </a:lnTo>
                <a:lnTo>
                  <a:pt x="7534" y="6206"/>
                </a:lnTo>
                <a:lnTo>
                  <a:pt x="7534" y="6200"/>
                </a:lnTo>
                <a:lnTo>
                  <a:pt x="7536" y="6188"/>
                </a:lnTo>
                <a:lnTo>
                  <a:pt x="7540" y="6172"/>
                </a:lnTo>
                <a:lnTo>
                  <a:pt x="7542" y="6160"/>
                </a:lnTo>
                <a:lnTo>
                  <a:pt x="7542" y="6146"/>
                </a:lnTo>
                <a:lnTo>
                  <a:pt x="7540" y="6126"/>
                </a:lnTo>
                <a:lnTo>
                  <a:pt x="7538" y="6128"/>
                </a:lnTo>
                <a:lnTo>
                  <a:pt x="7536" y="6130"/>
                </a:lnTo>
                <a:lnTo>
                  <a:pt x="7534" y="6130"/>
                </a:lnTo>
                <a:lnTo>
                  <a:pt x="7532" y="6126"/>
                </a:lnTo>
                <a:lnTo>
                  <a:pt x="7530" y="6118"/>
                </a:lnTo>
                <a:lnTo>
                  <a:pt x="7526" y="6090"/>
                </a:lnTo>
                <a:lnTo>
                  <a:pt x="7524" y="6074"/>
                </a:lnTo>
                <a:lnTo>
                  <a:pt x="7522" y="6064"/>
                </a:lnTo>
                <a:lnTo>
                  <a:pt x="7512" y="6052"/>
                </a:lnTo>
                <a:lnTo>
                  <a:pt x="7508" y="6046"/>
                </a:lnTo>
                <a:lnTo>
                  <a:pt x="7506" y="6042"/>
                </a:lnTo>
                <a:lnTo>
                  <a:pt x="7506" y="6034"/>
                </a:lnTo>
                <a:lnTo>
                  <a:pt x="7508" y="6026"/>
                </a:lnTo>
                <a:lnTo>
                  <a:pt x="7508" y="6016"/>
                </a:lnTo>
                <a:lnTo>
                  <a:pt x="7508" y="6010"/>
                </a:lnTo>
                <a:lnTo>
                  <a:pt x="7514" y="6008"/>
                </a:lnTo>
                <a:lnTo>
                  <a:pt x="7518" y="6008"/>
                </a:lnTo>
                <a:lnTo>
                  <a:pt x="7524" y="6004"/>
                </a:lnTo>
                <a:lnTo>
                  <a:pt x="7530" y="5998"/>
                </a:lnTo>
                <a:lnTo>
                  <a:pt x="7540" y="5988"/>
                </a:lnTo>
                <a:lnTo>
                  <a:pt x="7548" y="5976"/>
                </a:lnTo>
                <a:lnTo>
                  <a:pt x="7556" y="5972"/>
                </a:lnTo>
                <a:lnTo>
                  <a:pt x="7566" y="5966"/>
                </a:lnTo>
                <a:lnTo>
                  <a:pt x="7570" y="5964"/>
                </a:lnTo>
                <a:lnTo>
                  <a:pt x="7576" y="5960"/>
                </a:lnTo>
                <a:lnTo>
                  <a:pt x="7582" y="5950"/>
                </a:lnTo>
                <a:lnTo>
                  <a:pt x="7590" y="5936"/>
                </a:lnTo>
                <a:lnTo>
                  <a:pt x="7600" y="5918"/>
                </a:lnTo>
                <a:lnTo>
                  <a:pt x="7610" y="5906"/>
                </a:lnTo>
                <a:lnTo>
                  <a:pt x="7620" y="5896"/>
                </a:lnTo>
                <a:lnTo>
                  <a:pt x="7630" y="5888"/>
                </a:lnTo>
                <a:lnTo>
                  <a:pt x="7640" y="5884"/>
                </a:lnTo>
                <a:lnTo>
                  <a:pt x="7650" y="5880"/>
                </a:lnTo>
                <a:lnTo>
                  <a:pt x="7670" y="5874"/>
                </a:lnTo>
                <a:lnTo>
                  <a:pt x="7680" y="5868"/>
                </a:lnTo>
                <a:lnTo>
                  <a:pt x="7690" y="5862"/>
                </a:lnTo>
                <a:lnTo>
                  <a:pt x="7698" y="5854"/>
                </a:lnTo>
                <a:lnTo>
                  <a:pt x="7708" y="5844"/>
                </a:lnTo>
                <a:lnTo>
                  <a:pt x="7724" y="5822"/>
                </a:lnTo>
                <a:lnTo>
                  <a:pt x="7742" y="5792"/>
                </a:lnTo>
                <a:lnTo>
                  <a:pt x="7748" y="5778"/>
                </a:lnTo>
                <a:lnTo>
                  <a:pt x="7748" y="5774"/>
                </a:lnTo>
                <a:lnTo>
                  <a:pt x="7748" y="5772"/>
                </a:lnTo>
                <a:lnTo>
                  <a:pt x="7752" y="5762"/>
                </a:lnTo>
                <a:lnTo>
                  <a:pt x="7756" y="5754"/>
                </a:lnTo>
                <a:lnTo>
                  <a:pt x="7756" y="5748"/>
                </a:lnTo>
                <a:lnTo>
                  <a:pt x="7754" y="5744"/>
                </a:lnTo>
                <a:lnTo>
                  <a:pt x="7752" y="5742"/>
                </a:lnTo>
                <a:lnTo>
                  <a:pt x="7748" y="5736"/>
                </a:lnTo>
                <a:lnTo>
                  <a:pt x="7744" y="5730"/>
                </a:lnTo>
                <a:lnTo>
                  <a:pt x="7742" y="5720"/>
                </a:lnTo>
                <a:lnTo>
                  <a:pt x="7742" y="5706"/>
                </a:lnTo>
                <a:lnTo>
                  <a:pt x="7744" y="5654"/>
                </a:lnTo>
                <a:lnTo>
                  <a:pt x="7742" y="5632"/>
                </a:lnTo>
                <a:lnTo>
                  <a:pt x="7738" y="5610"/>
                </a:lnTo>
                <a:lnTo>
                  <a:pt x="7738" y="5596"/>
                </a:lnTo>
                <a:lnTo>
                  <a:pt x="7740" y="5588"/>
                </a:lnTo>
                <a:lnTo>
                  <a:pt x="7742" y="5582"/>
                </a:lnTo>
                <a:lnTo>
                  <a:pt x="7746" y="5578"/>
                </a:lnTo>
                <a:lnTo>
                  <a:pt x="7748" y="5576"/>
                </a:lnTo>
                <a:lnTo>
                  <a:pt x="7748" y="5570"/>
                </a:lnTo>
                <a:lnTo>
                  <a:pt x="7746" y="5562"/>
                </a:lnTo>
                <a:lnTo>
                  <a:pt x="7738" y="5550"/>
                </a:lnTo>
                <a:lnTo>
                  <a:pt x="7728" y="5538"/>
                </a:lnTo>
                <a:lnTo>
                  <a:pt x="7722" y="5536"/>
                </a:lnTo>
                <a:lnTo>
                  <a:pt x="7716" y="5532"/>
                </a:lnTo>
                <a:lnTo>
                  <a:pt x="7712" y="5524"/>
                </a:lnTo>
                <a:lnTo>
                  <a:pt x="7708" y="5512"/>
                </a:lnTo>
                <a:lnTo>
                  <a:pt x="7708" y="5502"/>
                </a:lnTo>
                <a:lnTo>
                  <a:pt x="7704" y="5488"/>
                </a:lnTo>
                <a:lnTo>
                  <a:pt x="7696" y="5466"/>
                </a:lnTo>
                <a:lnTo>
                  <a:pt x="7692" y="5454"/>
                </a:lnTo>
                <a:lnTo>
                  <a:pt x="7692" y="5446"/>
                </a:lnTo>
                <a:lnTo>
                  <a:pt x="7692" y="5440"/>
                </a:lnTo>
                <a:lnTo>
                  <a:pt x="7694" y="5436"/>
                </a:lnTo>
                <a:lnTo>
                  <a:pt x="7698" y="5432"/>
                </a:lnTo>
                <a:lnTo>
                  <a:pt x="7700" y="5428"/>
                </a:lnTo>
                <a:lnTo>
                  <a:pt x="7700" y="5422"/>
                </a:lnTo>
                <a:lnTo>
                  <a:pt x="7696" y="5414"/>
                </a:lnTo>
                <a:lnTo>
                  <a:pt x="7694" y="5402"/>
                </a:lnTo>
                <a:lnTo>
                  <a:pt x="7692" y="5396"/>
                </a:lnTo>
                <a:lnTo>
                  <a:pt x="7694" y="5390"/>
                </a:lnTo>
                <a:lnTo>
                  <a:pt x="7696" y="5388"/>
                </a:lnTo>
                <a:lnTo>
                  <a:pt x="7700" y="5386"/>
                </a:lnTo>
                <a:lnTo>
                  <a:pt x="7700" y="5384"/>
                </a:lnTo>
                <a:lnTo>
                  <a:pt x="7700" y="5380"/>
                </a:lnTo>
                <a:lnTo>
                  <a:pt x="7698" y="5374"/>
                </a:lnTo>
                <a:lnTo>
                  <a:pt x="7686" y="5360"/>
                </a:lnTo>
                <a:lnTo>
                  <a:pt x="7676" y="5348"/>
                </a:lnTo>
                <a:lnTo>
                  <a:pt x="7672" y="5340"/>
                </a:lnTo>
                <a:lnTo>
                  <a:pt x="7670" y="5330"/>
                </a:lnTo>
                <a:lnTo>
                  <a:pt x="7672" y="5318"/>
                </a:lnTo>
                <a:lnTo>
                  <a:pt x="7676" y="5304"/>
                </a:lnTo>
                <a:lnTo>
                  <a:pt x="7680" y="5294"/>
                </a:lnTo>
                <a:lnTo>
                  <a:pt x="7682" y="5286"/>
                </a:lnTo>
                <a:lnTo>
                  <a:pt x="7686" y="5278"/>
                </a:lnTo>
                <a:lnTo>
                  <a:pt x="7692" y="5264"/>
                </a:lnTo>
                <a:lnTo>
                  <a:pt x="7708" y="5240"/>
                </a:lnTo>
                <a:lnTo>
                  <a:pt x="7712" y="5228"/>
                </a:lnTo>
                <a:lnTo>
                  <a:pt x="7714" y="5214"/>
                </a:lnTo>
                <a:lnTo>
                  <a:pt x="7716" y="5208"/>
                </a:lnTo>
                <a:lnTo>
                  <a:pt x="7718" y="5204"/>
                </a:lnTo>
                <a:lnTo>
                  <a:pt x="7724" y="5202"/>
                </a:lnTo>
                <a:lnTo>
                  <a:pt x="7726" y="5200"/>
                </a:lnTo>
                <a:lnTo>
                  <a:pt x="7728" y="5198"/>
                </a:lnTo>
                <a:lnTo>
                  <a:pt x="7728" y="5192"/>
                </a:lnTo>
                <a:lnTo>
                  <a:pt x="7728" y="5182"/>
                </a:lnTo>
                <a:lnTo>
                  <a:pt x="7728" y="5170"/>
                </a:lnTo>
                <a:lnTo>
                  <a:pt x="7732" y="5164"/>
                </a:lnTo>
                <a:lnTo>
                  <a:pt x="7736" y="5160"/>
                </a:lnTo>
                <a:lnTo>
                  <a:pt x="7744" y="5158"/>
                </a:lnTo>
                <a:lnTo>
                  <a:pt x="7754" y="5154"/>
                </a:lnTo>
                <a:lnTo>
                  <a:pt x="7758" y="5150"/>
                </a:lnTo>
                <a:lnTo>
                  <a:pt x="7758" y="5144"/>
                </a:lnTo>
                <a:lnTo>
                  <a:pt x="7756" y="5136"/>
                </a:lnTo>
                <a:lnTo>
                  <a:pt x="7760" y="5136"/>
                </a:lnTo>
                <a:lnTo>
                  <a:pt x="7764" y="5134"/>
                </a:lnTo>
                <a:lnTo>
                  <a:pt x="7770" y="5132"/>
                </a:lnTo>
                <a:lnTo>
                  <a:pt x="7776" y="5126"/>
                </a:lnTo>
                <a:lnTo>
                  <a:pt x="7786" y="5116"/>
                </a:lnTo>
                <a:lnTo>
                  <a:pt x="7792" y="5106"/>
                </a:lnTo>
                <a:lnTo>
                  <a:pt x="7796" y="5098"/>
                </a:lnTo>
                <a:lnTo>
                  <a:pt x="7798" y="5088"/>
                </a:lnTo>
                <a:lnTo>
                  <a:pt x="7800" y="5082"/>
                </a:lnTo>
                <a:lnTo>
                  <a:pt x="7804" y="5074"/>
                </a:lnTo>
                <a:lnTo>
                  <a:pt x="7814" y="5062"/>
                </a:lnTo>
                <a:lnTo>
                  <a:pt x="7826" y="5046"/>
                </a:lnTo>
                <a:lnTo>
                  <a:pt x="7854" y="5016"/>
                </a:lnTo>
                <a:lnTo>
                  <a:pt x="7874" y="4990"/>
                </a:lnTo>
                <a:lnTo>
                  <a:pt x="7898" y="4966"/>
                </a:lnTo>
                <a:lnTo>
                  <a:pt x="7936" y="4934"/>
                </a:lnTo>
                <a:lnTo>
                  <a:pt x="7960" y="4914"/>
                </a:lnTo>
                <a:lnTo>
                  <a:pt x="7984" y="4892"/>
                </a:lnTo>
                <a:lnTo>
                  <a:pt x="8008" y="4864"/>
                </a:lnTo>
                <a:lnTo>
                  <a:pt x="8030" y="4834"/>
                </a:lnTo>
                <a:lnTo>
                  <a:pt x="8050" y="4802"/>
                </a:lnTo>
                <a:lnTo>
                  <a:pt x="8070" y="4766"/>
                </a:lnTo>
                <a:lnTo>
                  <a:pt x="8090" y="4726"/>
                </a:lnTo>
                <a:lnTo>
                  <a:pt x="8108" y="4682"/>
                </a:lnTo>
                <a:lnTo>
                  <a:pt x="8116" y="4658"/>
                </a:lnTo>
                <a:lnTo>
                  <a:pt x="8126" y="4638"/>
                </a:lnTo>
                <a:lnTo>
                  <a:pt x="8142" y="4606"/>
                </a:lnTo>
                <a:lnTo>
                  <a:pt x="8154" y="4582"/>
                </a:lnTo>
                <a:lnTo>
                  <a:pt x="8158" y="4570"/>
                </a:lnTo>
                <a:lnTo>
                  <a:pt x="8160" y="4558"/>
                </a:lnTo>
                <a:lnTo>
                  <a:pt x="8162" y="4542"/>
                </a:lnTo>
                <a:lnTo>
                  <a:pt x="8166" y="4534"/>
                </a:lnTo>
                <a:lnTo>
                  <a:pt x="8172" y="4530"/>
                </a:lnTo>
                <a:lnTo>
                  <a:pt x="8176" y="4530"/>
                </a:lnTo>
                <a:lnTo>
                  <a:pt x="8180" y="4532"/>
                </a:lnTo>
                <a:lnTo>
                  <a:pt x="8182" y="4532"/>
                </a:lnTo>
                <a:lnTo>
                  <a:pt x="8174" y="4518"/>
                </a:lnTo>
                <a:lnTo>
                  <a:pt x="8168" y="4508"/>
                </a:lnTo>
                <a:lnTo>
                  <a:pt x="8168" y="4496"/>
                </a:lnTo>
                <a:lnTo>
                  <a:pt x="8168" y="4486"/>
                </a:lnTo>
                <a:lnTo>
                  <a:pt x="8172" y="4478"/>
                </a:lnTo>
                <a:lnTo>
                  <a:pt x="8174" y="4470"/>
                </a:lnTo>
                <a:lnTo>
                  <a:pt x="8174" y="4464"/>
                </a:lnTo>
                <a:lnTo>
                  <a:pt x="8172" y="4460"/>
                </a:lnTo>
                <a:lnTo>
                  <a:pt x="8166" y="4456"/>
                </a:lnTo>
                <a:lnTo>
                  <a:pt x="8158" y="4454"/>
                </a:lnTo>
                <a:lnTo>
                  <a:pt x="8150" y="4458"/>
                </a:lnTo>
                <a:lnTo>
                  <a:pt x="8134" y="4468"/>
                </a:lnTo>
                <a:lnTo>
                  <a:pt x="8124" y="4474"/>
                </a:lnTo>
                <a:lnTo>
                  <a:pt x="8112" y="4480"/>
                </a:lnTo>
                <a:lnTo>
                  <a:pt x="8098" y="4484"/>
                </a:lnTo>
                <a:lnTo>
                  <a:pt x="8080" y="4486"/>
                </a:lnTo>
                <a:lnTo>
                  <a:pt x="8064" y="4486"/>
                </a:lnTo>
                <a:lnTo>
                  <a:pt x="8056" y="4488"/>
                </a:lnTo>
                <a:lnTo>
                  <a:pt x="8052" y="4490"/>
                </a:lnTo>
                <a:lnTo>
                  <a:pt x="8050" y="4492"/>
                </a:lnTo>
                <a:lnTo>
                  <a:pt x="8050" y="4494"/>
                </a:lnTo>
                <a:lnTo>
                  <a:pt x="8048" y="4496"/>
                </a:lnTo>
                <a:lnTo>
                  <a:pt x="8044" y="4496"/>
                </a:lnTo>
                <a:lnTo>
                  <a:pt x="8034" y="4496"/>
                </a:lnTo>
                <a:lnTo>
                  <a:pt x="8022" y="4496"/>
                </a:lnTo>
                <a:lnTo>
                  <a:pt x="8014" y="4498"/>
                </a:lnTo>
                <a:lnTo>
                  <a:pt x="8006" y="4502"/>
                </a:lnTo>
                <a:lnTo>
                  <a:pt x="8000" y="4508"/>
                </a:lnTo>
                <a:lnTo>
                  <a:pt x="7994" y="4512"/>
                </a:lnTo>
                <a:lnTo>
                  <a:pt x="7988" y="4516"/>
                </a:lnTo>
                <a:lnTo>
                  <a:pt x="7980" y="4516"/>
                </a:lnTo>
                <a:lnTo>
                  <a:pt x="7968" y="4514"/>
                </a:lnTo>
                <a:lnTo>
                  <a:pt x="7956" y="4510"/>
                </a:lnTo>
                <a:lnTo>
                  <a:pt x="7948" y="4512"/>
                </a:lnTo>
                <a:lnTo>
                  <a:pt x="7940" y="4516"/>
                </a:lnTo>
                <a:lnTo>
                  <a:pt x="7932" y="4522"/>
                </a:lnTo>
                <a:lnTo>
                  <a:pt x="7924" y="4526"/>
                </a:lnTo>
                <a:lnTo>
                  <a:pt x="7918" y="4530"/>
                </a:lnTo>
                <a:lnTo>
                  <a:pt x="7908" y="4532"/>
                </a:lnTo>
                <a:lnTo>
                  <a:pt x="7898" y="4530"/>
                </a:lnTo>
                <a:lnTo>
                  <a:pt x="7888" y="4524"/>
                </a:lnTo>
                <a:lnTo>
                  <a:pt x="7880" y="4518"/>
                </a:lnTo>
                <a:lnTo>
                  <a:pt x="7874" y="4512"/>
                </a:lnTo>
                <a:lnTo>
                  <a:pt x="7870" y="4504"/>
                </a:lnTo>
                <a:lnTo>
                  <a:pt x="7862" y="4490"/>
                </a:lnTo>
                <a:lnTo>
                  <a:pt x="7858" y="4484"/>
                </a:lnTo>
                <a:lnTo>
                  <a:pt x="7852" y="4476"/>
                </a:lnTo>
                <a:lnTo>
                  <a:pt x="7848" y="4472"/>
                </a:lnTo>
                <a:lnTo>
                  <a:pt x="7842" y="4472"/>
                </a:lnTo>
                <a:lnTo>
                  <a:pt x="7832" y="4472"/>
                </a:lnTo>
                <a:lnTo>
                  <a:pt x="7830" y="4472"/>
                </a:lnTo>
                <a:lnTo>
                  <a:pt x="7832" y="4470"/>
                </a:lnTo>
                <a:lnTo>
                  <a:pt x="7848" y="4458"/>
                </a:lnTo>
                <a:lnTo>
                  <a:pt x="7854" y="4454"/>
                </a:lnTo>
                <a:lnTo>
                  <a:pt x="7856" y="4448"/>
                </a:lnTo>
                <a:lnTo>
                  <a:pt x="7858" y="4444"/>
                </a:lnTo>
                <a:lnTo>
                  <a:pt x="7856" y="4438"/>
                </a:lnTo>
                <a:lnTo>
                  <a:pt x="7852" y="4428"/>
                </a:lnTo>
                <a:lnTo>
                  <a:pt x="7846" y="4414"/>
                </a:lnTo>
                <a:lnTo>
                  <a:pt x="7842" y="4412"/>
                </a:lnTo>
                <a:lnTo>
                  <a:pt x="7836" y="4410"/>
                </a:lnTo>
                <a:lnTo>
                  <a:pt x="7832" y="4408"/>
                </a:lnTo>
                <a:lnTo>
                  <a:pt x="7826" y="4400"/>
                </a:lnTo>
                <a:lnTo>
                  <a:pt x="7824" y="4394"/>
                </a:lnTo>
                <a:lnTo>
                  <a:pt x="7822" y="4392"/>
                </a:lnTo>
                <a:lnTo>
                  <a:pt x="7818" y="4388"/>
                </a:lnTo>
                <a:lnTo>
                  <a:pt x="7814" y="4380"/>
                </a:lnTo>
                <a:lnTo>
                  <a:pt x="7808" y="4370"/>
                </a:lnTo>
                <a:lnTo>
                  <a:pt x="7808" y="4368"/>
                </a:lnTo>
                <a:lnTo>
                  <a:pt x="7808" y="4370"/>
                </a:lnTo>
                <a:lnTo>
                  <a:pt x="7806" y="4370"/>
                </a:lnTo>
                <a:lnTo>
                  <a:pt x="7802" y="4364"/>
                </a:lnTo>
                <a:lnTo>
                  <a:pt x="7798" y="4360"/>
                </a:lnTo>
                <a:lnTo>
                  <a:pt x="7796" y="4358"/>
                </a:lnTo>
                <a:lnTo>
                  <a:pt x="7792" y="4358"/>
                </a:lnTo>
                <a:lnTo>
                  <a:pt x="7790" y="4356"/>
                </a:lnTo>
                <a:lnTo>
                  <a:pt x="7786" y="4354"/>
                </a:lnTo>
                <a:lnTo>
                  <a:pt x="7782" y="4348"/>
                </a:lnTo>
                <a:lnTo>
                  <a:pt x="7776" y="4336"/>
                </a:lnTo>
                <a:lnTo>
                  <a:pt x="7770" y="4326"/>
                </a:lnTo>
                <a:lnTo>
                  <a:pt x="7766" y="4320"/>
                </a:lnTo>
                <a:lnTo>
                  <a:pt x="7762" y="4320"/>
                </a:lnTo>
                <a:lnTo>
                  <a:pt x="7760" y="4320"/>
                </a:lnTo>
                <a:lnTo>
                  <a:pt x="7758" y="4320"/>
                </a:lnTo>
                <a:lnTo>
                  <a:pt x="7756" y="4320"/>
                </a:lnTo>
                <a:lnTo>
                  <a:pt x="7752" y="4318"/>
                </a:lnTo>
                <a:lnTo>
                  <a:pt x="7748" y="4312"/>
                </a:lnTo>
                <a:lnTo>
                  <a:pt x="7744" y="4306"/>
                </a:lnTo>
                <a:lnTo>
                  <a:pt x="7742" y="4304"/>
                </a:lnTo>
                <a:lnTo>
                  <a:pt x="7740" y="4306"/>
                </a:lnTo>
                <a:lnTo>
                  <a:pt x="7736" y="4308"/>
                </a:lnTo>
                <a:lnTo>
                  <a:pt x="7734" y="4308"/>
                </a:lnTo>
                <a:lnTo>
                  <a:pt x="7732" y="4306"/>
                </a:lnTo>
                <a:lnTo>
                  <a:pt x="7726" y="4300"/>
                </a:lnTo>
                <a:lnTo>
                  <a:pt x="7720" y="4288"/>
                </a:lnTo>
                <a:lnTo>
                  <a:pt x="7716" y="4280"/>
                </a:lnTo>
                <a:lnTo>
                  <a:pt x="7714" y="4276"/>
                </a:lnTo>
                <a:lnTo>
                  <a:pt x="7714" y="4278"/>
                </a:lnTo>
                <a:lnTo>
                  <a:pt x="7712" y="4284"/>
                </a:lnTo>
                <a:lnTo>
                  <a:pt x="7714" y="4296"/>
                </a:lnTo>
                <a:lnTo>
                  <a:pt x="7712" y="4300"/>
                </a:lnTo>
                <a:lnTo>
                  <a:pt x="7710" y="4300"/>
                </a:lnTo>
                <a:lnTo>
                  <a:pt x="7708" y="4298"/>
                </a:lnTo>
                <a:lnTo>
                  <a:pt x="7706" y="4292"/>
                </a:lnTo>
                <a:lnTo>
                  <a:pt x="7702" y="4282"/>
                </a:lnTo>
                <a:lnTo>
                  <a:pt x="7696" y="4266"/>
                </a:lnTo>
                <a:lnTo>
                  <a:pt x="7692" y="4254"/>
                </a:lnTo>
                <a:lnTo>
                  <a:pt x="7688" y="4242"/>
                </a:lnTo>
                <a:lnTo>
                  <a:pt x="7684" y="4212"/>
                </a:lnTo>
                <a:lnTo>
                  <a:pt x="7680" y="4196"/>
                </a:lnTo>
                <a:lnTo>
                  <a:pt x="7676" y="4182"/>
                </a:lnTo>
                <a:lnTo>
                  <a:pt x="7672" y="4166"/>
                </a:lnTo>
                <a:lnTo>
                  <a:pt x="7664" y="4154"/>
                </a:lnTo>
                <a:lnTo>
                  <a:pt x="7656" y="4142"/>
                </a:lnTo>
                <a:lnTo>
                  <a:pt x="7652" y="4140"/>
                </a:lnTo>
                <a:lnTo>
                  <a:pt x="7648" y="4142"/>
                </a:lnTo>
                <a:lnTo>
                  <a:pt x="7646" y="4142"/>
                </a:lnTo>
                <a:lnTo>
                  <a:pt x="7644" y="4140"/>
                </a:lnTo>
                <a:lnTo>
                  <a:pt x="7640" y="4132"/>
                </a:lnTo>
                <a:lnTo>
                  <a:pt x="7634" y="4124"/>
                </a:lnTo>
                <a:lnTo>
                  <a:pt x="7630" y="4120"/>
                </a:lnTo>
                <a:lnTo>
                  <a:pt x="7626" y="4120"/>
                </a:lnTo>
                <a:lnTo>
                  <a:pt x="7624" y="4120"/>
                </a:lnTo>
                <a:lnTo>
                  <a:pt x="7622" y="4118"/>
                </a:lnTo>
                <a:lnTo>
                  <a:pt x="7618" y="4110"/>
                </a:lnTo>
                <a:lnTo>
                  <a:pt x="7614" y="4098"/>
                </a:lnTo>
                <a:lnTo>
                  <a:pt x="7610" y="4084"/>
                </a:lnTo>
                <a:lnTo>
                  <a:pt x="7606" y="4056"/>
                </a:lnTo>
                <a:lnTo>
                  <a:pt x="7606" y="4046"/>
                </a:lnTo>
                <a:lnTo>
                  <a:pt x="7606" y="4040"/>
                </a:lnTo>
                <a:lnTo>
                  <a:pt x="7608" y="4032"/>
                </a:lnTo>
                <a:lnTo>
                  <a:pt x="7608" y="4024"/>
                </a:lnTo>
                <a:lnTo>
                  <a:pt x="7606" y="4014"/>
                </a:lnTo>
                <a:lnTo>
                  <a:pt x="7602" y="4006"/>
                </a:lnTo>
                <a:lnTo>
                  <a:pt x="7604" y="4004"/>
                </a:lnTo>
                <a:lnTo>
                  <a:pt x="7608" y="4004"/>
                </a:lnTo>
                <a:lnTo>
                  <a:pt x="7612" y="4006"/>
                </a:lnTo>
                <a:lnTo>
                  <a:pt x="7614" y="4004"/>
                </a:lnTo>
                <a:lnTo>
                  <a:pt x="7610" y="3996"/>
                </a:lnTo>
                <a:lnTo>
                  <a:pt x="7602" y="3982"/>
                </a:lnTo>
                <a:lnTo>
                  <a:pt x="7598" y="3970"/>
                </a:lnTo>
                <a:lnTo>
                  <a:pt x="7596" y="3958"/>
                </a:lnTo>
                <a:lnTo>
                  <a:pt x="7594" y="3950"/>
                </a:lnTo>
                <a:lnTo>
                  <a:pt x="7592" y="3944"/>
                </a:lnTo>
                <a:lnTo>
                  <a:pt x="7588" y="3942"/>
                </a:lnTo>
                <a:lnTo>
                  <a:pt x="7582" y="3940"/>
                </a:lnTo>
                <a:lnTo>
                  <a:pt x="7578" y="3938"/>
                </a:lnTo>
                <a:lnTo>
                  <a:pt x="7574" y="3936"/>
                </a:lnTo>
                <a:lnTo>
                  <a:pt x="7572" y="3928"/>
                </a:lnTo>
                <a:lnTo>
                  <a:pt x="7568" y="3922"/>
                </a:lnTo>
                <a:lnTo>
                  <a:pt x="7564" y="3920"/>
                </a:lnTo>
                <a:lnTo>
                  <a:pt x="7558" y="3918"/>
                </a:lnTo>
                <a:lnTo>
                  <a:pt x="7554" y="3918"/>
                </a:lnTo>
                <a:lnTo>
                  <a:pt x="7550" y="3914"/>
                </a:lnTo>
                <a:lnTo>
                  <a:pt x="7544" y="3902"/>
                </a:lnTo>
                <a:lnTo>
                  <a:pt x="7538" y="3908"/>
                </a:lnTo>
                <a:lnTo>
                  <a:pt x="7544" y="3902"/>
                </a:lnTo>
                <a:lnTo>
                  <a:pt x="7538" y="3886"/>
                </a:lnTo>
                <a:lnTo>
                  <a:pt x="7536" y="3872"/>
                </a:lnTo>
                <a:lnTo>
                  <a:pt x="7536" y="3866"/>
                </a:lnTo>
                <a:lnTo>
                  <a:pt x="7538" y="3860"/>
                </a:lnTo>
                <a:lnTo>
                  <a:pt x="7542" y="3858"/>
                </a:lnTo>
                <a:lnTo>
                  <a:pt x="7546" y="3856"/>
                </a:lnTo>
                <a:lnTo>
                  <a:pt x="7550" y="3856"/>
                </a:lnTo>
                <a:lnTo>
                  <a:pt x="7542" y="3852"/>
                </a:lnTo>
                <a:lnTo>
                  <a:pt x="7538" y="3848"/>
                </a:lnTo>
                <a:lnTo>
                  <a:pt x="7532" y="3840"/>
                </a:lnTo>
                <a:lnTo>
                  <a:pt x="7526" y="3830"/>
                </a:lnTo>
                <a:lnTo>
                  <a:pt x="7520" y="3818"/>
                </a:lnTo>
                <a:lnTo>
                  <a:pt x="7512" y="3798"/>
                </a:lnTo>
                <a:lnTo>
                  <a:pt x="7504" y="3780"/>
                </a:lnTo>
                <a:lnTo>
                  <a:pt x="7488" y="3750"/>
                </a:lnTo>
                <a:lnTo>
                  <a:pt x="7476" y="3728"/>
                </a:lnTo>
                <a:lnTo>
                  <a:pt x="7474" y="3718"/>
                </a:lnTo>
                <a:lnTo>
                  <a:pt x="7474" y="3710"/>
                </a:lnTo>
                <a:lnTo>
                  <a:pt x="7476" y="3704"/>
                </a:lnTo>
                <a:lnTo>
                  <a:pt x="7474" y="3700"/>
                </a:lnTo>
                <a:lnTo>
                  <a:pt x="7470" y="3690"/>
                </a:lnTo>
                <a:lnTo>
                  <a:pt x="7464" y="3680"/>
                </a:lnTo>
                <a:lnTo>
                  <a:pt x="7462" y="3674"/>
                </a:lnTo>
                <a:lnTo>
                  <a:pt x="7460" y="3668"/>
                </a:lnTo>
                <a:lnTo>
                  <a:pt x="7460" y="3658"/>
                </a:lnTo>
                <a:lnTo>
                  <a:pt x="7454" y="3648"/>
                </a:lnTo>
                <a:lnTo>
                  <a:pt x="7440" y="3628"/>
                </a:lnTo>
                <a:lnTo>
                  <a:pt x="7426" y="3608"/>
                </a:lnTo>
                <a:lnTo>
                  <a:pt x="7422" y="3598"/>
                </a:lnTo>
                <a:lnTo>
                  <a:pt x="7420" y="3588"/>
                </a:lnTo>
                <a:lnTo>
                  <a:pt x="7420" y="3582"/>
                </a:lnTo>
                <a:lnTo>
                  <a:pt x="7418" y="3576"/>
                </a:lnTo>
                <a:lnTo>
                  <a:pt x="7414" y="3570"/>
                </a:lnTo>
                <a:lnTo>
                  <a:pt x="7412" y="3568"/>
                </a:lnTo>
                <a:lnTo>
                  <a:pt x="7412" y="3562"/>
                </a:lnTo>
                <a:lnTo>
                  <a:pt x="7414" y="3556"/>
                </a:lnTo>
                <a:lnTo>
                  <a:pt x="7420" y="3546"/>
                </a:lnTo>
                <a:lnTo>
                  <a:pt x="7422" y="3550"/>
                </a:lnTo>
                <a:lnTo>
                  <a:pt x="7424" y="3552"/>
                </a:lnTo>
                <a:lnTo>
                  <a:pt x="7424" y="3560"/>
                </a:lnTo>
                <a:lnTo>
                  <a:pt x="7426" y="3570"/>
                </a:lnTo>
                <a:lnTo>
                  <a:pt x="7428" y="3576"/>
                </a:lnTo>
                <a:lnTo>
                  <a:pt x="7434" y="3584"/>
                </a:lnTo>
                <a:lnTo>
                  <a:pt x="7438" y="3590"/>
                </a:lnTo>
                <a:lnTo>
                  <a:pt x="7442" y="3594"/>
                </a:lnTo>
                <a:lnTo>
                  <a:pt x="7444" y="3606"/>
                </a:lnTo>
                <a:lnTo>
                  <a:pt x="7446" y="3618"/>
                </a:lnTo>
                <a:lnTo>
                  <a:pt x="7450" y="3622"/>
                </a:lnTo>
                <a:lnTo>
                  <a:pt x="7454" y="3628"/>
                </a:lnTo>
                <a:lnTo>
                  <a:pt x="7468" y="3644"/>
                </a:lnTo>
                <a:lnTo>
                  <a:pt x="7478" y="3658"/>
                </a:lnTo>
                <a:lnTo>
                  <a:pt x="7480" y="3660"/>
                </a:lnTo>
                <a:lnTo>
                  <a:pt x="7484" y="3662"/>
                </a:lnTo>
                <a:lnTo>
                  <a:pt x="7486" y="3662"/>
                </a:lnTo>
                <a:lnTo>
                  <a:pt x="7490" y="3658"/>
                </a:lnTo>
                <a:lnTo>
                  <a:pt x="7494" y="3644"/>
                </a:lnTo>
                <a:lnTo>
                  <a:pt x="7496" y="3632"/>
                </a:lnTo>
                <a:lnTo>
                  <a:pt x="7502" y="3610"/>
                </a:lnTo>
                <a:lnTo>
                  <a:pt x="7514" y="3572"/>
                </a:lnTo>
                <a:lnTo>
                  <a:pt x="7516" y="3568"/>
                </a:lnTo>
                <a:lnTo>
                  <a:pt x="7516" y="3572"/>
                </a:lnTo>
                <a:lnTo>
                  <a:pt x="7516" y="3578"/>
                </a:lnTo>
                <a:lnTo>
                  <a:pt x="7510" y="3602"/>
                </a:lnTo>
                <a:lnTo>
                  <a:pt x="7510" y="3614"/>
                </a:lnTo>
                <a:lnTo>
                  <a:pt x="7510" y="3620"/>
                </a:lnTo>
                <a:lnTo>
                  <a:pt x="7508" y="3630"/>
                </a:lnTo>
                <a:lnTo>
                  <a:pt x="7502" y="3644"/>
                </a:lnTo>
                <a:lnTo>
                  <a:pt x="7502" y="3646"/>
                </a:lnTo>
                <a:lnTo>
                  <a:pt x="7508" y="3644"/>
                </a:lnTo>
                <a:lnTo>
                  <a:pt x="7512" y="3644"/>
                </a:lnTo>
                <a:lnTo>
                  <a:pt x="7518" y="3644"/>
                </a:lnTo>
                <a:lnTo>
                  <a:pt x="7522" y="3646"/>
                </a:lnTo>
                <a:lnTo>
                  <a:pt x="7526" y="3648"/>
                </a:lnTo>
                <a:lnTo>
                  <a:pt x="7532" y="3658"/>
                </a:lnTo>
                <a:lnTo>
                  <a:pt x="7548" y="3688"/>
                </a:lnTo>
                <a:lnTo>
                  <a:pt x="7564" y="3722"/>
                </a:lnTo>
                <a:lnTo>
                  <a:pt x="7572" y="3736"/>
                </a:lnTo>
                <a:lnTo>
                  <a:pt x="7580" y="3746"/>
                </a:lnTo>
                <a:lnTo>
                  <a:pt x="7584" y="3752"/>
                </a:lnTo>
                <a:lnTo>
                  <a:pt x="7586" y="3756"/>
                </a:lnTo>
                <a:lnTo>
                  <a:pt x="7586" y="3762"/>
                </a:lnTo>
                <a:lnTo>
                  <a:pt x="7592" y="3768"/>
                </a:lnTo>
                <a:lnTo>
                  <a:pt x="7600" y="3776"/>
                </a:lnTo>
                <a:lnTo>
                  <a:pt x="7608" y="3788"/>
                </a:lnTo>
                <a:lnTo>
                  <a:pt x="7610" y="3798"/>
                </a:lnTo>
                <a:lnTo>
                  <a:pt x="7610" y="3804"/>
                </a:lnTo>
                <a:lnTo>
                  <a:pt x="7608" y="3808"/>
                </a:lnTo>
                <a:lnTo>
                  <a:pt x="7608" y="3814"/>
                </a:lnTo>
                <a:lnTo>
                  <a:pt x="7608" y="3818"/>
                </a:lnTo>
                <a:lnTo>
                  <a:pt x="7610" y="3824"/>
                </a:lnTo>
                <a:lnTo>
                  <a:pt x="7612" y="3830"/>
                </a:lnTo>
                <a:lnTo>
                  <a:pt x="7622" y="3840"/>
                </a:lnTo>
                <a:lnTo>
                  <a:pt x="7628" y="3844"/>
                </a:lnTo>
                <a:lnTo>
                  <a:pt x="7636" y="3846"/>
                </a:lnTo>
                <a:lnTo>
                  <a:pt x="7642" y="3850"/>
                </a:lnTo>
                <a:lnTo>
                  <a:pt x="7648" y="3856"/>
                </a:lnTo>
                <a:lnTo>
                  <a:pt x="7656" y="3866"/>
                </a:lnTo>
                <a:lnTo>
                  <a:pt x="7662" y="3878"/>
                </a:lnTo>
                <a:lnTo>
                  <a:pt x="7672" y="3904"/>
                </a:lnTo>
                <a:lnTo>
                  <a:pt x="7680" y="3928"/>
                </a:lnTo>
                <a:lnTo>
                  <a:pt x="7684" y="3938"/>
                </a:lnTo>
                <a:lnTo>
                  <a:pt x="7684" y="3944"/>
                </a:lnTo>
                <a:lnTo>
                  <a:pt x="7682" y="3948"/>
                </a:lnTo>
                <a:lnTo>
                  <a:pt x="7680" y="3952"/>
                </a:lnTo>
                <a:lnTo>
                  <a:pt x="7678" y="3956"/>
                </a:lnTo>
                <a:lnTo>
                  <a:pt x="7678" y="3960"/>
                </a:lnTo>
                <a:lnTo>
                  <a:pt x="7678" y="3966"/>
                </a:lnTo>
                <a:lnTo>
                  <a:pt x="7680" y="3972"/>
                </a:lnTo>
                <a:lnTo>
                  <a:pt x="7684" y="3980"/>
                </a:lnTo>
                <a:lnTo>
                  <a:pt x="7684" y="3984"/>
                </a:lnTo>
                <a:lnTo>
                  <a:pt x="7684" y="3988"/>
                </a:lnTo>
                <a:lnTo>
                  <a:pt x="7682" y="3990"/>
                </a:lnTo>
                <a:lnTo>
                  <a:pt x="7680" y="3992"/>
                </a:lnTo>
                <a:lnTo>
                  <a:pt x="7680" y="3994"/>
                </a:lnTo>
                <a:lnTo>
                  <a:pt x="7688" y="4006"/>
                </a:lnTo>
                <a:lnTo>
                  <a:pt x="7698" y="4022"/>
                </a:lnTo>
                <a:lnTo>
                  <a:pt x="7704" y="4032"/>
                </a:lnTo>
                <a:lnTo>
                  <a:pt x="7710" y="4040"/>
                </a:lnTo>
                <a:lnTo>
                  <a:pt x="7720" y="4044"/>
                </a:lnTo>
                <a:lnTo>
                  <a:pt x="7726" y="4046"/>
                </a:lnTo>
                <a:lnTo>
                  <a:pt x="7732" y="4050"/>
                </a:lnTo>
                <a:lnTo>
                  <a:pt x="7742" y="4062"/>
                </a:lnTo>
                <a:lnTo>
                  <a:pt x="7750" y="4074"/>
                </a:lnTo>
                <a:lnTo>
                  <a:pt x="7756" y="4088"/>
                </a:lnTo>
                <a:lnTo>
                  <a:pt x="7762" y="4096"/>
                </a:lnTo>
                <a:lnTo>
                  <a:pt x="7766" y="4100"/>
                </a:lnTo>
                <a:lnTo>
                  <a:pt x="7768" y="4104"/>
                </a:lnTo>
                <a:lnTo>
                  <a:pt x="7768" y="4112"/>
                </a:lnTo>
                <a:lnTo>
                  <a:pt x="7770" y="4122"/>
                </a:lnTo>
                <a:lnTo>
                  <a:pt x="7772" y="4128"/>
                </a:lnTo>
                <a:lnTo>
                  <a:pt x="7776" y="4132"/>
                </a:lnTo>
                <a:lnTo>
                  <a:pt x="7778" y="4142"/>
                </a:lnTo>
                <a:lnTo>
                  <a:pt x="7780" y="4148"/>
                </a:lnTo>
                <a:lnTo>
                  <a:pt x="7782" y="4154"/>
                </a:lnTo>
                <a:lnTo>
                  <a:pt x="7792" y="4166"/>
                </a:lnTo>
                <a:lnTo>
                  <a:pt x="7804" y="4180"/>
                </a:lnTo>
                <a:lnTo>
                  <a:pt x="7808" y="4188"/>
                </a:lnTo>
                <a:lnTo>
                  <a:pt x="7812" y="4196"/>
                </a:lnTo>
                <a:lnTo>
                  <a:pt x="7814" y="4202"/>
                </a:lnTo>
                <a:lnTo>
                  <a:pt x="7816" y="4204"/>
                </a:lnTo>
                <a:lnTo>
                  <a:pt x="7820" y="4202"/>
                </a:lnTo>
                <a:lnTo>
                  <a:pt x="7822" y="4204"/>
                </a:lnTo>
                <a:lnTo>
                  <a:pt x="7824" y="4210"/>
                </a:lnTo>
                <a:lnTo>
                  <a:pt x="7828" y="4220"/>
                </a:lnTo>
                <a:lnTo>
                  <a:pt x="7832" y="4236"/>
                </a:lnTo>
                <a:lnTo>
                  <a:pt x="7832" y="4254"/>
                </a:lnTo>
                <a:lnTo>
                  <a:pt x="7830" y="4260"/>
                </a:lnTo>
                <a:lnTo>
                  <a:pt x="7826" y="4268"/>
                </a:lnTo>
                <a:lnTo>
                  <a:pt x="7826" y="4272"/>
                </a:lnTo>
                <a:lnTo>
                  <a:pt x="7826" y="4276"/>
                </a:lnTo>
                <a:lnTo>
                  <a:pt x="7828" y="4282"/>
                </a:lnTo>
                <a:lnTo>
                  <a:pt x="7832" y="4286"/>
                </a:lnTo>
                <a:lnTo>
                  <a:pt x="7830" y="4288"/>
                </a:lnTo>
                <a:lnTo>
                  <a:pt x="7828" y="4290"/>
                </a:lnTo>
                <a:lnTo>
                  <a:pt x="7824" y="4294"/>
                </a:lnTo>
                <a:lnTo>
                  <a:pt x="7826" y="4296"/>
                </a:lnTo>
                <a:lnTo>
                  <a:pt x="7832" y="4300"/>
                </a:lnTo>
                <a:lnTo>
                  <a:pt x="7832" y="4302"/>
                </a:lnTo>
                <a:lnTo>
                  <a:pt x="7834" y="4306"/>
                </a:lnTo>
                <a:lnTo>
                  <a:pt x="7834" y="4312"/>
                </a:lnTo>
                <a:lnTo>
                  <a:pt x="7836" y="4318"/>
                </a:lnTo>
                <a:lnTo>
                  <a:pt x="7840" y="4326"/>
                </a:lnTo>
                <a:lnTo>
                  <a:pt x="7840" y="4336"/>
                </a:lnTo>
                <a:lnTo>
                  <a:pt x="7842" y="4350"/>
                </a:lnTo>
                <a:lnTo>
                  <a:pt x="7846" y="4362"/>
                </a:lnTo>
                <a:lnTo>
                  <a:pt x="7850" y="4370"/>
                </a:lnTo>
                <a:lnTo>
                  <a:pt x="7850" y="4376"/>
                </a:lnTo>
                <a:lnTo>
                  <a:pt x="7850" y="4380"/>
                </a:lnTo>
                <a:lnTo>
                  <a:pt x="7850" y="4388"/>
                </a:lnTo>
                <a:lnTo>
                  <a:pt x="7850" y="4394"/>
                </a:lnTo>
                <a:lnTo>
                  <a:pt x="7854" y="4398"/>
                </a:lnTo>
                <a:lnTo>
                  <a:pt x="7856" y="4410"/>
                </a:lnTo>
                <a:lnTo>
                  <a:pt x="7860" y="4418"/>
                </a:lnTo>
                <a:lnTo>
                  <a:pt x="7862" y="4418"/>
                </a:lnTo>
                <a:lnTo>
                  <a:pt x="7864" y="4418"/>
                </a:lnTo>
                <a:lnTo>
                  <a:pt x="7868" y="4418"/>
                </a:lnTo>
                <a:lnTo>
                  <a:pt x="7872" y="4420"/>
                </a:lnTo>
                <a:lnTo>
                  <a:pt x="7874" y="4422"/>
                </a:lnTo>
                <a:lnTo>
                  <a:pt x="7880" y="4424"/>
                </a:lnTo>
                <a:lnTo>
                  <a:pt x="7884" y="4424"/>
                </a:lnTo>
                <a:lnTo>
                  <a:pt x="7888" y="4422"/>
                </a:lnTo>
                <a:lnTo>
                  <a:pt x="7892" y="4422"/>
                </a:lnTo>
                <a:lnTo>
                  <a:pt x="7896" y="4420"/>
                </a:lnTo>
                <a:lnTo>
                  <a:pt x="7900" y="4418"/>
                </a:lnTo>
                <a:lnTo>
                  <a:pt x="7902" y="4416"/>
                </a:lnTo>
                <a:lnTo>
                  <a:pt x="7910" y="4416"/>
                </a:lnTo>
                <a:lnTo>
                  <a:pt x="7916" y="4416"/>
                </a:lnTo>
                <a:lnTo>
                  <a:pt x="7920" y="4416"/>
                </a:lnTo>
                <a:lnTo>
                  <a:pt x="7922" y="4414"/>
                </a:lnTo>
                <a:lnTo>
                  <a:pt x="7924" y="4412"/>
                </a:lnTo>
                <a:lnTo>
                  <a:pt x="7926" y="4408"/>
                </a:lnTo>
                <a:lnTo>
                  <a:pt x="7928" y="4406"/>
                </a:lnTo>
                <a:lnTo>
                  <a:pt x="7932" y="4404"/>
                </a:lnTo>
                <a:lnTo>
                  <a:pt x="7936" y="4404"/>
                </a:lnTo>
                <a:lnTo>
                  <a:pt x="7938" y="4400"/>
                </a:lnTo>
                <a:lnTo>
                  <a:pt x="7942" y="4392"/>
                </a:lnTo>
                <a:lnTo>
                  <a:pt x="7946" y="4388"/>
                </a:lnTo>
                <a:lnTo>
                  <a:pt x="7950" y="4384"/>
                </a:lnTo>
                <a:lnTo>
                  <a:pt x="7958" y="4382"/>
                </a:lnTo>
                <a:lnTo>
                  <a:pt x="7968" y="4382"/>
                </a:lnTo>
                <a:lnTo>
                  <a:pt x="7984" y="4384"/>
                </a:lnTo>
                <a:lnTo>
                  <a:pt x="7998" y="4380"/>
                </a:lnTo>
                <a:lnTo>
                  <a:pt x="8008" y="4374"/>
                </a:lnTo>
                <a:lnTo>
                  <a:pt x="8018" y="4368"/>
                </a:lnTo>
                <a:lnTo>
                  <a:pt x="8034" y="4356"/>
                </a:lnTo>
                <a:lnTo>
                  <a:pt x="8040" y="4354"/>
                </a:lnTo>
                <a:lnTo>
                  <a:pt x="8048" y="4354"/>
                </a:lnTo>
                <a:lnTo>
                  <a:pt x="8054" y="4356"/>
                </a:lnTo>
                <a:lnTo>
                  <a:pt x="8058" y="4356"/>
                </a:lnTo>
                <a:lnTo>
                  <a:pt x="8066" y="4352"/>
                </a:lnTo>
                <a:lnTo>
                  <a:pt x="8074" y="4346"/>
                </a:lnTo>
                <a:lnTo>
                  <a:pt x="8082" y="4336"/>
                </a:lnTo>
                <a:lnTo>
                  <a:pt x="8090" y="4328"/>
                </a:lnTo>
                <a:lnTo>
                  <a:pt x="8100" y="4320"/>
                </a:lnTo>
                <a:lnTo>
                  <a:pt x="8110" y="4316"/>
                </a:lnTo>
                <a:lnTo>
                  <a:pt x="8116" y="4314"/>
                </a:lnTo>
                <a:lnTo>
                  <a:pt x="8124" y="4314"/>
                </a:lnTo>
                <a:lnTo>
                  <a:pt x="8128" y="4314"/>
                </a:lnTo>
                <a:lnTo>
                  <a:pt x="8130" y="4314"/>
                </a:lnTo>
                <a:lnTo>
                  <a:pt x="8136" y="4310"/>
                </a:lnTo>
                <a:lnTo>
                  <a:pt x="8146" y="4302"/>
                </a:lnTo>
                <a:lnTo>
                  <a:pt x="8154" y="4300"/>
                </a:lnTo>
                <a:lnTo>
                  <a:pt x="8164" y="4296"/>
                </a:lnTo>
                <a:lnTo>
                  <a:pt x="8184" y="4290"/>
                </a:lnTo>
                <a:lnTo>
                  <a:pt x="8192" y="4286"/>
                </a:lnTo>
                <a:lnTo>
                  <a:pt x="8194" y="4282"/>
                </a:lnTo>
                <a:lnTo>
                  <a:pt x="8204" y="4280"/>
                </a:lnTo>
                <a:lnTo>
                  <a:pt x="8210" y="4276"/>
                </a:lnTo>
                <a:lnTo>
                  <a:pt x="8212" y="4272"/>
                </a:lnTo>
                <a:lnTo>
                  <a:pt x="8212" y="4260"/>
                </a:lnTo>
                <a:lnTo>
                  <a:pt x="8212" y="4252"/>
                </a:lnTo>
                <a:lnTo>
                  <a:pt x="8216" y="4244"/>
                </a:lnTo>
                <a:lnTo>
                  <a:pt x="8228" y="4234"/>
                </a:lnTo>
                <a:lnTo>
                  <a:pt x="8246" y="4222"/>
                </a:lnTo>
                <a:lnTo>
                  <a:pt x="8252" y="4220"/>
                </a:lnTo>
                <a:lnTo>
                  <a:pt x="8256" y="4218"/>
                </a:lnTo>
                <a:lnTo>
                  <a:pt x="8264" y="4218"/>
                </a:lnTo>
                <a:lnTo>
                  <a:pt x="8268" y="4218"/>
                </a:lnTo>
                <a:lnTo>
                  <a:pt x="8272" y="4216"/>
                </a:lnTo>
                <a:lnTo>
                  <a:pt x="8280" y="4212"/>
                </a:lnTo>
                <a:lnTo>
                  <a:pt x="8284" y="4208"/>
                </a:lnTo>
                <a:lnTo>
                  <a:pt x="8290" y="4206"/>
                </a:lnTo>
                <a:lnTo>
                  <a:pt x="8298" y="4206"/>
                </a:lnTo>
                <a:lnTo>
                  <a:pt x="8308" y="4206"/>
                </a:lnTo>
                <a:lnTo>
                  <a:pt x="8314" y="4208"/>
                </a:lnTo>
                <a:lnTo>
                  <a:pt x="8320" y="4208"/>
                </a:lnTo>
                <a:lnTo>
                  <a:pt x="8322" y="4206"/>
                </a:lnTo>
                <a:lnTo>
                  <a:pt x="8326" y="4202"/>
                </a:lnTo>
                <a:lnTo>
                  <a:pt x="8330" y="4194"/>
                </a:lnTo>
                <a:lnTo>
                  <a:pt x="8334" y="4186"/>
                </a:lnTo>
                <a:lnTo>
                  <a:pt x="8338" y="4176"/>
                </a:lnTo>
                <a:lnTo>
                  <a:pt x="8342" y="4168"/>
                </a:lnTo>
                <a:lnTo>
                  <a:pt x="8350" y="4160"/>
                </a:lnTo>
                <a:lnTo>
                  <a:pt x="8354" y="4160"/>
                </a:lnTo>
                <a:lnTo>
                  <a:pt x="8360" y="4158"/>
                </a:lnTo>
                <a:lnTo>
                  <a:pt x="8374" y="4158"/>
                </a:lnTo>
                <a:lnTo>
                  <a:pt x="8382" y="4154"/>
                </a:lnTo>
                <a:lnTo>
                  <a:pt x="8386" y="4146"/>
                </a:lnTo>
                <a:lnTo>
                  <a:pt x="8390" y="4138"/>
                </a:lnTo>
                <a:lnTo>
                  <a:pt x="8392" y="4130"/>
                </a:lnTo>
                <a:lnTo>
                  <a:pt x="8396" y="4122"/>
                </a:lnTo>
                <a:lnTo>
                  <a:pt x="8406" y="4116"/>
                </a:lnTo>
                <a:lnTo>
                  <a:pt x="8420" y="4110"/>
                </a:lnTo>
                <a:lnTo>
                  <a:pt x="8430" y="4108"/>
                </a:lnTo>
                <a:lnTo>
                  <a:pt x="8436" y="4104"/>
                </a:lnTo>
                <a:lnTo>
                  <a:pt x="8438" y="4100"/>
                </a:lnTo>
                <a:lnTo>
                  <a:pt x="8438" y="4094"/>
                </a:lnTo>
                <a:lnTo>
                  <a:pt x="8436" y="4086"/>
                </a:lnTo>
                <a:lnTo>
                  <a:pt x="8434" y="4076"/>
                </a:lnTo>
                <a:lnTo>
                  <a:pt x="8434" y="4062"/>
                </a:lnTo>
                <a:lnTo>
                  <a:pt x="8438" y="4046"/>
                </a:lnTo>
                <a:lnTo>
                  <a:pt x="8444" y="4034"/>
                </a:lnTo>
                <a:lnTo>
                  <a:pt x="8448" y="4028"/>
                </a:lnTo>
                <a:lnTo>
                  <a:pt x="8452" y="4028"/>
                </a:lnTo>
                <a:lnTo>
                  <a:pt x="8454" y="4032"/>
                </a:lnTo>
                <a:lnTo>
                  <a:pt x="8458" y="4036"/>
                </a:lnTo>
                <a:lnTo>
                  <a:pt x="8460" y="4036"/>
                </a:lnTo>
                <a:lnTo>
                  <a:pt x="8464" y="4034"/>
                </a:lnTo>
                <a:lnTo>
                  <a:pt x="8470" y="4022"/>
                </a:lnTo>
                <a:lnTo>
                  <a:pt x="8476" y="4010"/>
                </a:lnTo>
                <a:lnTo>
                  <a:pt x="8480" y="4002"/>
                </a:lnTo>
                <a:lnTo>
                  <a:pt x="8490" y="3992"/>
                </a:lnTo>
                <a:lnTo>
                  <a:pt x="8500" y="3982"/>
                </a:lnTo>
                <a:lnTo>
                  <a:pt x="8504" y="3974"/>
                </a:lnTo>
                <a:lnTo>
                  <a:pt x="8510" y="3962"/>
                </a:lnTo>
                <a:lnTo>
                  <a:pt x="8516" y="3946"/>
                </a:lnTo>
                <a:lnTo>
                  <a:pt x="8518" y="3936"/>
                </a:lnTo>
                <a:lnTo>
                  <a:pt x="8518" y="3932"/>
                </a:lnTo>
                <a:lnTo>
                  <a:pt x="8516" y="3930"/>
                </a:lnTo>
                <a:lnTo>
                  <a:pt x="8508" y="3926"/>
                </a:lnTo>
                <a:lnTo>
                  <a:pt x="8502" y="3922"/>
                </a:lnTo>
                <a:lnTo>
                  <a:pt x="8498" y="3916"/>
                </a:lnTo>
                <a:lnTo>
                  <a:pt x="8488" y="3896"/>
                </a:lnTo>
                <a:lnTo>
                  <a:pt x="8482" y="3886"/>
                </a:lnTo>
                <a:lnTo>
                  <a:pt x="8476" y="3880"/>
                </a:lnTo>
                <a:lnTo>
                  <a:pt x="8470" y="3874"/>
                </a:lnTo>
                <a:lnTo>
                  <a:pt x="8468" y="3874"/>
                </a:lnTo>
                <a:lnTo>
                  <a:pt x="8464" y="3874"/>
                </a:lnTo>
                <a:lnTo>
                  <a:pt x="8460" y="3876"/>
                </a:lnTo>
                <a:lnTo>
                  <a:pt x="8458" y="3876"/>
                </a:lnTo>
                <a:lnTo>
                  <a:pt x="8452" y="3872"/>
                </a:lnTo>
                <a:lnTo>
                  <a:pt x="8446" y="3868"/>
                </a:lnTo>
                <a:lnTo>
                  <a:pt x="8440" y="3866"/>
                </a:lnTo>
                <a:lnTo>
                  <a:pt x="8432" y="3864"/>
                </a:lnTo>
                <a:lnTo>
                  <a:pt x="8422" y="3862"/>
                </a:lnTo>
                <a:lnTo>
                  <a:pt x="8412" y="3856"/>
                </a:lnTo>
                <a:lnTo>
                  <a:pt x="8404" y="3850"/>
                </a:lnTo>
                <a:lnTo>
                  <a:pt x="8396" y="3842"/>
                </a:lnTo>
                <a:lnTo>
                  <a:pt x="8390" y="3834"/>
                </a:lnTo>
                <a:lnTo>
                  <a:pt x="8386" y="3824"/>
                </a:lnTo>
                <a:lnTo>
                  <a:pt x="8382" y="3814"/>
                </a:lnTo>
                <a:lnTo>
                  <a:pt x="8378" y="3804"/>
                </a:lnTo>
                <a:lnTo>
                  <a:pt x="8378" y="3780"/>
                </a:lnTo>
                <a:lnTo>
                  <a:pt x="8378" y="3774"/>
                </a:lnTo>
                <a:lnTo>
                  <a:pt x="8376" y="3770"/>
                </a:lnTo>
                <a:lnTo>
                  <a:pt x="8376" y="3766"/>
                </a:lnTo>
                <a:lnTo>
                  <a:pt x="8378" y="3760"/>
                </a:lnTo>
                <a:lnTo>
                  <a:pt x="8382" y="3756"/>
                </a:lnTo>
                <a:lnTo>
                  <a:pt x="8382" y="3752"/>
                </a:lnTo>
                <a:lnTo>
                  <a:pt x="8382" y="3746"/>
                </a:lnTo>
                <a:lnTo>
                  <a:pt x="8384" y="3740"/>
                </a:lnTo>
                <a:lnTo>
                  <a:pt x="8384" y="3734"/>
                </a:lnTo>
                <a:lnTo>
                  <a:pt x="8384" y="3732"/>
                </a:lnTo>
                <a:lnTo>
                  <a:pt x="8380" y="3732"/>
                </a:lnTo>
                <a:lnTo>
                  <a:pt x="8378" y="3732"/>
                </a:lnTo>
                <a:lnTo>
                  <a:pt x="8378" y="3734"/>
                </a:lnTo>
                <a:lnTo>
                  <a:pt x="8378" y="3738"/>
                </a:lnTo>
                <a:lnTo>
                  <a:pt x="8378" y="3742"/>
                </a:lnTo>
                <a:lnTo>
                  <a:pt x="8376" y="3742"/>
                </a:lnTo>
                <a:lnTo>
                  <a:pt x="8372" y="3740"/>
                </a:lnTo>
                <a:lnTo>
                  <a:pt x="8370" y="3740"/>
                </a:lnTo>
                <a:lnTo>
                  <a:pt x="8368" y="3748"/>
                </a:lnTo>
                <a:lnTo>
                  <a:pt x="8364" y="3760"/>
                </a:lnTo>
                <a:lnTo>
                  <a:pt x="8362" y="3762"/>
                </a:lnTo>
                <a:lnTo>
                  <a:pt x="8360" y="3762"/>
                </a:lnTo>
                <a:lnTo>
                  <a:pt x="8358" y="3762"/>
                </a:lnTo>
                <a:lnTo>
                  <a:pt x="8354" y="3770"/>
                </a:lnTo>
                <a:lnTo>
                  <a:pt x="8350" y="3776"/>
                </a:lnTo>
                <a:lnTo>
                  <a:pt x="8344" y="3780"/>
                </a:lnTo>
                <a:lnTo>
                  <a:pt x="8338" y="3784"/>
                </a:lnTo>
                <a:lnTo>
                  <a:pt x="8330" y="3794"/>
                </a:lnTo>
                <a:lnTo>
                  <a:pt x="8322" y="3804"/>
                </a:lnTo>
                <a:lnTo>
                  <a:pt x="8312" y="3814"/>
                </a:lnTo>
                <a:lnTo>
                  <a:pt x="8300" y="3826"/>
                </a:lnTo>
                <a:lnTo>
                  <a:pt x="8300" y="3828"/>
                </a:lnTo>
                <a:lnTo>
                  <a:pt x="8302" y="3830"/>
                </a:lnTo>
                <a:lnTo>
                  <a:pt x="8302" y="3832"/>
                </a:lnTo>
                <a:lnTo>
                  <a:pt x="8298" y="3840"/>
                </a:lnTo>
                <a:lnTo>
                  <a:pt x="8290" y="3848"/>
                </a:lnTo>
                <a:lnTo>
                  <a:pt x="8282" y="3850"/>
                </a:lnTo>
                <a:lnTo>
                  <a:pt x="8272" y="3850"/>
                </a:lnTo>
                <a:lnTo>
                  <a:pt x="8262" y="3850"/>
                </a:lnTo>
                <a:lnTo>
                  <a:pt x="8242" y="3846"/>
                </a:lnTo>
                <a:lnTo>
                  <a:pt x="8232" y="3846"/>
                </a:lnTo>
                <a:lnTo>
                  <a:pt x="8222" y="3848"/>
                </a:lnTo>
                <a:lnTo>
                  <a:pt x="8208" y="3854"/>
                </a:lnTo>
                <a:lnTo>
                  <a:pt x="8200" y="3856"/>
                </a:lnTo>
                <a:lnTo>
                  <a:pt x="8196" y="3854"/>
                </a:lnTo>
                <a:lnTo>
                  <a:pt x="8196" y="3852"/>
                </a:lnTo>
                <a:lnTo>
                  <a:pt x="8194" y="3846"/>
                </a:lnTo>
                <a:lnTo>
                  <a:pt x="8194" y="3840"/>
                </a:lnTo>
                <a:lnTo>
                  <a:pt x="8190" y="3838"/>
                </a:lnTo>
                <a:lnTo>
                  <a:pt x="8186" y="3838"/>
                </a:lnTo>
                <a:lnTo>
                  <a:pt x="8180" y="3838"/>
                </a:lnTo>
                <a:lnTo>
                  <a:pt x="8176" y="3838"/>
                </a:lnTo>
                <a:lnTo>
                  <a:pt x="8176" y="3836"/>
                </a:lnTo>
                <a:lnTo>
                  <a:pt x="8176" y="3832"/>
                </a:lnTo>
                <a:lnTo>
                  <a:pt x="8180" y="3826"/>
                </a:lnTo>
                <a:lnTo>
                  <a:pt x="8182" y="3824"/>
                </a:lnTo>
                <a:lnTo>
                  <a:pt x="8180" y="3824"/>
                </a:lnTo>
                <a:lnTo>
                  <a:pt x="8176" y="3824"/>
                </a:lnTo>
                <a:lnTo>
                  <a:pt x="8174" y="3826"/>
                </a:lnTo>
                <a:lnTo>
                  <a:pt x="8172" y="3824"/>
                </a:lnTo>
                <a:lnTo>
                  <a:pt x="8172" y="3822"/>
                </a:lnTo>
                <a:lnTo>
                  <a:pt x="8176" y="3822"/>
                </a:lnTo>
                <a:lnTo>
                  <a:pt x="8178" y="3820"/>
                </a:lnTo>
                <a:lnTo>
                  <a:pt x="8180" y="3818"/>
                </a:lnTo>
                <a:lnTo>
                  <a:pt x="8184" y="3812"/>
                </a:lnTo>
                <a:lnTo>
                  <a:pt x="8188" y="3796"/>
                </a:lnTo>
                <a:lnTo>
                  <a:pt x="8186" y="3790"/>
                </a:lnTo>
                <a:lnTo>
                  <a:pt x="8184" y="3786"/>
                </a:lnTo>
                <a:lnTo>
                  <a:pt x="8182" y="3780"/>
                </a:lnTo>
                <a:lnTo>
                  <a:pt x="8182" y="3776"/>
                </a:lnTo>
                <a:lnTo>
                  <a:pt x="8182" y="3772"/>
                </a:lnTo>
                <a:lnTo>
                  <a:pt x="8184" y="3764"/>
                </a:lnTo>
                <a:lnTo>
                  <a:pt x="8184" y="3758"/>
                </a:lnTo>
                <a:lnTo>
                  <a:pt x="8180" y="3750"/>
                </a:lnTo>
                <a:lnTo>
                  <a:pt x="8174" y="3746"/>
                </a:lnTo>
                <a:lnTo>
                  <a:pt x="8170" y="3744"/>
                </a:lnTo>
                <a:lnTo>
                  <a:pt x="8168" y="3744"/>
                </a:lnTo>
                <a:lnTo>
                  <a:pt x="8164" y="3748"/>
                </a:lnTo>
                <a:lnTo>
                  <a:pt x="8160" y="3762"/>
                </a:lnTo>
                <a:lnTo>
                  <a:pt x="8156" y="3774"/>
                </a:lnTo>
                <a:lnTo>
                  <a:pt x="8154" y="3784"/>
                </a:lnTo>
                <a:lnTo>
                  <a:pt x="8152" y="3816"/>
                </a:lnTo>
                <a:lnTo>
                  <a:pt x="8148" y="3804"/>
                </a:lnTo>
                <a:lnTo>
                  <a:pt x="8146" y="3794"/>
                </a:lnTo>
                <a:lnTo>
                  <a:pt x="8142" y="3786"/>
                </a:lnTo>
                <a:lnTo>
                  <a:pt x="8138" y="3778"/>
                </a:lnTo>
                <a:lnTo>
                  <a:pt x="8132" y="3774"/>
                </a:lnTo>
                <a:lnTo>
                  <a:pt x="8132" y="3770"/>
                </a:lnTo>
                <a:lnTo>
                  <a:pt x="8132" y="3768"/>
                </a:lnTo>
                <a:lnTo>
                  <a:pt x="8130" y="3760"/>
                </a:lnTo>
                <a:lnTo>
                  <a:pt x="8128" y="3756"/>
                </a:lnTo>
                <a:lnTo>
                  <a:pt x="8126" y="3752"/>
                </a:lnTo>
                <a:lnTo>
                  <a:pt x="8128" y="3744"/>
                </a:lnTo>
                <a:lnTo>
                  <a:pt x="8128" y="3736"/>
                </a:lnTo>
                <a:lnTo>
                  <a:pt x="8126" y="3732"/>
                </a:lnTo>
                <a:lnTo>
                  <a:pt x="8124" y="3726"/>
                </a:lnTo>
                <a:lnTo>
                  <a:pt x="8122" y="3720"/>
                </a:lnTo>
                <a:lnTo>
                  <a:pt x="8122" y="3718"/>
                </a:lnTo>
                <a:lnTo>
                  <a:pt x="8126" y="3718"/>
                </a:lnTo>
                <a:lnTo>
                  <a:pt x="8128" y="3722"/>
                </a:lnTo>
                <a:lnTo>
                  <a:pt x="8130" y="3722"/>
                </a:lnTo>
                <a:lnTo>
                  <a:pt x="8132" y="3722"/>
                </a:lnTo>
                <a:lnTo>
                  <a:pt x="8132" y="3724"/>
                </a:lnTo>
                <a:lnTo>
                  <a:pt x="8130" y="3726"/>
                </a:lnTo>
                <a:lnTo>
                  <a:pt x="8128" y="3728"/>
                </a:lnTo>
                <a:lnTo>
                  <a:pt x="8132" y="3728"/>
                </a:lnTo>
                <a:lnTo>
                  <a:pt x="8134" y="3730"/>
                </a:lnTo>
                <a:lnTo>
                  <a:pt x="8132" y="3732"/>
                </a:lnTo>
                <a:lnTo>
                  <a:pt x="8134" y="3734"/>
                </a:lnTo>
                <a:lnTo>
                  <a:pt x="8138" y="3736"/>
                </a:lnTo>
                <a:lnTo>
                  <a:pt x="8140" y="3738"/>
                </a:lnTo>
                <a:lnTo>
                  <a:pt x="8142" y="3740"/>
                </a:lnTo>
                <a:lnTo>
                  <a:pt x="8144" y="3740"/>
                </a:lnTo>
                <a:lnTo>
                  <a:pt x="8144" y="3738"/>
                </a:lnTo>
                <a:lnTo>
                  <a:pt x="8146" y="3738"/>
                </a:lnTo>
                <a:lnTo>
                  <a:pt x="8146" y="3736"/>
                </a:lnTo>
                <a:lnTo>
                  <a:pt x="8146" y="3734"/>
                </a:lnTo>
                <a:lnTo>
                  <a:pt x="8150" y="3730"/>
                </a:lnTo>
                <a:lnTo>
                  <a:pt x="8150" y="3722"/>
                </a:lnTo>
                <a:lnTo>
                  <a:pt x="8150" y="3720"/>
                </a:lnTo>
                <a:lnTo>
                  <a:pt x="8152" y="3718"/>
                </a:lnTo>
                <a:lnTo>
                  <a:pt x="8158" y="3720"/>
                </a:lnTo>
                <a:lnTo>
                  <a:pt x="8160" y="3722"/>
                </a:lnTo>
                <a:lnTo>
                  <a:pt x="8160" y="3720"/>
                </a:lnTo>
                <a:lnTo>
                  <a:pt x="8162" y="3718"/>
                </a:lnTo>
                <a:lnTo>
                  <a:pt x="8164" y="3718"/>
                </a:lnTo>
                <a:lnTo>
                  <a:pt x="8164" y="3714"/>
                </a:lnTo>
                <a:lnTo>
                  <a:pt x="8166" y="3712"/>
                </a:lnTo>
                <a:lnTo>
                  <a:pt x="8168" y="3708"/>
                </a:lnTo>
                <a:lnTo>
                  <a:pt x="8166" y="3706"/>
                </a:lnTo>
                <a:lnTo>
                  <a:pt x="8166" y="3704"/>
                </a:lnTo>
                <a:lnTo>
                  <a:pt x="8166" y="3702"/>
                </a:lnTo>
                <a:lnTo>
                  <a:pt x="8164" y="3700"/>
                </a:lnTo>
                <a:lnTo>
                  <a:pt x="8162" y="3700"/>
                </a:lnTo>
                <a:lnTo>
                  <a:pt x="8162" y="3702"/>
                </a:lnTo>
                <a:lnTo>
                  <a:pt x="8162" y="3704"/>
                </a:lnTo>
                <a:lnTo>
                  <a:pt x="8160" y="3704"/>
                </a:lnTo>
                <a:lnTo>
                  <a:pt x="8156" y="3704"/>
                </a:lnTo>
                <a:lnTo>
                  <a:pt x="8154" y="3706"/>
                </a:lnTo>
                <a:lnTo>
                  <a:pt x="8152" y="3700"/>
                </a:lnTo>
                <a:lnTo>
                  <a:pt x="8152" y="3696"/>
                </a:lnTo>
                <a:lnTo>
                  <a:pt x="8152" y="3690"/>
                </a:lnTo>
                <a:lnTo>
                  <a:pt x="8152" y="3688"/>
                </a:lnTo>
                <a:lnTo>
                  <a:pt x="8150" y="3688"/>
                </a:lnTo>
                <a:lnTo>
                  <a:pt x="8148" y="3688"/>
                </a:lnTo>
                <a:lnTo>
                  <a:pt x="8148" y="3692"/>
                </a:lnTo>
                <a:lnTo>
                  <a:pt x="8148" y="3696"/>
                </a:lnTo>
                <a:lnTo>
                  <a:pt x="8146" y="3698"/>
                </a:lnTo>
                <a:lnTo>
                  <a:pt x="8144" y="3698"/>
                </a:lnTo>
                <a:lnTo>
                  <a:pt x="8140" y="3696"/>
                </a:lnTo>
                <a:lnTo>
                  <a:pt x="8136" y="3698"/>
                </a:lnTo>
                <a:lnTo>
                  <a:pt x="8134" y="3700"/>
                </a:lnTo>
                <a:lnTo>
                  <a:pt x="8130" y="3702"/>
                </a:lnTo>
                <a:lnTo>
                  <a:pt x="8128" y="3704"/>
                </a:lnTo>
                <a:lnTo>
                  <a:pt x="8126" y="3712"/>
                </a:lnTo>
                <a:lnTo>
                  <a:pt x="8118" y="3704"/>
                </a:lnTo>
                <a:lnTo>
                  <a:pt x="8106" y="3696"/>
                </a:lnTo>
                <a:lnTo>
                  <a:pt x="8098" y="3686"/>
                </a:lnTo>
                <a:lnTo>
                  <a:pt x="8094" y="3680"/>
                </a:lnTo>
                <a:lnTo>
                  <a:pt x="8094" y="3676"/>
                </a:lnTo>
                <a:lnTo>
                  <a:pt x="8094" y="3672"/>
                </a:lnTo>
                <a:lnTo>
                  <a:pt x="8092" y="3670"/>
                </a:lnTo>
                <a:lnTo>
                  <a:pt x="8086" y="3668"/>
                </a:lnTo>
                <a:lnTo>
                  <a:pt x="8080" y="3666"/>
                </a:lnTo>
                <a:lnTo>
                  <a:pt x="8078" y="3664"/>
                </a:lnTo>
                <a:lnTo>
                  <a:pt x="8076" y="3662"/>
                </a:lnTo>
                <a:lnTo>
                  <a:pt x="8074" y="3654"/>
                </a:lnTo>
                <a:lnTo>
                  <a:pt x="8072" y="3648"/>
                </a:lnTo>
                <a:lnTo>
                  <a:pt x="8066" y="3638"/>
                </a:lnTo>
                <a:lnTo>
                  <a:pt x="8060" y="3620"/>
                </a:lnTo>
                <a:lnTo>
                  <a:pt x="8056" y="3608"/>
                </a:lnTo>
                <a:lnTo>
                  <a:pt x="8052" y="3602"/>
                </a:lnTo>
                <a:lnTo>
                  <a:pt x="8048" y="3596"/>
                </a:lnTo>
                <a:lnTo>
                  <a:pt x="8046" y="3588"/>
                </a:lnTo>
                <a:lnTo>
                  <a:pt x="8046" y="3584"/>
                </a:lnTo>
                <a:lnTo>
                  <a:pt x="8042" y="3580"/>
                </a:lnTo>
                <a:lnTo>
                  <a:pt x="8036" y="3578"/>
                </a:lnTo>
                <a:lnTo>
                  <a:pt x="8030" y="3578"/>
                </a:lnTo>
                <a:lnTo>
                  <a:pt x="8030" y="3576"/>
                </a:lnTo>
                <a:lnTo>
                  <a:pt x="8032" y="3572"/>
                </a:lnTo>
                <a:lnTo>
                  <a:pt x="8034" y="3568"/>
                </a:lnTo>
                <a:lnTo>
                  <a:pt x="8038" y="3566"/>
                </a:lnTo>
                <a:lnTo>
                  <a:pt x="8046" y="3566"/>
                </a:lnTo>
                <a:lnTo>
                  <a:pt x="8046" y="3562"/>
                </a:lnTo>
                <a:lnTo>
                  <a:pt x="8038" y="3546"/>
                </a:lnTo>
                <a:lnTo>
                  <a:pt x="8038" y="3542"/>
                </a:lnTo>
                <a:lnTo>
                  <a:pt x="8040" y="3540"/>
                </a:lnTo>
                <a:lnTo>
                  <a:pt x="8048" y="3544"/>
                </a:lnTo>
                <a:lnTo>
                  <a:pt x="8056" y="3548"/>
                </a:lnTo>
                <a:lnTo>
                  <a:pt x="8060" y="3548"/>
                </a:lnTo>
                <a:lnTo>
                  <a:pt x="8062" y="3548"/>
                </a:lnTo>
                <a:lnTo>
                  <a:pt x="8070" y="3544"/>
                </a:lnTo>
                <a:lnTo>
                  <a:pt x="8074" y="3544"/>
                </a:lnTo>
                <a:lnTo>
                  <a:pt x="8076" y="3540"/>
                </a:lnTo>
                <a:lnTo>
                  <a:pt x="8078" y="3532"/>
                </a:lnTo>
                <a:lnTo>
                  <a:pt x="8080" y="3530"/>
                </a:lnTo>
                <a:lnTo>
                  <a:pt x="8082" y="3530"/>
                </a:lnTo>
                <a:lnTo>
                  <a:pt x="8090" y="3534"/>
                </a:lnTo>
                <a:lnTo>
                  <a:pt x="8096" y="3538"/>
                </a:lnTo>
                <a:lnTo>
                  <a:pt x="8102" y="3540"/>
                </a:lnTo>
                <a:lnTo>
                  <a:pt x="8108" y="3542"/>
                </a:lnTo>
                <a:lnTo>
                  <a:pt x="8114" y="3538"/>
                </a:lnTo>
                <a:lnTo>
                  <a:pt x="8120" y="3536"/>
                </a:lnTo>
                <a:lnTo>
                  <a:pt x="8122" y="3536"/>
                </a:lnTo>
                <a:lnTo>
                  <a:pt x="8126" y="3538"/>
                </a:lnTo>
                <a:lnTo>
                  <a:pt x="8126" y="3540"/>
                </a:lnTo>
                <a:lnTo>
                  <a:pt x="8130" y="3550"/>
                </a:lnTo>
                <a:lnTo>
                  <a:pt x="8132" y="3556"/>
                </a:lnTo>
                <a:lnTo>
                  <a:pt x="8138" y="3562"/>
                </a:lnTo>
                <a:lnTo>
                  <a:pt x="8142" y="3566"/>
                </a:lnTo>
                <a:lnTo>
                  <a:pt x="8146" y="3572"/>
                </a:lnTo>
                <a:lnTo>
                  <a:pt x="8150" y="3582"/>
                </a:lnTo>
                <a:lnTo>
                  <a:pt x="8154" y="3594"/>
                </a:lnTo>
                <a:lnTo>
                  <a:pt x="8156" y="3600"/>
                </a:lnTo>
                <a:lnTo>
                  <a:pt x="8160" y="3606"/>
                </a:lnTo>
                <a:lnTo>
                  <a:pt x="8164" y="3612"/>
                </a:lnTo>
                <a:lnTo>
                  <a:pt x="8166" y="3616"/>
                </a:lnTo>
                <a:lnTo>
                  <a:pt x="8166" y="3624"/>
                </a:lnTo>
                <a:lnTo>
                  <a:pt x="8168" y="3632"/>
                </a:lnTo>
                <a:lnTo>
                  <a:pt x="8170" y="3636"/>
                </a:lnTo>
                <a:lnTo>
                  <a:pt x="8176" y="3644"/>
                </a:lnTo>
                <a:lnTo>
                  <a:pt x="8182" y="3650"/>
                </a:lnTo>
                <a:lnTo>
                  <a:pt x="8190" y="3656"/>
                </a:lnTo>
                <a:lnTo>
                  <a:pt x="8208" y="3664"/>
                </a:lnTo>
                <a:lnTo>
                  <a:pt x="8222" y="3670"/>
                </a:lnTo>
                <a:lnTo>
                  <a:pt x="8226" y="3672"/>
                </a:lnTo>
                <a:lnTo>
                  <a:pt x="8226" y="3678"/>
                </a:lnTo>
                <a:lnTo>
                  <a:pt x="8226" y="3680"/>
                </a:lnTo>
                <a:lnTo>
                  <a:pt x="8230" y="3684"/>
                </a:lnTo>
                <a:lnTo>
                  <a:pt x="8238" y="3690"/>
                </a:lnTo>
                <a:lnTo>
                  <a:pt x="8248" y="3696"/>
                </a:lnTo>
                <a:lnTo>
                  <a:pt x="8254" y="3700"/>
                </a:lnTo>
                <a:lnTo>
                  <a:pt x="8262" y="3708"/>
                </a:lnTo>
                <a:lnTo>
                  <a:pt x="8270" y="3712"/>
                </a:lnTo>
                <a:lnTo>
                  <a:pt x="8276" y="3714"/>
                </a:lnTo>
                <a:lnTo>
                  <a:pt x="8282" y="3714"/>
                </a:lnTo>
                <a:lnTo>
                  <a:pt x="8292" y="3714"/>
                </a:lnTo>
                <a:lnTo>
                  <a:pt x="8298" y="3716"/>
                </a:lnTo>
                <a:lnTo>
                  <a:pt x="8302" y="3720"/>
                </a:lnTo>
                <a:lnTo>
                  <a:pt x="8308" y="3724"/>
                </a:lnTo>
                <a:lnTo>
                  <a:pt x="8312" y="3726"/>
                </a:lnTo>
                <a:lnTo>
                  <a:pt x="8316" y="3724"/>
                </a:lnTo>
                <a:lnTo>
                  <a:pt x="8322" y="3722"/>
                </a:lnTo>
                <a:lnTo>
                  <a:pt x="8330" y="3714"/>
                </a:lnTo>
                <a:lnTo>
                  <a:pt x="8334" y="3712"/>
                </a:lnTo>
                <a:lnTo>
                  <a:pt x="8340" y="3712"/>
                </a:lnTo>
                <a:lnTo>
                  <a:pt x="8346" y="3710"/>
                </a:lnTo>
                <a:lnTo>
                  <a:pt x="8348" y="3706"/>
                </a:lnTo>
                <a:lnTo>
                  <a:pt x="8350" y="3702"/>
                </a:lnTo>
                <a:lnTo>
                  <a:pt x="8352" y="3702"/>
                </a:lnTo>
                <a:lnTo>
                  <a:pt x="8356" y="3700"/>
                </a:lnTo>
                <a:lnTo>
                  <a:pt x="8360" y="3700"/>
                </a:lnTo>
                <a:lnTo>
                  <a:pt x="8364" y="3698"/>
                </a:lnTo>
                <a:lnTo>
                  <a:pt x="8368" y="3692"/>
                </a:lnTo>
                <a:lnTo>
                  <a:pt x="8372" y="3690"/>
                </a:lnTo>
                <a:lnTo>
                  <a:pt x="8376" y="3690"/>
                </a:lnTo>
                <a:lnTo>
                  <a:pt x="8382" y="3690"/>
                </a:lnTo>
                <a:lnTo>
                  <a:pt x="8388" y="3690"/>
                </a:lnTo>
                <a:lnTo>
                  <a:pt x="8396" y="3694"/>
                </a:lnTo>
                <a:lnTo>
                  <a:pt x="8402" y="3702"/>
                </a:lnTo>
                <a:lnTo>
                  <a:pt x="8406" y="3712"/>
                </a:lnTo>
                <a:lnTo>
                  <a:pt x="8408" y="3722"/>
                </a:lnTo>
                <a:lnTo>
                  <a:pt x="8412" y="3742"/>
                </a:lnTo>
                <a:lnTo>
                  <a:pt x="8414" y="3758"/>
                </a:lnTo>
                <a:lnTo>
                  <a:pt x="8418" y="3762"/>
                </a:lnTo>
                <a:lnTo>
                  <a:pt x="8420" y="3764"/>
                </a:lnTo>
                <a:lnTo>
                  <a:pt x="8430" y="3766"/>
                </a:lnTo>
                <a:lnTo>
                  <a:pt x="8438" y="3768"/>
                </a:lnTo>
                <a:lnTo>
                  <a:pt x="8444" y="3770"/>
                </a:lnTo>
                <a:lnTo>
                  <a:pt x="8446" y="3772"/>
                </a:lnTo>
                <a:lnTo>
                  <a:pt x="8450" y="3774"/>
                </a:lnTo>
                <a:lnTo>
                  <a:pt x="8454" y="3774"/>
                </a:lnTo>
                <a:lnTo>
                  <a:pt x="8458" y="3772"/>
                </a:lnTo>
                <a:lnTo>
                  <a:pt x="8468" y="3772"/>
                </a:lnTo>
                <a:lnTo>
                  <a:pt x="8474" y="3774"/>
                </a:lnTo>
                <a:lnTo>
                  <a:pt x="8478" y="3776"/>
                </a:lnTo>
                <a:lnTo>
                  <a:pt x="8484" y="3780"/>
                </a:lnTo>
                <a:lnTo>
                  <a:pt x="8490" y="3782"/>
                </a:lnTo>
                <a:lnTo>
                  <a:pt x="8492" y="3782"/>
                </a:lnTo>
                <a:lnTo>
                  <a:pt x="8496" y="3782"/>
                </a:lnTo>
                <a:lnTo>
                  <a:pt x="8502" y="3780"/>
                </a:lnTo>
                <a:lnTo>
                  <a:pt x="8508" y="3780"/>
                </a:lnTo>
                <a:lnTo>
                  <a:pt x="8524" y="3784"/>
                </a:lnTo>
                <a:lnTo>
                  <a:pt x="8538" y="3788"/>
                </a:lnTo>
                <a:lnTo>
                  <a:pt x="8542" y="3788"/>
                </a:lnTo>
                <a:lnTo>
                  <a:pt x="8542" y="3786"/>
                </a:lnTo>
                <a:lnTo>
                  <a:pt x="8542" y="3782"/>
                </a:lnTo>
                <a:lnTo>
                  <a:pt x="8544" y="3780"/>
                </a:lnTo>
                <a:lnTo>
                  <a:pt x="8546" y="3780"/>
                </a:lnTo>
                <a:lnTo>
                  <a:pt x="8550" y="3786"/>
                </a:lnTo>
                <a:lnTo>
                  <a:pt x="8554" y="3790"/>
                </a:lnTo>
                <a:lnTo>
                  <a:pt x="8560" y="3792"/>
                </a:lnTo>
                <a:lnTo>
                  <a:pt x="8568" y="3792"/>
                </a:lnTo>
                <a:lnTo>
                  <a:pt x="8578" y="3796"/>
                </a:lnTo>
                <a:lnTo>
                  <a:pt x="8582" y="3798"/>
                </a:lnTo>
                <a:lnTo>
                  <a:pt x="8584" y="3798"/>
                </a:lnTo>
                <a:lnTo>
                  <a:pt x="8586" y="3796"/>
                </a:lnTo>
                <a:lnTo>
                  <a:pt x="8586" y="3792"/>
                </a:lnTo>
                <a:lnTo>
                  <a:pt x="8588" y="3790"/>
                </a:lnTo>
                <a:lnTo>
                  <a:pt x="8590" y="3790"/>
                </a:lnTo>
                <a:lnTo>
                  <a:pt x="8594" y="3798"/>
                </a:lnTo>
                <a:lnTo>
                  <a:pt x="8598" y="3800"/>
                </a:lnTo>
                <a:lnTo>
                  <a:pt x="8602" y="3800"/>
                </a:lnTo>
                <a:lnTo>
                  <a:pt x="8604" y="3798"/>
                </a:lnTo>
                <a:lnTo>
                  <a:pt x="8612" y="3794"/>
                </a:lnTo>
                <a:lnTo>
                  <a:pt x="8616" y="3792"/>
                </a:lnTo>
                <a:lnTo>
                  <a:pt x="8618" y="3792"/>
                </a:lnTo>
                <a:lnTo>
                  <a:pt x="8620" y="3794"/>
                </a:lnTo>
                <a:lnTo>
                  <a:pt x="8622" y="3794"/>
                </a:lnTo>
                <a:lnTo>
                  <a:pt x="8626" y="3790"/>
                </a:lnTo>
                <a:lnTo>
                  <a:pt x="8628" y="3788"/>
                </a:lnTo>
                <a:lnTo>
                  <a:pt x="8634" y="3788"/>
                </a:lnTo>
                <a:lnTo>
                  <a:pt x="8640" y="3788"/>
                </a:lnTo>
                <a:lnTo>
                  <a:pt x="8650" y="3790"/>
                </a:lnTo>
                <a:lnTo>
                  <a:pt x="8658" y="3792"/>
                </a:lnTo>
                <a:lnTo>
                  <a:pt x="8664" y="3794"/>
                </a:lnTo>
                <a:lnTo>
                  <a:pt x="8666" y="3792"/>
                </a:lnTo>
                <a:lnTo>
                  <a:pt x="8666" y="3790"/>
                </a:lnTo>
                <a:lnTo>
                  <a:pt x="8668" y="3788"/>
                </a:lnTo>
                <a:lnTo>
                  <a:pt x="8670" y="3786"/>
                </a:lnTo>
                <a:lnTo>
                  <a:pt x="8674" y="3786"/>
                </a:lnTo>
                <a:lnTo>
                  <a:pt x="8682" y="3786"/>
                </a:lnTo>
                <a:lnTo>
                  <a:pt x="8698" y="3790"/>
                </a:lnTo>
                <a:lnTo>
                  <a:pt x="8708" y="3792"/>
                </a:lnTo>
                <a:lnTo>
                  <a:pt x="8712" y="3794"/>
                </a:lnTo>
                <a:lnTo>
                  <a:pt x="8716" y="3790"/>
                </a:lnTo>
                <a:lnTo>
                  <a:pt x="8720" y="3788"/>
                </a:lnTo>
                <a:lnTo>
                  <a:pt x="8728" y="3786"/>
                </a:lnTo>
                <a:lnTo>
                  <a:pt x="8754" y="3782"/>
                </a:lnTo>
                <a:lnTo>
                  <a:pt x="8780" y="3782"/>
                </a:lnTo>
                <a:lnTo>
                  <a:pt x="8788" y="3784"/>
                </a:lnTo>
                <a:lnTo>
                  <a:pt x="8792" y="3786"/>
                </a:lnTo>
                <a:lnTo>
                  <a:pt x="8792" y="3788"/>
                </a:lnTo>
                <a:lnTo>
                  <a:pt x="8794" y="3798"/>
                </a:lnTo>
                <a:lnTo>
                  <a:pt x="8792" y="3804"/>
                </a:lnTo>
                <a:lnTo>
                  <a:pt x="8794" y="3808"/>
                </a:lnTo>
                <a:lnTo>
                  <a:pt x="8796" y="3810"/>
                </a:lnTo>
                <a:lnTo>
                  <a:pt x="8804" y="3812"/>
                </a:lnTo>
                <a:lnTo>
                  <a:pt x="8810" y="3812"/>
                </a:lnTo>
                <a:lnTo>
                  <a:pt x="8812" y="3814"/>
                </a:lnTo>
                <a:lnTo>
                  <a:pt x="8814" y="3816"/>
                </a:lnTo>
                <a:lnTo>
                  <a:pt x="8814" y="3820"/>
                </a:lnTo>
                <a:lnTo>
                  <a:pt x="8814" y="3826"/>
                </a:lnTo>
                <a:lnTo>
                  <a:pt x="8814" y="3830"/>
                </a:lnTo>
                <a:lnTo>
                  <a:pt x="8816" y="3832"/>
                </a:lnTo>
                <a:lnTo>
                  <a:pt x="8820" y="3838"/>
                </a:lnTo>
                <a:lnTo>
                  <a:pt x="8820" y="3842"/>
                </a:lnTo>
                <a:lnTo>
                  <a:pt x="8820" y="3846"/>
                </a:lnTo>
                <a:lnTo>
                  <a:pt x="8822" y="3850"/>
                </a:lnTo>
                <a:lnTo>
                  <a:pt x="8826" y="3854"/>
                </a:lnTo>
                <a:lnTo>
                  <a:pt x="8824" y="3856"/>
                </a:lnTo>
                <a:lnTo>
                  <a:pt x="8824" y="3858"/>
                </a:lnTo>
                <a:lnTo>
                  <a:pt x="8828" y="3862"/>
                </a:lnTo>
                <a:lnTo>
                  <a:pt x="8832" y="3864"/>
                </a:lnTo>
                <a:lnTo>
                  <a:pt x="8834" y="3864"/>
                </a:lnTo>
                <a:lnTo>
                  <a:pt x="8838" y="3862"/>
                </a:lnTo>
                <a:lnTo>
                  <a:pt x="8840" y="3862"/>
                </a:lnTo>
                <a:lnTo>
                  <a:pt x="8844" y="3862"/>
                </a:lnTo>
                <a:lnTo>
                  <a:pt x="8846" y="3864"/>
                </a:lnTo>
                <a:lnTo>
                  <a:pt x="8852" y="3870"/>
                </a:lnTo>
                <a:lnTo>
                  <a:pt x="8856" y="3874"/>
                </a:lnTo>
                <a:lnTo>
                  <a:pt x="8860" y="3876"/>
                </a:lnTo>
                <a:lnTo>
                  <a:pt x="8864" y="3880"/>
                </a:lnTo>
                <a:lnTo>
                  <a:pt x="8870" y="3888"/>
                </a:lnTo>
                <a:lnTo>
                  <a:pt x="8874" y="3896"/>
                </a:lnTo>
                <a:lnTo>
                  <a:pt x="8880" y="3902"/>
                </a:lnTo>
                <a:lnTo>
                  <a:pt x="8888" y="3908"/>
                </a:lnTo>
                <a:lnTo>
                  <a:pt x="8896" y="3912"/>
                </a:lnTo>
                <a:lnTo>
                  <a:pt x="8904" y="3914"/>
                </a:lnTo>
                <a:lnTo>
                  <a:pt x="8912" y="3916"/>
                </a:lnTo>
                <a:lnTo>
                  <a:pt x="8920" y="3914"/>
                </a:lnTo>
                <a:lnTo>
                  <a:pt x="8926" y="3910"/>
                </a:lnTo>
                <a:lnTo>
                  <a:pt x="8932" y="3908"/>
                </a:lnTo>
                <a:lnTo>
                  <a:pt x="8936" y="3908"/>
                </a:lnTo>
                <a:lnTo>
                  <a:pt x="8940" y="3910"/>
                </a:lnTo>
                <a:lnTo>
                  <a:pt x="8940" y="3914"/>
                </a:lnTo>
                <a:lnTo>
                  <a:pt x="8940" y="3920"/>
                </a:lnTo>
                <a:lnTo>
                  <a:pt x="8934" y="3926"/>
                </a:lnTo>
                <a:lnTo>
                  <a:pt x="8928" y="3930"/>
                </a:lnTo>
                <a:lnTo>
                  <a:pt x="8916" y="3934"/>
                </a:lnTo>
                <a:lnTo>
                  <a:pt x="8904" y="3934"/>
                </a:lnTo>
                <a:lnTo>
                  <a:pt x="8894" y="3934"/>
                </a:lnTo>
                <a:lnTo>
                  <a:pt x="8880" y="3932"/>
                </a:lnTo>
                <a:lnTo>
                  <a:pt x="8880" y="3934"/>
                </a:lnTo>
                <a:lnTo>
                  <a:pt x="8884" y="3940"/>
                </a:lnTo>
                <a:lnTo>
                  <a:pt x="8908" y="3970"/>
                </a:lnTo>
                <a:lnTo>
                  <a:pt x="8938" y="4004"/>
                </a:lnTo>
                <a:lnTo>
                  <a:pt x="8948" y="4014"/>
                </a:lnTo>
                <a:lnTo>
                  <a:pt x="8958" y="4020"/>
                </a:lnTo>
                <a:lnTo>
                  <a:pt x="8968" y="4020"/>
                </a:lnTo>
                <a:lnTo>
                  <a:pt x="8978" y="4018"/>
                </a:lnTo>
                <a:lnTo>
                  <a:pt x="8990" y="4010"/>
                </a:lnTo>
                <a:lnTo>
                  <a:pt x="9006" y="3998"/>
                </a:lnTo>
                <a:lnTo>
                  <a:pt x="9012" y="3990"/>
                </a:lnTo>
                <a:lnTo>
                  <a:pt x="9016" y="3980"/>
                </a:lnTo>
                <a:lnTo>
                  <a:pt x="9016" y="3972"/>
                </a:lnTo>
                <a:lnTo>
                  <a:pt x="9016" y="3964"/>
                </a:lnTo>
                <a:lnTo>
                  <a:pt x="9016" y="3956"/>
                </a:lnTo>
                <a:lnTo>
                  <a:pt x="9018" y="3950"/>
                </a:lnTo>
                <a:lnTo>
                  <a:pt x="9020" y="3944"/>
                </a:lnTo>
                <a:lnTo>
                  <a:pt x="9026" y="3940"/>
                </a:lnTo>
                <a:lnTo>
                  <a:pt x="9034" y="3940"/>
                </a:lnTo>
                <a:lnTo>
                  <a:pt x="9036" y="3940"/>
                </a:lnTo>
                <a:lnTo>
                  <a:pt x="9036" y="3942"/>
                </a:lnTo>
                <a:lnTo>
                  <a:pt x="9034" y="3944"/>
                </a:lnTo>
                <a:lnTo>
                  <a:pt x="9030" y="3954"/>
                </a:lnTo>
                <a:lnTo>
                  <a:pt x="9030" y="3958"/>
                </a:lnTo>
                <a:lnTo>
                  <a:pt x="9032" y="3964"/>
                </a:lnTo>
                <a:lnTo>
                  <a:pt x="9034" y="3968"/>
                </a:lnTo>
                <a:lnTo>
                  <a:pt x="9034" y="3972"/>
                </a:lnTo>
                <a:lnTo>
                  <a:pt x="9032" y="3978"/>
                </a:lnTo>
                <a:lnTo>
                  <a:pt x="9032" y="3982"/>
                </a:lnTo>
                <a:lnTo>
                  <a:pt x="9032" y="3988"/>
                </a:lnTo>
                <a:lnTo>
                  <a:pt x="9034" y="3994"/>
                </a:lnTo>
                <a:lnTo>
                  <a:pt x="9038" y="4004"/>
                </a:lnTo>
                <a:lnTo>
                  <a:pt x="9042" y="4014"/>
                </a:lnTo>
                <a:lnTo>
                  <a:pt x="9042" y="4022"/>
                </a:lnTo>
                <a:lnTo>
                  <a:pt x="9040" y="4038"/>
                </a:lnTo>
                <a:lnTo>
                  <a:pt x="9038" y="4048"/>
                </a:lnTo>
                <a:lnTo>
                  <a:pt x="9036" y="4062"/>
                </a:lnTo>
                <a:lnTo>
                  <a:pt x="9036" y="4084"/>
                </a:lnTo>
                <a:lnTo>
                  <a:pt x="9040" y="4112"/>
                </a:lnTo>
                <a:lnTo>
                  <a:pt x="9058" y="4210"/>
                </a:lnTo>
                <a:lnTo>
                  <a:pt x="9064" y="4240"/>
                </a:lnTo>
                <a:lnTo>
                  <a:pt x="9072" y="4260"/>
                </a:lnTo>
                <a:lnTo>
                  <a:pt x="9082" y="4284"/>
                </a:lnTo>
                <a:lnTo>
                  <a:pt x="9098" y="4320"/>
                </a:lnTo>
                <a:lnTo>
                  <a:pt x="9112" y="4364"/>
                </a:lnTo>
                <a:lnTo>
                  <a:pt x="9118" y="4384"/>
                </a:lnTo>
                <a:lnTo>
                  <a:pt x="9122" y="4404"/>
                </a:lnTo>
                <a:lnTo>
                  <a:pt x="9124" y="4418"/>
                </a:lnTo>
                <a:lnTo>
                  <a:pt x="9130" y="4432"/>
                </a:lnTo>
                <a:lnTo>
                  <a:pt x="9142" y="4454"/>
                </a:lnTo>
                <a:lnTo>
                  <a:pt x="9150" y="4468"/>
                </a:lnTo>
                <a:lnTo>
                  <a:pt x="9158" y="4484"/>
                </a:lnTo>
                <a:lnTo>
                  <a:pt x="9164" y="4504"/>
                </a:lnTo>
                <a:lnTo>
                  <a:pt x="9170" y="4530"/>
                </a:lnTo>
                <a:lnTo>
                  <a:pt x="9178" y="4558"/>
                </a:lnTo>
                <a:lnTo>
                  <a:pt x="9186" y="4582"/>
                </a:lnTo>
                <a:lnTo>
                  <a:pt x="9194" y="4604"/>
                </a:lnTo>
                <a:lnTo>
                  <a:pt x="9202" y="4622"/>
                </a:lnTo>
                <a:lnTo>
                  <a:pt x="9212" y="4636"/>
                </a:lnTo>
                <a:lnTo>
                  <a:pt x="9218" y="4640"/>
                </a:lnTo>
                <a:lnTo>
                  <a:pt x="9222" y="4644"/>
                </a:lnTo>
                <a:lnTo>
                  <a:pt x="9228" y="4646"/>
                </a:lnTo>
                <a:lnTo>
                  <a:pt x="9232" y="4646"/>
                </a:lnTo>
                <a:lnTo>
                  <a:pt x="9238" y="4644"/>
                </a:lnTo>
                <a:lnTo>
                  <a:pt x="9242" y="4640"/>
                </a:lnTo>
                <a:lnTo>
                  <a:pt x="9250" y="4630"/>
                </a:lnTo>
                <a:lnTo>
                  <a:pt x="9254" y="4624"/>
                </a:lnTo>
                <a:lnTo>
                  <a:pt x="9256" y="4616"/>
                </a:lnTo>
                <a:lnTo>
                  <a:pt x="9256" y="4610"/>
                </a:lnTo>
                <a:lnTo>
                  <a:pt x="9258" y="4604"/>
                </a:lnTo>
                <a:lnTo>
                  <a:pt x="9260" y="4600"/>
                </a:lnTo>
                <a:lnTo>
                  <a:pt x="9264" y="4596"/>
                </a:lnTo>
                <a:lnTo>
                  <a:pt x="9272" y="4592"/>
                </a:lnTo>
                <a:lnTo>
                  <a:pt x="9290" y="4590"/>
                </a:lnTo>
                <a:lnTo>
                  <a:pt x="9300" y="4590"/>
                </a:lnTo>
                <a:lnTo>
                  <a:pt x="9306" y="4590"/>
                </a:lnTo>
                <a:lnTo>
                  <a:pt x="9308" y="4590"/>
                </a:lnTo>
                <a:lnTo>
                  <a:pt x="9308" y="4588"/>
                </a:lnTo>
                <a:lnTo>
                  <a:pt x="9308" y="4586"/>
                </a:lnTo>
                <a:lnTo>
                  <a:pt x="9304" y="4584"/>
                </a:lnTo>
                <a:lnTo>
                  <a:pt x="9296" y="4582"/>
                </a:lnTo>
                <a:lnTo>
                  <a:pt x="9292" y="4578"/>
                </a:lnTo>
                <a:lnTo>
                  <a:pt x="9290" y="4574"/>
                </a:lnTo>
                <a:lnTo>
                  <a:pt x="9290" y="4570"/>
                </a:lnTo>
                <a:lnTo>
                  <a:pt x="9294" y="4562"/>
                </a:lnTo>
                <a:lnTo>
                  <a:pt x="9300" y="4554"/>
                </a:lnTo>
                <a:lnTo>
                  <a:pt x="9302" y="4548"/>
                </a:lnTo>
                <a:lnTo>
                  <a:pt x="9302" y="4540"/>
                </a:lnTo>
                <a:lnTo>
                  <a:pt x="9304" y="4538"/>
                </a:lnTo>
                <a:lnTo>
                  <a:pt x="9316" y="4538"/>
                </a:lnTo>
                <a:lnTo>
                  <a:pt x="9324" y="4536"/>
                </a:lnTo>
                <a:lnTo>
                  <a:pt x="9326" y="4534"/>
                </a:lnTo>
                <a:lnTo>
                  <a:pt x="9326" y="4530"/>
                </a:lnTo>
                <a:lnTo>
                  <a:pt x="9326" y="4522"/>
                </a:lnTo>
                <a:lnTo>
                  <a:pt x="9324" y="4512"/>
                </a:lnTo>
                <a:lnTo>
                  <a:pt x="9322" y="4498"/>
                </a:lnTo>
                <a:lnTo>
                  <a:pt x="9322" y="4482"/>
                </a:lnTo>
                <a:lnTo>
                  <a:pt x="9322" y="4464"/>
                </a:lnTo>
                <a:lnTo>
                  <a:pt x="9328" y="4446"/>
                </a:lnTo>
                <a:lnTo>
                  <a:pt x="9336" y="4424"/>
                </a:lnTo>
                <a:lnTo>
                  <a:pt x="9342" y="4406"/>
                </a:lnTo>
                <a:lnTo>
                  <a:pt x="9344" y="4396"/>
                </a:lnTo>
                <a:lnTo>
                  <a:pt x="9344" y="4384"/>
                </a:lnTo>
                <a:lnTo>
                  <a:pt x="9342" y="4370"/>
                </a:lnTo>
                <a:lnTo>
                  <a:pt x="9338" y="4354"/>
                </a:lnTo>
                <a:lnTo>
                  <a:pt x="9336" y="4342"/>
                </a:lnTo>
                <a:lnTo>
                  <a:pt x="9338" y="4336"/>
                </a:lnTo>
                <a:lnTo>
                  <a:pt x="9338" y="4328"/>
                </a:lnTo>
                <a:lnTo>
                  <a:pt x="9334" y="4308"/>
                </a:lnTo>
                <a:lnTo>
                  <a:pt x="9332" y="4296"/>
                </a:lnTo>
                <a:lnTo>
                  <a:pt x="9330" y="4288"/>
                </a:lnTo>
                <a:lnTo>
                  <a:pt x="9332" y="4282"/>
                </a:lnTo>
                <a:lnTo>
                  <a:pt x="9334" y="4276"/>
                </a:lnTo>
                <a:lnTo>
                  <a:pt x="9336" y="4272"/>
                </a:lnTo>
                <a:lnTo>
                  <a:pt x="9340" y="4270"/>
                </a:lnTo>
                <a:lnTo>
                  <a:pt x="9348" y="4266"/>
                </a:lnTo>
                <a:lnTo>
                  <a:pt x="9358" y="4264"/>
                </a:lnTo>
                <a:lnTo>
                  <a:pt x="9368" y="4262"/>
                </a:lnTo>
                <a:lnTo>
                  <a:pt x="9376" y="4258"/>
                </a:lnTo>
                <a:lnTo>
                  <a:pt x="9378" y="4254"/>
                </a:lnTo>
                <a:lnTo>
                  <a:pt x="9380" y="4248"/>
                </a:lnTo>
                <a:lnTo>
                  <a:pt x="9382" y="4240"/>
                </a:lnTo>
                <a:lnTo>
                  <a:pt x="9384" y="4236"/>
                </a:lnTo>
                <a:lnTo>
                  <a:pt x="9386" y="4236"/>
                </a:lnTo>
                <a:lnTo>
                  <a:pt x="9390" y="4238"/>
                </a:lnTo>
                <a:lnTo>
                  <a:pt x="9396" y="4240"/>
                </a:lnTo>
                <a:lnTo>
                  <a:pt x="9402" y="4242"/>
                </a:lnTo>
                <a:lnTo>
                  <a:pt x="9408" y="4240"/>
                </a:lnTo>
                <a:lnTo>
                  <a:pt x="9418" y="4232"/>
                </a:lnTo>
                <a:lnTo>
                  <a:pt x="9424" y="4224"/>
                </a:lnTo>
                <a:lnTo>
                  <a:pt x="9426" y="4218"/>
                </a:lnTo>
                <a:lnTo>
                  <a:pt x="9426" y="4216"/>
                </a:lnTo>
                <a:lnTo>
                  <a:pt x="9426" y="4214"/>
                </a:lnTo>
                <a:lnTo>
                  <a:pt x="9426" y="4210"/>
                </a:lnTo>
                <a:lnTo>
                  <a:pt x="9430" y="4204"/>
                </a:lnTo>
                <a:lnTo>
                  <a:pt x="9440" y="4196"/>
                </a:lnTo>
                <a:lnTo>
                  <a:pt x="9454" y="4182"/>
                </a:lnTo>
                <a:lnTo>
                  <a:pt x="9472" y="4166"/>
                </a:lnTo>
                <a:lnTo>
                  <a:pt x="9488" y="4148"/>
                </a:lnTo>
                <a:lnTo>
                  <a:pt x="9512" y="4118"/>
                </a:lnTo>
                <a:lnTo>
                  <a:pt x="9532" y="4090"/>
                </a:lnTo>
                <a:lnTo>
                  <a:pt x="9542" y="4080"/>
                </a:lnTo>
                <a:lnTo>
                  <a:pt x="9554" y="4070"/>
                </a:lnTo>
                <a:lnTo>
                  <a:pt x="9562" y="4066"/>
                </a:lnTo>
                <a:lnTo>
                  <a:pt x="9568" y="4064"/>
                </a:lnTo>
                <a:lnTo>
                  <a:pt x="9576" y="4064"/>
                </a:lnTo>
                <a:lnTo>
                  <a:pt x="9580" y="4062"/>
                </a:lnTo>
                <a:lnTo>
                  <a:pt x="9586" y="4060"/>
                </a:lnTo>
                <a:lnTo>
                  <a:pt x="9592" y="4052"/>
                </a:lnTo>
                <a:lnTo>
                  <a:pt x="9602" y="4040"/>
                </a:lnTo>
                <a:lnTo>
                  <a:pt x="9610" y="4026"/>
                </a:lnTo>
                <a:lnTo>
                  <a:pt x="9612" y="4016"/>
                </a:lnTo>
                <a:lnTo>
                  <a:pt x="9612" y="4008"/>
                </a:lnTo>
                <a:lnTo>
                  <a:pt x="9610" y="4000"/>
                </a:lnTo>
                <a:lnTo>
                  <a:pt x="9608" y="3994"/>
                </a:lnTo>
                <a:lnTo>
                  <a:pt x="9608" y="3988"/>
                </a:lnTo>
                <a:lnTo>
                  <a:pt x="9614" y="3984"/>
                </a:lnTo>
                <a:lnTo>
                  <a:pt x="9624" y="3978"/>
                </a:lnTo>
                <a:lnTo>
                  <a:pt x="9636" y="3972"/>
                </a:lnTo>
                <a:lnTo>
                  <a:pt x="9646" y="3966"/>
                </a:lnTo>
                <a:lnTo>
                  <a:pt x="9656" y="3958"/>
                </a:lnTo>
                <a:lnTo>
                  <a:pt x="9658" y="3956"/>
                </a:lnTo>
                <a:lnTo>
                  <a:pt x="9660" y="3956"/>
                </a:lnTo>
                <a:lnTo>
                  <a:pt x="9662" y="3966"/>
                </a:lnTo>
                <a:lnTo>
                  <a:pt x="9664" y="3972"/>
                </a:lnTo>
                <a:lnTo>
                  <a:pt x="9666" y="3976"/>
                </a:lnTo>
                <a:lnTo>
                  <a:pt x="9668" y="3976"/>
                </a:lnTo>
                <a:lnTo>
                  <a:pt x="9672" y="3976"/>
                </a:lnTo>
                <a:lnTo>
                  <a:pt x="9678" y="3974"/>
                </a:lnTo>
                <a:lnTo>
                  <a:pt x="9682" y="3972"/>
                </a:lnTo>
                <a:lnTo>
                  <a:pt x="9686" y="3974"/>
                </a:lnTo>
                <a:lnTo>
                  <a:pt x="9694" y="3976"/>
                </a:lnTo>
                <a:lnTo>
                  <a:pt x="9696" y="3976"/>
                </a:lnTo>
                <a:lnTo>
                  <a:pt x="9698" y="3972"/>
                </a:lnTo>
                <a:lnTo>
                  <a:pt x="9696" y="3966"/>
                </a:lnTo>
                <a:lnTo>
                  <a:pt x="9694" y="3960"/>
                </a:lnTo>
                <a:lnTo>
                  <a:pt x="9694" y="3958"/>
                </a:lnTo>
                <a:lnTo>
                  <a:pt x="9698" y="3956"/>
                </a:lnTo>
                <a:lnTo>
                  <a:pt x="9700" y="3962"/>
                </a:lnTo>
                <a:lnTo>
                  <a:pt x="9704" y="3964"/>
                </a:lnTo>
                <a:lnTo>
                  <a:pt x="9706" y="3966"/>
                </a:lnTo>
                <a:lnTo>
                  <a:pt x="9708" y="3966"/>
                </a:lnTo>
                <a:lnTo>
                  <a:pt x="9714" y="3964"/>
                </a:lnTo>
                <a:lnTo>
                  <a:pt x="9716" y="3966"/>
                </a:lnTo>
                <a:lnTo>
                  <a:pt x="9716" y="3968"/>
                </a:lnTo>
                <a:lnTo>
                  <a:pt x="9718" y="3970"/>
                </a:lnTo>
                <a:lnTo>
                  <a:pt x="9720" y="3970"/>
                </a:lnTo>
                <a:lnTo>
                  <a:pt x="9726" y="3964"/>
                </a:lnTo>
                <a:lnTo>
                  <a:pt x="9730" y="3958"/>
                </a:lnTo>
                <a:lnTo>
                  <a:pt x="9734" y="3958"/>
                </a:lnTo>
                <a:lnTo>
                  <a:pt x="9736" y="3962"/>
                </a:lnTo>
                <a:lnTo>
                  <a:pt x="9740" y="3964"/>
                </a:lnTo>
                <a:lnTo>
                  <a:pt x="9744" y="3964"/>
                </a:lnTo>
                <a:lnTo>
                  <a:pt x="9748" y="3960"/>
                </a:lnTo>
                <a:lnTo>
                  <a:pt x="9752" y="3954"/>
                </a:lnTo>
                <a:lnTo>
                  <a:pt x="9754" y="3948"/>
                </a:lnTo>
                <a:lnTo>
                  <a:pt x="9756" y="3940"/>
                </a:lnTo>
                <a:lnTo>
                  <a:pt x="9756" y="3932"/>
                </a:lnTo>
                <a:lnTo>
                  <a:pt x="9756" y="3926"/>
                </a:lnTo>
                <a:lnTo>
                  <a:pt x="9752" y="3916"/>
                </a:lnTo>
                <a:lnTo>
                  <a:pt x="9754" y="3906"/>
                </a:lnTo>
                <a:lnTo>
                  <a:pt x="9754" y="3898"/>
                </a:lnTo>
                <a:lnTo>
                  <a:pt x="9754" y="3890"/>
                </a:lnTo>
                <a:lnTo>
                  <a:pt x="9752" y="3884"/>
                </a:lnTo>
                <a:lnTo>
                  <a:pt x="9754" y="3884"/>
                </a:lnTo>
                <a:lnTo>
                  <a:pt x="9756" y="3878"/>
                </a:lnTo>
                <a:lnTo>
                  <a:pt x="9758" y="3876"/>
                </a:lnTo>
                <a:lnTo>
                  <a:pt x="9760" y="3876"/>
                </a:lnTo>
                <a:lnTo>
                  <a:pt x="9762" y="3884"/>
                </a:lnTo>
                <a:lnTo>
                  <a:pt x="9764" y="3910"/>
                </a:lnTo>
                <a:lnTo>
                  <a:pt x="9768" y="3920"/>
                </a:lnTo>
                <a:lnTo>
                  <a:pt x="9770" y="3924"/>
                </a:lnTo>
                <a:lnTo>
                  <a:pt x="9772" y="3926"/>
                </a:lnTo>
                <a:lnTo>
                  <a:pt x="9776" y="3926"/>
                </a:lnTo>
                <a:lnTo>
                  <a:pt x="9780" y="3926"/>
                </a:lnTo>
                <a:lnTo>
                  <a:pt x="9786" y="3920"/>
                </a:lnTo>
                <a:lnTo>
                  <a:pt x="9788" y="3918"/>
                </a:lnTo>
                <a:lnTo>
                  <a:pt x="9792" y="3918"/>
                </a:lnTo>
                <a:lnTo>
                  <a:pt x="9794" y="3920"/>
                </a:lnTo>
                <a:lnTo>
                  <a:pt x="9798" y="3924"/>
                </a:lnTo>
                <a:lnTo>
                  <a:pt x="9804" y="3938"/>
                </a:lnTo>
                <a:lnTo>
                  <a:pt x="9812" y="3958"/>
                </a:lnTo>
                <a:lnTo>
                  <a:pt x="9814" y="3968"/>
                </a:lnTo>
                <a:lnTo>
                  <a:pt x="9816" y="3972"/>
                </a:lnTo>
                <a:lnTo>
                  <a:pt x="9818" y="3974"/>
                </a:lnTo>
                <a:lnTo>
                  <a:pt x="9816" y="3978"/>
                </a:lnTo>
                <a:lnTo>
                  <a:pt x="9814" y="3986"/>
                </a:lnTo>
                <a:lnTo>
                  <a:pt x="9814" y="3992"/>
                </a:lnTo>
                <a:lnTo>
                  <a:pt x="9820" y="4004"/>
                </a:lnTo>
                <a:lnTo>
                  <a:pt x="9824" y="4012"/>
                </a:lnTo>
                <a:lnTo>
                  <a:pt x="9824" y="4010"/>
                </a:lnTo>
                <a:lnTo>
                  <a:pt x="9824" y="4000"/>
                </a:lnTo>
                <a:lnTo>
                  <a:pt x="9826" y="4006"/>
                </a:lnTo>
                <a:lnTo>
                  <a:pt x="9830" y="4016"/>
                </a:lnTo>
                <a:lnTo>
                  <a:pt x="9834" y="4026"/>
                </a:lnTo>
                <a:lnTo>
                  <a:pt x="9840" y="4038"/>
                </a:lnTo>
                <a:lnTo>
                  <a:pt x="9858" y="4062"/>
                </a:lnTo>
                <a:lnTo>
                  <a:pt x="9862" y="4064"/>
                </a:lnTo>
                <a:lnTo>
                  <a:pt x="9862" y="4058"/>
                </a:lnTo>
                <a:lnTo>
                  <a:pt x="9864" y="4054"/>
                </a:lnTo>
                <a:lnTo>
                  <a:pt x="9866" y="4052"/>
                </a:lnTo>
                <a:lnTo>
                  <a:pt x="9868" y="4052"/>
                </a:lnTo>
                <a:lnTo>
                  <a:pt x="9872" y="4054"/>
                </a:lnTo>
                <a:lnTo>
                  <a:pt x="9878" y="4060"/>
                </a:lnTo>
                <a:lnTo>
                  <a:pt x="9882" y="4068"/>
                </a:lnTo>
                <a:lnTo>
                  <a:pt x="9888" y="4076"/>
                </a:lnTo>
                <a:lnTo>
                  <a:pt x="9892" y="4080"/>
                </a:lnTo>
                <a:lnTo>
                  <a:pt x="9896" y="4086"/>
                </a:lnTo>
                <a:lnTo>
                  <a:pt x="9896" y="4088"/>
                </a:lnTo>
                <a:lnTo>
                  <a:pt x="9894" y="4090"/>
                </a:lnTo>
                <a:lnTo>
                  <a:pt x="9890" y="4092"/>
                </a:lnTo>
                <a:lnTo>
                  <a:pt x="9888" y="4092"/>
                </a:lnTo>
                <a:lnTo>
                  <a:pt x="9884" y="4088"/>
                </a:lnTo>
                <a:lnTo>
                  <a:pt x="9880" y="4086"/>
                </a:lnTo>
                <a:lnTo>
                  <a:pt x="9878" y="4086"/>
                </a:lnTo>
                <a:lnTo>
                  <a:pt x="9876" y="4086"/>
                </a:lnTo>
                <a:lnTo>
                  <a:pt x="9874" y="4090"/>
                </a:lnTo>
                <a:lnTo>
                  <a:pt x="9876" y="4094"/>
                </a:lnTo>
                <a:lnTo>
                  <a:pt x="9880" y="4104"/>
                </a:lnTo>
                <a:lnTo>
                  <a:pt x="9886" y="4110"/>
                </a:lnTo>
                <a:lnTo>
                  <a:pt x="9888" y="4112"/>
                </a:lnTo>
                <a:lnTo>
                  <a:pt x="9888" y="4110"/>
                </a:lnTo>
                <a:lnTo>
                  <a:pt x="9890" y="4104"/>
                </a:lnTo>
                <a:lnTo>
                  <a:pt x="9892" y="4098"/>
                </a:lnTo>
                <a:lnTo>
                  <a:pt x="9894" y="4098"/>
                </a:lnTo>
                <a:lnTo>
                  <a:pt x="9896" y="4100"/>
                </a:lnTo>
                <a:lnTo>
                  <a:pt x="9898" y="4110"/>
                </a:lnTo>
                <a:lnTo>
                  <a:pt x="9904" y="4128"/>
                </a:lnTo>
                <a:lnTo>
                  <a:pt x="9914" y="4150"/>
                </a:lnTo>
                <a:lnTo>
                  <a:pt x="9918" y="4160"/>
                </a:lnTo>
                <a:lnTo>
                  <a:pt x="9920" y="4170"/>
                </a:lnTo>
                <a:lnTo>
                  <a:pt x="9920" y="4182"/>
                </a:lnTo>
                <a:lnTo>
                  <a:pt x="9920" y="4192"/>
                </a:lnTo>
                <a:lnTo>
                  <a:pt x="9906" y="4234"/>
                </a:lnTo>
                <a:lnTo>
                  <a:pt x="9902" y="4250"/>
                </a:lnTo>
                <a:lnTo>
                  <a:pt x="9902" y="4256"/>
                </a:lnTo>
                <a:lnTo>
                  <a:pt x="9906" y="4258"/>
                </a:lnTo>
                <a:lnTo>
                  <a:pt x="9908" y="4258"/>
                </a:lnTo>
                <a:lnTo>
                  <a:pt x="9910" y="4256"/>
                </a:lnTo>
                <a:lnTo>
                  <a:pt x="9914" y="4250"/>
                </a:lnTo>
                <a:lnTo>
                  <a:pt x="9916" y="4242"/>
                </a:lnTo>
                <a:lnTo>
                  <a:pt x="9918" y="4242"/>
                </a:lnTo>
                <a:lnTo>
                  <a:pt x="9922" y="4240"/>
                </a:lnTo>
                <a:lnTo>
                  <a:pt x="9924" y="4242"/>
                </a:lnTo>
                <a:lnTo>
                  <a:pt x="9924" y="4244"/>
                </a:lnTo>
                <a:lnTo>
                  <a:pt x="9922" y="4248"/>
                </a:lnTo>
                <a:lnTo>
                  <a:pt x="9920" y="4252"/>
                </a:lnTo>
                <a:lnTo>
                  <a:pt x="9920" y="4256"/>
                </a:lnTo>
                <a:lnTo>
                  <a:pt x="9924" y="4260"/>
                </a:lnTo>
                <a:lnTo>
                  <a:pt x="9928" y="4262"/>
                </a:lnTo>
                <a:lnTo>
                  <a:pt x="9930" y="4264"/>
                </a:lnTo>
                <a:lnTo>
                  <a:pt x="9934" y="4262"/>
                </a:lnTo>
                <a:lnTo>
                  <a:pt x="9936" y="4260"/>
                </a:lnTo>
                <a:lnTo>
                  <a:pt x="9938" y="4260"/>
                </a:lnTo>
                <a:lnTo>
                  <a:pt x="9940" y="4262"/>
                </a:lnTo>
                <a:lnTo>
                  <a:pt x="9944" y="4264"/>
                </a:lnTo>
                <a:lnTo>
                  <a:pt x="9950" y="4268"/>
                </a:lnTo>
                <a:lnTo>
                  <a:pt x="9954" y="4268"/>
                </a:lnTo>
                <a:lnTo>
                  <a:pt x="9958" y="4264"/>
                </a:lnTo>
                <a:lnTo>
                  <a:pt x="9962" y="4260"/>
                </a:lnTo>
                <a:lnTo>
                  <a:pt x="9970" y="4246"/>
                </a:lnTo>
                <a:lnTo>
                  <a:pt x="9974" y="4242"/>
                </a:lnTo>
                <a:lnTo>
                  <a:pt x="9980" y="4238"/>
                </a:lnTo>
                <a:lnTo>
                  <a:pt x="9994" y="4232"/>
                </a:lnTo>
                <a:lnTo>
                  <a:pt x="10000" y="4228"/>
                </a:lnTo>
                <a:lnTo>
                  <a:pt x="10006" y="4222"/>
                </a:lnTo>
                <a:lnTo>
                  <a:pt x="10010" y="4216"/>
                </a:lnTo>
                <a:lnTo>
                  <a:pt x="10014" y="4208"/>
                </a:lnTo>
                <a:lnTo>
                  <a:pt x="10014" y="4198"/>
                </a:lnTo>
                <a:lnTo>
                  <a:pt x="10012" y="4184"/>
                </a:lnTo>
                <a:lnTo>
                  <a:pt x="10016" y="4190"/>
                </a:lnTo>
                <a:lnTo>
                  <a:pt x="10018" y="4192"/>
                </a:lnTo>
                <a:lnTo>
                  <a:pt x="10020" y="4196"/>
                </a:lnTo>
                <a:lnTo>
                  <a:pt x="10022" y="4200"/>
                </a:lnTo>
                <a:lnTo>
                  <a:pt x="10024" y="4204"/>
                </a:lnTo>
                <a:lnTo>
                  <a:pt x="10026" y="4208"/>
                </a:lnTo>
                <a:lnTo>
                  <a:pt x="10028" y="4218"/>
                </a:lnTo>
                <a:lnTo>
                  <a:pt x="10032" y="4228"/>
                </a:lnTo>
                <a:lnTo>
                  <a:pt x="10034" y="4230"/>
                </a:lnTo>
                <a:lnTo>
                  <a:pt x="10036" y="4230"/>
                </a:lnTo>
                <a:lnTo>
                  <a:pt x="10040" y="4228"/>
                </a:lnTo>
                <a:lnTo>
                  <a:pt x="10044" y="4226"/>
                </a:lnTo>
                <a:lnTo>
                  <a:pt x="10046" y="4226"/>
                </a:lnTo>
                <a:lnTo>
                  <a:pt x="10046" y="4228"/>
                </a:lnTo>
                <a:lnTo>
                  <a:pt x="10044" y="4232"/>
                </a:lnTo>
                <a:lnTo>
                  <a:pt x="10040" y="4238"/>
                </a:lnTo>
                <a:lnTo>
                  <a:pt x="10038" y="4246"/>
                </a:lnTo>
                <a:lnTo>
                  <a:pt x="10040" y="4252"/>
                </a:lnTo>
                <a:lnTo>
                  <a:pt x="10042" y="4258"/>
                </a:lnTo>
                <a:lnTo>
                  <a:pt x="10046" y="4270"/>
                </a:lnTo>
                <a:lnTo>
                  <a:pt x="10046" y="4290"/>
                </a:lnTo>
                <a:lnTo>
                  <a:pt x="10048" y="4312"/>
                </a:lnTo>
                <a:lnTo>
                  <a:pt x="10052" y="4328"/>
                </a:lnTo>
                <a:lnTo>
                  <a:pt x="10058" y="4340"/>
                </a:lnTo>
                <a:lnTo>
                  <a:pt x="10060" y="4354"/>
                </a:lnTo>
                <a:lnTo>
                  <a:pt x="10060" y="4372"/>
                </a:lnTo>
                <a:lnTo>
                  <a:pt x="10062" y="4372"/>
                </a:lnTo>
                <a:lnTo>
                  <a:pt x="10062" y="4370"/>
                </a:lnTo>
                <a:lnTo>
                  <a:pt x="10064" y="4366"/>
                </a:lnTo>
                <a:lnTo>
                  <a:pt x="10066" y="4366"/>
                </a:lnTo>
                <a:lnTo>
                  <a:pt x="10068" y="4372"/>
                </a:lnTo>
                <a:lnTo>
                  <a:pt x="10074" y="4384"/>
                </a:lnTo>
                <a:lnTo>
                  <a:pt x="10076" y="4398"/>
                </a:lnTo>
                <a:lnTo>
                  <a:pt x="10078" y="4408"/>
                </a:lnTo>
                <a:lnTo>
                  <a:pt x="10080" y="4416"/>
                </a:lnTo>
                <a:lnTo>
                  <a:pt x="10082" y="4424"/>
                </a:lnTo>
                <a:lnTo>
                  <a:pt x="10080" y="4432"/>
                </a:lnTo>
                <a:lnTo>
                  <a:pt x="10080" y="4440"/>
                </a:lnTo>
                <a:lnTo>
                  <a:pt x="10080" y="4442"/>
                </a:lnTo>
                <a:lnTo>
                  <a:pt x="10082" y="4444"/>
                </a:lnTo>
                <a:lnTo>
                  <a:pt x="10082" y="4446"/>
                </a:lnTo>
                <a:lnTo>
                  <a:pt x="10082" y="4450"/>
                </a:lnTo>
                <a:lnTo>
                  <a:pt x="10080" y="4458"/>
                </a:lnTo>
                <a:lnTo>
                  <a:pt x="10080" y="4464"/>
                </a:lnTo>
                <a:lnTo>
                  <a:pt x="10080" y="4466"/>
                </a:lnTo>
                <a:lnTo>
                  <a:pt x="10084" y="4468"/>
                </a:lnTo>
                <a:lnTo>
                  <a:pt x="10088" y="4468"/>
                </a:lnTo>
                <a:lnTo>
                  <a:pt x="10088" y="4470"/>
                </a:lnTo>
                <a:lnTo>
                  <a:pt x="10088" y="4476"/>
                </a:lnTo>
                <a:lnTo>
                  <a:pt x="10084" y="4486"/>
                </a:lnTo>
                <a:lnTo>
                  <a:pt x="10084" y="4496"/>
                </a:lnTo>
                <a:lnTo>
                  <a:pt x="10084" y="4504"/>
                </a:lnTo>
                <a:lnTo>
                  <a:pt x="10080" y="4510"/>
                </a:lnTo>
                <a:lnTo>
                  <a:pt x="10078" y="4518"/>
                </a:lnTo>
                <a:lnTo>
                  <a:pt x="10076" y="4542"/>
                </a:lnTo>
                <a:lnTo>
                  <a:pt x="10078" y="4550"/>
                </a:lnTo>
                <a:lnTo>
                  <a:pt x="10078" y="4552"/>
                </a:lnTo>
                <a:lnTo>
                  <a:pt x="10080" y="4552"/>
                </a:lnTo>
                <a:lnTo>
                  <a:pt x="10086" y="4536"/>
                </a:lnTo>
                <a:lnTo>
                  <a:pt x="10086" y="4540"/>
                </a:lnTo>
                <a:lnTo>
                  <a:pt x="10086" y="4544"/>
                </a:lnTo>
                <a:lnTo>
                  <a:pt x="10078" y="4560"/>
                </a:lnTo>
                <a:lnTo>
                  <a:pt x="10076" y="4568"/>
                </a:lnTo>
                <a:lnTo>
                  <a:pt x="10076" y="4572"/>
                </a:lnTo>
                <a:lnTo>
                  <a:pt x="10076" y="4574"/>
                </a:lnTo>
                <a:lnTo>
                  <a:pt x="10074" y="4578"/>
                </a:lnTo>
                <a:lnTo>
                  <a:pt x="10070" y="4590"/>
                </a:lnTo>
                <a:lnTo>
                  <a:pt x="10070" y="4594"/>
                </a:lnTo>
                <a:lnTo>
                  <a:pt x="10070" y="4600"/>
                </a:lnTo>
                <a:lnTo>
                  <a:pt x="10070" y="4606"/>
                </a:lnTo>
                <a:lnTo>
                  <a:pt x="10066" y="4616"/>
                </a:lnTo>
                <a:lnTo>
                  <a:pt x="10066" y="4626"/>
                </a:lnTo>
                <a:lnTo>
                  <a:pt x="10066" y="4634"/>
                </a:lnTo>
                <a:lnTo>
                  <a:pt x="10068" y="4638"/>
                </a:lnTo>
                <a:lnTo>
                  <a:pt x="10070" y="4642"/>
                </a:lnTo>
                <a:lnTo>
                  <a:pt x="10072" y="4642"/>
                </a:lnTo>
                <a:lnTo>
                  <a:pt x="10076" y="4638"/>
                </a:lnTo>
                <a:lnTo>
                  <a:pt x="10078" y="4632"/>
                </a:lnTo>
                <a:lnTo>
                  <a:pt x="10078" y="4630"/>
                </a:lnTo>
                <a:lnTo>
                  <a:pt x="10080" y="4630"/>
                </a:lnTo>
                <a:lnTo>
                  <a:pt x="10086" y="4638"/>
                </a:lnTo>
                <a:lnTo>
                  <a:pt x="10092" y="4650"/>
                </a:lnTo>
                <a:lnTo>
                  <a:pt x="10100" y="4664"/>
                </a:lnTo>
                <a:lnTo>
                  <a:pt x="10108" y="4680"/>
                </a:lnTo>
                <a:lnTo>
                  <a:pt x="10112" y="4684"/>
                </a:lnTo>
                <a:lnTo>
                  <a:pt x="10116" y="4684"/>
                </a:lnTo>
                <a:lnTo>
                  <a:pt x="10120" y="4684"/>
                </a:lnTo>
                <a:lnTo>
                  <a:pt x="10122" y="4688"/>
                </a:lnTo>
                <a:lnTo>
                  <a:pt x="10122" y="4692"/>
                </a:lnTo>
                <a:lnTo>
                  <a:pt x="10122" y="4698"/>
                </a:lnTo>
                <a:lnTo>
                  <a:pt x="10124" y="4702"/>
                </a:lnTo>
                <a:lnTo>
                  <a:pt x="10128" y="4706"/>
                </a:lnTo>
                <a:lnTo>
                  <a:pt x="10136" y="4716"/>
                </a:lnTo>
                <a:lnTo>
                  <a:pt x="10142" y="4726"/>
                </a:lnTo>
                <a:lnTo>
                  <a:pt x="10148" y="4734"/>
                </a:lnTo>
                <a:lnTo>
                  <a:pt x="10150" y="4744"/>
                </a:lnTo>
                <a:lnTo>
                  <a:pt x="10154" y="4762"/>
                </a:lnTo>
                <a:lnTo>
                  <a:pt x="10156" y="4778"/>
                </a:lnTo>
                <a:lnTo>
                  <a:pt x="10154" y="4788"/>
                </a:lnTo>
                <a:lnTo>
                  <a:pt x="10152" y="4792"/>
                </a:lnTo>
                <a:lnTo>
                  <a:pt x="10154" y="4794"/>
                </a:lnTo>
                <a:lnTo>
                  <a:pt x="10156" y="4798"/>
                </a:lnTo>
                <a:lnTo>
                  <a:pt x="10158" y="4802"/>
                </a:lnTo>
                <a:lnTo>
                  <a:pt x="10160" y="4806"/>
                </a:lnTo>
                <a:lnTo>
                  <a:pt x="10162" y="4812"/>
                </a:lnTo>
                <a:lnTo>
                  <a:pt x="10160" y="4820"/>
                </a:lnTo>
                <a:lnTo>
                  <a:pt x="10160" y="4834"/>
                </a:lnTo>
                <a:lnTo>
                  <a:pt x="10164" y="4838"/>
                </a:lnTo>
                <a:lnTo>
                  <a:pt x="10166" y="4840"/>
                </a:lnTo>
                <a:lnTo>
                  <a:pt x="10166" y="4844"/>
                </a:lnTo>
                <a:lnTo>
                  <a:pt x="10166" y="4848"/>
                </a:lnTo>
                <a:lnTo>
                  <a:pt x="10170" y="4854"/>
                </a:lnTo>
                <a:lnTo>
                  <a:pt x="10180" y="4866"/>
                </a:lnTo>
                <a:lnTo>
                  <a:pt x="10184" y="4872"/>
                </a:lnTo>
                <a:lnTo>
                  <a:pt x="10188" y="4880"/>
                </a:lnTo>
                <a:lnTo>
                  <a:pt x="10192" y="4888"/>
                </a:lnTo>
                <a:lnTo>
                  <a:pt x="10190" y="4894"/>
                </a:lnTo>
                <a:lnTo>
                  <a:pt x="10190" y="4900"/>
                </a:lnTo>
                <a:lnTo>
                  <a:pt x="10190" y="4902"/>
                </a:lnTo>
                <a:lnTo>
                  <a:pt x="10196" y="4906"/>
                </a:lnTo>
                <a:lnTo>
                  <a:pt x="10210" y="4916"/>
                </a:lnTo>
                <a:lnTo>
                  <a:pt x="10220" y="4924"/>
                </a:lnTo>
                <a:lnTo>
                  <a:pt x="10232" y="4936"/>
                </a:lnTo>
                <a:lnTo>
                  <a:pt x="10244" y="4946"/>
                </a:lnTo>
                <a:lnTo>
                  <a:pt x="10252" y="4952"/>
                </a:lnTo>
                <a:lnTo>
                  <a:pt x="10264" y="4958"/>
                </a:lnTo>
                <a:lnTo>
                  <a:pt x="10270" y="4962"/>
                </a:lnTo>
                <a:lnTo>
                  <a:pt x="10272" y="4966"/>
                </a:lnTo>
                <a:lnTo>
                  <a:pt x="10276" y="4970"/>
                </a:lnTo>
                <a:lnTo>
                  <a:pt x="10278" y="4976"/>
                </a:lnTo>
                <a:lnTo>
                  <a:pt x="10280" y="4974"/>
                </a:lnTo>
                <a:lnTo>
                  <a:pt x="10284" y="4970"/>
                </a:lnTo>
                <a:lnTo>
                  <a:pt x="10288" y="4968"/>
                </a:lnTo>
                <a:lnTo>
                  <a:pt x="10292" y="4970"/>
                </a:lnTo>
                <a:lnTo>
                  <a:pt x="10296" y="4968"/>
                </a:lnTo>
                <a:lnTo>
                  <a:pt x="10298" y="4966"/>
                </a:lnTo>
                <a:lnTo>
                  <a:pt x="10298" y="4964"/>
                </a:lnTo>
                <a:lnTo>
                  <a:pt x="10302" y="4964"/>
                </a:lnTo>
                <a:lnTo>
                  <a:pt x="10304" y="4966"/>
                </a:lnTo>
                <a:lnTo>
                  <a:pt x="10304" y="4968"/>
                </a:lnTo>
                <a:lnTo>
                  <a:pt x="10302" y="4972"/>
                </a:lnTo>
                <a:lnTo>
                  <a:pt x="10306" y="4974"/>
                </a:lnTo>
                <a:lnTo>
                  <a:pt x="10308" y="4974"/>
                </a:lnTo>
                <a:lnTo>
                  <a:pt x="10310" y="4972"/>
                </a:lnTo>
                <a:lnTo>
                  <a:pt x="10310" y="4964"/>
                </a:lnTo>
                <a:lnTo>
                  <a:pt x="10308" y="4956"/>
                </a:lnTo>
                <a:lnTo>
                  <a:pt x="10304" y="4948"/>
                </a:lnTo>
                <a:lnTo>
                  <a:pt x="10302" y="4944"/>
                </a:lnTo>
                <a:lnTo>
                  <a:pt x="10300" y="4940"/>
                </a:lnTo>
                <a:lnTo>
                  <a:pt x="10298" y="4928"/>
                </a:lnTo>
                <a:lnTo>
                  <a:pt x="10294" y="4918"/>
                </a:lnTo>
                <a:lnTo>
                  <a:pt x="10292" y="4912"/>
                </a:lnTo>
                <a:lnTo>
                  <a:pt x="10286" y="4908"/>
                </a:lnTo>
                <a:lnTo>
                  <a:pt x="10280" y="4902"/>
                </a:lnTo>
                <a:lnTo>
                  <a:pt x="10276" y="4896"/>
                </a:lnTo>
                <a:lnTo>
                  <a:pt x="10276" y="4890"/>
                </a:lnTo>
                <a:lnTo>
                  <a:pt x="10276" y="4884"/>
                </a:lnTo>
                <a:lnTo>
                  <a:pt x="10278" y="4872"/>
                </a:lnTo>
                <a:lnTo>
                  <a:pt x="10278" y="4868"/>
                </a:lnTo>
                <a:lnTo>
                  <a:pt x="10276" y="4862"/>
                </a:lnTo>
                <a:lnTo>
                  <a:pt x="10274" y="4858"/>
                </a:lnTo>
                <a:lnTo>
                  <a:pt x="10274" y="4852"/>
                </a:lnTo>
                <a:lnTo>
                  <a:pt x="10276" y="4846"/>
                </a:lnTo>
                <a:lnTo>
                  <a:pt x="10276" y="4842"/>
                </a:lnTo>
                <a:lnTo>
                  <a:pt x="10276" y="4836"/>
                </a:lnTo>
                <a:lnTo>
                  <a:pt x="10278" y="4826"/>
                </a:lnTo>
                <a:lnTo>
                  <a:pt x="10278" y="4814"/>
                </a:lnTo>
                <a:lnTo>
                  <a:pt x="10276" y="4798"/>
                </a:lnTo>
                <a:lnTo>
                  <a:pt x="10272" y="4790"/>
                </a:lnTo>
                <a:lnTo>
                  <a:pt x="10266" y="4782"/>
                </a:lnTo>
                <a:lnTo>
                  <a:pt x="10254" y="4768"/>
                </a:lnTo>
                <a:lnTo>
                  <a:pt x="10244" y="4756"/>
                </a:lnTo>
                <a:lnTo>
                  <a:pt x="10238" y="4750"/>
                </a:lnTo>
                <a:lnTo>
                  <a:pt x="10236" y="4744"/>
                </a:lnTo>
                <a:lnTo>
                  <a:pt x="10234" y="4738"/>
                </a:lnTo>
                <a:lnTo>
                  <a:pt x="10230" y="4736"/>
                </a:lnTo>
                <a:lnTo>
                  <a:pt x="10222" y="4734"/>
                </a:lnTo>
                <a:lnTo>
                  <a:pt x="10212" y="4724"/>
                </a:lnTo>
                <a:lnTo>
                  <a:pt x="10200" y="4706"/>
                </a:lnTo>
                <a:lnTo>
                  <a:pt x="10196" y="4702"/>
                </a:lnTo>
                <a:lnTo>
                  <a:pt x="10192" y="4700"/>
                </a:lnTo>
                <a:lnTo>
                  <a:pt x="10188" y="4702"/>
                </a:lnTo>
                <a:lnTo>
                  <a:pt x="10184" y="4704"/>
                </a:lnTo>
                <a:lnTo>
                  <a:pt x="10180" y="4704"/>
                </a:lnTo>
                <a:lnTo>
                  <a:pt x="10174" y="4700"/>
                </a:lnTo>
                <a:lnTo>
                  <a:pt x="10166" y="4692"/>
                </a:lnTo>
                <a:lnTo>
                  <a:pt x="10160" y="4686"/>
                </a:lnTo>
                <a:lnTo>
                  <a:pt x="10158" y="4676"/>
                </a:lnTo>
                <a:lnTo>
                  <a:pt x="10154" y="4652"/>
                </a:lnTo>
                <a:lnTo>
                  <a:pt x="10150" y="4632"/>
                </a:lnTo>
                <a:lnTo>
                  <a:pt x="10148" y="4626"/>
                </a:lnTo>
                <a:lnTo>
                  <a:pt x="10146" y="4626"/>
                </a:lnTo>
                <a:lnTo>
                  <a:pt x="10144" y="4626"/>
                </a:lnTo>
                <a:lnTo>
                  <a:pt x="10140" y="4624"/>
                </a:lnTo>
                <a:lnTo>
                  <a:pt x="10136" y="4614"/>
                </a:lnTo>
                <a:lnTo>
                  <a:pt x="10134" y="4602"/>
                </a:lnTo>
                <a:lnTo>
                  <a:pt x="10132" y="4588"/>
                </a:lnTo>
                <a:lnTo>
                  <a:pt x="10130" y="4584"/>
                </a:lnTo>
                <a:lnTo>
                  <a:pt x="10128" y="4584"/>
                </a:lnTo>
                <a:lnTo>
                  <a:pt x="10118" y="4588"/>
                </a:lnTo>
                <a:lnTo>
                  <a:pt x="10114" y="4588"/>
                </a:lnTo>
                <a:lnTo>
                  <a:pt x="10110" y="4590"/>
                </a:lnTo>
                <a:lnTo>
                  <a:pt x="10108" y="4586"/>
                </a:lnTo>
                <a:lnTo>
                  <a:pt x="10108" y="4580"/>
                </a:lnTo>
                <a:lnTo>
                  <a:pt x="10106" y="4550"/>
                </a:lnTo>
                <a:lnTo>
                  <a:pt x="10108" y="4528"/>
                </a:lnTo>
                <a:lnTo>
                  <a:pt x="10108" y="4520"/>
                </a:lnTo>
                <a:lnTo>
                  <a:pt x="10112" y="4514"/>
                </a:lnTo>
                <a:lnTo>
                  <a:pt x="10116" y="4510"/>
                </a:lnTo>
                <a:lnTo>
                  <a:pt x="10118" y="4506"/>
                </a:lnTo>
                <a:lnTo>
                  <a:pt x="10120" y="4494"/>
                </a:lnTo>
                <a:lnTo>
                  <a:pt x="10122" y="4484"/>
                </a:lnTo>
                <a:lnTo>
                  <a:pt x="10126" y="4474"/>
                </a:lnTo>
                <a:lnTo>
                  <a:pt x="10132" y="4458"/>
                </a:lnTo>
                <a:lnTo>
                  <a:pt x="10138" y="4432"/>
                </a:lnTo>
                <a:lnTo>
                  <a:pt x="10140" y="4408"/>
                </a:lnTo>
                <a:lnTo>
                  <a:pt x="10142" y="4400"/>
                </a:lnTo>
                <a:lnTo>
                  <a:pt x="10140" y="4396"/>
                </a:lnTo>
                <a:lnTo>
                  <a:pt x="10138" y="4392"/>
                </a:lnTo>
                <a:lnTo>
                  <a:pt x="10136" y="4388"/>
                </a:lnTo>
                <a:lnTo>
                  <a:pt x="10136" y="4386"/>
                </a:lnTo>
                <a:lnTo>
                  <a:pt x="10138" y="4382"/>
                </a:lnTo>
                <a:lnTo>
                  <a:pt x="10140" y="4380"/>
                </a:lnTo>
                <a:lnTo>
                  <a:pt x="10146" y="4378"/>
                </a:lnTo>
                <a:lnTo>
                  <a:pt x="10160" y="4376"/>
                </a:lnTo>
                <a:lnTo>
                  <a:pt x="10166" y="4376"/>
                </a:lnTo>
                <a:lnTo>
                  <a:pt x="10172" y="4378"/>
                </a:lnTo>
                <a:lnTo>
                  <a:pt x="10174" y="4380"/>
                </a:lnTo>
                <a:lnTo>
                  <a:pt x="10174" y="4384"/>
                </a:lnTo>
                <a:lnTo>
                  <a:pt x="10174" y="4394"/>
                </a:lnTo>
                <a:lnTo>
                  <a:pt x="10170" y="4410"/>
                </a:lnTo>
                <a:lnTo>
                  <a:pt x="10170" y="4420"/>
                </a:lnTo>
                <a:lnTo>
                  <a:pt x="10172" y="4422"/>
                </a:lnTo>
                <a:lnTo>
                  <a:pt x="10174" y="4422"/>
                </a:lnTo>
                <a:lnTo>
                  <a:pt x="10182" y="4420"/>
                </a:lnTo>
                <a:lnTo>
                  <a:pt x="10184" y="4420"/>
                </a:lnTo>
                <a:lnTo>
                  <a:pt x="10188" y="4422"/>
                </a:lnTo>
                <a:lnTo>
                  <a:pt x="10192" y="4422"/>
                </a:lnTo>
                <a:lnTo>
                  <a:pt x="10194" y="4422"/>
                </a:lnTo>
                <a:lnTo>
                  <a:pt x="10200" y="4420"/>
                </a:lnTo>
                <a:lnTo>
                  <a:pt x="10204" y="4418"/>
                </a:lnTo>
                <a:lnTo>
                  <a:pt x="10206" y="4418"/>
                </a:lnTo>
                <a:lnTo>
                  <a:pt x="10210" y="4420"/>
                </a:lnTo>
                <a:lnTo>
                  <a:pt x="10218" y="4428"/>
                </a:lnTo>
                <a:lnTo>
                  <a:pt x="10224" y="4436"/>
                </a:lnTo>
                <a:lnTo>
                  <a:pt x="10232" y="4442"/>
                </a:lnTo>
                <a:lnTo>
                  <a:pt x="10234" y="4446"/>
                </a:lnTo>
                <a:lnTo>
                  <a:pt x="10238" y="4448"/>
                </a:lnTo>
                <a:lnTo>
                  <a:pt x="10242" y="4448"/>
                </a:lnTo>
                <a:lnTo>
                  <a:pt x="10244" y="4452"/>
                </a:lnTo>
                <a:lnTo>
                  <a:pt x="10248" y="4458"/>
                </a:lnTo>
                <a:lnTo>
                  <a:pt x="10250" y="4464"/>
                </a:lnTo>
                <a:lnTo>
                  <a:pt x="10252" y="4466"/>
                </a:lnTo>
                <a:lnTo>
                  <a:pt x="10256" y="4468"/>
                </a:lnTo>
                <a:lnTo>
                  <a:pt x="10250" y="4454"/>
                </a:lnTo>
                <a:lnTo>
                  <a:pt x="10250" y="4446"/>
                </a:lnTo>
                <a:lnTo>
                  <a:pt x="10250" y="4454"/>
                </a:lnTo>
                <a:lnTo>
                  <a:pt x="10256" y="4468"/>
                </a:lnTo>
                <a:lnTo>
                  <a:pt x="10262" y="4480"/>
                </a:lnTo>
                <a:lnTo>
                  <a:pt x="10264" y="4486"/>
                </a:lnTo>
                <a:lnTo>
                  <a:pt x="10262" y="4490"/>
                </a:lnTo>
                <a:lnTo>
                  <a:pt x="10262" y="4500"/>
                </a:lnTo>
                <a:lnTo>
                  <a:pt x="10264" y="4508"/>
                </a:lnTo>
                <a:lnTo>
                  <a:pt x="10264" y="4510"/>
                </a:lnTo>
                <a:lnTo>
                  <a:pt x="10266" y="4510"/>
                </a:lnTo>
                <a:lnTo>
                  <a:pt x="10270" y="4508"/>
                </a:lnTo>
                <a:lnTo>
                  <a:pt x="10274" y="4506"/>
                </a:lnTo>
                <a:lnTo>
                  <a:pt x="10276" y="4506"/>
                </a:lnTo>
                <a:lnTo>
                  <a:pt x="10276" y="4504"/>
                </a:lnTo>
                <a:lnTo>
                  <a:pt x="10276" y="4498"/>
                </a:lnTo>
                <a:lnTo>
                  <a:pt x="10276" y="4496"/>
                </a:lnTo>
                <a:lnTo>
                  <a:pt x="10278" y="4494"/>
                </a:lnTo>
                <a:lnTo>
                  <a:pt x="10280" y="4496"/>
                </a:lnTo>
                <a:lnTo>
                  <a:pt x="10284" y="4500"/>
                </a:lnTo>
                <a:lnTo>
                  <a:pt x="10286" y="4504"/>
                </a:lnTo>
                <a:lnTo>
                  <a:pt x="10288" y="4508"/>
                </a:lnTo>
                <a:lnTo>
                  <a:pt x="10284" y="4514"/>
                </a:lnTo>
                <a:lnTo>
                  <a:pt x="10280" y="4518"/>
                </a:lnTo>
                <a:lnTo>
                  <a:pt x="10280" y="4522"/>
                </a:lnTo>
                <a:lnTo>
                  <a:pt x="10282" y="4524"/>
                </a:lnTo>
                <a:lnTo>
                  <a:pt x="10284" y="4526"/>
                </a:lnTo>
                <a:lnTo>
                  <a:pt x="10286" y="4526"/>
                </a:lnTo>
                <a:lnTo>
                  <a:pt x="10290" y="4524"/>
                </a:lnTo>
                <a:lnTo>
                  <a:pt x="10292" y="4520"/>
                </a:lnTo>
                <a:lnTo>
                  <a:pt x="10294" y="4520"/>
                </a:lnTo>
                <a:lnTo>
                  <a:pt x="10296" y="4522"/>
                </a:lnTo>
                <a:lnTo>
                  <a:pt x="10300" y="4524"/>
                </a:lnTo>
                <a:lnTo>
                  <a:pt x="10304" y="4524"/>
                </a:lnTo>
                <a:lnTo>
                  <a:pt x="10310" y="4526"/>
                </a:lnTo>
                <a:lnTo>
                  <a:pt x="10312" y="4528"/>
                </a:lnTo>
                <a:lnTo>
                  <a:pt x="10316" y="4532"/>
                </a:lnTo>
                <a:lnTo>
                  <a:pt x="10320" y="4540"/>
                </a:lnTo>
                <a:lnTo>
                  <a:pt x="10322" y="4542"/>
                </a:lnTo>
                <a:lnTo>
                  <a:pt x="10324" y="4544"/>
                </a:lnTo>
                <a:lnTo>
                  <a:pt x="10328" y="4542"/>
                </a:lnTo>
                <a:lnTo>
                  <a:pt x="10332" y="4542"/>
                </a:lnTo>
                <a:lnTo>
                  <a:pt x="10334" y="4542"/>
                </a:lnTo>
                <a:lnTo>
                  <a:pt x="10338" y="4544"/>
                </a:lnTo>
                <a:lnTo>
                  <a:pt x="10340" y="4548"/>
                </a:lnTo>
                <a:lnTo>
                  <a:pt x="10340" y="4552"/>
                </a:lnTo>
                <a:lnTo>
                  <a:pt x="10336" y="4558"/>
                </a:lnTo>
                <a:lnTo>
                  <a:pt x="10332" y="4568"/>
                </a:lnTo>
                <a:lnTo>
                  <a:pt x="10330" y="4576"/>
                </a:lnTo>
                <a:lnTo>
                  <a:pt x="10330" y="4588"/>
                </a:lnTo>
                <a:lnTo>
                  <a:pt x="10328" y="4608"/>
                </a:lnTo>
                <a:lnTo>
                  <a:pt x="10330" y="4620"/>
                </a:lnTo>
                <a:lnTo>
                  <a:pt x="10332" y="4624"/>
                </a:lnTo>
                <a:lnTo>
                  <a:pt x="10334" y="4624"/>
                </a:lnTo>
                <a:lnTo>
                  <a:pt x="10338" y="4622"/>
                </a:lnTo>
                <a:lnTo>
                  <a:pt x="10344" y="4616"/>
                </a:lnTo>
                <a:lnTo>
                  <a:pt x="10366" y="4594"/>
                </a:lnTo>
                <a:lnTo>
                  <a:pt x="10376" y="4588"/>
                </a:lnTo>
                <a:lnTo>
                  <a:pt x="10384" y="4584"/>
                </a:lnTo>
                <a:lnTo>
                  <a:pt x="10388" y="4582"/>
                </a:lnTo>
                <a:lnTo>
                  <a:pt x="10390" y="4580"/>
                </a:lnTo>
                <a:lnTo>
                  <a:pt x="10390" y="4576"/>
                </a:lnTo>
                <a:lnTo>
                  <a:pt x="10390" y="4574"/>
                </a:lnTo>
                <a:lnTo>
                  <a:pt x="10396" y="4572"/>
                </a:lnTo>
                <a:lnTo>
                  <a:pt x="10400" y="4570"/>
                </a:lnTo>
                <a:lnTo>
                  <a:pt x="10404" y="4564"/>
                </a:lnTo>
                <a:lnTo>
                  <a:pt x="10408" y="4544"/>
                </a:lnTo>
                <a:lnTo>
                  <a:pt x="10412" y="4528"/>
                </a:lnTo>
                <a:lnTo>
                  <a:pt x="10414" y="4522"/>
                </a:lnTo>
                <a:lnTo>
                  <a:pt x="10416" y="4522"/>
                </a:lnTo>
                <a:lnTo>
                  <a:pt x="10422" y="4528"/>
                </a:lnTo>
                <a:lnTo>
                  <a:pt x="10424" y="4530"/>
                </a:lnTo>
                <a:lnTo>
                  <a:pt x="10428" y="4532"/>
                </a:lnTo>
                <a:lnTo>
                  <a:pt x="10432" y="4532"/>
                </a:lnTo>
                <a:lnTo>
                  <a:pt x="10438" y="4530"/>
                </a:lnTo>
                <a:lnTo>
                  <a:pt x="10444" y="4526"/>
                </a:lnTo>
                <a:lnTo>
                  <a:pt x="10454" y="4518"/>
                </a:lnTo>
                <a:lnTo>
                  <a:pt x="10464" y="4510"/>
                </a:lnTo>
                <a:lnTo>
                  <a:pt x="10472" y="4504"/>
                </a:lnTo>
                <a:lnTo>
                  <a:pt x="10488" y="4494"/>
                </a:lnTo>
                <a:lnTo>
                  <a:pt x="10494" y="4492"/>
                </a:lnTo>
                <a:lnTo>
                  <a:pt x="10498" y="4486"/>
                </a:lnTo>
                <a:lnTo>
                  <a:pt x="10502" y="4480"/>
                </a:lnTo>
                <a:lnTo>
                  <a:pt x="10506" y="4470"/>
                </a:lnTo>
                <a:lnTo>
                  <a:pt x="10510" y="4452"/>
                </a:lnTo>
                <a:lnTo>
                  <a:pt x="10510" y="4436"/>
                </a:lnTo>
                <a:lnTo>
                  <a:pt x="10512" y="4426"/>
                </a:lnTo>
                <a:lnTo>
                  <a:pt x="10512" y="4424"/>
                </a:lnTo>
                <a:lnTo>
                  <a:pt x="10514" y="4422"/>
                </a:lnTo>
                <a:lnTo>
                  <a:pt x="10518" y="4420"/>
                </a:lnTo>
                <a:lnTo>
                  <a:pt x="10518" y="4418"/>
                </a:lnTo>
                <a:lnTo>
                  <a:pt x="10518" y="4412"/>
                </a:lnTo>
                <a:lnTo>
                  <a:pt x="10516" y="4406"/>
                </a:lnTo>
                <a:lnTo>
                  <a:pt x="10512" y="4398"/>
                </a:lnTo>
                <a:lnTo>
                  <a:pt x="10510" y="4394"/>
                </a:lnTo>
                <a:lnTo>
                  <a:pt x="10510" y="4388"/>
                </a:lnTo>
                <a:lnTo>
                  <a:pt x="10512" y="4374"/>
                </a:lnTo>
                <a:lnTo>
                  <a:pt x="10512" y="4352"/>
                </a:lnTo>
                <a:lnTo>
                  <a:pt x="10510" y="4338"/>
                </a:lnTo>
                <a:lnTo>
                  <a:pt x="10506" y="4322"/>
                </a:lnTo>
                <a:lnTo>
                  <a:pt x="10494" y="4294"/>
                </a:lnTo>
                <a:lnTo>
                  <a:pt x="10486" y="4278"/>
                </a:lnTo>
                <a:lnTo>
                  <a:pt x="10478" y="4268"/>
                </a:lnTo>
                <a:lnTo>
                  <a:pt x="10474" y="4256"/>
                </a:lnTo>
                <a:lnTo>
                  <a:pt x="10468" y="4246"/>
                </a:lnTo>
                <a:lnTo>
                  <a:pt x="10462" y="4240"/>
                </a:lnTo>
                <a:lnTo>
                  <a:pt x="10452" y="4234"/>
                </a:lnTo>
                <a:lnTo>
                  <a:pt x="10438" y="4220"/>
                </a:lnTo>
                <a:lnTo>
                  <a:pt x="10422" y="4202"/>
                </a:lnTo>
                <a:lnTo>
                  <a:pt x="10410" y="4186"/>
                </a:lnTo>
                <a:lnTo>
                  <a:pt x="10402" y="4172"/>
                </a:lnTo>
                <a:lnTo>
                  <a:pt x="10398" y="4166"/>
                </a:lnTo>
                <a:lnTo>
                  <a:pt x="10398" y="4158"/>
                </a:lnTo>
                <a:lnTo>
                  <a:pt x="10396" y="4154"/>
                </a:lnTo>
                <a:lnTo>
                  <a:pt x="10394" y="4150"/>
                </a:lnTo>
                <a:lnTo>
                  <a:pt x="10388" y="4146"/>
                </a:lnTo>
                <a:lnTo>
                  <a:pt x="10380" y="4138"/>
                </a:lnTo>
                <a:lnTo>
                  <a:pt x="10376" y="4132"/>
                </a:lnTo>
                <a:lnTo>
                  <a:pt x="10370" y="4124"/>
                </a:lnTo>
                <a:lnTo>
                  <a:pt x="10368" y="4114"/>
                </a:lnTo>
                <a:lnTo>
                  <a:pt x="10366" y="4104"/>
                </a:lnTo>
                <a:lnTo>
                  <a:pt x="10368" y="4094"/>
                </a:lnTo>
                <a:lnTo>
                  <a:pt x="10370" y="4082"/>
                </a:lnTo>
                <a:lnTo>
                  <a:pt x="10374" y="4072"/>
                </a:lnTo>
                <a:lnTo>
                  <a:pt x="10380" y="4064"/>
                </a:lnTo>
                <a:lnTo>
                  <a:pt x="10386" y="4054"/>
                </a:lnTo>
                <a:lnTo>
                  <a:pt x="10394" y="4048"/>
                </a:lnTo>
                <a:lnTo>
                  <a:pt x="10400" y="4042"/>
                </a:lnTo>
                <a:lnTo>
                  <a:pt x="10404" y="4036"/>
                </a:lnTo>
                <a:lnTo>
                  <a:pt x="10408" y="4024"/>
                </a:lnTo>
                <a:lnTo>
                  <a:pt x="10410" y="4016"/>
                </a:lnTo>
                <a:lnTo>
                  <a:pt x="10412" y="4012"/>
                </a:lnTo>
                <a:lnTo>
                  <a:pt x="10414" y="4008"/>
                </a:lnTo>
                <a:lnTo>
                  <a:pt x="10420" y="4006"/>
                </a:lnTo>
                <a:lnTo>
                  <a:pt x="10424" y="4006"/>
                </a:lnTo>
                <a:lnTo>
                  <a:pt x="10426" y="4008"/>
                </a:lnTo>
                <a:lnTo>
                  <a:pt x="10430" y="4006"/>
                </a:lnTo>
                <a:lnTo>
                  <a:pt x="10432" y="4002"/>
                </a:lnTo>
                <a:lnTo>
                  <a:pt x="10434" y="3998"/>
                </a:lnTo>
                <a:lnTo>
                  <a:pt x="10436" y="3994"/>
                </a:lnTo>
                <a:lnTo>
                  <a:pt x="10442" y="3988"/>
                </a:lnTo>
                <a:lnTo>
                  <a:pt x="10450" y="3984"/>
                </a:lnTo>
                <a:lnTo>
                  <a:pt x="10456" y="3982"/>
                </a:lnTo>
                <a:lnTo>
                  <a:pt x="10460" y="3980"/>
                </a:lnTo>
                <a:lnTo>
                  <a:pt x="10462" y="3978"/>
                </a:lnTo>
                <a:lnTo>
                  <a:pt x="10464" y="3980"/>
                </a:lnTo>
                <a:lnTo>
                  <a:pt x="10468" y="3980"/>
                </a:lnTo>
                <a:lnTo>
                  <a:pt x="10470" y="3980"/>
                </a:lnTo>
                <a:lnTo>
                  <a:pt x="10472" y="3976"/>
                </a:lnTo>
                <a:lnTo>
                  <a:pt x="10474" y="3974"/>
                </a:lnTo>
                <a:lnTo>
                  <a:pt x="10476" y="3974"/>
                </a:lnTo>
                <a:lnTo>
                  <a:pt x="10478" y="3976"/>
                </a:lnTo>
                <a:lnTo>
                  <a:pt x="10480" y="3976"/>
                </a:lnTo>
                <a:lnTo>
                  <a:pt x="10482" y="3974"/>
                </a:lnTo>
                <a:lnTo>
                  <a:pt x="10482" y="3970"/>
                </a:lnTo>
                <a:lnTo>
                  <a:pt x="10480" y="3966"/>
                </a:lnTo>
                <a:lnTo>
                  <a:pt x="10480" y="3962"/>
                </a:lnTo>
                <a:lnTo>
                  <a:pt x="10480" y="3960"/>
                </a:lnTo>
                <a:lnTo>
                  <a:pt x="10482" y="3960"/>
                </a:lnTo>
                <a:lnTo>
                  <a:pt x="10484" y="3966"/>
                </a:lnTo>
                <a:lnTo>
                  <a:pt x="10490" y="3972"/>
                </a:lnTo>
                <a:lnTo>
                  <a:pt x="10494" y="3974"/>
                </a:lnTo>
                <a:lnTo>
                  <a:pt x="10498" y="3974"/>
                </a:lnTo>
                <a:lnTo>
                  <a:pt x="10502" y="3976"/>
                </a:lnTo>
                <a:lnTo>
                  <a:pt x="10504" y="3976"/>
                </a:lnTo>
                <a:lnTo>
                  <a:pt x="10504" y="3980"/>
                </a:lnTo>
                <a:lnTo>
                  <a:pt x="10502" y="3984"/>
                </a:lnTo>
                <a:lnTo>
                  <a:pt x="10504" y="3984"/>
                </a:lnTo>
                <a:lnTo>
                  <a:pt x="10508" y="3984"/>
                </a:lnTo>
                <a:lnTo>
                  <a:pt x="10518" y="3984"/>
                </a:lnTo>
                <a:lnTo>
                  <a:pt x="10522" y="3982"/>
                </a:lnTo>
                <a:lnTo>
                  <a:pt x="10522" y="3978"/>
                </a:lnTo>
                <a:lnTo>
                  <a:pt x="10522" y="3970"/>
                </a:lnTo>
                <a:lnTo>
                  <a:pt x="10522" y="3972"/>
                </a:lnTo>
                <a:lnTo>
                  <a:pt x="10526" y="3976"/>
                </a:lnTo>
                <a:lnTo>
                  <a:pt x="10528" y="3982"/>
                </a:lnTo>
                <a:lnTo>
                  <a:pt x="10530" y="3982"/>
                </a:lnTo>
                <a:lnTo>
                  <a:pt x="10534" y="3982"/>
                </a:lnTo>
                <a:lnTo>
                  <a:pt x="10536" y="3982"/>
                </a:lnTo>
                <a:lnTo>
                  <a:pt x="10538" y="3986"/>
                </a:lnTo>
                <a:lnTo>
                  <a:pt x="10534" y="3988"/>
                </a:lnTo>
                <a:lnTo>
                  <a:pt x="10530" y="3994"/>
                </a:lnTo>
                <a:lnTo>
                  <a:pt x="10528" y="4002"/>
                </a:lnTo>
                <a:lnTo>
                  <a:pt x="10528" y="4010"/>
                </a:lnTo>
                <a:lnTo>
                  <a:pt x="10528" y="4014"/>
                </a:lnTo>
                <a:lnTo>
                  <a:pt x="10530" y="4016"/>
                </a:lnTo>
                <a:lnTo>
                  <a:pt x="10530" y="4020"/>
                </a:lnTo>
                <a:lnTo>
                  <a:pt x="10530" y="4024"/>
                </a:lnTo>
                <a:lnTo>
                  <a:pt x="10532" y="4028"/>
                </a:lnTo>
                <a:lnTo>
                  <a:pt x="10534" y="4030"/>
                </a:lnTo>
                <a:lnTo>
                  <a:pt x="10536" y="4034"/>
                </a:lnTo>
                <a:lnTo>
                  <a:pt x="10536" y="4038"/>
                </a:lnTo>
                <a:lnTo>
                  <a:pt x="10536" y="4042"/>
                </a:lnTo>
                <a:lnTo>
                  <a:pt x="10540" y="4044"/>
                </a:lnTo>
                <a:lnTo>
                  <a:pt x="10552" y="4042"/>
                </a:lnTo>
                <a:lnTo>
                  <a:pt x="10560" y="4038"/>
                </a:lnTo>
                <a:lnTo>
                  <a:pt x="10562" y="4036"/>
                </a:lnTo>
                <a:lnTo>
                  <a:pt x="10562" y="4032"/>
                </a:lnTo>
                <a:lnTo>
                  <a:pt x="10560" y="4026"/>
                </a:lnTo>
                <a:lnTo>
                  <a:pt x="10556" y="4018"/>
                </a:lnTo>
                <a:lnTo>
                  <a:pt x="10554" y="4012"/>
                </a:lnTo>
                <a:lnTo>
                  <a:pt x="10550" y="4012"/>
                </a:lnTo>
                <a:lnTo>
                  <a:pt x="10548" y="4012"/>
                </a:lnTo>
                <a:lnTo>
                  <a:pt x="10546" y="4008"/>
                </a:lnTo>
                <a:lnTo>
                  <a:pt x="10548" y="4004"/>
                </a:lnTo>
                <a:lnTo>
                  <a:pt x="10554" y="4000"/>
                </a:lnTo>
                <a:lnTo>
                  <a:pt x="10572" y="3988"/>
                </a:lnTo>
                <a:lnTo>
                  <a:pt x="10580" y="3982"/>
                </a:lnTo>
                <a:lnTo>
                  <a:pt x="10586" y="3982"/>
                </a:lnTo>
                <a:lnTo>
                  <a:pt x="10592" y="3982"/>
                </a:lnTo>
                <a:lnTo>
                  <a:pt x="10604" y="3980"/>
                </a:lnTo>
                <a:lnTo>
                  <a:pt x="10610" y="3976"/>
                </a:lnTo>
                <a:lnTo>
                  <a:pt x="10614" y="3974"/>
                </a:lnTo>
                <a:lnTo>
                  <a:pt x="10618" y="3968"/>
                </a:lnTo>
                <a:lnTo>
                  <a:pt x="10620" y="3964"/>
                </a:lnTo>
                <a:lnTo>
                  <a:pt x="10624" y="3964"/>
                </a:lnTo>
                <a:lnTo>
                  <a:pt x="10630" y="3968"/>
                </a:lnTo>
                <a:lnTo>
                  <a:pt x="10630" y="3972"/>
                </a:lnTo>
                <a:lnTo>
                  <a:pt x="10632" y="3972"/>
                </a:lnTo>
                <a:lnTo>
                  <a:pt x="10634" y="3966"/>
                </a:lnTo>
                <a:lnTo>
                  <a:pt x="10638" y="3964"/>
                </a:lnTo>
                <a:lnTo>
                  <a:pt x="10640" y="3966"/>
                </a:lnTo>
                <a:lnTo>
                  <a:pt x="10642" y="3966"/>
                </a:lnTo>
                <a:lnTo>
                  <a:pt x="10646" y="3962"/>
                </a:lnTo>
                <a:lnTo>
                  <a:pt x="10650" y="3960"/>
                </a:lnTo>
                <a:lnTo>
                  <a:pt x="10652" y="3958"/>
                </a:lnTo>
                <a:lnTo>
                  <a:pt x="10658" y="3960"/>
                </a:lnTo>
                <a:lnTo>
                  <a:pt x="10660" y="3962"/>
                </a:lnTo>
                <a:lnTo>
                  <a:pt x="10662" y="3960"/>
                </a:lnTo>
                <a:lnTo>
                  <a:pt x="10662" y="3956"/>
                </a:lnTo>
                <a:lnTo>
                  <a:pt x="10664" y="3948"/>
                </a:lnTo>
                <a:lnTo>
                  <a:pt x="10666" y="3950"/>
                </a:lnTo>
                <a:lnTo>
                  <a:pt x="10670" y="3954"/>
                </a:lnTo>
                <a:lnTo>
                  <a:pt x="10670" y="3952"/>
                </a:lnTo>
                <a:lnTo>
                  <a:pt x="10672" y="3950"/>
                </a:lnTo>
                <a:lnTo>
                  <a:pt x="10676" y="3948"/>
                </a:lnTo>
                <a:lnTo>
                  <a:pt x="10678" y="3948"/>
                </a:lnTo>
                <a:lnTo>
                  <a:pt x="10682" y="3948"/>
                </a:lnTo>
                <a:lnTo>
                  <a:pt x="10684" y="3944"/>
                </a:lnTo>
                <a:lnTo>
                  <a:pt x="10686" y="3940"/>
                </a:lnTo>
                <a:lnTo>
                  <a:pt x="10686" y="3934"/>
                </a:lnTo>
                <a:lnTo>
                  <a:pt x="10682" y="3924"/>
                </a:lnTo>
                <a:lnTo>
                  <a:pt x="10680" y="3914"/>
                </a:lnTo>
                <a:lnTo>
                  <a:pt x="10680" y="3910"/>
                </a:lnTo>
                <a:lnTo>
                  <a:pt x="10680" y="3908"/>
                </a:lnTo>
                <a:lnTo>
                  <a:pt x="10682" y="3906"/>
                </a:lnTo>
                <a:lnTo>
                  <a:pt x="10686" y="3908"/>
                </a:lnTo>
                <a:lnTo>
                  <a:pt x="10692" y="3918"/>
                </a:lnTo>
                <a:lnTo>
                  <a:pt x="10696" y="3924"/>
                </a:lnTo>
                <a:lnTo>
                  <a:pt x="10700" y="3930"/>
                </a:lnTo>
                <a:lnTo>
                  <a:pt x="10700" y="3934"/>
                </a:lnTo>
                <a:lnTo>
                  <a:pt x="10698" y="3936"/>
                </a:lnTo>
                <a:lnTo>
                  <a:pt x="10702" y="3938"/>
                </a:lnTo>
                <a:lnTo>
                  <a:pt x="10706" y="3938"/>
                </a:lnTo>
                <a:lnTo>
                  <a:pt x="10708" y="3940"/>
                </a:lnTo>
                <a:lnTo>
                  <a:pt x="10712" y="3940"/>
                </a:lnTo>
                <a:lnTo>
                  <a:pt x="10716" y="3938"/>
                </a:lnTo>
                <a:lnTo>
                  <a:pt x="10716" y="3936"/>
                </a:lnTo>
                <a:lnTo>
                  <a:pt x="10716" y="3932"/>
                </a:lnTo>
                <a:lnTo>
                  <a:pt x="10714" y="3930"/>
                </a:lnTo>
                <a:lnTo>
                  <a:pt x="10714" y="3926"/>
                </a:lnTo>
                <a:lnTo>
                  <a:pt x="10716" y="3924"/>
                </a:lnTo>
                <a:lnTo>
                  <a:pt x="10718" y="3928"/>
                </a:lnTo>
                <a:lnTo>
                  <a:pt x="10722" y="3930"/>
                </a:lnTo>
                <a:lnTo>
                  <a:pt x="10724" y="3930"/>
                </a:lnTo>
                <a:lnTo>
                  <a:pt x="10726" y="3930"/>
                </a:lnTo>
                <a:lnTo>
                  <a:pt x="10728" y="3926"/>
                </a:lnTo>
                <a:lnTo>
                  <a:pt x="10726" y="3924"/>
                </a:lnTo>
                <a:lnTo>
                  <a:pt x="10726" y="3920"/>
                </a:lnTo>
                <a:lnTo>
                  <a:pt x="10726" y="3918"/>
                </a:lnTo>
                <a:lnTo>
                  <a:pt x="10728" y="3916"/>
                </a:lnTo>
                <a:lnTo>
                  <a:pt x="10730" y="3916"/>
                </a:lnTo>
                <a:lnTo>
                  <a:pt x="10732" y="3918"/>
                </a:lnTo>
                <a:lnTo>
                  <a:pt x="10734" y="3924"/>
                </a:lnTo>
                <a:lnTo>
                  <a:pt x="10736" y="3926"/>
                </a:lnTo>
                <a:lnTo>
                  <a:pt x="10736" y="3928"/>
                </a:lnTo>
                <a:lnTo>
                  <a:pt x="10738" y="3926"/>
                </a:lnTo>
                <a:lnTo>
                  <a:pt x="10742" y="3922"/>
                </a:lnTo>
                <a:lnTo>
                  <a:pt x="10748" y="3916"/>
                </a:lnTo>
                <a:lnTo>
                  <a:pt x="10752" y="3916"/>
                </a:lnTo>
                <a:lnTo>
                  <a:pt x="10762" y="3922"/>
                </a:lnTo>
                <a:lnTo>
                  <a:pt x="10764" y="3922"/>
                </a:lnTo>
                <a:lnTo>
                  <a:pt x="10766" y="3922"/>
                </a:lnTo>
                <a:lnTo>
                  <a:pt x="10766" y="3918"/>
                </a:lnTo>
                <a:lnTo>
                  <a:pt x="10766" y="3914"/>
                </a:lnTo>
                <a:lnTo>
                  <a:pt x="10766" y="3912"/>
                </a:lnTo>
                <a:lnTo>
                  <a:pt x="10768" y="3912"/>
                </a:lnTo>
                <a:lnTo>
                  <a:pt x="10770" y="3912"/>
                </a:lnTo>
                <a:lnTo>
                  <a:pt x="10772" y="3916"/>
                </a:lnTo>
                <a:lnTo>
                  <a:pt x="10776" y="3918"/>
                </a:lnTo>
                <a:lnTo>
                  <a:pt x="10782" y="3916"/>
                </a:lnTo>
                <a:lnTo>
                  <a:pt x="10792" y="3910"/>
                </a:lnTo>
                <a:lnTo>
                  <a:pt x="10798" y="3908"/>
                </a:lnTo>
                <a:lnTo>
                  <a:pt x="10804" y="3906"/>
                </a:lnTo>
                <a:lnTo>
                  <a:pt x="10806" y="3900"/>
                </a:lnTo>
                <a:lnTo>
                  <a:pt x="10806" y="3898"/>
                </a:lnTo>
                <a:lnTo>
                  <a:pt x="10808" y="3896"/>
                </a:lnTo>
                <a:lnTo>
                  <a:pt x="10812" y="3894"/>
                </a:lnTo>
                <a:lnTo>
                  <a:pt x="10814" y="3892"/>
                </a:lnTo>
                <a:lnTo>
                  <a:pt x="10812" y="3890"/>
                </a:lnTo>
                <a:lnTo>
                  <a:pt x="10810" y="3888"/>
                </a:lnTo>
                <a:lnTo>
                  <a:pt x="10812" y="3886"/>
                </a:lnTo>
                <a:lnTo>
                  <a:pt x="10814" y="3884"/>
                </a:lnTo>
                <a:lnTo>
                  <a:pt x="10818" y="3878"/>
                </a:lnTo>
                <a:lnTo>
                  <a:pt x="10822" y="3874"/>
                </a:lnTo>
                <a:lnTo>
                  <a:pt x="10824" y="3874"/>
                </a:lnTo>
                <a:lnTo>
                  <a:pt x="10830" y="3874"/>
                </a:lnTo>
                <a:lnTo>
                  <a:pt x="10832" y="3872"/>
                </a:lnTo>
                <a:lnTo>
                  <a:pt x="10836" y="3868"/>
                </a:lnTo>
                <a:lnTo>
                  <a:pt x="10842" y="3862"/>
                </a:lnTo>
                <a:lnTo>
                  <a:pt x="10844" y="3862"/>
                </a:lnTo>
                <a:lnTo>
                  <a:pt x="10846" y="3862"/>
                </a:lnTo>
                <a:lnTo>
                  <a:pt x="10846" y="3866"/>
                </a:lnTo>
                <a:lnTo>
                  <a:pt x="10850" y="3862"/>
                </a:lnTo>
                <a:lnTo>
                  <a:pt x="10862" y="3846"/>
                </a:lnTo>
                <a:lnTo>
                  <a:pt x="10868" y="3840"/>
                </a:lnTo>
                <a:lnTo>
                  <a:pt x="10868" y="3838"/>
                </a:lnTo>
                <a:lnTo>
                  <a:pt x="10868" y="3836"/>
                </a:lnTo>
                <a:lnTo>
                  <a:pt x="10864" y="3832"/>
                </a:lnTo>
                <a:lnTo>
                  <a:pt x="10866" y="3826"/>
                </a:lnTo>
                <a:lnTo>
                  <a:pt x="10868" y="3822"/>
                </a:lnTo>
                <a:lnTo>
                  <a:pt x="10870" y="3822"/>
                </a:lnTo>
                <a:lnTo>
                  <a:pt x="10872" y="3824"/>
                </a:lnTo>
                <a:lnTo>
                  <a:pt x="10874" y="3828"/>
                </a:lnTo>
                <a:lnTo>
                  <a:pt x="10876" y="3826"/>
                </a:lnTo>
                <a:lnTo>
                  <a:pt x="10878" y="3824"/>
                </a:lnTo>
                <a:lnTo>
                  <a:pt x="10884" y="3826"/>
                </a:lnTo>
                <a:lnTo>
                  <a:pt x="10886" y="3828"/>
                </a:lnTo>
                <a:lnTo>
                  <a:pt x="10888" y="3828"/>
                </a:lnTo>
                <a:lnTo>
                  <a:pt x="10890" y="3824"/>
                </a:lnTo>
                <a:lnTo>
                  <a:pt x="10892" y="3816"/>
                </a:lnTo>
                <a:lnTo>
                  <a:pt x="10896" y="3812"/>
                </a:lnTo>
                <a:lnTo>
                  <a:pt x="10900" y="3810"/>
                </a:lnTo>
                <a:lnTo>
                  <a:pt x="10906" y="3808"/>
                </a:lnTo>
                <a:lnTo>
                  <a:pt x="10904" y="3804"/>
                </a:lnTo>
                <a:lnTo>
                  <a:pt x="10900" y="3800"/>
                </a:lnTo>
                <a:lnTo>
                  <a:pt x="10900" y="3798"/>
                </a:lnTo>
                <a:lnTo>
                  <a:pt x="10900" y="3794"/>
                </a:lnTo>
                <a:lnTo>
                  <a:pt x="10902" y="3790"/>
                </a:lnTo>
                <a:lnTo>
                  <a:pt x="10904" y="3794"/>
                </a:lnTo>
                <a:lnTo>
                  <a:pt x="10906" y="3796"/>
                </a:lnTo>
                <a:lnTo>
                  <a:pt x="10910" y="3796"/>
                </a:lnTo>
                <a:lnTo>
                  <a:pt x="10914" y="3794"/>
                </a:lnTo>
                <a:lnTo>
                  <a:pt x="10918" y="3788"/>
                </a:lnTo>
                <a:lnTo>
                  <a:pt x="10916" y="3788"/>
                </a:lnTo>
                <a:lnTo>
                  <a:pt x="10912" y="3786"/>
                </a:lnTo>
                <a:lnTo>
                  <a:pt x="10908" y="3784"/>
                </a:lnTo>
                <a:lnTo>
                  <a:pt x="10908" y="3780"/>
                </a:lnTo>
                <a:lnTo>
                  <a:pt x="10910" y="3776"/>
                </a:lnTo>
                <a:lnTo>
                  <a:pt x="10912" y="3776"/>
                </a:lnTo>
                <a:lnTo>
                  <a:pt x="10916" y="3776"/>
                </a:lnTo>
                <a:lnTo>
                  <a:pt x="10918" y="3776"/>
                </a:lnTo>
                <a:lnTo>
                  <a:pt x="10920" y="3780"/>
                </a:lnTo>
                <a:lnTo>
                  <a:pt x="10926" y="3786"/>
                </a:lnTo>
                <a:lnTo>
                  <a:pt x="10928" y="3786"/>
                </a:lnTo>
                <a:lnTo>
                  <a:pt x="10930" y="3782"/>
                </a:lnTo>
                <a:lnTo>
                  <a:pt x="10926" y="3776"/>
                </a:lnTo>
                <a:lnTo>
                  <a:pt x="10926" y="3772"/>
                </a:lnTo>
                <a:lnTo>
                  <a:pt x="10926" y="3766"/>
                </a:lnTo>
                <a:lnTo>
                  <a:pt x="10930" y="3758"/>
                </a:lnTo>
                <a:lnTo>
                  <a:pt x="10932" y="3752"/>
                </a:lnTo>
                <a:lnTo>
                  <a:pt x="10932" y="3750"/>
                </a:lnTo>
                <a:lnTo>
                  <a:pt x="10928" y="3750"/>
                </a:lnTo>
                <a:lnTo>
                  <a:pt x="10926" y="3750"/>
                </a:lnTo>
                <a:lnTo>
                  <a:pt x="10924" y="3750"/>
                </a:lnTo>
                <a:lnTo>
                  <a:pt x="10926" y="3746"/>
                </a:lnTo>
                <a:lnTo>
                  <a:pt x="10930" y="3740"/>
                </a:lnTo>
                <a:lnTo>
                  <a:pt x="10936" y="3736"/>
                </a:lnTo>
                <a:lnTo>
                  <a:pt x="10942" y="3732"/>
                </a:lnTo>
                <a:lnTo>
                  <a:pt x="10938" y="3730"/>
                </a:lnTo>
                <a:lnTo>
                  <a:pt x="10934" y="3726"/>
                </a:lnTo>
                <a:lnTo>
                  <a:pt x="10932" y="3720"/>
                </a:lnTo>
                <a:lnTo>
                  <a:pt x="10928" y="3718"/>
                </a:lnTo>
                <a:lnTo>
                  <a:pt x="10928" y="3716"/>
                </a:lnTo>
                <a:lnTo>
                  <a:pt x="10930" y="3714"/>
                </a:lnTo>
                <a:lnTo>
                  <a:pt x="10934" y="3714"/>
                </a:lnTo>
                <a:lnTo>
                  <a:pt x="10936" y="3714"/>
                </a:lnTo>
                <a:lnTo>
                  <a:pt x="10938" y="3718"/>
                </a:lnTo>
                <a:lnTo>
                  <a:pt x="10940" y="3722"/>
                </a:lnTo>
                <a:lnTo>
                  <a:pt x="10942" y="3722"/>
                </a:lnTo>
                <a:lnTo>
                  <a:pt x="10946" y="3722"/>
                </a:lnTo>
                <a:lnTo>
                  <a:pt x="10948" y="3720"/>
                </a:lnTo>
                <a:lnTo>
                  <a:pt x="10950" y="3716"/>
                </a:lnTo>
                <a:lnTo>
                  <a:pt x="10950" y="3712"/>
                </a:lnTo>
                <a:lnTo>
                  <a:pt x="10948" y="3708"/>
                </a:lnTo>
                <a:lnTo>
                  <a:pt x="10948" y="3706"/>
                </a:lnTo>
                <a:lnTo>
                  <a:pt x="10950" y="3706"/>
                </a:lnTo>
                <a:lnTo>
                  <a:pt x="10956" y="3700"/>
                </a:lnTo>
                <a:lnTo>
                  <a:pt x="10964" y="3692"/>
                </a:lnTo>
                <a:lnTo>
                  <a:pt x="10968" y="3682"/>
                </a:lnTo>
                <a:lnTo>
                  <a:pt x="10970" y="3676"/>
                </a:lnTo>
                <a:lnTo>
                  <a:pt x="10968" y="3674"/>
                </a:lnTo>
                <a:lnTo>
                  <a:pt x="10968" y="3670"/>
                </a:lnTo>
                <a:lnTo>
                  <a:pt x="10968" y="3668"/>
                </a:lnTo>
                <a:lnTo>
                  <a:pt x="10972" y="3662"/>
                </a:lnTo>
                <a:lnTo>
                  <a:pt x="10980" y="3654"/>
                </a:lnTo>
                <a:lnTo>
                  <a:pt x="10986" y="3640"/>
                </a:lnTo>
                <a:lnTo>
                  <a:pt x="10988" y="3634"/>
                </a:lnTo>
                <a:lnTo>
                  <a:pt x="10990" y="3632"/>
                </a:lnTo>
                <a:lnTo>
                  <a:pt x="10992" y="3632"/>
                </a:lnTo>
                <a:lnTo>
                  <a:pt x="10994" y="3634"/>
                </a:lnTo>
                <a:lnTo>
                  <a:pt x="10996" y="3640"/>
                </a:lnTo>
                <a:lnTo>
                  <a:pt x="10998" y="3640"/>
                </a:lnTo>
                <a:lnTo>
                  <a:pt x="11000" y="3638"/>
                </a:lnTo>
                <a:lnTo>
                  <a:pt x="11004" y="3634"/>
                </a:lnTo>
                <a:lnTo>
                  <a:pt x="11008" y="3634"/>
                </a:lnTo>
                <a:lnTo>
                  <a:pt x="11010" y="3632"/>
                </a:lnTo>
                <a:lnTo>
                  <a:pt x="11006" y="3624"/>
                </a:lnTo>
                <a:lnTo>
                  <a:pt x="11004" y="3618"/>
                </a:lnTo>
                <a:lnTo>
                  <a:pt x="11004" y="3616"/>
                </a:lnTo>
                <a:lnTo>
                  <a:pt x="11006" y="3614"/>
                </a:lnTo>
                <a:lnTo>
                  <a:pt x="11008" y="3612"/>
                </a:lnTo>
                <a:lnTo>
                  <a:pt x="11010" y="3610"/>
                </a:lnTo>
                <a:lnTo>
                  <a:pt x="11012" y="3610"/>
                </a:lnTo>
                <a:lnTo>
                  <a:pt x="11010" y="3606"/>
                </a:lnTo>
                <a:lnTo>
                  <a:pt x="11010" y="3602"/>
                </a:lnTo>
                <a:lnTo>
                  <a:pt x="11012" y="3600"/>
                </a:lnTo>
                <a:lnTo>
                  <a:pt x="11012" y="3596"/>
                </a:lnTo>
                <a:lnTo>
                  <a:pt x="11008" y="3592"/>
                </a:lnTo>
                <a:lnTo>
                  <a:pt x="11006" y="3590"/>
                </a:lnTo>
                <a:lnTo>
                  <a:pt x="11008" y="3590"/>
                </a:lnTo>
                <a:lnTo>
                  <a:pt x="11012" y="3590"/>
                </a:lnTo>
                <a:lnTo>
                  <a:pt x="11016" y="3590"/>
                </a:lnTo>
                <a:lnTo>
                  <a:pt x="11020" y="3588"/>
                </a:lnTo>
                <a:lnTo>
                  <a:pt x="11022" y="3582"/>
                </a:lnTo>
                <a:lnTo>
                  <a:pt x="11024" y="3574"/>
                </a:lnTo>
                <a:lnTo>
                  <a:pt x="11022" y="3568"/>
                </a:lnTo>
                <a:lnTo>
                  <a:pt x="11020" y="3566"/>
                </a:lnTo>
                <a:lnTo>
                  <a:pt x="11016" y="3562"/>
                </a:lnTo>
                <a:lnTo>
                  <a:pt x="11016" y="3560"/>
                </a:lnTo>
                <a:lnTo>
                  <a:pt x="11026" y="3554"/>
                </a:lnTo>
                <a:lnTo>
                  <a:pt x="11028" y="3550"/>
                </a:lnTo>
                <a:lnTo>
                  <a:pt x="11024" y="3550"/>
                </a:lnTo>
                <a:lnTo>
                  <a:pt x="11016" y="3546"/>
                </a:lnTo>
                <a:lnTo>
                  <a:pt x="11010" y="3544"/>
                </a:lnTo>
                <a:lnTo>
                  <a:pt x="11006" y="3538"/>
                </a:lnTo>
                <a:lnTo>
                  <a:pt x="11002" y="3532"/>
                </a:lnTo>
                <a:lnTo>
                  <a:pt x="10996" y="3528"/>
                </a:lnTo>
                <a:lnTo>
                  <a:pt x="10990" y="3530"/>
                </a:lnTo>
                <a:lnTo>
                  <a:pt x="10984" y="3532"/>
                </a:lnTo>
                <a:lnTo>
                  <a:pt x="10976" y="3538"/>
                </a:lnTo>
                <a:lnTo>
                  <a:pt x="10970" y="3538"/>
                </a:lnTo>
                <a:lnTo>
                  <a:pt x="10966" y="3534"/>
                </a:lnTo>
                <a:lnTo>
                  <a:pt x="10966" y="3532"/>
                </a:lnTo>
                <a:lnTo>
                  <a:pt x="10964" y="3530"/>
                </a:lnTo>
                <a:lnTo>
                  <a:pt x="10960" y="3530"/>
                </a:lnTo>
                <a:lnTo>
                  <a:pt x="10958" y="3530"/>
                </a:lnTo>
                <a:lnTo>
                  <a:pt x="10958" y="3528"/>
                </a:lnTo>
                <a:lnTo>
                  <a:pt x="10960" y="3524"/>
                </a:lnTo>
                <a:lnTo>
                  <a:pt x="10964" y="3524"/>
                </a:lnTo>
                <a:lnTo>
                  <a:pt x="10970" y="3524"/>
                </a:lnTo>
                <a:lnTo>
                  <a:pt x="10976" y="3526"/>
                </a:lnTo>
                <a:lnTo>
                  <a:pt x="10978" y="3524"/>
                </a:lnTo>
                <a:lnTo>
                  <a:pt x="10980" y="3522"/>
                </a:lnTo>
                <a:lnTo>
                  <a:pt x="10986" y="3516"/>
                </a:lnTo>
                <a:lnTo>
                  <a:pt x="10994" y="3508"/>
                </a:lnTo>
                <a:lnTo>
                  <a:pt x="11004" y="3504"/>
                </a:lnTo>
                <a:lnTo>
                  <a:pt x="11012" y="3502"/>
                </a:lnTo>
                <a:lnTo>
                  <a:pt x="11018" y="3500"/>
                </a:lnTo>
                <a:lnTo>
                  <a:pt x="11020" y="3498"/>
                </a:lnTo>
                <a:lnTo>
                  <a:pt x="11020" y="3494"/>
                </a:lnTo>
                <a:lnTo>
                  <a:pt x="11018" y="3488"/>
                </a:lnTo>
                <a:lnTo>
                  <a:pt x="11010" y="3478"/>
                </a:lnTo>
                <a:lnTo>
                  <a:pt x="10998" y="3466"/>
                </a:lnTo>
                <a:lnTo>
                  <a:pt x="10988" y="3458"/>
                </a:lnTo>
                <a:lnTo>
                  <a:pt x="10980" y="3454"/>
                </a:lnTo>
                <a:lnTo>
                  <a:pt x="10974" y="3450"/>
                </a:lnTo>
                <a:lnTo>
                  <a:pt x="10974" y="3448"/>
                </a:lnTo>
                <a:lnTo>
                  <a:pt x="10976" y="3446"/>
                </a:lnTo>
                <a:lnTo>
                  <a:pt x="10974" y="3444"/>
                </a:lnTo>
                <a:lnTo>
                  <a:pt x="10970" y="3442"/>
                </a:lnTo>
                <a:lnTo>
                  <a:pt x="10966" y="3440"/>
                </a:lnTo>
                <a:lnTo>
                  <a:pt x="10962" y="3442"/>
                </a:lnTo>
                <a:lnTo>
                  <a:pt x="10956" y="3444"/>
                </a:lnTo>
                <a:lnTo>
                  <a:pt x="10950" y="3446"/>
                </a:lnTo>
                <a:lnTo>
                  <a:pt x="10944" y="3444"/>
                </a:lnTo>
                <a:lnTo>
                  <a:pt x="10940" y="3440"/>
                </a:lnTo>
                <a:lnTo>
                  <a:pt x="10936" y="3436"/>
                </a:lnTo>
                <a:lnTo>
                  <a:pt x="10932" y="3432"/>
                </a:lnTo>
                <a:lnTo>
                  <a:pt x="10932" y="3428"/>
                </a:lnTo>
                <a:lnTo>
                  <a:pt x="10932" y="3424"/>
                </a:lnTo>
                <a:lnTo>
                  <a:pt x="10934" y="3424"/>
                </a:lnTo>
                <a:lnTo>
                  <a:pt x="10936" y="3424"/>
                </a:lnTo>
                <a:lnTo>
                  <a:pt x="10940" y="3430"/>
                </a:lnTo>
                <a:lnTo>
                  <a:pt x="10944" y="3438"/>
                </a:lnTo>
                <a:lnTo>
                  <a:pt x="10948" y="3442"/>
                </a:lnTo>
                <a:lnTo>
                  <a:pt x="10952" y="3442"/>
                </a:lnTo>
                <a:lnTo>
                  <a:pt x="10954" y="3442"/>
                </a:lnTo>
                <a:lnTo>
                  <a:pt x="10960" y="3438"/>
                </a:lnTo>
                <a:lnTo>
                  <a:pt x="10966" y="3436"/>
                </a:lnTo>
                <a:lnTo>
                  <a:pt x="10968" y="3434"/>
                </a:lnTo>
                <a:lnTo>
                  <a:pt x="10972" y="3436"/>
                </a:lnTo>
                <a:lnTo>
                  <a:pt x="10976" y="3438"/>
                </a:lnTo>
                <a:lnTo>
                  <a:pt x="10978" y="3442"/>
                </a:lnTo>
                <a:lnTo>
                  <a:pt x="10980" y="3444"/>
                </a:lnTo>
                <a:lnTo>
                  <a:pt x="10984" y="3448"/>
                </a:lnTo>
                <a:lnTo>
                  <a:pt x="10988" y="3448"/>
                </a:lnTo>
                <a:lnTo>
                  <a:pt x="10992" y="3448"/>
                </a:lnTo>
                <a:lnTo>
                  <a:pt x="10998" y="3450"/>
                </a:lnTo>
                <a:lnTo>
                  <a:pt x="11010" y="3454"/>
                </a:lnTo>
                <a:lnTo>
                  <a:pt x="11016" y="3458"/>
                </a:lnTo>
                <a:lnTo>
                  <a:pt x="11020" y="3458"/>
                </a:lnTo>
                <a:lnTo>
                  <a:pt x="11020" y="3456"/>
                </a:lnTo>
                <a:lnTo>
                  <a:pt x="11020" y="3452"/>
                </a:lnTo>
                <a:lnTo>
                  <a:pt x="11016" y="3444"/>
                </a:lnTo>
                <a:lnTo>
                  <a:pt x="11008" y="3436"/>
                </a:lnTo>
                <a:lnTo>
                  <a:pt x="11002" y="3430"/>
                </a:lnTo>
                <a:lnTo>
                  <a:pt x="11000" y="3424"/>
                </a:lnTo>
                <a:lnTo>
                  <a:pt x="10996" y="3420"/>
                </a:lnTo>
                <a:lnTo>
                  <a:pt x="10988" y="3412"/>
                </a:lnTo>
                <a:lnTo>
                  <a:pt x="10980" y="3406"/>
                </a:lnTo>
                <a:lnTo>
                  <a:pt x="10980" y="3400"/>
                </a:lnTo>
                <a:lnTo>
                  <a:pt x="10978" y="3390"/>
                </a:lnTo>
                <a:lnTo>
                  <a:pt x="10978" y="3384"/>
                </a:lnTo>
                <a:lnTo>
                  <a:pt x="10974" y="3376"/>
                </a:lnTo>
                <a:lnTo>
                  <a:pt x="10970" y="3366"/>
                </a:lnTo>
                <a:lnTo>
                  <a:pt x="10966" y="3356"/>
                </a:lnTo>
                <a:lnTo>
                  <a:pt x="10962" y="3338"/>
                </a:lnTo>
                <a:lnTo>
                  <a:pt x="10958" y="3328"/>
                </a:lnTo>
                <a:lnTo>
                  <a:pt x="10954" y="3320"/>
                </a:lnTo>
                <a:lnTo>
                  <a:pt x="10948" y="3314"/>
                </a:lnTo>
                <a:lnTo>
                  <a:pt x="10940" y="3310"/>
                </a:lnTo>
                <a:lnTo>
                  <a:pt x="10934" y="3308"/>
                </a:lnTo>
                <a:lnTo>
                  <a:pt x="10928" y="3304"/>
                </a:lnTo>
                <a:lnTo>
                  <a:pt x="10924" y="3298"/>
                </a:lnTo>
                <a:lnTo>
                  <a:pt x="10922" y="3294"/>
                </a:lnTo>
                <a:lnTo>
                  <a:pt x="10920" y="3294"/>
                </a:lnTo>
                <a:lnTo>
                  <a:pt x="10914" y="3294"/>
                </a:lnTo>
                <a:lnTo>
                  <a:pt x="10910" y="3294"/>
                </a:lnTo>
                <a:lnTo>
                  <a:pt x="10910" y="3290"/>
                </a:lnTo>
                <a:lnTo>
                  <a:pt x="10912" y="3284"/>
                </a:lnTo>
                <a:lnTo>
                  <a:pt x="10916" y="3276"/>
                </a:lnTo>
                <a:lnTo>
                  <a:pt x="10926" y="3258"/>
                </a:lnTo>
                <a:lnTo>
                  <a:pt x="10932" y="3252"/>
                </a:lnTo>
                <a:lnTo>
                  <a:pt x="10936" y="3248"/>
                </a:lnTo>
                <a:lnTo>
                  <a:pt x="10942" y="3244"/>
                </a:lnTo>
                <a:lnTo>
                  <a:pt x="10944" y="3242"/>
                </a:lnTo>
                <a:lnTo>
                  <a:pt x="10946" y="3238"/>
                </a:lnTo>
                <a:lnTo>
                  <a:pt x="10950" y="3232"/>
                </a:lnTo>
                <a:lnTo>
                  <a:pt x="10952" y="3230"/>
                </a:lnTo>
                <a:lnTo>
                  <a:pt x="10952" y="3228"/>
                </a:lnTo>
                <a:lnTo>
                  <a:pt x="10950" y="3224"/>
                </a:lnTo>
                <a:lnTo>
                  <a:pt x="10948" y="3220"/>
                </a:lnTo>
                <a:lnTo>
                  <a:pt x="10948" y="3218"/>
                </a:lnTo>
                <a:lnTo>
                  <a:pt x="10950" y="3216"/>
                </a:lnTo>
                <a:lnTo>
                  <a:pt x="10952" y="3216"/>
                </a:lnTo>
                <a:lnTo>
                  <a:pt x="10954" y="3216"/>
                </a:lnTo>
                <a:lnTo>
                  <a:pt x="10956" y="3220"/>
                </a:lnTo>
                <a:lnTo>
                  <a:pt x="10956" y="3222"/>
                </a:lnTo>
                <a:lnTo>
                  <a:pt x="10958" y="3224"/>
                </a:lnTo>
                <a:lnTo>
                  <a:pt x="10960" y="3224"/>
                </a:lnTo>
                <a:lnTo>
                  <a:pt x="10966" y="3222"/>
                </a:lnTo>
                <a:lnTo>
                  <a:pt x="10968" y="3220"/>
                </a:lnTo>
                <a:lnTo>
                  <a:pt x="10970" y="3218"/>
                </a:lnTo>
                <a:lnTo>
                  <a:pt x="10972" y="3212"/>
                </a:lnTo>
                <a:lnTo>
                  <a:pt x="10974" y="3208"/>
                </a:lnTo>
                <a:lnTo>
                  <a:pt x="10976" y="3206"/>
                </a:lnTo>
                <a:lnTo>
                  <a:pt x="10978" y="3206"/>
                </a:lnTo>
                <a:lnTo>
                  <a:pt x="10980" y="3206"/>
                </a:lnTo>
                <a:lnTo>
                  <a:pt x="10982" y="3206"/>
                </a:lnTo>
                <a:lnTo>
                  <a:pt x="10984" y="3202"/>
                </a:lnTo>
                <a:lnTo>
                  <a:pt x="10988" y="3196"/>
                </a:lnTo>
                <a:lnTo>
                  <a:pt x="10994" y="3190"/>
                </a:lnTo>
                <a:lnTo>
                  <a:pt x="11002" y="3186"/>
                </a:lnTo>
                <a:lnTo>
                  <a:pt x="11006" y="3186"/>
                </a:lnTo>
                <a:lnTo>
                  <a:pt x="11010" y="3186"/>
                </a:lnTo>
                <a:lnTo>
                  <a:pt x="11016" y="3180"/>
                </a:lnTo>
                <a:lnTo>
                  <a:pt x="11022" y="3176"/>
                </a:lnTo>
                <a:lnTo>
                  <a:pt x="11024" y="3176"/>
                </a:lnTo>
                <a:lnTo>
                  <a:pt x="11026" y="3178"/>
                </a:lnTo>
                <a:lnTo>
                  <a:pt x="11028" y="3176"/>
                </a:lnTo>
                <a:lnTo>
                  <a:pt x="11030" y="3176"/>
                </a:lnTo>
                <a:lnTo>
                  <a:pt x="11032" y="3176"/>
                </a:lnTo>
                <a:lnTo>
                  <a:pt x="11032" y="3180"/>
                </a:lnTo>
                <a:lnTo>
                  <a:pt x="11032" y="3182"/>
                </a:lnTo>
                <a:lnTo>
                  <a:pt x="11034" y="3182"/>
                </a:lnTo>
                <a:lnTo>
                  <a:pt x="11036" y="3182"/>
                </a:lnTo>
                <a:lnTo>
                  <a:pt x="11042" y="3182"/>
                </a:lnTo>
                <a:lnTo>
                  <a:pt x="11046" y="3180"/>
                </a:lnTo>
                <a:lnTo>
                  <a:pt x="11046" y="3178"/>
                </a:lnTo>
                <a:lnTo>
                  <a:pt x="11046" y="3174"/>
                </a:lnTo>
                <a:lnTo>
                  <a:pt x="11044" y="3172"/>
                </a:lnTo>
                <a:lnTo>
                  <a:pt x="11044" y="3168"/>
                </a:lnTo>
                <a:lnTo>
                  <a:pt x="11046" y="3164"/>
                </a:lnTo>
                <a:lnTo>
                  <a:pt x="11050" y="3160"/>
                </a:lnTo>
                <a:lnTo>
                  <a:pt x="11052" y="3156"/>
                </a:lnTo>
                <a:lnTo>
                  <a:pt x="11052" y="3154"/>
                </a:lnTo>
                <a:lnTo>
                  <a:pt x="11046" y="3152"/>
                </a:lnTo>
                <a:lnTo>
                  <a:pt x="11038" y="3148"/>
                </a:lnTo>
                <a:lnTo>
                  <a:pt x="11032" y="3146"/>
                </a:lnTo>
                <a:lnTo>
                  <a:pt x="11028" y="3142"/>
                </a:lnTo>
                <a:lnTo>
                  <a:pt x="11026" y="3144"/>
                </a:lnTo>
                <a:lnTo>
                  <a:pt x="11024" y="3146"/>
                </a:lnTo>
                <a:lnTo>
                  <a:pt x="11020" y="3148"/>
                </a:lnTo>
                <a:lnTo>
                  <a:pt x="11014" y="3148"/>
                </a:lnTo>
                <a:lnTo>
                  <a:pt x="11006" y="3146"/>
                </a:lnTo>
                <a:lnTo>
                  <a:pt x="11002" y="3144"/>
                </a:lnTo>
                <a:lnTo>
                  <a:pt x="11000" y="3142"/>
                </a:lnTo>
                <a:lnTo>
                  <a:pt x="10996" y="3142"/>
                </a:lnTo>
                <a:lnTo>
                  <a:pt x="10992" y="3142"/>
                </a:lnTo>
                <a:lnTo>
                  <a:pt x="10990" y="3140"/>
                </a:lnTo>
                <a:lnTo>
                  <a:pt x="10988" y="3138"/>
                </a:lnTo>
                <a:lnTo>
                  <a:pt x="10984" y="3132"/>
                </a:lnTo>
                <a:lnTo>
                  <a:pt x="10982" y="3130"/>
                </a:lnTo>
                <a:lnTo>
                  <a:pt x="10978" y="3130"/>
                </a:lnTo>
                <a:lnTo>
                  <a:pt x="10968" y="3130"/>
                </a:lnTo>
                <a:lnTo>
                  <a:pt x="10960" y="3134"/>
                </a:lnTo>
                <a:lnTo>
                  <a:pt x="10956" y="3140"/>
                </a:lnTo>
                <a:lnTo>
                  <a:pt x="10950" y="3146"/>
                </a:lnTo>
                <a:lnTo>
                  <a:pt x="10944" y="3150"/>
                </a:lnTo>
                <a:lnTo>
                  <a:pt x="10940" y="3152"/>
                </a:lnTo>
                <a:lnTo>
                  <a:pt x="10938" y="3154"/>
                </a:lnTo>
                <a:lnTo>
                  <a:pt x="10938" y="3156"/>
                </a:lnTo>
                <a:lnTo>
                  <a:pt x="10940" y="3162"/>
                </a:lnTo>
                <a:lnTo>
                  <a:pt x="10938" y="3164"/>
                </a:lnTo>
                <a:lnTo>
                  <a:pt x="10932" y="3166"/>
                </a:lnTo>
                <a:lnTo>
                  <a:pt x="10920" y="3166"/>
                </a:lnTo>
                <a:lnTo>
                  <a:pt x="10914" y="3166"/>
                </a:lnTo>
                <a:lnTo>
                  <a:pt x="10910" y="3164"/>
                </a:lnTo>
                <a:lnTo>
                  <a:pt x="10906" y="3160"/>
                </a:lnTo>
                <a:lnTo>
                  <a:pt x="10904" y="3156"/>
                </a:lnTo>
                <a:lnTo>
                  <a:pt x="10902" y="3144"/>
                </a:lnTo>
                <a:lnTo>
                  <a:pt x="10902" y="3140"/>
                </a:lnTo>
                <a:lnTo>
                  <a:pt x="10906" y="3138"/>
                </a:lnTo>
                <a:lnTo>
                  <a:pt x="10906" y="3134"/>
                </a:lnTo>
                <a:lnTo>
                  <a:pt x="10906" y="3130"/>
                </a:lnTo>
                <a:lnTo>
                  <a:pt x="10904" y="3120"/>
                </a:lnTo>
                <a:lnTo>
                  <a:pt x="10896" y="3112"/>
                </a:lnTo>
                <a:lnTo>
                  <a:pt x="10894" y="3110"/>
                </a:lnTo>
                <a:lnTo>
                  <a:pt x="10890" y="3112"/>
                </a:lnTo>
                <a:lnTo>
                  <a:pt x="10884" y="3114"/>
                </a:lnTo>
                <a:lnTo>
                  <a:pt x="10876" y="3114"/>
                </a:lnTo>
                <a:lnTo>
                  <a:pt x="10868" y="3112"/>
                </a:lnTo>
                <a:lnTo>
                  <a:pt x="10864" y="3110"/>
                </a:lnTo>
                <a:lnTo>
                  <a:pt x="10864" y="3108"/>
                </a:lnTo>
                <a:lnTo>
                  <a:pt x="10860" y="3106"/>
                </a:lnTo>
                <a:lnTo>
                  <a:pt x="10854" y="3102"/>
                </a:lnTo>
                <a:lnTo>
                  <a:pt x="10850" y="3098"/>
                </a:lnTo>
                <a:lnTo>
                  <a:pt x="10846" y="3090"/>
                </a:lnTo>
                <a:lnTo>
                  <a:pt x="10846" y="3080"/>
                </a:lnTo>
                <a:lnTo>
                  <a:pt x="10848" y="3072"/>
                </a:lnTo>
                <a:lnTo>
                  <a:pt x="10850" y="3066"/>
                </a:lnTo>
                <a:lnTo>
                  <a:pt x="10852" y="3062"/>
                </a:lnTo>
                <a:lnTo>
                  <a:pt x="10854" y="3056"/>
                </a:lnTo>
                <a:lnTo>
                  <a:pt x="10858" y="3054"/>
                </a:lnTo>
                <a:lnTo>
                  <a:pt x="10864" y="3054"/>
                </a:lnTo>
                <a:lnTo>
                  <a:pt x="10872" y="3060"/>
                </a:lnTo>
                <a:lnTo>
                  <a:pt x="10874" y="3062"/>
                </a:lnTo>
                <a:lnTo>
                  <a:pt x="10876" y="3064"/>
                </a:lnTo>
                <a:lnTo>
                  <a:pt x="10880" y="3060"/>
                </a:lnTo>
                <a:lnTo>
                  <a:pt x="10886" y="3056"/>
                </a:lnTo>
                <a:lnTo>
                  <a:pt x="10888" y="3056"/>
                </a:lnTo>
                <a:lnTo>
                  <a:pt x="10892" y="3056"/>
                </a:lnTo>
                <a:lnTo>
                  <a:pt x="10900" y="3056"/>
                </a:lnTo>
                <a:lnTo>
                  <a:pt x="10906" y="3052"/>
                </a:lnTo>
                <a:lnTo>
                  <a:pt x="10912" y="3046"/>
                </a:lnTo>
                <a:lnTo>
                  <a:pt x="10914" y="3036"/>
                </a:lnTo>
                <a:lnTo>
                  <a:pt x="10916" y="3030"/>
                </a:lnTo>
                <a:lnTo>
                  <a:pt x="10920" y="3024"/>
                </a:lnTo>
                <a:lnTo>
                  <a:pt x="10932" y="3014"/>
                </a:lnTo>
                <a:lnTo>
                  <a:pt x="10948" y="3006"/>
                </a:lnTo>
                <a:lnTo>
                  <a:pt x="10958" y="3000"/>
                </a:lnTo>
                <a:lnTo>
                  <a:pt x="10964" y="2998"/>
                </a:lnTo>
                <a:lnTo>
                  <a:pt x="10966" y="2992"/>
                </a:lnTo>
                <a:lnTo>
                  <a:pt x="10970" y="2986"/>
                </a:lnTo>
                <a:lnTo>
                  <a:pt x="10976" y="2978"/>
                </a:lnTo>
                <a:lnTo>
                  <a:pt x="10982" y="2970"/>
                </a:lnTo>
                <a:lnTo>
                  <a:pt x="10984" y="2966"/>
                </a:lnTo>
                <a:lnTo>
                  <a:pt x="10984" y="2964"/>
                </a:lnTo>
                <a:lnTo>
                  <a:pt x="10988" y="2960"/>
                </a:lnTo>
                <a:lnTo>
                  <a:pt x="10992" y="2958"/>
                </a:lnTo>
                <a:lnTo>
                  <a:pt x="10996" y="2958"/>
                </a:lnTo>
                <a:lnTo>
                  <a:pt x="11002" y="2960"/>
                </a:lnTo>
                <a:lnTo>
                  <a:pt x="11008" y="2962"/>
                </a:lnTo>
                <a:lnTo>
                  <a:pt x="11010" y="2962"/>
                </a:lnTo>
                <a:lnTo>
                  <a:pt x="11012" y="2960"/>
                </a:lnTo>
                <a:lnTo>
                  <a:pt x="11016" y="2958"/>
                </a:lnTo>
                <a:lnTo>
                  <a:pt x="11018" y="2960"/>
                </a:lnTo>
                <a:lnTo>
                  <a:pt x="11020" y="2964"/>
                </a:lnTo>
                <a:lnTo>
                  <a:pt x="11026" y="2970"/>
                </a:lnTo>
                <a:lnTo>
                  <a:pt x="11032" y="2976"/>
                </a:lnTo>
                <a:lnTo>
                  <a:pt x="11034" y="2982"/>
                </a:lnTo>
                <a:lnTo>
                  <a:pt x="11032" y="2988"/>
                </a:lnTo>
                <a:lnTo>
                  <a:pt x="11026" y="3000"/>
                </a:lnTo>
                <a:lnTo>
                  <a:pt x="11022" y="3006"/>
                </a:lnTo>
                <a:lnTo>
                  <a:pt x="11016" y="3010"/>
                </a:lnTo>
                <a:lnTo>
                  <a:pt x="11008" y="3016"/>
                </a:lnTo>
                <a:lnTo>
                  <a:pt x="11004" y="3020"/>
                </a:lnTo>
                <a:lnTo>
                  <a:pt x="11002" y="3022"/>
                </a:lnTo>
                <a:lnTo>
                  <a:pt x="11004" y="3024"/>
                </a:lnTo>
                <a:lnTo>
                  <a:pt x="11004" y="3026"/>
                </a:lnTo>
                <a:lnTo>
                  <a:pt x="11002" y="3028"/>
                </a:lnTo>
                <a:lnTo>
                  <a:pt x="10998" y="3032"/>
                </a:lnTo>
                <a:lnTo>
                  <a:pt x="10994" y="3034"/>
                </a:lnTo>
                <a:lnTo>
                  <a:pt x="10992" y="3036"/>
                </a:lnTo>
                <a:lnTo>
                  <a:pt x="10994" y="3036"/>
                </a:lnTo>
                <a:lnTo>
                  <a:pt x="11000" y="3038"/>
                </a:lnTo>
                <a:lnTo>
                  <a:pt x="11004" y="3044"/>
                </a:lnTo>
                <a:lnTo>
                  <a:pt x="11010" y="3050"/>
                </a:lnTo>
                <a:lnTo>
                  <a:pt x="11010" y="3054"/>
                </a:lnTo>
                <a:lnTo>
                  <a:pt x="11010" y="3058"/>
                </a:lnTo>
                <a:lnTo>
                  <a:pt x="11008" y="3062"/>
                </a:lnTo>
                <a:lnTo>
                  <a:pt x="11004" y="3062"/>
                </a:lnTo>
                <a:lnTo>
                  <a:pt x="11000" y="3060"/>
                </a:lnTo>
                <a:lnTo>
                  <a:pt x="10998" y="3062"/>
                </a:lnTo>
                <a:lnTo>
                  <a:pt x="10996" y="3064"/>
                </a:lnTo>
                <a:lnTo>
                  <a:pt x="10994" y="3068"/>
                </a:lnTo>
                <a:lnTo>
                  <a:pt x="10992" y="3068"/>
                </a:lnTo>
                <a:lnTo>
                  <a:pt x="10990" y="3068"/>
                </a:lnTo>
                <a:lnTo>
                  <a:pt x="10988" y="3074"/>
                </a:lnTo>
                <a:lnTo>
                  <a:pt x="10988" y="3078"/>
                </a:lnTo>
                <a:lnTo>
                  <a:pt x="10990" y="3080"/>
                </a:lnTo>
                <a:lnTo>
                  <a:pt x="10992" y="3082"/>
                </a:lnTo>
                <a:lnTo>
                  <a:pt x="10994" y="3080"/>
                </a:lnTo>
                <a:lnTo>
                  <a:pt x="11000" y="3076"/>
                </a:lnTo>
                <a:lnTo>
                  <a:pt x="11008" y="3074"/>
                </a:lnTo>
                <a:lnTo>
                  <a:pt x="11014" y="3072"/>
                </a:lnTo>
                <a:lnTo>
                  <a:pt x="11014" y="3070"/>
                </a:lnTo>
                <a:lnTo>
                  <a:pt x="11012" y="3068"/>
                </a:lnTo>
                <a:lnTo>
                  <a:pt x="11012" y="3066"/>
                </a:lnTo>
                <a:lnTo>
                  <a:pt x="11016" y="3066"/>
                </a:lnTo>
                <a:lnTo>
                  <a:pt x="11020" y="3066"/>
                </a:lnTo>
                <a:lnTo>
                  <a:pt x="11026" y="3064"/>
                </a:lnTo>
                <a:lnTo>
                  <a:pt x="11030" y="3056"/>
                </a:lnTo>
                <a:lnTo>
                  <a:pt x="11036" y="3048"/>
                </a:lnTo>
                <a:lnTo>
                  <a:pt x="11040" y="3042"/>
                </a:lnTo>
                <a:lnTo>
                  <a:pt x="11044" y="3040"/>
                </a:lnTo>
                <a:lnTo>
                  <a:pt x="11050" y="3036"/>
                </a:lnTo>
                <a:lnTo>
                  <a:pt x="11054" y="3032"/>
                </a:lnTo>
                <a:lnTo>
                  <a:pt x="11056" y="3032"/>
                </a:lnTo>
                <a:lnTo>
                  <a:pt x="11064" y="3030"/>
                </a:lnTo>
                <a:lnTo>
                  <a:pt x="11072" y="3028"/>
                </a:lnTo>
                <a:lnTo>
                  <a:pt x="11074" y="3028"/>
                </a:lnTo>
                <a:lnTo>
                  <a:pt x="11076" y="3024"/>
                </a:lnTo>
                <a:lnTo>
                  <a:pt x="11080" y="3020"/>
                </a:lnTo>
                <a:lnTo>
                  <a:pt x="11082" y="3022"/>
                </a:lnTo>
                <a:lnTo>
                  <a:pt x="11086" y="3022"/>
                </a:lnTo>
                <a:lnTo>
                  <a:pt x="11088" y="3020"/>
                </a:lnTo>
                <a:lnTo>
                  <a:pt x="11090" y="3018"/>
                </a:lnTo>
                <a:lnTo>
                  <a:pt x="11094" y="3018"/>
                </a:lnTo>
                <a:lnTo>
                  <a:pt x="11100" y="3018"/>
                </a:lnTo>
                <a:lnTo>
                  <a:pt x="11110" y="3018"/>
                </a:lnTo>
                <a:lnTo>
                  <a:pt x="11114" y="3014"/>
                </a:lnTo>
                <a:lnTo>
                  <a:pt x="11120" y="3010"/>
                </a:lnTo>
                <a:lnTo>
                  <a:pt x="11120" y="3008"/>
                </a:lnTo>
                <a:lnTo>
                  <a:pt x="11120" y="3010"/>
                </a:lnTo>
                <a:lnTo>
                  <a:pt x="11122" y="3018"/>
                </a:lnTo>
                <a:lnTo>
                  <a:pt x="11126" y="3024"/>
                </a:lnTo>
                <a:lnTo>
                  <a:pt x="11130" y="3028"/>
                </a:lnTo>
                <a:lnTo>
                  <a:pt x="11132" y="3028"/>
                </a:lnTo>
                <a:lnTo>
                  <a:pt x="11136" y="3028"/>
                </a:lnTo>
                <a:lnTo>
                  <a:pt x="11138" y="3026"/>
                </a:lnTo>
                <a:lnTo>
                  <a:pt x="11142" y="3026"/>
                </a:lnTo>
                <a:lnTo>
                  <a:pt x="11152" y="3032"/>
                </a:lnTo>
                <a:lnTo>
                  <a:pt x="11156" y="3036"/>
                </a:lnTo>
                <a:lnTo>
                  <a:pt x="11160" y="3040"/>
                </a:lnTo>
                <a:lnTo>
                  <a:pt x="11162" y="3044"/>
                </a:lnTo>
                <a:lnTo>
                  <a:pt x="11160" y="3050"/>
                </a:lnTo>
                <a:lnTo>
                  <a:pt x="11152" y="3068"/>
                </a:lnTo>
                <a:lnTo>
                  <a:pt x="11150" y="3074"/>
                </a:lnTo>
                <a:lnTo>
                  <a:pt x="11150" y="3078"/>
                </a:lnTo>
                <a:lnTo>
                  <a:pt x="11152" y="3080"/>
                </a:lnTo>
                <a:lnTo>
                  <a:pt x="11154" y="3084"/>
                </a:lnTo>
                <a:lnTo>
                  <a:pt x="11150" y="3086"/>
                </a:lnTo>
                <a:lnTo>
                  <a:pt x="11146" y="3090"/>
                </a:lnTo>
                <a:lnTo>
                  <a:pt x="11142" y="3100"/>
                </a:lnTo>
                <a:lnTo>
                  <a:pt x="11140" y="3104"/>
                </a:lnTo>
                <a:lnTo>
                  <a:pt x="11136" y="3108"/>
                </a:lnTo>
                <a:lnTo>
                  <a:pt x="11132" y="3112"/>
                </a:lnTo>
                <a:lnTo>
                  <a:pt x="11130" y="3114"/>
                </a:lnTo>
                <a:lnTo>
                  <a:pt x="11132" y="3114"/>
                </a:lnTo>
                <a:lnTo>
                  <a:pt x="11140" y="3116"/>
                </a:lnTo>
                <a:lnTo>
                  <a:pt x="11146" y="3116"/>
                </a:lnTo>
                <a:lnTo>
                  <a:pt x="11148" y="3118"/>
                </a:lnTo>
                <a:lnTo>
                  <a:pt x="11148" y="3120"/>
                </a:lnTo>
                <a:lnTo>
                  <a:pt x="11146" y="3122"/>
                </a:lnTo>
                <a:lnTo>
                  <a:pt x="11144" y="3124"/>
                </a:lnTo>
                <a:lnTo>
                  <a:pt x="11144" y="3126"/>
                </a:lnTo>
                <a:lnTo>
                  <a:pt x="11150" y="3126"/>
                </a:lnTo>
                <a:lnTo>
                  <a:pt x="11156" y="3128"/>
                </a:lnTo>
                <a:lnTo>
                  <a:pt x="11158" y="3130"/>
                </a:lnTo>
                <a:lnTo>
                  <a:pt x="11160" y="3132"/>
                </a:lnTo>
                <a:lnTo>
                  <a:pt x="11158" y="3134"/>
                </a:lnTo>
                <a:lnTo>
                  <a:pt x="11158" y="3136"/>
                </a:lnTo>
                <a:lnTo>
                  <a:pt x="11164" y="3136"/>
                </a:lnTo>
                <a:lnTo>
                  <a:pt x="11166" y="3132"/>
                </a:lnTo>
                <a:lnTo>
                  <a:pt x="11168" y="3130"/>
                </a:lnTo>
                <a:lnTo>
                  <a:pt x="11170" y="3124"/>
                </a:lnTo>
                <a:lnTo>
                  <a:pt x="11172" y="3122"/>
                </a:lnTo>
                <a:lnTo>
                  <a:pt x="11174" y="3122"/>
                </a:lnTo>
                <a:lnTo>
                  <a:pt x="11180" y="3124"/>
                </a:lnTo>
                <a:lnTo>
                  <a:pt x="11190" y="3134"/>
                </a:lnTo>
                <a:lnTo>
                  <a:pt x="11190" y="3132"/>
                </a:lnTo>
                <a:lnTo>
                  <a:pt x="11192" y="3128"/>
                </a:lnTo>
                <a:lnTo>
                  <a:pt x="11194" y="3126"/>
                </a:lnTo>
                <a:lnTo>
                  <a:pt x="11196" y="3126"/>
                </a:lnTo>
                <a:lnTo>
                  <a:pt x="11200" y="3128"/>
                </a:lnTo>
                <a:lnTo>
                  <a:pt x="11206" y="3128"/>
                </a:lnTo>
                <a:lnTo>
                  <a:pt x="11214" y="3128"/>
                </a:lnTo>
                <a:lnTo>
                  <a:pt x="11214" y="3134"/>
                </a:lnTo>
                <a:lnTo>
                  <a:pt x="11212" y="3134"/>
                </a:lnTo>
                <a:lnTo>
                  <a:pt x="11210" y="3134"/>
                </a:lnTo>
                <a:lnTo>
                  <a:pt x="11208" y="3136"/>
                </a:lnTo>
                <a:lnTo>
                  <a:pt x="11210" y="3142"/>
                </a:lnTo>
                <a:lnTo>
                  <a:pt x="11212" y="3148"/>
                </a:lnTo>
                <a:lnTo>
                  <a:pt x="11214" y="3154"/>
                </a:lnTo>
                <a:lnTo>
                  <a:pt x="11214" y="3156"/>
                </a:lnTo>
                <a:lnTo>
                  <a:pt x="11214" y="3160"/>
                </a:lnTo>
                <a:lnTo>
                  <a:pt x="11212" y="3162"/>
                </a:lnTo>
                <a:lnTo>
                  <a:pt x="11212" y="3164"/>
                </a:lnTo>
                <a:lnTo>
                  <a:pt x="11216" y="3168"/>
                </a:lnTo>
                <a:lnTo>
                  <a:pt x="11220" y="3174"/>
                </a:lnTo>
                <a:lnTo>
                  <a:pt x="11222" y="3176"/>
                </a:lnTo>
                <a:lnTo>
                  <a:pt x="11222" y="3178"/>
                </a:lnTo>
                <a:lnTo>
                  <a:pt x="11220" y="3182"/>
                </a:lnTo>
                <a:lnTo>
                  <a:pt x="11220" y="3180"/>
                </a:lnTo>
                <a:lnTo>
                  <a:pt x="11216" y="3176"/>
                </a:lnTo>
                <a:lnTo>
                  <a:pt x="11214" y="3174"/>
                </a:lnTo>
                <a:lnTo>
                  <a:pt x="11210" y="3172"/>
                </a:lnTo>
                <a:lnTo>
                  <a:pt x="11200" y="3172"/>
                </a:lnTo>
                <a:lnTo>
                  <a:pt x="11198" y="3174"/>
                </a:lnTo>
                <a:lnTo>
                  <a:pt x="11200" y="3176"/>
                </a:lnTo>
                <a:lnTo>
                  <a:pt x="11200" y="3180"/>
                </a:lnTo>
                <a:lnTo>
                  <a:pt x="11198" y="3182"/>
                </a:lnTo>
                <a:lnTo>
                  <a:pt x="11196" y="3180"/>
                </a:lnTo>
                <a:lnTo>
                  <a:pt x="11194" y="3180"/>
                </a:lnTo>
                <a:lnTo>
                  <a:pt x="11192" y="3182"/>
                </a:lnTo>
                <a:lnTo>
                  <a:pt x="11190" y="3188"/>
                </a:lnTo>
                <a:lnTo>
                  <a:pt x="11192" y="3192"/>
                </a:lnTo>
                <a:lnTo>
                  <a:pt x="11198" y="3192"/>
                </a:lnTo>
                <a:lnTo>
                  <a:pt x="11200" y="3192"/>
                </a:lnTo>
                <a:lnTo>
                  <a:pt x="11204" y="3192"/>
                </a:lnTo>
                <a:lnTo>
                  <a:pt x="11206" y="3196"/>
                </a:lnTo>
                <a:lnTo>
                  <a:pt x="11206" y="3212"/>
                </a:lnTo>
                <a:lnTo>
                  <a:pt x="11206" y="3218"/>
                </a:lnTo>
                <a:lnTo>
                  <a:pt x="11208" y="3222"/>
                </a:lnTo>
                <a:lnTo>
                  <a:pt x="11212" y="3226"/>
                </a:lnTo>
                <a:lnTo>
                  <a:pt x="11212" y="3228"/>
                </a:lnTo>
                <a:lnTo>
                  <a:pt x="11212" y="3230"/>
                </a:lnTo>
                <a:lnTo>
                  <a:pt x="11212" y="3232"/>
                </a:lnTo>
                <a:lnTo>
                  <a:pt x="11216" y="3238"/>
                </a:lnTo>
                <a:lnTo>
                  <a:pt x="11212" y="3240"/>
                </a:lnTo>
                <a:lnTo>
                  <a:pt x="11208" y="3244"/>
                </a:lnTo>
                <a:lnTo>
                  <a:pt x="11204" y="3252"/>
                </a:lnTo>
                <a:lnTo>
                  <a:pt x="11198" y="3270"/>
                </a:lnTo>
                <a:lnTo>
                  <a:pt x="11196" y="3274"/>
                </a:lnTo>
                <a:lnTo>
                  <a:pt x="11196" y="3278"/>
                </a:lnTo>
                <a:lnTo>
                  <a:pt x="11198" y="3280"/>
                </a:lnTo>
                <a:lnTo>
                  <a:pt x="11200" y="3284"/>
                </a:lnTo>
                <a:lnTo>
                  <a:pt x="11200" y="3288"/>
                </a:lnTo>
                <a:lnTo>
                  <a:pt x="11202" y="3292"/>
                </a:lnTo>
                <a:lnTo>
                  <a:pt x="11202" y="3294"/>
                </a:lnTo>
                <a:lnTo>
                  <a:pt x="11200" y="3296"/>
                </a:lnTo>
                <a:lnTo>
                  <a:pt x="11196" y="3296"/>
                </a:lnTo>
                <a:lnTo>
                  <a:pt x="11196" y="3298"/>
                </a:lnTo>
                <a:lnTo>
                  <a:pt x="11198" y="3304"/>
                </a:lnTo>
                <a:lnTo>
                  <a:pt x="11200" y="3304"/>
                </a:lnTo>
                <a:lnTo>
                  <a:pt x="11204" y="3304"/>
                </a:lnTo>
                <a:lnTo>
                  <a:pt x="11204" y="3308"/>
                </a:lnTo>
                <a:lnTo>
                  <a:pt x="11206" y="3314"/>
                </a:lnTo>
                <a:lnTo>
                  <a:pt x="11206" y="3318"/>
                </a:lnTo>
                <a:lnTo>
                  <a:pt x="11210" y="3316"/>
                </a:lnTo>
                <a:lnTo>
                  <a:pt x="11214" y="3310"/>
                </a:lnTo>
                <a:lnTo>
                  <a:pt x="11218" y="3304"/>
                </a:lnTo>
                <a:lnTo>
                  <a:pt x="11218" y="3306"/>
                </a:lnTo>
                <a:lnTo>
                  <a:pt x="11218" y="3310"/>
                </a:lnTo>
                <a:lnTo>
                  <a:pt x="11220" y="3312"/>
                </a:lnTo>
                <a:lnTo>
                  <a:pt x="11222" y="3310"/>
                </a:lnTo>
                <a:lnTo>
                  <a:pt x="11224" y="3306"/>
                </a:lnTo>
                <a:lnTo>
                  <a:pt x="11226" y="3302"/>
                </a:lnTo>
                <a:lnTo>
                  <a:pt x="11230" y="3298"/>
                </a:lnTo>
                <a:lnTo>
                  <a:pt x="11234" y="3294"/>
                </a:lnTo>
                <a:lnTo>
                  <a:pt x="11238" y="3294"/>
                </a:lnTo>
                <a:lnTo>
                  <a:pt x="11238" y="3296"/>
                </a:lnTo>
                <a:lnTo>
                  <a:pt x="11234" y="3300"/>
                </a:lnTo>
                <a:lnTo>
                  <a:pt x="11232" y="3304"/>
                </a:lnTo>
                <a:lnTo>
                  <a:pt x="11234" y="3308"/>
                </a:lnTo>
                <a:lnTo>
                  <a:pt x="11238" y="3310"/>
                </a:lnTo>
                <a:lnTo>
                  <a:pt x="11242" y="3308"/>
                </a:lnTo>
                <a:lnTo>
                  <a:pt x="11244" y="3306"/>
                </a:lnTo>
                <a:lnTo>
                  <a:pt x="11246" y="3302"/>
                </a:lnTo>
                <a:lnTo>
                  <a:pt x="11244" y="3296"/>
                </a:lnTo>
                <a:lnTo>
                  <a:pt x="11242" y="3292"/>
                </a:lnTo>
                <a:lnTo>
                  <a:pt x="11244" y="3290"/>
                </a:lnTo>
                <a:lnTo>
                  <a:pt x="11246" y="3290"/>
                </a:lnTo>
                <a:lnTo>
                  <a:pt x="11248" y="3294"/>
                </a:lnTo>
                <a:lnTo>
                  <a:pt x="11250" y="3300"/>
                </a:lnTo>
                <a:lnTo>
                  <a:pt x="11254" y="3296"/>
                </a:lnTo>
                <a:lnTo>
                  <a:pt x="11256" y="3294"/>
                </a:lnTo>
                <a:lnTo>
                  <a:pt x="11256" y="3292"/>
                </a:lnTo>
                <a:lnTo>
                  <a:pt x="11252" y="3288"/>
                </a:lnTo>
                <a:lnTo>
                  <a:pt x="11250" y="3286"/>
                </a:lnTo>
                <a:lnTo>
                  <a:pt x="11254" y="3284"/>
                </a:lnTo>
                <a:lnTo>
                  <a:pt x="11264" y="3284"/>
                </a:lnTo>
                <a:lnTo>
                  <a:pt x="11272" y="3286"/>
                </a:lnTo>
                <a:lnTo>
                  <a:pt x="11278" y="3288"/>
                </a:lnTo>
                <a:lnTo>
                  <a:pt x="11282" y="3288"/>
                </a:lnTo>
                <a:lnTo>
                  <a:pt x="11284" y="3286"/>
                </a:lnTo>
                <a:lnTo>
                  <a:pt x="11284" y="3284"/>
                </a:lnTo>
                <a:lnTo>
                  <a:pt x="11284" y="3280"/>
                </a:lnTo>
                <a:lnTo>
                  <a:pt x="11288" y="3278"/>
                </a:lnTo>
                <a:lnTo>
                  <a:pt x="11296" y="3276"/>
                </a:lnTo>
                <a:lnTo>
                  <a:pt x="11302" y="3276"/>
                </a:lnTo>
                <a:lnTo>
                  <a:pt x="11306" y="3278"/>
                </a:lnTo>
                <a:lnTo>
                  <a:pt x="11310" y="3276"/>
                </a:lnTo>
                <a:lnTo>
                  <a:pt x="11316" y="3268"/>
                </a:lnTo>
                <a:lnTo>
                  <a:pt x="11322" y="3256"/>
                </a:lnTo>
                <a:lnTo>
                  <a:pt x="11326" y="3244"/>
                </a:lnTo>
                <a:lnTo>
                  <a:pt x="11328" y="3232"/>
                </a:lnTo>
                <a:lnTo>
                  <a:pt x="11328" y="3226"/>
                </a:lnTo>
                <a:lnTo>
                  <a:pt x="11326" y="3226"/>
                </a:lnTo>
                <a:lnTo>
                  <a:pt x="11322" y="3226"/>
                </a:lnTo>
                <a:lnTo>
                  <a:pt x="11322" y="3218"/>
                </a:lnTo>
                <a:lnTo>
                  <a:pt x="11322" y="3208"/>
                </a:lnTo>
                <a:lnTo>
                  <a:pt x="11324" y="3200"/>
                </a:lnTo>
                <a:lnTo>
                  <a:pt x="11324" y="3192"/>
                </a:lnTo>
                <a:lnTo>
                  <a:pt x="11324" y="3180"/>
                </a:lnTo>
                <a:lnTo>
                  <a:pt x="11320" y="3164"/>
                </a:lnTo>
                <a:lnTo>
                  <a:pt x="11314" y="3148"/>
                </a:lnTo>
                <a:lnTo>
                  <a:pt x="11306" y="3134"/>
                </a:lnTo>
                <a:lnTo>
                  <a:pt x="11298" y="3122"/>
                </a:lnTo>
                <a:lnTo>
                  <a:pt x="11292" y="3110"/>
                </a:lnTo>
                <a:lnTo>
                  <a:pt x="11286" y="3100"/>
                </a:lnTo>
                <a:lnTo>
                  <a:pt x="11280" y="3086"/>
                </a:lnTo>
                <a:lnTo>
                  <a:pt x="11278" y="3080"/>
                </a:lnTo>
                <a:lnTo>
                  <a:pt x="11274" y="3078"/>
                </a:lnTo>
                <a:lnTo>
                  <a:pt x="11270" y="3074"/>
                </a:lnTo>
                <a:lnTo>
                  <a:pt x="11262" y="3066"/>
                </a:lnTo>
                <a:lnTo>
                  <a:pt x="11258" y="3060"/>
                </a:lnTo>
                <a:lnTo>
                  <a:pt x="11254" y="3058"/>
                </a:lnTo>
                <a:lnTo>
                  <a:pt x="11248" y="3056"/>
                </a:lnTo>
                <a:lnTo>
                  <a:pt x="11244" y="3054"/>
                </a:lnTo>
                <a:lnTo>
                  <a:pt x="11242" y="3050"/>
                </a:lnTo>
                <a:lnTo>
                  <a:pt x="11242" y="3048"/>
                </a:lnTo>
                <a:lnTo>
                  <a:pt x="11246" y="3048"/>
                </a:lnTo>
                <a:lnTo>
                  <a:pt x="11248" y="3046"/>
                </a:lnTo>
                <a:lnTo>
                  <a:pt x="11248" y="3038"/>
                </a:lnTo>
                <a:lnTo>
                  <a:pt x="11246" y="3030"/>
                </a:lnTo>
                <a:lnTo>
                  <a:pt x="11248" y="3026"/>
                </a:lnTo>
                <a:lnTo>
                  <a:pt x="11248" y="3022"/>
                </a:lnTo>
                <a:lnTo>
                  <a:pt x="11250" y="3020"/>
                </a:lnTo>
                <a:lnTo>
                  <a:pt x="11256" y="3018"/>
                </a:lnTo>
                <a:lnTo>
                  <a:pt x="11260" y="3016"/>
                </a:lnTo>
                <a:lnTo>
                  <a:pt x="11262" y="3012"/>
                </a:lnTo>
                <a:lnTo>
                  <a:pt x="11266" y="3008"/>
                </a:lnTo>
                <a:lnTo>
                  <a:pt x="11268" y="3008"/>
                </a:lnTo>
                <a:lnTo>
                  <a:pt x="11272" y="3008"/>
                </a:lnTo>
                <a:lnTo>
                  <a:pt x="11276" y="3010"/>
                </a:lnTo>
                <a:lnTo>
                  <a:pt x="11280" y="3008"/>
                </a:lnTo>
                <a:lnTo>
                  <a:pt x="11284" y="3006"/>
                </a:lnTo>
                <a:lnTo>
                  <a:pt x="11290" y="3000"/>
                </a:lnTo>
                <a:lnTo>
                  <a:pt x="11314" y="2976"/>
                </a:lnTo>
                <a:lnTo>
                  <a:pt x="11322" y="2968"/>
                </a:lnTo>
                <a:lnTo>
                  <a:pt x="11330" y="2964"/>
                </a:lnTo>
                <a:lnTo>
                  <a:pt x="11334" y="2964"/>
                </a:lnTo>
                <a:lnTo>
                  <a:pt x="11334" y="2960"/>
                </a:lnTo>
                <a:lnTo>
                  <a:pt x="11336" y="2954"/>
                </a:lnTo>
                <a:lnTo>
                  <a:pt x="11336" y="2944"/>
                </a:lnTo>
                <a:lnTo>
                  <a:pt x="11336" y="2938"/>
                </a:lnTo>
                <a:lnTo>
                  <a:pt x="11338" y="2934"/>
                </a:lnTo>
                <a:lnTo>
                  <a:pt x="11336" y="2932"/>
                </a:lnTo>
                <a:lnTo>
                  <a:pt x="11334" y="2928"/>
                </a:lnTo>
                <a:lnTo>
                  <a:pt x="11334" y="2926"/>
                </a:lnTo>
                <a:lnTo>
                  <a:pt x="11334" y="2924"/>
                </a:lnTo>
                <a:lnTo>
                  <a:pt x="11338" y="2914"/>
                </a:lnTo>
                <a:lnTo>
                  <a:pt x="11352" y="2894"/>
                </a:lnTo>
                <a:lnTo>
                  <a:pt x="11362" y="2884"/>
                </a:lnTo>
                <a:lnTo>
                  <a:pt x="11366" y="2882"/>
                </a:lnTo>
                <a:lnTo>
                  <a:pt x="11368" y="2882"/>
                </a:lnTo>
                <a:lnTo>
                  <a:pt x="11372" y="2884"/>
                </a:lnTo>
                <a:lnTo>
                  <a:pt x="11376" y="2882"/>
                </a:lnTo>
                <a:lnTo>
                  <a:pt x="11380" y="2878"/>
                </a:lnTo>
                <a:lnTo>
                  <a:pt x="11382" y="2872"/>
                </a:lnTo>
                <a:lnTo>
                  <a:pt x="11380" y="2866"/>
                </a:lnTo>
                <a:lnTo>
                  <a:pt x="11380" y="2862"/>
                </a:lnTo>
                <a:lnTo>
                  <a:pt x="11386" y="2864"/>
                </a:lnTo>
                <a:lnTo>
                  <a:pt x="11396" y="2864"/>
                </a:lnTo>
                <a:lnTo>
                  <a:pt x="11398" y="2862"/>
                </a:lnTo>
                <a:lnTo>
                  <a:pt x="11402" y="2858"/>
                </a:lnTo>
                <a:lnTo>
                  <a:pt x="11408" y="2848"/>
                </a:lnTo>
                <a:lnTo>
                  <a:pt x="11412" y="2840"/>
                </a:lnTo>
                <a:lnTo>
                  <a:pt x="11414" y="2832"/>
                </a:lnTo>
                <a:lnTo>
                  <a:pt x="11414" y="2828"/>
                </a:lnTo>
                <a:lnTo>
                  <a:pt x="11416" y="2826"/>
                </a:lnTo>
                <a:lnTo>
                  <a:pt x="11420" y="2826"/>
                </a:lnTo>
                <a:lnTo>
                  <a:pt x="11424" y="2826"/>
                </a:lnTo>
                <a:lnTo>
                  <a:pt x="11424" y="2828"/>
                </a:lnTo>
                <a:lnTo>
                  <a:pt x="11424" y="2834"/>
                </a:lnTo>
                <a:lnTo>
                  <a:pt x="11422" y="2836"/>
                </a:lnTo>
                <a:lnTo>
                  <a:pt x="11424" y="2838"/>
                </a:lnTo>
                <a:lnTo>
                  <a:pt x="11426" y="2838"/>
                </a:lnTo>
                <a:lnTo>
                  <a:pt x="11430" y="2834"/>
                </a:lnTo>
                <a:lnTo>
                  <a:pt x="11436" y="2832"/>
                </a:lnTo>
                <a:lnTo>
                  <a:pt x="11438" y="2832"/>
                </a:lnTo>
                <a:lnTo>
                  <a:pt x="11440" y="2834"/>
                </a:lnTo>
                <a:lnTo>
                  <a:pt x="11440" y="2836"/>
                </a:lnTo>
                <a:lnTo>
                  <a:pt x="11440" y="2844"/>
                </a:lnTo>
                <a:lnTo>
                  <a:pt x="11442" y="2848"/>
                </a:lnTo>
                <a:lnTo>
                  <a:pt x="11444" y="2850"/>
                </a:lnTo>
                <a:lnTo>
                  <a:pt x="11458" y="2854"/>
                </a:lnTo>
                <a:lnTo>
                  <a:pt x="11468" y="2860"/>
                </a:lnTo>
                <a:lnTo>
                  <a:pt x="11474" y="2860"/>
                </a:lnTo>
                <a:lnTo>
                  <a:pt x="11478" y="2858"/>
                </a:lnTo>
                <a:lnTo>
                  <a:pt x="11486" y="2854"/>
                </a:lnTo>
                <a:lnTo>
                  <a:pt x="11496" y="2852"/>
                </a:lnTo>
                <a:lnTo>
                  <a:pt x="11506" y="2848"/>
                </a:lnTo>
                <a:lnTo>
                  <a:pt x="11512" y="2844"/>
                </a:lnTo>
                <a:lnTo>
                  <a:pt x="11520" y="2836"/>
                </a:lnTo>
                <a:lnTo>
                  <a:pt x="11536" y="2826"/>
                </a:lnTo>
                <a:lnTo>
                  <a:pt x="11546" y="2820"/>
                </a:lnTo>
                <a:lnTo>
                  <a:pt x="11554" y="2810"/>
                </a:lnTo>
                <a:lnTo>
                  <a:pt x="11574" y="2784"/>
                </a:lnTo>
                <a:lnTo>
                  <a:pt x="11600" y="2748"/>
                </a:lnTo>
                <a:lnTo>
                  <a:pt x="11616" y="2728"/>
                </a:lnTo>
                <a:lnTo>
                  <a:pt x="11638" y="2708"/>
                </a:lnTo>
                <a:lnTo>
                  <a:pt x="11656" y="2686"/>
                </a:lnTo>
                <a:lnTo>
                  <a:pt x="11668" y="2668"/>
                </a:lnTo>
                <a:lnTo>
                  <a:pt x="11678" y="2652"/>
                </a:lnTo>
                <a:lnTo>
                  <a:pt x="11684" y="2638"/>
                </a:lnTo>
                <a:lnTo>
                  <a:pt x="11692" y="2616"/>
                </a:lnTo>
                <a:lnTo>
                  <a:pt x="11696" y="2608"/>
                </a:lnTo>
                <a:lnTo>
                  <a:pt x="11704" y="2600"/>
                </a:lnTo>
                <a:lnTo>
                  <a:pt x="11712" y="2592"/>
                </a:lnTo>
                <a:lnTo>
                  <a:pt x="11716" y="2586"/>
                </a:lnTo>
                <a:lnTo>
                  <a:pt x="11720" y="2576"/>
                </a:lnTo>
                <a:lnTo>
                  <a:pt x="11722" y="2572"/>
                </a:lnTo>
                <a:lnTo>
                  <a:pt x="11726" y="2564"/>
                </a:lnTo>
                <a:lnTo>
                  <a:pt x="11732" y="2556"/>
                </a:lnTo>
                <a:lnTo>
                  <a:pt x="11742" y="2546"/>
                </a:lnTo>
                <a:lnTo>
                  <a:pt x="11748" y="2540"/>
                </a:lnTo>
                <a:lnTo>
                  <a:pt x="11754" y="2532"/>
                </a:lnTo>
                <a:lnTo>
                  <a:pt x="11762" y="2516"/>
                </a:lnTo>
                <a:lnTo>
                  <a:pt x="11768" y="2496"/>
                </a:lnTo>
                <a:lnTo>
                  <a:pt x="11772" y="2476"/>
                </a:lnTo>
                <a:lnTo>
                  <a:pt x="11772" y="2456"/>
                </a:lnTo>
                <a:lnTo>
                  <a:pt x="11772" y="2438"/>
                </a:lnTo>
                <a:lnTo>
                  <a:pt x="11770" y="2422"/>
                </a:lnTo>
                <a:lnTo>
                  <a:pt x="11768" y="2412"/>
                </a:lnTo>
                <a:lnTo>
                  <a:pt x="11768" y="2404"/>
                </a:lnTo>
                <a:lnTo>
                  <a:pt x="11768" y="2398"/>
                </a:lnTo>
                <a:lnTo>
                  <a:pt x="11768" y="2392"/>
                </a:lnTo>
                <a:lnTo>
                  <a:pt x="11770" y="2388"/>
                </a:lnTo>
                <a:lnTo>
                  <a:pt x="11778" y="2376"/>
                </a:lnTo>
                <a:lnTo>
                  <a:pt x="11780" y="2370"/>
                </a:lnTo>
                <a:lnTo>
                  <a:pt x="11784" y="2360"/>
                </a:lnTo>
                <a:lnTo>
                  <a:pt x="11788" y="2350"/>
                </a:lnTo>
                <a:lnTo>
                  <a:pt x="11792" y="2340"/>
                </a:lnTo>
                <a:lnTo>
                  <a:pt x="11804" y="2328"/>
                </a:lnTo>
                <a:lnTo>
                  <a:pt x="11808" y="2322"/>
                </a:lnTo>
                <a:lnTo>
                  <a:pt x="11810" y="2316"/>
                </a:lnTo>
                <a:lnTo>
                  <a:pt x="11810" y="2310"/>
                </a:lnTo>
                <a:lnTo>
                  <a:pt x="11804" y="2304"/>
                </a:lnTo>
                <a:lnTo>
                  <a:pt x="11800" y="2298"/>
                </a:lnTo>
                <a:lnTo>
                  <a:pt x="11798" y="2292"/>
                </a:lnTo>
                <a:lnTo>
                  <a:pt x="11796" y="2288"/>
                </a:lnTo>
                <a:lnTo>
                  <a:pt x="11798" y="2284"/>
                </a:lnTo>
                <a:lnTo>
                  <a:pt x="11800" y="2276"/>
                </a:lnTo>
                <a:lnTo>
                  <a:pt x="11798" y="2272"/>
                </a:lnTo>
                <a:lnTo>
                  <a:pt x="11794" y="2266"/>
                </a:lnTo>
                <a:lnTo>
                  <a:pt x="11792" y="2260"/>
                </a:lnTo>
                <a:lnTo>
                  <a:pt x="11794" y="2258"/>
                </a:lnTo>
                <a:lnTo>
                  <a:pt x="11804" y="2252"/>
                </a:lnTo>
                <a:lnTo>
                  <a:pt x="11808" y="2248"/>
                </a:lnTo>
                <a:lnTo>
                  <a:pt x="11808" y="2246"/>
                </a:lnTo>
                <a:lnTo>
                  <a:pt x="11806" y="2240"/>
                </a:lnTo>
                <a:lnTo>
                  <a:pt x="11798" y="2234"/>
                </a:lnTo>
                <a:lnTo>
                  <a:pt x="11780" y="2220"/>
                </a:lnTo>
                <a:lnTo>
                  <a:pt x="11768" y="2208"/>
                </a:lnTo>
                <a:lnTo>
                  <a:pt x="11752" y="2188"/>
                </a:lnTo>
                <a:lnTo>
                  <a:pt x="11746" y="2186"/>
                </a:lnTo>
                <a:lnTo>
                  <a:pt x="11742" y="2184"/>
                </a:lnTo>
                <a:lnTo>
                  <a:pt x="11732" y="2184"/>
                </a:lnTo>
                <a:lnTo>
                  <a:pt x="11720" y="2186"/>
                </a:lnTo>
                <a:lnTo>
                  <a:pt x="11714" y="2186"/>
                </a:lnTo>
                <a:lnTo>
                  <a:pt x="11708" y="2182"/>
                </a:lnTo>
                <a:lnTo>
                  <a:pt x="11702" y="2182"/>
                </a:lnTo>
                <a:lnTo>
                  <a:pt x="11700" y="2184"/>
                </a:lnTo>
                <a:lnTo>
                  <a:pt x="11696" y="2196"/>
                </a:lnTo>
                <a:lnTo>
                  <a:pt x="11692" y="2202"/>
                </a:lnTo>
                <a:lnTo>
                  <a:pt x="11688" y="2210"/>
                </a:lnTo>
                <a:lnTo>
                  <a:pt x="11680" y="2218"/>
                </a:lnTo>
                <a:lnTo>
                  <a:pt x="11670" y="2222"/>
                </a:lnTo>
                <a:lnTo>
                  <a:pt x="11660" y="2224"/>
                </a:lnTo>
                <a:lnTo>
                  <a:pt x="11656" y="2224"/>
                </a:lnTo>
                <a:lnTo>
                  <a:pt x="11652" y="2224"/>
                </a:lnTo>
                <a:lnTo>
                  <a:pt x="11650" y="2220"/>
                </a:lnTo>
                <a:lnTo>
                  <a:pt x="11650" y="2216"/>
                </a:lnTo>
                <a:lnTo>
                  <a:pt x="11650" y="2212"/>
                </a:lnTo>
                <a:lnTo>
                  <a:pt x="11654" y="2202"/>
                </a:lnTo>
                <a:lnTo>
                  <a:pt x="11658" y="2192"/>
                </a:lnTo>
                <a:lnTo>
                  <a:pt x="11660" y="2184"/>
                </a:lnTo>
                <a:lnTo>
                  <a:pt x="11660" y="2182"/>
                </a:lnTo>
                <a:lnTo>
                  <a:pt x="11658" y="2180"/>
                </a:lnTo>
                <a:lnTo>
                  <a:pt x="11654" y="2180"/>
                </a:lnTo>
                <a:lnTo>
                  <a:pt x="11648" y="2180"/>
                </a:lnTo>
                <a:lnTo>
                  <a:pt x="11638" y="2186"/>
                </a:lnTo>
                <a:lnTo>
                  <a:pt x="11634" y="2190"/>
                </a:lnTo>
                <a:lnTo>
                  <a:pt x="11634" y="2194"/>
                </a:lnTo>
                <a:lnTo>
                  <a:pt x="11636" y="2198"/>
                </a:lnTo>
                <a:lnTo>
                  <a:pt x="11638" y="2202"/>
                </a:lnTo>
                <a:lnTo>
                  <a:pt x="11638" y="2204"/>
                </a:lnTo>
                <a:lnTo>
                  <a:pt x="11634" y="2206"/>
                </a:lnTo>
                <a:lnTo>
                  <a:pt x="11626" y="2208"/>
                </a:lnTo>
                <a:lnTo>
                  <a:pt x="11622" y="2208"/>
                </a:lnTo>
                <a:lnTo>
                  <a:pt x="11618" y="2206"/>
                </a:lnTo>
                <a:lnTo>
                  <a:pt x="11616" y="2204"/>
                </a:lnTo>
                <a:lnTo>
                  <a:pt x="11616" y="2202"/>
                </a:lnTo>
                <a:lnTo>
                  <a:pt x="11618" y="2194"/>
                </a:lnTo>
                <a:lnTo>
                  <a:pt x="11622" y="2186"/>
                </a:lnTo>
                <a:lnTo>
                  <a:pt x="11624" y="2176"/>
                </a:lnTo>
                <a:lnTo>
                  <a:pt x="11624" y="2172"/>
                </a:lnTo>
                <a:lnTo>
                  <a:pt x="11622" y="2168"/>
                </a:lnTo>
                <a:lnTo>
                  <a:pt x="11620" y="2164"/>
                </a:lnTo>
                <a:lnTo>
                  <a:pt x="11616" y="2162"/>
                </a:lnTo>
                <a:lnTo>
                  <a:pt x="11610" y="2160"/>
                </a:lnTo>
                <a:lnTo>
                  <a:pt x="11602" y="2160"/>
                </a:lnTo>
                <a:lnTo>
                  <a:pt x="11584" y="2160"/>
                </a:lnTo>
                <a:lnTo>
                  <a:pt x="11570" y="2160"/>
                </a:lnTo>
                <a:lnTo>
                  <a:pt x="11560" y="2158"/>
                </a:lnTo>
                <a:lnTo>
                  <a:pt x="11556" y="2154"/>
                </a:lnTo>
                <a:lnTo>
                  <a:pt x="11554" y="2150"/>
                </a:lnTo>
                <a:lnTo>
                  <a:pt x="11556" y="2146"/>
                </a:lnTo>
                <a:lnTo>
                  <a:pt x="11562" y="2138"/>
                </a:lnTo>
                <a:lnTo>
                  <a:pt x="11574" y="2126"/>
                </a:lnTo>
                <a:lnTo>
                  <a:pt x="11594" y="2112"/>
                </a:lnTo>
                <a:lnTo>
                  <a:pt x="11634" y="2086"/>
                </a:lnTo>
                <a:lnTo>
                  <a:pt x="11658" y="2068"/>
                </a:lnTo>
                <a:lnTo>
                  <a:pt x="11666" y="2060"/>
                </a:lnTo>
                <a:lnTo>
                  <a:pt x="11672" y="2052"/>
                </a:lnTo>
                <a:lnTo>
                  <a:pt x="11676" y="2042"/>
                </a:lnTo>
                <a:lnTo>
                  <a:pt x="11682" y="2030"/>
                </a:lnTo>
                <a:lnTo>
                  <a:pt x="11690" y="2018"/>
                </a:lnTo>
                <a:lnTo>
                  <a:pt x="11700" y="2008"/>
                </a:lnTo>
                <a:lnTo>
                  <a:pt x="11714" y="1998"/>
                </a:lnTo>
                <a:lnTo>
                  <a:pt x="11728" y="1990"/>
                </a:lnTo>
                <a:lnTo>
                  <a:pt x="11742" y="1982"/>
                </a:lnTo>
                <a:lnTo>
                  <a:pt x="11754" y="1972"/>
                </a:lnTo>
                <a:lnTo>
                  <a:pt x="11766" y="1960"/>
                </a:lnTo>
                <a:lnTo>
                  <a:pt x="11770" y="1952"/>
                </a:lnTo>
                <a:lnTo>
                  <a:pt x="11774" y="1944"/>
                </a:lnTo>
                <a:lnTo>
                  <a:pt x="11782" y="1928"/>
                </a:lnTo>
                <a:lnTo>
                  <a:pt x="11796" y="1912"/>
                </a:lnTo>
                <a:lnTo>
                  <a:pt x="11814" y="1896"/>
                </a:lnTo>
                <a:lnTo>
                  <a:pt x="11834" y="1882"/>
                </a:lnTo>
                <a:lnTo>
                  <a:pt x="11854" y="1870"/>
                </a:lnTo>
                <a:lnTo>
                  <a:pt x="11874" y="1864"/>
                </a:lnTo>
                <a:lnTo>
                  <a:pt x="11894" y="1860"/>
                </a:lnTo>
                <a:lnTo>
                  <a:pt x="11902" y="1860"/>
                </a:lnTo>
                <a:lnTo>
                  <a:pt x="11912" y="1862"/>
                </a:lnTo>
                <a:lnTo>
                  <a:pt x="11926" y="1864"/>
                </a:lnTo>
                <a:lnTo>
                  <a:pt x="11936" y="1866"/>
                </a:lnTo>
                <a:lnTo>
                  <a:pt x="11956" y="1864"/>
                </a:lnTo>
                <a:lnTo>
                  <a:pt x="11970" y="1864"/>
                </a:lnTo>
                <a:lnTo>
                  <a:pt x="11978" y="1866"/>
                </a:lnTo>
                <a:lnTo>
                  <a:pt x="11986" y="1868"/>
                </a:lnTo>
                <a:lnTo>
                  <a:pt x="11994" y="1872"/>
                </a:lnTo>
                <a:lnTo>
                  <a:pt x="11996" y="1872"/>
                </a:lnTo>
                <a:lnTo>
                  <a:pt x="11998" y="1870"/>
                </a:lnTo>
                <a:lnTo>
                  <a:pt x="12002" y="1866"/>
                </a:lnTo>
                <a:lnTo>
                  <a:pt x="12006" y="1862"/>
                </a:lnTo>
                <a:lnTo>
                  <a:pt x="12012" y="1858"/>
                </a:lnTo>
                <a:lnTo>
                  <a:pt x="12024" y="1858"/>
                </a:lnTo>
                <a:lnTo>
                  <a:pt x="12042" y="1860"/>
                </a:lnTo>
                <a:lnTo>
                  <a:pt x="12076" y="1868"/>
                </a:lnTo>
                <a:lnTo>
                  <a:pt x="12088" y="1870"/>
                </a:lnTo>
                <a:lnTo>
                  <a:pt x="12096" y="1870"/>
                </a:lnTo>
                <a:lnTo>
                  <a:pt x="12104" y="1868"/>
                </a:lnTo>
                <a:lnTo>
                  <a:pt x="12108" y="1866"/>
                </a:lnTo>
                <a:lnTo>
                  <a:pt x="12112" y="1858"/>
                </a:lnTo>
                <a:lnTo>
                  <a:pt x="12116" y="1848"/>
                </a:lnTo>
                <a:lnTo>
                  <a:pt x="12118" y="1846"/>
                </a:lnTo>
                <a:lnTo>
                  <a:pt x="12124" y="1844"/>
                </a:lnTo>
                <a:lnTo>
                  <a:pt x="12140" y="1842"/>
                </a:lnTo>
                <a:lnTo>
                  <a:pt x="12160" y="1842"/>
                </a:lnTo>
                <a:lnTo>
                  <a:pt x="12182" y="1844"/>
                </a:lnTo>
                <a:lnTo>
                  <a:pt x="12202" y="1848"/>
                </a:lnTo>
                <a:lnTo>
                  <a:pt x="12210" y="1852"/>
                </a:lnTo>
                <a:lnTo>
                  <a:pt x="12216" y="1854"/>
                </a:lnTo>
                <a:lnTo>
                  <a:pt x="12218" y="1858"/>
                </a:lnTo>
                <a:lnTo>
                  <a:pt x="12220" y="1864"/>
                </a:lnTo>
                <a:lnTo>
                  <a:pt x="12216" y="1870"/>
                </a:lnTo>
                <a:lnTo>
                  <a:pt x="12208" y="1876"/>
                </a:lnTo>
                <a:lnTo>
                  <a:pt x="12202" y="1880"/>
                </a:lnTo>
                <a:lnTo>
                  <a:pt x="12200" y="1884"/>
                </a:lnTo>
                <a:lnTo>
                  <a:pt x="12200" y="1888"/>
                </a:lnTo>
                <a:lnTo>
                  <a:pt x="12202" y="1890"/>
                </a:lnTo>
                <a:lnTo>
                  <a:pt x="12214" y="1890"/>
                </a:lnTo>
                <a:lnTo>
                  <a:pt x="12228" y="1890"/>
                </a:lnTo>
                <a:lnTo>
                  <a:pt x="12246" y="1888"/>
                </a:lnTo>
                <a:lnTo>
                  <a:pt x="12262" y="1884"/>
                </a:lnTo>
                <a:lnTo>
                  <a:pt x="12276" y="1880"/>
                </a:lnTo>
                <a:lnTo>
                  <a:pt x="12282" y="1876"/>
                </a:lnTo>
                <a:lnTo>
                  <a:pt x="12286" y="1870"/>
                </a:lnTo>
                <a:lnTo>
                  <a:pt x="12292" y="1870"/>
                </a:lnTo>
                <a:lnTo>
                  <a:pt x="12298" y="1872"/>
                </a:lnTo>
                <a:lnTo>
                  <a:pt x="12306" y="1878"/>
                </a:lnTo>
                <a:lnTo>
                  <a:pt x="12316" y="1882"/>
                </a:lnTo>
                <a:lnTo>
                  <a:pt x="12326" y="1884"/>
                </a:lnTo>
                <a:lnTo>
                  <a:pt x="12336" y="1882"/>
                </a:lnTo>
                <a:lnTo>
                  <a:pt x="12344" y="1880"/>
                </a:lnTo>
                <a:lnTo>
                  <a:pt x="12350" y="1876"/>
                </a:lnTo>
                <a:lnTo>
                  <a:pt x="12354" y="1870"/>
                </a:lnTo>
                <a:lnTo>
                  <a:pt x="12358" y="1866"/>
                </a:lnTo>
                <a:lnTo>
                  <a:pt x="12356" y="1862"/>
                </a:lnTo>
                <a:lnTo>
                  <a:pt x="12354" y="1858"/>
                </a:lnTo>
                <a:lnTo>
                  <a:pt x="12346" y="1852"/>
                </a:lnTo>
                <a:lnTo>
                  <a:pt x="12336" y="1844"/>
                </a:lnTo>
                <a:lnTo>
                  <a:pt x="12332" y="1840"/>
                </a:lnTo>
                <a:lnTo>
                  <a:pt x="12328" y="1836"/>
                </a:lnTo>
                <a:lnTo>
                  <a:pt x="12326" y="1830"/>
                </a:lnTo>
                <a:lnTo>
                  <a:pt x="12326" y="1824"/>
                </a:lnTo>
                <a:lnTo>
                  <a:pt x="12328" y="1818"/>
                </a:lnTo>
                <a:lnTo>
                  <a:pt x="12334" y="1810"/>
                </a:lnTo>
                <a:lnTo>
                  <a:pt x="12344" y="1802"/>
                </a:lnTo>
                <a:lnTo>
                  <a:pt x="12358" y="1792"/>
                </a:lnTo>
                <a:lnTo>
                  <a:pt x="12384" y="1772"/>
                </a:lnTo>
                <a:lnTo>
                  <a:pt x="12402" y="1756"/>
                </a:lnTo>
                <a:lnTo>
                  <a:pt x="12424" y="1730"/>
                </a:lnTo>
                <a:lnTo>
                  <a:pt x="12434" y="1720"/>
                </a:lnTo>
                <a:lnTo>
                  <a:pt x="12450" y="1714"/>
                </a:lnTo>
                <a:lnTo>
                  <a:pt x="12472" y="1708"/>
                </a:lnTo>
                <a:lnTo>
                  <a:pt x="12504" y="1702"/>
                </a:lnTo>
                <a:lnTo>
                  <a:pt x="12520" y="1702"/>
                </a:lnTo>
                <a:lnTo>
                  <a:pt x="12530" y="1702"/>
                </a:lnTo>
                <a:lnTo>
                  <a:pt x="12540" y="1706"/>
                </a:lnTo>
                <a:lnTo>
                  <a:pt x="12546" y="1712"/>
                </a:lnTo>
                <a:lnTo>
                  <a:pt x="12550" y="1720"/>
                </a:lnTo>
                <a:lnTo>
                  <a:pt x="12552" y="1728"/>
                </a:lnTo>
                <a:lnTo>
                  <a:pt x="12554" y="1744"/>
                </a:lnTo>
                <a:lnTo>
                  <a:pt x="12554" y="1762"/>
                </a:lnTo>
                <a:lnTo>
                  <a:pt x="12554" y="1768"/>
                </a:lnTo>
                <a:lnTo>
                  <a:pt x="12556" y="1774"/>
                </a:lnTo>
                <a:lnTo>
                  <a:pt x="12560" y="1778"/>
                </a:lnTo>
                <a:lnTo>
                  <a:pt x="12566" y="1778"/>
                </a:lnTo>
                <a:lnTo>
                  <a:pt x="12572" y="1778"/>
                </a:lnTo>
                <a:lnTo>
                  <a:pt x="12582" y="1774"/>
                </a:lnTo>
                <a:lnTo>
                  <a:pt x="12604" y="1762"/>
                </a:lnTo>
                <a:lnTo>
                  <a:pt x="12618" y="1750"/>
                </a:lnTo>
                <a:lnTo>
                  <a:pt x="12628" y="1740"/>
                </a:lnTo>
                <a:lnTo>
                  <a:pt x="12634" y="1730"/>
                </a:lnTo>
                <a:lnTo>
                  <a:pt x="12640" y="1724"/>
                </a:lnTo>
                <a:lnTo>
                  <a:pt x="12646" y="1718"/>
                </a:lnTo>
                <a:lnTo>
                  <a:pt x="12654" y="1718"/>
                </a:lnTo>
                <a:lnTo>
                  <a:pt x="12666" y="1720"/>
                </a:lnTo>
                <a:lnTo>
                  <a:pt x="12672" y="1720"/>
                </a:lnTo>
                <a:lnTo>
                  <a:pt x="12676" y="1720"/>
                </a:lnTo>
                <a:lnTo>
                  <a:pt x="12678" y="1716"/>
                </a:lnTo>
                <a:lnTo>
                  <a:pt x="12680" y="1712"/>
                </a:lnTo>
                <a:lnTo>
                  <a:pt x="12680" y="1700"/>
                </a:lnTo>
                <a:lnTo>
                  <a:pt x="12678" y="1686"/>
                </a:lnTo>
                <a:lnTo>
                  <a:pt x="12676" y="1670"/>
                </a:lnTo>
                <a:lnTo>
                  <a:pt x="12678" y="1664"/>
                </a:lnTo>
                <a:lnTo>
                  <a:pt x="12680" y="1658"/>
                </a:lnTo>
                <a:lnTo>
                  <a:pt x="12684" y="1652"/>
                </a:lnTo>
                <a:lnTo>
                  <a:pt x="12692" y="1648"/>
                </a:lnTo>
                <a:lnTo>
                  <a:pt x="12700" y="1646"/>
                </a:lnTo>
                <a:lnTo>
                  <a:pt x="12712" y="1644"/>
                </a:lnTo>
                <a:lnTo>
                  <a:pt x="12744" y="1646"/>
                </a:lnTo>
                <a:lnTo>
                  <a:pt x="12746" y="1646"/>
                </a:lnTo>
                <a:lnTo>
                  <a:pt x="12746" y="1648"/>
                </a:lnTo>
                <a:lnTo>
                  <a:pt x="12742" y="1652"/>
                </a:lnTo>
                <a:lnTo>
                  <a:pt x="12736" y="1660"/>
                </a:lnTo>
                <a:lnTo>
                  <a:pt x="12728" y="1672"/>
                </a:lnTo>
                <a:lnTo>
                  <a:pt x="12718" y="1688"/>
                </a:lnTo>
                <a:lnTo>
                  <a:pt x="12716" y="1700"/>
                </a:lnTo>
                <a:lnTo>
                  <a:pt x="12712" y="1712"/>
                </a:lnTo>
                <a:lnTo>
                  <a:pt x="12710" y="1724"/>
                </a:lnTo>
                <a:lnTo>
                  <a:pt x="12706" y="1736"/>
                </a:lnTo>
                <a:lnTo>
                  <a:pt x="12702" y="1744"/>
                </a:lnTo>
                <a:lnTo>
                  <a:pt x="12698" y="1752"/>
                </a:lnTo>
                <a:lnTo>
                  <a:pt x="12686" y="1762"/>
                </a:lnTo>
                <a:lnTo>
                  <a:pt x="12672" y="1772"/>
                </a:lnTo>
                <a:lnTo>
                  <a:pt x="12654" y="1782"/>
                </a:lnTo>
                <a:lnTo>
                  <a:pt x="12636" y="1794"/>
                </a:lnTo>
                <a:lnTo>
                  <a:pt x="12616" y="1810"/>
                </a:lnTo>
                <a:lnTo>
                  <a:pt x="12604" y="1822"/>
                </a:lnTo>
                <a:lnTo>
                  <a:pt x="12594" y="1836"/>
                </a:lnTo>
                <a:lnTo>
                  <a:pt x="12552" y="1886"/>
                </a:lnTo>
                <a:lnTo>
                  <a:pt x="12534" y="1904"/>
                </a:lnTo>
                <a:lnTo>
                  <a:pt x="12518" y="1920"/>
                </a:lnTo>
                <a:lnTo>
                  <a:pt x="12502" y="1934"/>
                </a:lnTo>
                <a:lnTo>
                  <a:pt x="12488" y="1944"/>
                </a:lnTo>
                <a:lnTo>
                  <a:pt x="12472" y="1950"/>
                </a:lnTo>
                <a:lnTo>
                  <a:pt x="12456" y="1956"/>
                </a:lnTo>
                <a:lnTo>
                  <a:pt x="12442" y="1960"/>
                </a:lnTo>
                <a:lnTo>
                  <a:pt x="12436" y="1964"/>
                </a:lnTo>
                <a:lnTo>
                  <a:pt x="12432" y="1968"/>
                </a:lnTo>
                <a:lnTo>
                  <a:pt x="12432" y="1976"/>
                </a:lnTo>
                <a:lnTo>
                  <a:pt x="12430" y="1982"/>
                </a:lnTo>
                <a:lnTo>
                  <a:pt x="12428" y="1990"/>
                </a:lnTo>
                <a:lnTo>
                  <a:pt x="12422" y="2000"/>
                </a:lnTo>
                <a:lnTo>
                  <a:pt x="12408" y="2012"/>
                </a:lnTo>
                <a:lnTo>
                  <a:pt x="12402" y="2018"/>
                </a:lnTo>
                <a:lnTo>
                  <a:pt x="12396" y="2028"/>
                </a:lnTo>
                <a:lnTo>
                  <a:pt x="12390" y="2040"/>
                </a:lnTo>
                <a:lnTo>
                  <a:pt x="12386" y="2054"/>
                </a:lnTo>
                <a:lnTo>
                  <a:pt x="12384" y="2068"/>
                </a:lnTo>
                <a:lnTo>
                  <a:pt x="12382" y="2084"/>
                </a:lnTo>
                <a:lnTo>
                  <a:pt x="12382" y="2122"/>
                </a:lnTo>
                <a:lnTo>
                  <a:pt x="12384" y="2162"/>
                </a:lnTo>
                <a:lnTo>
                  <a:pt x="12390" y="2204"/>
                </a:lnTo>
                <a:lnTo>
                  <a:pt x="12398" y="2248"/>
                </a:lnTo>
                <a:lnTo>
                  <a:pt x="12406" y="2292"/>
                </a:lnTo>
                <a:lnTo>
                  <a:pt x="12408" y="2310"/>
                </a:lnTo>
                <a:lnTo>
                  <a:pt x="12412" y="2330"/>
                </a:lnTo>
                <a:lnTo>
                  <a:pt x="12414" y="2350"/>
                </a:lnTo>
                <a:lnTo>
                  <a:pt x="12418" y="2366"/>
                </a:lnTo>
                <a:lnTo>
                  <a:pt x="12422" y="2372"/>
                </a:lnTo>
                <a:lnTo>
                  <a:pt x="12426" y="2376"/>
                </a:lnTo>
                <a:lnTo>
                  <a:pt x="12430" y="2378"/>
                </a:lnTo>
                <a:lnTo>
                  <a:pt x="12436" y="2376"/>
                </a:lnTo>
                <a:lnTo>
                  <a:pt x="12444" y="2372"/>
                </a:lnTo>
                <a:lnTo>
                  <a:pt x="12452" y="2364"/>
                </a:lnTo>
                <a:lnTo>
                  <a:pt x="12464" y="2352"/>
                </a:lnTo>
                <a:lnTo>
                  <a:pt x="12476" y="2336"/>
                </a:lnTo>
                <a:lnTo>
                  <a:pt x="12484" y="2324"/>
                </a:lnTo>
                <a:lnTo>
                  <a:pt x="12490" y="2312"/>
                </a:lnTo>
                <a:lnTo>
                  <a:pt x="12496" y="2294"/>
                </a:lnTo>
                <a:lnTo>
                  <a:pt x="12498" y="2280"/>
                </a:lnTo>
                <a:lnTo>
                  <a:pt x="12500" y="2268"/>
                </a:lnTo>
                <a:lnTo>
                  <a:pt x="12502" y="2258"/>
                </a:lnTo>
                <a:lnTo>
                  <a:pt x="12502" y="2256"/>
                </a:lnTo>
                <a:lnTo>
                  <a:pt x="12506" y="2254"/>
                </a:lnTo>
                <a:lnTo>
                  <a:pt x="12516" y="2250"/>
                </a:lnTo>
                <a:lnTo>
                  <a:pt x="12532" y="2248"/>
                </a:lnTo>
                <a:lnTo>
                  <a:pt x="12542" y="2248"/>
                </a:lnTo>
                <a:lnTo>
                  <a:pt x="12548" y="2246"/>
                </a:lnTo>
                <a:lnTo>
                  <a:pt x="12552" y="2242"/>
                </a:lnTo>
                <a:lnTo>
                  <a:pt x="12556" y="2236"/>
                </a:lnTo>
                <a:lnTo>
                  <a:pt x="12558" y="2224"/>
                </a:lnTo>
                <a:lnTo>
                  <a:pt x="12558" y="2210"/>
                </a:lnTo>
                <a:lnTo>
                  <a:pt x="12560" y="2194"/>
                </a:lnTo>
                <a:lnTo>
                  <a:pt x="12560" y="2188"/>
                </a:lnTo>
                <a:lnTo>
                  <a:pt x="12564" y="2182"/>
                </a:lnTo>
                <a:lnTo>
                  <a:pt x="12568" y="2176"/>
                </a:lnTo>
                <a:lnTo>
                  <a:pt x="12574" y="2172"/>
                </a:lnTo>
                <a:lnTo>
                  <a:pt x="12582" y="2168"/>
                </a:lnTo>
                <a:lnTo>
                  <a:pt x="12594" y="2166"/>
                </a:lnTo>
                <a:lnTo>
                  <a:pt x="12620" y="2162"/>
                </a:lnTo>
                <a:lnTo>
                  <a:pt x="12628" y="2160"/>
                </a:lnTo>
                <a:lnTo>
                  <a:pt x="12634" y="2156"/>
                </a:lnTo>
                <a:lnTo>
                  <a:pt x="12636" y="2152"/>
                </a:lnTo>
                <a:lnTo>
                  <a:pt x="12638" y="2148"/>
                </a:lnTo>
                <a:lnTo>
                  <a:pt x="12638" y="2142"/>
                </a:lnTo>
                <a:lnTo>
                  <a:pt x="12636" y="2136"/>
                </a:lnTo>
                <a:lnTo>
                  <a:pt x="12632" y="2124"/>
                </a:lnTo>
                <a:lnTo>
                  <a:pt x="12628" y="2110"/>
                </a:lnTo>
                <a:lnTo>
                  <a:pt x="12628" y="2104"/>
                </a:lnTo>
                <a:lnTo>
                  <a:pt x="12628" y="2096"/>
                </a:lnTo>
                <a:lnTo>
                  <a:pt x="12628" y="2088"/>
                </a:lnTo>
                <a:lnTo>
                  <a:pt x="12632" y="2080"/>
                </a:lnTo>
                <a:lnTo>
                  <a:pt x="12636" y="2074"/>
                </a:lnTo>
                <a:lnTo>
                  <a:pt x="12640" y="2068"/>
                </a:lnTo>
                <a:lnTo>
                  <a:pt x="12644" y="2066"/>
                </a:lnTo>
                <a:lnTo>
                  <a:pt x="12650" y="2064"/>
                </a:lnTo>
                <a:lnTo>
                  <a:pt x="12658" y="2066"/>
                </a:lnTo>
                <a:lnTo>
                  <a:pt x="12666" y="2068"/>
                </a:lnTo>
                <a:lnTo>
                  <a:pt x="12674" y="2072"/>
                </a:lnTo>
                <a:lnTo>
                  <a:pt x="12680" y="2074"/>
                </a:lnTo>
                <a:lnTo>
                  <a:pt x="12682" y="2074"/>
                </a:lnTo>
                <a:lnTo>
                  <a:pt x="12684" y="2070"/>
                </a:lnTo>
                <a:lnTo>
                  <a:pt x="12688" y="2060"/>
                </a:lnTo>
                <a:lnTo>
                  <a:pt x="12690" y="2052"/>
                </a:lnTo>
                <a:lnTo>
                  <a:pt x="12688" y="2046"/>
                </a:lnTo>
                <a:lnTo>
                  <a:pt x="12686" y="2040"/>
                </a:lnTo>
                <a:lnTo>
                  <a:pt x="12684" y="2034"/>
                </a:lnTo>
                <a:lnTo>
                  <a:pt x="12678" y="2028"/>
                </a:lnTo>
                <a:lnTo>
                  <a:pt x="12670" y="2022"/>
                </a:lnTo>
                <a:lnTo>
                  <a:pt x="12664" y="2016"/>
                </a:lnTo>
                <a:lnTo>
                  <a:pt x="12662" y="2014"/>
                </a:lnTo>
                <a:lnTo>
                  <a:pt x="12660" y="2010"/>
                </a:lnTo>
                <a:lnTo>
                  <a:pt x="12660" y="2006"/>
                </a:lnTo>
                <a:lnTo>
                  <a:pt x="12662" y="2002"/>
                </a:lnTo>
                <a:lnTo>
                  <a:pt x="12672" y="1988"/>
                </a:lnTo>
                <a:lnTo>
                  <a:pt x="12678" y="1978"/>
                </a:lnTo>
                <a:lnTo>
                  <a:pt x="12682" y="1970"/>
                </a:lnTo>
                <a:lnTo>
                  <a:pt x="12684" y="1964"/>
                </a:lnTo>
                <a:lnTo>
                  <a:pt x="12682" y="1960"/>
                </a:lnTo>
                <a:lnTo>
                  <a:pt x="12676" y="1956"/>
                </a:lnTo>
                <a:lnTo>
                  <a:pt x="12672" y="1952"/>
                </a:lnTo>
                <a:lnTo>
                  <a:pt x="12658" y="1948"/>
                </a:lnTo>
                <a:lnTo>
                  <a:pt x="12644" y="1942"/>
                </a:lnTo>
                <a:lnTo>
                  <a:pt x="12638" y="1940"/>
                </a:lnTo>
                <a:lnTo>
                  <a:pt x="12634" y="1936"/>
                </a:lnTo>
                <a:lnTo>
                  <a:pt x="12634" y="1932"/>
                </a:lnTo>
                <a:lnTo>
                  <a:pt x="12636" y="1926"/>
                </a:lnTo>
                <a:lnTo>
                  <a:pt x="12642" y="1920"/>
                </a:lnTo>
                <a:lnTo>
                  <a:pt x="12650" y="1912"/>
                </a:lnTo>
                <a:lnTo>
                  <a:pt x="12670" y="1894"/>
                </a:lnTo>
                <a:lnTo>
                  <a:pt x="12682" y="1878"/>
                </a:lnTo>
                <a:lnTo>
                  <a:pt x="12690" y="1864"/>
                </a:lnTo>
                <a:lnTo>
                  <a:pt x="12692" y="1852"/>
                </a:lnTo>
                <a:lnTo>
                  <a:pt x="12694" y="1842"/>
                </a:lnTo>
                <a:lnTo>
                  <a:pt x="12698" y="1834"/>
                </a:lnTo>
                <a:lnTo>
                  <a:pt x="12704" y="1826"/>
                </a:lnTo>
                <a:lnTo>
                  <a:pt x="12716" y="1820"/>
                </a:lnTo>
                <a:lnTo>
                  <a:pt x="12728" y="1818"/>
                </a:lnTo>
                <a:lnTo>
                  <a:pt x="12736" y="1818"/>
                </a:lnTo>
                <a:lnTo>
                  <a:pt x="12740" y="1820"/>
                </a:lnTo>
                <a:lnTo>
                  <a:pt x="12742" y="1822"/>
                </a:lnTo>
                <a:lnTo>
                  <a:pt x="12744" y="1824"/>
                </a:lnTo>
                <a:lnTo>
                  <a:pt x="12750" y="1822"/>
                </a:lnTo>
                <a:lnTo>
                  <a:pt x="12760" y="1816"/>
                </a:lnTo>
                <a:lnTo>
                  <a:pt x="12776" y="1804"/>
                </a:lnTo>
                <a:lnTo>
                  <a:pt x="12788" y="1796"/>
                </a:lnTo>
                <a:lnTo>
                  <a:pt x="12796" y="1792"/>
                </a:lnTo>
                <a:lnTo>
                  <a:pt x="12802" y="1790"/>
                </a:lnTo>
                <a:lnTo>
                  <a:pt x="12804" y="1792"/>
                </a:lnTo>
                <a:lnTo>
                  <a:pt x="12806" y="1794"/>
                </a:lnTo>
                <a:lnTo>
                  <a:pt x="12806" y="1800"/>
                </a:lnTo>
                <a:lnTo>
                  <a:pt x="12802" y="1812"/>
                </a:lnTo>
                <a:lnTo>
                  <a:pt x="12798" y="1824"/>
                </a:lnTo>
                <a:lnTo>
                  <a:pt x="12798" y="1828"/>
                </a:lnTo>
                <a:lnTo>
                  <a:pt x="12798" y="1832"/>
                </a:lnTo>
                <a:lnTo>
                  <a:pt x="12800" y="1832"/>
                </a:lnTo>
                <a:lnTo>
                  <a:pt x="12806" y="1830"/>
                </a:lnTo>
                <a:lnTo>
                  <a:pt x="12824" y="1816"/>
                </a:lnTo>
                <a:lnTo>
                  <a:pt x="12846" y="1800"/>
                </a:lnTo>
                <a:lnTo>
                  <a:pt x="12868" y="1788"/>
                </a:lnTo>
                <a:lnTo>
                  <a:pt x="12878" y="1786"/>
                </a:lnTo>
                <a:lnTo>
                  <a:pt x="12888" y="1784"/>
                </a:lnTo>
                <a:lnTo>
                  <a:pt x="12906" y="1784"/>
                </a:lnTo>
                <a:lnTo>
                  <a:pt x="12922" y="1788"/>
                </a:lnTo>
                <a:lnTo>
                  <a:pt x="12936" y="1794"/>
                </a:lnTo>
                <a:lnTo>
                  <a:pt x="12948" y="1804"/>
                </a:lnTo>
                <a:lnTo>
                  <a:pt x="12960" y="1818"/>
                </a:lnTo>
                <a:lnTo>
                  <a:pt x="12968" y="1826"/>
                </a:lnTo>
                <a:lnTo>
                  <a:pt x="12972" y="1830"/>
                </a:lnTo>
                <a:lnTo>
                  <a:pt x="12972" y="1826"/>
                </a:lnTo>
                <a:lnTo>
                  <a:pt x="12976" y="1820"/>
                </a:lnTo>
                <a:lnTo>
                  <a:pt x="12982" y="1808"/>
                </a:lnTo>
                <a:lnTo>
                  <a:pt x="12996" y="1792"/>
                </a:lnTo>
                <a:lnTo>
                  <a:pt x="13006" y="1782"/>
                </a:lnTo>
                <a:lnTo>
                  <a:pt x="13020" y="1772"/>
                </a:lnTo>
                <a:lnTo>
                  <a:pt x="13036" y="1762"/>
                </a:lnTo>
                <a:lnTo>
                  <a:pt x="13056" y="1752"/>
                </a:lnTo>
                <a:lnTo>
                  <a:pt x="13074" y="1742"/>
                </a:lnTo>
                <a:lnTo>
                  <a:pt x="13090" y="1730"/>
                </a:lnTo>
                <a:lnTo>
                  <a:pt x="13124" y="1706"/>
                </a:lnTo>
                <a:lnTo>
                  <a:pt x="13142" y="1694"/>
                </a:lnTo>
                <a:lnTo>
                  <a:pt x="13160" y="1684"/>
                </a:lnTo>
                <a:lnTo>
                  <a:pt x="13178" y="1674"/>
                </a:lnTo>
                <a:lnTo>
                  <a:pt x="13200" y="1666"/>
                </a:lnTo>
                <a:lnTo>
                  <a:pt x="13218" y="1660"/>
                </a:lnTo>
                <a:lnTo>
                  <a:pt x="13236" y="1656"/>
                </a:lnTo>
                <a:lnTo>
                  <a:pt x="13250" y="1654"/>
                </a:lnTo>
                <a:lnTo>
                  <a:pt x="13264" y="1654"/>
                </a:lnTo>
                <a:lnTo>
                  <a:pt x="13284" y="1654"/>
                </a:lnTo>
                <a:lnTo>
                  <a:pt x="13298" y="1658"/>
                </a:lnTo>
                <a:lnTo>
                  <a:pt x="13310" y="1662"/>
                </a:lnTo>
                <a:lnTo>
                  <a:pt x="13318" y="1666"/>
                </a:lnTo>
                <a:lnTo>
                  <a:pt x="13322" y="1666"/>
                </a:lnTo>
                <a:lnTo>
                  <a:pt x="13326" y="1664"/>
                </a:lnTo>
                <a:lnTo>
                  <a:pt x="13336" y="1658"/>
                </a:lnTo>
                <a:lnTo>
                  <a:pt x="13344" y="1648"/>
                </a:lnTo>
                <a:lnTo>
                  <a:pt x="13346" y="1640"/>
                </a:lnTo>
                <a:lnTo>
                  <a:pt x="13344" y="1630"/>
                </a:lnTo>
                <a:lnTo>
                  <a:pt x="13340" y="1622"/>
                </a:lnTo>
                <a:lnTo>
                  <a:pt x="13324" y="1600"/>
                </a:lnTo>
                <a:lnTo>
                  <a:pt x="13316" y="1586"/>
                </a:lnTo>
                <a:lnTo>
                  <a:pt x="13308" y="1568"/>
                </a:lnTo>
                <a:lnTo>
                  <a:pt x="13300" y="1548"/>
                </a:lnTo>
                <a:lnTo>
                  <a:pt x="13292" y="1538"/>
                </a:lnTo>
                <a:lnTo>
                  <a:pt x="13288" y="1536"/>
                </a:lnTo>
                <a:lnTo>
                  <a:pt x="13286" y="1536"/>
                </a:lnTo>
                <a:lnTo>
                  <a:pt x="13278" y="1536"/>
                </a:lnTo>
                <a:lnTo>
                  <a:pt x="13272" y="1538"/>
                </a:lnTo>
                <a:lnTo>
                  <a:pt x="13268" y="1538"/>
                </a:lnTo>
                <a:lnTo>
                  <a:pt x="13264" y="1536"/>
                </a:lnTo>
                <a:lnTo>
                  <a:pt x="13262" y="1532"/>
                </a:lnTo>
                <a:lnTo>
                  <a:pt x="13258" y="1520"/>
                </a:lnTo>
                <a:lnTo>
                  <a:pt x="13256" y="1516"/>
                </a:lnTo>
                <a:lnTo>
                  <a:pt x="13258" y="1512"/>
                </a:lnTo>
                <a:lnTo>
                  <a:pt x="13260" y="1510"/>
                </a:lnTo>
                <a:lnTo>
                  <a:pt x="13264" y="1508"/>
                </a:lnTo>
                <a:lnTo>
                  <a:pt x="13274" y="1508"/>
                </a:lnTo>
                <a:lnTo>
                  <a:pt x="13288" y="1510"/>
                </a:lnTo>
                <a:lnTo>
                  <a:pt x="13302" y="1510"/>
                </a:lnTo>
                <a:lnTo>
                  <a:pt x="13320" y="1510"/>
                </a:lnTo>
                <a:lnTo>
                  <a:pt x="13328" y="1508"/>
                </a:lnTo>
                <a:lnTo>
                  <a:pt x="13336" y="1504"/>
                </a:lnTo>
                <a:lnTo>
                  <a:pt x="13344" y="1498"/>
                </a:lnTo>
                <a:lnTo>
                  <a:pt x="13350" y="1490"/>
                </a:lnTo>
                <a:lnTo>
                  <a:pt x="13366" y="1472"/>
                </a:lnTo>
                <a:lnTo>
                  <a:pt x="13366" y="1458"/>
                </a:lnTo>
                <a:lnTo>
                  <a:pt x="13376" y="1446"/>
                </a:lnTo>
                <a:lnTo>
                  <a:pt x="13378" y="1442"/>
                </a:lnTo>
                <a:lnTo>
                  <a:pt x="13378" y="1438"/>
                </a:lnTo>
                <a:lnTo>
                  <a:pt x="13378" y="1436"/>
                </a:lnTo>
                <a:lnTo>
                  <a:pt x="13376" y="1432"/>
                </a:lnTo>
                <a:lnTo>
                  <a:pt x="13368" y="1420"/>
                </a:lnTo>
                <a:lnTo>
                  <a:pt x="13366" y="1414"/>
                </a:lnTo>
                <a:lnTo>
                  <a:pt x="13366" y="1402"/>
                </a:lnTo>
                <a:lnTo>
                  <a:pt x="13370" y="1400"/>
                </a:lnTo>
                <a:lnTo>
                  <a:pt x="13374" y="1398"/>
                </a:lnTo>
                <a:lnTo>
                  <a:pt x="13378" y="1398"/>
                </a:lnTo>
                <a:lnTo>
                  <a:pt x="13384" y="1400"/>
                </a:lnTo>
                <a:lnTo>
                  <a:pt x="13392" y="1404"/>
                </a:lnTo>
                <a:lnTo>
                  <a:pt x="13398" y="1410"/>
                </a:lnTo>
                <a:lnTo>
                  <a:pt x="13404" y="1418"/>
                </a:lnTo>
                <a:lnTo>
                  <a:pt x="13410" y="1430"/>
                </a:lnTo>
                <a:lnTo>
                  <a:pt x="13414" y="1436"/>
                </a:lnTo>
                <a:lnTo>
                  <a:pt x="13418" y="1442"/>
                </a:lnTo>
                <a:lnTo>
                  <a:pt x="13424" y="1444"/>
                </a:lnTo>
                <a:lnTo>
                  <a:pt x="13430" y="1446"/>
                </a:lnTo>
                <a:lnTo>
                  <a:pt x="13446" y="1444"/>
                </a:lnTo>
                <a:lnTo>
                  <a:pt x="13460" y="1440"/>
                </a:lnTo>
                <a:lnTo>
                  <a:pt x="13476" y="1438"/>
                </a:lnTo>
                <a:lnTo>
                  <a:pt x="13484" y="1438"/>
                </a:lnTo>
                <a:lnTo>
                  <a:pt x="13492" y="1438"/>
                </a:lnTo>
                <a:lnTo>
                  <a:pt x="13500" y="1440"/>
                </a:lnTo>
                <a:lnTo>
                  <a:pt x="13506" y="1444"/>
                </a:lnTo>
                <a:lnTo>
                  <a:pt x="13512" y="1452"/>
                </a:lnTo>
                <a:lnTo>
                  <a:pt x="13516" y="1460"/>
                </a:lnTo>
                <a:lnTo>
                  <a:pt x="13526" y="1478"/>
                </a:lnTo>
                <a:lnTo>
                  <a:pt x="13536" y="1488"/>
                </a:lnTo>
                <a:lnTo>
                  <a:pt x="13544" y="1494"/>
                </a:lnTo>
                <a:lnTo>
                  <a:pt x="13554" y="1496"/>
                </a:lnTo>
                <a:lnTo>
                  <a:pt x="13562" y="1496"/>
                </a:lnTo>
                <a:lnTo>
                  <a:pt x="13570" y="1498"/>
                </a:lnTo>
                <a:lnTo>
                  <a:pt x="13578" y="1502"/>
                </a:lnTo>
                <a:lnTo>
                  <a:pt x="13586" y="1510"/>
                </a:lnTo>
                <a:lnTo>
                  <a:pt x="13590" y="1514"/>
                </a:lnTo>
                <a:lnTo>
                  <a:pt x="13594" y="1518"/>
                </a:lnTo>
                <a:lnTo>
                  <a:pt x="13598" y="1520"/>
                </a:lnTo>
                <a:lnTo>
                  <a:pt x="13604" y="1522"/>
                </a:lnTo>
                <a:lnTo>
                  <a:pt x="13614" y="1522"/>
                </a:lnTo>
                <a:lnTo>
                  <a:pt x="13626" y="1516"/>
                </a:lnTo>
                <a:lnTo>
                  <a:pt x="13636" y="1508"/>
                </a:lnTo>
                <a:lnTo>
                  <a:pt x="13646" y="1498"/>
                </a:lnTo>
                <a:lnTo>
                  <a:pt x="13652" y="1482"/>
                </a:lnTo>
                <a:lnTo>
                  <a:pt x="13654" y="1466"/>
                </a:lnTo>
                <a:lnTo>
                  <a:pt x="13656" y="1452"/>
                </a:lnTo>
                <a:lnTo>
                  <a:pt x="13660" y="1448"/>
                </a:lnTo>
                <a:lnTo>
                  <a:pt x="13662" y="1444"/>
                </a:lnTo>
                <a:lnTo>
                  <a:pt x="13670" y="1440"/>
                </a:lnTo>
                <a:lnTo>
                  <a:pt x="13680" y="1438"/>
                </a:lnTo>
                <a:lnTo>
                  <a:pt x="13690" y="1436"/>
                </a:lnTo>
                <a:lnTo>
                  <a:pt x="13704" y="1434"/>
                </a:lnTo>
                <a:lnTo>
                  <a:pt x="13718" y="1426"/>
                </a:lnTo>
                <a:lnTo>
                  <a:pt x="13724" y="1422"/>
                </a:lnTo>
                <a:lnTo>
                  <a:pt x="13732" y="1414"/>
                </a:lnTo>
                <a:lnTo>
                  <a:pt x="13742" y="1402"/>
                </a:lnTo>
                <a:lnTo>
                  <a:pt x="13744" y="1396"/>
                </a:lnTo>
                <a:lnTo>
                  <a:pt x="13744" y="1394"/>
                </a:lnTo>
                <a:lnTo>
                  <a:pt x="13742" y="1394"/>
                </a:lnTo>
                <a:lnTo>
                  <a:pt x="13734" y="1392"/>
                </a:lnTo>
                <a:lnTo>
                  <a:pt x="13724" y="1392"/>
                </a:lnTo>
                <a:lnTo>
                  <a:pt x="13712" y="1388"/>
                </a:lnTo>
                <a:lnTo>
                  <a:pt x="13706" y="1384"/>
                </a:lnTo>
                <a:lnTo>
                  <a:pt x="13698" y="1380"/>
                </a:lnTo>
                <a:lnTo>
                  <a:pt x="13692" y="1374"/>
                </a:lnTo>
                <a:lnTo>
                  <a:pt x="13688" y="1366"/>
                </a:lnTo>
                <a:close/>
                <a:moveTo>
                  <a:pt x="6176" y="2870"/>
                </a:moveTo>
                <a:lnTo>
                  <a:pt x="6176" y="2870"/>
                </a:lnTo>
                <a:lnTo>
                  <a:pt x="6174" y="2872"/>
                </a:lnTo>
                <a:lnTo>
                  <a:pt x="6170" y="2870"/>
                </a:lnTo>
                <a:lnTo>
                  <a:pt x="6168" y="2868"/>
                </a:lnTo>
                <a:lnTo>
                  <a:pt x="6166" y="2864"/>
                </a:lnTo>
                <a:lnTo>
                  <a:pt x="6170" y="2862"/>
                </a:lnTo>
                <a:lnTo>
                  <a:pt x="6174" y="2864"/>
                </a:lnTo>
                <a:lnTo>
                  <a:pt x="6176" y="2866"/>
                </a:lnTo>
                <a:lnTo>
                  <a:pt x="6176" y="2870"/>
                </a:lnTo>
                <a:close/>
                <a:moveTo>
                  <a:pt x="7520" y="3416"/>
                </a:moveTo>
                <a:lnTo>
                  <a:pt x="7520" y="3416"/>
                </a:lnTo>
                <a:lnTo>
                  <a:pt x="7524" y="3412"/>
                </a:lnTo>
                <a:lnTo>
                  <a:pt x="7526" y="3412"/>
                </a:lnTo>
                <a:lnTo>
                  <a:pt x="7524" y="3412"/>
                </a:lnTo>
                <a:lnTo>
                  <a:pt x="7520" y="3416"/>
                </a:lnTo>
                <a:close/>
                <a:moveTo>
                  <a:pt x="7540" y="3418"/>
                </a:moveTo>
                <a:lnTo>
                  <a:pt x="7540" y="3418"/>
                </a:lnTo>
                <a:lnTo>
                  <a:pt x="7540" y="3406"/>
                </a:lnTo>
                <a:lnTo>
                  <a:pt x="7542" y="3402"/>
                </a:lnTo>
                <a:lnTo>
                  <a:pt x="7544" y="3400"/>
                </a:lnTo>
                <a:lnTo>
                  <a:pt x="7542" y="3402"/>
                </a:lnTo>
                <a:lnTo>
                  <a:pt x="7540" y="3406"/>
                </a:lnTo>
                <a:lnTo>
                  <a:pt x="7540" y="3418"/>
                </a:lnTo>
                <a:close/>
                <a:moveTo>
                  <a:pt x="8152" y="3716"/>
                </a:moveTo>
                <a:lnTo>
                  <a:pt x="8152" y="3716"/>
                </a:lnTo>
                <a:lnTo>
                  <a:pt x="8154" y="3718"/>
                </a:lnTo>
                <a:lnTo>
                  <a:pt x="8152" y="3718"/>
                </a:lnTo>
                <a:lnTo>
                  <a:pt x="8152" y="3716"/>
                </a:lnTo>
                <a:close/>
                <a:moveTo>
                  <a:pt x="8302" y="2962"/>
                </a:moveTo>
                <a:lnTo>
                  <a:pt x="8302" y="2962"/>
                </a:lnTo>
                <a:lnTo>
                  <a:pt x="8300" y="2960"/>
                </a:lnTo>
                <a:lnTo>
                  <a:pt x="8296" y="2960"/>
                </a:lnTo>
                <a:lnTo>
                  <a:pt x="8296" y="2962"/>
                </a:lnTo>
                <a:lnTo>
                  <a:pt x="8298" y="2968"/>
                </a:lnTo>
                <a:lnTo>
                  <a:pt x="8296" y="2968"/>
                </a:lnTo>
                <a:lnTo>
                  <a:pt x="8294" y="2970"/>
                </a:lnTo>
                <a:lnTo>
                  <a:pt x="8284" y="2974"/>
                </a:lnTo>
                <a:lnTo>
                  <a:pt x="8280" y="2974"/>
                </a:lnTo>
                <a:lnTo>
                  <a:pt x="8274" y="2974"/>
                </a:lnTo>
                <a:lnTo>
                  <a:pt x="8272" y="2970"/>
                </a:lnTo>
                <a:lnTo>
                  <a:pt x="8270" y="2966"/>
                </a:lnTo>
                <a:lnTo>
                  <a:pt x="8268" y="2960"/>
                </a:lnTo>
                <a:lnTo>
                  <a:pt x="8266" y="2962"/>
                </a:lnTo>
                <a:lnTo>
                  <a:pt x="8264" y="2966"/>
                </a:lnTo>
                <a:lnTo>
                  <a:pt x="8262" y="2966"/>
                </a:lnTo>
                <a:lnTo>
                  <a:pt x="8260" y="2966"/>
                </a:lnTo>
                <a:lnTo>
                  <a:pt x="8256" y="2964"/>
                </a:lnTo>
                <a:lnTo>
                  <a:pt x="8254" y="2966"/>
                </a:lnTo>
                <a:lnTo>
                  <a:pt x="8250" y="2966"/>
                </a:lnTo>
                <a:lnTo>
                  <a:pt x="8248" y="2964"/>
                </a:lnTo>
                <a:lnTo>
                  <a:pt x="8246" y="2958"/>
                </a:lnTo>
                <a:lnTo>
                  <a:pt x="8242" y="2954"/>
                </a:lnTo>
                <a:lnTo>
                  <a:pt x="8240" y="2952"/>
                </a:lnTo>
                <a:lnTo>
                  <a:pt x="8238" y="2958"/>
                </a:lnTo>
                <a:lnTo>
                  <a:pt x="8238" y="2970"/>
                </a:lnTo>
                <a:lnTo>
                  <a:pt x="8234" y="2980"/>
                </a:lnTo>
                <a:lnTo>
                  <a:pt x="8232" y="2990"/>
                </a:lnTo>
                <a:lnTo>
                  <a:pt x="8230" y="2998"/>
                </a:lnTo>
                <a:lnTo>
                  <a:pt x="8232" y="3006"/>
                </a:lnTo>
                <a:lnTo>
                  <a:pt x="8236" y="3014"/>
                </a:lnTo>
                <a:lnTo>
                  <a:pt x="8242" y="3022"/>
                </a:lnTo>
                <a:lnTo>
                  <a:pt x="8244" y="3022"/>
                </a:lnTo>
                <a:lnTo>
                  <a:pt x="8246" y="3020"/>
                </a:lnTo>
                <a:lnTo>
                  <a:pt x="8244" y="3016"/>
                </a:lnTo>
                <a:lnTo>
                  <a:pt x="8244" y="3012"/>
                </a:lnTo>
                <a:lnTo>
                  <a:pt x="8248" y="3012"/>
                </a:lnTo>
                <a:lnTo>
                  <a:pt x="8254" y="3012"/>
                </a:lnTo>
                <a:lnTo>
                  <a:pt x="8260" y="3010"/>
                </a:lnTo>
                <a:lnTo>
                  <a:pt x="8264" y="3010"/>
                </a:lnTo>
                <a:lnTo>
                  <a:pt x="8262" y="3016"/>
                </a:lnTo>
                <a:lnTo>
                  <a:pt x="8260" y="3022"/>
                </a:lnTo>
                <a:lnTo>
                  <a:pt x="8260" y="3026"/>
                </a:lnTo>
                <a:lnTo>
                  <a:pt x="8262" y="3028"/>
                </a:lnTo>
                <a:lnTo>
                  <a:pt x="8264" y="3028"/>
                </a:lnTo>
                <a:lnTo>
                  <a:pt x="8268" y="3030"/>
                </a:lnTo>
                <a:lnTo>
                  <a:pt x="8270" y="3034"/>
                </a:lnTo>
                <a:lnTo>
                  <a:pt x="8268" y="3036"/>
                </a:lnTo>
                <a:lnTo>
                  <a:pt x="8262" y="3038"/>
                </a:lnTo>
                <a:lnTo>
                  <a:pt x="8256" y="3036"/>
                </a:lnTo>
                <a:lnTo>
                  <a:pt x="8254" y="3034"/>
                </a:lnTo>
                <a:lnTo>
                  <a:pt x="8256" y="3030"/>
                </a:lnTo>
                <a:lnTo>
                  <a:pt x="8254" y="3028"/>
                </a:lnTo>
                <a:lnTo>
                  <a:pt x="8252" y="3030"/>
                </a:lnTo>
                <a:lnTo>
                  <a:pt x="8250" y="3032"/>
                </a:lnTo>
                <a:lnTo>
                  <a:pt x="8248" y="3042"/>
                </a:lnTo>
                <a:lnTo>
                  <a:pt x="8248" y="3050"/>
                </a:lnTo>
                <a:lnTo>
                  <a:pt x="8248" y="3054"/>
                </a:lnTo>
                <a:lnTo>
                  <a:pt x="8250" y="3054"/>
                </a:lnTo>
                <a:lnTo>
                  <a:pt x="8252" y="3054"/>
                </a:lnTo>
                <a:lnTo>
                  <a:pt x="8252" y="3050"/>
                </a:lnTo>
                <a:lnTo>
                  <a:pt x="8252" y="3046"/>
                </a:lnTo>
                <a:lnTo>
                  <a:pt x="8258" y="3046"/>
                </a:lnTo>
                <a:lnTo>
                  <a:pt x="8262" y="3048"/>
                </a:lnTo>
                <a:lnTo>
                  <a:pt x="8266" y="3050"/>
                </a:lnTo>
                <a:lnTo>
                  <a:pt x="8270" y="3058"/>
                </a:lnTo>
                <a:lnTo>
                  <a:pt x="8274" y="3064"/>
                </a:lnTo>
                <a:lnTo>
                  <a:pt x="8280" y="3066"/>
                </a:lnTo>
                <a:lnTo>
                  <a:pt x="8282" y="3070"/>
                </a:lnTo>
                <a:lnTo>
                  <a:pt x="8282" y="3072"/>
                </a:lnTo>
                <a:lnTo>
                  <a:pt x="8282" y="3076"/>
                </a:lnTo>
                <a:lnTo>
                  <a:pt x="8278" y="3084"/>
                </a:lnTo>
                <a:lnTo>
                  <a:pt x="8276" y="3100"/>
                </a:lnTo>
                <a:lnTo>
                  <a:pt x="8276" y="3120"/>
                </a:lnTo>
                <a:lnTo>
                  <a:pt x="8280" y="3152"/>
                </a:lnTo>
                <a:lnTo>
                  <a:pt x="8280" y="3154"/>
                </a:lnTo>
                <a:lnTo>
                  <a:pt x="8286" y="3174"/>
                </a:lnTo>
                <a:lnTo>
                  <a:pt x="8286" y="3180"/>
                </a:lnTo>
                <a:lnTo>
                  <a:pt x="8286" y="3182"/>
                </a:lnTo>
                <a:lnTo>
                  <a:pt x="8284" y="3184"/>
                </a:lnTo>
                <a:lnTo>
                  <a:pt x="8280" y="3186"/>
                </a:lnTo>
                <a:lnTo>
                  <a:pt x="8270" y="3184"/>
                </a:lnTo>
                <a:lnTo>
                  <a:pt x="8272" y="3182"/>
                </a:lnTo>
                <a:lnTo>
                  <a:pt x="8276" y="3180"/>
                </a:lnTo>
                <a:lnTo>
                  <a:pt x="8278" y="3178"/>
                </a:lnTo>
                <a:lnTo>
                  <a:pt x="8266" y="3180"/>
                </a:lnTo>
                <a:lnTo>
                  <a:pt x="8244" y="3184"/>
                </a:lnTo>
                <a:lnTo>
                  <a:pt x="8206" y="3196"/>
                </a:lnTo>
                <a:lnTo>
                  <a:pt x="8200" y="3196"/>
                </a:lnTo>
                <a:lnTo>
                  <a:pt x="8192" y="3196"/>
                </a:lnTo>
                <a:lnTo>
                  <a:pt x="8180" y="3192"/>
                </a:lnTo>
                <a:lnTo>
                  <a:pt x="8170" y="3188"/>
                </a:lnTo>
                <a:lnTo>
                  <a:pt x="8158" y="3184"/>
                </a:lnTo>
                <a:lnTo>
                  <a:pt x="8148" y="3176"/>
                </a:lnTo>
                <a:lnTo>
                  <a:pt x="8138" y="3168"/>
                </a:lnTo>
                <a:lnTo>
                  <a:pt x="8132" y="3158"/>
                </a:lnTo>
                <a:lnTo>
                  <a:pt x="8130" y="3154"/>
                </a:lnTo>
                <a:lnTo>
                  <a:pt x="8126" y="3150"/>
                </a:lnTo>
                <a:lnTo>
                  <a:pt x="8120" y="3148"/>
                </a:lnTo>
                <a:lnTo>
                  <a:pt x="8102" y="3146"/>
                </a:lnTo>
                <a:lnTo>
                  <a:pt x="8092" y="3144"/>
                </a:lnTo>
                <a:lnTo>
                  <a:pt x="8088" y="3140"/>
                </a:lnTo>
                <a:lnTo>
                  <a:pt x="8084" y="3136"/>
                </a:lnTo>
                <a:lnTo>
                  <a:pt x="8082" y="3130"/>
                </a:lnTo>
                <a:lnTo>
                  <a:pt x="8080" y="3120"/>
                </a:lnTo>
                <a:lnTo>
                  <a:pt x="8076" y="3096"/>
                </a:lnTo>
                <a:lnTo>
                  <a:pt x="8070" y="3098"/>
                </a:lnTo>
                <a:lnTo>
                  <a:pt x="8066" y="3098"/>
                </a:lnTo>
                <a:lnTo>
                  <a:pt x="8064" y="3096"/>
                </a:lnTo>
                <a:lnTo>
                  <a:pt x="8064" y="3094"/>
                </a:lnTo>
                <a:lnTo>
                  <a:pt x="8062" y="3088"/>
                </a:lnTo>
                <a:lnTo>
                  <a:pt x="8062" y="3086"/>
                </a:lnTo>
                <a:lnTo>
                  <a:pt x="8058" y="3084"/>
                </a:lnTo>
                <a:lnTo>
                  <a:pt x="8062" y="3086"/>
                </a:lnTo>
                <a:lnTo>
                  <a:pt x="8062" y="3088"/>
                </a:lnTo>
                <a:lnTo>
                  <a:pt x="8064" y="3092"/>
                </a:lnTo>
                <a:lnTo>
                  <a:pt x="8064" y="3096"/>
                </a:lnTo>
                <a:lnTo>
                  <a:pt x="8066" y="3096"/>
                </a:lnTo>
                <a:lnTo>
                  <a:pt x="8070" y="3096"/>
                </a:lnTo>
                <a:lnTo>
                  <a:pt x="8076" y="3096"/>
                </a:lnTo>
                <a:lnTo>
                  <a:pt x="8076" y="3082"/>
                </a:lnTo>
                <a:lnTo>
                  <a:pt x="8078" y="3062"/>
                </a:lnTo>
                <a:lnTo>
                  <a:pt x="8082" y="3052"/>
                </a:lnTo>
                <a:lnTo>
                  <a:pt x="8082" y="3054"/>
                </a:lnTo>
                <a:lnTo>
                  <a:pt x="8084" y="3056"/>
                </a:lnTo>
                <a:lnTo>
                  <a:pt x="8086" y="3064"/>
                </a:lnTo>
                <a:lnTo>
                  <a:pt x="8086" y="3066"/>
                </a:lnTo>
                <a:lnTo>
                  <a:pt x="8088" y="3066"/>
                </a:lnTo>
                <a:lnTo>
                  <a:pt x="8090" y="3062"/>
                </a:lnTo>
                <a:lnTo>
                  <a:pt x="8092" y="3058"/>
                </a:lnTo>
                <a:lnTo>
                  <a:pt x="8092" y="3054"/>
                </a:lnTo>
                <a:lnTo>
                  <a:pt x="8094" y="3048"/>
                </a:lnTo>
                <a:lnTo>
                  <a:pt x="8096" y="3046"/>
                </a:lnTo>
                <a:lnTo>
                  <a:pt x="8096" y="3044"/>
                </a:lnTo>
                <a:lnTo>
                  <a:pt x="8094" y="3040"/>
                </a:lnTo>
                <a:lnTo>
                  <a:pt x="8092" y="3036"/>
                </a:lnTo>
                <a:lnTo>
                  <a:pt x="8094" y="3034"/>
                </a:lnTo>
                <a:lnTo>
                  <a:pt x="8096" y="3030"/>
                </a:lnTo>
                <a:lnTo>
                  <a:pt x="8098" y="3026"/>
                </a:lnTo>
                <a:lnTo>
                  <a:pt x="8100" y="3020"/>
                </a:lnTo>
                <a:lnTo>
                  <a:pt x="8100" y="3010"/>
                </a:lnTo>
                <a:lnTo>
                  <a:pt x="8102" y="3006"/>
                </a:lnTo>
                <a:lnTo>
                  <a:pt x="8104" y="3000"/>
                </a:lnTo>
                <a:lnTo>
                  <a:pt x="8106" y="2996"/>
                </a:lnTo>
                <a:lnTo>
                  <a:pt x="8114" y="2992"/>
                </a:lnTo>
                <a:lnTo>
                  <a:pt x="8122" y="2990"/>
                </a:lnTo>
                <a:lnTo>
                  <a:pt x="8128" y="2990"/>
                </a:lnTo>
                <a:lnTo>
                  <a:pt x="8132" y="2992"/>
                </a:lnTo>
                <a:lnTo>
                  <a:pt x="8134" y="2994"/>
                </a:lnTo>
                <a:lnTo>
                  <a:pt x="8138" y="2996"/>
                </a:lnTo>
                <a:lnTo>
                  <a:pt x="8138" y="2990"/>
                </a:lnTo>
                <a:lnTo>
                  <a:pt x="8134" y="2984"/>
                </a:lnTo>
                <a:lnTo>
                  <a:pt x="8130" y="2982"/>
                </a:lnTo>
                <a:lnTo>
                  <a:pt x="8118" y="2980"/>
                </a:lnTo>
                <a:lnTo>
                  <a:pt x="8108" y="2978"/>
                </a:lnTo>
                <a:lnTo>
                  <a:pt x="8104" y="2976"/>
                </a:lnTo>
                <a:lnTo>
                  <a:pt x="8104" y="2970"/>
                </a:lnTo>
                <a:lnTo>
                  <a:pt x="8104" y="2968"/>
                </a:lnTo>
                <a:lnTo>
                  <a:pt x="8102" y="2964"/>
                </a:lnTo>
                <a:lnTo>
                  <a:pt x="8098" y="2958"/>
                </a:lnTo>
                <a:lnTo>
                  <a:pt x="8094" y="2954"/>
                </a:lnTo>
                <a:lnTo>
                  <a:pt x="8090" y="2948"/>
                </a:lnTo>
                <a:lnTo>
                  <a:pt x="8088" y="2940"/>
                </a:lnTo>
                <a:lnTo>
                  <a:pt x="8082" y="2928"/>
                </a:lnTo>
                <a:lnTo>
                  <a:pt x="8072" y="2916"/>
                </a:lnTo>
                <a:lnTo>
                  <a:pt x="8066" y="2908"/>
                </a:lnTo>
                <a:lnTo>
                  <a:pt x="8056" y="2892"/>
                </a:lnTo>
                <a:lnTo>
                  <a:pt x="8046" y="2882"/>
                </a:lnTo>
                <a:lnTo>
                  <a:pt x="8032" y="2864"/>
                </a:lnTo>
                <a:lnTo>
                  <a:pt x="8028" y="2856"/>
                </a:lnTo>
                <a:lnTo>
                  <a:pt x="8024" y="2846"/>
                </a:lnTo>
                <a:lnTo>
                  <a:pt x="8024" y="2832"/>
                </a:lnTo>
                <a:lnTo>
                  <a:pt x="8026" y="2816"/>
                </a:lnTo>
                <a:lnTo>
                  <a:pt x="8028" y="2794"/>
                </a:lnTo>
                <a:lnTo>
                  <a:pt x="8028" y="2792"/>
                </a:lnTo>
                <a:lnTo>
                  <a:pt x="8026" y="2794"/>
                </a:lnTo>
                <a:lnTo>
                  <a:pt x="8024" y="2798"/>
                </a:lnTo>
                <a:lnTo>
                  <a:pt x="8020" y="2800"/>
                </a:lnTo>
                <a:lnTo>
                  <a:pt x="8018" y="2798"/>
                </a:lnTo>
                <a:lnTo>
                  <a:pt x="8016" y="2790"/>
                </a:lnTo>
                <a:lnTo>
                  <a:pt x="8014" y="2778"/>
                </a:lnTo>
                <a:lnTo>
                  <a:pt x="8008" y="2772"/>
                </a:lnTo>
                <a:lnTo>
                  <a:pt x="8002" y="2766"/>
                </a:lnTo>
                <a:lnTo>
                  <a:pt x="7996" y="2762"/>
                </a:lnTo>
                <a:lnTo>
                  <a:pt x="7990" y="2760"/>
                </a:lnTo>
                <a:lnTo>
                  <a:pt x="7986" y="2756"/>
                </a:lnTo>
                <a:lnTo>
                  <a:pt x="7988" y="2754"/>
                </a:lnTo>
                <a:lnTo>
                  <a:pt x="7992" y="2748"/>
                </a:lnTo>
                <a:lnTo>
                  <a:pt x="7998" y="2742"/>
                </a:lnTo>
                <a:lnTo>
                  <a:pt x="8004" y="2736"/>
                </a:lnTo>
                <a:lnTo>
                  <a:pt x="8014" y="2722"/>
                </a:lnTo>
                <a:lnTo>
                  <a:pt x="8024" y="2706"/>
                </a:lnTo>
                <a:lnTo>
                  <a:pt x="8038" y="2690"/>
                </a:lnTo>
                <a:lnTo>
                  <a:pt x="8048" y="2684"/>
                </a:lnTo>
                <a:lnTo>
                  <a:pt x="8054" y="2680"/>
                </a:lnTo>
                <a:lnTo>
                  <a:pt x="8060" y="2678"/>
                </a:lnTo>
                <a:lnTo>
                  <a:pt x="8064" y="2680"/>
                </a:lnTo>
                <a:lnTo>
                  <a:pt x="8070" y="2680"/>
                </a:lnTo>
                <a:lnTo>
                  <a:pt x="8070" y="2678"/>
                </a:lnTo>
                <a:lnTo>
                  <a:pt x="8070" y="2676"/>
                </a:lnTo>
                <a:lnTo>
                  <a:pt x="8070" y="2668"/>
                </a:lnTo>
                <a:lnTo>
                  <a:pt x="8072" y="2664"/>
                </a:lnTo>
                <a:lnTo>
                  <a:pt x="8076" y="2658"/>
                </a:lnTo>
                <a:lnTo>
                  <a:pt x="8080" y="2648"/>
                </a:lnTo>
                <a:lnTo>
                  <a:pt x="8076" y="2658"/>
                </a:lnTo>
                <a:lnTo>
                  <a:pt x="8072" y="2664"/>
                </a:lnTo>
                <a:lnTo>
                  <a:pt x="8070" y="2668"/>
                </a:lnTo>
                <a:lnTo>
                  <a:pt x="8070" y="2676"/>
                </a:lnTo>
                <a:lnTo>
                  <a:pt x="8070" y="2672"/>
                </a:lnTo>
                <a:lnTo>
                  <a:pt x="8072" y="2668"/>
                </a:lnTo>
                <a:lnTo>
                  <a:pt x="8076" y="2666"/>
                </a:lnTo>
                <a:lnTo>
                  <a:pt x="8084" y="2662"/>
                </a:lnTo>
                <a:lnTo>
                  <a:pt x="8086" y="2658"/>
                </a:lnTo>
                <a:lnTo>
                  <a:pt x="8088" y="2652"/>
                </a:lnTo>
                <a:lnTo>
                  <a:pt x="8092" y="2646"/>
                </a:lnTo>
                <a:lnTo>
                  <a:pt x="8096" y="2644"/>
                </a:lnTo>
                <a:lnTo>
                  <a:pt x="8104" y="2642"/>
                </a:lnTo>
                <a:lnTo>
                  <a:pt x="8114" y="2642"/>
                </a:lnTo>
                <a:lnTo>
                  <a:pt x="8122" y="2638"/>
                </a:lnTo>
                <a:lnTo>
                  <a:pt x="8130" y="2632"/>
                </a:lnTo>
                <a:lnTo>
                  <a:pt x="8146" y="2618"/>
                </a:lnTo>
                <a:lnTo>
                  <a:pt x="8154" y="2614"/>
                </a:lnTo>
                <a:lnTo>
                  <a:pt x="8160" y="2612"/>
                </a:lnTo>
                <a:lnTo>
                  <a:pt x="8168" y="2610"/>
                </a:lnTo>
                <a:lnTo>
                  <a:pt x="8176" y="2610"/>
                </a:lnTo>
                <a:lnTo>
                  <a:pt x="8182" y="2612"/>
                </a:lnTo>
                <a:lnTo>
                  <a:pt x="8190" y="2616"/>
                </a:lnTo>
                <a:lnTo>
                  <a:pt x="8208" y="2626"/>
                </a:lnTo>
                <a:lnTo>
                  <a:pt x="8212" y="2626"/>
                </a:lnTo>
                <a:lnTo>
                  <a:pt x="8218" y="2620"/>
                </a:lnTo>
                <a:lnTo>
                  <a:pt x="8220" y="2616"/>
                </a:lnTo>
                <a:lnTo>
                  <a:pt x="8224" y="2616"/>
                </a:lnTo>
                <a:lnTo>
                  <a:pt x="8234" y="2616"/>
                </a:lnTo>
                <a:lnTo>
                  <a:pt x="8242" y="2620"/>
                </a:lnTo>
                <a:lnTo>
                  <a:pt x="8246" y="2628"/>
                </a:lnTo>
                <a:lnTo>
                  <a:pt x="8248" y="2634"/>
                </a:lnTo>
                <a:lnTo>
                  <a:pt x="8246" y="2638"/>
                </a:lnTo>
                <a:lnTo>
                  <a:pt x="8244" y="2644"/>
                </a:lnTo>
                <a:lnTo>
                  <a:pt x="8248" y="2652"/>
                </a:lnTo>
                <a:lnTo>
                  <a:pt x="8250" y="2656"/>
                </a:lnTo>
                <a:lnTo>
                  <a:pt x="8248" y="2662"/>
                </a:lnTo>
                <a:lnTo>
                  <a:pt x="8242" y="2676"/>
                </a:lnTo>
                <a:lnTo>
                  <a:pt x="8238" y="2684"/>
                </a:lnTo>
                <a:lnTo>
                  <a:pt x="8236" y="2690"/>
                </a:lnTo>
                <a:lnTo>
                  <a:pt x="8236" y="2696"/>
                </a:lnTo>
                <a:lnTo>
                  <a:pt x="8242" y="2702"/>
                </a:lnTo>
                <a:lnTo>
                  <a:pt x="8248" y="2708"/>
                </a:lnTo>
                <a:lnTo>
                  <a:pt x="8250" y="2710"/>
                </a:lnTo>
                <a:lnTo>
                  <a:pt x="8248" y="2712"/>
                </a:lnTo>
                <a:lnTo>
                  <a:pt x="8242" y="2712"/>
                </a:lnTo>
                <a:lnTo>
                  <a:pt x="8226" y="2708"/>
                </a:lnTo>
                <a:lnTo>
                  <a:pt x="8216" y="2708"/>
                </a:lnTo>
                <a:lnTo>
                  <a:pt x="8208" y="2708"/>
                </a:lnTo>
                <a:lnTo>
                  <a:pt x="8202" y="2710"/>
                </a:lnTo>
                <a:lnTo>
                  <a:pt x="8198" y="2710"/>
                </a:lnTo>
                <a:lnTo>
                  <a:pt x="8192" y="2706"/>
                </a:lnTo>
                <a:lnTo>
                  <a:pt x="8188" y="2706"/>
                </a:lnTo>
                <a:lnTo>
                  <a:pt x="8178" y="2710"/>
                </a:lnTo>
                <a:lnTo>
                  <a:pt x="8174" y="2714"/>
                </a:lnTo>
                <a:lnTo>
                  <a:pt x="8172" y="2716"/>
                </a:lnTo>
                <a:lnTo>
                  <a:pt x="8172" y="2718"/>
                </a:lnTo>
                <a:lnTo>
                  <a:pt x="8174" y="2720"/>
                </a:lnTo>
                <a:lnTo>
                  <a:pt x="8174" y="2722"/>
                </a:lnTo>
                <a:lnTo>
                  <a:pt x="8174" y="2724"/>
                </a:lnTo>
                <a:lnTo>
                  <a:pt x="8172" y="2726"/>
                </a:lnTo>
                <a:lnTo>
                  <a:pt x="8166" y="2728"/>
                </a:lnTo>
                <a:lnTo>
                  <a:pt x="8162" y="2730"/>
                </a:lnTo>
                <a:lnTo>
                  <a:pt x="8160" y="2732"/>
                </a:lnTo>
                <a:lnTo>
                  <a:pt x="8160" y="2734"/>
                </a:lnTo>
                <a:lnTo>
                  <a:pt x="8162" y="2736"/>
                </a:lnTo>
                <a:lnTo>
                  <a:pt x="8166" y="2742"/>
                </a:lnTo>
                <a:lnTo>
                  <a:pt x="8172" y="2746"/>
                </a:lnTo>
                <a:lnTo>
                  <a:pt x="8184" y="2754"/>
                </a:lnTo>
                <a:lnTo>
                  <a:pt x="8184" y="2756"/>
                </a:lnTo>
                <a:lnTo>
                  <a:pt x="8184" y="2758"/>
                </a:lnTo>
                <a:lnTo>
                  <a:pt x="8178" y="2758"/>
                </a:lnTo>
                <a:lnTo>
                  <a:pt x="8170" y="2758"/>
                </a:lnTo>
                <a:lnTo>
                  <a:pt x="8164" y="2758"/>
                </a:lnTo>
                <a:lnTo>
                  <a:pt x="8162" y="2756"/>
                </a:lnTo>
                <a:lnTo>
                  <a:pt x="8160" y="2754"/>
                </a:lnTo>
                <a:lnTo>
                  <a:pt x="8158" y="2752"/>
                </a:lnTo>
                <a:lnTo>
                  <a:pt x="8156" y="2750"/>
                </a:lnTo>
                <a:lnTo>
                  <a:pt x="8152" y="2750"/>
                </a:lnTo>
                <a:lnTo>
                  <a:pt x="8144" y="2750"/>
                </a:lnTo>
                <a:lnTo>
                  <a:pt x="8136" y="2752"/>
                </a:lnTo>
                <a:lnTo>
                  <a:pt x="8132" y="2754"/>
                </a:lnTo>
                <a:lnTo>
                  <a:pt x="8128" y="2758"/>
                </a:lnTo>
                <a:lnTo>
                  <a:pt x="8128" y="2762"/>
                </a:lnTo>
                <a:lnTo>
                  <a:pt x="8130" y="2764"/>
                </a:lnTo>
                <a:lnTo>
                  <a:pt x="8134" y="2768"/>
                </a:lnTo>
                <a:lnTo>
                  <a:pt x="8140" y="2770"/>
                </a:lnTo>
                <a:lnTo>
                  <a:pt x="8146" y="2772"/>
                </a:lnTo>
                <a:lnTo>
                  <a:pt x="8152" y="2774"/>
                </a:lnTo>
                <a:lnTo>
                  <a:pt x="8158" y="2780"/>
                </a:lnTo>
                <a:lnTo>
                  <a:pt x="8162" y="2790"/>
                </a:lnTo>
                <a:lnTo>
                  <a:pt x="8166" y="2800"/>
                </a:lnTo>
                <a:lnTo>
                  <a:pt x="8172" y="2818"/>
                </a:lnTo>
                <a:lnTo>
                  <a:pt x="8172" y="2828"/>
                </a:lnTo>
                <a:lnTo>
                  <a:pt x="8174" y="2832"/>
                </a:lnTo>
                <a:lnTo>
                  <a:pt x="8174" y="2834"/>
                </a:lnTo>
                <a:lnTo>
                  <a:pt x="8180" y="2834"/>
                </a:lnTo>
                <a:lnTo>
                  <a:pt x="8184" y="2832"/>
                </a:lnTo>
                <a:lnTo>
                  <a:pt x="8188" y="2834"/>
                </a:lnTo>
                <a:lnTo>
                  <a:pt x="8192" y="2836"/>
                </a:lnTo>
                <a:lnTo>
                  <a:pt x="8196" y="2842"/>
                </a:lnTo>
                <a:lnTo>
                  <a:pt x="8198" y="2846"/>
                </a:lnTo>
                <a:lnTo>
                  <a:pt x="8202" y="2850"/>
                </a:lnTo>
                <a:lnTo>
                  <a:pt x="8204" y="2850"/>
                </a:lnTo>
                <a:lnTo>
                  <a:pt x="8208" y="2848"/>
                </a:lnTo>
                <a:lnTo>
                  <a:pt x="8210" y="2848"/>
                </a:lnTo>
                <a:lnTo>
                  <a:pt x="8216" y="2848"/>
                </a:lnTo>
                <a:lnTo>
                  <a:pt x="8220" y="2850"/>
                </a:lnTo>
                <a:lnTo>
                  <a:pt x="8228" y="2854"/>
                </a:lnTo>
                <a:lnTo>
                  <a:pt x="8232" y="2860"/>
                </a:lnTo>
                <a:lnTo>
                  <a:pt x="8234" y="2866"/>
                </a:lnTo>
                <a:lnTo>
                  <a:pt x="8232" y="2872"/>
                </a:lnTo>
                <a:lnTo>
                  <a:pt x="8228" y="2876"/>
                </a:lnTo>
                <a:lnTo>
                  <a:pt x="8224" y="2882"/>
                </a:lnTo>
                <a:lnTo>
                  <a:pt x="8220" y="2890"/>
                </a:lnTo>
                <a:lnTo>
                  <a:pt x="8218" y="2900"/>
                </a:lnTo>
                <a:lnTo>
                  <a:pt x="8220" y="2912"/>
                </a:lnTo>
                <a:lnTo>
                  <a:pt x="8238" y="2894"/>
                </a:lnTo>
                <a:lnTo>
                  <a:pt x="8220" y="2912"/>
                </a:lnTo>
                <a:lnTo>
                  <a:pt x="8226" y="2918"/>
                </a:lnTo>
                <a:lnTo>
                  <a:pt x="8228" y="2922"/>
                </a:lnTo>
                <a:lnTo>
                  <a:pt x="8226" y="2924"/>
                </a:lnTo>
                <a:lnTo>
                  <a:pt x="8228" y="2930"/>
                </a:lnTo>
                <a:lnTo>
                  <a:pt x="8234" y="2940"/>
                </a:lnTo>
                <a:lnTo>
                  <a:pt x="8236" y="2942"/>
                </a:lnTo>
                <a:lnTo>
                  <a:pt x="8236" y="2938"/>
                </a:lnTo>
                <a:lnTo>
                  <a:pt x="8238" y="2932"/>
                </a:lnTo>
                <a:lnTo>
                  <a:pt x="8240" y="2924"/>
                </a:lnTo>
                <a:lnTo>
                  <a:pt x="8240" y="2920"/>
                </a:lnTo>
                <a:lnTo>
                  <a:pt x="8238" y="2918"/>
                </a:lnTo>
                <a:lnTo>
                  <a:pt x="8236" y="2914"/>
                </a:lnTo>
                <a:lnTo>
                  <a:pt x="8236" y="2908"/>
                </a:lnTo>
                <a:lnTo>
                  <a:pt x="8238" y="2904"/>
                </a:lnTo>
                <a:lnTo>
                  <a:pt x="8242" y="2900"/>
                </a:lnTo>
                <a:lnTo>
                  <a:pt x="8246" y="2896"/>
                </a:lnTo>
                <a:lnTo>
                  <a:pt x="8254" y="2894"/>
                </a:lnTo>
                <a:lnTo>
                  <a:pt x="8266" y="2892"/>
                </a:lnTo>
                <a:lnTo>
                  <a:pt x="8274" y="2890"/>
                </a:lnTo>
                <a:lnTo>
                  <a:pt x="8276" y="2892"/>
                </a:lnTo>
                <a:lnTo>
                  <a:pt x="8278" y="2892"/>
                </a:lnTo>
                <a:lnTo>
                  <a:pt x="8280" y="2900"/>
                </a:lnTo>
                <a:lnTo>
                  <a:pt x="8282" y="2912"/>
                </a:lnTo>
                <a:lnTo>
                  <a:pt x="8284" y="2922"/>
                </a:lnTo>
                <a:lnTo>
                  <a:pt x="8286" y="2928"/>
                </a:lnTo>
                <a:lnTo>
                  <a:pt x="8290" y="2932"/>
                </a:lnTo>
                <a:lnTo>
                  <a:pt x="8296" y="2936"/>
                </a:lnTo>
                <a:lnTo>
                  <a:pt x="8304" y="2942"/>
                </a:lnTo>
                <a:lnTo>
                  <a:pt x="8310" y="2946"/>
                </a:lnTo>
                <a:lnTo>
                  <a:pt x="8312" y="2950"/>
                </a:lnTo>
                <a:lnTo>
                  <a:pt x="8314" y="2956"/>
                </a:lnTo>
                <a:lnTo>
                  <a:pt x="8312" y="2960"/>
                </a:lnTo>
                <a:lnTo>
                  <a:pt x="8310" y="2962"/>
                </a:lnTo>
                <a:lnTo>
                  <a:pt x="8308" y="2964"/>
                </a:lnTo>
                <a:lnTo>
                  <a:pt x="8304" y="2964"/>
                </a:lnTo>
                <a:lnTo>
                  <a:pt x="8302" y="2962"/>
                </a:lnTo>
                <a:close/>
                <a:moveTo>
                  <a:pt x="8570" y="2768"/>
                </a:moveTo>
                <a:lnTo>
                  <a:pt x="8570" y="2768"/>
                </a:lnTo>
                <a:lnTo>
                  <a:pt x="8558" y="2782"/>
                </a:lnTo>
                <a:lnTo>
                  <a:pt x="8556" y="2788"/>
                </a:lnTo>
                <a:lnTo>
                  <a:pt x="8560" y="2790"/>
                </a:lnTo>
                <a:lnTo>
                  <a:pt x="8564" y="2796"/>
                </a:lnTo>
                <a:lnTo>
                  <a:pt x="8566" y="2800"/>
                </a:lnTo>
                <a:lnTo>
                  <a:pt x="8566" y="2802"/>
                </a:lnTo>
                <a:lnTo>
                  <a:pt x="8564" y="2804"/>
                </a:lnTo>
                <a:lnTo>
                  <a:pt x="8560" y="2806"/>
                </a:lnTo>
                <a:lnTo>
                  <a:pt x="8552" y="2808"/>
                </a:lnTo>
                <a:lnTo>
                  <a:pt x="8540" y="2808"/>
                </a:lnTo>
                <a:lnTo>
                  <a:pt x="8534" y="2808"/>
                </a:lnTo>
                <a:lnTo>
                  <a:pt x="8532" y="2810"/>
                </a:lnTo>
                <a:lnTo>
                  <a:pt x="8528" y="2814"/>
                </a:lnTo>
                <a:lnTo>
                  <a:pt x="8526" y="2816"/>
                </a:lnTo>
                <a:lnTo>
                  <a:pt x="8520" y="2818"/>
                </a:lnTo>
                <a:lnTo>
                  <a:pt x="8516" y="2818"/>
                </a:lnTo>
                <a:lnTo>
                  <a:pt x="8514" y="2816"/>
                </a:lnTo>
                <a:lnTo>
                  <a:pt x="8514" y="2810"/>
                </a:lnTo>
                <a:lnTo>
                  <a:pt x="8514" y="2808"/>
                </a:lnTo>
                <a:lnTo>
                  <a:pt x="8512" y="2804"/>
                </a:lnTo>
                <a:lnTo>
                  <a:pt x="8510" y="2802"/>
                </a:lnTo>
                <a:lnTo>
                  <a:pt x="8502" y="2798"/>
                </a:lnTo>
                <a:lnTo>
                  <a:pt x="8492" y="2798"/>
                </a:lnTo>
                <a:lnTo>
                  <a:pt x="8484" y="2798"/>
                </a:lnTo>
                <a:lnTo>
                  <a:pt x="8470" y="2804"/>
                </a:lnTo>
                <a:lnTo>
                  <a:pt x="8464" y="2806"/>
                </a:lnTo>
                <a:lnTo>
                  <a:pt x="8460" y="2808"/>
                </a:lnTo>
                <a:lnTo>
                  <a:pt x="8458" y="2806"/>
                </a:lnTo>
                <a:lnTo>
                  <a:pt x="8458" y="2802"/>
                </a:lnTo>
                <a:lnTo>
                  <a:pt x="8456" y="2788"/>
                </a:lnTo>
                <a:lnTo>
                  <a:pt x="8454" y="2774"/>
                </a:lnTo>
                <a:lnTo>
                  <a:pt x="8454" y="2764"/>
                </a:lnTo>
                <a:lnTo>
                  <a:pt x="8454" y="2758"/>
                </a:lnTo>
                <a:lnTo>
                  <a:pt x="8456" y="2756"/>
                </a:lnTo>
                <a:lnTo>
                  <a:pt x="8456" y="2752"/>
                </a:lnTo>
                <a:lnTo>
                  <a:pt x="8456" y="2750"/>
                </a:lnTo>
                <a:lnTo>
                  <a:pt x="8452" y="2742"/>
                </a:lnTo>
                <a:lnTo>
                  <a:pt x="8452" y="2736"/>
                </a:lnTo>
                <a:lnTo>
                  <a:pt x="8454" y="2726"/>
                </a:lnTo>
                <a:lnTo>
                  <a:pt x="8460" y="2714"/>
                </a:lnTo>
                <a:lnTo>
                  <a:pt x="8468" y="2696"/>
                </a:lnTo>
                <a:lnTo>
                  <a:pt x="8474" y="2686"/>
                </a:lnTo>
                <a:lnTo>
                  <a:pt x="8478" y="2678"/>
                </a:lnTo>
                <a:lnTo>
                  <a:pt x="8482" y="2674"/>
                </a:lnTo>
                <a:lnTo>
                  <a:pt x="8488" y="2672"/>
                </a:lnTo>
                <a:lnTo>
                  <a:pt x="8494" y="2674"/>
                </a:lnTo>
                <a:lnTo>
                  <a:pt x="8498" y="2672"/>
                </a:lnTo>
                <a:lnTo>
                  <a:pt x="8502" y="2670"/>
                </a:lnTo>
                <a:lnTo>
                  <a:pt x="8506" y="2668"/>
                </a:lnTo>
                <a:lnTo>
                  <a:pt x="8506" y="2664"/>
                </a:lnTo>
                <a:lnTo>
                  <a:pt x="8504" y="2660"/>
                </a:lnTo>
                <a:lnTo>
                  <a:pt x="8502" y="2656"/>
                </a:lnTo>
                <a:lnTo>
                  <a:pt x="8506" y="2654"/>
                </a:lnTo>
                <a:lnTo>
                  <a:pt x="8508" y="2652"/>
                </a:lnTo>
                <a:lnTo>
                  <a:pt x="8512" y="2654"/>
                </a:lnTo>
                <a:lnTo>
                  <a:pt x="8518" y="2660"/>
                </a:lnTo>
                <a:lnTo>
                  <a:pt x="8520" y="2664"/>
                </a:lnTo>
                <a:lnTo>
                  <a:pt x="8522" y="2664"/>
                </a:lnTo>
                <a:lnTo>
                  <a:pt x="8526" y="2664"/>
                </a:lnTo>
                <a:lnTo>
                  <a:pt x="8528" y="2660"/>
                </a:lnTo>
                <a:lnTo>
                  <a:pt x="8528" y="2654"/>
                </a:lnTo>
                <a:lnTo>
                  <a:pt x="8528" y="2650"/>
                </a:lnTo>
                <a:lnTo>
                  <a:pt x="8522" y="2646"/>
                </a:lnTo>
                <a:lnTo>
                  <a:pt x="8518" y="2644"/>
                </a:lnTo>
                <a:lnTo>
                  <a:pt x="8518" y="2642"/>
                </a:lnTo>
                <a:lnTo>
                  <a:pt x="8520" y="2640"/>
                </a:lnTo>
                <a:lnTo>
                  <a:pt x="8526" y="2636"/>
                </a:lnTo>
                <a:lnTo>
                  <a:pt x="8542" y="2628"/>
                </a:lnTo>
                <a:lnTo>
                  <a:pt x="8554" y="2626"/>
                </a:lnTo>
                <a:lnTo>
                  <a:pt x="8558" y="2626"/>
                </a:lnTo>
                <a:lnTo>
                  <a:pt x="8560" y="2628"/>
                </a:lnTo>
                <a:lnTo>
                  <a:pt x="8562" y="2632"/>
                </a:lnTo>
                <a:lnTo>
                  <a:pt x="8560" y="2636"/>
                </a:lnTo>
                <a:lnTo>
                  <a:pt x="8558" y="2642"/>
                </a:lnTo>
                <a:lnTo>
                  <a:pt x="8558" y="2644"/>
                </a:lnTo>
                <a:lnTo>
                  <a:pt x="8560" y="2646"/>
                </a:lnTo>
                <a:lnTo>
                  <a:pt x="8562" y="2646"/>
                </a:lnTo>
                <a:lnTo>
                  <a:pt x="8568" y="2642"/>
                </a:lnTo>
                <a:lnTo>
                  <a:pt x="8570" y="2640"/>
                </a:lnTo>
                <a:lnTo>
                  <a:pt x="8572" y="2636"/>
                </a:lnTo>
                <a:lnTo>
                  <a:pt x="8576" y="2628"/>
                </a:lnTo>
                <a:lnTo>
                  <a:pt x="8582" y="2622"/>
                </a:lnTo>
                <a:lnTo>
                  <a:pt x="8584" y="2622"/>
                </a:lnTo>
                <a:lnTo>
                  <a:pt x="8588" y="2622"/>
                </a:lnTo>
                <a:lnTo>
                  <a:pt x="8590" y="2624"/>
                </a:lnTo>
                <a:lnTo>
                  <a:pt x="8590" y="2628"/>
                </a:lnTo>
                <a:lnTo>
                  <a:pt x="8590" y="2636"/>
                </a:lnTo>
                <a:lnTo>
                  <a:pt x="8590" y="2642"/>
                </a:lnTo>
                <a:lnTo>
                  <a:pt x="8588" y="2644"/>
                </a:lnTo>
                <a:lnTo>
                  <a:pt x="8586" y="2646"/>
                </a:lnTo>
                <a:lnTo>
                  <a:pt x="8580" y="2650"/>
                </a:lnTo>
                <a:lnTo>
                  <a:pt x="8580" y="2652"/>
                </a:lnTo>
                <a:lnTo>
                  <a:pt x="8578" y="2658"/>
                </a:lnTo>
                <a:lnTo>
                  <a:pt x="8578" y="2662"/>
                </a:lnTo>
                <a:lnTo>
                  <a:pt x="8576" y="2664"/>
                </a:lnTo>
                <a:lnTo>
                  <a:pt x="8570" y="2664"/>
                </a:lnTo>
                <a:lnTo>
                  <a:pt x="8566" y="2662"/>
                </a:lnTo>
                <a:lnTo>
                  <a:pt x="8566" y="2664"/>
                </a:lnTo>
                <a:lnTo>
                  <a:pt x="8564" y="2666"/>
                </a:lnTo>
                <a:lnTo>
                  <a:pt x="8566" y="2674"/>
                </a:lnTo>
                <a:lnTo>
                  <a:pt x="8572" y="2686"/>
                </a:lnTo>
                <a:lnTo>
                  <a:pt x="8576" y="2692"/>
                </a:lnTo>
                <a:lnTo>
                  <a:pt x="8580" y="2698"/>
                </a:lnTo>
                <a:lnTo>
                  <a:pt x="8584" y="2710"/>
                </a:lnTo>
                <a:lnTo>
                  <a:pt x="8584" y="2716"/>
                </a:lnTo>
                <a:lnTo>
                  <a:pt x="8586" y="2718"/>
                </a:lnTo>
                <a:lnTo>
                  <a:pt x="8590" y="2718"/>
                </a:lnTo>
                <a:lnTo>
                  <a:pt x="8594" y="2718"/>
                </a:lnTo>
                <a:lnTo>
                  <a:pt x="8596" y="2718"/>
                </a:lnTo>
                <a:lnTo>
                  <a:pt x="8600" y="2720"/>
                </a:lnTo>
                <a:lnTo>
                  <a:pt x="8602" y="2722"/>
                </a:lnTo>
                <a:lnTo>
                  <a:pt x="8604" y="2730"/>
                </a:lnTo>
                <a:lnTo>
                  <a:pt x="8594" y="2740"/>
                </a:lnTo>
                <a:lnTo>
                  <a:pt x="8586" y="2744"/>
                </a:lnTo>
                <a:lnTo>
                  <a:pt x="8576" y="2750"/>
                </a:lnTo>
                <a:lnTo>
                  <a:pt x="8572" y="2752"/>
                </a:lnTo>
                <a:lnTo>
                  <a:pt x="8570" y="2754"/>
                </a:lnTo>
                <a:lnTo>
                  <a:pt x="8570" y="2758"/>
                </a:lnTo>
                <a:lnTo>
                  <a:pt x="8570" y="2768"/>
                </a:lnTo>
                <a:close/>
                <a:moveTo>
                  <a:pt x="11370" y="2874"/>
                </a:moveTo>
                <a:lnTo>
                  <a:pt x="11370" y="2874"/>
                </a:lnTo>
                <a:lnTo>
                  <a:pt x="11370" y="2870"/>
                </a:lnTo>
                <a:lnTo>
                  <a:pt x="11376" y="2882"/>
                </a:lnTo>
                <a:lnTo>
                  <a:pt x="11370" y="2874"/>
                </a:lnTo>
                <a:close/>
                <a:moveTo>
                  <a:pt x="8546" y="1146"/>
                </a:moveTo>
                <a:lnTo>
                  <a:pt x="8546" y="1146"/>
                </a:lnTo>
                <a:lnTo>
                  <a:pt x="8546" y="1144"/>
                </a:lnTo>
                <a:lnTo>
                  <a:pt x="8544" y="1140"/>
                </a:lnTo>
                <a:lnTo>
                  <a:pt x="8532" y="1134"/>
                </a:lnTo>
                <a:lnTo>
                  <a:pt x="8518" y="1126"/>
                </a:lnTo>
                <a:lnTo>
                  <a:pt x="8508" y="1120"/>
                </a:lnTo>
                <a:lnTo>
                  <a:pt x="8500" y="1112"/>
                </a:lnTo>
                <a:lnTo>
                  <a:pt x="8490" y="1104"/>
                </a:lnTo>
                <a:lnTo>
                  <a:pt x="8482" y="1102"/>
                </a:lnTo>
                <a:lnTo>
                  <a:pt x="8478" y="1104"/>
                </a:lnTo>
                <a:lnTo>
                  <a:pt x="8470" y="1108"/>
                </a:lnTo>
                <a:lnTo>
                  <a:pt x="8468" y="1108"/>
                </a:lnTo>
                <a:lnTo>
                  <a:pt x="8468" y="1110"/>
                </a:lnTo>
                <a:lnTo>
                  <a:pt x="8470" y="1116"/>
                </a:lnTo>
                <a:lnTo>
                  <a:pt x="8472" y="1120"/>
                </a:lnTo>
                <a:lnTo>
                  <a:pt x="8470" y="1118"/>
                </a:lnTo>
                <a:lnTo>
                  <a:pt x="8466" y="1118"/>
                </a:lnTo>
                <a:lnTo>
                  <a:pt x="8464" y="1118"/>
                </a:lnTo>
                <a:lnTo>
                  <a:pt x="8464" y="1120"/>
                </a:lnTo>
                <a:lnTo>
                  <a:pt x="8464" y="1122"/>
                </a:lnTo>
                <a:lnTo>
                  <a:pt x="8468" y="1130"/>
                </a:lnTo>
                <a:lnTo>
                  <a:pt x="8476" y="1140"/>
                </a:lnTo>
                <a:lnTo>
                  <a:pt x="8482" y="1144"/>
                </a:lnTo>
                <a:lnTo>
                  <a:pt x="8486" y="1144"/>
                </a:lnTo>
                <a:lnTo>
                  <a:pt x="8488" y="1144"/>
                </a:lnTo>
                <a:lnTo>
                  <a:pt x="8488" y="1142"/>
                </a:lnTo>
                <a:lnTo>
                  <a:pt x="8492" y="1140"/>
                </a:lnTo>
                <a:lnTo>
                  <a:pt x="8500" y="1142"/>
                </a:lnTo>
                <a:lnTo>
                  <a:pt x="8506" y="1146"/>
                </a:lnTo>
                <a:lnTo>
                  <a:pt x="8508" y="1148"/>
                </a:lnTo>
                <a:lnTo>
                  <a:pt x="8508" y="1152"/>
                </a:lnTo>
                <a:lnTo>
                  <a:pt x="8510" y="1154"/>
                </a:lnTo>
                <a:lnTo>
                  <a:pt x="8514" y="1156"/>
                </a:lnTo>
                <a:lnTo>
                  <a:pt x="8526" y="1156"/>
                </a:lnTo>
                <a:lnTo>
                  <a:pt x="8540" y="1152"/>
                </a:lnTo>
                <a:lnTo>
                  <a:pt x="8544" y="1150"/>
                </a:lnTo>
                <a:lnTo>
                  <a:pt x="8546" y="1146"/>
                </a:lnTo>
                <a:close/>
                <a:moveTo>
                  <a:pt x="8966" y="906"/>
                </a:moveTo>
                <a:lnTo>
                  <a:pt x="8966" y="906"/>
                </a:lnTo>
                <a:lnTo>
                  <a:pt x="8984" y="902"/>
                </a:lnTo>
                <a:lnTo>
                  <a:pt x="8988" y="900"/>
                </a:lnTo>
                <a:lnTo>
                  <a:pt x="8992" y="896"/>
                </a:lnTo>
                <a:lnTo>
                  <a:pt x="8994" y="894"/>
                </a:lnTo>
                <a:lnTo>
                  <a:pt x="8994" y="890"/>
                </a:lnTo>
                <a:lnTo>
                  <a:pt x="8990" y="884"/>
                </a:lnTo>
                <a:lnTo>
                  <a:pt x="8982" y="878"/>
                </a:lnTo>
                <a:lnTo>
                  <a:pt x="8972" y="874"/>
                </a:lnTo>
                <a:lnTo>
                  <a:pt x="8960" y="874"/>
                </a:lnTo>
                <a:lnTo>
                  <a:pt x="8948" y="876"/>
                </a:lnTo>
                <a:lnTo>
                  <a:pt x="8936" y="880"/>
                </a:lnTo>
                <a:lnTo>
                  <a:pt x="8928" y="886"/>
                </a:lnTo>
                <a:lnTo>
                  <a:pt x="8924" y="892"/>
                </a:lnTo>
                <a:lnTo>
                  <a:pt x="8924" y="898"/>
                </a:lnTo>
                <a:lnTo>
                  <a:pt x="8928" y="904"/>
                </a:lnTo>
                <a:lnTo>
                  <a:pt x="8936" y="906"/>
                </a:lnTo>
                <a:lnTo>
                  <a:pt x="8948" y="908"/>
                </a:lnTo>
                <a:lnTo>
                  <a:pt x="8966" y="906"/>
                </a:lnTo>
                <a:close/>
                <a:moveTo>
                  <a:pt x="8184" y="986"/>
                </a:moveTo>
                <a:lnTo>
                  <a:pt x="8184" y="986"/>
                </a:lnTo>
                <a:lnTo>
                  <a:pt x="8178" y="1004"/>
                </a:lnTo>
                <a:lnTo>
                  <a:pt x="8176" y="1012"/>
                </a:lnTo>
                <a:lnTo>
                  <a:pt x="8178" y="1018"/>
                </a:lnTo>
                <a:lnTo>
                  <a:pt x="8182" y="1022"/>
                </a:lnTo>
                <a:lnTo>
                  <a:pt x="8188" y="1024"/>
                </a:lnTo>
                <a:lnTo>
                  <a:pt x="8198" y="1026"/>
                </a:lnTo>
                <a:lnTo>
                  <a:pt x="8212" y="1028"/>
                </a:lnTo>
                <a:lnTo>
                  <a:pt x="8228" y="1028"/>
                </a:lnTo>
                <a:lnTo>
                  <a:pt x="8228" y="1030"/>
                </a:lnTo>
                <a:lnTo>
                  <a:pt x="8224" y="1032"/>
                </a:lnTo>
                <a:lnTo>
                  <a:pt x="8220" y="1036"/>
                </a:lnTo>
                <a:lnTo>
                  <a:pt x="8218" y="1040"/>
                </a:lnTo>
                <a:lnTo>
                  <a:pt x="8218" y="1044"/>
                </a:lnTo>
                <a:lnTo>
                  <a:pt x="8222" y="1046"/>
                </a:lnTo>
                <a:lnTo>
                  <a:pt x="8232" y="1054"/>
                </a:lnTo>
                <a:lnTo>
                  <a:pt x="8238" y="1058"/>
                </a:lnTo>
                <a:lnTo>
                  <a:pt x="8244" y="1060"/>
                </a:lnTo>
                <a:lnTo>
                  <a:pt x="8248" y="1058"/>
                </a:lnTo>
                <a:lnTo>
                  <a:pt x="8250" y="1058"/>
                </a:lnTo>
                <a:lnTo>
                  <a:pt x="8254" y="1052"/>
                </a:lnTo>
                <a:lnTo>
                  <a:pt x="8254" y="1044"/>
                </a:lnTo>
                <a:lnTo>
                  <a:pt x="8254" y="1038"/>
                </a:lnTo>
                <a:lnTo>
                  <a:pt x="8254" y="1032"/>
                </a:lnTo>
                <a:lnTo>
                  <a:pt x="8256" y="1032"/>
                </a:lnTo>
                <a:lnTo>
                  <a:pt x="8258" y="1034"/>
                </a:lnTo>
                <a:lnTo>
                  <a:pt x="8264" y="1040"/>
                </a:lnTo>
                <a:lnTo>
                  <a:pt x="8268" y="1046"/>
                </a:lnTo>
                <a:lnTo>
                  <a:pt x="8270" y="1052"/>
                </a:lnTo>
                <a:lnTo>
                  <a:pt x="8272" y="1056"/>
                </a:lnTo>
                <a:lnTo>
                  <a:pt x="8270" y="1060"/>
                </a:lnTo>
                <a:lnTo>
                  <a:pt x="8266" y="1066"/>
                </a:lnTo>
                <a:lnTo>
                  <a:pt x="8262" y="1070"/>
                </a:lnTo>
                <a:lnTo>
                  <a:pt x="8258" y="1072"/>
                </a:lnTo>
                <a:lnTo>
                  <a:pt x="8256" y="1074"/>
                </a:lnTo>
                <a:lnTo>
                  <a:pt x="8258" y="1076"/>
                </a:lnTo>
                <a:lnTo>
                  <a:pt x="8262" y="1076"/>
                </a:lnTo>
                <a:lnTo>
                  <a:pt x="8276" y="1078"/>
                </a:lnTo>
                <a:lnTo>
                  <a:pt x="8292" y="1080"/>
                </a:lnTo>
                <a:lnTo>
                  <a:pt x="8302" y="1082"/>
                </a:lnTo>
                <a:lnTo>
                  <a:pt x="8308" y="1084"/>
                </a:lnTo>
                <a:lnTo>
                  <a:pt x="8312" y="1086"/>
                </a:lnTo>
                <a:lnTo>
                  <a:pt x="8314" y="1088"/>
                </a:lnTo>
                <a:lnTo>
                  <a:pt x="8320" y="1090"/>
                </a:lnTo>
                <a:lnTo>
                  <a:pt x="8338" y="1092"/>
                </a:lnTo>
                <a:lnTo>
                  <a:pt x="8352" y="1092"/>
                </a:lnTo>
                <a:lnTo>
                  <a:pt x="8364" y="1094"/>
                </a:lnTo>
                <a:lnTo>
                  <a:pt x="8384" y="1098"/>
                </a:lnTo>
                <a:lnTo>
                  <a:pt x="8392" y="1098"/>
                </a:lnTo>
                <a:lnTo>
                  <a:pt x="8402" y="1096"/>
                </a:lnTo>
                <a:lnTo>
                  <a:pt x="8412" y="1094"/>
                </a:lnTo>
                <a:lnTo>
                  <a:pt x="8426" y="1086"/>
                </a:lnTo>
                <a:lnTo>
                  <a:pt x="8428" y="1084"/>
                </a:lnTo>
                <a:lnTo>
                  <a:pt x="8430" y="1082"/>
                </a:lnTo>
                <a:lnTo>
                  <a:pt x="8428" y="1080"/>
                </a:lnTo>
                <a:lnTo>
                  <a:pt x="8426" y="1078"/>
                </a:lnTo>
                <a:lnTo>
                  <a:pt x="8418" y="1074"/>
                </a:lnTo>
                <a:lnTo>
                  <a:pt x="8408" y="1068"/>
                </a:lnTo>
                <a:lnTo>
                  <a:pt x="8394" y="1062"/>
                </a:lnTo>
                <a:lnTo>
                  <a:pt x="8382" y="1054"/>
                </a:lnTo>
                <a:lnTo>
                  <a:pt x="8372" y="1046"/>
                </a:lnTo>
                <a:lnTo>
                  <a:pt x="8364" y="1036"/>
                </a:lnTo>
                <a:lnTo>
                  <a:pt x="8360" y="1026"/>
                </a:lnTo>
                <a:lnTo>
                  <a:pt x="8354" y="1018"/>
                </a:lnTo>
                <a:lnTo>
                  <a:pt x="8344" y="1006"/>
                </a:lnTo>
                <a:lnTo>
                  <a:pt x="8340" y="1000"/>
                </a:lnTo>
                <a:lnTo>
                  <a:pt x="8338" y="992"/>
                </a:lnTo>
                <a:lnTo>
                  <a:pt x="8336" y="980"/>
                </a:lnTo>
                <a:lnTo>
                  <a:pt x="8338" y="964"/>
                </a:lnTo>
                <a:lnTo>
                  <a:pt x="8340" y="956"/>
                </a:lnTo>
                <a:lnTo>
                  <a:pt x="8344" y="948"/>
                </a:lnTo>
                <a:lnTo>
                  <a:pt x="8352" y="936"/>
                </a:lnTo>
                <a:lnTo>
                  <a:pt x="8362" y="926"/>
                </a:lnTo>
                <a:lnTo>
                  <a:pt x="8372" y="918"/>
                </a:lnTo>
                <a:lnTo>
                  <a:pt x="8378" y="912"/>
                </a:lnTo>
                <a:lnTo>
                  <a:pt x="8380" y="906"/>
                </a:lnTo>
                <a:lnTo>
                  <a:pt x="8380" y="904"/>
                </a:lnTo>
                <a:lnTo>
                  <a:pt x="8376" y="900"/>
                </a:lnTo>
                <a:lnTo>
                  <a:pt x="8366" y="894"/>
                </a:lnTo>
                <a:lnTo>
                  <a:pt x="8346" y="886"/>
                </a:lnTo>
                <a:lnTo>
                  <a:pt x="8342" y="886"/>
                </a:lnTo>
                <a:lnTo>
                  <a:pt x="8338" y="886"/>
                </a:lnTo>
                <a:lnTo>
                  <a:pt x="8324" y="888"/>
                </a:lnTo>
                <a:lnTo>
                  <a:pt x="8288" y="894"/>
                </a:lnTo>
                <a:lnTo>
                  <a:pt x="8266" y="896"/>
                </a:lnTo>
                <a:lnTo>
                  <a:pt x="8256" y="900"/>
                </a:lnTo>
                <a:lnTo>
                  <a:pt x="8250" y="902"/>
                </a:lnTo>
                <a:lnTo>
                  <a:pt x="8250" y="904"/>
                </a:lnTo>
                <a:lnTo>
                  <a:pt x="8250" y="908"/>
                </a:lnTo>
                <a:lnTo>
                  <a:pt x="8250" y="910"/>
                </a:lnTo>
                <a:lnTo>
                  <a:pt x="8246" y="916"/>
                </a:lnTo>
                <a:lnTo>
                  <a:pt x="8236" y="920"/>
                </a:lnTo>
                <a:lnTo>
                  <a:pt x="8226" y="926"/>
                </a:lnTo>
                <a:lnTo>
                  <a:pt x="8222" y="930"/>
                </a:lnTo>
                <a:lnTo>
                  <a:pt x="8220" y="932"/>
                </a:lnTo>
                <a:lnTo>
                  <a:pt x="8222" y="936"/>
                </a:lnTo>
                <a:lnTo>
                  <a:pt x="8226" y="940"/>
                </a:lnTo>
                <a:lnTo>
                  <a:pt x="8228" y="946"/>
                </a:lnTo>
                <a:lnTo>
                  <a:pt x="8228" y="954"/>
                </a:lnTo>
                <a:lnTo>
                  <a:pt x="8224" y="964"/>
                </a:lnTo>
                <a:lnTo>
                  <a:pt x="8218" y="974"/>
                </a:lnTo>
                <a:lnTo>
                  <a:pt x="8212" y="976"/>
                </a:lnTo>
                <a:lnTo>
                  <a:pt x="8208" y="976"/>
                </a:lnTo>
                <a:lnTo>
                  <a:pt x="8204" y="976"/>
                </a:lnTo>
                <a:lnTo>
                  <a:pt x="8198" y="974"/>
                </a:lnTo>
                <a:lnTo>
                  <a:pt x="8194" y="974"/>
                </a:lnTo>
                <a:lnTo>
                  <a:pt x="8190" y="978"/>
                </a:lnTo>
                <a:lnTo>
                  <a:pt x="8184" y="986"/>
                </a:lnTo>
                <a:close/>
                <a:moveTo>
                  <a:pt x="8658" y="660"/>
                </a:moveTo>
                <a:lnTo>
                  <a:pt x="8658" y="660"/>
                </a:lnTo>
                <a:lnTo>
                  <a:pt x="8640" y="666"/>
                </a:lnTo>
                <a:lnTo>
                  <a:pt x="8630" y="668"/>
                </a:lnTo>
                <a:lnTo>
                  <a:pt x="8624" y="668"/>
                </a:lnTo>
                <a:lnTo>
                  <a:pt x="8620" y="664"/>
                </a:lnTo>
                <a:lnTo>
                  <a:pt x="8616" y="662"/>
                </a:lnTo>
                <a:lnTo>
                  <a:pt x="8610" y="660"/>
                </a:lnTo>
                <a:lnTo>
                  <a:pt x="8602" y="658"/>
                </a:lnTo>
                <a:lnTo>
                  <a:pt x="8586" y="658"/>
                </a:lnTo>
                <a:lnTo>
                  <a:pt x="8570" y="660"/>
                </a:lnTo>
                <a:lnTo>
                  <a:pt x="8564" y="664"/>
                </a:lnTo>
                <a:lnTo>
                  <a:pt x="8560" y="666"/>
                </a:lnTo>
                <a:lnTo>
                  <a:pt x="8560" y="670"/>
                </a:lnTo>
                <a:lnTo>
                  <a:pt x="8562" y="674"/>
                </a:lnTo>
                <a:lnTo>
                  <a:pt x="8562" y="676"/>
                </a:lnTo>
                <a:lnTo>
                  <a:pt x="8560" y="676"/>
                </a:lnTo>
                <a:lnTo>
                  <a:pt x="8552" y="676"/>
                </a:lnTo>
                <a:lnTo>
                  <a:pt x="8540" y="676"/>
                </a:lnTo>
                <a:lnTo>
                  <a:pt x="8524" y="680"/>
                </a:lnTo>
                <a:lnTo>
                  <a:pt x="8508" y="684"/>
                </a:lnTo>
                <a:lnTo>
                  <a:pt x="8490" y="690"/>
                </a:lnTo>
                <a:lnTo>
                  <a:pt x="8472" y="698"/>
                </a:lnTo>
                <a:lnTo>
                  <a:pt x="8456" y="708"/>
                </a:lnTo>
                <a:lnTo>
                  <a:pt x="8442" y="718"/>
                </a:lnTo>
                <a:lnTo>
                  <a:pt x="8432" y="728"/>
                </a:lnTo>
                <a:lnTo>
                  <a:pt x="8426" y="734"/>
                </a:lnTo>
                <a:lnTo>
                  <a:pt x="8420" y="738"/>
                </a:lnTo>
                <a:lnTo>
                  <a:pt x="8418" y="738"/>
                </a:lnTo>
                <a:lnTo>
                  <a:pt x="8414" y="736"/>
                </a:lnTo>
                <a:lnTo>
                  <a:pt x="8412" y="734"/>
                </a:lnTo>
                <a:lnTo>
                  <a:pt x="8408" y="734"/>
                </a:lnTo>
                <a:lnTo>
                  <a:pt x="8402" y="736"/>
                </a:lnTo>
                <a:lnTo>
                  <a:pt x="8394" y="740"/>
                </a:lnTo>
                <a:lnTo>
                  <a:pt x="8388" y="746"/>
                </a:lnTo>
                <a:lnTo>
                  <a:pt x="8382" y="748"/>
                </a:lnTo>
                <a:lnTo>
                  <a:pt x="8380" y="748"/>
                </a:lnTo>
                <a:lnTo>
                  <a:pt x="8378" y="746"/>
                </a:lnTo>
                <a:lnTo>
                  <a:pt x="8376" y="744"/>
                </a:lnTo>
                <a:lnTo>
                  <a:pt x="8374" y="742"/>
                </a:lnTo>
                <a:lnTo>
                  <a:pt x="8370" y="742"/>
                </a:lnTo>
                <a:lnTo>
                  <a:pt x="8362" y="744"/>
                </a:lnTo>
                <a:lnTo>
                  <a:pt x="8358" y="750"/>
                </a:lnTo>
                <a:lnTo>
                  <a:pt x="8356" y="754"/>
                </a:lnTo>
                <a:lnTo>
                  <a:pt x="8360" y="756"/>
                </a:lnTo>
                <a:lnTo>
                  <a:pt x="8362" y="760"/>
                </a:lnTo>
                <a:lnTo>
                  <a:pt x="8370" y="764"/>
                </a:lnTo>
                <a:lnTo>
                  <a:pt x="8368" y="766"/>
                </a:lnTo>
                <a:lnTo>
                  <a:pt x="8364" y="770"/>
                </a:lnTo>
                <a:lnTo>
                  <a:pt x="8360" y="772"/>
                </a:lnTo>
                <a:lnTo>
                  <a:pt x="8358" y="774"/>
                </a:lnTo>
                <a:lnTo>
                  <a:pt x="8360" y="778"/>
                </a:lnTo>
                <a:lnTo>
                  <a:pt x="8364" y="780"/>
                </a:lnTo>
                <a:lnTo>
                  <a:pt x="8366" y="782"/>
                </a:lnTo>
                <a:lnTo>
                  <a:pt x="8368" y="784"/>
                </a:lnTo>
                <a:lnTo>
                  <a:pt x="8364" y="786"/>
                </a:lnTo>
                <a:lnTo>
                  <a:pt x="8356" y="786"/>
                </a:lnTo>
                <a:lnTo>
                  <a:pt x="8348" y="788"/>
                </a:lnTo>
                <a:lnTo>
                  <a:pt x="8342" y="792"/>
                </a:lnTo>
                <a:lnTo>
                  <a:pt x="8338" y="798"/>
                </a:lnTo>
                <a:lnTo>
                  <a:pt x="8334" y="806"/>
                </a:lnTo>
                <a:lnTo>
                  <a:pt x="8330" y="814"/>
                </a:lnTo>
                <a:lnTo>
                  <a:pt x="8324" y="822"/>
                </a:lnTo>
                <a:lnTo>
                  <a:pt x="8316" y="830"/>
                </a:lnTo>
                <a:lnTo>
                  <a:pt x="8302" y="836"/>
                </a:lnTo>
                <a:lnTo>
                  <a:pt x="8280" y="848"/>
                </a:lnTo>
                <a:lnTo>
                  <a:pt x="8272" y="854"/>
                </a:lnTo>
                <a:lnTo>
                  <a:pt x="8268" y="858"/>
                </a:lnTo>
                <a:lnTo>
                  <a:pt x="8268" y="862"/>
                </a:lnTo>
                <a:lnTo>
                  <a:pt x="8270" y="864"/>
                </a:lnTo>
                <a:lnTo>
                  <a:pt x="8278" y="866"/>
                </a:lnTo>
                <a:lnTo>
                  <a:pt x="8288" y="866"/>
                </a:lnTo>
                <a:lnTo>
                  <a:pt x="8296" y="866"/>
                </a:lnTo>
                <a:lnTo>
                  <a:pt x="8298" y="870"/>
                </a:lnTo>
                <a:lnTo>
                  <a:pt x="8296" y="872"/>
                </a:lnTo>
                <a:lnTo>
                  <a:pt x="8294" y="876"/>
                </a:lnTo>
                <a:lnTo>
                  <a:pt x="8290" y="880"/>
                </a:lnTo>
                <a:lnTo>
                  <a:pt x="8290" y="882"/>
                </a:lnTo>
                <a:lnTo>
                  <a:pt x="8294" y="882"/>
                </a:lnTo>
                <a:lnTo>
                  <a:pt x="8304" y="882"/>
                </a:lnTo>
                <a:lnTo>
                  <a:pt x="8326" y="876"/>
                </a:lnTo>
                <a:lnTo>
                  <a:pt x="8334" y="876"/>
                </a:lnTo>
                <a:lnTo>
                  <a:pt x="8342" y="876"/>
                </a:lnTo>
                <a:lnTo>
                  <a:pt x="8348" y="878"/>
                </a:lnTo>
                <a:lnTo>
                  <a:pt x="8356" y="880"/>
                </a:lnTo>
                <a:lnTo>
                  <a:pt x="8374" y="892"/>
                </a:lnTo>
                <a:lnTo>
                  <a:pt x="8384" y="894"/>
                </a:lnTo>
                <a:lnTo>
                  <a:pt x="8396" y="894"/>
                </a:lnTo>
                <a:lnTo>
                  <a:pt x="8402" y="892"/>
                </a:lnTo>
                <a:lnTo>
                  <a:pt x="8406" y="888"/>
                </a:lnTo>
                <a:lnTo>
                  <a:pt x="8410" y="884"/>
                </a:lnTo>
                <a:lnTo>
                  <a:pt x="8412" y="878"/>
                </a:lnTo>
                <a:lnTo>
                  <a:pt x="8414" y="874"/>
                </a:lnTo>
                <a:lnTo>
                  <a:pt x="8418" y="870"/>
                </a:lnTo>
                <a:lnTo>
                  <a:pt x="8426" y="868"/>
                </a:lnTo>
                <a:lnTo>
                  <a:pt x="8430" y="868"/>
                </a:lnTo>
                <a:lnTo>
                  <a:pt x="8434" y="864"/>
                </a:lnTo>
                <a:lnTo>
                  <a:pt x="8440" y="858"/>
                </a:lnTo>
                <a:lnTo>
                  <a:pt x="8442" y="850"/>
                </a:lnTo>
                <a:lnTo>
                  <a:pt x="8446" y="840"/>
                </a:lnTo>
                <a:lnTo>
                  <a:pt x="8450" y="834"/>
                </a:lnTo>
                <a:lnTo>
                  <a:pt x="8456" y="830"/>
                </a:lnTo>
                <a:lnTo>
                  <a:pt x="8460" y="828"/>
                </a:lnTo>
                <a:lnTo>
                  <a:pt x="8470" y="824"/>
                </a:lnTo>
                <a:lnTo>
                  <a:pt x="8472" y="820"/>
                </a:lnTo>
                <a:lnTo>
                  <a:pt x="8474" y="816"/>
                </a:lnTo>
                <a:lnTo>
                  <a:pt x="8476" y="804"/>
                </a:lnTo>
                <a:lnTo>
                  <a:pt x="8480" y="802"/>
                </a:lnTo>
                <a:lnTo>
                  <a:pt x="8484" y="800"/>
                </a:lnTo>
                <a:lnTo>
                  <a:pt x="8498" y="794"/>
                </a:lnTo>
                <a:lnTo>
                  <a:pt x="8526" y="784"/>
                </a:lnTo>
                <a:lnTo>
                  <a:pt x="8540" y="778"/>
                </a:lnTo>
                <a:lnTo>
                  <a:pt x="8546" y="772"/>
                </a:lnTo>
                <a:lnTo>
                  <a:pt x="8550" y="768"/>
                </a:lnTo>
                <a:lnTo>
                  <a:pt x="8552" y="764"/>
                </a:lnTo>
                <a:lnTo>
                  <a:pt x="8556" y="758"/>
                </a:lnTo>
                <a:lnTo>
                  <a:pt x="8564" y="752"/>
                </a:lnTo>
                <a:lnTo>
                  <a:pt x="8578" y="744"/>
                </a:lnTo>
                <a:lnTo>
                  <a:pt x="8600" y="734"/>
                </a:lnTo>
                <a:lnTo>
                  <a:pt x="8632" y="722"/>
                </a:lnTo>
                <a:lnTo>
                  <a:pt x="8666" y="712"/>
                </a:lnTo>
                <a:lnTo>
                  <a:pt x="8742" y="692"/>
                </a:lnTo>
                <a:lnTo>
                  <a:pt x="8814" y="674"/>
                </a:lnTo>
                <a:lnTo>
                  <a:pt x="8844" y="664"/>
                </a:lnTo>
                <a:lnTo>
                  <a:pt x="8870" y="654"/>
                </a:lnTo>
                <a:lnTo>
                  <a:pt x="8878" y="648"/>
                </a:lnTo>
                <a:lnTo>
                  <a:pt x="8886" y="642"/>
                </a:lnTo>
                <a:lnTo>
                  <a:pt x="8890" y="638"/>
                </a:lnTo>
                <a:lnTo>
                  <a:pt x="8892" y="632"/>
                </a:lnTo>
                <a:lnTo>
                  <a:pt x="8890" y="628"/>
                </a:lnTo>
                <a:lnTo>
                  <a:pt x="8888" y="622"/>
                </a:lnTo>
                <a:lnTo>
                  <a:pt x="8884" y="618"/>
                </a:lnTo>
                <a:lnTo>
                  <a:pt x="8878" y="614"/>
                </a:lnTo>
                <a:lnTo>
                  <a:pt x="8862" y="608"/>
                </a:lnTo>
                <a:lnTo>
                  <a:pt x="8842" y="606"/>
                </a:lnTo>
                <a:lnTo>
                  <a:pt x="8820" y="606"/>
                </a:lnTo>
                <a:lnTo>
                  <a:pt x="8798" y="610"/>
                </a:lnTo>
                <a:lnTo>
                  <a:pt x="8768" y="622"/>
                </a:lnTo>
                <a:lnTo>
                  <a:pt x="8762" y="624"/>
                </a:lnTo>
                <a:lnTo>
                  <a:pt x="8758" y="628"/>
                </a:lnTo>
                <a:lnTo>
                  <a:pt x="8756" y="630"/>
                </a:lnTo>
                <a:lnTo>
                  <a:pt x="8754" y="634"/>
                </a:lnTo>
                <a:lnTo>
                  <a:pt x="8746" y="638"/>
                </a:lnTo>
                <a:lnTo>
                  <a:pt x="8732" y="642"/>
                </a:lnTo>
                <a:lnTo>
                  <a:pt x="8708" y="650"/>
                </a:lnTo>
                <a:lnTo>
                  <a:pt x="8698" y="650"/>
                </a:lnTo>
                <a:lnTo>
                  <a:pt x="8686" y="652"/>
                </a:lnTo>
                <a:lnTo>
                  <a:pt x="8658" y="660"/>
                </a:lnTo>
                <a:close/>
                <a:moveTo>
                  <a:pt x="7934" y="316"/>
                </a:moveTo>
                <a:lnTo>
                  <a:pt x="7934" y="316"/>
                </a:lnTo>
                <a:lnTo>
                  <a:pt x="7942" y="318"/>
                </a:lnTo>
                <a:lnTo>
                  <a:pt x="7950" y="314"/>
                </a:lnTo>
                <a:lnTo>
                  <a:pt x="7954" y="314"/>
                </a:lnTo>
                <a:lnTo>
                  <a:pt x="7958" y="316"/>
                </a:lnTo>
                <a:lnTo>
                  <a:pt x="7964" y="320"/>
                </a:lnTo>
                <a:lnTo>
                  <a:pt x="7968" y="322"/>
                </a:lnTo>
                <a:lnTo>
                  <a:pt x="7974" y="322"/>
                </a:lnTo>
                <a:lnTo>
                  <a:pt x="7980" y="322"/>
                </a:lnTo>
                <a:lnTo>
                  <a:pt x="7990" y="318"/>
                </a:lnTo>
                <a:lnTo>
                  <a:pt x="8006" y="310"/>
                </a:lnTo>
                <a:lnTo>
                  <a:pt x="8018" y="304"/>
                </a:lnTo>
                <a:lnTo>
                  <a:pt x="8022" y="302"/>
                </a:lnTo>
                <a:lnTo>
                  <a:pt x="8028" y="300"/>
                </a:lnTo>
                <a:lnTo>
                  <a:pt x="8036" y="302"/>
                </a:lnTo>
                <a:lnTo>
                  <a:pt x="8046" y="304"/>
                </a:lnTo>
                <a:lnTo>
                  <a:pt x="8056" y="308"/>
                </a:lnTo>
                <a:lnTo>
                  <a:pt x="8064" y="308"/>
                </a:lnTo>
                <a:lnTo>
                  <a:pt x="8070" y="308"/>
                </a:lnTo>
                <a:lnTo>
                  <a:pt x="8072" y="306"/>
                </a:lnTo>
                <a:lnTo>
                  <a:pt x="8070" y="302"/>
                </a:lnTo>
                <a:lnTo>
                  <a:pt x="8064" y="298"/>
                </a:lnTo>
                <a:lnTo>
                  <a:pt x="8054" y="294"/>
                </a:lnTo>
                <a:lnTo>
                  <a:pt x="8038" y="290"/>
                </a:lnTo>
                <a:lnTo>
                  <a:pt x="8014" y="286"/>
                </a:lnTo>
                <a:lnTo>
                  <a:pt x="8010" y="286"/>
                </a:lnTo>
                <a:lnTo>
                  <a:pt x="8008" y="288"/>
                </a:lnTo>
                <a:lnTo>
                  <a:pt x="8006" y="290"/>
                </a:lnTo>
                <a:lnTo>
                  <a:pt x="8002" y="294"/>
                </a:lnTo>
                <a:lnTo>
                  <a:pt x="7996" y="296"/>
                </a:lnTo>
                <a:lnTo>
                  <a:pt x="7984" y="300"/>
                </a:lnTo>
                <a:lnTo>
                  <a:pt x="7954" y="304"/>
                </a:lnTo>
                <a:lnTo>
                  <a:pt x="7930" y="308"/>
                </a:lnTo>
                <a:lnTo>
                  <a:pt x="7924" y="310"/>
                </a:lnTo>
                <a:lnTo>
                  <a:pt x="7920" y="312"/>
                </a:lnTo>
                <a:lnTo>
                  <a:pt x="7924" y="314"/>
                </a:lnTo>
                <a:lnTo>
                  <a:pt x="7934" y="316"/>
                </a:lnTo>
                <a:close/>
                <a:moveTo>
                  <a:pt x="8090" y="300"/>
                </a:moveTo>
                <a:lnTo>
                  <a:pt x="8090" y="300"/>
                </a:lnTo>
                <a:lnTo>
                  <a:pt x="8098" y="306"/>
                </a:lnTo>
                <a:lnTo>
                  <a:pt x="8100" y="308"/>
                </a:lnTo>
                <a:lnTo>
                  <a:pt x="8098" y="310"/>
                </a:lnTo>
                <a:lnTo>
                  <a:pt x="8096" y="312"/>
                </a:lnTo>
                <a:lnTo>
                  <a:pt x="8090" y="314"/>
                </a:lnTo>
                <a:lnTo>
                  <a:pt x="8068" y="316"/>
                </a:lnTo>
                <a:lnTo>
                  <a:pt x="8042" y="316"/>
                </a:lnTo>
                <a:lnTo>
                  <a:pt x="8024" y="318"/>
                </a:lnTo>
                <a:lnTo>
                  <a:pt x="8020" y="318"/>
                </a:lnTo>
                <a:lnTo>
                  <a:pt x="8020" y="320"/>
                </a:lnTo>
                <a:lnTo>
                  <a:pt x="8022" y="322"/>
                </a:lnTo>
                <a:lnTo>
                  <a:pt x="8028" y="326"/>
                </a:lnTo>
                <a:lnTo>
                  <a:pt x="8036" y="332"/>
                </a:lnTo>
                <a:lnTo>
                  <a:pt x="8034" y="332"/>
                </a:lnTo>
                <a:lnTo>
                  <a:pt x="8032" y="334"/>
                </a:lnTo>
                <a:lnTo>
                  <a:pt x="8012" y="332"/>
                </a:lnTo>
                <a:lnTo>
                  <a:pt x="8000" y="330"/>
                </a:lnTo>
                <a:lnTo>
                  <a:pt x="7988" y="332"/>
                </a:lnTo>
                <a:lnTo>
                  <a:pt x="7986" y="332"/>
                </a:lnTo>
                <a:lnTo>
                  <a:pt x="7986" y="334"/>
                </a:lnTo>
                <a:lnTo>
                  <a:pt x="7988" y="338"/>
                </a:lnTo>
                <a:lnTo>
                  <a:pt x="7998" y="344"/>
                </a:lnTo>
                <a:lnTo>
                  <a:pt x="8006" y="346"/>
                </a:lnTo>
                <a:lnTo>
                  <a:pt x="8010" y="346"/>
                </a:lnTo>
                <a:lnTo>
                  <a:pt x="8016" y="344"/>
                </a:lnTo>
                <a:lnTo>
                  <a:pt x="8028" y="340"/>
                </a:lnTo>
                <a:lnTo>
                  <a:pt x="8034" y="338"/>
                </a:lnTo>
                <a:lnTo>
                  <a:pt x="8036" y="340"/>
                </a:lnTo>
                <a:lnTo>
                  <a:pt x="8034" y="346"/>
                </a:lnTo>
                <a:lnTo>
                  <a:pt x="8034" y="350"/>
                </a:lnTo>
                <a:lnTo>
                  <a:pt x="8034" y="352"/>
                </a:lnTo>
                <a:lnTo>
                  <a:pt x="8038" y="352"/>
                </a:lnTo>
                <a:lnTo>
                  <a:pt x="8048" y="350"/>
                </a:lnTo>
                <a:lnTo>
                  <a:pt x="8058" y="346"/>
                </a:lnTo>
                <a:lnTo>
                  <a:pt x="8064" y="346"/>
                </a:lnTo>
                <a:lnTo>
                  <a:pt x="8074" y="348"/>
                </a:lnTo>
                <a:lnTo>
                  <a:pt x="8078" y="350"/>
                </a:lnTo>
                <a:lnTo>
                  <a:pt x="8082" y="348"/>
                </a:lnTo>
                <a:lnTo>
                  <a:pt x="8086" y="346"/>
                </a:lnTo>
                <a:lnTo>
                  <a:pt x="8088" y="344"/>
                </a:lnTo>
                <a:lnTo>
                  <a:pt x="8088" y="342"/>
                </a:lnTo>
                <a:lnTo>
                  <a:pt x="8080" y="340"/>
                </a:lnTo>
                <a:lnTo>
                  <a:pt x="8072" y="336"/>
                </a:lnTo>
                <a:lnTo>
                  <a:pt x="8074" y="332"/>
                </a:lnTo>
                <a:lnTo>
                  <a:pt x="8084" y="330"/>
                </a:lnTo>
                <a:lnTo>
                  <a:pt x="8094" y="328"/>
                </a:lnTo>
                <a:lnTo>
                  <a:pt x="8104" y="328"/>
                </a:lnTo>
                <a:lnTo>
                  <a:pt x="8108" y="326"/>
                </a:lnTo>
                <a:lnTo>
                  <a:pt x="8114" y="322"/>
                </a:lnTo>
                <a:lnTo>
                  <a:pt x="8118" y="320"/>
                </a:lnTo>
                <a:lnTo>
                  <a:pt x="8124" y="318"/>
                </a:lnTo>
                <a:lnTo>
                  <a:pt x="8134" y="318"/>
                </a:lnTo>
                <a:lnTo>
                  <a:pt x="8150" y="316"/>
                </a:lnTo>
                <a:lnTo>
                  <a:pt x="8174" y="314"/>
                </a:lnTo>
                <a:lnTo>
                  <a:pt x="8186" y="310"/>
                </a:lnTo>
                <a:lnTo>
                  <a:pt x="8192" y="308"/>
                </a:lnTo>
                <a:lnTo>
                  <a:pt x="8194" y="304"/>
                </a:lnTo>
                <a:lnTo>
                  <a:pt x="8192" y="300"/>
                </a:lnTo>
                <a:lnTo>
                  <a:pt x="8188" y="298"/>
                </a:lnTo>
                <a:lnTo>
                  <a:pt x="8180" y="296"/>
                </a:lnTo>
                <a:lnTo>
                  <a:pt x="8170" y="296"/>
                </a:lnTo>
                <a:lnTo>
                  <a:pt x="8158" y="296"/>
                </a:lnTo>
                <a:lnTo>
                  <a:pt x="8146" y="298"/>
                </a:lnTo>
                <a:lnTo>
                  <a:pt x="8146" y="296"/>
                </a:lnTo>
                <a:lnTo>
                  <a:pt x="8148" y="294"/>
                </a:lnTo>
                <a:lnTo>
                  <a:pt x="8150" y="292"/>
                </a:lnTo>
                <a:lnTo>
                  <a:pt x="8150" y="290"/>
                </a:lnTo>
                <a:lnTo>
                  <a:pt x="8148" y="288"/>
                </a:lnTo>
                <a:lnTo>
                  <a:pt x="8138" y="288"/>
                </a:lnTo>
                <a:lnTo>
                  <a:pt x="8116" y="286"/>
                </a:lnTo>
                <a:lnTo>
                  <a:pt x="8098" y="290"/>
                </a:lnTo>
                <a:lnTo>
                  <a:pt x="8092" y="292"/>
                </a:lnTo>
                <a:lnTo>
                  <a:pt x="8088" y="294"/>
                </a:lnTo>
                <a:lnTo>
                  <a:pt x="8086" y="298"/>
                </a:lnTo>
                <a:lnTo>
                  <a:pt x="8090" y="300"/>
                </a:lnTo>
                <a:close/>
                <a:moveTo>
                  <a:pt x="8270" y="334"/>
                </a:moveTo>
                <a:lnTo>
                  <a:pt x="8270" y="334"/>
                </a:lnTo>
                <a:lnTo>
                  <a:pt x="8260" y="326"/>
                </a:lnTo>
                <a:lnTo>
                  <a:pt x="8256" y="324"/>
                </a:lnTo>
                <a:lnTo>
                  <a:pt x="8252" y="324"/>
                </a:lnTo>
                <a:lnTo>
                  <a:pt x="8240" y="326"/>
                </a:lnTo>
                <a:lnTo>
                  <a:pt x="8220" y="336"/>
                </a:lnTo>
                <a:lnTo>
                  <a:pt x="8216" y="338"/>
                </a:lnTo>
                <a:lnTo>
                  <a:pt x="8216" y="340"/>
                </a:lnTo>
                <a:lnTo>
                  <a:pt x="8220" y="342"/>
                </a:lnTo>
                <a:lnTo>
                  <a:pt x="8230" y="346"/>
                </a:lnTo>
                <a:lnTo>
                  <a:pt x="8244" y="346"/>
                </a:lnTo>
                <a:lnTo>
                  <a:pt x="8258" y="348"/>
                </a:lnTo>
                <a:lnTo>
                  <a:pt x="8270" y="346"/>
                </a:lnTo>
                <a:lnTo>
                  <a:pt x="8272" y="344"/>
                </a:lnTo>
                <a:lnTo>
                  <a:pt x="8274" y="342"/>
                </a:lnTo>
                <a:lnTo>
                  <a:pt x="8274" y="338"/>
                </a:lnTo>
                <a:lnTo>
                  <a:pt x="8270" y="334"/>
                </a:lnTo>
                <a:close/>
                <a:moveTo>
                  <a:pt x="8160" y="268"/>
                </a:moveTo>
                <a:lnTo>
                  <a:pt x="8160" y="268"/>
                </a:lnTo>
                <a:lnTo>
                  <a:pt x="8164" y="266"/>
                </a:lnTo>
                <a:lnTo>
                  <a:pt x="8166" y="264"/>
                </a:lnTo>
                <a:lnTo>
                  <a:pt x="8164" y="260"/>
                </a:lnTo>
                <a:lnTo>
                  <a:pt x="8162" y="260"/>
                </a:lnTo>
                <a:lnTo>
                  <a:pt x="8156" y="258"/>
                </a:lnTo>
                <a:lnTo>
                  <a:pt x="8152" y="260"/>
                </a:lnTo>
                <a:lnTo>
                  <a:pt x="8146" y="262"/>
                </a:lnTo>
                <a:lnTo>
                  <a:pt x="8140" y="266"/>
                </a:lnTo>
                <a:lnTo>
                  <a:pt x="8134" y="272"/>
                </a:lnTo>
                <a:lnTo>
                  <a:pt x="8132" y="276"/>
                </a:lnTo>
                <a:lnTo>
                  <a:pt x="8136" y="278"/>
                </a:lnTo>
                <a:lnTo>
                  <a:pt x="8146" y="274"/>
                </a:lnTo>
                <a:lnTo>
                  <a:pt x="8160" y="268"/>
                </a:lnTo>
                <a:close/>
                <a:moveTo>
                  <a:pt x="8684" y="298"/>
                </a:moveTo>
                <a:lnTo>
                  <a:pt x="8684" y="298"/>
                </a:lnTo>
                <a:lnTo>
                  <a:pt x="8710" y="294"/>
                </a:lnTo>
                <a:lnTo>
                  <a:pt x="8730" y="292"/>
                </a:lnTo>
                <a:lnTo>
                  <a:pt x="8738" y="290"/>
                </a:lnTo>
                <a:lnTo>
                  <a:pt x="8742" y="288"/>
                </a:lnTo>
                <a:lnTo>
                  <a:pt x="8746" y="282"/>
                </a:lnTo>
                <a:lnTo>
                  <a:pt x="8746" y="276"/>
                </a:lnTo>
                <a:lnTo>
                  <a:pt x="8744" y="270"/>
                </a:lnTo>
                <a:lnTo>
                  <a:pt x="8740" y="264"/>
                </a:lnTo>
                <a:lnTo>
                  <a:pt x="8734" y="262"/>
                </a:lnTo>
                <a:lnTo>
                  <a:pt x="8726" y="258"/>
                </a:lnTo>
                <a:lnTo>
                  <a:pt x="8716" y="258"/>
                </a:lnTo>
                <a:lnTo>
                  <a:pt x="8708" y="260"/>
                </a:lnTo>
                <a:lnTo>
                  <a:pt x="8700" y="262"/>
                </a:lnTo>
                <a:lnTo>
                  <a:pt x="8694" y="266"/>
                </a:lnTo>
                <a:lnTo>
                  <a:pt x="8688" y="270"/>
                </a:lnTo>
                <a:lnTo>
                  <a:pt x="8684" y="272"/>
                </a:lnTo>
                <a:lnTo>
                  <a:pt x="8672" y="272"/>
                </a:lnTo>
                <a:lnTo>
                  <a:pt x="8656" y="276"/>
                </a:lnTo>
                <a:lnTo>
                  <a:pt x="8648" y="278"/>
                </a:lnTo>
                <a:lnTo>
                  <a:pt x="8636" y="286"/>
                </a:lnTo>
                <a:lnTo>
                  <a:pt x="8630" y="290"/>
                </a:lnTo>
                <a:lnTo>
                  <a:pt x="8628" y="294"/>
                </a:lnTo>
                <a:lnTo>
                  <a:pt x="8630" y="298"/>
                </a:lnTo>
                <a:lnTo>
                  <a:pt x="8636" y="300"/>
                </a:lnTo>
                <a:lnTo>
                  <a:pt x="8646" y="302"/>
                </a:lnTo>
                <a:lnTo>
                  <a:pt x="8656" y="302"/>
                </a:lnTo>
                <a:lnTo>
                  <a:pt x="8684" y="298"/>
                </a:lnTo>
                <a:close/>
                <a:moveTo>
                  <a:pt x="8680" y="222"/>
                </a:moveTo>
                <a:lnTo>
                  <a:pt x="8680" y="222"/>
                </a:lnTo>
                <a:lnTo>
                  <a:pt x="8680" y="220"/>
                </a:lnTo>
                <a:lnTo>
                  <a:pt x="8680" y="218"/>
                </a:lnTo>
                <a:lnTo>
                  <a:pt x="8676" y="214"/>
                </a:lnTo>
                <a:lnTo>
                  <a:pt x="8670" y="212"/>
                </a:lnTo>
                <a:lnTo>
                  <a:pt x="8660" y="212"/>
                </a:lnTo>
                <a:lnTo>
                  <a:pt x="8636" y="212"/>
                </a:lnTo>
                <a:lnTo>
                  <a:pt x="8626" y="214"/>
                </a:lnTo>
                <a:lnTo>
                  <a:pt x="8616" y="216"/>
                </a:lnTo>
                <a:lnTo>
                  <a:pt x="8614" y="218"/>
                </a:lnTo>
                <a:lnTo>
                  <a:pt x="8616" y="220"/>
                </a:lnTo>
                <a:lnTo>
                  <a:pt x="8620" y="222"/>
                </a:lnTo>
                <a:lnTo>
                  <a:pt x="8638" y="226"/>
                </a:lnTo>
                <a:lnTo>
                  <a:pt x="8662" y="226"/>
                </a:lnTo>
                <a:lnTo>
                  <a:pt x="8672" y="224"/>
                </a:lnTo>
                <a:lnTo>
                  <a:pt x="8680" y="222"/>
                </a:lnTo>
                <a:close/>
                <a:moveTo>
                  <a:pt x="8502" y="208"/>
                </a:moveTo>
                <a:lnTo>
                  <a:pt x="8502" y="208"/>
                </a:lnTo>
                <a:lnTo>
                  <a:pt x="8502" y="206"/>
                </a:lnTo>
                <a:lnTo>
                  <a:pt x="8500" y="206"/>
                </a:lnTo>
                <a:lnTo>
                  <a:pt x="8496" y="202"/>
                </a:lnTo>
                <a:lnTo>
                  <a:pt x="8476" y="200"/>
                </a:lnTo>
                <a:lnTo>
                  <a:pt x="8464" y="200"/>
                </a:lnTo>
                <a:lnTo>
                  <a:pt x="8454" y="202"/>
                </a:lnTo>
                <a:lnTo>
                  <a:pt x="8446" y="204"/>
                </a:lnTo>
                <a:lnTo>
                  <a:pt x="8442" y="208"/>
                </a:lnTo>
                <a:lnTo>
                  <a:pt x="8442" y="212"/>
                </a:lnTo>
                <a:lnTo>
                  <a:pt x="8442" y="214"/>
                </a:lnTo>
                <a:lnTo>
                  <a:pt x="8448" y="216"/>
                </a:lnTo>
                <a:lnTo>
                  <a:pt x="8456" y="218"/>
                </a:lnTo>
                <a:lnTo>
                  <a:pt x="8468" y="218"/>
                </a:lnTo>
                <a:lnTo>
                  <a:pt x="8490" y="214"/>
                </a:lnTo>
                <a:lnTo>
                  <a:pt x="8498" y="212"/>
                </a:lnTo>
                <a:lnTo>
                  <a:pt x="8502" y="208"/>
                </a:lnTo>
                <a:close/>
                <a:moveTo>
                  <a:pt x="8566" y="284"/>
                </a:moveTo>
                <a:lnTo>
                  <a:pt x="8566" y="284"/>
                </a:lnTo>
                <a:lnTo>
                  <a:pt x="8576" y="282"/>
                </a:lnTo>
                <a:lnTo>
                  <a:pt x="8586" y="278"/>
                </a:lnTo>
                <a:lnTo>
                  <a:pt x="8592" y="274"/>
                </a:lnTo>
                <a:lnTo>
                  <a:pt x="8598" y="268"/>
                </a:lnTo>
                <a:lnTo>
                  <a:pt x="8598" y="266"/>
                </a:lnTo>
                <a:lnTo>
                  <a:pt x="8592" y="264"/>
                </a:lnTo>
                <a:lnTo>
                  <a:pt x="8580" y="264"/>
                </a:lnTo>
                <a:lnTo>
                  <a:pt x="8558" y="268"/>
                </a:lnTo>
                <a:lnTo>
                  <a:pt x="8544" y="272"/>
                </a:lnTo>
                <a:lnTo>
                  <a:pt x="8534" y="276"/>
                </a:lnTo>
                <a:lnTo>
                  <a:pt x="8532" y="278"/>
                </a:lnTo>
                <a:lnTo>
                  <a:pt x="8534" y="280"/>
                </a:lnTo>
                <a:lnTo>
                  <a:pt x="8548" y="284"/>
                </a:lnTo>
                <a:lnTo>
                  <a:pt x="8566" y="284"/>
                </a:lnTo>
                <a:close/>
                <a:moveTo>
                  <a:pt x="8560" y="322"/>
                </a:moveTo>
                <a:lnTo>
                  <a:pt x="8560" y="322"/>
                </a:lnTo>
                <a:lnTo>
                  <a:pt x="8570" y="324"/>
                </a:lnTo>
                <a:lnTo>
                  <a:pt x="8578" y="324"/>
                </a:lnTo>
                <a:lnTo>
                  <a:pt x="8582" y="322"/>
                </a:lnTo>
                <a:lnTo>
                  <a:pt x="8586" y="320"/>
                </a:lnTo>
                <a:lnTo>
                  <a:pt x="8594" y="314"/>
                </a:lnTo>
                <a:lnTo>
                  <a:pt x="8600" y="312"/>
                </a:lnTo>
                <a:lnTo>
                  <a:pt x="8606" y="312"/>
                </a:lnTo>
                <a:lnTo>
                  <a:pt x="8614" y="310"/>
                </a:lnTo>
                <a:lnTo>
                  <a:pt x="8618" y="306"/>
                </a:lnTo>
                <a:lnTo>
                  <a:pt x="8618" y="300"/>
                </a:lnTo>
                <a:lnTo>
                  <a:pt x="8618" y="292"/>
                </a:lnTo>
                <a:lnTo>
                  <a:pt x="8612" y="288"/>
                </a:lnTo>
                <a:lnTo>
                  <a:pt x="8604" y="284"/>
                </a:lnTo>
                <a:lnTo>
                  <a:pt x="8592" y="284"/>
                </a:lnTo>
                <a:lnTo>
                  <a:pt x="8576" y="288"/>
                </a:lnTo>
                <a:lnTo>
                  <a:pt x="8558" y="292"/>
                </a:lnTo>
                <a:lnTo>
                  <a:pt x="8544" y="294"/>
                </a:lnTo>
                <a:lnTo>
                  <a:pt x="8532" y="292"/>
                </a:lnTo>
                <a:lnTo>
                  <a:pt x="8522" y="290"/>
                </a:lnTo>
                <a:lnTo>
                  <a:pt x="8514" y="288"/>
                </a:lnTo>
                <a:lnTo>
                  <a:pt x="8508" y="290"/>
                </a:lnTo>
                <a:lnTo>
                  <a:pt x="8502" y="294"/>
                </a:lnTo>
                <a:lnTo>
                  <a:pt x="8496" y="304"/>
                </a:lnTo>
                <a:lnTo>
                  <a:pt x="8494" y="314"/>
                </a:lnTo>
                <a:lnTo>
                  <a:pt x="8494" y="318"/>
                </a:lnTo>
                <a:lnTo>
                  <a:pt x="8496" y="320"/>
                </a:lnTo>
                <a:lnTo>
                  <a:pt x="8502" y="324"/>
                </a:lnTo>
                <a:lnTo>
                  <a:pt x="8512" y="324"/>
                </a:lnTo>
                <a:lnTo>
                  <a:pt x="8534" y="320"/>
                </a:lnTo>
                <a:lnTo>
                  <a:pt x="8548" y="320"/>
                </a:lnTo>
                <a:lnTo>
                  <a:pt x="8560" y="322"/>
                </a:lnTo>
                <a:close/>
                <a:moveTo>
                  <a:pt x="8116" y="340"/>
                </a:moveTo>
                <a:lnTo>
                  <a:pt x="8116" y="340"/>
                </a:lnTo>
                <a:lnTo>
                  <a:pt x="8110" y="342"/>
                </a:lnTo>
                <a:lnTo>
                  <a:pt x="8108" y="346"/>
                </a:lnTo>
                <a:lnTo>
                  <a:pt x="8108" y="350"/>
                </a:lnTo>
                <a:lnTo>
                  <a:pt x="8108" y="352"/>
                </a:lnTo>
                <a:lnTo>
                  <a:pt x="8112" y="354"/>
                </a:lnTo>
                <a:lnTo>
                  <a:pt x="8116" y="356"/>
                </a:lnTo>
                <a:lnTo>
                  <a:pt x="8120" y="356"/>
                </a:lnTo>
                <a:lnTo>
                  <a:pt x="8126" y="354"/>
                </a:lnTo>
                <a:lnTo>
                  <a:pt x="8134" y="346"/>
                </a:lnTo>
                <a:lnTo>
                  <a:pt x="8136" y="344"/>
                </a:lnTo>
                <a:lnTo>
                  <a:pt x="8136" y="340"/>
                </a:lnTo>
                <a:lnTo>
                  <a:pt x="8134" y="338"/>
                </a:lnTo>
                <a:lnTo>
                  <a:pt x="8130" y="338"/>
                </a:lnTo>
                <a:lnTo>
                  <a:pt x="8116" y="340"/>
                </a:lnTo>
                <a:close/>
                <a:moveTo>
                  <a:pt x="8170" y="368"/>
                </a:moveTo>
                <a:lnTo>
                  <a:pt x="8170" y="368"/>
                </a:lnTo>
                <a:lnTo>
                  <a:pt x="8178" y="366"/>
                </a:lnTo>
                <a:lnTo>
                  <a:pt x="8182" y="364"/>
                </a:lnTo>
                <a:lnTo>
                  <a:pt x="8180" y="360"/>
                </a:lnTo>
                <a:lnTo>
                  <a:pt x="8176" y="356"/>
                </a:lnTo>
                <a:lnTo>
                  <a:pt x="8168" y="354"/>
                </a:lnTo>
                <a:lnTo>
                  <a:pt x="8158" y="352"/>
                </a:lnTo>
                <a:lnTo>
                  <a:pt x="8148" y="352"/>
                </a:lnTo>
                <a:lnTo>
                  <a:pt x="8138" y="356"/>
                </a:lnTo>
                <a:lnTo>
                  <a:pt x="8132" y="360"/>
                </a:lnTo>
                <a:lnTo>
                  <a:pt x="8128" y="362"/>
                </a:lnTo>
                <a:lnTo>
                  <a:pt x="8130" y="364"/>
                </a:lnTo>
                <a:lnTo>
                  <a:pt x="8134" y="366"/>
                </a:lnTo>
                <a:lnTo>
                  <a:pt x="8148" y="366"/>
                </a:lnTo>
                <a:lnTo>
                  <a:pt x="8170" y="368"/>
                </a:lnTo>
                <a:close/>
                <a:moveTo>
                  <a:pt x="8394" y="332"/>
                </a:moveTo>
                <a:lnTo>
                  <a:pt x="8394" y="332"/>
                </a:lnTo>
                <a:lnTo>
                  <a:pt x="8382" y="332"/>
                </a:lnTo>
                <a:lnTo>
                  <a:pt x="8370" y="332"/>
                </a:lnTo>
                <a:lnTo>
                  <a:pt x="8366" y="332"/>
                </a:lnTo>
                <a:lnTo>
                  <a:pt x="8360" y="336"/>
                </a:lnTo>
                <a:lnTo>
                  <a:pt x="8358" y="340"/>
                </a:lnTo>
                <a:lnTo>
                  <a:pt x="8354" y="346"/>
                </a:lnTo>
                <a:lnTo>
                  <a:pt x="8354" y="352"/>
                </a:lnTo>
                <a:lnTo>
                  <a:pt x="8356" y="356"/>
                </a:lnTo>
                <a:lnTo>
                  <a:pt x="8360" y="358"/>
                </a:lnTo>
                <a:lnTo>
                  <a:pt x="8366" y="358"/>
                </a:lnTo>
                <a:lnTo>
                  <a:pt x="8382" y="356"/>
                </a:lnTo>
                <a:lnTo>
                  <a:pt x="8400" y="356"/>
                </a:lnTo>
                <a:lnTo>
                  <a:pt x="8408" y="356"/>
                </a:lnTo>
                <a:lnTo>
                  <a:pt x="8412" y="354"/>
                </a:lnTo>
                <a:lnTo>
                  <a:pt x="8414" y="348"/>
                </a:lnTo>
                <a:lnTo>
                  <a:pt x="8412" y="344"/>
                </a:lnTo>
                <a:lnTo>
                  <a:pt x="8410" y="338"/>
                </a:lnTo>
                <a:lnTo>
                  <a:pt x="8406" y="334"/>
                </a:lnTo>
                <a:lnTo>
                  <a:pt x="8400" y="332"/>
                </a:lnTo>
                <a:lnTo>
                  <a:pt x="8394" y="332"/>
                </a:lnTo>
                <a:close/>
                <a:moveTo>
                  <a:pt x="8414" y="336"/>
                </a:moveTo>
                <a:lnTo>
                  <a:pt x="8414" y="336"/>
                </a:lnTo>
                <a:lnTo>
                  <a:pt x="8420" y="344"/>
                </a:lnTo>
                <a:lnTo>
                  <a:pt x="8428" y="348"/>
                </a:lnTo>
                <a:lnTo>
                  <a:pt x="8440" y="352"/>
                </a:lnTo>
                <a:lnTo>
                  <a:pt x="8446" y="354"/>
                </a:lnTo>
                <a:lnTo>
                  <a:pt x="8450" y="352"/>
                </a:lnTo>
                <a:lnTo>
                  <a:pt x="8452" y="350"/>
                </a:lnTo>
                <a:lnTo>
                  <a:pt x="8452" y="346"/>
                </a:lnTo>
                <a:lnTo>
                  <a:pt x="8454" y="342"/>
                </a:lnTo>
                <a:lnTo>
                  <a:pt x="8456" y="338"/>
                </a:lnTo>
                <a:lnTo>
                  <a:pt x="8462" y="336"/>
                </a:lnTo>
                <a:lnTo>
                  <a:pt x="8470" y="336"/>
                </a:lnTo>
                <a:lnTo>
                  <a:pt x="8488" y="334"/>
                </a:lnTo>
                <a:lnTo>
                  <a:pt x="8492" y="332"/>
                </a:lnTo>
                <a:lnTo>
                  <a:pt x="8494" y="330"/>
                </a:lnTo>
                <a:lnTo>
                  <a:pt x="8492" y="328"/>
                </a:lnTo>
                <a:lnTo>
                  <a:pt x="8488" y="326"/>
                </a:lnTo>
                <a:lnTo>
                  <a:pt x="8468" y="322"/>
                </a:lnTo>
                <a:lnTo>
                  <a:pt x="8444" y="320"/>
                </a:lnTo>
                <a:lnTo>
                  <a:pt x="8422" y="320"/>
                </a:lnTo>
                <a:lnTo>
                  <a:pt x="8414" y="322"/>
                </a:lnTo>
                <a:lnTo>
                  <a:pt x="8410" y="326"/>
                </a:lnTo>
                <a:lnTo>
                  <a:pt x="8410" y="330"/>
                </a:lnTo>
                <a:lnTo>
                  <a:pt x="8414" y="336"/>
                </a:lnTo>
                <a:close/>
                <a:moveTo>
                  <a:pt x="8486" y="354"/>
                </a:moveTo>
                <a:lnTo>
                  <a:pt x="8486" y="354"/>
                </a:lnTo>
                <a:lnTo>
                  <a:pt x="8476" y="356"/>
                </a:lnTo>
                <a:lnTo>
                  <a:pt x="8474" y="360"/>
                </a:lnTo>
                <a:lnTo>
                  <a:pt x="8476" y="362"/>
                </a:lnTo>
                <a:lnTo>
                  <a:pt x="8480" y="362"/>
                </a:lnTo>
                <a:lnTo>
                  <a:pt x="8498" y="364"/>
                </a:lnTo>
                <a:lnTo>
                  <a:pt x="8516" y="362"/>
                </a:lnTo>
                <a:lnTo>
                  <a:pt x="8524" y="362"/>
                </a:lnTo>
                <a:lnTo>
                  <a:pt x="8526" y="360"/>
                </a:lnTo>
                <a:lnTo>
                  <a:pt x="8524" y="356"/>
                </a:lnTo>
                <a:lnTo>
                  <a:pt x="8522" y="354"/>
                </a:lnTo>
                <a:lnTo>
                  <a:pt x="8506" y="352"/>
                </a:lnTo>
                <a:lnTo>
                  <a:pt x="8498" y="352"/>
                </a:lnTo>
                <a:lnTo>
                  <a:pt x="8488" y="352"/>
                </a:lnTo>
                <a:lnTo>
                  <a:pt x="8486" y="354"/>
                </a:lnTo>
                <a:close/>
                <a:moveTo>
                  <a:pt x="8458" y="244"/>
                </a:moveTo>
                <a:lnTo>
                  <a:pt x="8458" y="244"/>
                </a:lnTo>
                <a:lnTo>
                  <a:pt x="8468" y="244"/>
                </a:lnTo>
                <a:lnTo>
                  <a:pt x="8470" y="242"/>
                </a:lnTo>
                <a:lnTo>
                  <a:pt x="8468" y="242"/>
                </a:lnTo>
                <a:lnTo>
                  <a:pt x="8460" y="238"/>
                </a:lnTo>
                <a:lnTo>
                  <a:pt x="8444" y="232"/>
                </a:lnTo>
                <a:lnTo>
                  <a:pt x="8432" y="228"/>
                </a:lnTo>
                <a:lnTo>
                  <a:pt x="8424" y="228"/>
                </a:lnTo>
                <a:lnTo>
                  <a:pt x="8416" y="230"/>
                </a:lnTo>
                <a:lnTo>
                  <a:pt x="8406" y="234"/>
                </a:lnTo>
                <a:lnTo>
                  <a:pt x="8398" y="238"/>
                </a:lnTo>
                <a:lnTo>
                  <a:pt x="8396" y="240"/>
                </a:lnTo>
                <a:lnTo>
                  <a:pt x="8400" y="240"/>
                </a:lnTo>
                <a:lnTo>
                  <a:pt x="8408" y="240"/>
                </a:lnTo>
                <a:lnTo>
                  <a:pt x="8430" y="242"/>
                </a:lnTo>
                <a:lnTo>
                  <a:pt x="8458" y="244"/>
                </a:lnTo>
                <a:close/>
                <a:moveTo>
                  <a:pt x="8344" y="256"/>
                </a:moveTo>
                <a:lnTo>
                  <a:pt x="8344" y="256"/>
                </a:lnTo>
                <a:lnTo>
                  <a:pt x="8348" y="258"/>
                </a:lnTo>
                <a:lnTo>
                  <a:pt x="8352" y="258"/>
                </a:lnTo>
                <a:lnTo>
                  <a:pt x="8360" y="256"/>
                </a:lnTo>
                <a:lnTo>
                  <a:pt x="8368" y="256"/>
                </a:lnTo>
                <a:lnTo>
                  <a:pt x="8374" y="258"/>
                </a:lnTo>
                <a:lnTo>
                  <a:pt x="8380" y="260"/>
                </a:lnTo>
                <a:lnTo>
                  <a:pt x="8384" y="262"/>
                </a:lnTo>
                <a:lnTo>
                  <a:pt x="8388" y="262"/>
                </a:lnTo>
                <a:lnTo>
                  <a:pt x="8398" y="260"/>
                </a:lnTo>
                <a:lnTo>
                  <a:pt x="8412" y="256"/>
                </a:lnTo>
                <a:lnTo>
                  <a:pt x="8436" y="252"/>
                </a:lnTo>
                <a:lnTo>
                  <a:pt x="8440" y="252"/>
                </a:lnTo>
                <a:lnTo>
                  <a:pt x="8440" y="250"/>
                </a:lnTo>
                <a:lnTo>
                  <a:pt x="8428" y="248"/>
                </a:lnTo>
                <a:lnTo>
                  <a:pt x="8386" y="242"/>
                </a:lnTo>
                <a:lnTo>
                  <a:pt x="8380" y="242"/>
                </a:lnTo>
                <a:lnTo>
                  <a:pt x="8376" y="244"/>
                </a:lnTo>
                <a:lnTo>
                  <a:pt x="8376" y="246"/>
                </a:lnTo>
                <a:lnTo>
                  <a:pt x="8378" y="248"/>
                </a:lnTo>
                <a:lnTo>
                  <a:pt x="8382" y="252"/>
                </a:lnTo>
                <a:lnTo>
                  <a:pt x="8380" y="252"/>
                </a:lnTo>
                <a:lnTo>
                  <a:pt x="8376" y="252"/>
                </a:lnTo>
                <a:lnTo>
                  <a:pt x="8350" y="252"/>
                </a:lnTo>
                <a:lnTo>
                  <a:pt x="8342" y="254"/>
                </a:lnTo>
                <a:lnTo>
                  <a:pt x="8344" y="256"/>
                </a:lnTo>
                <a:close/>
                <a:moveTo>
                  <a:pt x="8442" y="270"/>
                </a:moveTo>
                <a:lnTo>
                  <a:pt x="8442" y="270"/>
                </a:lnTo>
                <a:lnTo>
                  <a:pt x="8442" y="272"/>
                </a:lnTo>
                <a:lnTo>
                  <a:pt x="8450" y="276"/>
                </a:lnTo>
                <a:lnTo>
                  <a:pt x="8462" y="278"/>
                </a:lnTo>
                <a:lnTo>
                  <a:pt x="8472" y="278"/>
                </a:lnTo>
                <a:lnTo>
                  <a:pt x="8474" y="278"/>
                </a:lnTo>
                <a:lnTo>
                  <a:pt x="8472" y="276"/>
                </a:lnTo>
                <a:lnTo>
                  <a:pt x="8464" y="270"/>
                </a:lnTo>
                <a:lnTo>
                  <a:pt x="8452" y="268"/>
                </a:lnTo>
                <a:lnTo>
                  <a:pt x="8446" y="268"/>
                </a:lnTo>
                <a:lnTo>
                  <a:pt x="8442" y="270"/>
                </a:lnTo>
                <a:close/>
                <a:moveTo>
                  <a:pt x="8478" y="296"/>
                </a:moveTo>
                <a:lnTo>
                  <a:pt x="8478" y="296"/>
                </a:lnTo>
                <a:lnTo>
                  <a:pt x="8484" y="294"/>
                </a:lnTo>
                <a:lnTo>
                  <a:pt x="8486" y="290"/>
                </a:lnTo>
                <a:lnTo>
                  <a:pt x="8486" y="288"/>
                </a:lnTo>
                <a:lnTo>
                  <a:pt x="8484" y="286"/>
                </a:lnTo>
                <a:lnTo>
                  <a:pt x="8480" y="286"/>
                </a:lnTo>
                <a:lnTo>
                  <a:pt x="8472" y="286"/>
                </a:lnTo>
                <a:lnTo>
                  <a:pt x="8462" y="286"/>
                </a:lnTo>
                <a:lnTo>
                  <a:pt x="8450" y="290"/>
                </a:lnTo>
                <a:lnTo>
                  <a:pt x="8444" y="292"/>
                </a:lnTo>
                <a:lnTo>
                  <a:pt x="8444" y="294"/>
                </a:lnTo>
                <a:lnTo>
                  <a:pt x="8450" y="294"/>
                </a:lnTo>
                <a:lnTo>
                  <a:pt x="8464" y="296"/>
                </a:lnTo>
                <a:lnTo>
                  <a:pt x="8478" y="296"/>
                </a:lnTo>
                <a:close/>
                <a:moveTo>
                  <a:pt x="8372" y="268"/>
                </a:moveTo>
                <a:lnTo>
                  <a:pt x="8372" y="268"/>
                </a:lnTo>
                <a:lnTo>
                  <a:pt x="8370" y="268"/>
                </a:lnTo>
                <a:lnTo>
                  <a:pt x="8372" y="270"/>
                </a:lnTo>
                <a:lnTo>
                  <a:pt x="8378" y="272"/>
                </a:lnTo>
                <a:lnTo>
                  <a:pt x="8388" y="274"/>
                </a:lnTo>
                <a:lnTo>
                  <a:pt x="8400" y="278"/>
                </a:lnTo>
                <a:lnTo>
                  <a:pt x="8416" y="284"/>
                </a:lnTo>
                <a:lnTo>
                  <a:pt x="8426" y="286"/>
                </a:lnTo>
                <a:lnTo>
                  <a:pt x="8444" y="286"/>
                </a:lnTo>
                <a:lnTo>
                  <a:pt x="8456" y="284"/>
                </a:lnTo>
                <a:lnTo>
                  <a:pt x="8458" y="284"/>
                </a:lnTo>
                <a:lnTo>
                  <a:pt x="8456" y="282"/>
                </a:lnTo>
                <a:lnTo>
                  <a:pt x="8432" y="276"/>
                </a:lnTo>
                <a:lnTo>
                  <a:pt x="8418" y="272"/>
                </a:lnTo>
                <a:lnTo>
                  <a:pt x="8400" y="268"/>
                </a:lnTo>
                <a:lnTo>
                  <a:pt x="8384" y="268"/>
                </a:lnTo>
                <a:lnTo>
                  <a:pt x="8372" y="268"/>
                </a:lnTo>
                <a:close/>
                <a:moveTo>
                  <a:pt x="8332" y="280"/>
                </a:moveTo>
                <a:lnTo>
                  <a:pt x="8332" y="280"/>
                </a:lnTo>
                <a:lnTo>
                  <a:pt x="8338" y="282"/>
                </a:lnTo>
                <a:lnTo>
                  <a:pt x="8344" y="284"/>
                </a:lnTo>
                <a:lnTo>
                  <a:pt x="8364" y="288"/>
                </a:lnTo>
                <a:lnTo>
                  <a:pt x="8390" y="294"/>
                </a:lnTo>
                <a:lnTo>
                  <a:pt x="8404" y="298"/>
                </a:lnTo>
                <a:lnTo>
                  <a:pt x="8412" y="302"/>
                </a:lnTo>
                <a:lnTo>
                  <a:pt x="8424" y="300"/>
                </a:lnTo>
                <a:lnTo>
                  <a:pt x="8432" y="296"/>
                </a:lnTo>
                <a:lnTo>
                  <a:pt x="8434" y="294"/>
                </a:lnTo>
                <a:lnTo>
                  <a:pt x="8432" y="294"/>
                </a:lnTo>
                <a:lnTo>
                  <a:pt x="8410" y="286"/>
                </a:lnTo>
                <a:lnTo>
                  <a:pt x="8380" y="276"/>
                </a:lnTo>
                <a:lnTo>
                  <a:pt x="8366" y="274"/>
                </a:lnTo>
                <a:lnTo>
                  <a:pt x="8354" y="274"/>
                </a:lnTo>
                <a:lnTo>
                  <a:pt x="8348" y="274"/>
                </a:lnTo>
                <a:lnTo>
                  <a:pt x="8340" y="274"/>
                </a:lnTo>
                <a:lnTo>
                  <a:pt x="8326" y="268"/>
                </a:lnTo>
                <a:lnTo>
                  <a:pt x="8320" y="266"/>
                </a:lnTo>
                <a:lnTo>
                  <a:pt x="8314" y="266"/>
                </a:lnTo>
                <a:lnTo>
                  <a:pt x="8308" y="268"/>
                </a:lnTo>
                <a:lnTo>
                  <a:pt x="8302" y="272"/>
                </a:lnTo>
                <a:lnTo>
                  <a:pt x="8300" y="274"/>
                </a:lnTo>
                <a:lnTo>
                  <a:pt x="8302" y="276"/>
                </a:lnTo>
                <a:lnTo>
                  <a:pt x="8308" y="278"/>
                </a:lnTo>
                <a:lnTo>
                  <a:pt x="8320" y="278"/>
                </a:lnTo>
                <a:lnTo>
                  <a:pt x="8332" y="280"/>
                </a:lnTo>
                <a:close/>
                <a:moveTo>
                  <a:pt x="8304" y="294"/>
                </a:moveTo>
                <a:lnTo>
                  <a:pt x="8304" y="294"/>
                </a:lnTo>
                <a:lnTo>
                  <a:pt x="8312" y="296"/>
                </a:lnTo>
                <a:lnTo>
                  <a:pt x="8316" y="298"/>
                </a:lnTo>
                <a:lnTo>
                  <a:pt x="8320" y="300"/>
                </a:lnTo>
                <a:lnTo>
                  <a:pt x="8328" y="298"/>
                </a:lnTo>
                <a:lnTo>
                  <a:pt x="8340" y="296"/>
                </a:lnTo>
                <a:lnTo>
                  <a:pt x="8352" y="296"/>
                </a:lnTo>
                <a:lnTo>
                  <a:pt x="8360" y="294"/>
                </a:lnTo>
                <a:lnTo>
                  <a:pt x="8358" y="294"/>
                </a:lnTo>
                <a:lnTo>
                  <a:pt x="8340" y="288"/>
                </a:lnTo>
                <a:lnTo>
                  <a:pt x="8330" y="286"/>
                </a:lnTo>
                <a:lnTo>
                  <a:pt x="8324" y="286"/>
                </a:lnTo>
                <a:lnTo>
                  <a:pt x="8320" y="288"/>
                </a:lnTo>
                <a:lnTo>
                  <a:pt x="8318" y="290"/>
                </a:lnTo>
                <a:lnTo>
                  <a:pt x="8312" y="290"/>
                </a:lnTo>
                <a:lnTo>
                  <a:pt x="8302" y="286"/>
                </a:lnTo>
                <a:lnTo>
                  <a:pt x="8292" y="286"/>
                </a:lnTo>
                <a:lnTo>
                  <a:pt x="8288" y="288"/>
                </a:lnTo>
                <a:lnTo>
                  <a:pt x="8284" y="292"/>
                </a:lnTo>
                <a:lnTo>
                  <a:pt x="8282" y="294"/>
                </a:lnTo>
                <a:lnTo>
                  <a:pt x="8286" y="294"/>
                </a:lnTo>
                <a:lnTo>
                  <a:pt x="8304" y="294"/>
                </a:lnTo>
                <a:close/>
                <a:moveTo>
                  <a:pt x="8370" y="298"/>
                </a:moveTo>
                <a:lnTo>
                  <a:pt x="8370" y="298"/>
                </a:lnTo>
                <a:lnTo>
                  <a:pt x="8350" y="300"/>
                </a:lnTo>
                <a:lnTo>
                  <a:pt x="8346" y="302"/>
                </a:lnTo>
                <a:lnTo>
                  <a:pt x="8350" y="306"/>
                </a:lnTo>
                <a:lnTo>
                  <a:pt x="8358" y="308"/>
                </a:lnTo>
                <a:lnTo>
                  <a:pt x="8372" y="308"/>
                </a:lnTo>
                <a:lnTo>
                  <a:pt x="8398" y="306"/>
                </a:lnTo>
                <a:lnTo>
                  <a:pt x="8402" y="304"/>
                </a:lnTo>
                <a:lnTo>
                  <a:pt x="8404" y="304"/>
                </a:lnTo>
                <a:lnTo>
                  <a:pt x="8398" y="300"/>
                </a:lnTo>
                <a:lnTo>
                  <a:pt x="8384" y="298"/>
                </a:lnTo>
                <a:lnTo>
                  <a:pt x="8370" y="298"/>
                </a:lnTo>
                <a:close/>
                <a:moveTo>
                  <a:pt x="8432" y="314"/>
                </a:moveTo>
                <a:lnTo>
                  <a:pt x="8432" y="314"/>
                </a:lnTo>
                <a:lnTo>
                  <a:pt x="8442" y="314"/>
                </a:lnTo>
                <a:lnTo>
                  <a:pt x="8446" y="314"/>
                </a:lnTo>
                <a:lnTo>
                  <a:pt x="8448" y="312"/>
                </a:lnTo>
                <a:lnTo>
                  <a:pt x="8448" y="310"/>
                </a:lnTo>
                <a:lnTo>
                  <a:pt x="8448" y="308"/>
                </a:lnTo>
                <a:lnTo>
                  <a:pt x="8442" y="306"/>
                </a:lnTo>
                <a:lnTo>
                  <a:pt x="8430" y="306"/>
                </a:lnTo>
                <a:lnTo>
                  <a:pt x="8420" y="308"/>
                </a:lnTo>
                <a:lnTo>
                  <a:pt x="8418" y="308"/>
                </a:lnTo>
                <a:lnTo>
                  <a:pt x="8420" y="310"/>
                </a:lnTo>
                <a:lnTo>
                  <a:pt x="8424" y="312"/>
                </a:lnTo>
                <a:lnTo>
                  <a:pt x="8432" y="314"/>
                </a:lnTo>
                <a:close/>
                <a:moveTo>
                  <a:pt x="8294" y="324"/>
                </a:moveTo>
                <a:lnTo>
                  <a:pt x="8294" y="324"/>
                </a:lnTo>
                <a:lnTo>
                  <a:pt x="8304" y="322"/>
                </a:lnTo>
                <a:lnTo>
                  <a:pt x="8304" y="320"/>
                </a:lnTo>
                <a:lnTo>
                  <a:pt x="8302" y="316"/>
                </a:lnTo>
                <a:lnTo>
                  <a:pt x="8296" y="312"/>
                </a:lnTo>
                <a:lnTo>
                  <a:pt x="8290" y="310"/>
                </a:lnTo>
                <a:lnTo>
                  <a:pt x="8284" y="308"/>
                </a:lnTo>
                <a:lnTo>
                  <a:pt x="8280" y="310"/>
                </a:lnTo>
                <a:lnTo>
                  <a:pt x="8278" y="312"/>
                </a:lnTo>
                <a:lnTo>
                  <a:pt x="8280" y="314"/>
                </a:lnTo>
                <a:lnTo>
                  <a:pt x="8282" y="314"/>
                </a:lnTo>
                <a:lnTo>
                  <a:pt x="8280" y="316"/>
                </a:lnTo>
                <a:lnTo>
                  <a:pt x="8278" y="320"/>
                </a:lnTo>
                <a:lnTo>
                  <a:pt x="8278" y="322"/>
                </a:lnTo>
                <a:lnTo>
                  <a:pt x="8280" y="322"/>
                </a:lnTo>
                <a:lnTo>
                  <a:pt x="8294" y="324"/>
                </a:lnTo>
                <a:close/>
                <a:moveTo>
                  <a:pt x="11820" y="2336"/>
                </a:moveTo>
                <a:lnTo>
                  <a:pt x="11820" y="2336"/>
                </a:lnTo>
                <a:lnTo>
                  <a:pt x="11820" y="2338"/>
                </a:lnTo>
                <a:lnTo>
                  <a:pt x="11824" y="2342"/>
                </a:lnTo>
                <a:lnTo>
                  <a:pt x="11830" y="2348"/>
                </a:lnTo>
                <a:lnTo>
                  <a:pt x="11838" y="2360"/>
                </a:lnTo>
                <a:lnTo>
                  <a:pt x="11840" y="2368"/>
                </a:lnTo>
                <a:lnTo>
                  <a:pt x="11840" y="2374"/>
                </a:lnTo>
                <a:lnTo>
                  <a:pt x="11838" y="2386"/>
                </a:lnTo>
                <a:lnTo>
                  <a:pt x="11832" y="2398"/>
                </a:lnTo>
                <a:lnTo>
                  <a:pt x="11832" y="2404"/>
                </a:lnTo>
                <a:lnTo>
                  <a:pt x="11834" y="2412"/>
                </a:lnTo>
                <a:lnTo>
                  <a:pt x="11836" y="2422"/>
                </a:lnTo>
                <a:lnTo>
                  <a:pt x="11836" y="2436"/>
                </a:lnTo>
                <a:lnTo>
                  <a:pt x="11836" y="2466"/>
                </a:lnTo>
                <a:lnTo>
                  <a:pt x="11832" y="2492"/>
                </a:lnTo>
                <a:lnTo>
                  <a:pt x="11828" y="2504"/>
                </a:lnTo>
                <a:lnTo>
                  <a:pt x="11826" y="2510"/>
                </a:lnTo>
                <a:lnTo>
                  <a:pt x="11824" y="2514"/>
                </a:lnTo>
                <a:lnTo>
                  <a:pt x="11826" y="2520"/>
                </a:lnTo>
                <a:lnTo>
                  <a:pt x="11832" y="2530"/>
                </a:lnTo>
                <a:lnTo>
                  <a:pt x="11834" y="2536"/>
                </a:lnTo>
                <a:lnTo>
                  <a:pt x="11836" y="2544"/>
                </a:lnTo>
                <a:lnTo>
                  <a:pt x="11836" y="2554"/>
                </a:lnTo>
                <a:lnTo>
                  <a:pt x="11830" y="2568"/>
                </a:lnTo>
                <a:lnTo>
                  <a:pt x="11828" y="2578"/>
                </a:lnTo>
                <a:lnTo>
                  <a:pt x="11828" y="2586"/>
                </a:lnTo>
                <a:lnTo>
                  <a:pt x="11830" y="2600"/>
                </a:lnTo>
                <a:lnTo>
                  <a:pt x="11832" y="2612"/>
                </a:lnTo>
                <a:lnTo>
                  <a:pt x="11832" y="2618"/>
                </a:lnTo>
                <a:lnTo>
                  <a:pt x="11830" y="2624"/>
                </a:lnTo>
                <a:lnTo>
                  <a:pt x="11824" y="2634"/>
                </a:lnTo>
                <a:lnTo>
                  <a:pt x="11822" y="2644"/>
                </a:lnTo>
                <a:lnTo>
                  <a:pt x="11824" y="2654"/>
                </a:lnTo>
                <a:lnTo>
                  <a:pt x="11828" y="2666"/>
                </a:lnTo>
                <a:lnTo>
                  <a:pt x="11830" y="2678"/>
                </a:lnTo>
                <a:lnTo>
                  <a:pt x="11832" y="2678"/>
                </a:lnTo>
                <a:lnTo>
                  <a:pt x="11834" y="2676"/>
                </a:lnTo>
                <a:lnTo>
                  <a:pt x="11838" y="2668"/>
                </a:lnTo>
                <a:lnTo>
                  <a:pt x="11842" y="2654"/>
                </a:lnTo>
                <a:lnTo>
                  <a:pt x="11846" y="2642"/>
                </a:lnTo>
                <a:lnTo>
                  <a:pt x="11852" y="2632"/>
                </a:lnTo>
                <a:lnTo>
                  <a:pt x="11854" y="2630"/>
                </a:lnTo>
                <a:lnTo>
                  <a:pt x="11856" y="2630"/>
                </a:lnTo>
                <a:lnTo>
                  <a:pt x="11860" y="2634"/>
                </a:lnTo>
                <a:lnTo>
                  <a:pt x="11864" y="2638"/>
                </a:lnTo>
                <a:lnTo>
                  <a:pt x="11868" y="2638"/>
                </a:lnTo>
                <a:lnTo>
                  <a:pt x="11874" y="2638"/>
                </a:lnTo>
                <a:lnTo>
                  <a:pt x="11880" y="2638"/>
                </a:lnTo>
                <a:lnTo>
                  <a:pt x="11882" y="2642"/>
                </a:lnTo>
                <a:lnTo>
                  <a:pt x="11884" y="2646"/>
                </a:lnTo>
                <a:lnTo>
                  <a:pt x="11886" y="2656"/>
                </a:lnTo>
                <a:lnTo>
                  <a:pt x="11888" y="2664"/>
                </a:lnTo>
                <a:lnTo>
                  <a:pt x="11888" y="2666"/>
                </a:lnTo>
                <a:lnTo>
                  <a:pt x="11890" y="2664"/>
                </a:lnTo>
                <a:lnTo>
                  <a:pt x="11894" y="2652"/>
                </a:lnTo>
                <a:lnTo>
                  <a:pt x="11894" y="2648"/>
                </a:lnTo>
                <a:lnTo>
                  <a:pt x="11892" y="2642"/>
                </a:lnTo>
                <a:lnTo>
                  <a:pt x="11892" y="2634"/>
                </a:lnTo>
                <a:lnTo>
                  <a:pt x="11892" y="2626"/>
                </a:lnTo>
                <a:lnTo>
                  <a:pt x="11890" y="2624"/>
                </a:lnTo>
                <a:lnTo>
                  <a:pt x="11888" y="2626"/>
                </a:lnTo>
                <a:lnTo>
                  <a:pt x="11882" y="2624"/>
                </a:lnTo>
                <a:lnTo>
                  <a:pt x="11878" y="2622"/>
                </a:lnTo>
                <a:lnTo>
                  <a:pt x="11876" y="2618"/>
                </a:lnTo>
                <a:lnTo>
                  <a:pt x="11872" y="2610"/>
                </a:lnTo>
                <a:lnTo>
                  <a:pt x="11868" y="2598"/>
                </a:lnTo>
                <a:lnTo>
                  <a:pt x="11864" y="2594"/>
                </a:lnTo>
                <a:lnTo>
                  <a:pt x="11860" y="2588"/>
                </a:lnTo>
                <a:lnTo>
                  <a:pt x="11856" y="2582"/>
                </a:lnTo>
                <a:lnTo>
                  <a:pt x="11852" y="2572"/>
                </a:lnTo>
                <a:lnTo>
                  <a:pt x="11852" y="2562"/>
                </a:lnTo>
                <a:lnTo>
                  <a:pt x="11854" y="2550"/>
                </a:lnTo>
                <a:lnTo>
                  <a:pt x="11860" y="2528"/>
                </a:lnTo>
                <a:lnTo>
                  <a:pt x="11866" y="2512"/>
                </a:lnTo>
                <a:lnTo>
                  <a:pt x="11870" y="2508"/>
                </a:lnTo>
                <a:lnTo>
                  <a:pt x="11870" y="2502"/>
                </a:lnTo>
                <a:lnTo>
                  <a:pt x="11870" y="2494"/>
                </a:lnTo>
                <a:lnTo>
                  <a:pt x="11872" y="2490"/>
                </a:lnTo>
                <a:lnTo>
                  <a:pt x="11874" y="2486"/>
                </a:lnTo>
                <a:lnTo>
                  <a:pt x="11876" y="2484"/>
                </a:lnTo>
                <a:lnTo>
                  <a:pt x="11882" y="2482"/>
                </a:lnTo>
                <a:lnTo>
                  <a:pt x="11892" y="2480"/>
                </a:lnTo>
                <a:lnTo>
                  <a:pt x="11902" y="2480"/>
                </a:lnTo>
                <a:lnTo>
                  <a:pt x="11914" y="2484"/>
                </a:lnTo>
                <a:lnTo>
                  <a:pt x="11924" y="2494"/>
                </a:lnTo>
                <a:lnTo>
                  <a:pt x="11938" y="2512"/>
                </a:lnTo>
                <a:lnTo>
                  <a:pt x="11940" y="2516"/>
                </a:lnTo>
                <a:lnTo>
                  <a:pt x="11940" y="2510"/>
                </a:lnTo>
                <a:lnTo>
                  <a:pt x="11936" y="2502"/>
                </a:lnTo>
                <a:lnTo>
                  <a:pt x="11930" y="2492"/>
                </a:lnTo>
                <a:lnTo>
                  <a:pt x="11922" y="2482"/>
                </a:lnTo>
                <a:lnTo>
                  <a:pt x="11920" y="2476"/>
                </a:lnTo>
                <a:lnTo>
                  <a:pt x="11920" y="2468"/>
                </a:lnTo>
                <a:lnTo>
                  <a:pt x="11914" y="2450"/>
                </a:lnTo>
                <a:lnTo>
                  <a:pt x="11908" y="2432"/>
                </a:lnTo>
                <a:lnTo>
                  <a:pt x="11902" y="2414"/>
                </a:lnTo>
                <a:lnTo>
                  <a:pt x="11898" y="2404"/>
                </a:lnTo>
                <a:lnTo>
                  <a:pt x="11898" y="2396"/>
                </a:lnTo>
                <a:lnTo>
                  <a:pt x="11896" y="2380"/>
                </a:lnTo>
                <a:lnTo>
                  <a:pt x="11892" y="2368"/>
                </a:lnTo>
                <a:lnTo>
                  <a:pt x="11890" y="2356"/>
                </a:lnTo>
                <a:lnTo>
                  <a:pt x="11888" y="2346"/>
                </a:lnTo>
                <a:lnTo>
                  <a:pt x="11886" y="2344"/>
                </a:lnTo>
                <a:lnTo>
                  <a:pt x="11886" y="2342"/>
                </a:lnTo>
                <a:lnTo>
                  <a:pt x="11882" y="2344"/>
                </a:lnTo>
                <a:lnTo>
                  <a:pt x="11882" y="2346"/>
                </a:lnTo>
                <a:lnTo>
                  <a:pt x="11882" y="2344"/>
                </a:lnTo>
                <a:lnTo>
                  <a:pt x="11882" y="2336"/>
                </a:lnTo>
                <a:lnTo>
                  <a:pt x="11882" y="2328"/>
                </a:lnTo>
                <a:lnTo>
                  <a:pt x="11882" y="2326"/>
                </a:lnTo>
                <a:lnTo>
                  <a:pt x="11882" y="2328"/>
                </a:lnTo>
                <a:lnTo>
                  <a:pt x="11880" y="2328"/>
                </a:lnTo>
                <a:lnTo>
                  <a:pt x="11876" y="2322"/>
                </a:lnTo>
                <a:lnTo>
                  <a:pt x="11876" y="2314"/>
                </a:lnTo>
                <a:lnTo>
                  <a:pt x="11876" y="2308"/>
                </a:lnTo>
                <a:lnTo>
                  <a:pt x="11880" y="2296"/>
                </a:lnTo>
                <a:lnTo>
                  <a:pt x="11884" y="2290"/>
                </a:lnTo>
                <a:lnTo>
                  <a:pt x="11884" y="2282"/>
                </a:lnTo>
                <a:lnTo>
                  <a:pt x="11884" y="2270"/>
                </a:lnTo>
                <a:lnTo>
                  <a:pt x="11882" y="2256"/>
                </a:lnTo>
                <a:lnTo>
                  <a:pt x="11878" y="2240"/>
                </a:lnTo>
                <a:lnTo>
                  <a:pt x="11876" y="2234"/>
                </a:lnTo>
                <a:lnTo>
                  <a:pt x="11876" y="2230"/>
                </a:lnTo>
                <a:lnTo>
                  <a:pt x="11876" y="2228"/>
                </a:lnTo>
                <a:lnTo>
                  <a:pt x="11874" y="2226"/>
                </a:lnTo>
                <a:lnTo>
                  <a:pt x="11872" y="2226"/>
                </a:lnTo>
                <a:lnTo>
                  <a:pt x="11872" y="2222"/>
                </a:lnTo>
                <a:lnTo>
                  <a:pt x="11870" y="2214"/>
                </a:lnTo>
                <a:lnTo>
                  <a:pt x="11868" y="2208"/>
                </a:lnTo>
                <a:lnTo>
                  <a:pt x="11866" y="2204"/>
                </a:lnTo>
                <a:lnTo>
                  <a:pt x="11868" y="2200"/>
                </a:lnTo>
                <a:lnTo>
                  <a:pt x="11872" y="2192"/>
                </a:lnTo>
                <a:lnTo>
                  <a:pt x="11870" y="2188"/>
                </a:lnTo>
                <a:lnTo>
                  <a:pt x="11866" y="2182"/>
                </a:lnTo>
                <a:lnTo>
                  <a:pt x="11862" y="2176"/>
                </a:lnTo>
                <a:lnTo>
                  <a:pt x="11860" y="2172"/>
                </a:lnTo>
                <a:lnTo>
                  <a:pt x="11858" y="2174"/>
                </a:lnTo>
                <a:lnTo>
                  <a:pt x="11854" y="2178"/>
                </a:lnTo>
                <a:lnTo>
                  <a:pt x="11852" y="2180"/>
                </a:lnTo>
                <a:lnTo>
                  <a:pt x="11846" y="2180"/>
                </a:lnTo>
                <a:lnTo>
                  <a:pt x="11844" y="2182"/>
                </a:lnTo>
                <a:lnTo>
                  <a:pt x="11842" y="2182"/>
                </a:lnTo>
                <a:lnTo>
                  <a:pt x="11848" y="2188"/>
                </a:lnTo>
                <a:lnTo>
                  <a:pt x="11854" y="2198"/>
                </a:lnTo>
                <a:lnTo>
                  <a:pt x="11858" y="2202"/>
                </a:lnTo>
                <a:lnTo>
                  <a:pt x="11858" y="2208"/>
                </a:lnTo>
                <a:lnTo>
                  <a:pt x="11856" y="2214"/>
                </a:lnTo>
                <a:lnTo>
                  <a:pt x="11854" y="2216"/>
                </a:lnTo>
                <a:lnTo>
                  <a:pt x="11850" y="2216"/>
                </a:lnTo>
                <a:lnTo>
                  <a:pt x="11850" y="2220"/>
                </a:lnTo>
                <a:lnTo>
                  <a:pt x="11848" y="2222"/>
                </a:lnTo>
                <a:lnTo>
                  <a:pt x="11850" y="2224"/>
                </a:lnTo>
                <a:lnTo>
                  <a:pt x="11854" y="2226"/>
                </a:lnTo>
                <a:lnTo>
                  <a:pt x="11854" y="2228"/>
                </a:lnTo>
                <a:lnTo>
                  <a:pt x="11850" y="2234"/>
                </a:lnTo>
                <a:lnTo>
                  <a:pt x="11846" y="2236"/>
                </a:lnTo>
                <a:lnTo>
                  <a:pt x="11844" y="2236"/>
                </a:lnTo>
                <a:lnTo>
                  <a:pt x="11842" y="2236"/>
                </a:lnTo>
                <a:lnTo>
                  <a:pt x="11840" y="2232"/>
                </a:lnTo>
                <a:lnTo>
                  <a:pt x="11840" y="2228"/>
                </a:lnTo>
                <a:lnTo>
                  <a:pt x="11838" y="2228"/>
                </a:lnTo>
                <a:lnTo>
                  <a:pt x="11834" y="2228"/>
                </a:lnTo>
                <a:lnTo>
                  <a:pt x="11828" y="2232"/>
                </a:lnTo>
                <a:lnTo>
                  <a:pt x="11824" y="2232"/>
                </a:lnTo>
                <a:lnTo>
                  <a:pt x="11822" y="2236"/>
                </a:lnTo>
                <a:lnTo>
                  <a:pt x="11822" y="2244"/>
                </a:lnTo>
                <a:lnTo>
                  <a:pt x="11826" y="2254"/>
                </a:lnTo>
                <a:lnTo>
                  <a:pt x="11826" y="2266"/>
                </a:lnTo>
                <a:lnTo>
                  <a:pt x="11824" y="2278"/>
                </a:lnTo>
                <a:lnTo>
                  <a:pt x="11820" y="2288"/>
                </a:lnTo>
                <a:lnTo>
                  <a:pt x="11816" y="2298"/>
                </a:lnTo>
                <a:lnTo>
                  <a:pt x="11816" y="2302"/>
                </a:lnTo>
                <a:lnTo>
                  <a:pt x="11818" y="2308"/>
                </a:lnTo>
                <a:lnTo>
                  <a:pt x="11816" y="2318"/>
                </a:lnTo>
                <a:lnTo>
                  <a:pt x="11816" y="2322"/>
                </a:lnTo>
                <a:lnTo>
                  <a:pt x="11816" y="2326"/>
                </a:lnTo>
                <a:lnTo>
                  <a:pt x="11818" y="2332"/>
                </a:lnTo>
                <a:lnTo>
                  <a:pt x="11822" y="2334"/>
                </a:lnTo>
                <a:lnTo>
                  <a:pt x="11820" y="2336"/>
                </a:lnTo>
                <a:close/>
                <a:moveTo>
                  <a:pt x="12398" y="2392"/>
                </a:moveTo>
                <a:lnTo>
                  <a:pt x="12398" y="2392"/>
                </a:lnTo>
                <a:lnTo>
                  <a:pt x="12396" y="2392"/>
                </a:lnTo>
                <a:lnTo>
                  <a:pt x="12394" y="2394"/>
                </a:lnTo>
                <a:lnTo>
                  <a:pt x="12392" y="2402"/>
                </a:lnTo>
                <a:lnTo>
                  <a:pt x="12388" y="2410"/>
                </a:lnTo>
                <a:lnTo>
                  <a:pt x="12384" y="2412"/>
                </a:lnTo>
                <a:lnTo>
                  <a:pt x="12380" y="2416"/>
                </a:lnTo>
                <a:lnTo>
                  <a:pt x="12372" y="2418"/>
                </a:lnTo>
                <a:lnTo>
                  <a:pt x="12366" y="2422"/>
                </a:lnTo>
                <a:lnTo>
                  <a:pt x="12364" y="2426"/>
                </a:lnTo>
                <a:lnTo>
                  <a:pt x="12364" y="2428"/>
                </a:lnTo>
                <a:lnTo>
                  <a:pt x="12366" y="2434"/>
                </a:lnTo>
                <a:lnTo>
                  <a:pt x="12368" y="2438"/>
                </a:lnTo>
                <a:lnTo>
                  <a:pt x="12370" y="2438"/>
                </a:lnTo>
                <a:lnTo>
                  <a:pt x="12374" y="2434"/>
                </a:lnTo>
                <a:lnTo>
                  <a:pt x="12378" y="2430"/>
                </a:lnTo>
                <a:lnTo>
                  <a:pt x="12382" y="2428"/>
                </a:lnTo>
                <a:lnTo>
                  <a:pt x="12388" y="2426"/>
                </a:lnTo>
                <a:lnTo>
                  <a:pt x="12392" y="2422"/>
                </a:lnTo>
                <a:lnTo>
                  <a:pt x="12396" y="2418"/>
                </a:lnTo>
                <a:lnTo>
                  <a:pt x="12400" y="2414"/>
                </a:lnTo>
                <a:lnTo>
                  <a:pt x="12402" y="2408"/>
                </a:lnTo>
                <a:lnTo>
                  <a:pt x="12402" y="2396"/>
                </a:lnTo>
                <a:lnTo>
                  <a:pt x="12400" y="2394"/>
                </a:lnTo>
                <a:lnTo>
                  <a:pt x="12398" y="2392"/>
                </a:lnTo>
                <a:close/>
                <a:moveTo>
                  <a:pt x="12802" y="2114"/>
                </a:moveTo>
                <a:lnTo>
                  <a:pt x="12802" y="2114"/>
                </a:lnTo>
                <a:lnTo>
                  <a:pt x="12798" y="2118"/>
                </a:lnTo>
                <a:lnTo>
                  <a:pt x="12798" y="2122"/>
                </a:lnTo>
                <a:lnTo>
                  <a:pt x="12800" y="2128"/>
                </a:lnTo>
                <a:lnTo>
                  <a:pt x="12804" y="2132"/>
                </a:lnTo>
                <a:lnTo>
                  <a:pt x="12814" y="2142"/>
                </a:lnTo>
                <a:lnTo>
                  <a:pt x="12826" y="2154"/>
                </a:lnTo>
                <a:lnTo>
                  <a:pt x="12830" y="2156"/>
                </a:lnTo>
                <a:lnTo>
                  <a:pt x="12830" y="2152"/>
                </a:lnTo>
                <a:lnTo>
                  <a:pt x="12828" y="2146"/>
                </a:lnTo>
                <a:lnTo>
                  <a:pt x="12824" y="2136"/>
                </a:lnTo>
                <a:lnTo>
                  <a:pt x="12820" y="2126"/>
                </a:lnTo>
                <a:lnTo>
                  <a:pt x="12814" y="2118"/>
                </a:lnTo>
                <a:lnTo>
                  <a:pt x="12808" y="2114"/>
                </a:lnTo>
                <a:lnTo>
                  <a:pt x="12804" y="2114"/>
                </a:lnTo>
                <a:lnTo>
                  <a:pt x="12802" y="2114"/>
                </a:lnTo>
                <a:close/>
                <a:moveTo>
                  <a:pt x="12746" y="1878"/>
                </a:moveTo>
                <a:lnTo>
                  <a:pt x="12746" y="1878"/>
                </a:lnTo>
                <a:lnTo>
                  <a:pt x="12744" y="1872"/>
                </a:lnTo>
                <a:lnTo>
                  <a:pt x="12740" y="1870"/>
                </a:lnTo>
                <a:lnTo>
                  <a:pt x="12736" y="1872"/>
                </a:lnTo>
                <a:lnTo>
                  <a:pt x="12730" y="1874"/>
                </a:lnTo>
                <a:lnTo>
                  <a:pt x="12716" y="1884"/>
                </a:lnTo>
                <a:lnTo>
                  <a:pt x="12702" y="1902"/>
                </a:lnTo>
                <a:lnTo>
                  <a:pt x="12700" y="1904"/>
                </a:lnTo>
                <a:lnTo>
                  <a:pt x="12702" y="1904"/>
                </a:lnTo>
                <a:lnTo>
                  <a:pt x="12706" y="1906"/>
                </a:lnTo>
                <a:lnTo>
                  <a:pt x="12722" y="1900"/>
                </a:lnTo>
                <a:lnTo>
                  <a:pt x="12730" y="1896"/>
                </a:lnTo>
                <a:lnTo>
                  <a:pt x="12738" y="1890"/>
                </a:lnTo>
                <a:lnTo>
                  <a:pt x="12744" y="1884"/>
                </a:lnTo>
                <a:lnTo>
                  <a:pt x="12746" y="1878"/>
                </a:lnTo>
                <a:close/>
                <a:moveTo>
                  <a:pt x="13366" y="1070"/>
                </a:moveTo>
                <a:lnTo>
                  <a:pt x="13366" y="1066"/>
                </a:lnTo>
                <a:lnTo>
                  <a:pt x="13438" y="1054"/>
                </a:lnTo>
                <a:lnTo>
                  <a:pt x="13446" y="1054"/>
                </a:lnTo>
                <a:lnTo>
                  <a:pt x="13454" y="1050"/>
                </a:lnTo>
                <a:lnTo>
                  <a:pt x="13458" y="1048"/>
                </a:lnTo>
                <a:lnTo>
                  <a:pt x="13460" y="1044"/>
                </a:lnTo>
                <a:lnTo>
                  <a:pt x="13460" y="1042"/>
                </a:lnTo>
                <a:lnTo>
                  <a:pt x="13458" y="1038"/>
                </a:lnTo>
                <a:lnTo>
                  <a:pt x="13448" y="1030"/>
                </a:lnTo>
                <a:lnTo>
                  <a:pt x="13434" y="1024"/>
                </a:lnTo>
                <a:lnTo>
                  <a:pt x="13418" y="1020"/>
                </a:lnTo>
                <a:lnTo>
                  <a:pt x="13400" y="1016"/>
                </a:lnTo>
                <a:lnTo>
                  <a:pt x="13382" y="1016"/>
                </a:lnTo>
                <a:lnTo>
                  <a:pt x="13366" y="1020"/>
                </a:lnTo>
                <a:lnTo>
                  <a:pt x="13366" y="1018"/>
                </a:lnTo>
                <a:lnTo>
                  <a:pt x="13342" y="1026"/>
                </a:lnTo>
                <a:lnTo>
                  <a:pt x="13332" y="1030"/>
                </a:lnTo>
                <a:lnTo>
                  <a:pt x="13324" y="1036"/>
                </a:lnTo>
                <a:lnTo>
                  <a:pt x="13316" y="1042"/>
                </a:lnTo>
                <a:lnTo>
                  <a:pt x="13310" y="1050"/>
                </a:lnTo>
                <a:lnTo>
                  <a:pt x="13308" y="1056"/>
                </a:lnTo>
                <a:lnTo>
                  <a:pt x="13306" y="1064"/>
                </a:lnTo>
                <a:lnTo>
                  <a:pt x="13306" y="1068"/>
                </a:lnTo>
                <a:lnTo>
                  <a:pt x="13310" y="1072"/>
                </a:lnTo>
                <a:lnTo>
                  <a:pt x="13314" y="1074"/>
                </a:lnTo>
                <a:lnTo>
                  <a:pt x="13322" y="1074"/>
                </a:lnTo>
                <a:lnTo>
                  <a:pt x="13342" y="1074"/>
                </a:lnTo>
                <a:lnTo>
                  <a:pt x="13366" y="1070"/>
                </a:lnTo>
                <a:close/>
                <a:moveTo>
                  <a:pt x="12932" y="1154"/>
                </a:moveTo>
                <a:lnTo>
                  <a:pt x="12932" y="1154"/>
                </a:lnTo>
                <a:lnTo>
                  <a:pt x="12934" y="1152"/>
                </a:lnTo>
                <a:lnTo>
                  <a:pt x="12934" y="1150"/>
                </a:lnTo>
                <a:lnTo>
                  <a:pt x="12934" y="1148"/>
                </a:lnTo>
                <a:lnTo>
                  <a:pt x="12932" y="1146"/>
                </a:lnTo>
                <a:lnTo>
                  <a:pt x="12924" y="1142"/>
                </a:lnTo>
                <a:lnTo>
                  <a:pt x="12912" y="1138"/>
                </a:lnTo>
                <a:lnTo>
                  <a:pt x="12900" y="1136"/>
                </a:lnTo>
                <a:lnTo>
                  <a:pt x="12888" y="1136"/>
                </a:lnTo>
                <a:lnTo>
                  <a:pt x="12878" y="1138"/>
                </a:lnTo>
                <a:lnTo>
                  <a:pt x="12872" y="1140"/>
                </a:lnTo>
                <a:lnTo>
                  <a:pt x="12870" y="1142"/>
                </a:lnTo>
                <a:lnTo>
                  <a:pt x="12870" y="1146"/>
                </a:lnTo>
                <a:lnTo>
                  <a:pt x="12874" y="1150"/>
                </a:lnTo>
                <a:lnTo>
                  <a:pt x="12882" y="1154"/>
                </a:lnTo>
                <a:lnTo>
                  <a:pt x="12890" y="1158"/>
                </a:lnTo>
                <a:lnTo>
                  <a:pt x="12902" y="1160"/>
                </a:lnTo>
                <a:lnTo>
                  <a:pt x="12912" y="1160"/>
                </a:lnTo>
                <a:lnTo>
                  <a:pt x="12924" y="1160"/>
                </a:lnTo>
                <a:lnTo>
                  <a:pt x="12932" y="1154"/>
                </a:lnTo>
                <a:close/>
                <a:moveTo>
                  <a:pt x="11756" y="878"/>
                </a:moveTo>
                <a:lnTo>
                  <a:pt x="11756" y="878"/>
                </a:lnTo>
                <a:lnTo>
                  <a:pt x="11746" y="884"/>
                </a:lnTo>
                <a:lnTo>
                  <a:pt x="11744" y="888"/>
                </a:lnTo>
                <a:lnTo>
                  <a:pt x="11746" y="890"/>
                </a:lnTo>
                <a:lnTo>
                  <a:pt x="11754" y="888"/>
                </a:lnTo>
                <a:lnTo>
                  <a:pt x="11784" y="888"/>
                </a:lnTo>
                <a:lnTo>
                  <a:pt x="11804" y="888"/>
                </a:lnTo>
                <a:lnTo>
                  <a:pt x="11828" y="890"/>
                </a:lnTo>
                <a:lnTo>
                  <a:pt x="11858" y="896"/>
                </a:lnTo>
                <a:lnTo>
                  <a:pt x="11880" y="896"/>
                </a:lnTo>
                <a:lnTo>
                  <a:pt x="11892" y="894"/>
                </a:lnTo>
                <a:lnTo>
                  <a:pt x="11894" y="892"/>
                </a:lnTo>
                <a:lnTo>
                  <a:pt x="11896" y="888"/>
                </a:lnTo>
                <a:lnTo>
                  <a:pt x="11896" y="886"/>
                </a:lnTo>
                <a:lnTo>
                  <a:pt x="11896" y="882"/>
                </a:lnTo>
                <a:lnTo>
                  <a:pt x="11888" y="872"/>
                </a:lnTo>
                <a:lnTo>
                  <a:pt x="11876" y="864"/>
                </a:lnTo>
                <a:lnTo>
                  <a:pt x="11860" y="854"/>
                </a:lnTo>
                <a:lnTo>
                  <a:pt x="11844" y="846"/>
                </a:lnTo>
                <a:lnTo>
                  <a:pt x="11830" y="844"/>
                </a:lnTo>
                <a:lnTo>
                  <a:pt x="11816" y="844"/>
                </a:lnTo>
                <a:lnTo>
                  <a:pt x="11804" y="848"/>
                </a:lnTo>
                <a:lnTo>
                  <a:pt x="11792" y="854"/>
                </a:lnTo>
                <a:lnTo>
                  <a:pt x="11782" y="862"/>
                </a:lnTo>
                <a:lnTo>
                  <a:pt x="11756" y="878"/>
                </a:lnTo>
                <a:close/>
                <a:moveTo>
                  <a:pt x="12060" y="772"/>
                </a:moveTo>
                <a:lnTo>
                  <a:pt x="12060" y="772"/>
                </a:lnTo>
                <a:lnTo>
                  <a:pt x="12086" y="776"/>
                </a:lnTo>
                <a:lnTo>
                  <a:pt x="12106" y="778"/>
                </a:lnTo>
                <a:lnTo>
                  <a:pt x="12152" y="776"/>
                </a:lnTo>
                <a:lnTo>
                  <a:pt x="12164" y="774"/>
                </a:lnTo>
                <a:lnTo>
                  <a:pt x="12176" y="770"/>
                </a:lnTo>
                <a:lnTo>
                  <a:pt x="12182" y="766"/>
                </a:lnTo>
                <a:lnTo>
                  <a:pt x="12188" y="760"/>
                </a:lnTo>
                <a:lnTo>
                  <a:pt x="12190" y="756"/>
                </a:lnTo>
                <a:lnTo>
                  <a:pt x="12188" y="752"/>
                </a:lnTo>
                <a:lnTo>
                  <a:pt x="12184" y="750"/>
                </a:lnTo>
                <a:lnTo>
                  <a:pt x="12176" y="750"/>
                </a:lnTo>
                <a:lnTo>
                  <a:pt x="12168" y="748"/>
                </a:lnTo>
                <a:lnTo>
                  <a:pt x="12164" y="746"/>
                </a:lnTo>
                <a:lnTo>
                  <a:pt x="12154" y="740"/>
                </a:lnTo>
                <a:lnTo>
                  <a:pt x="12148" y="736"/>
                </a:lnTo>
                <a:lnTo>
                  <a:pt x="12142" y="734"/>
                </a:lnTo>
                <a:lnTo>
                  <a:pt x="12132" y="734"/>
                </a:lnTo>
                <a:lnTo>
                  <a:pt x="12120" y="738"/>
                </a:lnTo>
                <a:lnTo>
                  <a:pt x="12108" y="742"/>
                </a:lnTo>
                <a:lnTo>
                  <a:pt x="12102" y="742"/>
                </a:lnTo>
                <a:lnTo>
                  <a:pt x="12100" y="740"/>
                </a:lnTo>
                <a:lnTo>
                  <a:pt x="12100" y="736"/>
                </a:lnTo>
                <a:lnTo>
                  <a:pt x="12098" y="730"/>
                </a:lnTo>
                <a:lnTo>
                  <a:pt x="12092" y="728"/>
                </a:lnTo>
                <a:lnTo>
                  <a:pt x="12082" y="726"/>
                </a:lnTo>
                <a:lnTo>
                  <a:pt x="12062" y="726"/>
                </a:lnTo>
                <a:lnTo>
                  <a:pt x="12044" y="728"/>
                </a:lnTo>
                <a:lnTo>
                  <a:pt x="12030" y="726"/>
                </a:lnTo>
                <a:lnTo>
                  <a:pt x="12020" y="724"/>
                </a:lnTo>
                <a:lnTo>
                  <a:pt x="12016" y="720"/>
                </a:lnTo>
                <a:lnTo>
                  <a:pt x="12012" y="714"/>
                </a:lnTo>
                <a:lnTo>
                  <a:pt x="12010" y="714"/>
                </a:lnTo>
                <a:lnTo>
                  <a:pt x="12008" y="718"/>
                </a:lnTo>
                <a:lnTo>
                  <a:pt x="12000" y="730"/>
                </a:lnTo>
                <a:lnTo>
                  <a:pt x="11998" y="736"/>
                </a:lnTo>
                <a:lnTo>
                  <a:pt x="11998" y="742"/>
                </a:lnTo>
                <a:lnTo>
                  <a:pt x="12002" y="748"/>
                </a:lnTo>
                <a:lnTo>
                  <a:pt x="12014" y="756"/>
                </a:lnTo>
                <a:lnTo>
                  <a:pt x="12032" y="764"/>
                </a:lnTo>
                <a:lnTo>
                  <a:pt x="12060" y="772"/>
                </a:lnTo>
                <a:close/>
                <a:moveTo>
                  <a:pt x="11698" y="782"/>
                </a:moveTo>
                <a:lnTo>
                  <a:pt x="11698" y="782"/>
                </a:lnTo>
                <a:lnTo>
                  <a:pt x="11714" y="788"/>
                </a:lnTo>
                <a:lnTo>
                  <a:pt x="11724" y="788"/>
                </a:lnTo>
                <a:lnTo>
                  <a:pt x="11728" y="784"/>
                </a:lnTo>
                <a:lnTo>
                  <a:pt x="11730" y="780"/>
                </a:lnTo>
                <a:lnTo>
                  <a:pt x="11732" y="774"/>
                </a:lnTo>
                <a:lnTo>
                  <a:pt x="11734" y="770"/>
                </a:lnTo>
                <a:lnTo>
                  <a:pt x="11740" y="768"/>
                </a:lnTo>
                <a:lnTo>
                  <a:pt x="11752" y="770"/>
                </a:lnTo>
                <a:lnTo>
                  <a:pt x="11766" y="772"/>
                </a:lnTo>
                <a:lnTo>
                  <a:pt x="11778" y="772"/>
                </a:lnTo>
                <a:lnTo>
                  <a:pt x="11788" y="770"/>
                </a:lnTo>
                <a:lnTo>
                  <a:pt x="11798" y="766"/>
                </a:lnTo>
                <a:lnTo>
                  <a:pt x="11808" y="762"/>
                </a:lnTo>
                <a:lnTo>
                  <a:pt x="11816" y="760"/>
                </a:lnTo>
                <a:lnTo>
                  <a:pt x="11824" y="760"/>
                </a:lnTo>
                <a:lnTo>
                  <a:pt x="11832" y="764"/>
                </a:lnTo>
                <a:lnTo>
                  <a:pt x="11840" y="770"/>
                </a:lnTo>
                <a:lnTo>
                  <a:pt x="11850" y="772"/>
                </a:lnTo>
                <a:lnTo>
                  <a:pt x="11862" y="772"/>
                </a:lnTo>
                <a:lnTo>
                  <a:pt x="11874" y="768"/>
                </a:lnTo>
                <a:lnTo>
                  <a:pt x="11902" y="760"/>
                </a:lnTo>
                <a:lnTo>
                  <a:pt x="11936" y="750"/>
                </a:lnTo>
                <a:lnTo>
                  <a:pt x="11944" y="746"/>
                </a:lnTo>
                <a:lnTo>
                  <a:pt x="11948" y="742"/>
                </a:lnTo>
                <a:lnTo>
                  <a:pt x="11948" y="738"/>
                </a:lnTo>
                <a:lnTo>
                  <a:pt x="11944" y="734"/>
                </a:lnTo>
                <a:lnTo>
                  <a:pt x="11942" y="730"/>
                </a:lnTo>
                <a:lnTo>
                  <a:pt x="11942" y="726"/>
                </a:lnTo>
                <a:lnTo>
                  <a:pt x="11944" y="724"/>
                </a:lnTo>
                <a:lnTo>
                  <a:pt x="11954" y="722"/>
                </a:lnTo>
                <a:lnTo>
                  <a:pt x="11960" y="722"/>
                </a:lnTo>
                <a:lnTo>
                  <a:pt x="11962" y="720"/>
                </a:lnTo>
                <a:lnTo>
                  <a:pt x="11964" y="718"/>
                </a:lnTo>
                <a:lnTo>
                  <a:pt x="11962" y="716"/>
                </a:lnTo>
                <a:lnTo>
                  <a:pt x="11956" y="710"/>
                </a:lnTo>
                <a:lnTo>
                  <a:pt x="11946" y="706"/>
                </a:lnTo>
                <a:lnTo>
                  <a:pt x="11930" y="700"/>
                </a:lnTo>
                <a:lnTo>
                  <a:pt x="11914" y="696"/>
                </a:lnTo>
                <a:lnTo>
                  <a:pt x="11898" y="696"/>
                </a:lnTo>
                <a:lnTo>
                  <a:pt x="11882" y="696"/>
                </a:lnTo>
                <a:lnTo>
                  <a:pt x="11868" y="698"/>
                </a:lnTo>
                <a:lnTo>
                  <a:pt x="11858" y="694"/>
                </a:lnTo>
                <a:lnTo>
                  <a:pt x="11846" y="690"/>
                </a:lnTo>
                <a:lnTo>
                  <a:pt x="11836" y="682"/>
                </a:lnTo>
                <a:lnTo>
                  <a:pt x="11826" y="676"/>
                </a:lnTo>
                <a:lnTo>
                  <a:pt x="11816" y="672"/>
                </a:lnTo>
                <a:lnTo>
                  <a:pt x="11806" y="670"/>
                </a:lnTo>
                <a:lnTo>
                  <a:pt x="11800" y="672"/>
                </a:lnTo>
                <a:lnTo>
                  <a:pt x="11794" y="674"/>
                </a:lnTo>
                <a:lnTo>
                  <a:pt x="11786" y="678"/>
                </a:lnTo>
                <a:lnTo>
                  <a:pt x="11782" y="686"/>
                </a:lnTo>
                <a:lnTo>
                  <a:pt x="11782" y="692"/>
                </a:lnTo>
                <a:lnTo>
                  <a:pt x="11784" y="696"/>
                </a:lnTo>
                <a:lnTo>
                  <a:pt x="11788" y="706"/>
                </a:lnTo>
                <a:lnTo>
                  <a:pt x="11788" y="710"/>
                </a:lnTo>
                <a:lnTo>
                  <a:pt x="11786" y="712"/>
                </a:lnTo>
                <a:lnTo>
                  <a:pt x="11780" y="712"/>
                </a:lnTo>
                <a:lnTo>
                  <a:pt x="11770" y="708"/>
                </a:lnTo>
                <a:lnTo>
                  <a:pt x="11752" y="698"/>
                </a:lnTo>
                <a:lnTo>
                  <a:pt x="11730" y="684"/>
                </a:lnTo>
                <a:lnTo>
                  <a:pt x="11710" y="672"/>
                </a:lnTo>
                <a:lnTo>
                  <a:pt x="11702" y="668"/>
                </a:lnTo>
                <a:lnTo>
                  <a:pt x="11696" y="666"/>
                </a:lnTo>
                <a:lnTo>
                  <a:pt x="11688" y="666"/>
                </a:lnTo>
                <a:lnTo>
                  <a:pt x="11682" y="668"/>
                </a:lnTo>
                <a:lnTo>
                  <a:pt x="11666" y="674"/>
                </a:lnTo>
                <a:lnTo>
                  <a:pt x="11646" y="688"/>
                </a:lnTo>
                <a:lnTo>
                  <a:pt x="11638" y="694"/>
                </a:lnTo>
                <a:lnTo>
                  <a:pt x="11634" y="702"/>
                </a:lnTo>
                <a:lnTo>
                  <a:pt x="11634" y="708"/>
                </a:lnTo>
                <a:lnTo>
                  <a:pt x="11636" y="714"/>
                </a:lnTo>
                <a:lnTo>
                  <a:pt x="11640" y="724"/>
                </a:lnTo>
                <a:lnTo>
                  <a:pt x="11640" y="728"/>
                </a:lnTo>
                <a:lnTo>
                  <a:pt x="11634" y="732"/>
                </a:lnTo>
                <a:lnTo>
                  <a:pt x="11630" y="736"/>
                </a:lnTo>
                <a:lnTo>
                  <a:pt x="11630" y="740"/>
                </a:lnTo>
                <a:lnTo>
                  <a:pt x="11634" y="746"/>
                </a:lnTo>
                <a:lnTo>
                  <a:pt x="11640" y="754"/>
                </a:lnTo>
                <a:lnTo>
                  <a:pt x="11650" y="760"/>
                </a:lnTo>
                <a:lnTo>
                  <a:pt x="11664" y="768"/>
                </a:lnTo>
                <a:lnTo>
                  <a:pt x="11698" y="782"/>
                </a:lnTo>
                <a:close/>
                <a:moveTo>
                  <a:pt x="11586" y="730"/>
                </a:moveTo>
                <a:lnTo>
                  <a:pt x="11586" y="730"/>
                </a:lnTo>
                <a:lnTo>
                  <a:pt x="11592" y="724"/>
                </a:lnTo>
                <a:lnTo>
                  <a:pt x="11594" y="716"/>
                </a:lnTo>
                <a:lnTo>
                  <a:pt x="11592" y="708"/>
                </a:lnTo>
                <a:lnTo>
                  <a:pt x="11584" y="698"/>
                </a:lnTo>
                <a:lnTo>
                  <a:pt x="11582" y="696"/>
                </a:lnTo>
                <a:lnTo>
                  <a:pt x="11580" y="696"/>
                </a:lnTo>
                <a:lnTo>
                  <a:pt x="11576" y="698"/>
                </a:lnTo>
                <a:lnTo>
                  <a:pt x="11572" y="706"/>
                </a:lnTo>
                <a:lnTo>
                  <a:pt x="11570" y="714"/>
                </a:lnTo>
                <a:lnTo>
                  <a:pt x="11570" y="722"/>
                </a:lnTo>
                <a:lnTo>
                  <a:pt x="11572" y="730"/>
                </a:lnTo>
                <a:lnTo>
                  <a:pt x="11574" y="732"/>
                </a:lnTo>
                <a:lnTo>
                  <a:pt x="11578" y="732"/>
                </a:lnTo>
                <a:lnTo>
                  <a:pt x="11582" y="732"/>
                </a:lnTo>
                <a:lnTo>
                  <a:pt x="11586" y="730"/>
                </a:lnTo>
                <a:close/>
                <a:moveTo>
                  <a:pt x="11080" y="922"/>
                </a:moveTo>
                <a:lnTo>
                  <a:pt x="11080" y="922"/>
                </a:lnTo>
                <a:lnTo>
                  <a:pt x="11108" y="928"/>
                </a:lnTo>
                <a:lnTo>
                  <a:pt x="11130" y="934"/>
                </a:lnTo>
                <a:lnTo>
                  <a:pt x="11156" y="942"/>
                </a:lnTo>
                <a:lnTo>
                  <a:pt x="11188" y="958"/>
                </a:lnTo>
                <a:lnTo>
                  <a:pt x="11198" y="962"/>
                </a:lnTo>
                <a:lnTo>
                  <a:pt x="11202" y="962"/>
                </a:lnTo>
                <a:lnTo>
                  <a:pt x="11204" y="962"/>
                </a:lnTo>
                <a:lnTo>
                  <a:pt x="11204" y="958"/>
                </a:lnTo>
                <a:lnTo>
                  <a:pt x="11202" y="952"/>
                </a:lnTo>
                <a:lnTo>
                  <a:pt x="11204" y="948"/>
                </a:lnTo>
                <a:lnTo>
                  <a:pt x="11210" y="946"/>
                </a:lnTo>
                <a:lnTo>
                  <a:pt x="11220" y="944"/>
                </a:lnTo>
                <a:lnTo>
                  <a:pt x="11226" y="946"/>
                </a:lnTo>
                <a:lnTo>
                  <a:pt x="11256" y="958"/>
                </a:lnTo>
                <a:lnTo>
                  <a:pt x="11280" y="968"/>
                </a:lnTo>
                <a:lnTo>
                  <a:pt x="11300" y="978"/>
                </a:lnTo>
                <a:lnTo>
                  <a:pt x="11308" y="980"/>
                </a:lnTo>
                <a:lnTo>
                  <a:pt x="11316" y="982"/>
                </a:lnTo>
                <a:lnTo>
                  <a:pt x="11322" y="978"/>
                </a:lnTo>
                <a:lnTo>
                  <a:pt x="11328" y="970"/>
                </a:lnTo>
                <a:lnTo>
                  <a:pt x="11328" y="966"/>
                </a:lnTo>
                <a:lnTo>
                  <a:pt x="11328" y="962"/>
                </a:lnTo>
                <a:lnTo>
                  <a:pt x="11324" y="956"/>
                </a:lnTo>
                <a:lnTo>
                  <a:pt x="11318" y="952"/>
                </a:lnTo>
                <a:lnTo>
                  <a:pt x="11310" y="948"/>
                </a:lnTo>
                <a:lnTo>
                  <a:pt x="11304" y="946"/>
                </a:lnTo>
                <a:lnTo>
                  <a:pt x="11300" y="944"/>
                </a:lnTo>
                <a:lnTo>
                  <a:pt x="11300" y="942"/>
                </a:lnTo>
                <a:lnTo>
                  <a:pt x="11302" y="940"/>
                </a:lnTo>
                <a:lnTo>
                  <a:pt x="11312" y="938"/>
                </a:lnTo>
                <a:lnTo>
                  <a:pt x="11320" y="934"/>
                </a:lnTo>
                <a:lnTo>
                  <a:pt x="11320" y="932"/>
                </a:lnTo>
                <a:lnTo>
                  <a:pt x="11314" y="928"/>
                </a:lnTo>
                <a:lnTo>
                  <a:pt x="11306" y="926"/>
                </a:lnTo>
                <a:lnTo>
                  <a:pt x="11298" y="922"/>
                </a:lnTo>
                <a:lnTo>
                  <a:pt x="11294" y="920"/>
                </a:lnTo>
                <a:lnTo>
                  <a:pt x="11294" y="918"/>
                </a:lnTo>
                <a:lnTo>
                  <a:pt x="11296" y="916"/>
                </a:lnTo>
                <a:lnTo>
                  <a:pt x="11306" y="914"/>
                </a:lnTo>
                <a:lnTo>
                  <a:pt x="11316" y="910"/>
                </a:lnTo>
                <a:lnTo>
                  <a:pt x="11318" y="908"/>
                </a:lnTo>
                <a:lnTo>
                  <a:pt x="11318" y="906"/>
                </a:lnTo>
                <a:lnTo>
                  <a:pt x="11316" y="900"/>
                </a:lnTo>
                <a:lnTo>
                  <a:pt x="11306" y="896"/>
                </a:lnTo>
                <a:lnTo>
                  <a:pt x="11280" y="884"/>
                </a:lnTo>
                <a:lnTo>
                  <a:pt x="11252" y="876"/>
                </a:lnTo>
                <a:lnTo>
                  <a:pt x="11240" y="872"/>
                </a:lnTo>
                <a:lnTo>
                  <a:pt x="11232" y="874"/>
                </a:lnTo>
                <a:lnTo>
                  <a:pt x="11224" y="878"/>
                </a:lnTo>
                <a:lnTo>
                  <a:pt x="11218" y="882"/>
                </a:lnTo>
                <a:lnTo>
                  <a:pt x="11214" y="888"/>
                </a:lnTo>
                <a:lnTo>
                  <a:pt x="11210" y="890"/>
                </a:lnTo>
                <a:lnTo>
                  <a:pt x="11208" y="888"/>
                </a:lnTo>
                <a:lnTo>
                  <a:pt x="11204" y="882"/>
                </a:lnTo>
                <a:lnTo>
                  <a:pt x="11200" y="874"/>
                </a:lnTo>
                <a:lnTo>
                  <a:pt x="11196" y="870"/>
                </a:lnTo>
                <a:lnTo>
                  <a:pt x="11190" y="868"/>
                </a:lnTo>
                <a:lnTo>
                  <a:pt x="11184" y="868"/>
                </a:lnTo>
                <a:lnTo>
                  <a:pt x="11168" y="866"/>
                </a:lnTo>
                <a:lnTo>
                  <a:pt x="11158" y="862"/>
                </a:lnTo>
                <a:lnTo>
                  <a:pt x="11146" y="858"/>
                </a:lnTo>
                <a:lnTo>
                  <a:pt x="11134" y="854"/>
                </a:lnTo>
                <a:lnTo>
                  <a:pt x="11120" y="854"/>
                </a:lnTo>
                <a:lnTo>
                  <a:pt x="11104" y="856"/>
                </a:lnTo>
                <a:lnTo>
                  <a:pt x="11092" y="860"/>
                </a:lnTo>
                <a:lnTo>
                  <a:pt x="11082" y="866"/>
                </a:lnTo>
                <a:lnTo>
                  <a:pt x="11076" y="872"/>
                </a:lnTo>
                <a:lnTo>
                  <a:pt x="11074" y="876"/>
                </a:lnTo>
                <a:lnTo>
                  <a:pt x="11074" y="880"/>
                </a:lnTo>
                <a:lnTo>
                  <a:pt x="11076" y="884"/>
                </a:lnTo>
                <a:lnTo>
                  <a:pt x="11080" y="888"/>
                </a:lnTo>
                <a:lnTo>
                  <a:pt x="11082" y="892"/>
                </a:lnTo>
                <a:lnTo>
                  <a:pt x="11084" y="896"/>
                </a:lnTo>
                <a:lnTo>
                  <a:pt x="11084" y="898"/>
                </a:lnTo>
                <a:lnTo>
                  <a:pt x="11084" y="902"/>
                </a:lnTo>
                <a:lnTo>
                  <a:pt x="11078" y="906"/>
                </a:lnTo>
                <a:lnTo>
                  <a:pt x="11072" y="910"/>
                </a:lnTo>
                <a:lnTo>
                  <a:pt x="11068" y="914"/>
                </a:lnTo>
                <a:lnTo>
                  <a:pt x="11066" y="916"/>
                </a:lnTo>
                <a:lnTo>
                  <a:pt x="11068" y="920"/>
                </a:lnTo>
                <a:lnTo>
                  <a:pt x="11080" y="922"/>
                </a:lnTo>
                <a:close/>
                <a:moveTo>
                  <a:pt x="10628" y="824"/>
                </a:moveTo>
                <a:lnTo>
                  <a:pt x="10628" y="824"/>
                </a:lnTo>
                <a:lnTo>
                  <a:pt x="10644" y="828"/>
                </a:lnTo>
                <a:lnTo>
                  <a:pt x="10656" y="828"/>
                </a:lnTo>
                <a:lnTo>
                  <a:pt x="10666" y="824"/>
                </a:lnTo>
                <a:lnTo>
                  <a:pt x="10672" y="818"/>
                </a:lnTo>
                <a:lnTo>
                  <a:pt x="10674" y="810"/>
                </a:lnTo>
                <a:lnTo>
                  <a:pt x="10674" y="808"/>
                </a:lnTo>
                <a:lnTo>
                  <a:pt x="10672" y="804"/>
                </a:lnTo>
                <a:lnTo>
                  <a:pt x="10670" y="802"/>
                </a:lnTo>
                <a:lnTo>
                  <a:pt x="10666" y="800"/>
                </a:lnTo>
                <a:lnTo>
                  <a:pt x="10652" y="796"/>
                </a:lnTo>
                <a:lnTo>
                  <a:pt x="10636" y="796"/>
                </a:lnTo>
                <a:lnTo>
                  <a:pt x="10624" y="798"/>
                </a:lnTo>
                <a:lnTo>
                  <a:pt x="10614" y="800"/>
                </a:lnTo>
                <a:lnTo>
                  <a:pt x="10608" y="804"/>
                </a:lnTo>
                <a:lnTo>
                  <a:pt x="10606" y="808"/>
                </a:lnTo>
                <a:lnTo>
                  <a:pt x="10608" y="812"/>
                </a:lnTo>
                <a:lnTo>
                  <a:pt x="10616" y="818"/>
                </a:lnTo>
                <a:lnTo>
                  <a:pt x="10628" y="824"/>
                </a:lnTo>
                <a:close/>
                <a:moveTo>
                  <a:pt x="10148" y="522"/>
                </a:moveTo>
                <a:lnTo>
                  <a:pt x="10148" y="522"/>
                </a:lnTo>
                <a:lnTo>
                  <a:pt x="10174" y="514"/>
                </a:lnTo>
                <a:lnTo>
                  <a:pt x="10202" y="510"/>
                </a:lnTo>
                <a:lnTo>
                  <a:pt x="10238" y="506"/>
                </a:lnTo>
                <a:lnTo>
                  <a:pt x="10286" y="502"/>
                </a:lnTo>
                <a:lnTo>
                  <a:pt x="10312" y="500"/>
                </a:lnTo>
                <a:lnTo>
                  <a:pt x="10330" y="498"/>
                </a:lnTo>
                <a:lnTo>
                  <a:pt x="10344" y="492"/>
                </a:lnTo>
                <a:lnTo>
                  <a:pt x="10352" y="486"/>
                </a:lnTo>
                <a:lnTo>
                  <a:pt x="10354" y="484"/>
                </a:lnTo>
                <a:lnTo>
                  <a:pt x="10354" y="480"/>
                </a:lnTo>
                <a:lnTo>
                  <a:pt x="10352" y="472"/>
                </a:lnTo>
                <a:lnTo>
                  <a:pt x="10344" y="464"/>
                </a:lnTo>
                <a:lnTo>
                  <a:pt x="10332" y="456"/>
                </a:lnTo>
                <a:lnTo>
                  <a:pt x="10308" y="440"/>
                </a:lnTo>
                <a:lnTo>
                  <a:pt x="10300" y="434"/>
                </a:lnTo>
                <a:lnTo>
                  <a:pt x="10294" y="432"/>
                </a:lnTo>
                <a:lnTo>
                  <a:pt x="10286" y="432"/>
                </a:lnTo>
                <a:lnTo>
                  <a:pt x="10276" y="436"/>
                </a:lnTo>
                <a:lnTo>
                  <a:pt x="10264" y="442"/>
                </a:lnTo>
                <a:lnTo>
                  <a:pt x="10248" y="454"/>
                </a:lnTo>
                <a:lnTo>
                  <a:pt x="10236" y="462"/>
                </a:lnTo>
                <a:lnTo>
                  <a:pt x="10232" y="462"/>
                </a:lnTo>
                <a:lnTo>
                  <a:pt x="10244" y="448"/>
                </a:lnTo>
                <a:lnTo>
                  <a:pt x="10254" y="436"/>
                </a:lnTo>
                <a:lnTo>
                  <a:pt x="10260" y="426"/>
                </a:lnTo>
                <a:lnTo>
                  <a:pt x="10264" y="416"/>
                </a:lnTo>
                <a:lnTo>
                  <a:pt x="10264" y="414"/>
                </a:lnTo>
                <a:lnTo>
                  <a:pt x="10260" y="412"/>
                </a:lnTo>
                <a:lnTo>
                  <a:pt x="10242" y="406"/>
                </a:lnTo>
                <a:lnTo>
                  <a:pt x="10234" y="406"/>
                </a:lnTo>
                <a:lnTo>
                  <a:pt x="10224" y="404"/>
                </a:lnTo>
                <a:lnTo>
                  <a:pt x="10214" y="406"/>
                </a:lnTo>
                <a:lnTo>
                  <a:pt x="10204" y="412"/>
                </a:lnTo>
                <a:lnTo>
                  <a:pt x="10194" y="422"/>
                </a:lnTo>
                <a:lnTo>
                  <a:pt x="10184" y="436"/>
                </a:lnTo>
                <a:lnTo>
                  <a:pt x="10174" y="448"/>
                </a:lnTo>
                <a:lnTo>
                  <a:pt x="10166" y="456"/>
                </a:lnTo>
                <a:lnTo>
                  <a:pt x="10154" y="464"/>
                </a:lnTo>
                <a:lnTo>
                  <a:pt x="10148" y="468"/>
                </a:lnTo>
                <a:lnTo>
                  <a:pt x="10140" y="478"/>
                </a:lnTo>
                <a:lnTo>
                  <a:pt x="10130" y="492"/>
                </a:lnTo>
                <a:lnTo>
                  <a:pt x="10118" y="514"/>
                </a:lnTo>
                <a:lnTo>
                  <a:pt x="10114" y="524"/>
                </a:lnTo>
                <a:lnTo>
                  <a:pt x="10114" y="526"/>
                </a:lnTo>
                <a:lnTo>
                  <a:pt x="10116" y="528"/>
                </a:lnTo>
                <a:lnTo>
                  <a:pt x="10128" y="528"/>
                </a:lnTo>
                <a:lnTo>
                  <a:pt x="10148" y="522"/>
                </a:lnTo>
                <a:close/>
                <a:moveTo>
                  <a:pt x="10046" y="348"/>
                </a:moveTo>
                <a:lnTo>
                  <a:pt x="10046" y="348"/>
                </a:lnTo>
                <a:lnTo>
                  <a:pt x="10020" y="348"/>
                </a:lnTo>
                <a:lnTo>
                  <a:pt x="9990" y="348"/>
                </a:lnTo>
                <a:lnTo>
                  <a:pt x="9972" y="350"/>
                </a:lnTo>
                <a:lnTo>
                  <a:pt x="9956" y="352"/>
                </a:lnTo>
                <a:lnTo>
                  <a:pt x="9942" y="356"/>
                </a:lnTo>
                <a:lnTo>
                  <a:pt x="9930" y="362"/>
                </a:lnTo>
                <a:lnTo>
                  <a:pt x="9904" y="376"/>
                </a:lnTo>
                <a:lnTo>
                  <a:pt x="9878" y="390"/>
                </a:lnTo>
                <a:lnTo>
                  <a:pt x="9870" y="396"/>
                </a:lnTo>
                <a:lnTo>
                  <a:pt x="9866" y="400"/>
                </a:lnTo>
                <a:lnTo>
                  <a:pt x="9866" y="402"/>
                </a:lnTo>
                <a:lnTo>
                  <a:pt x="9868" y="404"/>
                </a:lnTo>
                <a:lnTo>
                  <a:pt x="9872" y="404"/>
                </a:lnTo>
                <a:lnTo>
                  <a:pt x="9884" y="404"/>
                </a:lnTo>
                <a:lnTo>
                  <a:pt x="9900" y="406"/>
                </a:lnTo>
                <a:lnTo>
                  <a:pt x="9908" y="406"/>
                </a:lnTo>
                <a:lnTo>
                  <a:pt x="9912" y="410"/>
                </a:lnTo>
                <a:lnTo>
                  <a:pt x="9914" y="414"/>
                </a:lnTo>
                <a:lnTo>
                  <a:pt x="9914" y="418"/>
                </a:lnTo>
                <a:lnTo>
                  <a:pt x="9914" y="424"/>
                </a:lnTo>
                <a:lnTo>
                  <a:pt x="9918" y="428"/>
                </a:lnTo>
                <a:lnTo>
                  <a:pt x="9926" y="434"/>
                </a:lnTo>
                <a:lnTo>
                  <a:pt x="9934" y="436"/>
                </a:lnTo>
                <a:lnTo>
                  <a:pt x="9944" y="438"/>
                </a:lnTo>
                <a:lnTo>
                  <a:pt x="9962" y="440"/>
                </a:lnTo>
                <a:lnTo>
                  <a:pt x="9988" y="442"/>
                </a:lnTo>
                <a:lnTo>
                  <a:pt x="10006" y="446"/>
                </a:lnTo>
                <a:lnTo>
                  <a:pt x="10026" y="452"/>
                </a:lnTo>
                <a:lnTo>
                  <a:pt x="10048" y="458"/>
                </a:lnTo>
                <a:lnTo>
                  <a:pt x="10068" y="460"/>
                </a:lnTo>
                <a:lnTo>
                  <a:pt x="10088" y="460"/>
                </a:lnTo>
                <a:lnTo>
                  <a:pt x="10106" y="456"/>
                </a:lnTo>
                <a:lnTo>
                  <a:pt x="10120" y="452"/>
                </a:lnTo>
                <a:lnTo>
                  <a:pt x="10130" y="446"/>
                </a:lnTo>
                <a:lnTo>
                  <a:pt x="10132" y="444"/>
                </a:lnTo>
                <a:lnTo>
                  <a:pt x="10132" y="440"/>
                </a:lnTo>
                <a:lnTo>
                  <a:pt x="10132" y="438"/>
                </a:lnTo>
                <a:lnTo>
                  <a:pt x="10128" y="434"/>
                </a:lnTo>
                <a:lnTo>
                  <a:pt x="10126" y="430"/>
                </a:lnTo>
                <a:lnTo>
                  <a:pt x="10124" y="426"/>
                </a:lnTo>
                <a:lnTo>
                  <a:pt x="10124" y="418"/>
                </a:lnTo>
                <a:lnTo>
                  <a:pt x="10128" y="410"/>
                </a:lnTo>
                <a:lnTo>
                  <a:pt x="10132" y="400"/>
                </a:lnTo>
                <a:lnTo>
                  <a:pt x="10138" y="392"/>
                </a:lnTo>
                <a:lnTo>
                  <a:pt x="10140" y="384"/>
                </a:lnTo>
                <a:lnTo>
                  <a:pt x="10140" y="380"/>
                </a:lnTo>
                <a:lnTo>
                  <a:pt x="10140" y="376"/>
                </a:lnTo>
                <a:lnTo>
                  <a:pt x="10138" y="372"/>
                </a:lnTo>
                <a:lnTo>
                  <a:pt x="10134" y="370"/>
                </a:lnTo>
                <a:lnTo>
                  <a:pt x="10126" y="366"/>
                </a:lnTo>
                <a:lnTo>
                  <a:pt x="10122" y="362"/>
                </a:lnTo>
                <a:lnTo>
                  <a:pt x="10118" y="358"/>
                </a:lnTo>
                <a:lnTo>
                  <a:pt x="10114" y="356"/>
                </a:lnTo>
                <a:lnTo>
                  <a:pt x="10108" y="356"/>
                </a:lnTo>
                <a:lnTo>
                  <a:pt x="10102" y="356"/>
                </a:lnTo>
                <a:lnTo>
                  <a:pt x="10074" y="364"/>
                </a:lnTo>
                <a:lnTo>
                  <a:pt x="10058" y="368"/>
                </a:lnTo>
                <a:lnTo>
                  <a:pt x="10050" y="370"/>
                </a:lnTo>
                <a:lnTo>
                  <a:pt x="10050" y="368"/>
                </a:lnTo>
                <a:lnTo>
                  <a:pt x="10048" y="366"/>
                </a:lnTo>
                <a:lnTo>
                  <a:pt x="10050" y="362"/>
                </a:lnTo>
                <a:lnTo>
                  <a:pt x="10052" y="358"/>
                </a:lnTo>
                <a:lnTo>
                  <a:pt x="10054" y="352"/>
                </a:lnTo>
                <a:lnTo>
                  <a:pt x="10052" y="350"/>
                </a:lnTo>
                <a:lnTo>
                  <a:pt x="10046" y="348"/>
                </a:lnTo>
                <a:close/>
                <a:moveTo>
                  <a:pt x="9818" y="352"/>
                </a:moveTo>
                <a:lnTo>
                  <a:pt x="9818" y="352"/>
                </a:lnTo>
                <a:lnTo>
                  <a:pt x="9802" y="352"/>
                </a:lnTo>
                <a:lnTo>
                  <a:pt x="9790" y="354"/>
                </a:lnTo>
                <a:lnTo>
                  <a:pt x="9784" y="356"/>
                </a:lnTo>
                <a:lnTo>
                  <a:pt x="9780" y="360"/>
                </a:lnTo>
                <a:lnTo>
                  <a:pt x="9778" y="364"/>
                </a:lnTo>
                <a:lnTo>
                  <a:pt x="9782" y="368"/>
                </a:lnTo>
                <a:lnTo>
                  <a:pt x="9788" y="372"/>
                </a:lnTo>
                <a:lnTo>
                  <a:pt x="9798" y="374"/>
                </a:lnTo>
                <a:lnTo>
                  <a:pt x="9808" y="376"/>
                </a:lnTo>
                <a:lnTo>
                  <a:pt x="9814" y="380"/>
                </a:lnTo>
                <a:lnTo>
                  <a:pt x="9820" y="386"/>
                </a:lnTo>
                <a:lnTo>
                  <a:pt x="9822" y="388"/>
                </a:lnTo>
                <a:lnTo>
                  <a:pt x="9826" y="388"/>
                </a:lnTo>
                <a:lnTo>
                  <a:pt x="9844" y="386"/>
                </a:lnTo>
                <a:lnTo>
                  <a:pt x="9872" y="380"/>
                </a:lnTo>
                <a:lnTo>
                  <a:pt x="9884" y="374"/>
                </a:lnTo>
                <a:lnTo>
                  <a:pt x="9888" y="372"/>
                </a:lnTo>
                <a:lnTo>
                  <a:pt x="9888" y="370"/>
                </a:lnTo>
                <a:lnTo>
                  <a:pt x="9886" y="366"/>
                </a:lnTo>
                <a:lnTo>
                  <a:pt x="9882" y="364"/>
                </a:lnTo>
                <a:lnTo>
                  <a:pt x="9870" y="362"/>
                </a:lnTo>
                <a:lnTo>
                  <a:pt x="9854" y="358"/>
                </a:lnTo>
                <a:lnTo>
                  <a:pt x="9818" y="352"/>
                </a:lnTo>
                <a:close/>
                <a:moveTo>
                  <a:pt x="9850" y="306"/>
                </a:moveTo>
                <a:lnTo>
                  <a:pt x="9850" y="306"/>
                </a:lnTo>
                <a:lnTo>
                  <a:pt x="9838" y="314"/>
                </a:lnTo>
                <a:lnTo>
                  <a:pt x="9826" y="318"/>
                </a:lnTo>
                <a:lnTo>
                  <a:pt x="9804" y="328"/>
                </a:lnTo>
                <a:lnTo>
                  <a:pt x="9798" y="330"/>
                </a:lnTo>
                <a:lnTo>
                  <a:pt x="9794" y="334"/>
                </a:lnTo>
                <a:lnTo>
                  <a:pt x="9798" y="336"/>
                </a:lnTo>
                <a:lnTo>
                  <a:pt x="9806" y="336"/>
                </a:lnTo>
                <a:lnTo>
                  <a:pt x="9818" y="338"/>
                </a:lnTo>
                <a:lnTo>
                  <a:pt x="9826" y="340"/>
                </a:lnTo>
                <a:lnTo>
                  <a:pt x="9840" y="346"/>
                </a:lnTo>
                <a:lnTo>
                  <a:pt x="9858" y="352"/>
                </a:lnTo>
                <a:lnTo>
                  <a:pt x="9868" y="354"/>
                </a:lnTo>
                <a:lnTo>
                  <a:pt x="9884" y="356"/>
                </a:lnTo>
                <a:lnTo>
                  <a:pt x="9898" y="358"/>
                </a:lnTo>
                <a:lnTo>
                  <a:pt x="9906" y="358"/>
                </a:lnTo>
                <a:lnTo>
                  <a:pt x="9908" y="354"/>
                </a:lnTo>
                <a:lnTo>
                  <a:pt x="9910" y="352"/>
                </a:lnTo>
                <a:lnTo>
                  <a:pt x="9912" y="348"/>
                </a:lnTo>
                <a:lnTo>
                  <a:pt x="9916" y="346"/>
                </a:lnTo>
                <a:lnTo>
                  <a:pt x="9928" y="342"/>
                </a:lnTo>
                <a:lnTo>
                  <a:pt x="9946" y="340"/>
                </a:lnTo>
                <a:lnTo>
                  <a:pt x="9990" y="340"/>
                </a:lnTo>
                <a:lnTo>
                  <a:pt x="10018" y="340"/>
                </a:lnTo>
                <a:lnTo>
                  <a:pt x="10026" y="338"/>
                </a:lnTo>
                <a:lnTo>
                  <a:pt x="10030" y="336"/>
                </a:lnTo>
                <a:lnTo>
                  <a:pt x="10030" y="330"/>
                </a:lnTo>
                <a:lnTo>
                  <a:pt x="10026" y="322"/>
                </a:lnTo>
                <a:lnTo>
                  <a:pt x="10022" y="314"/>
                </a:lnTo>
                <a:lnTo>
                  <a:pt x="10022" y="312"/>
                </a:lnTo>
                <a:lnTo>
                  <a:pt x="10022" y="308"/>
                </a:lnTo>
                <a:lnTo>
                  <a:pt x="10028" y="306"/>
                </a:lnTo>
                <a:lnTo>
                  <a:pt x="10036" y="306"/>
                </a:lnTo>
                <a:lnTo>
                  <a:pt x="10050" y="304"/>
                </a:lnTo>
                <a:lnTo>
                  <a:pt x="10054" y="300"/>
                </a:lnTo>
                <a:lnTo>
                  <a:pt x="10054" y="298"/>
                </a:lnTo>
                <a:lnTo>
                  <a:pt x="10052" y="296"/>
                </a:lnTo>
                <a:lnTo>
                  <a:pt x="10048" y="292"/>
                </a:lnTo>
                <a:lnTo>
                  <a:pt x="10044" y="288"/>
                </a:lnTo>
                <a:lnTo>
                  <a:pt x="10032" y="288"/>
                </a:lnTo>
                <a:lnTo>
                  <a:pt x="10024" y="286"/>
                </a:lnTo>
                <a:lnTo>
                  <a:pt x="10016" y="284"/>
                </a:lnTo>
                <a:lnTo>
                  <a:pt x="10008" y="280"/>
                </a:lnTo>
                <a:lnTo>
                  <a:pt x="9998" y="274"/>
                </a:lnTo>
                <a:lnTo>
                  <a:pt x="9980" y="260"/>
                </a:lnTo>
                <a:lnTo>
                  <a:pt x="9972" y="254"/>
                </a:lnTo>
                <a:lnTo>
                  <a:pt x="9964" y="252"/>
                </a:lnTo>
                <a:lnTo>
                  <a:pt x="9956" y="250"/>
                </a:lnTo>
                <a:lnTo>
                  <a:pt x="9948" y="250"/>
                </a:lnTo>
                <a:lnTo>
                  <a:pt x="9940" y="252"/>
                </a:lnTo>
                <a:lnTo>
                  <a:pt x="9932" y="258"/>
                </a:lnTo>
                <a:lnTo>
                  <a:pt x="9922" y="262"/>
                </a:lnTo>
                <a:lnTo>
                  <a:pt x="9914" y="264"/>
                </a:lnTo>
                <a:lnTo>
                  <a:pt x="9898" y="268"/>
                </a:lnTo>
                <a:lnTo>
                  <a:pt x="9878" y="272"/>
                </a:lnTo>
                <a:lnTo>
                  <a:pt x="9866" y="276"/>
                </a:lnTo>
                <a:lnTo>
                  <a:pt x="9852" y="284"/>
                </a:lnTo>
                <a:lnTo>
                  <a:pt x="9842" y="290"/>
                </a:lnTo>
                <a:lnTo>
                  <a:pt x="9840" y="294"/>
                </a:lnTo>
                <a:lnTo>
                  <a:pt x="9842" y="296"/>
                </a:lnTo>
                <a:lnTo>
                  <a:pt x="9848" y="296"/>
                </a:lnTo>
                <a:lnTo>
                  <a:pt x="9854" y="296"/>
                </a:lnTo>
                <a:lnTo>
                  <a:pt x="9856" y="298"/>
                </a:lnTo>
                <a:lnTo>
                  <a:pt x="9858" y="298"/>
                </a:lnTo>
                <a:lnTo>
                  <a:pt x="9856" y="300"/>
                </a:lnTo>
                <a:lnTo>
                  <a:pt x="9850" y="306"/>
                </a:lnTo>
                <a:close/>
                <a:moveTo>
                  <a:pt x="9800" y="264"/>
                </a:moveTo>
                <a:lnTo>
                  <a:pt x="9800" y="264"/>
                </a:lnTo>
                <a:lnTo>
                  <a:pt x="9798" y="260"/>
                </a:lnTo>
                <a:lnTo>
                  <a:pt x="9792" y="258"/>
                </a:lnTo>
                <a:lnTo>
                  <a:pt x="9772" y="254"/>
                </a:lnTo>
                <a:lnTo>
                  <a:pt x="9750" y="254"/>
                </a:lnTo>
                <a:lnTo>
                  <a:pt x="9744" y="256"/>
                </a:lnTo>
                <a:lnTo>
                  <a:pt x="9740" y="258"/>
                </a:lnTo>
                <a:lnTo>
                  <a:pt x="9740" y="260"/>
                </a:lnTo>
                <a:lnTo>
                  <a:pt x="9740" y="264"/>
                </a:lnTo>
                <a:lnTo>
                  <a:pt x="9746" y="266"/>
                </a:lnTo>
                <a:lnTo>
                  <a:pt x="9756" y="268"/>
                </a:lnTo>
                <a:lnTo>
                  <a:pt x="9768" y="270"/>
                </a:lnTo>
                <a:lnTo>
                  <a:pt x="9790" y="268"/>
                </a:lnTo>
                <a:lnTo>
                  <a:pt x="9798" y="266"/>
                </a:lnTo>
                <a:lnTo>
                  <a:pt x="9800" y="264"/>
                </a:lnTo>
                <a:close/>
                <a:moveTo>
                  <a:pt x="9948" y="604"/>
                </a:moveTo>
                <a:lnTo>
                  <a:pt x="9948" y="604"/>
                </a:lnTo>
                <a:lnTo>
                  <a:pt x="9956" y="608"/>
                </a:lnTo>
                <a:lnTo>
                  <a:pt x="9966" y="608"/>
                </a:lnTo>
                <a:lnTo>
                  <a:pt x="9976" y="606"/>
                </a:lnTo>
                <a:lnTo>
                  <a:pt x="9984" y="602"/>
                </a:lnTo>
                <a:lnTo>
                  <a:pt x="9992" y="598"/>
                </a:lnTo>
                <a:lnTo>
                  <a:pt x="9998" y="594"/>
                </a:lnTo>
                <a:lnTo>
                  <a:pt x="10000" y="590"/>
                </a:lnTo>
                <a:lnTo>
                  <a:pt x="10000" y="586"/>
                </a:lnTo>
                <a:lnTo>
                  <a:pt x="9996" y="586"/>
                </a:lnTo>
                <a:lnTo>
                  <a:pt x="9988" y="586"/>
                </a:lnTo>
                <a:lnTo>
                  <a:pt x="9968" y="590"/>
                </a:lnTo>
                <a:lnTo>
                  <a:pt x="9952" y="598"/>
                </a:lnTo>
                <a:lnTo>
                  <a:pt x="9948" y="602"/>
                </a:lnTo>
                <a:lnTo>
                  <a:pt x="9948" y="604"/>
                </a:lnTo>
                <a:close/>
                <a:moveTo>
                  <a:pt x="12072" y="7092"/>
                </a:moveTo>
                <a:lnTo>
                  <a:pt x="12072" y="7092"/>
                </a:lnTo>
                <a:lnTo>
                  <a:pt x="12074" y="7094"/>
                </a:lnTo>
                <a:lnTo>
                  <a:pt x="12080" y="7094"/>
                </a:lnTo>
                <a:lnTo>
                  <a:pt x="12086" y="7096"/>
                </a:lnTo>
                <a:lnTo>
                  <a:pt x="12090" y="7094"/>
                </a:lnTo>
                <a:lnTo>
                  <a:pt x="12090" y="7090"/>
                </a:lnTo>
                <a:lnTo>
                  <a:pt x="12088" y="7088"/>
                </a:lnTo>
                <a:lnTo>
                  <a:pt x="12082" y="7086"/>
                </a:lnTo>
                <a:lnTo>
                  <a:pt x="12076" y="7088"/>
                </a:lnTo>
                <a:lnTo>
                  <a:pt x="12072" y="7090"/>
                </a:lnTo>
                <a:lnTo>
                  <a:pt x="12072" y="7092"/>
                </a:lnTo>
                <a:close/>
                <a:moveTo>
                  <a:pt x="11908" y="7044"/>
                </a:moveTo>
                <a:lnTo>
                  <a:pt x="11908" y="7044"/>
                </a:lnTo>
                <a:lnTo>
                  <a:pt x="11906" y="7052"/>
                </a:lnTo>
                <a:lnTo>
                  <a:pt x="11906" y="7062"/>
                </a:lnTo>
                <a:lnTo>
                  <a:pt x="11908" y="7070"/>
                </a:lnTo>
                <a:lnTo>
                  <a:pt x="11910" y="7072"/>
                </a:lnTo>
                <a:lnTo>
                  <a:pt x="11912" y="7072"/>
                </a:lnTo>
                <a:lnTo>
                  <a:pt x="11916" y="7068"/>
                </a:lnTo>
                <a:lnTo>
                  <a:pt x="11916" y="7064"/>
                </a:lnTo>
                <a:lnTo>
                  <a:pt x="11916" y="7054"/>
                </a:lnTo>
                <a:lnTo>
                  <a:pt x="11912" y="7046"/>
                </a:lnTo>
                <a:lnTo>
                  <a:pt x="11910" y="7044"/>
                </a:lnTo>
                <a:lnTo>
                  <a:pt x="11908" y="7044"/>
                </a:lnTo>
                <a:close/>
                <a:moveTo>
                  <a:pt x="12082" y="7064"/>
                </a:moveTo>
                <a:lnTo>
                  <a:pt x="12082" y="7064"/>
                </a:lnTo>
                <a:lnTo>
                  <a:pt x="12080" y="7062"/>
                </a:lnTo>
                <a:lnTo>
                  <a:pt x="12076" y="7060"/>
                </a:lnTo>
                <a:lnTo>
                  <a:pt x="12074" y="7054"/>
                </a:lnTo>
                <a:lnTo>
                  <a:pt x="12072" y="7054"/>
                </a:lnTo>
                <a:lnTo>
                  <a:pt x="12070" y="7052"/>
                </a:lnTo>
                <a:lnTo>
                  <a:pt x="12066" y="7056"/>
                </a:lnTo>
                <a:lnTo>
                  <a:pt x="12062" y="7062"/>
                </a:lnTo>
                <a:lnTo>
                  <a:pt x="12064" y="7064"/>
                </a:lnTo>
                <a:lnTo>
                  <a:pt x="12068" y="7066"/>
                </a:lnTo>
                <a:lnTo>
                  <a:pt x="12068" y="7068"/>
                </a:lnTo>
                <a:lnTo>
                  <a:pt x="12072" y="7076"/>
                </a:lnTo>
                <a:lnTo>
                  <a:pt x="12072" y="7080"/>
                </a:lnTo>
                <a:lnTo>
                  <a:pt x="12076" y="7082"/>
                </a:lnTo>
                <a:lnTo>
                  <a:pt x="12080" y="7082"/>
                </a:lnTo>
                <a:lnTo>
                  <a:pt x="12084" y="7080"/>
                </a:lnTo>
                <a:lnTo>
                  <a:pt x="12086" y="7078"/>
                </a:lnTo>
                <a:lnTo>
                  <a:pt x="12084" y="7076"/>
                </a:lnTo>
                <a:lnTo>
                  <a:pt x="12082" y="7074"/>
                </a:lnTo>
                <a:lnTo>
                  <a:pt x="12082" y="7072"/>
                </a:lnTo>
                <a:lnTo>
                  <a:pt x="12084" y="7068"/>
                </a:lnTo>
                <a:lnTo>
                  <a:pt x="12086" y="7066"/>
                </a:lnTo>
                <a:lnTo>
                  <a:pt x="12082" y="7064"/>
                </a:lnTo>
                <a:close/>
                <a:moveTo>
                  <a:pt x="11654" y="6830"/>
                </a:moveTo>
                <a:lnTo>
                  <a:pt x="11654" y="6830"/>
                </a:lnTo>
                <a:lnTo>
                  <a:pt x="11650" y="6828"/>
                </a:lnTo>
                <a:lnTo>
                  <a:pt x="11644" y="6828"/>
                </a:lnTo>
                <a:lnTo>
                  <a:pt x="11636" y="6828"/>
                </a:lnTo>
                <a:lnTo>
                  <a:pt x="11628" y="6830"/>
                </a:lnTo>
                <a:lnTo>
                  <a:pt x="11622" y="6834"/>
                </a:lnTo>
                <a:lnTo>
                  <a:pt x="11616" y="6838"/>
                </a:lnTo>
                <a:lnTo>
                  <a:pt x="11612" y="6842"/>
                </a:lnTo>
                <a:lnTo>
                  <a:pt x="11610" y="6848"/>
                </a:lnTo>
                <a:lnTo>
                  <a:pt x="11614" y="6850"/>
                </a:lnTo>
                <a:lnTo>
                  <a:pt x="11618" y="6852"/>
                </a:lnTo>
                <a:lnTo>
                  <a:pt x="11630" y="6852"/>
                </a:lnTo>
                <a:lnTo>
                  <a:pt x="11644" y="6852"/>
                </a:lnTo>
                <a:lnTo>
                  <a:pt x="11652" y="6850"/>
                </a:lnTo>
                <a:lnTo>
                  <a:pt x="11660" y="6848"/>
                </a:lnTo>
                <a:lnTo>
                  <a:pt x="11668" y="6846"/>
                </a:lnTo>
                <a:lnTo>
                  <a:pt x="11674" y="6846"/>
                </a:lnTo>
                <a:lnTo>
                  <a:pt x="11674" y="6844"/>
                </a:lnTo>
                <a:lnTo>
                  <a:pt x="11674" y="6840"/>
                </a:lnTo>
                <a:lnTo>
                  <a:pt x="11670" y="6838"/>
                </a:lnTo>
                <a:lnTo>
                  <a:pt x="11666" y="6838"/>
                </a:lnTo>
                <a:lnTo>
                  <a:pt x="11660" y="6836"/>
                </a:lnTo>
                <a:lnTo>
                  <a:pt x="11654" y="6830"/>
                </a:lnTo>
                <a:close/>
                <a:moveTo>
                  <a:pt x="12084" y="7156"/>
                </a:moveTo>
                <a:lnTo>
                  <a:pt x="12084" y="7156"/>
                </a:lnTo>
                <a:lnTo>
                  <a:pt x="12086" y="7146"/>
                </a:lnTo>
                <a:lnTo>
                  <a:pt x="12086" y="7136"/>
                </a:lnTo>
                <a:lnTo>
                  <a:pt x="12084" y="7128"/>
                </a:lnTo>
                <a:lnTo>
                  <a:pt x="12082" y="7120"/>
                </a:lnTo>
                <a:lnTo>
                  <a:pt x="12078" y="7114"/>
                </a:lnTo>
                <a:lnTo>
                  <a:pt x="12076" y="7112"/>
                </a:lnTo>
                <a:lnTo>
                  <a:pt x="12074" y="7112"/>
                </a:lnTo>
                <a:lnTo>
                  <a:pt x="12072" y="7114"/>
                </a:lnTo>
                <a:lnTo>
                  <a:pt x="12070" y="7116"/>
                </a:lnTo>
                <a:lnTo>
                  <a:pt x="12068" y="7118"/>
                </a:lnTo>
                <a:lnTo>
                  <a:pt x="12064" y="7116"/>
                </a:lnTo>
                <a:lnTo>
                  <a:pt x="12058" y="7116"/>
                </a:lnTo>
                <a:lnTo>
                  <a:pt x="12056" y="7116"/>
                </a:lnTo>
                <a:lnTo>
                  <a:pt x="12054" y="7120"/>
                </a:lnTo>
                <a:lnTo>
                  <a:pt x="12050" y="7122"/>
                </a:lnTo>
                <a:lnTo>
                  <a:pt x="12048" y="7122"/>
                </a:lnTo>
                <a:lnTo>
                  <a:pt x="12040" y="7122"/>
                </a:lnTo>
                <a:lnTo>
                  <a:pt x="12022" y="7128"/>
                </a:lnTo>
                <a:lnTo>
                  <a:pt x="12010" y="7132"/>
                </a:lnTo>
                <a:lnTo>
                  <a:pt x="12002" y="7132"/>
                </a:lnTo>
                <a:lnTo>
                  <a:pt x="11996" y="7130"/>
                </a:lnTo>
                <a:lnTo>
                  <a:pt x="11990" y="7128"/>
                </a:lnTo>
                <a:lnTo>
                  <a:pt x="11980" y="7120"/>
                </a:lnTo>
                <a:lnTo>
                  <a:pt x="11974" y="7116"/>
                </a:lnTo>
                <a:lnTo>
                  <a:pt x="11966" y="7114"/>
                </a:lnTo>
                <a:lnTo>
                  <a:pt x="11958" y="7114"/>
                </a:lnTo>
                <a:lnTo>
                  <a:pt x="11952" y="7110"/>
                </a:lnTo>
                <a:lnTo>
                  <a:pt x="11944" y="7104"/>
                </a:lnTo>
                <a:lnTo>
                  <a:pt x="11942" y="7104"/>
                </a:lnTo>
                <a:lnTo>
                  <a:pt x="11940" y="7104"/>
                </a:lnTo>
                <a:lnTo>
                  <a:pt x="11936" y="7118"/>
                </a:lnTo>
                <a:lnTo>
                  <a:pt x="11936" y="7126"/>
                </a:lnTo>
                <a:lnTo>
                  <a:pt x="11938" y="7134"/>
                </a:lnTo>
                <a:lnTo>
                  <a:pt x="11946" y="7158"/>
                </a:lnTo>
                <a:lnTo>
                  <a:pt x="11950" y="7168"/>
                </a:lnTo>
                <a:lnTo>
                  <a:pt x="11954" y="7172"/>
                </a:lnTo>
                <a:lnTo>
                  <a:pt x="11958" y="7176"/>
                </a:lnTo>
                <a:lnTo>
                  <a:pt x="11958" y="7184"/>
                </a:lnTo>
                <a:lnTo>
                  <a:pt x="11960" y="7198"/>
                </a:lnTo>
                <a:lnTo>
                  <a:pt x="11962" y="7212"/>
                </a:lnTo>
                <a:lnTo>
                  <a:pt x="11966" y="7226"/>
                </a:lnTo>
                <a:lnTo>
                  <a:pt x="11970" y="7232"/>
                </a:lnTo>
                <a:lnTo>
                  <a:pt x="11976" y="7236"/>
                </a:lnTo>
                <a:lnTo>
                  <a:pt x="11980" y="7240"/>
                </a:lnTo>
                <a:lnTo>
                  <a:pt x="11984" y="7246"/>
                </a:lnTo>
                <a:lnTo>
                  <a:pt x="11988" y="7256"/>
                </a:lnTo>
                <a:lnTo>
                  <a:pt x="11992" y="7264"/>
                </a:lnTo>
                <a:lnTo>
                  <a:pt x="11996" y="7266"/>
                </a:lnTo>
                <a:lnTo>
                  <a:pt x="11998" y="7266"/>
                </a:lnTo>
                <a:lnTo>
                  <a:pt x="12004" y="7264"/>
                </a:lnTo>
                <a:lnTo>
                  <a:pt x="12008" y="7266"/>
                </a:lnTo>
                <a:lnTo>
                  <a:pt x="12022" y="7270"/>
                </a:lnTo>
                <a:lnTo>
                  <a:pt x="12026" y="7270"/>
                </a:lnTo>
                <a:lnTo>
                  <a:pt x="12028" y="7270"/>
                </a:lnTo>
                <a:lnTo>
                  <a:pt x="12030" y="7264"/>
                </a:lnTo>
                <a:lnTo>
                  <a:pt x="12032" y="7258"/>
                </a:lnTo>
                <a:lnTo>
                  <a:pt x="12038" y="7254"/>
                </a:lnTo>
                <a:lnTo>
                  <a:pt x="12040" y="7250"/>
                </a:lnTo>
                <a:lnTo>
                  <a:pt x="12042" y="7246"/>
                </a:lnTo>
                <a:lnTo>
                  <a:pt x="12046" y="7238"/>
                </a:lnTo>
                <a:lnTo>
                  <a:pt x="12046" y="7234"/>
                </a:lnTo>
                <a:lnTo>
                  <a:pt x="12048" y="7232"/>
                </a:lnTo>
                <a:lnTo>
                  <a:pt x="12050" y="7234"/>
                </a:lnTo>
                <a:lnTo>
                  <a:pt x="12050" y="7236"/>
                </a:lnTo>
                <a:lnTo>
                  <a:pt x="12052" y="7238"/>
                </a:lnTo>
                <a:lnTo>
                  <a:pt x="12054" y="7234"/>
                </a:lnTo>
                <a:lnTo>
                  <a:pt x="12056" y="7228"/>
                </a:lnTo>
                <a:lnTo>
                  <a:pt x="12060" y="7228"/>
                </a:lnTo>
                <a:lnTo>
                  <a:pt x="12062" y="7230"/>
                </a:lnTo>
                <a:lnTo>
                  <a:pt x="12064" y="7234"/>
                </a:lnTo>
                <a:lnTo>
                  <a:pt x="12064" y="7236"/>
                </a:lnTo>
                <a:lnTo>
                  <a:pt x="12062" y="7236"/>
                </a:lnTo>
                <a:lnTo>
                  <a:pt x="12058" y="7238"/>
                </a:lnTo>
                <a:lnTo>
                  <a:pt x="12058" y="7240"/>
                </a:lnTo>
                <a:lnTo>
                  <a:pt x="12060" y="7246"/>
                </a:lnTo>
                <a:lnTo>
                  <a:pt x="12068" y="7248"/>
                </a:lnTo>
                <a:lnTo>
                  <a:pt x="12072" y="7248"/>
                </a:lnTo>
                <a:lnTo>
                  <a:pt x="12074" y="7244"/>
                </a:lnTo>
                <a:lnTo>
                  <a:pt x="12072" y="7232"/>
                </a:lnTo>
                <a:lnTo>
                  <a:pt x="12070" y="7218"/>
                </a:lnTo>
                <a:lnTo>
                  <a:pt x="12070" y="7214"/>
                </a:lnTo>
                <a:lnTo>
                  <a:pt x="12072" y="7210"/>
                </a:lnTo>
                <a:lnTo>
                  <a:pt x="12074" y="7208"/>
                </a:lnTo>
                <a:lnTo>
                  <a:pt x="12074" y="7204"/>
                </a:lnTo>
                <a:lnTo>
                  <a:pt x="12074" y="7198"/>
                </a:lnTo>
                <a:lnTo>
                  <a:pt x="12072" y="7192"/>
                </a:lnTo>
                <a:lnTo>
                  <a:pt x="12072" y="7188"/>
                </a:lnTo>
                <a:lnTo>
                  <a:pt x="12076" y="7186"/>
                </a:lnTo>
                <a:lnTo>
                  <a:pt x="12078" y="7184"/>
                </a:lnTo>
                <a:lnTo>
                  <a:pt x="12080" y="7184"/>
                </a:lnTo>
                <a:lnTo>
                  <a:pt x="12082" y="7190"/>
                </a:lnTo>
                <a:lnTo>
                  <a:pt x="12082" y="7194"/>
                </a:lnTo>
                <a:lnTo>
                  <a:pt x="12084" y="7194"/>
                </a:lnTo>
                <a:lnTo>
                  <a:pt x="12086" y="7192"/>
                </a:lnTo>
                <a:lnTo>
                  <a:pt x="12086" y="7188"/>
                </a:lnTo>
                <a:lnTo>
                  <a:pt x="12086" y="7186"/>
                </a:lnTo>
                <a:lnTo>
                  <a:pt x="12084" y="7180"/>
                </a:lnTo>
                <a:lnTo>
                  <a:pt x="12082" y="7170"/>
                </a:lnTo>
                <a:lnTo>
                  <a:pt x="12082" y="7164"/>
                </a:lnTo>
                <a:lnTo>
                  <a:pt x="12084" y="7156"/>
                </a:lnTo>
                <a:close/>
                <a:moveTo>
                  <a:pt x="12280" y="6382"/>
                </a:moveTo>
                <a:lnTo>
                  <a:pt x="12280" y="6382"/>
                </a:lnTo>
                <a:lnTo>
                  <a:pt x="12284" y="6378"/>
                </a:lnTo>
                <a:lnTo>
                  <a:pt x="12284" y="6372"/>
                </a:lnTo>
                <a:lnTo>
                  <a:pt x="12282" y="6364"/>
                </a:lnTo>
                <a:lnTo>
                  <a:pt x="12280" y="6352"/>
                </a:lnTo>
                <a:lnTo>
                  <a:pt x="12280" y="6344"/>
                </a:lnTo>
                <a:lnTo>
                  <a:pt x="12280" y="6334"/>
                </a:lnTo>
                <a:lnTo>
                  <a:pt x="12280" y="6318"/>
                </a:lnTo>
                <a:lnTo>
                  <a:pt x="12278" y="6316"/>
                </a:lnTo>
                <a:lnTo>
                  <a:pt x="12276" y="6314"/>
                </a:lnTo>
                <a:lnTo>
                  <a:pt x="12274" y="6312"/>
                </a:lnTo>
                <a:lnTo>
                  <a:pt x="12272" y="6310"/>
                </a:lnTo>
                <a:lnTo>
                  <a:pt x="12268" y="6304"/>
                </a:lnTo>
                <a:lnTo>
                  <a:pt x="12266" y="6296"/>
                </a:lnTo>
                <a:lnTo>
                  <a:pt x="12264" y="6284"/>
                </a:lnTo>
                <a:lnTo>
                  <a:pt x="12260" y="6276"/>
                </a:lnTo>
                <a:lnTo>
                  <a:pt x="12252" y="6264"/>
                </a:lnTo>
                <a:lnTo>
                  <a:pt x="12242" y="6252"/>
                </a:lnTo>
                <a:lnTo>
                  <a:pt x="12230" y="6236"/>
                </a:lnTo>
                <a:lnTo>
                  <a:pt x="12222" y="6224"/>
                </a:lnTo>
                <a:lnTo>
                  <a:pt x="12218" y="6222"/>
                </a:lnTo>
                <a:lnTo>
                  <a:pt x="12216" y="6222"/>
                </a:lnTo>
                <a:lnTo>
                  <a:pt x="12214" y="6220"/>
                </a:lnTo>
                <a:lnTo>
                  <a:pt x="12210" y="6218"/>
                </a:lnTo>
                <a:lnTo>
                  <a:pt x="12204" y="6214"/>
                </a:lnTo>
                <a:lnTo>
                  <a:pt x="12196" y="6206"/>
                </a:lnTo>
                <a:lnTo>
                  <a:pt x="12190" y="6194"/>
                </a:lnTo>
                <a:lnTo>
                  <a:pt x="12186" y="6184"/>
                </a:lnTo>
                <a:lnTo>
                  <a:pt x="12184" y="6174"/>
                </a:lnTo>
                <a:lnTo>
                  <a:pt x="12184" y="6166"/>
                </a:lnTo>
                <a:lnTo>
                  <a:pt x="12184" y="6150"/>
                </a:lnTo>
                <a:lnTo>
                  <a:pt x="12184" y="6144"/>
                </a:lnTo>
                <a:lnTo>
                  <a:pt x="12182" y="6138"/>
                </a:lnTo>
                <a:lnTo>
                  <a:pt x="12178" y="6136"/>
                </a:lnTo>
                <a:lnTo>
                  <a:pt x="12176" y="6136"/>
                </a:lnTo>
                <a:lnTo>
                  <a:pt x="12172" y="6140"/>
                </a:lnTo>
                <a:lnTo>
                  <a:pt x="12172" y="6142"/>
                </a:lnTo>
                <a:lnTo>
                  <a:pt x="12170" y="6144"/>
                </a:lnTo>
                <a:lnTo>
                  <a:pt x="12166" y="6140"/>
                </a:lnTo>
                <a:lnTo>
                  <a:pt x="12160" y="6134"/>
                </a:lnTo>
                <a:lnTo>
                  <a:pt x="12154" y="6130"/>
                </a:lnTo>
                <a:lnTo>
                  <a:pt x="12152" y="6128"/>
                </a:lnTo>
                <a:lnTo>
                  <a:pt x="12150" y="6132"/>
                </a:lnTo>
                <a:lnTo>
                  <a:pt x="12150" y="6136"/>
                </a:lnTo>
                <a:lnTo>
                  <a:pt x="12150" y="6142"/>
                </a:lnTo>
                <a:lnTo>
                  <a:pt x="12148" y="6144"/>
                </a:lnTo>
                <a:lnTo>
                  <a:pt x="12146" y="6144"/>
                </a:lnTo>
                <a:lnTo>
                  <a:pt x="12140" y="6140"/>
                </a:lnTo>
                <a:lnTo>
                  <a:pt x="12134" y="6132"/>
                </a:lnTo>
                <a:lnTo>
                  <a:pt x="12132" y="6126"/>
                </a:lnTo>
                <a:lnTo>
                  <a:pt x="12132" y="6120"/>
                </a:lnTo>
                <a:lnTo>
                  <a:pt x="12132" y="6114"/>
                </a:lnTo>
                <a:lnTo>
                  <a:pt x="12134" y="6104"/>
                </a:lnTo>
                <a:lnTo>
                  <a:pt x="12134" y="6100"/>
                </a:lnTo>
                <a:lnTo>
                  <a:pt x="12132" y="6092"/>
                </a:lnTo>
                <a:lnTo>
                  <a:pt x="12128" y="6086"/>
                </a:lnTo>
                <a:lnTo>
                  <a:pt x="12122" y="6078"/>
                </a:lnTo>
                <a:lnTo>
                  <a:pt x="12110" y="6062"/>
                </a:lnTo>
                <a:lnTo>
                  <a:pt x="12100" y="6050"/>
                </a:lnTo>
                <a:lnTo>
                  <a:pt x="12100" y="6048"/>
                </a:lnTo>
                <a:lnTo>
                  <a:pt x="12102" y="6046"/>
                </a:lnTo>
                <a:lnTo>
                  <a:pt x="12106" y="6046"/>
                </a:lnTo>
                <a:lnTo>
                  <a:pt x="12110" y="6044"/>
                </a:lnTo>
                <a:lnTo>
                  <a:pt x="12110" y="6042"/>
                </a:lnTo>
                <a:lnTo>
                  <a:pt x="12110" y="6038"/>
                </a:lnTo>
                <a:lnTo>
                  <a:pt x="12106" y="6034"/>
                </a:lnTo>
                <a:lnTo>
                  <a:pt x="12100" y="6028"/>
                </a:lnTo>
                <a:lnTo>
                  <a:pt x="12092" y="6022"/>
                </a:lnTo>
                <a:lnTo>
                  <a:pt x="12080" y="6018"/>
                </a:lnTo>
                <a:lnTo>
                  <a:pt x="12070" y="6012"/>
                </a:lnTo>
                <a:lnTo>
                  <a:pt x="12062" y="6008"/>
                </a:lnTo>
                <a:lnTo>
                  <a:pt x="12058" y="6004"/>
                </a:lnTo>
                <a:lnTo>
                  <a:pt x="12056" y="6000"/>
                </a:lnTo>
                <a:lnTo>
                  <a:pt x="12054" y="5996"/>
                </a:lnTo>
                <a:lnTo>
                  <a:pt x="12050" y="5992"/>
                </a:lnTo>
                <a:lnTo>
                  <a:pt x="12044" y="5988"/>
                </a:lnTo>
                <a:lnTo>
                  <a:pt x="12034" y="5986"/>
                </a:lnTo>
                <a:lnTo>
                  <a:pt x="12024" y="5982"/>
                </a:lnTo>
                <a:lnTo>
                  <a:pt x="12016" y="5978"/>
                </a:lnTo>
                <a:lnTo>
                  <a:pt x="12012" y="5972"/>
                </a:lnTo>
                <a:lnTo>
                  <a:pt x="12008" y="5968"/>
                </a:lnTo>
                <a:lnTo>
                  <a:pt x="12004" y="5954"/>
                </a:lnTo>
                <a:lnTo>
                  <a:pt x="12002" y="5948"/>
                </a:lnTo>
                <a:lnTo>
                  <a:pt x="11998" y="5942"/>
                </a:lnTo>
                <a:lnTo>
                  <a:pt x="11996" y="5934"/>
                </a:lnTo>
                <a:lnTo>
                  <a:pt x="11994" y="5926"/>
                </a:lnTo>
                <a:lnTo>
                  <a:pt x="11994" y="5904"/>
                </a:lnTo>
                <a:lnTo>
                  <a:pt x="11992" y="5892"/>
                </a:lnTo>
                <a:lnTo>
                  <a:pt x="11990" y="5880"/>
                </a:lnTo>
                <a:lnTo>
                  <a:pt x="11986" y="5868"/>
                </a:lnTo>
                <a:lnTo>
                  <a:pt x="11978" y="5856"/>
                </a:lnTo>
                <a:lnTo>
                  <a:pt x="11974" y="5852"/>
                </a:lnTo>
                <a:lnTo>
                  <a:pt x="11972" y="5846"/>
                </a:lnTo>
                <a:lnTo>
                  <a:pt x="11968" y="5832"/>
                </a:lnTo>
                <a:lnTo>
                  <a:pt x="11968" y="5818"/>
                </a:lnTo>
                <a:lnTo>
                  <a:pt x="11968" y="5804"/>
                </a:lnTo>
                <a:lnTo>
                  <a:pt x="11966" y="5790"/>
                </a:lnTo>
                <a:lnTo>
                  <a:pt x="11964" y="5776"/>
                </a:lnTo>
                <a:lnTo>
                  <a:pt x="11960" y="5766"/>
                </a:lnTo>
                <a:lnTo>
                  <a:pt x="11958" y="5760"/>
                </a:lnTo>
                <a:lnTo>
                  <a:pt x="11952" y="5758"/>
                </a:lnTo>
                <a:lnTo>
                  <a:pt x="11944" y="5750"/>
                </a:lnTo>
                <a:lnTo>
                  <a:pt x="11938" y="5744"/>
                </a:lnTo>
                <a:lnTo>
                  <a:pt x="11932" y="5732"/>
                </a:lnTo>
                <a:lnTo>
                  <a:pt x="11930" y="5728"/>
                </a:lnTo>
                <a:lnTo>
                  <a:pt x="11928" y="5728"/>
                </a:lnTo>
                <a:lnTo>
                  <a:pt x="11924" y="5730"/>
                </a:lnTo>
                <a:lnTo>
                  <a:pt x="11920" y="5736"/>
                </a:lnTo>
                <a:lnTo>
                  <a:pt x="11914" y="5742"/>
                </a:lnTo>
                <a:lnTo>
                  <a:pt x="11910" y="5744"/>
                </a:lnTo>
                <a:lnTo>
                  <a:pt x="11906" y="5740"/>
                </a:lnTo>
                <a:lnTo>
                  <a:pt x="11902" y="5736"/>
                </a:lnTo>
                <a:lnTo>
                  <a:pt x="11898" y="5728"/>
                </a:lnTo>
                <a:lnTo>
                  <a:pt x="11896" y="5720"/>
                </a:lnTo>
                <a:lnTo>
                  <a:pt x="11894" y="5704"/>
                </a:lnTo>
                <a:lnTo>
                  <a:pt x="11894" y="5690"/>
                </a:lnTo>
                <a:lnTo>
                  <a:pt x="11894" y="5674"/>
                </a:lnTo>
                <a:lnTo>
                  <a:pt x="11890" y="5660"/>
                </a:lnTo>
                <a:lnTo>
                  <a:pt x="11886" y="5652"/>
                </a:lnTo>
                <a:lnTo>
                  <a:pt x="11882" y="5646"/>
                </a:lnTo>
                <a:lnTo>
                  <a:pt x="11878" y="5640"/>
                </a:lnTo>
                <a:lnTo>
                  <a:pt x="11876" y="5636"/>
                </a:lnTo>
                <a:lnTo>
                  <a:pt x="11878" y="5628"/>
                </a:lnTo>
                <a:lnTo>
                  <a:pt x="11878" y="5622"/>
                </a:lnTo>
                <a:lnTo>
                  <a:pt x="11878" y="5620"/>
                </a:lnTo>
                <a:lnTo>
                  <a:pt x="11874" y="5618"/>
                </a:lnTo>
                <a:lnTo>
                  <a:pt x="11870" y="5616"/>
                </a:lnTo>
                <a:lnTo>
                  <a:pt x="11868" y="5612"/>
                </a:lnTo>
                <a:lnTo>
                  <a:pt x="11864" y="5602"/>
                </a:lnTo>
                <a:lnTo>
                  <a:pt x="11862" y="5588"/>
                </a:lnTo>
                <a:lnTo>
                  <a:pt x="11860" y="5572"/>
                </a:lnTo>
                <a:lnTo>
                  <a:pt x="11858" y="5566"/>
                </a:lnTo>
                <a:lnTo>
                  <a:pt x="11854" y="5562"/>
                </a:lnTo>
                <a:lnTo>
                  <a:pt x="11850" y="5560"/>
                </a:lnTo>
                <a:lnTo>
                  <a:pt x="11846" y="5560"/>
                </a:lnTo>
                <a:lnTo>
                  <a:pt x="11842" y="5562"/>
                </a:lnTo>
                <a:lnTo>
                  <a:pt x="11840" y="5566"/>
                </a:lnTo>
                <a:lnTo>
                  <a:pt x="11838" y="5570"/>
                </a:lnTo>
                <a:lnTo>
                  <a:pt x="11836" y="5578"/>
                </a:lnTo>
                <a:lnTo>
                  <a:pt x="11834" y="5592"/>
                </a:lnTo>
                <a:lnTo>
                  <a:pt x="11832" y="5602"/>
                </a:lnTo>
                <a:lnTo>
                  <a:pt x="11820" y="5632"/>
                </a:lnTo>
                <a:lnTo>
                  <a:pt x="11816" y="5642"/>
                </a:lnTo>
                <a:lnTo>
                  <a:pt x="11816" y="5648"/>
                </a:lnTo>
                <a:lnTo>
                  <a:pt x="11818" y="5650"/>
                </a:lnTo>
                <a:lnTo>
                  <a:pt x="11820" y="5652"/>
                </a:lnTo>
                <a:lnTo>
                  <a:pt x="11824" y="5654"/>
                </a:lnTo>
                <a:lnTo>
                  <a:pt x="11822" y="5656"/>
                </a:lnTo>
                <a:lnTo>
                  <a:pt x="11820" y="5660"/>
                </a:lnTo>
                <a:lnTo>
                  <a:pt x="11814" y="5668"/>
                </a:lnTo>
                <a:lnTo>
                  <a:pt x="11814" y="5676"/>
                </a:lnTo>
                <a:lnTo>
                  <a:pt x="11814" y="5684"/>
                </a:lnTo>
                <a:lnTo>
                  <a:pt x="11810" y="5698"/>
                </a:lnTo>
                <a:lnTo>
                  <a:pt x="11808" y="5706"/>
                </a:lnTo>
                <a:lnTo>
                  <a:pt x="11808" y="5716"/>
                </a:lnTo>
                <a:lnTo>
                  <a:pt x="11810" y="5738"/>
                </a:lnTo>
                <a:lnTo>
                  <a:pt x="11814" y="5762"/>
                </a:lnTo>
                <a:lnTo>
                  <a:pt x="11814" y="5776"/>
                </a:lnTo>
                <a:lnTo>
                  <a:pt x="11812" y="5788"/>
                </a:lnTo>
                <a:lnTo>
                  <a:pt x="11808" y="5808"/>
                </a:lnTo>
                <a:lnTo>
                  <a:pt x="11806" y="5820"/>
                </a:lnTo>
                <a:lnTo>
                  <a:pt x="11806" y="5830"/>
                </a:lnTo>
                <a:lnTo>
                  <a:pt x="11800" y="5844"/>
                </a:lnTo>
                <a:lnTo>
                  <a:pt x="11794" y="5856"/>
                </a:lnTo>
                <a:lnTo>
                  <a:pt x="11790" y="5864"/>
                </a:lnTo>
                <a:lnTo>
                  <a:pt x="11788" y="5878"/>
                </a:lnTo>
                <a:lnTo>
                  <a:pt x="11784" y="5890"/>
                </a:lnTo>
                <a:lnTo>
                  <a:pt x="11780" y="5896"/>
                </a:lnTo>
                <a:lnTo>
                  <a:pt x="11774" y="5902"/>
                </a:lnTo>
                <a:lnTo>
                  <a:pt x="11766" y="5906"/>
                </a:lnTo>
                <a:lnTo>
                  <a:pt x="11758" y="5906"/>
                </a:lnTo>
                <a:lnTo>
                  <a:pt x="11748" y="5904"/>
                </a:lnTo>
                <a:lnTo>
                  <a:pt x="11738" y="5900"/>
                </a:lnTo>
                <a:lnTo>
                  <a:pt x="11730" y="5894"/>
                </a:lnTo>
                <a:lnTo>
                  <a:pt x="11722" y="5888"/>
                </a:lnTo>
                <a:lnTo>
                  <a:pt x="11716" y="5880"/>
                </a:lnTo>
                <a:lnTo>
                  <a:pt x="11714" y="5876"/>
                </a:lnTo>
                <a:lnTo>
                  <a:pt x="11710" y="5870"/>
                </a:lnTo>
                <a:lnTo>
                  <a:pt x="11708" y="5866"/>
                </a:lnTo>
                <a:lnTo>
                  <a:pt x="11698" y="5862"/>
                </a:lnTo>
                <a:lnTo>
                  <a:pt x="11692" y="5862"/>
                </a:lnTo>
                <a:lnTo>
                  <a:pt x="11684" y="5858"/>
                </a:lnTo>
                <a:lnTo>
                  <a:pt x="11674" y="5850"/>
                </a:lnTo>
                <a:lnTo>
                  <a:pt x="11662" y="5840"/>
                </a:lnTo>
                <a:lnTo>
                  <a:pt x="11648" y="5828"/>
                </a:lnTo>
                <a:lnTo>
                  <a:pt x="11640" y="5822"/>
                </a:lnTo>
                <a:lnTo>
                  <a:pt x="11632" y="5818"/>
                </a:lnTo>
                <a:lnTo>
                  <a:pt x="11626" y="5816"/>
                </a:lnTo>
                <a:lnTo>
                  <a:pt x="11618" y="5814"/>
                </a:lnTo>
                <a:lnTo>
                  <a:pt x="11612" y="5812"/>
                </a:lnTo>
                <a:lnTo>
                  <a:pt x="11604" y="5804"/>
                </a:lnTo>
                <a:lnTo>
                  <a:pt x="11592" y="5792"/>
                </a:lnTo>
                <a:lnTo>
                  <a:pt x="11582" y="5784"/>
                </a:lnTo>
                <a:lnTo>
                  <a:pt x="11570" y="5772"/>
                </a:lnTo>
                <a:lnTo>
                  <a:pt x="11566" y="5766"/>
                </a:lnTo>
                <a:lnTo>
                  <a:pt x="11568" y="5760"/>
                </a:lnTo>
                <a:lnTo>
                  <a:pt x="11572" y="5752"/>
                </a:lnTo>
                <a:lnTo>
                  <a:pt x="11578" y="5738"/>
                </a:lnTo>
                <a:lnTo>
                  <a:pt x="11586" y="5724"/>
                </a:lnTo>
                <a:lnTo>
                  <a:pt x="11590" y="5714"/>
                </a:lnTo>
                <a:lnTo>
                  <a:pt x="11590" y="5710"/>
                </a:lnTo>
                <a:lnTo>
                  <a:pt x="11588" y="5708"/>
                </a:lnTo>
                <a:lnTo>
                  <a:pt x="11586" y="5708"/>
                </a:lnTo>
                <a:lnTo>
                  <a:pt x="11584" y="5706"/>
                </a:lnTo>
                <a:lnTo>
                  <a:pt x="11584" y="5702"/>
                </a:lnTo>
                <a:lnTo>
                  <a:pt x="11588" y="5692"/>
                </a:lnTo>
                <a:lnTo>
                  <a:pt x="11594" y="5682"/>
                </a:lnTo>
                <a:lnTo>
                  <a:pt x="11598" y="5680"/>
                </a:lnTo>
                <a:lnTo>
                  <a:pt x="11602" y="5682"/>
                </a:lnTo>
                <a:lnTo>
                  <a:pt x="11604" y="5684"/>
                </a:lnTo>
                <a:lnTo>
                  <a:pt x="11606" y="5688"/>
                </a:lnTo>
                <a:lnTo>
                  <a:pt x="11608" y="5690"/>
                </a:lnTo>
                <a:lnTo>
                  <a:pt x="11608" y="5686"/>
                </a:lnTo>
                <a:lnTo>
                  <a:pt x="11610" y="5676"/>
                </a:lnTo>
                <a:lnTo>
                  <a:pt x="11612" y="5664"/>
                </a:lnTo>
                <a:lnTo>
                  <a:pt x="11616" y="5656"/>
                </a:lnTo>
                <a:lnTo>
                  <a:pt x="11620" y="5650"/>
                </a:lnTo>
                <a:lnTo>
                  <a:pt x="11626" y="5646"/>
                </a:lnTo>
                <a:lnTo>
                  <a:pt x="11630" y="5644"/>
                </a:lnTo>
                <a:lnTo>
                  <a:pt x="11630" y="5640"/>
                </a:lnTo>
                <a:lnTo>
                  <a:pt x="11630" y="5638"/>
                </a:lnTo>
                <a:lnTo>
                  <a:pt x="11626" y="5634"/>
                </a:lnTo>
                <a:lnTo>
                  <a:pt x="11620" y="5630"/>
                </a:lnTo>
                <a:lnTo>
                  <a:pt x="11616" y="5626"/>
                </a:lnTo>
                <a:lnTo>
                  <a:pt x="11614" y="5620"/>
                </a:lnTo>
                <a:lnTo>
                  <a:pt x="11612" y="5618"/>
                </a:lnTo>
                <a:lnTo>
                  <a:pt x="11610" y="5616"/>
                </a:lnTo>
                <a:lnTo>
                  <a:pt x="11604" y="5620"/>
                </a:lnTo>
                <a:lnTo>
                  <a:pt x="11600" y="5624"/>
                </a:lnTo>
                <a:lnTo>
                  <a:pt x="11598" y="5628"/>
                </a:lnTo>
                <a:lnTo>
                  <a:pt x="11598" y="5632"/>
                </a:lnTo>
                <a:lnTo>
                  <a:pt x="11600" y="5636"/>
                </a:lnTo>
                <a:lnTo>
                  <a:pt x="11598" y="5640"/>
                </a:lnTo>
                <a:lnTo>
                  <a:pt x="11596" y="5642"/>
                </a:lnTo>
                <a:lnTo>
                  <a:pt x="11592" y="5644"/>
                </a:lnTo>
                <a:lnTo>
                  <a:pt x="11590" y="5642"/>
                </a:lnTo>
                <a:lnTo>
                  <a:pt x="11588" y="5638"/>
                </a:lnTo>
                <a:lnTo>
                  <a:pt x="11588" y="5632"/>
                </a:lnTo>
                <a:lnTo>
                  <a:pt x="11588" y="5630"/>
                </a:lnTo>
                <a:lnTo>
                  <a:pt x="11586" y="5628"/>
                </a:lnTo>
                <a:lnTo>
                  <a:pt x="11584" y="5628"/>
                </a:lnTo>
                <a:lnTo>
                  <a:pt x="11584" y="5624"/>
                </a:lnTo>
                <a:lnTo>
                  <a:pt x="11584" y="5616"/>
                </a:lnTo>
                <a:lnTo>
                  <a:pt x="11584" y="5614"/>
                </a:lnTo>
                <a:lnTo>
                  <a:pt x="11582" y="5614"/>
                </a:lnTo>
                <a:lnTo>
                  <a:pt x="11576" y="5616"/>
                </a:lnTo>
                <a:lnTo>
                  <a:pt x="11568" y="5622"/>
                </a:lnTo>
                <a:lnTo>
                  <a:pt x="11558" y="5630"/>
                </a:lnTo>
                <a:lnTo>
                  <a:pt x="11552" y="5632"/>
                </a:lnTo>
                <a:lnTo>
                  <a:pt x="11548" y="5632"/>
                </a:lnTo>
                <a:lnTo>
                  <a:pt x="11544" y="5630"/>
                </a:lnTo>
                <a:lnTo>
                  <a:pt x="11540" y="5624"/>
                </a:lnTo>
                <a:lnTo>
                  <a:pt x="11536" y="5622"/>
                </a:lnTo>
                <a:lnTo>
                  <a:pt x="11530" y="5624"/>
                </a:lnTo>
                <a:lnTo>
                  <a:pt x="11524" y="5626"/>
                </a:lnTo>
                <a:lnTo>
                  <a:pt x="11518" y="5624"/>
                </a:lnTo>
                <a:lnTo>
                  <a:pt x="11514" y="5622"/>
                </a:lnTo>
                <a:lnTo>
                  <a:pt x="11512" y="5618"/>
                </a:lnTo>
                <a:lnTo>
                  <a:pt x="11506" y="5612"/>
                </a:lnTo>
                <a:lnTo>
                  <a:pt x="11500" y="5610"/>
                </a:lnTo>
                <a:lnTo>
                  <a:pt x="11494" y="5608"/>
                </a:lnTo>
                <a:lnTo>
                  <a:pt x="11484" y="5608"/>
                </a:lnTo>
                <a:lnTo>
                  <a:pt x="11478" y="5606"/>
                </a:lnTo>
                <a:lnTo>
                  <a:pt x="11474" y="5604"/>
                </a:lnTo>
                <a:lnTo>
                  <a:pt x="11472" y="5600"/>
                </a:lnTo>
                <a:lnTo>
                  <a:pt x="11468" y="5594"/>
                </a:lnTo>
                <a:lnTo>
                  <a:pt x="11466" y="5592"/>
                </a:lnTo>
                <a:lnTo>
                  <a:pt x="11462" y="5592"/>
                </a:lnTo>
                <a:lnTo>
                  <a:pt x="11458" y="5594"/>
                </a:lnTo>
                <a:lnTo>
                  <a:pt x="11456" y="5594"/>
                </a:lnTo>
                <a:lnTo>
                  <a:pt x="11452" y="5590"/>
                </a:lnTo>
                <a:lnTo>
                  <a:pt x="11448" y="5586"/>
                </a:lnTo>
                <a:lnTo>
                  <a:pt x="11444" y="5584"/>
                </a:lnTo>
                <a:lnTo>
                  <a:pt x="11438" y="5582"/>
                </a:lnTo>
                <a:lnTo>
                  <a:pt x="11428" y="5582"/>
                </a:lnTo>
                <a:lnTo>
                  <a:pt x="11422" y="5584"/>
                </a:lnTo>
                <a:lnTo>
                  <a:pt x="11420" y="5586"/>
                </a:lnTo>
                <a:lnTo>
                  <a:pt x="11420" y="5588"/>
                </a:lnTo>
                <a:lnTo>
                  <a:pt x="11424" y="5596"/>
                </a:lnTo>
                <a:lnTo>
                  <a:pt x="11428" y="5598"/>
                </a:lnTo>
                <a:lnTo>
                  <a:pt x="11432" y="5600"/>
                </a:lnTo>
                <a:lnTo>
                  <a:pt x="11444" y="5600"/>
                </a:lnTo>
                <a:lnTo>
                  <a:pt x="11448" y="5600"/>
                </a:lnTo>
                <a:lnTo>
                  <a:pt x="11452" y="5604"/>
                </a:lnTo>
                <a:lnTo>
                  <a:pt x="11454" y="5608"/>
                </a:lnTo>
                <a:lnTo>
                  <a:pt x="11452" y="5618"/>
                </a:lnTo>
                <a:lnTo>
                  <a:pt x="11448" y="5634"/>
                </a:lnTo>
                <a:lnTo>
                  <a:pt x="11448" y="5636"/>
                </a:lnTo>
                <a:lnTo>
                  <a:pt x="11446" y="5636"/>
                </a:lnTo>
                <a:lnTo>
                  <a:pt x="11438" y="5634"/>
                </a:lnTo>
                <a:lnTo>
                  <a:pt x="11432" y="5634"/>
                </a:lnTo>
                <a:lnTo>
                  <a:pt x="11422" y="5634"/>
                </a:lnTo>
                <a:lnTo>
                  <a:pt x="11412" y="5636"/>
                </a:lnTo>
                <a:lnTo>
                  <a:pt x="11406" y="5636"/>
                </a:lnTo>
                <a:lnTo>
                  <a:pt x="11400" y="5632"/>
                </a:lnTo>
                <a:lnTo>
                  <a:pt x="11396" y="5632"/>
                </a:lnTo>
                <a:lnTo>
                  <a:pt x="11390" y="5634"/>
                </a:lnTo>
                <a:lnTo>
                  <a:pt x="11370" y="5648"/>
                </a:lnTo>
                <a:lnTo>
                  <a:pt x="11358" y="5658"/>
                </a:lnTo>
                <a:lnTo>
                  <a:pt x="11350" y="5666"/>
                </a:lnTo>
                <a:lnTo>
                  <a:pt x="11348" y="5672"/>
                </a:lnTo>
                <a:lnTo>
                  <a:pt x="11346" y="5678"/>
                </a:lnTo>
                <a:lnTo>
                  <a:pt x="11346" y="5684"/>
                </a:lnTo>
                <a:lnTo>
                  <a:pt x="11344" y="5690"/>
                </a:lnTo>
                <a:lnTo>
                  <a:pt x="11340" y="5700"/>
                </a:lnTo>
                <a:lnTo>
                  <a:pt x="11332" y="5714"/>
                </a:lnTo>
                <a:lnTo>
                  <a:pt x="11324" y="5728"/>
                </a:lnTo>
                <a:lnTo>
                  <a:pt x="11320" y="5738"/>
                </a:lnTo>
                <a:lnTo>
                  <a:pt x="11322" y="5744"/>
                </a:lnTo>
                <a:lnTo>
                  <a:pt x="11324" y="5750"/>
                </a:lnTo>
                <a:lnTo>
                  <a:pt x="11332" y="5756"/>
                </a:lnTo>
                <a:lnTo>
                  <a:pt x="11332" y="5760"/>
                </a:lnTo>
                <a:lnTo>
                  <a:pt x="11328" y="5764"/>
                </a:lnTo>
                <a:lnTo>
                  <a:pt x="11322" y="5768"/>
                </a:lnTo>
                <a:lnTo>
                  <a:pt x="11318" y="5770"/>
                </a:lnTo>
                <a:lnTo>
                  <a:pt x="11314" y="5768"/>
                </a:lnTo>
                <a:lnTo>
                  <a:pt x="11310" y="5766"/>
                </a:lnTo>
                <a:lnTo>
                  <a:pt x="11302" y="5762"/>
                </a:lnTo>
                <a:lnTo>
                  <a:pt x="11296" y="5760"/>
                </a:lnTo>
                <a:lnTo>
                  <a:pt x="11288" y="5760"/>
                </a:lnTo>
                <a:lnTo>
                  <a:pt x="11284" y="5760"/>
                </a:lnTo>
                <a:lnTo>
                  <a:pt x="11278" y="5758"/>
                </a:lnTo>
                <a:lnTo>
                  <a:pt x="11268" y="5750"/>
                </a:lnTo>
                <a:lnTo>
                  <a:pt x="11244" y="5726"/>
                </a:lnTo>
                <a:lnTo>
                  <a:pt x="11232" y="5716"/>
                </a:lnTo>
                <a:lnTo>
                  <a:pt x="11224" y="5708"/>
                </a:lnTo>
                <a:lnTo>
                  <a:pt x="11220" y="5706"/>
                </a:lnTo>
                <a:lnTo>
                  <a:pt x="11218" y="5706"/>
                </a:lnTo>
                <a:lnTo>
                  <a:pt x="11216" y="5710"/>
                </a:lnTo>
                <a:lnTo>
                  <a:pt x="11214" y="5714"/>
                </a:lnTo>
                <a:lnTo>
                  <a:pt x="11214" y="5722"/>
                </a:lnTo>
                <a:lnTo>
                  <a:pt x="11210" y="5724"/>
                </a:lnTo>
                <a:lnTo>
                  <a:pt x="11206" y="5724"/>
                </a:lnTo>
                <a:lnTo>
                  <a:pt x="11202" y="5720"/>
                </a:lnTo>
                <a:lnTo>
                  <a:pt x="11196" y="5718"/>
                </a:lnTo>
                <a:lnTo>
                  <a:pt x="11192" y="5718"/>
                </a:lnTo>
                <a:lnTo>
                  <a:pt x="11188" y="5720"/>
                </a:lnTo>
                <a:lnTo>
                  <a:pt x="11186" y="5730"/>
                </a:lnTo>
                <a:lnTo>
                  <a:pt x="11186" y="5738"/>
                </a:lnTo>
                <a:lnTo>
                  <a:pt x="11184" y="5740"/>
                </a:lnTo>
                <a:lnTo>
                  <a:pt x="11180" y="5740"/>
                </a:lnTo>
                <a:lnTo>
                  <a:pt x="11178" y="5738"/>
                </a:lnTo>
                <a:lnTo>
                  <a:pt x="11174" y="5736"/>
                </a:lnTo>
                <a:lnTo>
                  <a:pt x="11168" y="5738"/>
                </a:lnTo>
                <a:lnTo>
                  <a:pt x="11162" y="5744"/>
                </a:lnTo>
                <a:lnTo>
                  <a:pt x="11154" y="5756"/>
                </a:lnTo>
                <a:lnTo>
                  <a:pt x="11146" y="5772"/>
                </a:lnTo>
                <a:lnTo>
                  <a:pt x="11138" y="5780"/>
                </a:lnTo>
                <a:lnTo>
                  <a:pt x="11128" y="5792"/>
                </a:lnTo>
                <a:lnTo>
                  <a:pt x="11124" y="5796"/>
                </a:lnTo>
                <a:lnTo>
                  <a:pt x="11122" y="5800"/>
                </a:lnTo>
                <a:lnTo>
                  <a:pt x="11120" y="5808"/>
                </a:lnTo>
                <a:lnTo>
                  <a:pt x="11120" y="5820"/>
                </a:lnTo>
                <a:lnTo>
                  <a:pt x="11118" y="5834"/>
                </a:lnTo>
                <a:lnTo>
                  <a:pt x="11116" y="5838"/>
                </a:lnTo>
                <a:lnTo>
                  <a:pt x="11114" y="5838"/>
                </a:lnTo>
                <a:lnTo>
                  <a:pt x="11110" y="5838"/>
                </a:lnTo>
                <a:lnTo>
                  <a:pt x="11104" y="5834"/>
                </a:lnTo>
                <a:lnTo>
                  <a:pt x="11098" y="5832"/>
                </a:lnTo>
                <a:lnTo>
                  <a:pt x="11096" y="5832"/>
                </a:lnTo>
                <a:lnTo>
                  <a:pt x="11094" y="5834"/>
                </a:lnTo>
                <a:lnTo>
                  <a:pt x="11090" y="5838"/>
                </a:lnTo>
                <a:lnTo>
                  <a:pt x="11088" y="5842"/>
                </a:lnTo>
                <a:lnTo>
                  <a:pt x="11086" y="5864"/>
                </a:lnTo>
                <a:lnTo>
                  <a:pt x="11084" y="5878"/>
                </a:lnTo>
                <a:lnTo>
                  <a:pt x="11084" y="5882"/>
                </a:lnTo>
                <a:lnTo>
                  <a:pt x="11078" y="5866"/>
                </a:lnTo>
                <a:lnTo>
                  <a:pt x="11074" y="5856"/>
                </a:lnTo>
                <a:lnTo>
                  <a:pt x="11070" y="5852"/>
                </a:lnTo>
                <a:lnTo>
                  <a:pt x="11066" y="5850"/>
                </a:lnTo>
                <a:lnTo>
                  <a:pt x="11062" y="5848"/>
                </a:lnTo>
                <a:lnTo>
                  <a:pt x="11058" y="5850"/>
                </a:lnTo>
                <a:lnTo>
                  <a:pt x="11052" y="5854"/>
                </a:lnTo>
                <a:lnTo>
                  <a:pt x="11046" y="5862"/>
                </a:lnTo>
                <a:lnTo>
                  <a:pt x="11036" y="5878"/>
                </a:lnTo>
                <a:lnTo>
                  <a:pt x="11032" y="5892"/>
                </a:lnTo>
                <a:lnTo>
                  <a:pt x="11030" y="5902"/>
                </a:lnTo>
                <a:lnTo>
                  <a:pt x="11032" y="5912"/>
                </a:lnTo>
                <a:lnTo>
                  <a:pt x="11034" y="5918"/>
                </a:lnTo>
                <a:lnTo>
                  <a:pt x="11032" y="5926"/>
                </a:lnTo>
                <a:lnTo>
                  <a:pt x="11030" y="5932"/>
                </a:lnTo>
                <a:lnTo>
                  <a:pt x="11020" y="5942"/>
                </a:lnTo>
                <a:lnTo>
                  <a:pt x="11014" y="5948"/>
                </a:lnTo>
                <a:lnTo>
                  <a:pt x="11010" y="5954"/>
                </a:lnTo>
                <a:lnTo>
                  <a:pt x="11004" y="5970"/>
                </a:lnTo>
                <a:lnTo>
                  <a:pt x="11000" y="5978"/>
                </a:lnTo>
                <a:lnTo>
                  <a:pt x="10994" y="5988"/>
                </a:lnTo>
                <a:lnTo>
                  <a:pt x="10986" y="5998"/>
                </a:lnTo>
                <a:lnTo>
                  <a:pt x="10974" y="6006"/>
                </a:lnTo>
                <a:lnTo>
                  <a:pt x="10960" y="6014"/>
                </a:lnTo>
                <a:lnTo>
                  <a:pt x="10948" y="6020"/>
                </a:lnTo>
                <a:lnTo>
                  <a:pt x="10936" y="6020"/>
                </a:lnTo>
                <a:lnTo>
                  <a:pt x="10926" y="6020"/>
                </a:lnTo>
                <a:lnTo>
                  <a:pt x="10910" y="6020"/>
                </a:lnTo>
                <a:lnTo>
                  <a:pt x="10906" y="6020"/>
                </a:lnTo>
                <a:lnTo>
                  <a:pt x="10902" y="6024"/>
                </a:lnTo>
                <a:lnTo>
                  <a:pt x="10898" y="6030"/>
                </a:lnTo>
                <a:lnTo>
                  <a:pt x="10894" y="6032"/>
                </a:lnTo>
                <a:lnTo>
                  <a:pt x="10884" y="6038"/>
                </a:lnTo>
                <a:lnTo>
                  <a:pt x="10868" y="6042"/>
                </a:lnTo>
                <a:lnTo>
                  <a:pt x="10850" y="6052"/>
                </a:lnTo>
                <a:lnTo>
                  <a:pt x="10840" y="6056"/>
                </a:lnTo>
                <a:lnTo>
                  <a:pt x="10832" y="6056"/>
                </a:lnTo>
                <a:lnTo>
                  <a:pt x="10820" y="6052"/>
                </a:lnTo>
                <a:lnTo>
                  <a:pt x="10812" y="6050"/>
                </a:lnTo>
                <a:lnTo>
                  <a:pt x="10804" y="6052"/>
                </a:lnTo>
                <a:lnTo>
                  <a:pt x="10794" y="6060"/>
                </a:lnTo>
                <a:lnTo>
                  <a:pt x="10782" y="6074"/>
                </a:lnTo>
                <a:lnTo>
                  <a:pt x="10768" y="6088"/>
                </a:lnTo>
                <a:lnTo>
                  <a:pt x="10758" y="6096"/>
                </a:lnTo>
                <a:lnTo>
                  <a:pt x="10748" y="6102"/>
                </a:lnTo>
                <a:lnTo>
                  <a:pt x="10742" y="6106"/>
                </a:lnTo>
                <a:lnTo>
                  <a:pt x="10736" y="6108"/>
                </a:lnTo>
                <a:lnTo>
                  <a:pt x="10730" y="6112"/>
                </a:lnTo>
                <a:lnTo>
                  <a:pt x="10726" y="6120"/>
                </a:lnTo>
                <a:lnTo>
                  <a:pt x="10720" y="6134"/>
                </a:lnTo>
                <a:lnTo>
                  <a:pt x="10714" y="6144"/>
                </a:lnTo>
                <a:lnTo>
                  <a:pt x="10712" y="6144"/>
                </a:lnTo>
                <a:lnTo>
                  <a:pt x="10710" y="6140"/>
                </a:lnTo>
                <a:lnTo>
                  <a:pt x="10710" y="6132"/>
                </a:lnTo>
                <a:lnTo>
                  <a:pt x="10708" y="6124"/>
                </a:lnTo>
                <a:lnTo>
                  <a:pt x="10706" y="6118"/>
                </a:lnTo>
                <a:lnTo>
                  <a:pt x="10704" y="6116"/>
                </a:lnTo>
                <a:lnTo>
                  <a:pt x="10702" y="6118"/>
                </a:lnTo>
                <a:lnTo>
                  <a:pt x="10694" y="6128"/>
                </a:lnTo>
                <a:lnTo>
                  <a:pt x="10688" y="6140"/>
                </a:lnTo>
                <a:lnTo>
                  <a:pt x="10686" y="6150"/>
                </a:lnTo>
                <a:lnTo>
                  <a:pt x="10688" y="6158"/>
                </a:lnTo>
                <a:lnTo>
                  <a:pt x="10690" y="6166"/>
                </a:lnTo>
                <a:lnTo>
                  <a:pt x="10692" y="6174"/>
                </a:lnTo>
                <a:lnTo>
                  <a:pt x="10692" y="6182"/>
                </a:lnTo>
                <a:lnTo>
                  <a:pt x="10690" y="6194"/>
                </a:lnTo>
                <a:lnTo>
                  <a:pt x="10682" y="6210"/>
                </a:lnTo>
                <a:lnTo>
                  <a:pt x="10678" y="6218"/>
                </a:lnTo>
                <a:lnTo>
                  <a:pt x="10676" y="6226"/>
                </a:lnTo>
                <a:lnTo>
                  <a:pt x="10674" y="6236"/>
                </a:lnTo>
                <a:lnTo>
                  <a:pt x="10674" y="6244"/>
                </a:lnTo>
                <a:lnTo>
                  <a:pt x="10680" y="6260"/>
                </a:lnTo>
                <a:lnTo>
                  <a:pt x="10686" y="6276"/>
                </a:lnTo>
                <a:lnTo>
                  <a:pt x="10704" y="6306"/>
                </a:lnTo>
                <a:lnTo>
                  <a:pt x="10710" y="6320"/>
                </a:lnTo>
                <a:lnTo>
                  <a:pt x="10712" y="6326"/>
                </a:lnTo>
                <a:lnTo>
                  <a:pt x="10712" y="6334"/>
                </a:lnTo>
                <a:lnTo>
                  <a:pt x="10710" y="6342"/>
                </a:lnTo>
                <a:lnTo>
                  <a:pt x="10708" y="6344"/>
                </a:lnTo>
                <a:lnTo>
                  <a:pt x="10706" y="6342"/>
                </a:lnTo>
                <a:lnTo>
                  <a:pt x="10702" y="6338"/>
                </a:lnTo>
                <a:lnTo>
                  <a:pt x="10696" y="6328"/>
                </a:lnTo>
                <a:lnTo>
                  <a:pt x="10686" y="6308"/>
                </a:lnTo>
                <a:lnTo>
                  <a:pt x="10680" y="6302"/>
                </a:lnTo>
                <a:lnTo>
                  <a:pt x="10678" y="6304"/>
                </a:lnTo>
                <a:lnTo>
                  <a:pt x="10676" y="6310"/>
                </a:lnTo>
                <a:lnTo>
                  <a:pt x="10678" y="6316"/>
                </a:lnTo>
                <a:lnTo>
                  <a:pt x="10684" y="6330"/>
                </a:lnTo>
                <a:lnTo>
                  <a:pt x="10692" y="6344"/>
                </a:lnTo>
                <a:lnTo>
                  <a:pt x="10692" y="6350"/>
                </a:lnTo>
                <a:lnTo>
                  <a:pt x="10692" y="6354"/>
                </a:lnTo>
                <a:lnTo>
                  <a:pt x="10692" y="6356"/>
                </a:lnTo>
                <a:lnTo>
                  <a:pt x="10690" y="6356"/>
                </a:lnTo>
                <a:lnTo>
                  <a:pt x="10686" y="6352"/>
                </a:lnTo>
                <a:lnTo>
                  <a:pt x="10680" y="6338"/>
                </a:lnTo>
                <a:lnTo>
                  <a:pt x="10676" y="6332"/>
                </a:lnTo>
                <a:lnTo>
                  <a:pt x="10674" y="6328"/>
                </a:lnTo>
                <a:lnTo>
                  <a:pt x="10672" y="6328"/>
                </a:lnTo>
                <a:lnTo>
                  <a:pt x="10670" y="6336"/>
                </a:lnTo>
                <a:lnTo>
                  <a:pt x="10672" y="6346"/>
                </a:lnTo>
                <a:lnTo>
                  <a:pt x="10676" y="6354"/>
                </a:lnTo>
                <a:lnTo>
                  <a:pt x="10688" y="6374"/>
                </a:lnTo>
                <a:lnTo>
                  <a:pt x="10700" y="6394"/>
                </a:lnTo>
                <a:lnTo>
                  <a:pt x="10704" y="6404"/>
                </a:lnTo>
                <a:lnTo>
                  <a:pt x="10706" y="6414"/>
                </a:lnTo>
                <a:lnTo>
                  <a:pt x="10706" y="6430"/>
                </a:lnTo>
                <a:lnTo>
                  <a:pt x="10710" y="6440"/>
                </a:lnTo>
                <a:lnTo>
                  <a:pt x="10718" y="6454"/>
                </a:lnTo>
                <a:lnTo>
                  <a:pt x="10732" y="6478"/>
                </a:lnTo>
                <a:lnTo>
                  <a:pt x="10736" y="6490"/>
                </a:lnTo>
                <a:lnTo>
                  <a:pt x="10738" y="6502"/>
                </a:lnTo>
                <a:lnTo>
                  <a:pt x="10740" y="6522"/>
                </a:lnTo>
                <a:lnTo>
                  <a:pt x="10740" y="6534"/>
                </a:lnTo>
                <a:lnTo>
                  <a:pt x="10742" y="6550"/>
                </a:lnTo>
                <a:lnTo>
                  <a:pt x="10746" y="6570"/>
                </a:lnTo>
                <a:lnTo>
                  <a:pt x="10756" y="6594"/>
                </a:lnTo>
                <a:lnTo>
                  <a:pt x="10766" y="6620"/>
                </a:lnTo>
                <a:lnTo>
                  <a:pt x="10770" y="6638"/>
                </a:lnTo>
                <a:lnTo>
                  <a:pt x="10772" y="6650"/>
                </a:lnTo>
                <a:lnTo>
                  <a:pt x="10772" y="6658"/>
                </a:lnTo>
                <a:lnTo>
                  <a:pt x="10766" y="6670"/>
                </a:lnTo>
                <a:lnTo>
                  <a:pt x="10764" y="6676"/>
                </a:lnTo>
                <a:lnTo>
                  <a:pt x="10766" y="6686"/>
                </a:lnTo>
                <a:lnTo>
                  <a:pt x="10766" y="6696"/>
                </a:lnTo>
                <a:lnTo>
                  <a:pt x="10766" y="6704"/>
                </a:lnTo>
                <a:lnTo>
                  <a:pt x="10764" y="6712"/>
                </a:lnTo>
                <a:lnTo>
                  <a:pt x="10762" y="6716"/>
                </a:lnTo>
                <a:lnTo>
                  <a:pt x="10758" y="6720"/>
                </a:lnTo>
                <a:lnTo>
                  <a:pt x="10754" y="6724"/>
                </a:lnTo>
                <a:lnTo>
                  <a:pt x="10750" y="6724"/>
                </a:lnTo>
                <a:lnTo>
                  <a:pt x="10744" y="6722"/>
                </a:lnTo>
                <a:lnTo>
                  <a:pt x="10740" y="6722"/>
                </a:lnTo>
                <a:lnTo>
                  <a:pt x="10738" y="6726"/>
                </a:lnTo>
                <a:lnTo>
                  <a:pt x="10736" y="6734"/>
                </a:lnTo>
                <a:lnTo>
                  <a:pt x="10736" y="6742"/>
                </a:lnTo>
                <a:lnTo>
                  <a:pt x="10738" y="6750"/>
                </a:lnTo>
                <a:lnTo>
                  <a:pt x="10742" y="6756"/>
                </a:lnTo>
                <a:lnTo>
                  <a:pt x="10746" y="6760"/>
                </a:lnTo>
                <a:lnTo>
                  <a:pt x="10752" y="6762"/>
                </a:lnTo>
                <a:lnTo>
                  <a:pt x="10758" y="6762"/>
                </a:lnTo>
                <a:lnTo>
                  <a:pt x="10764" y="6766"/>
                </a:lnTo>
                <a:lnTo>
                  <a:pt x="10776" y="6778"/>
                </a:lnTo>
                <a:lnTo>
                  <a:pt x="10784" y="6786"/>
                </a:lnTo>
                <a:lnTo>
                  <a:pt x="10794" y="6792"/>
                </a:lnTo>
                <a:lnTo>
                  <a:pt x="10808" y="6798"/>
                </a:lnTo>
                <a:lnTo>
                  <a:pt x="10826" y="6802"/>
                </a:lnTo>
                <a:lnTo>
                  <a:pt x="10844" y="6802"/>
                </a:lnTo>
                <a:lnTo>
                  <a:pt x="10858" y="6800"/>
                </a:lnTo>
                <a:lnTo>
                  <a:pt x="10870" y="6794"/>
                </a:lnTo>
                <a:lnTo>
                  <a:pt x="10878" y="6788"/>
                </a:lnTo>
                <a:lnTo>
                  <a:pt x="10894" y="6776"/>
                </a:lnTo>
                <a:lnTo>
                  <a:pt x="10900" y="6772"/>
                </a:lnTo>
                <a:lnTo>
                  <a:pt x="10908" y="6770"/>
                </a:lnTo>
                <a:lnTo>
                  <a:pt x="10916" y="6768"/>
                </a:lnTo>
                <a:lnTo>
                  <a:pt x="10922" y="6764"/>
                </a:lnTo>
                <a:lnTo>
                  <a:pt x="10926" y="6760"/>
                </a:lnTo>
                <a:lnTo>
                  <a:pt x="10928" y="6754"/>
                </a:lnTo>
                <a:lnTo>
                  <a:pt x="10930" y="6748"/>
                </a:lnTo>
                <a:lnTo>
                  <a:pt x="10934" y="6744"/>
                </a:lnTo>
                <a:lnTo>
                  <a:pt x="10940" y="6740"/>
                </a:lnTo>
                <a:lnTo>
                  <a:pt x="10948" y="6740"/>
                </a:lnTo>
                <a:lnTo>
                  <a:pt x="10960" y="6740"/>
                </a:lnTo>
                <a:lnTo>
                  <a:pt x="10972" y="6738"/>
                </a:lnTo>
                <a:lnTo>
                  <a:pt x="10986" y="6734"/>
                </a:lnTo>
                <a:lnTo>
                  <a:pt x="10994" y="6734"/>
                </a:lnTo>
                <a:lnTo>
                  <a:pt x="11000" y="6732"/>
                </a:lnTo>
                <a:lnTo>
                  <a:pt x="11006" y="6734"/>
                </a:lnTo>
                <a:lnTo>
                  <a:pt x="11014" y="6738"/>
                </a:lnTo>
                <a:lnTo>
                  <a:pt x="11024" y="6742"/>
                </a:lnTo>
                <a:lnTo>
                  <a:pt x="11030" y="6744"/>
                </a:lnTo>
                <a:lnTo>
                  <a:pt x="11036" y="6742"/>
                </a:lnTo>
                <a:lnTo>
                  <a:pt x="11038" y="6740"/>
                </a:lnTo>
                <a:lnTo>
                  <a:pt x="11042" y="6738"/>
                </a:lnTo>
                <a:lnTo>
                  <a:pt x="11048" y="6736"/>
                </a:lnTo>
                <a:lnTo>
                  <a:pt x="11056" y="6738"/>
                </a:lnTo>
                <a:lnTo>
                  <a:pt x="11068" y="6740"/>
                </a:lnTo>
                <a:lnTo>
                  <a:pt x="11076" y="6742"/>
                </a:lnTo>
                <a:lnTo>
                  <a:pt x="11082" y="6742"/>
                </a:lnTo>
                <a:lnTo>
                  <a:pt x="11086" y="6740"/>
                </a:lnTo>
                <a:lnTo>
                  <a:pt x="11090" y="6738"/>
                </a:lnTo>
                <a:lnTo>
                  <a:pt x="11096" y="6730"/>
                </a:lnTo>
                <a:lnTo>
                  <a:pt x="11100" y="6718"/>
                </a:lnTo>
                <a:lnTo>
                  <a:pt x="11104" y="6706"/>
                </a:lnTo>
                <a:lnTo>
                  <a:pt x="11110" y="6696"/>
                </a:lnTo>
                <a:lnTo>
                  <a:pt x="11116" y="6688"/>
                </a:lnTo>
                <a:lnTo>
                  <a:pt x="11120" y="6686"/>
                </a:lnTo>
                <a:lnTo>
                  <a:pt x="11126" y="6686"/>
                </a:lnTo>
                <a:lnTo>
                  <a:pt x="11136" y="6684"/>
                </a:lnTo>
                <a:lnTo>
                  <a:pt x="11142" y="6680"/>
                </a:lnTo>
                <a:lnTo>
                  <a:pt x="11156" y="6666"/>
                </a:lnTo>
                <a:lnTo>
                  <a:pt x="11162" y="6660"/>
                </a:lnTo>
                <a:lnTo>
                  <a:pt x="11172" y="6656"/>
                </a:lnTo>
                <a:lnTo>
                  <a:pt x="11184" y="6652"/>
                </a:lnTo>
                <a:lnTo>
                  <a:pt x="11200" y="6654"/>
                </a:lnTo>
                <a:lnTo>
                  <a:pt x="11214" y="6654"/>
                </a:lnTo>
                <a:lnTo>
                  <a:pt x="11226" y="6654"/>
                </a:lnTo>
                <a:lnTo>
                  <a:pt x="11248" y="6650"/>
                </a:lnTo>
                <a:lnTo>
                  <a:pt x="11268" y="6642"/>
                </a:lnTo>
                <a:lnTo>
                  <a:pt x="11284" y="6634"/>
                </a:lnTo>
                <a:lnTo>
                  <a:pt x="11300" y="6626"/>
                </a:lnTo>
                <a:lnTo>
                  <a:pt x="11316" y="6618"/>
                </a:lnTo>
                <a:lnTo>
                  <a:pt x="11330" y="6614"/>
                </a:lnTo>
                <a:lnTo>
                  <a:pt x="11338" y="6614"/>
                </a:lnTo>
                <a:lnTo>
                  <a:pt x="11346" y="6614"/>
                </a:lnTo>
                <a:lnTo>
                  <a:pt x="11366" y="6616"/>
                </a:lnTo>
                <a:lnTo>
                  <a:pt x="11378" y="6616"/>
                </a:lnTo>
                <a:lnTo>
                  <a:pt x="11384" y="6614"/>
                </a:lnTo>
                <a:lnTo>
                  <a:pt x="11386" y="6612"/>
                </a:lnTo>
                <a:lnTo>
                  <a:pt x="11390" y="6610"/>
                </a:lnTo>
                <a:lnTo>
                  <a:pt x="11394" y="6612"/>
                </a:lnTo>
                <a:lnTo>
                  <a:pt x="11422" y="6626"/>
                </a:lnTo>
                <a:lnTo>
                  <a:pt x="11442" y="6636"/>
                </a:lnTo>
                <a:lnTo>
                  <a:pt x="11456" y="6642"/>
                </a:lnTo>
                <a:lnTo>
                  <a:pt x="11468" y="6644"/>
                </a:lnTo>
                <a:lnTo>
                  <a:pt x="11478" y="6646"/>
                </a:lnTo>
                <a:lnTo>
                  <a:pt x="11492" y="6648"/>
                </a:lnTo>
                <a:lnTo>
                  <a:pt x="11500" y="6652"/>
                </a:lnTo>
                <a:lnTo>
                  <a:pt x="11508" y="6658"/>
                </a:lnTo>
                <a:lnTo>
                  <a:pt x="11516" y="6664"/>
                </a:lnTo>
                <a:lnTo>
                  <a:pt x="11518" y="6670"/>
                </a:lnTo>
                <a:lnTo>
                  <a:pt x="11518" y="6676"/>
                </a:lnTo>
                <a:lnTo>
                  <a:pt x="11516" y="6680"/>
                </a:lnTo>
                <a:lnTo>
                  <a:pt x="11514" y="6684"/>
                </a:lnTo>
                <a:lnTo>
                  <a:pt x="11514" y="6690"/>
                </a:lnTo>
                <a:lnTo>
                  <a:pt x="11520" y="6696"/>
                </a:lnTo>
                <a:lnTo>
                  <a:pt x="11530" y="6702"/>
                </a:lnTo>
                <a:lnTo>
                  <a:pt x="11536" y="6706"/>
                </a:lnTo>
                <a:lnTo>
                  <a:pt x="11540" y="6710"/>
                </a:lnTo>
                <a:lnTo>
                  <a:pt x="11546" y="6722"/>
                </a:lnTo>
                <a:lnTo>
                  <a:pt x="11550" y="6734"/>
                </a:lnTo>
                <a:lnTo>
                  <a:pt x="11552" y="6748"/>
                </a:lnTo>
                <a:lnTo>
                  <a:pt x="11554" y="6760"/>
                </a:lnTo>
                <a:lnTo>
                  <a:pt x="11558" y="6772"/>
                </a:lnTo>
                <a:lnTo>
                  <a:pt x="11562" y="6782"/>
                </a:lnTo>
                <a:lnTo>
                  <a:pt x="11566" y="6786"/>
                </a:lnTo>
                <a:lnTo>
                  <a:pt x="11570" y="6788"/>
                </a:lnTo>
                <a:lnTo>
                  <a:pt x="11584" y="6796"/>
                </a:lnTo>
                <a:lnTo>
                  <a:pt x="11586" y="6796"/>
                </a:lnTo>
                <a:lnTo>
                  <a:pt x="11584" y="6794"/>
                </a:lnTo>
                <a:lnTo>
                  <a:pt x="11584" y="6790"/>
                </a:lnTo>
                <a:lnTo>
                  <a:pt x="11586" y="6782"/>
                </a:lnTo>
                <a:lnTo>
                  <a:pt x="11592" y="6770"/>
                </a:lnTo>
                <a:lnTo>
                  <a:pt x="11602" y="6754"/>
                </a:lnTo>
                <a:lnTo>
                  <a:pt x="11614" y="6740"/>
                </a:lnTo>
                <a:lnTo>
                  <a:pt x="11622" y="6732"/>
                </a:lnTo>
                <a:lnTo>
                  <a:pt x="11628" y="6730"/>
                </a:lnTo>
                <a:lnTo>
                  <a:pt x="11632" y="6730"/>
                </a:lnTo>
                <a:lnTo>
                  <a:pt x="11634" y="6730"/>
                </a:lnTo>
                <a:lnTo>
                  <a:pt x="11636" y="6720"/>
                </a:lnTo>
                <a:lnTo>
                  <a:pt x="11640" y="6712"/>
                </a:lnTo>
                <a:lnTo>
                  <a:pt x="11642" y="6706"/>
                </a:lnTo>
                <a:lnTo>
                  <a:pt x="11650" y="6698"/>
                </a:lnTo>
                <a:lnTo>
                  <a:pt x="11656" y="6690"/>
                </a:lnTo>
                <a:lnTo>
                  <a:pt x="11658" y="6686"/>
                </a:lnTo>
                <a:lnTo>
                  <a:pt x="11660" y="6680"/>
                </a:lnTo>
                <a:lnTo>
                  <a:pt x="11660" y="6670"/>
                </a:lnTo>
                <a:lnTo>
                  <a:pt x="11668" y="6686"/>
                </a:lnTo>
                <a:lnTo>
                  <a:pt x="11668" y="6694"/>
                </a:lnTo>
                <a:lnTo>
                  <a:pt x="11666" y="6702"/>
                </a:lnTo>
                <a:lnTo>
                  <a:pt x="11658" y="6726"/>
                </a:lnTo>
                <a:lnTo>
                  <a:pt x="11650" y="6748"/>
                </a:lnTo>
                <a:lnTo>
                  <a:pt x="11648" y="6758"/>
                </a:lnTo>
                <a:lnTo>
                  <a:pt x="11648" y="6766"/>
                </a:lnTo>
                <a:lnTo>
                  <a:pt x="11652" y="6776"/>
                </a:lnTo>
                <a:lnTo>
                  <a:pt x="11650" y="6784"/>
                </a:lnTo>
                <a:lnTo>
                  <a:pt x="11646" y="6790"/>
                </a:lnTo>
                <a:lnTo>
                  <a:pt x="11642" y="6792"/>
                </a:lnTo>
                <a:lnTo>
                  <a:pt x="11638" y="6792"/>
                </a:lnTo>
                <a:lnTo>
                  <a:pt x="11634" y="6792"/>
                </a:lnTo>
                <a:lnTo>
                  <a:pt x="11630" y="6794"/>
                </a:lnTo>
                <a:lnTo>
                  <a:pt x="11626" y="6798"/>
                </a:lnTo>
                <a:lnTo>
                  <a:pt x="11624" y="6802"/>
                </a:lnTo>
                <a:lnTo>
                  <a:pt x="11624" y="6806"/>
                </a:lnTo>
                <a:lnTo>
                  <a:pt x="11628" y="6808"/>
                </a:lnTo>
                <a:lnTo>
                  <a:pt x="11634" y="6810"/>
                </a:lnTo>
                <a:lnTo>
                  <a:pt x="11642" y="6810"/>
                </a:lnTo>
                <a:lnTo>
                  <a:pt x="11648" y="6808"/>
                </a:lnTo>
                <a:lnTo>
                  <a:pt x="11652" y="6806"/>
                </a:lnTo>
                <a:lnTo>
                  <a:pt x="11660" y="6798"/>
                </a:lnTo>
                <a:lnTo>
                  <a:pt x="11664" y="6788"/>
                </a:lnTo>
                <a:lnTo>
                  <a:pt x="11668" y="6778"/>
                </a:lnTo>
                <a:lnTo>
                  <a:pt x="11670" y="6770"/>
                </a:lnTo>
                <a:lnTo>
                  <a:pt x="11672" y="6764"/>
                </a:lnTo>
                <a:lnTo>
                  <a:pt x="11674" y="6764"/>
                </a:lnTo>
                <a:lnTo>
                  <a:pt x="11676" y="6766"/>
                </a:lnTo>
                <a:lnTo>
                  <a:pt x="11682" y="6772"/>
                </a:lnTo>
                <a:lnTo>
                  <a:pt x="11688" y="6784"/>
                </a:lnTo>
                <a:lnTo>
                  <a:pt x="11688" y="6794"/>
                </a:lnTo>
                <a:lnTo>
                  <a:pt x="11688" y="6802"/>
                </a:lnTo>
                <a:lnTo>
                  <a:pt x="11684" y="6810"/>
                </a:lnTo>
                <a:lnTo>
                  <a:pt x="11676" y="6822"/>
                </a:lnTo>
                <a:lnTo>
                  <a:pt x="11676" y="6828"/>
                </a:lnTo>
                <a:lnTo>
                  <a:pt x="11676" y="6832"/>
                </a:lnTo>
                <a:lnTo>
                  <a:pt x="11678" y="6834"/>
                </a:lnTo>
                <a:lnTo>
                  <a:pt x="11682" y="6834"/>
                </a:lnTo>
                <a:lnTo>
                  <a:pt x="11690" y="6832"/>
                </a:lnTo>
                <a:lnTo>
                  <a:pt x="11700" y="6830"/>
                </a:lnTo>
                <a:lnTo>
                  <a:pt x="11706" y="6832"/>
                </a:lnTo>
                <a:lnTo>
                  <a:pt x="11712" y="6834"/>
                </a:lnTo>
                <a:lnTo>
                  <a:pt x="11718" y="6838"/>
                </a:lnTo>
                <a:lnTo>
                  <a:pt x="11726" y="6846"/>
                </a:lnTo>
                <a:lnTo>
                  <a:pt x="11732" y="6854"/>
                </a:lnTo>
                <a:lnTo>
                  <a:pt x="11736" y="6862"/>
                </a:lnTo>
                <a:lnTo>
                  <a:pt x="11740" y="6872"/>
                </a:lnTo>
                <a:lnTo>
                  <a:pt x="11742" y="6882"/>
                </a:lnTo>
                <a:lnTo>
                  <a:pt x="11742" y="6890"/>
                </a:lnTo>
                <a:lnTo>
                  <a:pt x="11740" y="6898"/>
                </a:lnTo>
                <a:lnTo>
                  <a:pt x="11738" y="6904"/>
                </a:lnTo>
                <a:lnTo>
                  <a:pt x="11740" y="6914"/>
                </a:lnTo>
                <a:lnTo>
                  <a:pt x="11744" y="6924"/>
                </a:lnTo>
                <a:lnTo>
                  <a:pt x="11750" y="6934"/>
                </a:lnTo>
                <a:lnTo>
                  <a:pt x="11758" y="6944"/>
                </a:lnTo>
                <a:lnTo>
                  <a:pt x="11768" y="6952"/>
                </a:lnTo>
                <a:lnTo>
                  <a:pt x="11776" y="6958"/>
                </a:lnTo>
                <a:lnTo>
                  <a:pt x="11784" y="6962"/>
                </a:lnTo>
                <a:lnTo>
                  <a:pt x="11792" y="6966"/>
                </a:lnTo>
                <a:lnTo>
                  <a:pt x="11796" y="6968"/>
                </a:lnTo>
                <a:lnTo>
                  <a:pt x="11804" y="6978"/>
                </a:lnTo>
                <a:lnTo>
                  <a:pt x="11810" y="6982"/>
                </a:lnTo>
                <a:lnTo>
                  <a:pt x="11812" y="6982"/>
                </a:lnTo>
                <a:lnTo>
                  <a:pt x="11816" y="6980"/>
                </a:lnTo>
                <a:lnTo>
                  <a:pt x="11822" y="6976"/>
                </a:lnTo>
                <a:lnTo>
                  <a:pt x="11826" y="6976"/>
                </a:lnTo>
                <a:lnTo>
                  <a:pt x="11832" y="6976"/>
                </a:lnTo>
                <a:lnTo>
                  <a:pt x="11846" y="6982"/>
                </a:lnTo>
                <a:lnTo>
                  <a:pt x="11868" y="6994"/>
                </a:lnTo>
                <a:lnTo>
                  <a:pt x="11880" y="7000"/>
                </a:lnTo>
                <a:lnTo>
                  <a:pt x="11890" y="7004"/>
                </a:lnTo>
                <a:lnTo>
                  <a:pt x="11896" y="7002"/>
                </a:lnTo>
                <a:lnTo>
                  <a:pt x="11900" y="7000"/>
                </a:lnTo>
                <a:lnTo>
                  <a:pt x="11908" y="6990"/>
                </a:lnTo>
                <a:lnTo>
                  <a:pt x="11914" y="6986"/>
                </a:lnTo>
                <a:lnTo>
                  <a:pt x="11922" y="6980"/>
                </a:lnTo>
                <a:lnTo>
                  <a:pt x="11930" y="6976"/>
                </a:lnTo>
                <a:lnTo>
                  <a:pt x="11936" y="6970"/>
                </a:lnTo>
                <a:lnTo>
                  <a:pt x="11940" y="6960"/>
                </a:lnTo>
                <a:lnTo>
                  <a:pt x="11942" y="6956"/>
                </a:lnTo>
                <a:lnTo>
                  <a:pt x="11944" y="6954"/>
                </a:lnTo>
                <a:lnTo>
                  <a:pt x="11946" y="6956"/>
                </a:lnTo>
                <a:lnTo>
                  <a:pt x="11952" y="6958"/>
                </a:lnTo>
                <a:lnTo>
                  <a:pt x="11958" y="6962"/>
                </a:lnTo>
                <a:lnTo>
                  <a:pt x="11958" y="6966"/>
                </a:lnTo>
                <a:lnTo>
                  <a:pt x="11956" y="6970"/>
                </a:lnTo>
                <a:lnTo>
                  <a:pt x="11952" y="6974"/>
                </a:lnTo>
                <a:lnTo>
                  <a:pt x="11944" y="6980"/>
                </a:lnTo>
                <a:lnTo>
                  <a:pt x="11944" y="6982"/>
                </a:lnTo>
                <a:lnTo>
                  <a:pt x="11948" y="6986"/>
                </a:lnTo>
                <a:lnTo>
                  <a:pt x="11954" y="6988"/>
                </a:lnTo>
                <a:lnTo>
                  <a:pt x="11958" y="6986"/>
                </a:lnTo>
                <a:lnTo>
                  <a:pt x="11960" y="6984"/>
                </a:lnTo>
                <a:lnTo>
                  <a:pt x="11964" y="6980"/>
                </a:lnTo>
                <a:lnTo>
                  <a:pt x="11966" y="6976"/>
                </a:lnTo>
                <a:lnTo>
                  <a:pt x="11966" y="6982"/>
                </a:lnTo>
                <a:lnTo>
                  <a:pt x="11968" y="6986"/>
                </a:lnTo>
                <a:lnTo>
                  <a:pt x="11970" y="6990"/>
                </a:lnTo>
                <a:lnTo>
                  <a:pt x="11976" y="6996"/>
                </a:lnTo>
                <a:lnTo>
                  <a:pt x="11988" y="7004"/>
                </a:lnTo>
                <a:lnTo>
                  <a:pt x="11994" y="7010"/>
                </a:lnTo>
                <a:lnTo>
                  <a:pt x="12004" y="7020"/>
                </a:lnTo>
                <a:lnTo>
                  <a:pt x="12008" y="7026"/>
                </a:lnTo>
                <a:lnTo>
                  <a:pt x="12010" y="7028"/>
                </a:lnTo>
                <a:lnTo>
                  <a:pt x="12010" y="7020"/>
                </a:lnTo>
                <a:lnTo>
                  <a:pt x="12010" y="7014"/>
                </a:lnTo>
                <a:lnTo>
                  <a:pt x="12010" y="7008"/>
                </a:lnTo>
                <a:lnTo>
                  <a:pt x="12012" y="7002"/>
                </a:lnTo>
                <a:lnTo>
                  <a:pt x="12016" y="6998"/>
                </a:lnTo>
                <a:lnTo>
                  <a:pt x="12024" y="6996"/>
                </a:lnTo>
                <a:lnTo>
                  <a:pt x="12034" y="6988"/>
                </a:lnTo>
                <a:lnTo>
                  <a:pt x="12056" y="6970"/>
                </a:lnTo>
                <a:lnTo>
                  <a:pt x="12070" y="6960"/>
                </a:lnTo>
                <a:lnTo>
                  <a:pt x="12084" y="6952"/>
                </a:lnTo>
                <a:lnTo>
                  <a:pt x="12098" y="6948"/>
                </a:lnTo>
                <a:lnTo>
                  <a:pt x="12104" y="6948"/>
                </a:lnTo>
                <a:lnTo>
                  <a:pt x="12112" y="6948"/>
                </a:lnTo>
                <a:lnTo>
                  <a:pt x="12126" y="6948"/>
                </a:lnTo>
                <a:lnTo>
                  <a:pt x="12136" y="6946"/>
                </a:lnTo>
                <a:lnTo>
                  <a:pt x="12144" y="6942"/>
                </a:lnTo>
                <a:lnTo>
                  <a:pt x="12150" y="6936"/>
                </a:lnTo>
                <a:lnTo>
                  <a:pt x="12152" y="6930"/>
                </a:lnTo>
                <a:lnTo>
                  <a:pt x="12154" y="6922"/>
                </a:lnTo>
                <a:lnTo>
                  <a:pt x="12152" y="6918"/>
                </a:lnTo>
                <a:lnTo>
                  <a:pt x="12150" y="6914"/>
                </a:lnTo>
                <a:lnTo>
                  <a:pt x="12146" y="6910"/>
                </a:lnTo>
                <a:lnTo>
                  <a:pt x="12146" y="6906"/>
                </a:lnTo>
                <a:lnTo>
                  <a:pt x="12150" y="6894"/>
                </a:lnTo>
                <a:lnTo>
                  <a:pt x="12156" y="6882"/>
                </a:lnTo>
                <a:lnTo>
                  <a:pt x="12158" y="6876"/>
                </a:lnTo>
                <a:lnTo>
                  <a:pt x="12158" y="6868"/>
                </a:lnTo>
                <a:lnTo>
                  <a:pt x="12160" y="6852"/>
                </a:lnTo>
                <a:lnTo>
                  <a:pt x="12164" y="6832"/>
                </a:lnTo>
                <a:lnTo>
                  <a:pt x="12172" y="6816"/>
                </a:lnTo>
                <a:lnTo>
                  <a:pt x="12176" y="6810"/>
                </a:lnTo>
                <a:lnTo>
                  <a:pt x="12180" y="6806"/>
                </a:lnTo>
                <a:lnTo>
                  <a:pt x="12186" y="6800"/>
                </a:lnTo>
                <a:lnTo>
                  <a:pt x="12188" y="6790"/>
                </a:lnTo>
                <a:lnTo>
                  <a:pt x="12196" y="6758"/>
                </a:lnTo>
                <a:lnTo>
                  <a:pt x="12200" y="6738"/>
                </a:lnTo>
                <a:lnTo>
                  <a:pt x="12208" y="6720"/>
                </a:lnTo>
                <a:lnTo>
                  <a:pt x="12218" y="6702"/>
                </a:lnTo>
                <a:lnTo>
                  <a:pt x="12224" y="6694"/>
                </a:lnTo>
                <a:lnTo>
                  <a:pt x="12232" y="6686"/>
                </a:lnTo>
                <a:lnTo>
                  <a:pt x="12244" y="6674"/>
                </a:lnTo>
                <a:lnTo>
                  <a:pt x="12252" y="6664"/>
                </a:lnTo>
                <a:lnTo>
                  <a:pt x="12256" y="6658"/>
                </a:lnTo>
                <a:lnTo>
                  <a:pt x="12258" y="6652"/>
                </a:lnTo>
                <a:lnTo>
                  <a:pt x="12260" y="6642"/>
                </a:lnTo>
                <a:lnTo>
                  <a:pt x="12260" y="6636"/>
                </a:lnTo>
                <a:lnTo>
                  <a:pt x="12264" y="6628"/>
                </a:lnTo>
                <a:lnTo>
                  <a:pt x="12270" y="6616"/>
                </a:lnTo>
                <a:lnTo>
                  <a:pt x="12272" y="6604"/>
                </a:lnTo>
                <a:lnTo>
                  <a:pt x="12274" y="6596"/>
                </a:lnTo>
                <a:lnTo>
                  <a:pt x="12272" y="6586"/>
                </a:lnTo>
                <a:lnTo>
                  <a:pt x="12272" y="6570"/>
                </a:lnTo>
                <a:lnTo>
                  <a:pt x="12274" y="6562"/>
                </a:lnTo>
                <a:lnTo>
                  <a:pt x="12276" y="6554"/>
                </a:lnTo>
                <a:lnTo>
                  <a:pt x="12282" y="6544"/>
                </a:lnTo>
                <a:lnTo>
                  <a:pt x="12284" y="6532"/>
                </a:lnTo>
                <a:lnTo>
                  <a:pt x="12286" y="6514"/>
                </a:lnTo>
                <a:lnTo>
                  <a:pt x="12288" y="6496"/>
                </a:lnTo>
                <a:lnTo>
                  <a:pt x="12292" y="6488"/>
                </a:lnTo>
                <a:lnTo>
                  <a:pt x="12296" y="6476"/>
                </a:lnTo>
                <a:lnTo>
                  <a:pt x="12298" y="6472"/>
                </a:lnTo>
                <a:lnTo>
                  <a:pt x="12300" y="6464"/>
                </a:lnTo>
                <a:lnTo>
                  <a:pt x="12300" y="6452"/>
                </a:lnTo>
                <a:lnTo>
                  <a:pt x="12296" y="6438"/>
                </a:lnTo>
                <a:lnTo>
                  <a:pt x="12292" y="6422"/>
                </a:lnTo>
                <a:lnTo>
                  <a:pt x="12282" y="6398"/>
                </a:lnTo>
                <a:lnTo>
                  <a:pt x="12280" y="6388"/>
                </a:lnTo>
                <a:lnTo>
                  <a:pt x="12280" y="6382"/>
                </a:lnTo>
                <a:close/>
                <a:moveTo>
                  <a:pt x="11380" y="5618"/>
                </a:moveTo>
                <a:lnTo>
                  <a:pt x="11380" y="5618"/>
                </a:lnTo>
                <a:lnTo>
                  <a:pt x="11384" y="5618"/>
                </a:lnTo>
                <a:lnTo>
                  <a:pt x="11388" y="5618"/>
                </a:lnTo>
                <a:lnTo>
                  <a:pt x="11394" y="5616"/>
                </a:lnTo>
                <a:lnTo>
                  <a:pt x="11400" y="5612"/>
                </a:lnTo>
                <a:lnTo>
                  <a:pt x="11404" y="5608"/>
                </a:lnTo>
                <a:lnTo>
                  <a:pt x="11406" y="5602"/>
                </a:lnTo>
                <a:lnTo>
                  <a:pt x="11408" y="5596"/>
                </a:lnTo>
                <a:lnTo>
                  <a:pt x="11406" y="5592"/>
                </a:lnTo>
                <a:lnTo>
                  <a:pt x="11402" y="5586"/>
                </a:lnTo>
                <a:lnTo>
                  <a:pt x="11398" y="5584"/>
                </a:lnTo>
                <a:lnTo>
                  <a:pt x="11396" y="5586"/>
                </a:lnTo>
                <a:lnTo>
                  <a:pt x="11392" y="5588"/>
                </a:lnTo>
                <a:lnTo>
                  <a:pt x="11388" y="5592"/>
                </a:lnTo>
                <a:lnTo>
                  <a:pt x="11382" y="5594"/>
                </a:lnTo>
                <a:lnTo>
                  <a:pt x="11376" y="5592"/>
                </a:lnTo>
                <a:lnTo>
                  <a:pt x="11366" y="5588"/>
                </a:lnTo>
                <a:lnTo>
                  <a:pt x="11362" y="5588"/>
                </a:lnTo>
                <a:lnTo>
                  <a:pt x="11360" y="5588"/>
                </a:lnTo>
                <a:lnTo>
                  <a:pt x="11360" y="5590"/>
                </a:lnTo>
                <a:lnTo>
                  <a:pt x="11362" y="5596"/>
                </a:lnTo>
                <a:lnTo>
                  <a:pt x="11370" y="5606"/>
                </a:lnTo>
                <a:lnTo>
                  <a:pt x="11380" y="5618"/>
                </a:lnTo>
                <a:close/>
                <a:moveTo>
                  <a:pt x="11350" y="5602"/>
                </a:moveTo>
                <a:lnTo>
                  <a:pt x="11350" y="5602"/>
                </a:lnTo>
                <a:lnTo>
                  <a:pt x="11350" y="5608"/>
                </a:lnTo>
                <a:lnTo>
                  <a:pt x="11350" y="5612"/>
                </a:lnTo>
                <a:lnTo>
                  <a:pt x="11354" y="5614"/>
                </a:lnTo>
                <a:lnTo>
                  <a:pt x="11360" y="5616"/>
                </a:lnTo>
                <a:lnTo>
                  <a:pt x="11364" y="5618"/>
                </a:lnTo>
                <a:lnTo>
                  <a:pt x="11366" y="5616"/>
                </a:lnTo>
                <a:lnTo>
                  <a:pt x="11366" y="5610"/>
                </a:lnTo>
                <a:lnTo>
                  <a:pt x="11362" y="5604"/>
                </a:lnTo>
                <a:lnTo>
                  <a:pt x="11356" y="5596"/>
                </a:lnTo>
                <a:lnTo>
                  <a:pt x="11352" y="5594"/>
                </a:lnTo>
                <a:lnTo>
                  <a:pt x="11350" y="5596"/>
                </a:lnTo>
                <a:lnTo>
                  <a:pt x="11350" y="5602"/>
                </a:lnTo>
                <a:close/>
                <a:moveTo>
                  <a:pt x="11606" y="5728"/>
                </a:moveTo>
                <a:lnTo>
                  <a:pt x="11606" y="5728"/>
                </a:lnTo>
                <a:lnTo>
                  <a:pt x="11608" y="5734"/>
                </a:lnTo>
                <a:lnTo>
                  <a:pt x="11610" y="5736"/>
                </a:lnTo>
                <a:lnTo>
                  <a:pt x="11612" y="5736"/>
                </a:lnTo>
                <a:lnTo>
                  <a:pt x="11616" y="5732"/>
                </a:lnTo>
                <a:lnTo>
                  <a:pt x="11620" y="5724"/>
                </a:lnTo>
                <a:lnTo>
                  <a:pt x="11622" y="5720"/>
                </a:lnTo>
                <a:lnTo>
                  <a:pt x="11620" y="5716"/>
                </a:lnTo>
                <a:lnTo>
                  <a:pt x="11616" y="5716"/>
                </a:lnTo>
                <a:lnTo>
                  <a:pt x="11614" y="5714"/>
                </a:lnTo>
                <a:lnTo>
                  <a:pt x="11610" y="5716"/>
                </a:lnTo>
                <a:lnTo>
                  <a:pt x="11606" y="5718"/>
                </a:lnTo>
                <a:lnTo>
                  <a:pt x="11606" y="5722"/>
                </a:lnTo>
                <a:lnTo>
                  <a:pt x="11606" y="5728"/>
                </a:lnTo>
                <a:close/>
                <a:moveTo>
                  <a:pt x="12276" y="6286"/>
                </a:moveTo>
                <a:lnTo>
                  <a:pt x="12276" y="6286"/>
                </a:lnTo>
                <a:lnTo>
                  <a:pt x="12276" y="6292"/>
                </a:lnTo>
                <a:lnTo>
                  <a:pt x="12274" y="6300"/>
                </a:lnTo>
                <a:lnTo>
                  <a:pt x="12274" y="6308"/>
                </a:lnTo>
                <a:lnTo>
                  <a:pt x="12274" y="6310"/>
                </a:lnTo>
                <a:lnTo>
                  <a:pt x="12276" y="6312"/>
                </a:lnTo>
                <a:lnTo>
                  <a:pt x="12280" y="6314"/>
                </a:lnTo>
                <a:lnTo>
                  <a:pt x="12280" y="6310"/>
                </a:lnTo>
                <a:lnTo>
                  <a:pt x="12282" y="6300"/>
                </a:lnTo>
                <a:lnTo>
                  <a:pt x="12284" y="6290"/>
                </a:lnTo>
                <a:lnTo>
                  <a:pt x="12290" y="6280"/>
                </a:lnTo>
                <a:lnTo>
                  <a:pt x="12290" y="6276"/>
                </a:lnTo>
                <a:lnTo>
                  <a:pt x="12290" y="6272"/>
                </a:lnTo>
                <a:lnTo>
                  <a:pt x="12288" y="6268"/>
                </a:lnTo>
                <a:lnTo>
                  <a:pt x="12288" y="6262"/>
                </a:lnTo>
                <a:lnTo>
                  <a:pt x="12286" y="6258"/>
                </a:lnTo>
                <a:lnTo>
                  <a:pt x="12284" y="6260"/>
                </a:lnTo>
                <a:lnTo>
                  <a:pt x="12282" y="6264"/>
                </a:lnTo>
                <a:lnTo>
                  <a:pt x="12282" y="6270"/>
                </a:lnTo>
                <a:lnTo>
                  <a:pt x="12284" y="6272"/>
                </a:lnTo>
                <a:lnTo>
                  <a:pt x="12282" y="6276"/>
                </a:lnTo>
                <a:lnTo>
                  <a:pt x="12280" y="6280"/>
                </a:lnTo>
                <a:lnTo>
                  <a:pt x="12276" y="6284"/>
                </a:lnTo>
                <a:lnTo>
                  <a:pt x="12276" y="6286"/>
                </a:lnTo>
                <a:close/>
                <a:moveTo>
                  <a:pt x="11714" y="5858"/>
                </a:moveTo>
                <a:lnTo>
                  <a:pt x="11714" y="5858"/>
                </a:lnTo>
                <a:lnTo>
                  <a:pt x="11716" y="5860"/>
                </a:lnTo>
                <a:lnTo>
                  <a:pt x="11720" y="5858"/>
                </a:lnTo>
                <a:lnTo>
                  <a:pt x="11724" y="5856"/>
                </a:lnTo>
                <a:lnTo>
                  <a:pt x="11728" y="5852"/>
                </a:lnTo>
                <a:lnTo>
                  <a:pt x="11730" y="5850"/>
                </a:lnTo>
                <a:lnTo>
                  <a:pt x="11736" y="5850"/>
                </a:lnTo>
                <a:lnTo>
                  <a:pt x="11738" y="5848"/>
                </a:lnTo>
                <a:lnTo>
                  <a:pt x="11738" y="5846"/>
                </a:lnTo>
                <a:lnTo>
                  <a:pt x="11738" y="5844"/>
                </a:lnTo>
                <a:lnTo>
                  <a:pt x="11734" y="5842"/>
                </a:lnTo>
                <a:lnTo>
                  <a:pt x="11730" y="5842"/>
                </a:lnTo>
                <a:lnTo>
                  <a:pt x="11722" y="5846"/>
                </a:lnTo>
                <a:lnTo>
                  <a:pt x="11716" y="5854"/>
                </a:lnTo>
                <a:lnTo>
                  <a:pt x="11714" y="5856"/>
                </a:lnTo>
                <a:lnTo>
                  <a:pt x="11714" y="5858"/>
                </a:lnTo>
                <a:close/>
                <a:moveTo>
                  <a:pt x="7856" y="5622"/>
                </a:moveTo>
                <a:lnTo>
                  <a:pt x="7856" y="5622"/>
                </a:lnTo>
                <a:lnTo>
                  <a:pt x="7858" y="5620"/>
                </a:lnTo>
                <a:lnTo>
                  <a:pt x="7860" y="5616"/>
                </a:lnTo>
                <a:lnTo>
                  <a:pt x="7860" y="5606"/>
                </a:lnTo>
                <a:lnTo>
                  <a:pt x="7856" y="5596"/>
                </a:lnTo>
                <a:lnTo>
                  <a:pt x="7854" y="5594"/>
                </a:lnTo>
                <a:lnTo>
                  <a:pt x="7852" y="5594"/>
                </a:lnTo>
                <a:lnTo>
                  <a:pt x="7848" y="5600"/>
                </a:lnTo>
                <a:lnTo>
                  <a:pt x="7848" y="5608"/>
                </a:lnTo>
                <a:lnTo>
                  <a:pt x="7850" y="5618"/>
                </a:lnTo>
                <a:lnTo>
                  <a:pt x="7854" y="5620"/>
                </a:lnTo>
                <a:lnTo>
                  <a:pt x="7856" y="5622"/>
                </a:lnTo>
                <a:close/>
                <a:moveTo>
                  <a:pt x="7924" y="5658"/>
                </a:moveTo>
                <a:lnTo>
                  <a:pt x="7924" y="5658"/>
                </a:lnTo>
                <a:lnTo>
                  <a:pt x="7920" y="5658"/>
                </a:lnTo>
                <a:lnTo>
                  <a:pt x="7920" y="5660"/>
                </a:lnTo>
                <a:lnTo>
                  <a:pt x="7920" y="5664"/>
                </a:lnTo>
                <a:lnTo>
                  <a:pt x="7924" y="5670"/>
                </a:lnTo>
                <a:lnTo>
                  <a:pt x="7926" y="5672"/>
                </a:lnTo>
                <a:lnTo>
                  <a:pt x="7928" y="5670"/>
                </a:lnTo>
                <a:lnTo>
                  <a:pt x="7928" y="5666"/>
                </a:lnTo>
                <a:lnTo>
                  <a:pt x="7928" y="5662"/>
                </a:lnTo>
                <a:lnTo>
                  <a:pt x="7924" y="5658"/>
                </a:lnTo>
                <a:close/>
                <a:moveTo>
                  <a:pt x="7902" y="5642"/>
                </a:moveTo>
                <a:lnTo>
                  <a:pt x="7902" y="5642"/>
                </a:lnTo>
                <a:lnTo>
                  <a:pt x="7902" y="5638"/>
                </a:lnTo>
                <a:lnTo>
                  <a:pt x="7902" y="5634"/>
                </a:lnTo>
                <a:lnTo>
                  <a:pt x="7900" y="5630"/>
                </a:lnTo>
                <a:lnTo>
                  <a:pt x="7898" y="5630"/>
                </a:lnTo>
                <a:lnTo>
                  <a:pt x="7896" y="5630"/>
                </a:lnTo>
                <a:lnTo>
                  <a:pt x="7894" y="5632"/>
                </a:lnTo>
                <a:lnTo>
                  <a:pt x="7894" y="5634"/>
                </a:lnTo>
                <a:lnTo>
                  <a:pt x="7896" y="5640"/>
                </a:lnTo>
                <a:lnTo>
                  <a:pt x="7898" y="5642"/>
                </a:lnTo>
                <a:lnTo>
                  <a:pt x="7902" y="5642"/>
                </a:lnTo>
                <a:close/>
                <a:moveTo>
                  <a:pt x="7690" y="5324"/>
                </a:moveTo>
                <a:lnTo>
                  <a:pt x="7690" y="5324"/>
                </a:lnTo>
                <a:lnTo>
                  <a:pt x="7688" y="5328"/>
                </a:lnTo>
                <a:lnTo>
                  <a:pt x="7688" y="5334"/>
                </a:lnTo>
                <a:lnTo>
                  <a:pt x="7692" y="5342"/>
                </a:lnTo>
                <a:lnTo>
                  <a:pt x="7696" y="5348"/>
                </a:lnTo>
                <a:lnTo>
                  <a:pt x="7702" y="5352"/>
                </a:lnTo>
                <a:lnTo>
                  <a:pt x="7704" y="5352"/>
                </a:lnTo>
                <a:lnTo>
                  <a:pt x="7704" y="5348"/>
                </a:lnTo>
                <a:lnTo>
                  <a:pt x="7704" y="5342"/>
                </a:lnTo>
                <a:lnTo>
                  <a:pt x="7702" y="5338"/>
                </a:lnTo>
                <a:lnTo>
                  <a:pt x="7700" y="5336"/>
                </a:lnTo>
                <a:lnTo>
                  <a:pt x="7698" y="5332"/>
                </a:lnTo>
                <a:lnTo>
                  <a:pt x="7696" y="5326"/>
                </a:lnTo>
                <a:lnTo>
                  <a:pt x="7694" y="5318"/>
                </a:lnTo>
                <a:lnTo>
                  <a:pt x="7694" y="5316"/>
                </a:lnTo>
                <a:lnTo>
                  <a:pt x="7690" y="5324"/>
                </a:lnTo>
                <a:close/>
                <a:moveTo>
                  <a:pt x="7710" y="5302"/>
                </a:moveTo>
                <a:lnTo>
                  <a:pt x="7710" y="5302"/>
                </a:lnTo>
                <a:lnTo>
                  <a:pt x="7712" y="5304"/>
                </a:lnTo>
                <a:lnTo>
                  <a:pt x="7712" y="5302"/>
                </a:lnTo>
                <a:lnTo>
                  <a:pt x="7716" y="5292"/>
                </a:lnTo>
                <a:lnTo>
                  <a:pt x="7716" y="5282"/>
                </a:lnTo>
                <a:lnTo>
                  <a:pt x="7716" y="5280"/>
                </a:lnTo>
                <a:lnTo>
                  <a:pt x="7712" y="5276"/>
                </a:lnTo>
                <a:lnTo>
                  <a:pt x="7710" y="5276"/>
                </a:lnTo>
                <a:lnTo>
                  <a:pt x="7708" y="5278"/>
                </a:lnTo>
                <a:lnTo>
                  <a:pt x="7710" y="5288"/>
                </a:lnTo>
                <a:lnTo>
                  <a:pt x="7710" y="5292"/>
                </a:lnTo>
                <a:lnTo>
                  <a:pt x="7708" y="5296"/>
                </a:lnTo>
                <a:lnTo>
                  <a:pt x="7708" y="5300"/>
                </a:lnTo>
                <a:lnTo>
                  <a:pt x="7710" y="5302"/>
                </a:lnTo>
                <a:close/>
                <a:moveTo>
                  <a:pt x="7710" y="5426"/>
                </a:moveTo>
                <a:lnTo>
                  <a:pt x="7710" y="5426"/>
                </a:lnTo>
                <a:lnTo>
                  <a:pt x="7714" y="5424"/>
                </a:lnTo>
                <a:lnTo>
                  <a:pt x="7716" y="5422"/>
                </a:lnTo>
                <a:lnTo>
                  <a:pt x="7718" y="5412"/>
                </a:lnTo>
                <a:lnTo>
                  <a:pt x="7718" y="5410"/>
                </a:lnTo>
                <a:lnTo>
                  <a:pt x="7716" y="5410"/>
                </a:lnTo>
                <a:lnTo>
                  <a:pt x="7710" y="5416"/>
                </a:lnTo>
                <a:lnTo>
                  <a:pt x="7706" y="5424"/>
                </a:lnTo>
                <a:lnTo>
                  <a:pt x="7708" y="5426"/>
                </a:lnTo>
                <a:lnTo>
                  <a:pt x="7710" y="5426"/>
                </a:lnTo>
                <a:close/>
                <a:moveTo>
                  <a:pt x="8334" y="6072"/>
                </a:moveTo>
                <a:lnTo>
                  <a:pt x="8334" y="6072"/>
                </a:lnTo>
                <a:lnTo>
                  <a:pt x="8332" y="6076"/>
                </a:lnTo>
                <a:lnTo>
                  <a:pt x="8334" y="6080"/>
                </a:lnTo>
                <a:lnTo>
                  <a:pt x="8340" y="6088"/>
                </a:lnTo>
                <a:lnTo>
                  <a:pt x="8344" y="6090"/>
                </a:lnTo>
                <a:lnTo>
                  <a:pt x="8348" y="6090"/>
                </a:lnTo>
                <a:lnTo>
                  <a:pt x="8354" y="6090"/>
                </a:lnTo>
                <a:lnTo>
                  <a:pt x="8358" y="6088"/>
                </a:lnTo>
                <a:lnTo>
                  <a:pt x="8358" y="6084"/>
                </a:lnTo>
                <a:lnTo>
                  <a:pt x="8358" y="6080"/>
                </a:lnTo>
                <a:lnTo>
                  <a:pt x="8356" y="6074"/>
                </a:lnTo>
                <a:lnTo>
                  <a:pt x="8350" y="6072"/>
                </a:lnTo>
                <a:lnTo>
                  <a:pt x="8346" y="6068"/>
                </a:lnTo>
                <a:lnTo>
                  <a:pt x="8340" y="6068"/>
                </a:lnTo>
                <a:lnTo>
                  <a:pt x="8336" y="6068"/>
                </a:lnTo>
                <a:lnTo>
                  <a:pt x="8334" y="6072"/>
                </a:lnTo>
                <a:close/>
                <a:moveTo>
                  <a:pt x="8428" y="6048"/>
                </a:moveTo>
                <a:lnTo>
                  <a:pt x="8428" y="6048"/>
                </a:lnTo>
                <a:lnTo>
                  <a:pt x="8432" y="6046"/>
                </a:lnTo>
                <a:lnTo>
                  <a:pt x="8436" y="6044"/>
                </a:lnTo>
                <a:lnTo>
                  <a:pt x="8436" y="6042"/>
                </a:lnTo>
                <a:lnTo>
                  <a:pt x="8436" y="6038"/>
                </a:lnTo>
                <a:lnTo>
                  <a:pt x="8434" y="6032"/>
                </a:lnTo>
                <a:lnTo>
                  <a:pt x="8432" y="6022"/>
                </a:lnTo>
                <a:lnTo>
                  <a:pt x="8430" y="6018"/>
                </a:lnTo>
                <a:lnTo>
                  <a:pt x="8428" y="6020"/>
                </a:lnTo>
                <a:lnTo>
                  <a:pt x="8420" y="6030"/>
                </a:lnTo>
                <a:lnTo>
                  <a:pt x="8418" y="6038"/>
                </a:lnTo>
                <a:lnTo>
                  <a:pt x="8418" y="6042"/>
                </a:lnTo>
                <a:lnTo>
                  <a:pt x="8422" y="6046"/>
                </a:lnTo>
                <a:lnTo>
                  <a:pt x="8428" y="6048"/>
                </a:lnTo>
                <a:close/>
                <a:moveTo>
                  <a:pt x="6776" y="2836"/>
                </a:moveTo>
                <a:lnTo>
                  <a:pt x="6776" y="2836"/>
                </a:lnTo>
                <a:lnTo>
                  <a:pt x="6792" y="2836"/>
                </a:lnTo>
                <a:lnTo>
                  <a:pt x="6794" y="2836"/>
                </a:lnTo>
                <a:lnTo>
                  <a:pt x="6794" y="2834"/>
                </a:lnTo>
                <a:lnTo>
                  <a:pt x="6784" y="2832"/>
                </a:lnTo>
                <a:lnTo>
                  <a:pt x="6772" y="2830"/>
                </a:lnTo>
                <a:lnTo>
                  <a:pt x="6768" y="2832"/>
                </a:lnTo>
                <a:lnTo>
                  <a:pt x="6776" y="2836"/>
                </a:lnTo>
                <a:close/>
                <a:moveTo>
                  <a:pt x="6786" y="2826"/>
                </a:moveTo>
                <a:lnTo>
                  <a:pt x="6786" y="2826"/>
                </a:lnTo>
                <a:lnTo>
                  <a:pt x="6786" y="2824"/>
                </a:lnTo>
                <a:lnTo>
                  <a:pt x="6784" y="2824"/>
                </a:lnTo>
                <a:lnTo>
                  <a:pt x="6778" y="2822"/>
                </a:lnTo>
                <a:lnTo>
                  <a:pt x="6770" y="2822"/>
                </a:lnTo>
                <a:lnTo>
                  <a:pt x="6768" y="2822"/>
                </a:lnTo>
                <a:lnTo>
                  <a:pt x="6768" y="2824"/>
                </a:lnTo>
                <a:lnTo>
                  <a:pt x="6772" y="2826"/>
                </a:lnTo>
                <a:lnTo>
                  <a:pt x="6776" y="2826"/>
                </a:lnTo>
                <a:lnTo>
                  <a:pt x="6780" y="2826"/>
                </a:lnTo>
                <a:lnTo>
                  <a:pt x="6786" y="2826"/>
                </a:lnTo>
                <a:close/>
                <a:moveTo>
                  <a:pt x="6786" y="2850"/>
                </a:moveTo>
                <a:lnTo>
                  <a:pt x="6786" y="2850"/>
                </a:lnTo>
                <a:lnTo>
                  <a:pt x="6794" y="2848"/>
                </a:lnTo>
                <a:lnTo>
                  <a:pt x="6796" y="2848"/>
                </a:lnTo>
                <a:lnTo>
                  <a:pt x="6796" y="2846"/>
                </a:lnTo>
                <a:lnTo>
                  <a:pt x="6782" y="2844"/>
                </a:lnTo>
                <a:lnTo>
                  <a:pt x="6778" y="2844"/>
                </a:lnTo>
                <a:lnTo>
                  <a:pt x="6776" y="2846"/>
                </a:lnTo>
                <a:lnTo>
                  <a:pt x="6778" y="2848"/>
                </a:lnTo>
                <a:lnTo>
                  <a:pt x="6780" y="2850"/>
                </a:lnTo>
                <a:lnTo>
                  <a:pt x="6786" y="2850"/>
                </a:lnTo>
                <a:close/>
                <a:moveTo>
                  <a:pt x="6698" y="2726"/>
                </a:moveTo>
                <a:lnTo>
                  <a:pt x="6698" y="2726"/>
                </a:lnTo>
                <a:lnTo>
                  <a:pt x="6696" y="2720"/>
                </a:lnTo>
                <a:lnTo>
                  <a:pt x="6694" y="2718"/>
                </a:lnTo>
                <a:lnTo>
                  <a:pt x="6692" y="2718"/>
                </a:lnTo>
                <a:lnTo>
                  <a:pt x="6690" y="2718"/>
                </a:lnTo>
                <a:lnTo>
                  <a:pt x="6690" y="2720"/>
                </a:lnTo>
                <a:lnTo>
                  <a:pt x="6690" y="2724"/>
                </a:lnTo>
                <a:lnTo>
                  <a:pt x="6690" y="2726"/>
                </a:lnTo>
                <a:lnTo>
                  <a:pt x="6692" y="2728"/>
                </a:lnTo>
                <a:lnTo>
                  <a:pt x="6698" y="2730"/>
                </a:lnTo>
                <a:lnTo>
                  <a:pt x="6702" y="2730"/>
                </a:lnTo>
                <a:lnTo>
                  <a:pt x="6698" y="2726"/>
                </a:lnTo>
                <a:close/>
                <a:moveTo>
                  <a:pt x="6682" y="2734"/>
                </a:moveTo>
                <a:lnTo>
                  <a:pt x="6682" y="2734"/>
                </a:lnTo>
                <a:lnTo>
                  <a:pt x="6682" y="2738"/>
                </a:lnTo>
                <a:lnTo>
                  <a:pt x="6684" y="2740"/>
                </a:lnTo>
                <a:lnTo>
                  <a:pt x="6692" y="2750"/>
                </a:lnTo>
                <a:lnTo>
                  <a:pt x="6692" y="2748"/>
                </a:lnTo>
                <a:lnTo>
                  <a:pt x="6690" y="2738"/>
                </a:lnTo>
                <a:lnTo>
                  <a:pt x="6686" y="2720"/>
                </a:lnTo>
                <a:lnTo>
                  <a:pt x="6684" y="2718"/>
                </a:lnTo>
                <a:lnTo>
                  <a:pt x="6682" y="2720"/>
                </a:lnTo>
                <a:lnTo>
                  <a:pt x="6682" y="2724"/>
                </a:lnTo>
                <a:lnTo>
                  <a:pt x="6684" y="2730"/>
                </a:lnTo>
                <a:lnTo>
                  <a:pt x="6686" y="2734"/>
                </a:lnTo>
                <a:lnTo>
                  <a:pt x="6684" y="2734"/>
                </a:lnTo>
                <a:lnTo>
                  <a:pt x="6682" y="2734"/>
                </a:lnTo>
                <a:close/>
                <a:moveTo>
                  <a:pt x="6714" y="2766"/>
                </a:moveTo>
                <a:lnTo>
                  <a:pt x="6714" y="2766"/>
                </a:lnTo>
                <a:lnTo>
                  <a:pt x="6716" y="2768"/>
                </a:lnTo>
                <a:lnTo>
                  <a:pt x="6714" y="2764"/>
                </a:lnTo>
                <a:lnTo>
                  <a:pt x="6706" y="2754"/>
                </a:lnTo>
                <a:lnTo>
                  <a:pt x="6698" y="2748"/>
                </a:lnTo>
                <a:lnTo>
                  <a:pt x="6698" y="2746"/>
                </a:lnTo>
                <a:lnTo>
                  <a:pt x="6698" y="2750"/>
                </a:lnTo>
                <a:lnTo>
                  <a:pt x="6704" y="2758"/>
                </a:lnTo>
                <a:lnTo>
                  <a:pt x="6714" y="2766"/>
                </a:lnTo>
                <a:close/>
                <a:moveTo>
                  <a:pt x="5870" y="2188"/>
                </a:moveTo>
                <a:lnTo>
                  <a:pt x="5870" y="2188"/>
                </a:lnTo>
                <a:lnTo>
                  <a:pt x="5874" y="2184"/>
                </a:lnTo>
                <a:lnTo>
                  <a:pt x="5878" y="2182"/>
                </a:lnTo>
                <a:lnTo>
                  <a:pt x="5880" y="2182"/>
                </a:lnTo>
                <a:lnTo>
                  <a:pt x="5882" y="2180"/>
                </a:lnTo>
                <a:lnTo>
                  <a:pt x="5880" y="2176"/>
                </a:lnTo>
                <a:lnTo>
                  <a:pt x="5878" y="2176"/>
                </a:lnTo>
                <a:lnTo>
                  <a:pt x="5876" y="2176"/>
                </a:lnTo>
                <a:lnTo>
                  <a:pt x="5876" y="2174"/>
                </a:lnTo>
                <a:lnTo>
                  <a:pt x="5878" y="2172"/>
                </a:lnTo>
                <a:lnTo>
                  <a:pt x="5880" y="2168"/>
                </a:lnTo>
                <a:lnTo>
                  <a:pt x="5880" y="2166"/>
                </a:lnTo>
                <a:lnTo>
                  <a:pt x="5882" y="2168"/>
                </a:lnTo>
                <a:lnTo>
                  <a:pt x="5884" y="2174"/>
                </a:lnTo>
                <a:lnTo>
                  <a:pt x="5886" y="2176"/>
                </a:lnTo>
                <a:lnTo>
                  <a:pt x="5888" y="2172"/>
                </a:lnTo>
                <a:lnTo>
                  <a:pt x="5888" y="2168"/>
                </a:lnTo>
                <a:lnTo>
                  <a:pt x="5886" y="2162"/>
                </a:lnTo>
                <a:lnTo>
                  <a:pt x="5884" y="2156"/>
                </a:lnTo>
                <a:lnTo>
                  <a:pt x="5882" y="2156"/>
                </a:lnTo>
                <a:lnTo>
                  <a:pt x="5880" y="2156"/>
                </a:lnTo>
                <a:lnTo>
                  <a:pt x="5870" y="2158"/>
                </a:lnTo>
                <a:lnTo>
                  <a:pt x="5868" y="2158"/>
                </a:lnTo>
                <a:lnTo>
                  <a:pt x="5870" y="2154"/>
                </a:lnTo>
                <a:lnTo>
                  <a:pt x="5876" y="2152"/>
                </a:lnTo>
                <a:lnTo>
                  <a:pt x="5878" y="2148"/>
                </a:lnTo>
                <a:lnTo>
                  <a:pt x="5878" y="2146"/>
                </a:lnTo>
                <a:lnTo>
                  <a:pt x="5874" y="2146"/>
                </a:lnTo>
                <a:lnTo>
                  <a:pt x="5870" y="2144"/>
                </a:lnTo>
                <a:lnTo>
                  <a:pt x="5868" y="2138"/>
                </a:lnTo>
                <a:lnTo>
                  <a:pt x="5860" y="2124"/>
                </a:lnTo>
                <a:lnTo>
                  <a:pt x="5858" y="2122"/>
                </a:lnTo>
                <a:lnTo>
                  <a:pt x="5856" y="2122"/>
                </a:lnTo>
                <a:lnTo>
                  <a:pt x="5848" y="2122"/>
                </a:lnTo>
                <a:lnTo>
                  <a:pt x="5840" y="2124"/>
                </a:lnTo>
                <a:lnTo>
                  <a:pt x="5832" y="2126"/>
                </a:lnTo>
                <a:lnTo>
                  <a:pt x="5826" y="2126"/>
                </a:lnTo>
                <a:lnTo>
                  <a:pt x="5826" y="2130"/>
                </a:lnTo>
                <a:lnTo>
                  <a:pt x="5822" y="2132"/>
                </a:lnTo>
                <a:lnTo>
                  <a:pt x="5816" y="2134"/>
                </a:lnTo>
                <a:lnTo>
                  <a:pt x="5810" y="2136"/>
                </a:lnTo>
                <a:lnTo>
                  <a:pt x="5808" y="2138"/>
                </a:lnTo>
                <a:lnTo>
                  <a:pt x="5806" y="2146"/>
                </a:lnTo>
                <a:lnTo>
                  <a:pt x="5804" y="2150"/>
                </a:lnTo>
                <a:lnTo>
                  <a:pt x="5802" y="2152"/>
                </a:lnTo>
                <a:lnTo>
                  <a:pt x="5796" y="2154"/>
                </a:lnTo>
                <a:lnTo>
                  <a:pt x="5802" y="2152"/>
                </a:lnTo>
                <a:lnTo>
                  <a:pt x="5804" y="2150"/>
                </a:lnTo>
                <a:lnTo>
                  <a:pt x="5806" y="2144"/>
                </a:lnTo>
                <a:lnTo>
                  <a:pt x="5808" y="2136"/>
                </a:lnTo>
                <a:lnTo>
                  <a:pt x="5812" y="2134"/>
                </a:lnTo>
                <a:lnTo>
                  <a:pt x="5816" y="2130"/>
                </a:lnTo>
                <a:lnTo>
                  <a:pt x="5816" y="2128"/>
                </a:lnTo>
                <a:lnTo>
                  <a:pt x="5818" y="2126"/>
                </a:lnTo>
                <a:lnTo>
                  <a:pt x="5822" y="2124"/>
                </a:lnTo>
                <a:lnTo>
                  <a:pt x="5824" y="2122"/>
                </a:lnTo>
                <a:lnTo>
                  <a:pt x="5824" y="2120"/>
                </a:lnTo>
                <a:lnTo>
                  <a:pt x="5818" y="2116"/>
                </a:lnTo>
                <a:lnTo>
                  <a:pt x="5814" y="2114"/>
                </a:lnTo>
                <a:lnTo>
                  <a:pt x="5810" y="2114"/>
                </a:lnTo>
                <a:lnTo>
                  <a:pt x="5808" y="2114"/>
                </a:lnTo>
                <a:lnTo>
                  <a:pt x="5806" y="2116"/>
                </a:lnTo>
                <a:lnTo>
                  <a:pt x="5804" y="2120"/>
                </a:lnTo>
                <a:lnTo>
                  <a:pt x="5800" y="2122"/>
                </a:lnTo>
                <a:lnTo>
                  <a:pt x="5796" y="2122"/>
                </a:lnTo>
                <a:lnTo>
                  <a:pt x="5788" y="2122"/>
                </a:lnTo>
                <a:lnTo>
                  <a:pt x="5778" y="2128"/>
                </a:lnTo>
                <a:lnTo>
                  <a:pt x="5770" y="2134"/>
                </a:lnTo>
                <a:lnTo>
                  <a:pt x="5768" y="2138"/>
                </a:lnTo>
                <a:lnTo>
                  <a:pt x="5768" y="2142"/>
                </a:lnTo>
                <a:lnTo>
                  <a:pt x="5768" y="2144"/>
                </a:lnTo>
                <a:lnTo>
                  <a:pt x="5766" y="2146"/>
                </a:lnTo>
                <a:lnTo>
                  <a:pt x="5760" y="2150"/>
                </a:lnTo>
                <a:lnTo>
                  <a:pt x="5754" y="2154"/>
                </a:lnTo>
                <a:lnTo>
                  <a:pt x="5752" y="2156"/>
                </a:lnTo>
                <a:lnTo>
                  <a:pt x="5752" y="2158"/>
                </a:lnTo>
                <a:lnTo>
                  <a:pt x="5754" y="2160"/>
                </a:lnTo>
                <a:lnTo>
                  <a:pt x="5760" y="2160"/>
                </a:lnTo>
                <a:lnTo>
                  <a:pt x="5770" y="2160"/>
                </a:lnTo>
                <a:lnTo>
                  <a:pt x="5778" y="2160"/>
                </a:lnTo>
                <a:lnTo>
                  <a:pt x="5778" y="2162"/>
                </a:lnTo>
                <a:lnTo>
                  <a:pt x="5774" y="2166"/>
                </a:lnTo>
                <a:lnTo>
                  <a:pt x="5766" y="2174"/>
                </a:lnTo>
                <a:lnTo>
                  <a:pt x="5762" y="2180"/>
                </a:lnTo>
                <a:lnTo>
                  <a:pt x="5758" y="2182"/>
                </a:lnTo>
                <a:lnTo>
                  <a:pt x="5754" y="2182"/>
                </a:lnTo>
                <a:lnTo>
                  <a:pt x="5748" y="2182"/>
                </a:lnTo>
                <a:lnTo>
                  <a:pt x="5742" y="2184"/>
                </a:lnTo>
                <a:lnTo>
                  <a:pt x="5738" y="2184"/>
                </a:lnTo>
                <a:lnTo>
                  <a:pt x="5732" y="2180"/>
                </a:lnTo>
                <a:lnTo>
                  <a:pt x="5724" y="2178"/>
                </a:lnTo>
                <a:lnTo>
                  <a:pt x="5714" y="2178"/>
                </a:lnTo>
                <a:lnTo>
                  <a:pt x="5706" y="2180"/>
                </a:lnTo>
                <a:lnTo>
                  <a:pt x="5700" y="2186"/>
                </a:lnTo>
                <a:lnTo>
                  <a:pt x="5698" y="2188"/>
                </a:lnTo>
                <a:lnTo>
                  <a:pt x="5702" y="2188"/>
                </a:lnTo>
                <a:lnTo>
                  <a:pt x="5704" y="2188"/>
                </a:lnTo>
                <a:lnTo>
                  <a:pt x="5706" y="2188"/>
                </a:lnTo>
                <a:lnTo>
                  <a:pt x="5704" y="2192"/>
                </a:lnTo>
                <a:lnTo>
                  <a:pt x="5702" y="2196"/>
                </a:lnTo>
                <a:lnTo>
                  <a:pt x="5700" y="2200"/>
                </a:lnTo>
                <a:lnTo>
                  <a:pt x="5702" y="2204"/>
                </a:lnTo>
                <a:lnTo>
                  <a:pt x="5708" y="2204"/>
                </a:lnTo>
                <a:lnTo>
                  <a:pt x="5714" y="2206"/>
                </a:lnTo>
                <a:lnTo>
                  <a:pt x="5722" y="2206"/>
                </a:lnTo>
                <a:lnTo>
                  <a:pt x="5722" y="2208"/>
                </a:lnTo>
                <a:lnTo>
                  <a:pt x="5718" y="2210"/>
                </a:lnTo>
                <a:lnTo>
                  <a:pt x="5710" y="2214"/>
                </a:lnTo>
                <a:lnTo>
                  <a:pt x="5706" y="2218"/>
                </a:lnTo>
                <a:lnTo>
                  <a:pt x="5704" y="2222"/>
                </a:lnTo>
                <a:lnTo>
                  <a:pt x="5700" y="2226"/>
                </a:lnTo>
                <a:lnTo>
                  <a:pt x="5698" y="2228"/>
                </a:lnTo>
                <a:lnTo>
                  <a:pt x="5700" y="2232"/>
                </a:lnTo>
                <a:lnTo>
                  <a:pt x="5708" y="2240"/>
                </a:lnTo>
                <a:lnTo>
                  <a:pt x="5720" y="2244"/>
                </a:lnTo>
                <a:lnTo>
                  <a:pt x="5726" y="2246"/>
                </a:lnTo>
                <a:lnTo>
                  <a:pt x="5730" y="2246"/>
                </a:lnTo>
                <a:lnTo>
                  <a:pt x="5736" y="2244"/>
                </a:lnTo>
                <a:lnTo>
                  <a:pt x="5742" y="2244"/>
                </a:lnTo>
                <a:lnTo>
                  <a:pt x="5744" y="2246"/>
                </a:lnTo>
                <a:lnTo>
                  <a:pt x="5744" y="2248"/>
                </a:lnTo>
                <a:lnTo>
                  <a:pt x="5734" y="2250"/>
                </a:lnTo>
                <a:lnTo>
                  <a:pt x="5730" y="2252"/>
                </a:lnTo>
                <a:lnTo>
                  <a:pt x="5726" y="2256"/>
                </a:lnTo>
                <a:lnTo>
                  <a:pt x="5726" y="2258"/>
                </a:lnTo>
                <a:lnTo>
                  <a:pt x="5726" y="2262"/>
                </a:lnTo>
                <a:lnTo>
                  <a:pt x="5726" y="2264"/>
                </a:lnTo>
                <a:lnTo>
                  <a:pt x="5724" y="2268"/>
                </a:lnTo>
                <a:lnTo>
                  <a:pt x="5720" y="2274"/>
                </a:lnTo>
                <a:lnTo>
                  <a:pt x="5714" y="2278"/>
                </a:lnTo>
                <a:lnTo>
                  <a:pt x="5708" y="2284"/>
                </a:lnTo>
                <a:lnTo>
                  <a:pt x="5706" y="2286"/>
                </a:lnTo>
                <a:lnTo>
                  <a:pt x="5710" y="2286"/>
                </a:lnTo>
                <a:lnTo>
                  <a:pt x="5716" y="2286"/>
                </a:lnTo>
                <a:lnTo>
                  <a:pt x="5742" y="2278"/>
                </a:lnTo>
                <a:lnTo>
                  <a:pt x="5748" y="2276"/>
                </a:lnTo>
                <a:lnTo>
                  <a:pt x="5750" y="2278"/>
                </a:lnTo>
                <a:lnTo>
                  <a:pt x="5750" y="2280"/>
                </a:lnTo>
                <a:lnTo>
                  <a:pt x="5750" y="2282"/>
                </a:lnTo>
                <a:lnTo>
                  <a:pt x="5748" y="2284"/>
                </a:lnTo>
                <a:lnTo>
                  <a:pt x="5736" y="2286"/>
                </a:lnTo>
                <a:lnTo>
                  <a:pt x="5720" y="2288"/>
                </a:lnTo>
                <a:lnTo>
                  <a:pt x="5712" y="2292"/>
                </a:lnTo>
                <a:lnTo>
                  <a:pt x="5708" y="2296"/>
                </a:lnTo>
                <a:lnTo>
                  <a:pt x="5710" y="2300"/>
                </a:lnTo>
                <a:lnTo>
                  <a:pt x="5712" y="2302"/>
                </a:lnTo>
                <a:lnTo>
                  <a:pt x="5706" y="2302"/>
                </a:lnTo>
                <a:lnTo>
                  <a:pt x="5698" y="2302"/>
                </a:lnTo>
                <a:lnTo>
                  <a:pt x="5694" y="2302"/>
                </a:lnTo>
                <a:lnTo>
                  <a:pt x="5690" y="2306"/>
                </a:lnTo>
                <a:lnTo>
                  <a:pt x="5684" y="2310"/>
                </a:lnTo>
                <a:lnTo>
                  <a:pt x="5684" y="2314"/>
                </a:lnTo>
                <a:lnTo>
                  <a:pt x="5686" y="2314"/>
                </a:lnTo>
                <a:lnTo>
                  <a:pt x="5690" y="2314"/>
                </a:lnTo>
                <a:lnTo>
                  <a:pt x="5694" y="2314"/>
                </a:lnTo>
                <a:lnTo>
                  <a:pt x="5698" y="2314"/>
                </a:lnTo>
                <a:lnTo>
                  <a:pt x="5698" y="2316"/>
                </a:lnTo>
                <a:lnTo>
                  <a:pt x="5694" y="2322"/>
                </a:lnTo>
                <a:lnTo>
                  <a:pt x="5690" y="2326"/>
                </a:lnTo>
                <a:lnTo>
                  <a:pt x="5690" y="2330"/>
                </a:lnTo>
                <a:lnTo>
                  <a:pt x="5692" y="2332"/>
                </a:lnTo>
                <a:lnTo>
                  <a:pt x="5696" y="2332"/>
                </a:lnTo>
                <a:lnTo>
                  <a:pt x="5702" y="2334"/>
                </a:lnTo>
                <a:lnTo>
                  <a:pt x="5704" y="2336"/>
                </a:lnTo>
                <a:lnTo>
                  <a:pt x="5702" y="2340"/>
                </a:lnTo>
                <a:lnTo>
                  <a:pt x="5700" y="2344"/>
                </a:lnTo>
                <a:lnTo>
                  <a:pt x="5702" y="2344"/>
                </a:lnTo>
                <a:lnTo>
                  <a:pt x="5712" y="2340"/>
                </a:lnTo>
                <a:lnTo>
                  <a:pt x="5720" y="2338"/>
                </a:lnTo>
                <a:lnTo>
                  <a:pt x="5714" y="2344"/>
                </a:lnTo>
                <a:lnTo>
                  <a:pt x="5712" y="2346"/>
                </a:lnTo>
                <a:lnTo>
                  <a:pt x="5712" y="2348"/>
                </a:lnTo>
                <a:lnTo>
                  <a:pt x="5716" y="2350"/>
                </a:lnTo>
                <a:lnTo>
                  <a:pt x="5724" y="2352"/>
                </a:lnTo>
                <a:lnTo>
                  <a:pt x="5734" y="2350"/>
                </a:lnTo>
                <a:lnTo>
                  <a:pt x="5756" y="2344"/>
                </a:lnTo>
                <a:lnTo>
                  <a:pt x="5764" y="2342"/>
                </a:lnTo>
                <a:lnTo>
                  <a:pt x="5768" y="2338"/>
                </a:lnTo>
                <a:lnTo>
                  <a:pt x="5772" y="2326"/>
                </a:lnTo>
                <a:lnTo>
                  <a:pt x="5774" y="2324"/>
                </a:lnTo>
                <a:lnTo>
                  <a:pt x="5776" y="2328"/>
                </a:lnTo>
                <a:lnTo>
                  <a:pt x="5778" y="2330"/>
                </a:lnTo>
                <a:lnTo>
                  <a:pt x="5780" y="2330"/>
                </a:lnTo>
                <a:lnTo>
                  <a:pt x="5792" y="2324"/>
                </a:lnTo>
                <a:lnTo>
                  <a:pt x="5804" y="2316"/>
                </a:lnTo>
                <a:lnTo>
                  <a:pt x="5810" y="2314"/>
                </a:lnTo>
                <a:lnTo>
                  <a:pt x="5818" y="2312"/>
                </a:lnTo>
                <a:lnTo>
                  <a:pt x="5828" y="2310"/>
                </a:lnTo>
                <a:lnTo>
                  <a:pt x="5832" y="2308"/>
                </a:lnTo>
                <a:lnTo>
                  <a:pt x="5838" y="2306"/>
                </a:lnTo>
                <a:lnTo>
                  <a:pt x="5846" y="2308"/>
                </a:lnTo>
                <a:lnTo>
                  <a:pt x="5852" y="2310"/>
                </a:lnTo>
                <a:lnTo>
                  <a:pt x="5852" y="2306"/>
                </a:lnTo>
                <a:lnTo>
                  <a:pt x="5852" y="2298"/>
                </a:lnTo>
                <a:lnTo>
                  <a:pt x="5854" y="2292"/>
                </a:lnTo>
                <a:lnTo>
                  <a:pt x="5856" y="2284"/>
                </a:lnTo>
                <a:lnTo>
                  <a:pt x="5860" y="2276"/>
                </a:lnTo>
                <a:lnTo>
                  <a:pt x="5864" y="2268"/>
                </a:lnTo>
                <a:lnTo>
                  <a:pt x="5866" y="2252"/>
                </a:lnTo>
                <a:lnTo>
                  <a:pt x="5864" y="2236"/>
                </a:lnTo>
                <a:lnTo>
                  <a:pt x="5860" y="2222"/>
                </a:lnTo>
                <a:lnTo>
                  <a:pt x="5852" y="2206"/>
                </a:lnTo>
                <a:lnTo>
                  <a:pt x="5852" y="2202"/>
                </a:lnTo>
                <a:lnTo>
                  <a:pt x="5854" y="2200"/>
                </a:lnTo>
                <a:lnTo>
                  <a:pt x="5858" y="2200"/>
                </a:lnTo>
                <a:lnTo>
                  <a:pt x="5858" y="2196"/>
                </a:lnTo>
                <a:lnTo>
                  <a:pt x="5854" y="2192"/>
                </a:lnTo>
                <a:lnTo>
                  <a:pt x="5856" y="2192"/>
                </a:lnTo>
                <a:lnTo>
                  <a:pt x="5860" y="2192"/>
                </a:lnTo>
                <a:lnTo>
                  <a:pt x="5862" y="2196"/>
                </a:lnTo>
                <a:lnTo>
                  <a:pt x="5864" y="2196"/>
                </a:lnTo>
                <a:lnTo>
                  <a:pt x="5870" y="2188"/>
                </a:lnTo>
                <a:close/>
                <a:moveTo>
                  <a:pt x="6178" y="2288"/>
                </a:moveTo>
                <a:lnTo>
                  <a:pt x="6178" y="2288"/>
                </a:lnTo>
                <a:lnTo>
                  <a:pt x="6176" y="2278"/>
                </a:lnTo>
                <a:lnTo>
                  <a:pt x="6170" y="2270"/>
                </a:lnTo>
                <a:lnTo>
                  <a:pt x="6162" y="2266"/>
                </a:lnTo>
                <a:lnTo>
                  <a:pt x="6154" y="2262"/>
                </a:lnTo>
                <a:lnTo>
                  <a:pt x="6146" y="2260"/>
                </a:lnTo>
                <a:lnTo>
                  <a:pt x="6136" y="2260"/>
                </a:lnTo>
                <a:lnTo>
                  <a:pt x="6130" y="2262"/>
                </a:lnTo>
                <a:lnTo>
                  <a:pt x="6126" y="2266"/>
                </a:lnTo>
                <a:lnTo>
                  <a:pt x="6122" y="2272"/>
                </a:lnTo>
                <a:lnTo>
                  <a:pt x="6118" y="2272"/>
                </a:lnTo>
                <a:lnTo>
                  <a:pt x="6116" y="2268"/>
                </a:lnTo>
                <a:lnTo>
                  <a:pt x="6112" y="2268"/>
                </a:lnTo>
                <a:lnTo>
                  <a:pt x="6108" y="2266"/>
                </a:lnTo>
                <a:lnTo>
                  <a:pt x="6110" y="2262"/>
                </a:lnTo>
                <a:lnTo>
                  <a:pt x="6114" y="2258"/>
                </a:lnTo>
                <a:lnTo>
                  <a:pt x="6120" y="2256"/>
                </a:lnTo>
                <a:lnTo>
                  <a:pt x="6122" y="2254"/>
                </a:lnTo>
                <a:lnTo>
                  <a:pt x="6122" y="2250"/>
                </a:lnTo>
                <a:lnTo>
                  <a:pt x="6120" y="2242"/>
                </a:lnTo>
                <a:lnTo>
                  <a:pt x="6112" y="2232"/>
                </a:lnTo>
                <a:lnTo>
                  <a:pt x="6102" y="2224"/>
                </a:lnTo>
                <a:lnTo>
                  <a:pt x="6094" y="2218"/>
                </a:lnTo>
                <a:lnTo>
                  <a:pt x="6092" y="2216"/>
                </a:lnTo>
                <a:lnTo>
                  <a:pt x="6096" y="2216"/>
                </a:lnTo>
                <a:lnTo>
                  <a:pt x="6102" y="2218"/>
                </a:lnTo>
                <a:lnTo>
                  <a:pt x="6108" y="2222"/>
                </a:lnTo>
                <a:lnTo>
                  <a:pt x="6114" y="2224"/>
                </a:lnTo>
                <a:lnTo>
                  <a:pt x="6114" y="2222"/>
                </a:lnTo>
                <a:lnTo>
                  <a:pt x="6112" y="2220"/>
                </a:lnTo>
                <a:lnTo>
                  <a:pt x="6106" y="2210"/>
                </a:lnTo>
                <a:lnTo>
                  <a:pt x="6102" y="2206"/>
                </a:lnTo>
                <a:lnTo>
                  <a:pt x="6102" y="2200"/>
                </a:lnTo>
                <a:lnTo>
                  <a:pt x="6102" y="2194"/>
                </a:lnTo>
                <a:lnTo>
                  <a:pt x="6102" y="2190"/>
                </a:lnTo>
                <a:lnTo>
                  <a:pt x="6100" y="2188"/>
                </a:lnTo>
                <a:lnTo>
                  <a:pt x="6096" y="2186"/>
                </a:lnTo>
                <a:lnTo>
                  <a:pt x="6092" y="2184"/>
                </a:lnTo>
                <a:lnTo>
                  <a:pt x="6090" y="2182"/>
                </a:lnTo>
                <a:lnTo>
                  <a:pt x="6088" y="2176"/>
                </a:lnTo>
                <a:lnTo>
                  <a:pt x="6084" y="2170"/>
                </a:lnTo>
                <a:lnTo>
                  <a:pt x="6080" y="2166"/>
                </a:lnTo>
                <a:lnTo>
                  <a:pt x="6074" y="2164"/>
                </a:lnTo>
                <a:lnTo>
                  <a:pt x="6066" y="2162"/>
                </a:lnTo>
                <a:lnTo>
                  <a:pt x="6060" y="2160"/>
                </a:lnTo>
                <a:lnTo>
                  <a:pt x="6058" y="2154"/>
                </a:lnTo>
                <a:lnTo>
                  <a:pt x="6050" y="2140"/>
                </a:lnTo>
                <a:lnTo>
                  <a:pt x="6044" y="2124"/>
                </a:lnTo>
                <a:lnTo>
                  <a:pt x="6042" y="2112"/>
                </a:lnTo>
                <a:lnTo>
                  <a:pt x="6042" y="2104"/>
                </a:lnTo>
                <a:lnTo>
                  <a:pt x="6040" y="2100"/>
                </a:lnTo>
                <a:lnTo>
                  <a:pt x="6036" y="2098"/>
                </a:lnTo>
                <a:lnTo>
                  <a:pt x="6030" y="2092"/>
                </a:lnTo>
                <a:lnTo>
                  <a:pt x="6026" y="2086"/>
                </a:lnTo>
                <a:lnTo>
                  <a:pt x="6020" y="2080"/>
                </a:lnTo>
                <a:lnTo>
                  <a:pt x="6006" y="2074"/>
                </a:lnTo>
                <a:lnTo>
                  <a:pt x="6000" y="2072"/>
                </a:lnTo>
                <a:lnTo>
                  <a:pt x="5994" y="2070"/>
                </a:lnTo>
                <a:lnTo>
                  <a:pt x="5992" y="2072"/>
                </a:lnTo>
                <a:lnTo>
                  <a:pt x="5990" y="2074"/>
                </a:lnTo>
                <a:lnTo>
                  <a:pt x="5986" y="2076"/>
                </a:lnTo>
                <a:lnTo>
                  <a:pt x="5982" y="2076"/>
                </a:lnTo>
                <a:lnTo>
                  <a:pt x="5976" y="2076"/>
                </a:lnTo>
                <a:lnTo>
                  <a:pt x="5970" y="2074"/>
                </a:lnTo>
                <a:lnTo>
                  <a:pt x="5974" y="2072"/>
                </a:lnTo>
                <a:lnTo>
                  <a:pt x="5980" y="2070"/>
                </a:lnTo>
                <a:lnTo>
                  <a:pt x="5984" y="2066"/>
                </a:lnTo>
                <a:lnTo>
                  <a:pt x="5986" y="2062"/>
                </a:lnTo>
                <a:lnTo>
                  <a:pt x="5988" y="2062"/>
                </a:lnTo>
                <a:lnTo>
                  <a:pt x="5992" y="2062"/>
                </a:lnTo>
                <a:lnTo>
                  <a:pt x="6000" y="2060"/>
                </a:lnTo>
                <a:lnTo>
                  <a:pt x="6002" y="2058"/>
                </a:lnTo>
                <a:lnTo>
                  <a:pt x="6004" y="2058"/>
                </a:lnTo>
                <a:lnTo>
                  <a:pt x="6000" y="2056"/>
                </a:lnTo>
                <a:lnTo>
                  <a:pt x="5996" y="2054"/>
                </a:lnTo>
                <a:lnTo>
                  <a:pt x="5994" y="2052"/>
                </a:lnTo>
                <a:lnTo>
                  <a:pt x="5992" y="2050"/>
                </a:lnTo>
                <a:lnTo>
                  <a:pt x="5992" y="2048"/>
                </a:lnTo>
                <a:lnTo>
                  <a:pt x="5990" y="2046"/>
                </a:lnTo>
                <a:lnTo>
                  <a:pt x="5988" y="2044"/>
                </a:lnTo>
                <a:lnTo>
                  <a:pt x="5990" y="2044"/>
                </a:lnTo>
                <a:lnTo>
                  <a:pt x="5996" y="2046"/>
                </a:lnTo>
                <a:lnTo>
                  <a:pt x="6000" y="2044"/>
                </a:lnTo>
                <a:lnTo>
                  <a:pt x="6002" y="2042"/>
                </a:lnTo>
                <a:lnTo>
                  <a:pt x="6010" y="2034"/>
                </a:lnTo>
                <a:lnTo>
                  <a:pt x="6018" y="2014"/>
                </a:lnTo>
                <a:lnTo>
                  <a:pt x="6026" y="1996"/>
                </a:lnTo>
                <a:lnTo>
                  <a:pt x="6032" y="1986"/>
                </a:lnTo>
                <a:lnTo>
                  <a:pt x="6034" y="1980"/>
                </a:lnTo>
                <a:lnTo>
                  <a:pt x="6032" y="1974"/>
                </a:lnTo>
                <a:lnTo>
                  <a:pt x="6030" y="1970"/>
                </a:lnTo>
                <a:lnTo>
                  <a:pt x="6026" y="1968"/>
                </a:lnTo>
                <a:lnTo>
                  <a:pt x="6016" y="1966"/>
                </a:lnTo>
                <a:lnTo>
                  <a:pt x="6004" y="1968"/>
                </a:lnTo>
                <a:lnTo>
                  <a:pt x="5986" y="1968"/>
                </a:lnTo>
                <a:lnTo>
                  <a:pt x="5970" y="1966"/>
                </a:lnTo>
                <a:lnTo>
                  <a:pt x="5960" y="1968"/>
                </a:lnTo>
                <a:lnTo>
                  <a:pt x="5952" y="1972"/>
                </a:lnTo>
                <a:lnTo>
                  <a:pt x="5946" y="1976"/>
                </a:lnTo>
                <a:lnTo>
                  <a:pt x="5942" y="1974"/>
                </a:lnTo>
                <a:lnTo>
                  <a:pt x="5944" y="1972"/>
                </a:lnTo>
                <a:lnTo>
                  <a:pt x="5952" y="1962"/>
                </a:lnTo>
                <a:lnTo>
                  <a:pt x="5954" y="1960"/>
                </a:lnTo>
                <a:lnTo>
                  <a:pt x="5954" y="1958"/>
                </a:lnTo>
                <a:lnTo>
                  <a:pt x="5948" y="1958"/>
                </a:lnTo>
                <a:lnTo>
                  <a:pt x="5942" y="1960"/>
                </a:lnTo>
                <a:lnTo>
                  <a:pt x="5942" y="1958"/>
                </a:lnTo>
                <a:lnTo>
                  <a:pt x="5944" y="1958"/>
                </a:lnTo>
                <a:lnTo>
                  <a:pt x="5954" y="1950"/>
                </a:lnTo>
                <a:lnTo>
                  <a:pt x="5968" y="1938"/>
                </a:lnTo>
                <a:lnTo>
                  <a:pt x="5980" y="1926"/>
                </a:lnTo>
                <a:lnTo>
                  <a:pt x="5984" y="1920"/>
                </a:lnTo>
                <a:lnTo>
                  <a:pt x="5984" y="1918"/>
                </a:lnTo>
                <a:lnTo>
                  <a:pt x="5984" y="1916"/>
                </a:lnTo>
                <a:lnTo>
                  <a:pt x="5984" y="1914"/>
                </a:lnTo>
                <a:lnTo>
                  <a:pt x="5984" y="1910"/>
                </a:lnTo>
                <a:lnTo>
                  <a:pt x="5986" y="1908"/>
                </a:lnTo>
                <a:lnTo>
                  <a:pt x="5984" y="1906"/>
                </a:lnTo>
                <a:lnTo>
                  <a:pt x="5978" y="1904"/>
                </a:lnTo>
                <a:lnTo>
                  <a:pt x="5970" y="1906"/>
                </a:lnTo>
                <a:lnTo>
                  <a:pt x="5968" y="1908"/>
                </a:lnTo>
                <a:lnTo>
                  <a:pt x="5964" y="1908"/>
                </a:lnTo>
                <a:lnTo>
                  <a:pt x="5956" y="1908"/>
                </a:lnTo>
                <a:lnTo>
                  <a:pt x="5948" y="1912"/>
                </a:lnTo>
                <a:lnTo>
                  <a:pt x="5938" y="1914"/>
                </a:lnTo>
                <a:lnTo>
                  <a:pt x="5932" y="1912"/>
                </a:lnTo>
                <a:lnTo>
                  <a:pt x="5926" y="1912"/>
                </a:lnTo>
                <a:lnTo>
                  <a:pt x="5924" y="1912"/>
                </a:lnTo>
                <a:lnTo>
                  <a:pt x="5920" y="1914"/>
                </a:lnTo>
                <a:lnTo>
                  <a:pt x="5916" y="1912"/>
                </a:lnTo>
                <a:lnTo>
                  <a:pt x="5910" y="1910"/>
                </a:lnTo>
                <a:lnTo>
                  <a:pt x="5906" y="1908"/>
                </a:lnTo>
                <a:lnTo>
                  <a:pt x="5902" y="1910"/>
                </a:lnTo>
                <a:lnTo>
                  <a:pt x="5904" y="1916"/>
                </a:lnTo>
                <a:lnTo>
                  <a:pt x="5904" y="1920"/>
                </a:lnTo>
                <a:lnTo>
                  <a:pt x="5902" y="1922"/>
                </a:lnTo>
                <a:lnTo>
                  <a:pt x="5900" y="1924"/>
                </a:lnTo>
                <a:lnTo>
                  <a:pt x="5898" y="1924"/>
                </a:lnTo>
                <a:lnTo>
                  <a:pt x="5900" y="1930"/>
                </a:lnTo>
                <a:lnTo>
                  <a:pt x="5904" y="1932"/>
                </a:lnTo>
                <a:lnTo>
                  <a:pt x="5902" y="1934"/>
                </a:lnTo>
                <a:lnTo>
                  <a:pt x="5896" y="1932"/>
                </a:lnTo>
                <a:lnTo>
                  <a:pt x="5890" y="1932"/>
                </a:lnTo>
                <a:lnTo>
                  <a:pt x="5892" y="1934"/>
                </a:lnTo>
                <a:lnTo>
                  <a:pt x="5894" y="1938"/>
                </a:lnTo>
                <a:lnTo>
                  <a:pt x="5894" y="1942"/>
                </a:lnTo>
                <a:lnTo>
                  <a:pt x="5892" y="1942"/>
                </a:lnTo>
                <a:lnTo>
                  <a:pt x="5888" y="1942"/>
                </a:lnTo>
                <a:lnTo>
                  <a:pt x="5888" y="1944"/>
                </a:lnTo>
                <a:lnTo>
                  <a:pt x="5890" y="1948"/>
                </a:lnTo>
                <a:lnTo>
                  <a:pt x="5892" y="1952"/>
                </a:lnTo>
                <a:lnTo>
                  <a:pt x="5890" y="1956"/>
                </a:lnTo>
                <a:lnTo>
                  <a:pt x="5886" y="1956"/>
                </a:lnTo>
                <a:lnTo>
                  <a:pt x="5876" y="1956"/>
                </a:lnTo>
                <a:lnTo>
                  <a:pt x="5872" y="1958"/>
                </a:lnTo>
                <a:lnTo>
                  <a:pt x="5874" y="1962"/>
                </a:lnTo>
                <a:lnTo>
                  <a:pt x="5876" y="1968"/>
                </a:lnTo>
                <a:lnTo>
                  <a:pt x="5874" y="1972"/>
                </a:lnTo>
                <a:lnTo>
                  <a:pt x="5872" y="1976"/>
                </a:lnTo>
                <a:lnTo>
                  <a:pt x="5872" y="1986"/>
                </a:lnTo>
                <a:lnTo>
                  <a:pt x="5872" y="1988"/>
                </a:lnTo>
                <a:lnTo>
                  <a:pt x="5874" y="1990"/>
                </a:lnTo>
                <a:lnTo>
                  <a:pt x="5878" y="1992"/>
                </a:lnTo>
                <a:lnTo>
                  <a:pt x="5880" y="1994"/>
                </a:lnTo>
                <a:lnTo>
                  <a:pt x="5880" y="1998"/>
                </a:lnTo>
                <a:lnTo>
                  <a:pt x="5876" y="2004"/>
                </a:lnTo>
                <a:lnTo>
                  <a:pt x="5874" y="2006"/>
                </a:lnTo>
                <a:lnTo>
                  <a:pt x="5872" y="2008"/>
                </a:lnTo>
                <a:lnTo>
                  <a:pt x="5874" y="2010"/>
                </a:lnTo>
                <a:lnTo>
                  <a:pt x="5876" y="2012"/>
                </a:lnTo>
                <a:lnTo>
                  <a:pt x="5874" y="2014"/>
                </a:lnTo>
                <a:lnTo>
                  <a:pt x="5870" y="2016"/>
                </a:lnTo>
                <a:lnTo>
                  <a:pt x="5868" y="2018"/>
                </a:lnTo>
                <a:lnTo>
                  <a:pt x="5872" y="2020"/>
                </a:lnTo>
                <a:lnTo>
                  <a:pt x="5872" y="2024"/>
                </a:lnTo>
                <a:lnTo>
                  <a:pt x="5868" y="2026"/>
                </a:lnTo>
                <a:lnTo>
                  <a:pt x="5862" y="2026"/>
                </a:lnTo>
                <a:lnTo>
                  <a:pt x="5858" y="2026"/>
                </a:lnTo>
                <a:lnTo>
                  <a:pt x="5856" y="2028"/>
                </a:lnTo>
                <a:lnTo>
                  <a:pt x="5856" y="2030"/>
                </a:lnTo>
                <a:lnTo>
                  <a:pt x="5858" y="2030"/>
                </a:lnTo>
                <a:lnTo>
                  <a:pt x="5866" y="2030"/>
                </a:lnTo>
                <a:lnTo>
                  <a:pt x="5874" y="2030"/>
                </a:lnTo>
                <a:lnTo>
                  <a:pt x="5876" y="2032"/>
                </a:lnTo>
                <a:lnTo>
                  <a:pt x="5868" y="2034"/>
                </a:lnTo>
                <a:lnTo>
                  <a:pt x="5864" y="2036"/>
                </a:lnTo>
                <a:lnTo>
                  <a:pt x="5864" y="2038"/>
                </a:lnTo>
                <a:lnTo>
                  <a:pt x="5868" y="2038"/>
                </a:lnTo>
                <a:lnTo>
                  <a:pt x="5872" y="2040"/>
                </a:lnTo>
                <a:lnTo>
                  <a:pt x="5876" y="2040"/>
                </a:lnTo>
                <a:lnTo>
                  <a:pt x="5878" y="2040"/>
                </a:lnTo>
                <a:lnTo>
                  <a:pt x="5880" y="2040"/>
                </a:lnTo>
                <a:lnTo>
                  <a:pt x="5884" y="2038"/>
                </a:lnTo>
                <a:lnTo>
                  <a:pt x="5892" y="2030"/>
                </a:lnTo>
                <a:lnTo>
                  <a:pt x="5890" y="2036"/>
                </a:lnTo>
                <a:lnTo>
                  <a:pt x="5888" y="2042"/>
                </a:lnTo>
                <a:lnTo>
                  <a:pt x="5886" y="2048"/>
                </a:lnTo>
                <a:lnTo>
                  <a:pt x="5886" y="2052"/>
                </a:lnTo>
                <a:lnTo>
                  <a:pt x="5882" y="2054"/>
                </a:lnTo>
                <a:lnTo>
                  <a:pt x="5880" y="2058"/>
                </a:lnTo>
                <a:lnTo>
                  <a:pt x="5882" y="2062"/>
                </a:lnTo>
                <a:lnTo>
                  <a:pt x="5882" y="2066"/>
                </a:lnTo>
                <a:lnTo>
                  <a:pt x="5880" y="2070"/>
                </a:lnTo>
                <a:lnTo>
                  <a:pt x="5876" y="2076"/>
                </a:lnTo>
                <a:lnTo>
                  <a:pt x="5878" y="2078"/>
                </a:lnTo>
                <a:lnTo>
                  <a:pt x="5878" y="2082"/>
                </a:lnTo>
                <a:lnTo>
                  <a:pt x="5878" y="2086"/>
                </a:lnTo>
                <a:lnTo>
                  <a:pt x="5878" y="2088"/>
                </a:lnTo>
                <a:lnTo>
                  <a:pt x="5880" y="2090"/>
                </a:lnTo>
                <a:lnTo>
                  <a:pt x="5884" y="2088"/>
                </a:lnTo>
                <a:lnTo>
                  <a:pt x="5882" y="2090"/>
                </a:lnTo>
                <a:lnTo>
                  <a:pt x="5878" y="2100"/>
                </a:lnTo>
                <a:lnTo>
                  <a:pt x="5874" y="2112"/>
                </a:lnTo>
                <a:lnTo>
                  <a:pt x="5874" y="2116"/>
                </a:lnTo>
                <a:lnTo>
                  <a:pt x="5876" y="2118"/>
                </a:lnTo>
                <a:lnTo>
                  <a:pt x="5878" y="2120"/>
                </a:lnTo>
                <a:lnTo>
                  <a:pt x="5880" y="2118"/>
                </a:lnTo>
                <a:lnTo>
                  <a:pt x="5884" y="2108"/>
                </a:lnTo>
                <a:lnTo>
                  <a:pt x="5886" y="2098"/>
                </a:lnTo>
                <a:lnTo>
                  <a:pt x="5888" y="2094"/>
                </a:lnTo>
                <a:lnTo>
                  <a:pt x="5892" y="2090"/>
                </a:lnTo>
                <a:lnTo>
                  <a:pt x="5892" y="2088"/>
                </a:lnTo>
                <a:lnTo>
                  <a:pt x="5892" y="2086"/>
                </a:lnTo>
                <a:lnTo>
                  <a:pt x="5890" y="2082"/>
                </a:lnTo>
                <a:lnTo>
                  <a:pt x="5888" y="2078"/>
                </a:lnTo>
                <a:lnTo>
                  <a:pt x="5888" y="2076"/>
                </a:lnTo>
                <a:lnTo>
                  <a:pt x="5890" y="2072"/>
                </a:lnTo>
                <a:lnTo>
                  <a:pt x="5894" y="2070"/>
                </a:lnTo>
                <a:lnTo>
                  <a:pt x="5892" y="2074"/>
                </a:lnTo>
                <a:lnTo>
                  <a:pt x="5892" y="2078"/>
                </a:lnTo>
                <a:lnTo>
                  <a:pt x="5894" y="2080"/>
                </a:lnTo>
                <a:lnTo>
                  <a:pt x="5896" y="2082"/>
                </a:lnTo>
                <a:lnTo>
                  <a:pt x="5898" y="2084"/>
                </a:lnTo>
                <a:lnTo>
                  <a:pt x="5900" y="2080"/>
                </a:lnTo>
                <a:lnTo>
                  <a:pt x="5900" y="2078"/>
                </a:lnTo>
                <a:lnTo>
                  <a:pt x="5904" y="2080"/>
                </a:lnTo>
                <a:lnTo>
                  <a:pt x="5906" y="2082"/>
                </a:lnTo>
                <a:lnTo>
                  <a:pt x="5906" y="2080"/>
                </a:lnTo>
                <a:lnTo>
                  <a:pt x="5908" y="2076"/>
                </a:lnTo>
                <a:lnTo>
                  <a:pt x="5910" y="2074"/>
                </a:lnTo>
                <a:lnTo>
                  <a:pt x="5912" y="2072"/>
                </a:lnTo>
                <a:lnTo>
                  <a:pt x="5916" y="2074"/>
                </a:lnTo>
                <a:lnTo>
                  <a:pt x="5922" y="2080"/>
                </a:lnTo>
                <a:lnTo>
                  <a:pt x="5914" y="2080"/>
                </a:lnTo>
                <a:lnTo>
                  <a:pt x="5908" y="2084"/>
                </a:lnTo>
                <a:lnTo>
                  <a:pt x="5908" y="2086"/>
                </a:lnTo>
                <a:lnTo>
                  <a:pt x="5908" y="2090"/>
                </a:lnTo>
                <a:lnTo>
                  <a:pt x="5916" y="2098"/>
                </a:lnTo>
                <a:lnTo>
                  <a:pt x="5918" y="2102"/>
                </a:lnTo>
                <a:lnTo>
                  <a:pt x="5920" y="2108"/>
                </a:lnTo>
                <a:lnTo>
                  <a:pt x="5918" y="2112"/>
                </a:lnTo>
                <a:lnTo>
                  <a:pt x="5914" y="2116"/>
                </a:lnTo>
                <a:lnTo>
                  <a:pt x="5908" y="2124"/>
                </a:lnTo>
                <a:lnTo>
                  <a:pt x="5906" y="2128"/>
                </a:lnTo>
                <a:lnTo>
                  <a:pt x="5906" y="2134"/>
                </a:lnTo>
                <a:lnTo>
                  <a:pt x="5906" y="2140"/>
                </a:lnTo>
                <a:lnTo>
                  <a:pt x="5904" y="2138"/>
                </a:lnTo>
                <a:lnTo>
                  <a:pt x="5902" y="2136"/>
                </a:lnTo>
                <a:lnTo>
                  <a:pt x="5900" y="2136"/>
                </a:lnTo>
                <a:lnTo>
                  <a:pt x="5898" y="2138"/>
                </a:lnTo>
                <a:lnTo>
                  <a:pt x="5898" y="2140"/>
                </a:lnTo>
                <a:lnTo>
                  <a:pt x="5898" y="2144"/>
                </a:lnTo>
                <a:lnTo>
                  <a:pt x="5904" y="2152"/>
                </a:lnTo>
                <a:lnTo>
                  <a:pt x="5908" y="2156"/>
                </a:lnTo>
                <a:lnTo>
                  <a:pt x="5910" y="2156"/>
                </a:lnTo>
                <a:lnTo>
                  <a:pt x="5908" y="2152"/>
                </a:lnTo>
                <a:lnTo>
                  <a:pt x="5908" y="2148"/>
                </a:lnTo>
                <a:lnTo>
                  <a:pt x="5908" y="2146"/>
                </a:lnTo>
                <a:lnTo>
                  <a:pt x="5910" y="2144"/>
                </a:lnTo>
                <a:lnTo>
                  <a:pt x="5912" y="2146"/>
                </a:lnTo>
                <a:lnTo>
                  <a:pt x="5918" y="2148"/>
                </a:lnTo>
                <a:lnTo>
                  <a:pt x="5924" y="2154"/>
                </a:lnTo>
                <a:lnTo>
                  <a:pt x="5928" y="2156"/>
                </a:lnTo>
                <a:lnTo>
                  <a:pt x="5930" y="2156"/>
                </a:lnTo>
                <a:lnTo>
                  <a:pt x="5932" y="2152"/>
                </a:lnTo>
                <a:lnTo>
                  <a:pt x="5930" y="2146"/>
                </a:lnTo>
                <a:lnTo>
                  <a:pt x="5930" y="2144"/>
                </a:lnTo>
                <a:lnTo>
                  <a:pt x="5936" y="2148"/>
                </a:lnTo>
                <a:lnTo>
                  <a:pt x="5944" y="2152"/>
                </a:lnTo>
                <a:lnTo>
                  <a:pt x="5948" y="2150"/>
                </a:lnTo>
                <a:lnTo>
                  <a:pt x="5950" y="2148"/>
                </a:lnTo>
                <a:lnTo>
                  <a:pt x="5956" y="2144"/>
                </a:lnTo>
                <a:lnTo>
                  <a:pt x="5958" y="2144"/>
                </a:lnTo>
                <a:lnTo>
                  <a:pt x="5962" y="2144"/>
                </a:lnTo>
                <a:lnTo>
                  <a:pt x="5964" y="2140"/>
                </a:lnTo>
                <a:lnTo>
                  <a:pt x="5966" y="2138"/>
                </a:lnTo>
                <a:lnTo>
                  <a:pt x="5972" y="2138"/>
                </a:lnTo>
                <a:lnTo>
                  <a:pt x="5976" y="2138"/>
                </a:lnTo>
                <a:lnTo>
                  <a:pt x="5976" y="2140"/>
                </a:lnTo>
                <a:lnTo>
                  <a:pt x="5972" y="2144"/>
                </a:lnTo>
                <a:lnTo>
                  <a:pt x="5964" y="2154"/>
                </a:lnTo>
                <a:lnTo>
                  <a:pt x="5962" y="2162"/>
                </a:lnTo>
                <a:lnTo>
                  <a:pt x="5960" y="2166"/>
                </a:lnTo>
                <a:lnTo>
                  <a:pt x="5960" y="2172"/>
                </a:lnTo>
                <a:lnTo>
                  <a:pt x="5962" y="2176"/>
                </a:lnTo>
                <a:lnTo>
                  <a:pt x="5970" y="2182"/>
                </a:lnTo>
                <a:lnTo>
                  <a:pt x="5976" y="2190"/>
                </a:lnTo>
                <a:lnTo>
                  <a:pt x="5980" y="2194"/>
                </a:lnTo>
                <a:lnTo>
                  <a:pt x="5982" y="2192"/>
                </a:lnTo>
                <a:lnTo>
                  <a:pt x="5984" y="2188"/>
                </a:lnTo>
                <a:lnTo>
                  <a:pt x="5986" y="2188"/>
                </a:lnTo>
                <a:lnTo>
                  <a:pt x="5990" y="2186"/>
                </a:lnTo>
                <a:lnTo>
                  <a:pt x="5992" y="2188"/>
                </a:lnTo>
                <a:lnTo>
                  <a:pt x="5992" y="2192"/>
                </a:lnTo>
                <a:lnTo>
                  <a:pt x="5990" y="2196"/>
                </a:lnTo>
                <a:lnTo>
                  <a:pt x="5990" y="2198"/>
                </a:lnTo>
                <a:lnTo>
                  <a:pt x="5992" y="2200"/>
                </a:lnTo>
                <a:lnTo>
                  <a:pt x="5990" y="2202"/>
                </a:lnTo>
                <a:lnTo>
                  <a:pt x="5986" y="2204"/>
                </a:lnTo>
                <a:lnTo>
                  <a:pt x="5984" y="2206"/>
                </a:lnTo>
                <a:lnTo>
                  <a:pt x="5982" y="2208"/>
                </a:lnTo>
                <a:lnTo>
                  <a:pt x="5984" y="2212"/>
                </a:lnTo>
                <a:lnTo>
                  <a:pt x="5988" y="2214"/>
                </a:lnTo>
                <a:lnTo>
                  <a:pt x="5988" y="2216"/>
                </a:lnTo>
                <a:lnTo>
                  <a:pt x="5986" y="2218"/>
                </a:lnTo>
                <a:lnTo>
                  <a:pt x="5984" y="2220"/>
                </a:lnTo>
                <a:lnTo>
                  <a:pt x="5984" y="2222"/>
                </a:lnTo>
                <a:lnTo>
                  <a:pt x="5984" y="2226"/>
                </a:lnTo>
                <a:lnTo>
                  <a:pt x="5988" y="2232"/>
                </a:lnTo>
                <a:lnTo>
                  <a:pt x="5992" y="2242"/>
                </a:lnTo>
                <a:lnTo>
                  <a:pt x="5988" y="2238"/>
                </a:lnTo>
                <a:lnTo>
                  <a:pt x="5984" y="2234"/>
                </a:lnTo>
                <a:lnTo>
                  <a:pt x="5980" y="2234"/>
                </a:lnTo>
                <a:lnTo>
                  <a:pt x="5978" y="2236"/>
                </a:lnTo>
                <a:lnTo>
                  <a:pt x="5980" y="2240"/>
                </a:lnTo>
                <a:lnTo>
                  <a:pt x="5982" y="2244"/>
                </a:lnTo>
                <a:lnTo>
                  <a:pt x="5980" y="2242"/>
                </a:lnTo>
                <a:lnTo>
                  <a:pt x="5974" y="2238"/>
                </a:lnTo>
                <a:lnTo>
                  <a:pt x="5970" y="2238"/>
                </a:lnTo>
                <a:lnTo>
                  <a:pt x="5966" y="2240"/>
                </a:lnTo>
                <a:lnTo>
                  <a:pt x="5960" y="2242"/>
                </a:lnTo>
                <a:lnTo>
                  <a:pt x="5956" y="2240"/>
                </a:lnTo>
                <a:lnTo>
                  <a:pt x="5954" y="2240"/>
                </a:lnTo>
                <a:lnTo>
                  <a:pt x="5950" y="2240"/>
                </a:lnTo>
                <a:lnTo>
                  <a:pt x="5948" y="2242"/>
                </a:lnTo>
                <a:lnTo>
                  <a:pt x="5944" y="2244"/>
                </a:lnTo>
                <a:lnTo>
                  <a:pt x="5940" y="2246"/>
                </a:lnTo>
                <a:lnTo>
                  <a:pt x="5936" y="2250"/>
                </a:lnTo>
                <a:lnTo>
                  <a:pt x="5930" y="2258"/>
                </a:lnTo>
                <a:lnTo>
                  <a:pt x="5924" y="2260"/>
                </a:lnTo>
                <a:lnTo>
                  <a:pt x="5920" y="2264"/>
                </a:lnTo>
                <a:lnTo>
                  <a:pt x="5916" y="2268"/>
                </a:lnTo>
                <a:lnTo>
                  <a:pt x="5914" y="2274"/>
                </a:lnTo>
                <a:lnTo>
                  <a:pt x="5916" y="2274"/>
                </a:lnTo>
                <a:lnTo>
                  <a:pt x="5918" y="2272"/>
                </a:lnTo>
                <a:lnTo>
                  <a:pt x="5922" y="2272"/>
                </a:lnTo>
                <a:lnTo>
                  <a:pt x="5924" y="2272"/>
                </a:lnTo>
                <a:lnTo>
                  <a:pt x="5928" y="2270"/>
                </a:lnTo>
                <a:lnTo>
                  <a:pt x="5936" y="2266"/>
                </a:lnTo>
                <a:lnTo>
                  <a:pt x="5942" y="2264"/>
                </a:lnTo>
                <a:lnTo>
                  <a:pt x="5942" y="2266"/>
                </a:lnTo>
                <a:lnTo>
                  <a:pt x="5940" y="2270"/>
                </a:lnTo>
                <a:lnTo>
                  <a:pt x="5942" y="2272"/>
                </a:lnTo>
                <a:lnTo>
                  <a:pt x="5944" y="2274"/>
                </a:lnTo>
                <a:lnTo>
                  <a:pt x="5942" y="2278"/>
                </a:lnTo>
                <a:lnTo>
                  <a:pt x="5942" y="2282"/>
                </a:lnTo>
                <a:lnTo>
                  <a:pt x="5942" y="2284"/>
                </a:lnTo>
                <a:lnTo>
                  <a:pt x="5942" y="2290"/>
                </a:lnTo>
                <a:lnTo>
                  <a:pt x="5942" y="2294"/>
                </a:lnTo>
                <a:lnTo>
                  <a:pt x="5940" y="2298"/>
                </a:lnTo>
                <a:lnTo>
                  <a:pt x="5936" y="2304"/>
                </a:lnTo>
                <a:lnTo>
                  <a:pt x="5930" y="2308"/>
                </a:lnTo>
                <a:lnTo>
                  <a:pt x="5916" y="2314"/>
                </a:lnTo>
                <a:lnTo>
                  <a:pt x="5908" y="2316"/>
                </a:lnTo>
                <a:lnTo>
                  <a:pt x="5902" y="2318"/>
                </a:lnTo>
                <a:lnTo>
                  <a:pt x="5896" y="2322"/>
                </a:lnTo>
                <a:lnTo>
                  <a:pt x="5894" y="2326"/>
                </a:lnTo>
                <a:lnTo>
                  <a:pt x="5894" y="2328"/>
                </a:lnTo>
                <a:lnTo>
                  <a:pt x="5896" y="2328"/>
                </a:lnTo>
                <a:lnTo>
                  <a:pt x="5900" y="2330"/>
                </a:lnTo>
                <a:lnTo>
                  <a:pt x="5900" y="2332"/>
                </a:lnTo>
                <a:lnTo>
                  <a:pt x="5898" y="2334"/>
                </a:lnTo>
                <a:lnTo>
                  <a:pt x="5898" y="2338"/>
                </a:lnTo>
                <a:lnTo>
                  <a:pt x="5902" y="2342"/>
                </a:lnTo>
                <a:lnTo>
                  <a:pt x="5908" y="2342"/>
                </a:lnTo>
                <a:lnTo>
                  <a:pt x="5916" y="2338"/>
                </a:lnTo>
                <a:lnTo>
                  <a:pt x="5924" y="2336"/>
                </a:lnTo>
                <a:lnTo>
                  <a:pt x="5930" y="2336"/>
                </a:lnTo>
                <a:lnTo>
                  <a:pt x="5934" y="2338"/>
                </a:lnTo>
                <a:lnTo>
                  <a:pt x="5934" y="2344"/>
                </a:lnTo>
                <a:lnTo>
                  <a:pt x="5934" y="2346"/>
                </a:lnTo>
                <a:lnTo>
                  <a:pt x="5934" y="2348"/>
                </a:lnTo>
                <a:lnTo>
                  <a:pt x="5940" y="2346"/>
                </a:lnTo>
                <a:lnTo>
                  <a:pt x="5944" y="2346"/>
                </a:lnTo>
                <a:lnTo>
                  <a:pt x="5948" y="2346"/>
                </a:lnTo>
                <a:lnTo>
                  <a:pt x="5954" y="2348"/>
                </a:lnTo>
                <a:lnTo>
                  <a:pt x="5960" y="2352"/>
                </a:lnTo>
                <a:lnTo>
                  <a:pt x="5964" y="2356"/>
                </a:lnTo>
                <a:lnTo>
                  <a:pt x="5968" y="2358"/>
                </a:lnTo>
                <a:lnTo>
                  <a:pt x="5972" y="2356"/>
                </a:lnTo>
                <a:lnTo>
                  <a:pt x="5976" y="2354"/>
                </a:lnTo>
                <a:lnTo>
                  <a:pt x="5982" y="2348"/>
                </a:lnTo>
                <a:lnTo>
                  <a:pt x="5986" y="2346"/>
                </a:lnTo>
                <a:lnTo>
                  <a:pt x="5990" y="2346"/>
                </a:lnTo>
                <a:lnTo>
                  <a:pt x="5994" y="2344"/>
                </a:lnTo>
                <a:lnTo>
                  <a:pt x="5998" y="2342"/>
                </a:lnTo>
                <a:lnTo>
                  <a:pt x="6004" y="2338"/>
                </a:lnTo>
                <a:lnTo>
                  <a:pt x="6012" y="2334"/>
                </a:lnTo>
                <a:lnTo>
                  <a:pt x="6006" y="2338"/>
                </a:lnTo>
                <a:lnTo>
                  <a:pt x="6004" y="2344"/>
                </a:lnTo>
                <a:lnTo>
                  <a:pt x="5996" y="2350"/>
                </a:lnTo>
                <a:lnTo>
                  <a:pt x="5990" y="2354"/>
                </a:lnTo>
                <a:lnTo>
                  <a:pt x="5988" y="2362"/>
                </a:lnTo>
                <a:lnTo>
                  <a:pt x="5986" y="2366"/>
                </a:lnTo>
                <a:lnTo>
                  <a:pt x="5978" y="2368"/>
                </a:lnTo>
                <a:lnTo>
                  <a:pt x="5970" y="2368"/>
                </a:lnTo>
                <a:lnTo>
                  <a:pt x="5964" y="2366"/>
                </a:lnTo>
                <a:lnTo>
                  <a:pt x="5958" y="2366"/>
                </a:lnTo>
                <a:lnTo>
                  <a:pt x="5946" y="2364"/>
                </a:lnTo>
                <a:lnTo>
                  <a:pt x="5940" y="2366"/>
                </a:lnTo>
                <a:lnTo>
                  <a:pt x="5936" y="2366"/>
                </a:lnTo>
                <a:lnTo>
                  <a:pt x="5936" y="2368"/>
                </a:lnTo>
                <a:lnTo>
                  <a:pt x="5936" y="2370"/>
                </a:lnTo>
                <a:lnTo>
                  <a:pt x="5936" y="2374"/>
                </a:lnTo>
                <a:lnTo>
                  <a:pt x="5934" y="2376"/>
                </a:lnTo>
                <a:lnTo>
                  <a:pt x="5930" y="2378"/>
                </a:lnTo>
                <a:lnTo>
                  <a:pt x="5926" y="2378"/>
                </a:lnTo>
                <a:lnTo>
                  <a:pt x="5924" y="2380"/>
                </a:lnTo>
                <a:lnTo>
                  <a:pt x="5922" y="2384"/>
                </a:lnTo>
                <a:lnTo>
                  <a:pt x="5922" y="2388"/>
                </a:lnTo>
                <a:lnTo>
                  <a:pt x="5922" y="2390"/>
                </a:lnTo>
                <a:lnTo>
                  <a:pt x="5920" y="2392"/>
                </a:lnTo>
                <a:lnTo>
                  <a:pt x="5916" y="2396"/>
                </a:lnTo>
                <a:lnTo>
                  <a:pt x="5916" y="2398"/>
                </a:lnTo>
                <a:lnTo>
                  <a:pt x="5914" y="2402"/>
                </a:lnTo>
                <a:lnTo>
                  <a:pt x="5910" y="2404"/>
                </a:lnTo>
                <a:lnTo>
                  <a:pt x="5904" y="2410"/>
                </a:lnTo>
                <a:lnTo>
                  <a:pt x="5900" y="2416"/>
                </a:lnTo>
                <a:lnTo>
                  <a:pt x="5894" y="2422"/>
                </a:lnTo>
                <a:lnTo>
                  <a:pt x="5890" y="2424"/>
                </a:lnTo>
                <a:lnTo>
                  <a:pt x="5886" y="2424"/>
                </a:lnTo>
                <a:lnTo>
                  <a:pt x="5882" y="2424"/>
                </a:lnTo>
                <a:lnTo>
                  <a:pt x="5878" y="2426"/>
                </a:lnTo>
                <a:lnTo>
                  <a:pt x="5876" y="2428"/>
                </a:lnTo>
                <a:lnTo>
                  <a:pt x="5876" y="2432"/>
                </a:lnTo>
                <a:lnTo>
                  <a:pt x="5876" y="2436"/>
                </a:lnTo>
                <a:lnTo>
                  <a:pt x="5878" y="2436"/>
                </a:lnTo>
                <a:lnTo>
                  <a:pt x="5882" y="2434"/>
                </a:lnTo>
                <a:lnTo>
                  <a:pt x="5884" y="2434"/>
                </a:lnTo>
                <a:lnTo>
                  <a:pt x="5886" y="2434"/>
                </a:lnTo>
                <a:lnTo>
                  <a:pt x="5890" y="2436"/>
                </a:lnTo>
                <a:lnTo>
                  <a:pt x="5894" y="2440"/>
                </a:lnTo>
                <a:lnTo>
                  <a:pt x="5896" y="2440"/>
                </a:lnTo>
                <a:lnTo>
                  <a:pt x="5898" y="2440"/>
                </a:lnTo>
                <a:lnTo>
                  <a:pt x="5900" y="2438"/>
                </a:lnTo>
                <a:lnTo>
                  <a:pt x="5902" y="2434"/>
                </a:lnTo>
                <a:lnTo>
                  <a:pt x="5902" y="2432"/>
                </a:lnTo>
                <a:lnTo>
                  <a:pt x="5906" y="2430"/>
                </a:lnTo>
                <a:lnTo>
                  <a:pt x="5912" y="2426"/>
                </a:lnTo>
                <a:lnTo>
                  <a:pt x="5914" y="2424"/>
                </a:lnTo>
                <a:lnTo>
                  <a:pt x="5918" y="2420"/>
                </a:lnTo>
                <a:lnTo>
                  <a:pt x="5928" y="2418"/>
                </a:lnTo>
                <a:lnTo>
                  <a:pt x="5936" y="2416"/>
                </a:lnTo>
                <a:lnTo>
                  <a:pt x="5942" y="2418"/>
                </a:lnTo>
                <a:lnTo>
                  <a:pt x="5954" y="2426"/>
                </a:lnTo>
                <a:lnTo>
                  <a:pt x="5958" y="2426"/>
                </a:lnTo>
                <a:lnTo>
                  <a:pt x="5962" y="2424"/>
                </a:lnTo>
                <a:lnTo>
                  <a:pt x="5964" y="2416"/>
                </a:lnTo>
                <a:lnTo>
                  <a:pt x="5966" y="2406"/>
                </a:lnTo>
                <a:lnTo>
                  <a:pt x="5968" y="2402"/>
                </a:lnTo>
                <a:lnTo>
                  <a:pt x="5970" y="2402"/>
                </a:lnTo>
                <a:lnTo>
                  <a:pt x="5972" y="2402"/>
                </a:lnTo>
                <a:lnTo>
                  <a:pt x="5976" y="2402"/>
                </a:lnTo>
                <a:lnTo>
                  <a:pt x="5982" y="2398"/>
                </a:lnTo>
                <a:lnTo>
                  <a:pt x="5986" y="2396"/>
                </a:lnTo>
                <a:lnTo>
                  <a:pt x="5992" y="2396"/>
                </a:lnTo>
                <a:lnTo>
                  <a:pt x="5996" y="2396"/>
                </a:lnTo>
                <a:lnTo>
                  <a:pt x="6000" y="2400"/>
                </a:lnTo>
                <a:lnTo>
                  <a:pt x="6006" y="2406"/>
                </a:lnTo>
                <a:lnTo>
                  <a:pt x="6008" y="2406"/>
                </a:lnTo>
                <a:lnTo>
                  <a:pt x="6010" y="2406"/>
                </a:lnTo>
                <a:lnTo>
                  <a:pt x="6012" y="2404"/>
                </a:lnTo>
                <a:lnTo>
                  <a:pt x="6014" y="2402"/>
                </a:lnTo>
                <a:lnTo>
                  <a:pt x="6020" y="2404"/>
                </a:lnTo>
                <a:lnTo>
                  <a:pt x="6026" y="2404"/>
                </a:lnTo>
                <a:lnTo>
                  <a:pt x="6028" y="2402"/>
                </a:lnTo>
                <a:lnTo>
                  <a:pt x="6030" y="2398"/>
                </a:lnTo>
                <a:lnTo>
                  <a:pt x="6040" y="2396"/>
                </a:lnTo>
                <a:lnTo>
                  <a:pt x="6050" y="2394"/>
                </a:lnTo>
                <a:lnTo>
                  <a:pt x="6052" y="2390"/>
                </a:lnTo>
                <a:lnTo>
                  <a:pt x="6054" y="2388"/>
                </a:lnTo>
                <a:lnTo>
                  <a:pt x="6058" y="2390"/>
                </a:lnTo>
                <a:lnTo>
                  <a:pt x="6064" y="2394"/>
                </a:lnTo>
                <a:lnTo>
                  <a:pt x="6066" y="2392"/>
                </a:lnTo>
                <a:lnTo>
                  <a:pt x="6068" y="2392"/>
                </a:lnTo>
                <a:lnTo>
                  <a:pt x="6070" y="2394"/>
                </a:lnTo>
                <a:lnTo>
                  <a:pt x="6072" y="2394"/>
                </a:lnTo>
                <a:lnTo>
                  <a:pt x="6076" y="2394"/>
                </a:lnTo>
                <a:lnTo>
                  <a:pt x="6084" y="2392"/>
                </a:lnTo>
                <a:lnTo>
                  <a:pt x="6094" y="2390"/>
                </a:lnTo>
                <a:lnTo>
                  <a:pt x="6100" y="2390"/>
                </a:lnTo>
                <a:lnTo>
                  <a:pt x="6106" y="2392"/>
                </a:lnTo>
                <a:lnTo>
                  <a:pt x="6112" y="2394"/>
                </a:lnTo>
                <a:lnTo>
                  <a:pt x="6116" y="2394"/>
                </a:lnTo>
                <a:lnTo>
                  <a:pt x="6124" y="2392"/>
                </a:lnTo>
                <a:lnTo>
                  <a:pt x="6132" y="2388"/>
                </a:lnTo>
                <a:lnTo>
                  <a:pt x="6140" y="2386"/>
                </a:lnTo>
                <a:lnTo>
                  <a:pt x="6144" y="2384"/>
                </a:lnTo>
                <a:lnTo>
                  <a:pt x="6146" y="2382"/>
                </a:lnTo>
                <a:lnTo>
                  <a:pt x="6148" y="2378"/>
                </a:lnTo>
                <a:lnTo>
                  <a:pt x="6154" y="2374"/>
                </a:lnTo>
                <a:lnTo>
                  <a:pt x="6162" y="2370"/>
                </a:lnTo>
                <a:lnTo>
                  <a:pt x="6164" y="2366"/>
                </a:lnTo>
                <a:lnTo>
                  <a:pt x="6164" y="2362"/>
                </a:lnTo>
                <a:lnTo>
                  <a:pt x="6164" y="2358"/>
                </a:lnTo>
                <a:lnTo>
                  <a:pt x="6164" y="2356"/>
                </a:lnTo>
                <a:lnTo>
                  <a:pt x="6164" y="2354"/>
                </a:lnTo>
                <a:lnTo>
                  <a:pt x="6156" y="2356"/>
                </a:lnTo>
                <a:lnTo>
                  <a:pt x="6148" y="2358"/>
                </a:lnTo>
                <a:lnTo>
                  <a:pt x="6140" y="2358"/>
                </a:lnTo>
                <a:lnTo>
                  <a:pt x="6134" y="2356"/>
                </a:lnTo>
                <a:lnTo>
                  <a:pt x="6134" y="2354"/>
                </a:lnTo>
                <a:lnTo>
                  <a:pt x="6130" y="2350"/>
                </a:lnTo>
                <a:lnTo>
                  <a:pt x="6128" y="2350"/>
                </a:lnTo>
                <a:lnTo>
                  <a:pt x="6128" y="2348"/>
                </a:lnTo>
                <a:lnTo>
                  <a:pt x="6132" y="2348"/>
                </a:lnTo>
                <a:lnTo>
                  <a:pt x="6140" y="2346"/>
                </a:lnTo>
                <a:lnTo>
                  <a:pt x="6142" y="2346"/>
                </a:lnTo>
                <a:lnTo>
                  <a:pt x="6144" y="2344"/>
                </a:lnTo>
                <a:lnTo>
                  <a:pt x="6146" y="2338"/>
                </a:lnTo>
                <a:lnTo>
                  <a:pt x="6144" y="2336"/>
                </a:lnTo>
                <a:lnTo>
                  <a:pt x="6142" y="2336"/>
                </a:lnTo>
                <a:lnTo>
                  <a:pt x="6142" y="2334"/>
                </a:lnTo>
                <a:lnTo>
                  <a:pt x="6146" y="2332"/>
                </a:lnTo>
                <a:lnTo>
                  <a:pt x="6148" y="2332"/>
                </a:lnTo>
                <a:lnTo>
                  <a:pt x="6156" y="2332"/>
                </a:lnTo>
                <a:lnTo>
                  <a:pt x="6160" y="2330"/>
                </a:lnTo>
                <a:lnTo>
                  <a:pt x="6162" y="2330"/>
                </a:lnTo>
                <a:lnTo>
                  <a:pt x="6160" y="2328"/>
                </a:lnTo>
                <a:lnTo>
                  <a:pt x="6158" y="2326"/>
                </a:lnTo>
                <a:lnTo>
                  <a:pt x="6160" y="2324"/>
                </a:lnTo>
                <a:lnTo>
                  <a:pt x="6166" y="2318"/>
                </a:lnTo>
                <a:lnTo>
                  <a:pt x="6170" y="2314"/>
                </a:lnTo>
                <a:lnTo>
                  <a:pt x="6174" y="2308"/>
                </a:lnTo>
                <a:lnTo>
                  <a:pt x="6178" y="2300"/>
                </a:lnTo>
                <a:lnTo>
                  <a:pt x="6178" y="2288"/>
                </a:lnTo>
                <a:close/>
                <a:moveTo>
                  <a:pt x="5916" y="2196"/>
                </a:moveTo>
                <a:lnTo>
                  <a:pt x="5916" y="2196"/>
                </a:lnTo>
                <a:lnTo>
                  <a:pt x="5920" y="2196"/>
                </a:lnTo>
                <a:lnTo>
                  <a:pt x="5924" y="2194"/>
                </a:lnTo>
                <a:lnTo>
                  <a:pt x="5930" y="2188"/>
                </a:lnTo>
                <a:lnTo>
                  <a:pt x="5932" y="2180"/>
                </a:lnTo>
                <a:lnTo>
                  <a:pt x="5932" y="2176"/>
                </a:lnTo>
                <a:lnTo>
                  <a:pt x="5928" y="2172"/>
                </a:lnTo>
                <a:lnTo>
                  <a:pt x="5924" y="2176"/>
                </a:lnTo>
                <a:lnTo>
                  <a:pt x="5918" y="2182"/>
                </a:lnTo>
                <a:lnTo>
                  <a:pt x="5914" y="2190"/>
                </a:lnTo>
                <a:lnTo>
                  <a:pt x="5914" y="2194"/>
                </a:lnTo>
                <a:lnTo>
                  <a:pt x="5916" y="2196"/>
                </a:lnTo>
                <a:close/>
                <a:moveTo>
                  <a:pt x="5922" y="2238"/>
                </a:moveTo>
                <a:lnTo>
                  <a:pt x="5922" y="2238"/>
                </a:lnTo>
                <a:lnTo>
                  <a:pt x="5922" y="2240"/>
                </a:lnTo>
                <a:lnTo>
                  <a:pt x="5922" y="2242"/>
                </a:lnTo>
                <a:lnTo>
                  <a:pt x="5924" y="2246"/>
                </a:lnTo>
                <a:lnTo>
                  <a:pt x="5930" y="2248"/>
                </a:lnTo>
                <a:lnTo>
                  <a:pt x="5934" y="2246"/>
                </a:lnTo>
                <a:lnTo>
                  <a:pt x="5936" y="2244"/>
                </a:lnTo>
                <a:lnTo>
                  <a:pt x="5938" y="2240"/>
                </a:lnTo>
                <a:lnTo>
                  <a:pt x="5938" y="2238"/>
                </a:lnTo>
                <a:lnTo>
                  <a:pt x="5936" y="2234"/>
                </a:lnTo>
                <a:lnTo>
                  <a:pt x="5934" y="2234"/>
                </a:lnTo>
                <a:lnTo>
                  <a:pt x="5932" y="2232"/>
                </a:lnTo>
                <a:lnTo>
                  <a:pt x="5928" y="2232"/>
                </a:lnTo>
                <a:lnTo>
                  <a:pt x="5926" y="2234"/>
                </a:lnTo>
                <a:lnTo>
                  <a:pt x="5922" y="2238"/>
                </a:lnTo>
                <a:close/>
                <a:moveTo>
                  <a:pt x="5892" y="2096"/>
                </a:moveTo>
                <a:lnTo>
                  <a:pt x="5892" y="2096"/>
                </a:lnTo>
                <a:lnTo>
                  <a:pt x="5890" y="2100"/>
                </a:lnTo>
                <a:lnTo>
                  <a:pt x="5890" y="2106"/>
                </a:lnTo>
                <a:lnTo>
                  <a:pt x="5894" y="2108"/>
                </a:lnTo>
                <a:lnTo>
                  <a:pt x="5900" y="2110"/>
                </a:lnTo>
                <a:lnTo>
                  <a:pt x="5902" y="2108"/>
                </a:lnTo>
                <a:lnTo>
                  <a:pt x="5902" y="2106"/>
                </a:lnTo>
                <a:lnTo>
                  <a:pt x="5900" y="2100"/>
                </a:lnTo>
                <a:lnTo>
                  <a:pt x="5896" y="2094"/>
                </a:lnTo>
                <a:lnTo>
                  <a:pt x="5894" y="2094"/>
                </a:lnTo>
                <a:lnTo>
                  <a:pt x="5892" y="2096"/>
                </a:lnTo>
                <a:close/>
                <a:moveTo>
                  <a:pt x="5832" y="1938"/>
                </a:moveTo>
                <a:lnTo>
                  <a:pt x="5832" y="1938"/>
                </a:lnTo>
                <a:lnTo>
                  <a:pt x="5830" y="1938"/>
                </a:lnTo>
                <a:lnTo>
                  <a:pt x="5828" y="1936"/>
                </a:lnTo>
                <a:lnTo>
                  <a:pt x="5826" y="1934"/>
                </a:lnTo>
                <a:lnTo>
                  <a:pt x="5824" y="1934"/>
                </a:lnTo>
                <a:lnTo>
                  <a:pt x="5820" y="1940"/>
                </a:lnTo>
                <a:lnTo>
                  <a:pt x="5820" y="1942"/>
                </a:lnTo>
                <a:lnTo>
                  <a:pt x="5822" y="1946"/>
                </a:lnTo>
                <a:lnTo>
                  <a:pt x="5824" y="1946"/>
                </a:lnTo>
                <a:lnTo>
                  <a:pt x="5824" y="1948"/>
                </a:lnTo>
                <a:lnTo>
                  <a:pt x="5822" y="1950"/>
                </a:lnTo>
                <a:lnTo>
                  <a:pt x="5828" y="1952"/>
                </a:lnTo>
                <a:lnTo>
                  <a:pt x="5830" y="1954"/>
                </a:lnTo>
                <a:lnTo>
                  <a:pt x="5826" y="1956"/>
                </a:lnTo>
                <a:lnTo>
                  <a:pt x="5822" y="1958"/>
                </a:lnTo>
                <a:lnTo>
                  <a:pt x="5820" y="1960"/>
                </a:lnTo>
                <a:lnTo>
                  <a:pt x="5822" y="1964"/>
                </a:lnTo>
                <a:lnTo>
                  <a:pt x="5824" y="1966"/>
                </a:lnTo>
                <a:lnTo>
                  <a:pt x="5826" y="1964"/>
                </a:lnTo>
                <a:lnTo>
                  <a:pt x="5828" y="1962"/>
                </a:lnTo>
                <a:lnTo>
                  <a:pt x="5832" y="1960"/>
                </a:lnTo>
                <a:lnTo>
                  <a:pt x="5834" y="1960"/>
                </a:lnTo>
                <a:lnTo>
                  <a:pt x="5834" y="1958"/>
                </a:lnTo>
                <a:lnTo>
                  <a:pt x="5836" y="1956"/>
                </a:lnTo>
                <a:lnTo>
                  <a:pt x="5838" y="1954"/>
                </a:lnTo>
                <a:lnTo>
                  <a:pt x="5840" y="1952"/>
                </a:lnTo>
                <a:lnTo>
                  <a:pt x="5844" y="1952"/>
                </a:lnTo>
                <a:lnTo>
                  <a:pt x="5846" y="1952"/>
                </a:lnTo>
                <a:lnTo>
                  <a:pt x="5846" y="1950"/>
                </a:lnTo>
                <a:lnTo>
                  <a:pt x="5848" y="1948"/>
                </a:lnTo>
                <a:lnTo>
                  <a:pt x="5850" y="1946"/>
                </a:lnTo>
                <a:lnTo>
                  <a:pt x="5850" y="1944"/>
                </a:lnTo>
                <a:lnTo>
                  <a:pt x="5848" y="1942"/>
                </a:lnTo>
                <a:lnTo>
                  <a:pt x="5848" y="1940"/>
                </a:lnTo>
                <a:lnTo>
                  <a:pt x="5850" y="1940"/>
                </a:lnTo>
                <a:lnTo>
                  <a:pt x="5850" y="1936"/>
                </a:lnTo>
                <a:lnTo>
                  <a:pt x="5852" y="1936"/>
                </a:lnTo>
                <a:lnTo>
                  <a:pt x="5854" y="1936"/>
                </a:lnTo>
                <a:lnTo>
                  <a:pt x="5860" y="1934"/>
                </a:lnTo>
                <a:lnTo>
                  <a:pt x="5860" y="1932"/>
                </a:lnTo>
                <a:lnTo>
                  <a:pt x="5856" y="1932"/>
                </a:lnTo>
                <a:lnTo>
                  <a:pt x="5854" y="1932"/>
                </a:lnTo>
                <a:lnTo>
                  <a:pt x="5852" y="1932"/>
                </a:lnTo>
                <a:lnTo>
                  <a:pt x="5854" y="1930"/>
                </a:lnTo>
                <a:lnTo>
                  <a:pt x="5856" y="1928"/>
                </a:lnTo>
                <a:lnTo>
                  <a:pt x="5858" y="1922"/>
                </a:lnTo>
                <a:lnTo>
                  <a:pt x="5858" y="1918"/>
                </a:lnTo>
                <a:lnTo>
                  <a:pt x="5858" y="1916"/>
                </a:lnTo>
                <a:lnTo>
                  <a:pt x="5854" y="1916"/>
                </a:lnTo>
                <a:lnTo>
                  <a:pt x="5850" y="1918"/>
                </a:lnTo>
                <a:lnTo>
                  <a:pt x="5842" y="1922"/>
                </a:lnTo>
                <a:lnTo>
                  <a:pt x="5834" y="1926"/>
                </a:lnTo>
                <a:lnTo>
                  <a:pt x="5832" y="1928"/>
                </a:lnTo>
                <a:lnTo>
                  <a:pt x="5834" y="1932"/>
                </a:lnTo>
                <a:lnTo>
                  <a:pt x="5834" y="1934"/>
                </a:lnTo>
                <a:lnTo>
                  <a:pt x="5832" y="1938"/>
                </a:lnTo>
                <a:close/>
                <a:moveTo>
                  <a:pt x="5822" y="1974"/>
                </a:moveTo>
                <a:lnTo>
                  <a:pt x="5822" y="1974"/>
                </a:lnTo>
                <a:lnTo>
                  <a:pt x="5824" y="1970"/>
                </a:lnTo>
                <a:lnTo>
                  <a:pt x="5822" y="1968"/>
                </a:lnTo>
                <a:lnTo>
                  <a:pt x="5820" y="1968"/>
                </a:lnTo>
                <a:lnTo>
                  <a:pt x="5818" y="1968"/>
                </a:lnTo>
                <a:lnTo>
                  <a:pt x="5812" y="1968"/>
                </a:lnTo>
                <a:lnTo>
                  <a:pt x="5810" y="1970"/>
                </a:lnTo>
                <a:lnTo>
                  <a:pt x="5806" y="1972"/>
                </a:lnTo>
                <a:lnTo>
                  <a:pt x="5804" y="1972"/>
                </a:lnTo>
                <a:lnTo>
                  <a:pt x="5806" y="1974"/>
                </a:lnTo>
                <a:lnTo>
                  <a:pt x="5812" y="1976"/>
                </a:lnTo>
                <a:lnTo>
                  <a:pt x="5818" y="1978"/>
                </a:lnTo>
                <a:lnTo>
                  <a:pt x="5820" y="1976"/>
                </a:lnTo>
                <a:lnTo>
                  <a:pt x="5822" y="1974"/>
                </a:lnTo>
                <a:close/>
                <a:moveTo>
                  <a:pt x="5864" y="2010"/>
                </a:moveTo>
                <a:lnTo>
                  <a:pt x="5864" y="2010"/>
                </a:lnTo>
                <a:lnTo>
                  <a:pt x="5868" y="2010"/>
                </a:lnTo>
                <a:lnTo>
                  <a:pt x="5872" y="2006"/>
                </a:lnTo>
                <a:lnTo>
                  <a:pt x="5878" y="1996"/>
                </a:lnTo>
                <a:lnTo>
                  <a:pt x="5876" y="1994"/>
                </a:lnTo>
                <a:lnTo>
                  <a:pt x="5874" y="1994"/>
                </a:lnTo>
                <a:lnTo>
                  <a:pt x="5868" y="1994"/>
                </a:lnTo>
                <a:lnTo>
                  <a:pt x="5864" y="1994"/>
                </a:lnTo>
                <a:lnTo>
                  <a:pt x="5862" y="1992"/>
                </a:lnTo>
                <a:lnTo>
                  <a:pt x="5860" y="1988"/>
                </a:lnTo>
                <a:lnTo>
                  <a:pt x="5858" y="1980"/>
                </a:lnTo>
                <a:lnTo>
                  <a:pt x="5856" y="1972"/>
                </a:lnTo>
                <a:lnTo>
                  <a:pt x="5856" y="1968"/>
                </a:lnTo>
                <a:lnTo>
                  <a:pt x="5854" y="1968"/>
                </a:lnTo>
                <a:lnTo>
                  <a:pt x="5852" y="1968"/>
                </a:lnTo>
                <a:lnTo>
                  <a:pt x="5850" y="1968"/>
                </a:lnTo>
                <a:lnTo>
                  <a:pt x="5850" y="1974"/>
                </a:lnTo>
                <a:lnTo>
                  <a:pt x="5850" y="1978"/>
                </a:lnTo>
                <a:lnTo>
                  <a:pt x="5850" y="1982"/>
                </a:lnTo>
                <a:lnTo>
                  <a:pt x="5848" y="1982"/>
                </a:lnTo>
                <a:lnTo>
                  <a:pt x="5844" y="1978"/>
                </a:lnTo>
                <a:lnTo>
                  <a:pt x="5842" y="1974"/>
                </a:lnTo>
                <a:lnTo>
                  <a:pt x="5840" y="1974"/>
                </a:lnTo>
                <a:lnTo>
                  <a:pt x="5838" y="1976"/>
                </a:lnTo>
                <a:lnTo>
                  <a:pt x="5840" y="1978"/>
                </a:lnTo>
                <a:lnTo>
                  <a:pt x="5840" y="1982"/>
                </a:lnTo>
                <a:lnTo>
                  <a:pt x="5838" y="1984"/>
                </a:lnTo>
                <a:lnTo>
                  <a:pt x="5836" y="1984"/>
                </a:lnTo>
                <a:lnTo>
                  <a:pt x="5834" y="1986"/>
                </a:lnTo>
                <a:lnTo>
                  <a:pt x="5838" y="1990"/>
                </a:lnTo>
                <a:lnTo>
                  <a:pt x="5840" y="1990"/>
                </a:lnTo>
                <a:lnTo>
                  <a:pt x="5842" y="1988"/>
                </a:lnTo>
                <a:lnTo>
                  <a:pt x="5846" y="1990"/>
                </a:lnTo>
                <a:lnTo>
                  <a:pt x="5848" y="1992"/>
                </a:lnTo>
                <a:lnTo>
                  <a:pt x="5846" y="1992"/>
                </a:lnTo>
                <a:lnTo>
                  <a:pt x="5846" y="1994"/>
                </a:lnTo>
                <a:lnTo>
                  <a:pt x="5850" y="1998"/>
                </a:lnTo>
                <a:lnTo>
                  <a:pt x="5852" y="2002"/>
                </a:lnTo>
                <a:lnTo>
                  <a:pt x="5856" y="2002"/>
                </a:lnTo>
                <a:lnTo>
                  <a:pt x="5858" y="2000"/>
                </a:lnTo>
                <a:lnTo>
                  <a:pt x="5864" y="2000"/>
                </a:lnTo>
                <a:lnTo>
                  <a:pt x="5866" y="2000"/>
                </a:lnTo>
                <a:lnTo>
                  <a:pt x="5866" y="2002"/>
                </a:lnTo>
                <a:lnTo>
                  <a:pt x="5866" y="2004"/>
                </a:lnTo>
                <a:lnTo>
                  <a:pt x="5864" y="2008"/>
                </a:lnTo>
                <a:lnTo>
                  <a:pt x="5864" y="2010"/>
                </a:lnTo>
                <a:close/>
                <a:moveTo>
                  <a:pt x="5868" y="2042"/>
                </a:moveTo>
                <a:lnTo>
                  <a:pt x="5868" y="2042"/>
                </a:lnTo>
                <a:lnTo>
                  <a:pt x="5862" y="2040"/>
                </a:lnTo>
                <a:lnTo>
                  <a:pt x="5860" y="2036"/>
                </a:lnTo>
                <a:lnTo>
                  <a:pt x="5858" y="2034"/>
                </a:lnTo>
                <a:lnTo>
                  <a:pt x="5854" y="2036"/>
                </a:lnTo>
                <a:lnTo>
                  <a:pt x="5852" y="2040"/>
                </a:lnTo>
                <a:lnTo>
                  <a:pt x="5852" y="2042"/>
                </a:lnTo>
                <a:lnTo>
                  <a:pt x="5858" y="2046"/>
                </a:lnTo>
                <a:lnTo>
                  <a:pt x="5860" y="2046"/>
                </a:lnTo>
                <a:lnTo>
                  <a:pt x="5860" y="2048"/>
                </a:lnTo>
                <a:lnTo>
                  <a:pt x="5858" y="2050"/>
                </a:lnTo>
                <a:lnTo>
                  <a:pt x="5858" y="2052"/>
                </a:lnTo>
                <a:lnTo>
                  <a:pt x="5856" y="2054"/>
                </a:lnTo>
                <a:lnTo>
                  <a:pt x="5854" y="2054"/>
                </a:lnTo>
                <a:lnTo>
                  <a:pt x="5852" y="2054"/>
                </a:lnTo>
                <a:lnTo>
                  <a:pt x="5850" y="2058"/>
                </a:lnTo>
                <a:lnTo>
                  <a:pt x="5852" y="2058"/>
                </a:lnTo>
                <a:lnTo>
                  <a:pt x="5852" y="2060"/>
                </a:lnTo>
                <a:lnTo>
                  <a:pt x="5858" y="2058"/>
                </a:lnTo>
                <a:lnTo>
                  <a:pt x="5874" y="2054"/>
                </a:lnTo>
                <a:lnTo>
                  <a:pt x="5878" y="2052"/>
                </a:lnTo>
                <a:lnTo>
                  <a:pt x="5878" y="2048"/>
                </a:lnTo>
                <a:lnTo>
                  <a:pt x="5874" y="2044"/>
                </a:lnTo>
                <a:lnTo>
                  <a:pt x="5868" y="2042"/>
                </a:lnTo>
                <a:close/>
                <a:moveTo>
                  <a:pt x="5852" y="2100"/>
                </a:moveTo>
                <a:lnTo>
                  <a:pt x="5852" y="2100"/>
                </a:lnTo>
                <a:lnTo>
                  <a:pt x="5854" y="2102"/>
                </a:lnTo>
                <a:lnTo>
                  <a:pt x="5860" y="2096"/>
                </a:lnTo>
                <a:lnTo>
                  <a:pt x="5864" y="2094"/>
                </a:lnTo>
                <a:lnTo>
                  <a:pt x="5862" y="2090"/>
                </a:lnTo>
                <a:lnTo>
                  <a:pt x="5862" y="2086"/>
                </a:lnTo>
                <a:lnTo>
                  <a:pt x="5860" y="2080"/>
                </a:lnTo>
                <a:lnTo>
                  <a:pt x="5858" y="2078"/>
                </a:lnTo>
                <a:lnTo>
                  <a:pt x="5856" y="2080"/>
                </a:lnTo>
                <a:lnTo>
                  <a:pt x="5854" y="2084"/>
                </a:lnTo>
                <a:lnTo>
                  <a:pt x="5852" y="2084"/>
                </a:lnTo>
                <a:lnTo>
                  <a:pt x="5852" y="2082"/>
                </a:lnTo>
                <a:lnTo>
                  <a:pt x="5850" y="2082"/>
                </a:lnTo>
                <a:lnTo>
                  <a:pt x="5846" y="2086"/>
                </a:lnTo>
                <a:lnTo>
                  <a:pt x="5842" y="2090"/>
                </a:lnTo>
                <a:lnTo>
                  <a:pt x="5842" y="2092"/>
                </a:lnTo>
                <a:lnTo>
                  <a:pt x="5844" y="2094"/>
                </a:lnTo>
                <a:lnTo>
                  <a:pt x="5848" y="2094"/>
                </a:lnTo>
                <a:lnTo>
                  <a:pt x="5850" y="2092"/>
                </a:lnTo>
                <a:lnTo>
                  <a:pt x="5852" y="2090"/>
                </a:lnTo>
                <a:lnTo>
                  <a:pt x="5854" y="2092"/>
                </a:lnTo>
                <a:lnTo>
                  <a:pt x="5854" y="2096"/>
                </a:lnTo>
                <a:lnTo>
                  <a:pt x="5852" y="2098"/>
                </a:lnTo>
                <a:lnTo>
                  <a:pt x="5852" y="2100"/>
                </a:lnTo>
                <a:close/>
                <a:moveTo>
                  <a:pt x="5974" y="1886"/>
                </a:moveTo>
                <a:lnTo>
                  <a:pt x="5974" y="1886"/>
                </a:lnTo>
                <a:lnTo>
                  <a:pt x="5978" y="1888"/>
                </a:lnTo>
                <a:lnTo>
                  <a:pt x="5982" y="1888"/>
                </a:lnTo>
                <a:lnTo>
                  <a:pt x="5986" y="1888"/>
                </a:lnTo>
                <a:lnTo>
                  <a:pt x="5988" y="1890"/>
                </a:lnTo>
                <a:lnTo>
                  <a:pt x="5992" y="1892"/>
                </a:lnTo>
                <a:lnTo>
                  <a:pt x="5994" y="1890"/>
                </a:lnTo>
                <a:lnTo>
                  <a:pt x="5996" y="1888"/>
                </a:lnTo>
                <a:lnTo>
                  <a:pt x="5996" y="1886"/>
                </a:lnTo>
                <a:lnTo>
                  <a:pt x="5994" y="1886"/>
                </a:lnTo>
                <a:lnTo>
                  <a:pt x="5994" y="1888"/>
                </a:lnTo>
                <a:lnTo>
                  <a:pt x="5992" y="1886"/>
                </a:lnTo>
                <a:lnTo>
                  <a:pt x="5990" y="1884"/>
                </a:lnTo>
                <a:lnTo>
                  <a:pt x="5986" y="1884"/>
                </a:lnTo>
                <a:lnTo>
                  <a:pt x="5984" y="1884"/>
                </a:lnTo>
                <a:lnTo>
                  <a:pt x="5984" y="1882"/>
                </a:lnTo>
                <a:lnTo>
                  <a:pt x="5986" y="1878"/>
                </a:lnTo>
                <a:lnTo>
                  <a:pt x="5986" y="1876"/>
                </a:lnTo>
                <a:lnTo>
                  <a:pt x="5980" y="1874"/>
                </a:lnTo>
                <a:lnTo>
                  <a:pt x="5976" y="1874"/>
                </a:lnTo>
                <a:lnTo>
                  <a:pt x="5974" y="1878"/>
                </a:lnTo>
                <a:lnTo>
                  <a:pt x="5974" y="1882"/>
                </a:lnTo>
                <a:lnTo>
                  <a:pt x="5974" y="1886"/>
                </a:lnTo>
                <a:close/>
                <a:moveTo>
                  <a:pt x="11016" y="3794"/>
                </a:moveTo>
                <a:lnTo>
                  <a:pt x="11016" y="3794"/>
                </a:lnTo>
                <a:lnTo>
                  <a:pt x="11010" y="3790"/>
                </a:lnTo>
                <a:lnTo>
                  <a:pt x="11006" y="3788"/>
                </a:lnTo>
                <a:lnTo>
                  <a:pt x="11004" y="3788"/>
                </a:lnTo>
                <a:lnTo>
                  <a:pt x="11002" y="3790"/>
                </a:lnTo>
                <a:lnTo>
                  <a:pt x="10998" y="3794"/>
                </a:lnTo>
                <a:lnTo>
                  <a:pt x="10994" y="3798"/>
                </a:lnTo>
                <a:lnTo>
                  <a:pt x="10988" y="3800"/>
                </a:lnTo>
                <a:lnTo>
                  <a:pt x="10980" y="3808"/>
                </a:lnTo>
                <a:lnTo>
                  <a:pt x="10960" y="3844"/>
                </a:lnTo>
                <a:lnTo>
                  <a:pt x="10952" y="3862"/>
                </a:lnTo>
                <a:lnTo>
                  <a:pt x="10948" y="3876"/>
                </a:lnTo>
                <a:lnTo>
                  <a:pt x="10948" y="3892"/>
                </a:lnTo>
                <a:lnTo>
                  <a:pt x="10950" y="3910"/>
                </a:lnTo>
                <a:lnTo>
                  <a:pt x="10954" y="3924"/>
                </a:lnTo>
                <a:lnTo>
                  <a:pt x="10958" y="3930"/>
                </a:lnTo>
                <a:lnTo>
                  <a:pt x="10962" y="3934"/>
                </a:lnTo>
                <a:lnTo>
                  <a:pt x="10966" y="3940"/>
                </a:lnTo>
                <a:lnTo>
                  <a:pt x="10970" y="3952"/>
                </a:lnTo>
                <a:lnTo>
                  <a:pt x="10974" y="3960"/>
                </a:lnTo>
                <a:lnTo>
                  <a:pt x="10976" y="3962"/>
                </a:lnTo>
                <a:lnTo>
                  <a:pt x="10978" y="3960"/>
                </a:lnTo>
                <a:lnTo>
                  <a:pt x="10978" y="3956"/>
                </a:lnTo>
                <a:lnTo>
                  <a:pt x="10980" y="3946"/>
                </a:lnTo>
                <a:lnTo>
                  <a:pt x="10980" y="3936"/>
                </a:lnTo>
                <a:lnTo>
                  <a:pt x="10982" y="3930"/>
                </a:lnTo>
                <a:lnTo>
                  <a:pt x="10984" y="3926"/>
                </a:lnTo>
                <a:lnTo>
                  <a:pt x="10988" y="3922"/>
                </a:lnTo>
                <a:lnTo>
                  <a:pt x="10990" y="3918"/>
                </a:lnTo>
                <a:lnTo>
                  <a:pt x="10994" y="3912"/>
                </a:lnTo>
                <a:lnTo>
                  <a:pt x="10998" y="3902"/>
                </a:lnTo>
                <a:lnTo>
                  <a:pt x="11002" y="3888"/>
                </a:lnTo>
                <a:lnTo>
                  <a:pt x="11008" y="3862"/>
                </a:lnTo>
                <a:lnTo>
                  <a:pt x="11014" y="3844"/>
                </a:lnTo>
                <a:lnTo>
                  <a:pt x="11018" y="3832"/>
                </a:lnTo>
                <a:lnTo>
                  <a:pt x="11018" y="3826"/>
                </a:lnTo>
                <a:lnTo>
                  <a:pt x="11018" y="3822"/>
                </a:lnTo>
                <a:lnTo>
                  <a:pt x="11016" y="3818"/>
                </a:lnTo>
                <a:lnTo>
                  <a:pt x="11016" y="3814"/>
                </a:lnTo>
                <a:lnTo>
                  <a:pt x="11020" y="3808"/>
                </a:lnTo>
                <a:lnTo>
                  <a:pt x="11020" y="3806"/>
                </a:lnTo>
                <a:lnTo>
                  <a:pt x="11020" y="3804"/>
                </a:lnTo>
                <a:lnTo>
                  <a:pt x="11020" y="3800"/>
                </a:lnTo>
                <a:lnTo>
                  <a:pt x="11016" y="3794"/>
                </a:lnTo>
                <a:close/>
                <a:moveTo>
                  <a:pt x="10494" y="4138"/>
                </a:moveTo>
                <a:lnTo>
                  <a:pt x="10494" y="4138"/>
                </a:lnTo>
                <a:lnTo>
                  <a:pt x="10504" y="4142"/>
                </a:lnTo>
                <a:lnTo>
                  <a:pt x="10510" y="4142"/>
                </a:lnTo>
                <a:lnTo>
                  <a:pt x="10512" y="4142"/>
                </a:lnTo>
                <a:lnTo>
                  <a:pt x="10514" y="4144"/>
                </a:lnTo>
                <a:lnTo>
                  <a:pt x="10518" y="4148"/>
                </a:lnTo>
                <a:lnTo>
                  <a:pt x="10522" y="4148"/>
                </a:lnTo>
                <a:lnTo>
                  <a:pt x="10526" y="4148"/>
                </a:lnTo>
                <a:lnTo>
                  <a:pt x="10528" y="4142"/>
                </a:lnTo>
                <a:lnTo>
                  <a:pt x="10528" y="4140"/>
                </a:lnTo>
                <a:lnTo>
                  <a:pt x="10530" y="4138"/>
                </a:lnTo>
                <a:lnTo>
                  <a:pt x="10534" y="4138"/>
                </a:lnTo>
                <a:lnTo>
                  <a:pt x="10540" y="4138"/>
                </a:lnTo>
                <a:lnTo>
                  <a:pt x="10542" y="4136"/>
                </a:lnTo>
                <a:lnTo>
                  <a:pt x="10542" y="4132"/>
                </a:lnTo>
                <a:lnTo>
                  <a:pt x="10544" y="4130"/>
                </a:lnTo>
                <a:lnTo>
                  <a:pt x="10546" y="4128"/>
                </a:lnTo>
                <a:lnTo>
                  <a:pt x="10552" y="4124"/>
                </a:lnTo>
                <a:lnTo>
                  <a:pt x="10556" y="4124"/>
                </a:lnTo>
                <a:lnTo>
                  <a:pt x="10558" y="4120"/>
                </a:lnTo>
                <a:lnTo>
                  <a:pt x="10560" y="4116"/>
                </a:lnTo>
                <a:lnTo>
                  <a:pt x="10560" y="4110"/>
                </a:lnTo>
                <a:lnTo>
                  <a:pt x="10562" y="4100"/>
                </a:lnTo>
                <a:lnTo>
                  <a:pt x="10568" y="4090"/>
                </a:lnTo>
                <a:lnTo>
                  <a:pt x="10574" y="4082"/>
                </a:lnTo>
                <a:lnTo>
                  <a:pt x="10578" y="4078"/>
                </a:lnTo>
                <a:lnTo>
                  <a:pt x="10580" y="4074"/>
                </a:lnTo>
                <a:lnTo>
                  <a:pt x="10580" y="4068"/>
                </a:lnTo>
                <a:lnTo>
                  <a:pt x="10578" y="4060"/>
                </a:lnTo>
                <a:lnTo>
                  <a:pt x="10574" y="4058"/>
                </a:lnTo>
                <a:lnTo>
                  <a:pt x="10570" y="4056"/>
                </a:lnTo>
                <a:lnTo>
                  <a:pt x="10568" y="4052"/>
                </a:lnTo>
                <a:lnTo>
                  <a:pt x="10566" y="4052"/>
                </a:lnTo>
                <a:lnTo>
                  <a:pt x="10562" y="4054"/>
                </a:lnTo>
                <a:lnTo>
                  <a:pt x="10558" y="4056"/>
                </a:lnTo>
                <a:lnTo>
                  <a:pt x="10554" y="4056"/>
                </a:lnTo>
                <a:lnTo>
                  <a:pt x="10548" y="4056"/>
                </a:lnTo>
                <a:lnTo>
                  <a:pt x="10542" y="4058"/>
                </a:lnTo>
                <a:lnTo>
                  <a:pt x="10540" y="4060"/>
                </a:lnTo>
                <a:lnTo>
                  <a:pt x="10536" y="4060"/>
                </a:lnTo>
                <a:lnTo>
                  <a:pt x="10530" y="4058"/>
                </a:lnTo>
                <a:lnTo>
                  <a:pt x="10526" y="4058"/>
                </a:lnTo>
                <a:lnTo>
                  <a:pt x="10522" y="4058"/>
                </a:lnTo>
                <a:lnTo>
                  <a:pt x="10520" y="4060"/>
                </a:lnTo>
                <a:lnTo>
                  <a:pt x="10518" y="4064"/>
                </a:lnTo>
                <a:lnTo>
                  <a:pt x="10514" y="4062"/>
                </a:lnTo>
                <a:lnTo>
                  <a:pt x="10512" y="4062"/>
                </a:lnTo>
                <a:lnTo>
                  <a:pt x="10510" y="4062"/>
                </a:lnTo>
                <a:lnTo>
                  <a:pt x="10508" y="4064"/>
                </a:lnTo>
                <a:lnTo>
                  <a:pt x="10504" y="4068"/>
                </a:lnTo>
                <a:lnTo>
                  <a:pt x="10504" y="4070"/>
                </a:lnTo>
                <a:lnTo>
                  <a:pt x="10502" y="4074"/>
                </a:lnTo>
                <a:lnTo>
                  <a:pt x="10496" y="4082"/>
                </a:lnTo>
                <a:lnTo>
                  <a:pt x="10492" y="4084"/>
                </a:lnTo>
                <a:lnTo>
                  <a:pt x="10488" y="4088"/>
                </a:lnTo>
                <a:lnTo>
                  <a:pt x="10484" y="4096"/>
                </a:lnTo>
                <a:lnTo>
                  <a:pt x="10484" y="4108"/>
                </a:lnTo>
                <a:lnTo>
                  <a:pt x="10484" y="4118"/>
                </a:lnTo>
                <a:lnTo>
                  <a:pt x="10486" y="4126"/>
                </a:lnTo>
                <a:lnTo>
                  <a:pt x="10488" y="4132"/>
                </a:lnTo>
                <a:lnTo>
                  <a:pt x="10494" y="4138"/>
                </a:lnTo>
                <a:close/>
                <a:moveTo>
                  <a:pt x="10696" y="3976"/>
                </a:moveTo>
                <a:lnTo>
                  <a:pt x="10696" y="3976"/>
                </a:lnTo>
                <a:lnTo>
                  <a:pt x="10698" y="3978"/>
                </a:lnTo>
                <a:lnTo>
                  <a:pt x="10702" y="3978"/>
                </a:lnTo>
                <a:lnTo>
                  <a:pt x="10706" y="3976"/>
                </a:lnTo>
                <a:lnTo>
                  <a:pt x="10708" y="3974"/>
                </a:lnTo>
                <a:lnTo>
                  <a:pt x="10708" y="3968"/>
                </a:lnTo>
                <a:lnTo>
                  <a:pt x="10706" y="3962"/>
                </a:lnTo>
                <a:lnTo>
                  <a:pt x="10708" y="3958"/>
                </a:lnTo>
                <a:lnTo>
                  <a:pt x="10708" y="3954"/>
                </a:lnTo>
                <a:lnTo>
                  <a:pt x="10708" y="3952"/>
                </a:lnTo>
                <a:lnTo>
                  <a:pt x="10706" y="3950"/>
                </a:lnTo>
                <a:lnTo>
                  <a:pt x="10702" y="3952"/>
                </a:lnTo>
                <a:lnTo>
                  <a:pt x="10702" y="3950"/>
                </a:lnTo>
                <a:lnTo>
                  <a:pt x="10702" y="3948"/>
                </a:lnTo>
                <a:lnTo>
                  <a:pt x="10700" y="3948"/>
                </a:lnTo>
                <a:lnTo>
                  <a:pt x="10698" y="3948"/>
                </a:lnTo>
                <a:lnTo>
                  <a:pt x="10698" y="3952"/>
                </a:lnTo>
                <a:lnTo>
                  <a:pt x="10696" y="3954"/>
                </a:lnTo>
                <a:lnTo>
                  <a:pt x="10694" y="3958"/>
                </a:lnTo>
                <a:lnTo>
                  <a:pt x="10690" y="3960"/>
                </a:lnTo>
                <a:lnTo>
                  <a:pt x="10690" y="3966"/>
                </a:lnTo>
                <a:lnTo>
                  <a:pt x="10690" y="3974"/>
                </a:lnTo>
                <a:lnTo>
                  <a:pt x="10692" y="3974"/>
                </a:lnTo>
                <a:lnTo>
                  <a:pt x="10696" y="3976"/>
                </a:lnTo>
                <a:close/>
              </a:path>
            </a:pathLst>
          </a:custGeom>
          <a:solidFill>
            <a:srgbClr val="AFABAB"/>
          </a:solidFill>
          <a:ln w="9525">
            <a:noFill/>
            <a:round/>
            <a:headEnd/>
            <a:tailEnd/>
          </a:ln>
          <a:effectLst/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ID" dirty="0"/>
              <a:t>PowerPoint Templates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852138-FCC6-44DD-9FFC-1C789392E7AA}" type="datetime1">
              <a:rPr lang="en-US" smtClean="0"/>
              <a:t>11/15/2018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06E70-9524-410D-AE9B-78D656EAA14D}" type="slidenum">
              <a:rPr lang="en-US" smtClean="0"/>
              <a:pPr/>
              <a:t>21</a:t>
            </a:fld>
            <a:endParaRPr lang="en-US"/>
          </a:p>
        </p:txBody>
      </p:sp>
      <p:grpSp>
        <p:nvGrpSpPr>
          <p:cNvPr id="5" name="Group 4"/>
          <p:cNvGrpSpPr/>
          <p:nvPr/>
        </p:nvGrpSpPr>
        <p:grpSpPr>
          <a:xfrm>
            <a:off x="0" y="1773875"/>
            <a:ext cx="12192000" cy="3954188"/>
            <a:chOff x="-1524000" y="1773875"/>
            <a:chExt cx="12192000" cy="3954188"/>
          </a:xfrm>
        </p:grpSpPr>
        <p:cxnSp>
          <p:nvCxnSpPr>
            <p:cNvPr id="87" name="Straight Connector 86"/>
            <p:cNvCxnSpPr/>
            <p:nvPr/>
          </p:nvCxnSpPr>
          <p:spPr>
            <a:xfrm>
              <a:off x="-1524000" y="3791977"/>
              <a:ext cx="12192000" cy="0"/>
            </a:xfrm>
            <a:prstGeom prst="line">
              <a:avLst/>
            </a:prstGeom>
            <a:noFill/>
            <a:ln w="28575">
              <a:solidFill>
                <a:srgbClr val="25232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38" name="Hexagon 37"/>
            <p:cNvSpPr/>
            <p:nvPr/>
          </p:nvSpPr>
          <p:spPr>
            <a:xfrm>
              <a:off x="611188" y="3357563"/>
              <a:ext cx="1007840" cy="868828"/>
            </a:xfrm>
            <a:prstGeom prst="hexagon">
              <a:avLst/>
            </a:prstGeom>
            <a:solidFill>
              <a:srgbClr val="E2583D"/>
            </a:solidFill>
            <a:ln w="28575">
              <a:solidFill>
                <a:srgbClr val="D63E20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 Light"/>
                <a:ea typeface="+mn-ea"/>
                <a:cs typeface="+mn-cs"/>
              </a:endParaRPr>
            </a:p>
          </p:txBody>
        </p:sp>
        <p:sp>
          <p:nvSpPr>
            <p:cNvPr id="40" name="Hexagon 39"/>
            <p:cNvSpPr/>
            <p:nvPr/>
          </p:nvSpPr>
          <p:spPr>
            <a:xfrm>
              <a:off x="7524973" y="3357563"/>
              <a:ext cx="1007840" cy="868828"/>
            </a:xfrm>
            <a:prstGeom prst="hexagon">
              <a:avLst/>
            </a:prstGeom>
            <a:solidFill>
              <a:srgbClr val="78D2D2"/>
            </a:solidFill>
            <a:ln w="28575">
              <a:solidFill>
                <a:srgbClr val="4CC7C4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 Light"/>
                <a:ea typeface="+mn-ea"/>
                <a:cs typeface="+mn-cs"/>
              </a:endParaRPr>
            </a:p>
          </p:txBody>
        </p:sp>
        <p:sp>
          <p:nvSpPr>
            <p:cNvPr id="41" name="Hexagon 40"/>
            <p:cNvSpPr/>
            <p:nvPr/>
          </p:nvSpPr>
          <p:spPr>
            <a:xfrm>
              <a:off x="5796526" y="3357563"/>
              <a:ext cx="1007840" cy="868828"/>
            </a:xfrm>
            <a:prstGeom prst="hexagon">
              <a:avLst/>
            </a:prstGeom>
            <a:solidFill>
              <a:srgbClr val="E2583D"/>
            </a:solidFill>
            <a:ln w="28575">
              <a:solidFill>
                <a:srgbClr val="D63E20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 Light"/>
                <a:ea typeface="+mn-ea"/>
                <a:cs typeface="+mn-cs"/>
              </a:endParaRPr>
            </a:p>
          </p:txBody>
        </p:sp>
        <p:sp>
          <p:nvSpPr>
            <p:cNvPr id="42" name="Hexagon 41"/>
            <p:cNvSpPr/>
            <p:nvPr/>
          </p:nvSpPr>
          <p:spPr>
            <a:xfrm>
              <a:off x="2339634" y="3357563"/>
              <a:ext cx="1007840" cy="868828"/>
            </a:xfrm>
            <a:prstGeom prst="hexagon">
              <a:avLst/>
            </a:prstGeom>
            <a:solidFill>
              <a:srgbClr val="78D2D2"/>
            </a:solidFill>
            <a:ln w="28575">
              <a:solidFill>
                <a:srgbClr val="4CC7C4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 Light"/>
                <a:ea typeface="+mn-ea"/>
                <a:cs typeface="+mn-cs"/>
              </a:endParaRPr>
            </a:p>
          </p:txBody>
        </p:sp>
        <p:sp>
          <p:nvSpPr>
            <p:cNvPr id="43" name="Hexagon 42"/>
            <p:cNvSpPr/>
            <p:nvPr/>
          </p:nvSpPr>
          <p:spPr>
            <a:xfrm>
              <a:off x="4068080" y="3357563"/>
              <a:ext cx="1007840" cy="868828"/>
            </a:xfrm>
            <a:prstGeom prst="hexagon">
              <a:avLst/>
            </a:prstGeom>
            <a:solidFill>
              <a:srgbClr val="3B3939"/>
            </a:solidFill>
            <a:ln w="28575">
              <a:solidFill>
                <a:srgbClr val="252323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 Light"/>
                <a:ea typeface="+mn-ea"/>
                <a:cs typeface="+mn-cs"/>
              </a:endParaRPr>
            </a:p>
          </p:txBody>
        </p:sp>
        <p:sp>
          <p:nvSpPr>
            <p:cNvPr id="48" name="Text Placeholder 2"/>
            <p:cNvSpPr txBox="1">
              <a:spLocks/>
            </p:cNvSpPr>
            <p:nvPr/>
          </p:nvSpPr>
          <p:spPr>
            <a:xfrm>
              <a:off x="832013" y="3667328"/>
              <a:ext cx="566191" cy="2492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2000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9" name="Text Placeholder 2"/>
            <p:cNvSpPr txBox="1">
              <a:spLocks/>
            </p:cNvSpPr>
            <p:nvPr/>
          </p:nvSpPr>
          <p:spPr>
            <a:xfrm>
              <a:off x="2560459" y="3667328"/>
              <a:ext cx="566191" cy="2492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2005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50" name="Text Placeholder 2"/>
            <p:cNvSpPr txBox="1">
              <a:spLocks/>
            </p:cNvSpPr>
            <p:nvPr/>
          </p:nvSpPr>
          <p:spPr>
            <a:xfrm>
              <a:off x="4288905" y="3667328"/>
              <a:ext cx="566191" cy="2492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2010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51" name="Text Placeholder 2"/>
            <p:cNvSpPr txBox="1">
              <a:spLocks/>
            </p:cNvSpPr>
            <p:nvPr/>
          </p:nvSpPr>
          <p:spPr>
            <a:xfrm>
              <a:off x="6010312" y="3667328"/>
              <a:ext cx="566191" cy="2492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2015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52" name="Text Placeholder 2"/>
            <p:cNvSpPr txBox="1">
              <a:spLocks/>
            </p:cNvSpPr>
            <p:nvPr/>
          </p:nvSpPr>
          <p:spPr>
            <a:xfrm>
              <a:off x="7720626" y="3667328"/>
              <a:ext cx="566191" cy="2492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2020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53" name="Text Placeholder 2"/>
            <p:cNvSpPr txBox="1">
              <a:spLocks/>
            </p:cNvSpPr>
            <p:nvPr/>
          </p:nvSpPr>
          <p:spPr>
            <a:xfrm>
              <a:off x="611188" y="5035566"/>
              <a:ext cx="1442114" cy="69249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5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Lorem Ipsum is simply dummy text of the printing and typesetting industry.</a:t>
              </a:r>
            </a:p>
          </p:txBody>
        </p:sp>
        <p:sp>
          <p:nvSpPr>
            <p:cNvPr id="54" name="Rectangle 53"/>
            <p:cNvSpPr/>
            <p:nvPr/>
          </p:nvSpPr>
          <p:spPr>
            <a:xfrm>
              <a:off x="611188" y="4737169"/>
              <a:ext cx="1442114" cy="276536"/>
            </a:xfrm>
            <a:prstGeom prst="rect">
              <a:avLst/>
            </a:prstGeom>
            <a:solidFill>
              <a:srgbClr val="E2583D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 Light"/>
                <a:ea typeface="+mn-ea"/>
                <a:cs typeface="+mn-cs"/>
              </a:endParaRPr>
            </a:p>
          </p:txBody>
        </p:sp>
        <p:sp>
          <p:nvSpPr>
            <p:cNvPr id="55" name="Text Placeholder 2"/>
            <p:cNvSpPr txBox="1">
              <a:spLocks/>
            </p:cNvSpPr>
            <p:nvPr/>
          </p:nvSpPr>
          <p:spPr>
            <a:xfrm>
              <a:off x="684745" y="4807578"/>
              <a:ext cx="1295000" cy="1661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LOREM IPSUM</a:t>
              </a:r>
            </a:p>
          </p:txBody>
        </p:sp>
        <p:cxnSp>
          <p:nvCxnSpPr>
            <p:cNvPr id="56" name="Straight Connector 55"/>
            <p:cNvCxnSpPr/>
            <p:nvPr/>
          </p:nvCxnSpPr>
          <p:spPr>
            <a:xfrm>
              <a:off x="1115108" y="4226391"/>
              <a:ext cx="0" cy="397436"/>
            </a:xfrm>
            <a:prstGeom prst="line">
              <a:avLst/>
            </a:prstGeom>
            <a:noFill/>
            <a:ln w="6350" cap="flat">
              <a:solidFill>
                <a:srgbClr val="D63E2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cxnSp>
        <p:grpSp>
          <p:nvGrpSpPr>
            <p:cNvPr id="57" name="Group 56"/>
            <p:cNvGrpSpPr/>
            <p:nvPr/>
          </p:nvGrpSpPr>
          <p:grpSpPr>
            <a:xfrm>
              <a:off x="3872529" y="4737169"/>
              <a:ext cx="1442114" cy="990894"/>
              <a:chOff x="4068080" y="4374192"/>
              <a:chExt cx="1442114" cy="990894"/>
            </a:xfrm>
          </p:grpSpPr>
          <p:sp>
            <p:nvSpPr>
              <p:cNvPr id="58" name="Text Placeholder 2"/>
              <p:cNvSpPr txBox="1">
                <a:spLocks/>
              </p:cNvSpPr>
              <p:nvPr/>
            </p:nvSpPr>
            <p:spPr>
              <a:xfrm>
                <a:off x="4068080" y="4672589"/>
                <a:ext cx="1442114" cy="692497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indent="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Font typeface="Arial" panose="020B0604020202020204" pitchFamily="34" charset="0"/>
                  <a:buNone/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234000" indent="-23400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234000" indent="-23400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234000" indent="-23400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34000" indent="-23400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5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ea typeface="+mn-ea"/>
                    <a:cs typeface="+mn-cs"/>
                  </a:rPr>
                  <a:t>Lorem Ipsum is simply dummy text of the printing and typesetting industry.</a:t>
                </a:r>
              </a:p>
            </p:txBody>
          </p:sp>
          <p:sp>
            <p:nvSpPr>
              <p:cNvPr id="61" name="Rectangle 60"/>
              <p:cNvSpPr/>
              <p:nvPr/>
            </p:nvSpPr>
            <p:spPr>
              <a:xfrm>
                <a:off x="4068080" y="4374192"/>
                <a:ext cx="1442114" cy="276536"/>
              </a:xfrm>
              <a:prstGeom prst="rect">
                <a:avLst/>
              </a:prstGeom>
              <a:solidFill>
                <a:srgbClr val="3B3939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Open Sans Light"/>
                  <a:ea typeface="+mn-ea"/>
                  <a:cs typeface="+mn-cs"/>
                </a:endParaRPr>
              </a:p>
            </p:txBody>
          </p:sp>
          <p:sp>
            <p:nvSpPr>
              <p:cNvPr id="71" name="Text Placeholder 2"/>
              <p:cNvSpPr txBox="1">
                <a:spLocks/>
              </p:cNvSpPr>
              <p:nvPr/>
            </p:nvSpPr>
            <p:spPr>
              <a:xfrm>
                <a:off x="4141637" y="4444601"/>
                <a:ext cx="1295000" cy="166199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indent="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Font typeface="Arial" panose="020B0604020202020204" pitchFamily="34" charset="0"/>
                  <a:buNone/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234000" indent="-23400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234000" indent="-23400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234000" indent="-23400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34000" indent="-23400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LOREM IPSUM</a:t>
                </a:r>
              </a:p>
            </p:txBody>
          </p:sp>
        </p:grpSp>
        <p:cxnSp>
          <p:nvCxnSpPr>
            <p:cNvPr id="72" name="Straight Connector 71"/>
            <p:cNvCxnSpPr/>
            <p:nvPr/>
          </p:nvCxnSpPr>
          <p:spPr>
            <a:xfrm>
              <a:off x="4572000" y="4226391"/>
              <a:ext cx="0" cy="397436"/>
            </a:xfrm>
            <a:prstGeom prst="line">
              <a:avLst/>
            </a:prstGeom>
            <a:noFill/>
            <a:ln w="6350" cap="flat">
              <a:solidFill>
                <a:srgbClr val="25232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cxnSp>
        <p:sp>
          <p:nvSpPr>
            <p:cNvPr id="73" name="Text Placeholder 2"/>
            <p:cNvSpPr txBox="1">
              <a:spLocks/>
            </p:cNvSpPr>
            <p:nvPr/>
          </p:nvSpPr>
          <p:spPr>
            <a:xfrm>
              <a:off x="7090699" y="5035566"/>
              <a:ext cx="1442114" cy="69249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5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Lorem Ipsum is simply dummy text of the printing and typesetting industry.</a:t>
              </a:r>
            </a:p>
          </p:txBody>
        </p:sp>
        <p:sp>
          <p:nvSpPr>
            <p:cNvPr id="74" name="Rectangle 73"/>
            <p:cNvSpPr/>
            <p:nvPr/>
          </p:nvSpPr>
          <p:spPr>
            <a:xfrm>
              <a:off x="7090699" y="4737169"/>
              <a:ext cx="1442114" cy="276536"/>
            </a:xfrm>
            <a:prstGeom prst="rect">
              <a:avLst/>
            </a:prstGeom>
            <a:solidFill>
              <a:srgbClr val="78D2D2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 Light"/>
                <a:ea typeface="+mn-ea"/>
                <a:cs typeface="+mn-cs"/>
              </a:endParaRPr>
            </a:p>
          </p:txBody>
        </p:sp>
        <p:sp>
          <p:nvSpPr>
            <p:cNvPr id="75" name="Text Placeholder 2"/>
            <p:cNvSpPr txBox="1">
              <a:spLocks/>
            </p:cNvSpPr>
            <p:nvPr/>
          </p:nvSpPr>
          <p:spPr>
            <a:xfrm>
              <a:off x="7164256" y="4807578"/>
              <a:ext cx="1295000" cy="1661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LOREM IPSUM</a:t>
              </a:r>
            </a:p>
          </p:txBody>
        </p:sp>
        <p:cxnSp>
          <p:nvCxnSpPr>
            <p:cNvPr id="76" name="Straight Connector 75"/>
            <p:cNvCxnSpPr/>
            <p:nvPr/>
          </p:nvCxnSpPr>
          <p:spPr>
            <a:xfrm>
              <a:off x="8028893" y="4226391"/>
              <a:ext cx="0" cy="397436"/>
            </a:xfrm>
            <a:prstGeom prst="line">
              <a:avLst/>
            </a:prstGeom>
            <a:noFill/>
            <a:ln w="6350" cap="flat">
              <a:solidFill>
                <a:srgbClr val="4CC7C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cxnSp>
        <p:cxnSp>
          <p:nvCxnSpPr>
            <p:cNvPr id="77" name="Straight Connector 76"/>
            <p:cNvCxnSpPr/>
            <p:nvPr/>
          </p:nvCxnSpPr>
          <p:spPr>
            <a:xfrm>
              <a:off x="2843554" y="2960127"/>
              <a:ext cx="0" cy="397436"/>
            </a:xfrm>
            <a:prstGeom prst="line">
              <a:avLst/>
            </a:prstGeom>
            <a:noFill/>
            <a:ln w="6350" cap="flat">
              <a:solidFill>
                <a:srgbClr val="4CC7C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cxnSp>
        <p:grpSp>
          <p:nvGrpSpPr>
            <p:cNvPr id="78" name="Group 77"/>
            <p:cNvGrpSpPr/>
            <p:nvPr/>
          </p:nvGrpSpPr>
          <p:grpSpPr>
            <a:xfrm>
              <a:off x="2122497" y="1773875"/>
              <a:ext cx="1442114" cy="1087890"/>
              <a:chOff x="4068080" y="4842356"/>
              <a:chExt cx="1442114" cy="1087890"/>
            </a:xfrm>
          </p:grpSpPr>
          <p:sp>
            <p:nvSpPr>
              <p:cNvPr id="79" name="Text Placeholder 2"/>
              <p:cNvSpPr txBox="1">
                <a:spLocks/>
              </p:cNvSpPr>
              <p:nvPr/>
            </p:nvSpPr>
            <p:spPr>
              <a:xfrm>
                <a:off x="4068080" y="4842356"/>
                <a:ext cx="1442114" cy="692497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indent="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Font typeface="Arial" panose="020B0604020202020204" pitchFamily="34" charset="0"/>
                  <a:buNone/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234000" indent="-23400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234000" indent="-23400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234000" indent="-23400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34000" indent="-23400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5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ea typeface="+mn-ea"/>
                    <a:cs typeface="+mn-cs"/>
                  </a:rPr>
                  <a:t>Lorem Ipsum is simply dummy text of the printing and typesetting industry.</a:t>
                </a:r>
              </a:p>
            </p:txBody>
          </p:sp>
          <p:sp>
            <p:nvSpPr>
              <p:cNvPr id="80" name="Rectangle 79"/>
              <p:cNvSpPr/>
              <p:nvPr/>
            </p:nvSpPr>
            <p:spPr>
              <a:xfrm>
                <a:off x="4068080" y="5653710"/>
                <a:ext cx="1442114" cy="276536"/>
              </a:xfrm>
              <a:prstGeom prst="rect">
                <a:avLst/>
              </a:prstGeom>
              <a:solidFill>
                <a:srgbClr val="78D2D2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Open Sans Light"/>
                  <a:ea typeface="+mn-ea"/>
                  <a:cs typeface="+mn-cs"/>
                </a:endParaRPr>
              </a:p>
            </p:txBody>
          </p:sp>
          <p:sp>
            <p:nvSpPr>
              <p:cNvPr id="81" name="Text Placeholder 2"/>
              <p:cNvSpPr txBox="1">
                <a:spLocks/>
              </p:cNvSpPr>
              <p:nvPr/>
            </p:nvSpPr>
            <p:spPr>
              <a:xfrm>
                <a:off x="4141637" y="5724119"/>
                <a:ext cx="1295000" cy="166199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indent="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Font typeface="Arial" panose="020B0604020202020204" pitchFamily="34" charset="0"/>
                  <a:buNone/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234000" indent="-23400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234000" indent="-23400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234000" indent="-23400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34000" indent="-23400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LOREM IPSUM</a:t>
                </a:r>
              </a:p>
            </p:txBody>
          </p:sp>
        </p:grpSp>
        <p:cxnSp>
          <p:nvCxnSpPr>
            <p:cNvPr id="82" name="Straight Connector 81"/>
            <p:cNvCxnSpPr/>
            <p:nvPr/>
          </p:nvCxnSpPr>
          <p:spPr>
            <a:xfrm>
              <a:off x="6300446" y="2960127"/>
              <a:ext cx="0" cy="397436"/>
            </a:xfrm>
            <a:prstGeom prst="line">
              <a:avLst/>
            </a:prstGeom>
            <a:noFill/>
            <a:ln w="6350" cap="flat">
              <a:solidFill>
                <a:srgbClr val="D63E2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cxnSp>
        <p:grpSp>
          <p:nvGrpSpPr>
            <p:cNvPr id="83" name="Group 82"/>
            <p:cNvGrpSpPr/>
            <p:nvPr/>
          </p:nvGrpSpPr>
          <p:grpSpPr>
            <a:xfrm>
              <a:off x="5579389" y="1773875"/>
              <a:ext cx="1442114" cy="1087890"/>
              <a:chOff x="4068080" y="4842356"/>
              <a:chExt cx="1442114" cy="1087890"/>
            </a:xfrm>
          </p:grpSpPr>
          <p:sp>
            <p:nvSpPr>
              <p:cNvPr id="84" name="Text Placeholder 2"/>
              <p:cNvSpPr txBox="1">
                <a:spLocks/>
              </p:cNvSpPr>
              <p:nvPr/>
            </p:nvSpPr>
            <p:spPr>
              <a:xfrm>
                <a:off x="4068080" y="4842356"/>
                <a:ext cx="1442114" cy="692497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indent="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Font typeface="Arial" panose="020B0604020202020204" pitchFamily="34" charset="0"/>
                  <a:buNone/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234000" indent="-23400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234000" indent="-23400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234000" indent="-23400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34000" indent="-23400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5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ea typeface="+mn-ea"/>
                    <a:cs typeface="+mn-cs"/>
                  </a:rPr>
                  <a:t>Lorem Ipsum is simply dummy text of the printing and typesetting industry.</a:t>
                </a:r>
              </a:p>
            </p:txBody>
          </p:sp>
          <p:sp>
            <p:nvSpPr>
              <p:cNvPr id="85" name="Rectangle 84"/>
              <p:cNvSpPr/>
              <p:nvPr/>
            </p:nvSpPr>
            <p:spPr>
              <a:xfrm>
                <a:off x="4068080" y="5653710"/>
                <a:ext cx="1442114" cy="276536"/>
              </a:xfrm>
              <a:prstGeom prst="rect">
                <a:avLst/>
              </a:prstGeom>
              <a:solidFill>
                <a:srgbClr val="E2583D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Open Sans Light"/>
                  <a:ea typeface="+mn-ea"/>
                  <a:cs typeface="+mn-cs"/>
                </a:endParaRPr>
              </a:p>
            </p:txBody>
          </p:sp>
          <p:sp>
            <p:nvSpPr>
              <p:cNvPr id="86" name="Text Placeholder 2"/>
              <p:cNvSpPr txBox="1">
                <a:spLocks/>
              </p:cNvSpPr>
              <p:nvPr/>
            </p:nvSpPr>
            <p:spPr>
              <a:xfrm>
                <a:off x="4141637" y="5724119"/>
                <a:ext cx="1295000" cy="166199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indent="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Font typeface="Arial" panose="020B0604020202020204" pitchFamily="34" charset="0"/>
                  <a:buNone/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234000" indent="-23400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234000" indent="-23400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234000" indent="-23400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34000" indent="-23400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LOREM IPSUM</a:t>
                </a:r>
              </a:p>
            </p:txBody>
          </p:sp>
        </p:grpSp>
      </p:grpSp>
      <p:sp>
        <p:nvSpPr>
          <p:cNvPr id="88" name="Rectangle 87"/>
          <p:cNvSpPr/>
          <p:nvPr/>
        </p:nvSpPr>
        <p:spPr>
          <a:xfrm>
            <a:off x="12344400" y="0"/>
            <a:ext cx="469900" cy="469900"/>
          </a:xfrm>
          <a:prstGeom prst="rect">
            <a:avLst/>
          </a:pr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9" name="Rectangle 88"/>
          <p:cNvSpPr/>
          <p:nvPr/>
        </p:nvSpPr>
        <p:spPr>
          <a:xfrm>
            <a:off x="12344400" y="649557"/>
            <a:ext cx="469900" cy="469900"/>
          </a:xfrm>
          <a:prstGeom prst="rect">
            <a:avLst/>
          </a:prstGeom>
          <a:solidFill>
            <a:srgbClr val="AFAB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0" name="Rectangle 89"/>
          <p:cNvSpPr/>
          <p:nvPr/>
        </p:nvSpPr>
        <p:spPr>
          <a:xfrm>
            <a:off x="12344400" y="1299114"/>
            <a:ext cx="469900" cy="469900"/>
          </a:xfrm>
          <a:prstGeom prst="rect">
            <a:avLst/>
          </a:prstGeom>
          <a:solidFill>
            <a:srgbClr val="7671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1" name="Rectangle 90"/>
          <p:cNvSpPr/>
          <p:nvPr/>
        </p:nvSpPr>
        <p:spPr>
          <a:xfrm>
            <a:off x="12966699" y="0"/>
            <a:ext cx="469900" cy="469900"/>
          </a:xfrm>
          <a:prstGeom prst="rect">
            <a:avLst/>
          </a:prstGeom>
          <a:solidFill>
            <a:srgbClr val="E878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2" name="Rectangle 91"/>
          <p:cNvSpPr/>
          <p:nvPr/>
        </p:nvSpPr>
        <p:spPr>
          <a:xfrm>
            <a:off x="12966699" y="649557"/>
            <a:ext cx="469900" cy="469900"/>
          </a:xfrm>
          <a:prstGeom prst="rect">
            <a:avLst/>
          </a:prstGeom>
          <a:solidFill>
            <a:srgbClr val="E258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3" name="Rectangle 92"/>
          <p:cNvSpPr/>
          <p:nvPr/>
        </p:nvSpPr>
        <p:spPr>
          <a:xfrm>
            <a:off x="12966699" y="1299114"/>
            <a:ext cx="469900" cy="469900"/>
          </a:xfrm>
          <a:prstGeom prst="rect">
            <a:avLst/>
          </a:prstGeom>
          <a:solidFill>
            <a:srgbClr val="D63E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4" name="Rectangle 93"/>
          <p:cNvSpPr/>
          <p:nvPr/>
        </p:nvSpPr>
        <p:spPr>
          <a:xfrm>
            <a:off x="13588998" y="0"/>
            <a:ext cx="469900" cy="469900"/>
          </a:xfrm>
          <a:prstGeom prst="rect">
            <a:avLst/>
          </a:prstGeom>
          <a:solidFill>
            <a:srgbClr val="8EDC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5" name="Rectangle 94"/>
          <p:cNvSpPr/>
          <p:nvPr/>
        </p:nvSpPr>
        <p:spPr>
          <a:xfrm>
            <a:off x="13588998" y="649557"/>
            <a:ext cx="469900" cy="469900"/>
          </a:xfrm>
          <a:prstGeom prst="rect">
            <a:avLst/>
          </a:prstGeom>
          <a:solidFill>
            <a:srgbClr val="78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6" name="Rectangle 95"/>
          <p:cNvSpPr/>
          <p:nvPr/>
        </p:nvSpPr>
        <p:spPr>
          <a:xfrm>
            <a:off x="13588998" y="1299114"/>
            <a:ext cx="469900" cy="469900"/>
          </a:xfrm>
          <a:prstGeom prst="rect">
            <a:avLst/>
          </a:prstGeom>
          <a:solidFill>
            <a:srgbClr val="4CC7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7" name="Rectangle 96"/>
          <p:cNvSpPr/>
          <p:nvPr/>
        </p:nvSpPr>
        <p:spPr>
          <a:xfrm>
            <a:off x="14211297" y="0"/>
            <a:ext cx="469900" cy="469900"/>
          </a:xfrm>
          <a:prstGeom prst="rect">
            <a:avLst/>
          </a:prstGeom>
          <a:solidFill>
            <a:srgbClr val="5553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9" name="Rectangle 118"/>
          <p:cNvSpPr/>
          <p:nvPr/>
        </p:nvSpPr>
        <p:spPr>
          <a:xfrm>
            <a:off x="14211297" y="649557"/>
            <a:ext cx="469900" cy="469900"/>
          </a:xfrm>
          <a:prstGeom prst="rect">
            <a:avLst/>
          </a:prstGeom>
          <a:solidFill>
            <a:srgbClr val="3B39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0" name="Rectangle 119"/>
          <p:cNvSpPr/>
          <p:nvPr/>
        </p:nvSpPr>
        <p:spPr>
          <a:xfrm>
            <a:off x="14211297" y="1299114"/>
            <a:ext cx="469900" cy="469900"/>
          </a:xfrm>
          <a:prstGeom prst="rect">
            <a:avLst/>
          </a:prstGeom>
          <a:solidFill>
            <a:srgbClr val="2523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940519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ID" dirty="0"/>
              <a:t>PowerPoint Templates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852138-FCC6-44DD-9FFC-1C789392E7AA}" type="datetime1">
              <a:rPr lang="en-US" smtClean="0"/>
              <a:t>11/15/2018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06E70-9524-410D-AE9B-78D656EAA14D}" type="slidenum">
              <a:rPr lang="en-US" smtClean="0"/>
              <a:pPr/>
              <a:t>22</a:t>
            </a:fld>
            <a:endParaRPr lang="en-US"/>
          </a:p>
        </p:txBody>
      </p:sp>
      <p:sp>
        <p:nvSpPr>
          <p:cNvPr id="88" name="Rectangle 87"/>
          <p:cNvSpPr/>
          <p:nvPr/>
        </p:nvSpPr>
        <p:spPr>
          <a:xfrm>
            <a:off x="12344400" y="0"/>
            <a:ext cx="469900" cy="469900"/>
          </a:xfrm>
          <a:prstGeom prst="rect">
            <a:avLst/>
          </a:pr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9" name="Rectangle 88"/>
          <p:cNvSpPr/>
          <p:nvPr/>
        </p:nvSpPr>
        <p:spPr>
          <a:xfrm>
            <a:off x="12344400" y="649557"/>
            <a:ext cx="469900" cy="469900"/>
          </a:xfrm>
          <a:prstGeom prst="rect">
            <a:avLst/>
          </a:prstGeom>
          <a:solidFill>
            <a:srgbClr val="AFAB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0" name="Rectangle 89"/>
          <p:cNvSpPr/>
          <p:nvPr/>
        </p:nvSpPr>
        <p:spPr>
          <a:xfrm>
            <a:off x="12344400" y="1299114"/>
            <a:ext cx="469900" cy="469900"/>
          </a:xfrm>
          <a:prstGeom prst="rect">
            <a:avLst/>
          </a:prstGeom>
          <a:solidFill>
            <a:srgbClr val="7671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1" name="Rectangle 90"/>
          <p:cNvSpPr/>
          <p:nvPr/>
        </p:nvSpPr>
        <p:spPr>
          <a:xfrm>
            <a:off x="12966699" y="0"/>
            <a:ext cx="469900" cy="469900"/>
          </a:xfrm>
          <a:prstGeom prst="rect">
            <a:avLst/>
          </a:prstGeom>
          <a:solidFill>
            <a:srgbClr val="E878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2" name="Rectangle 91"/>
          <p:cNvSpPr/>
          <p:nvPr/>
        </p:nvSpPr>
        <p:spPr>
          <a:xfrm>
            <a:off x="12966699" y="649557"/>
            <a:ext cx="469900" cy="469900"/>
          </a:xfrm>
          <a:prstGeom prst="rect">
            <a:avLst/>
          </a:prstGeom>
          <a:solidFill>
            <a:srgbClr val="E258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3" name="Rectangle 92"/>
          <p:cNvSpPr/>
          <p:nvPr/>
        </p:nvSpPr>
        <p:spPr>
          <a:xfrm>
            <a:off x="12966699" y="1299114"/>
            <a:ext cx="469900" cy="469900"/>
          </a:xfrm>
          <a:prstGeom prst="rect">
            <a:avLst/>
          </a:prstGeom>
          <a:solidFill>
            <a:srgbClr val="D63E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4" name="Rectangle 93"/>
          <p:cNvSpPr/>
          <p:nvPr/>
        </p:nvSpPr>
        <p:spPr>
          <a:xfrm>
            <a:off x="13588998" y="0"/>
            <a:ext cx="469900" cy="469900"/>
          </a:xfrm>
          <a:prstGeom prst="rect">
            <a:avLst/>
          </a:prstGeom>
          <a:solidFill>
            <a:srgbClr val="8EDC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5" name="Rectangle 94"/>
          <p:cNvSpPr/>
          <p:nvPr/>
        </p:nvSpPr>
        <p:spPr>
          <a:xfrm>
            <a:off x="13588998" y="649557"/>
            <a:ext cx="469900" cy="469900"/>
          </a:xfrm>
          <a:prstGeom prst="rect">
            <a:avLst/>
          </a:prstGeom>
          <a:solidFill>
            <a:srgbClr val="78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6" name="Rectangle 95"/>
          <p:cNvSpPr/>
          <p:nvPr/>
        </p:nvSpPr>
        <p:spPr>
          <a:xfrm>
            <a:off x="13588998" y="1299114"/>
            <a:ext cx="469900" cy="469900"/>
          </a:xfrm>
          <a:prstGeom prst="rect">
            <a:avLst/>
          </a:prstGeom>
          <a:solidFill>
            <a:srgbClr val="4CC7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7" name="Rectangle 96"/>
          <p:cNvSpPr/>
          <p:nvPr/>
        </p:nvSpPr>
        <p:spPr>
          <a:xfrm>
            <a:off x="14211297" y="0"/>
            <a:ext cx="469900" cy="469900"/>
          </a:xfrm>
          <a:prstGeom prst="rect">
            <a:avLst/>
          </a:prstGeom>
          <a:solidFill>
            <a:srgbClr val="5553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9" name="Rectangle 118"/>
          <p:cNvSpPr/>
          <p:nvPr/>
        </p:nvSpPr>
        <p:spPr>
          <a:xfrm>
            <a:off x="14211297" y="649557"/>
            <a:ext cx="469900" cy="469900"/>
          </a:xfrm>
          <a:prstGeom prst="rect">
            <a:avLst/>
          </a:prstGeom>
          <a:solidFill>
            <a:srgbClr val="3B39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0" name="Rectangle 119"/>
          <p:cNvSpPr/>
          <p:nvPr/>
        </p:nvSpPr>
        <p:spPr>
          <a:xfrm>
            <a:off x="14211297" y="1299114"/>
            <a:ext cx="469900" cy="469900"/>
          </a:xfrm>
          <a:prstGeom prst="rect">
            <a:avLst/>
          </a:prstGeom>
          <a:solidFill>
            <a:srgbClr val="2523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Freeform 33"/>
          <p:cNvSpPr>
            <a:spLocks/>
          </p:cNvSpPr>
          <p:nvPr/>
        </p:nvSpPr>
        <p:spPr bwMode="auto">
          <a:xfrm>
            <a:off x="3017603" y="2366336"/>
            <a:ext cx="170083" cy="160737"/>
          </a:xfrm>
          <a:custGeom>
            <a:avLst/>
            <a:gdLst>
              <a:gd name="T0" fmla="*/ 0 w 91"/>
              <a:gd name="T1" fmla="*/ 86 h 86"/>
              <a:gd name="T2" fmla="*/ 91 w 91"/>
              <a:gd name="T3" fmla="*/ 0 h 86"/>
              <a:gd name="T4" fmla="*/ 91 w 91"/>
              <a:gd name="T5" fmla="*/ 86 h 86"/>
              <a:gd name="T6" fmla="*/ 0 w 91"/>
              <a:gd name="T7" fmla="*/ 86 h 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91" h="86">
                <a:moveTo>
                  <a:pt x="0" y="86"/>
                </a:moveTo>
                <a:lnTo>
                  <a:pt x="91" y="0"/>
                </a:lnTo>
                <a:lnTo>
                  <a:pt x="91" y="86"/>
                </a:lnTo>
                <a:lnTo>
                  <a:pt x="0" y="86"/>
                </a:lnTo>
                <a:close/>
              </a:path>
            </a:pathLst>
          </a:custGeom>
          <a:solidFill>
            <a:srgbClr val="514A4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" name="Freeform 6"/>
          <p:cNvSpPr>
            <a:spLocks/>
          </p:cNvSpPr>
          <p:nvPr/>
        </p:nvSpPr>
        <p:spPr bwMode="auto">
          <a:xfrm>
            <a:off x="2331668" y="4547492"/>
            <a:ext cx="1786795" cy="22428"/>
          </a:xfrm>
          <a:custGeom>
            <a:avLst/>
            <a:gdLst>
              <a:gd name="T0" fmla="*/ 956 w 956"/>
              <a:gd name="T1" fmla="*/ 0 h 12"/>
              <a:gd name="T2" fmla="*/ 0 w 956"/>
              <a:gd name="T3" fmla="*/ 0 h 12"/>
              <a:gd name="T4" fmla="*/ 0 w 956"/>
              <a:gd name="T5" fmla="*/ 12 h 12"/>
              <a:gd name="T6" fmla="*/ 956 w 956"/>
              <a:gd name="T7" fmla="*/ 12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956" h="12">
                <a:moveTo>
                  <a:pt x="956" y="0"/>
                </a:moveTo>
                <a:lnTo>
                  <a:pt x="0" y="0"/>
                </a:lnTo>
                <a:lnTo>
                  <a:pt x="0" y="12"/>
                </a:lnTo>
                <a:lnTo>
                  <a:pt x="956" y="1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" name="Oval 7"/>
          <p:cNvSpPr>
            <a:spLocks noChangeArrowheads="1"/>
          </p:cNvSpPr>
          <p:nvPr/>
        </p:nvSpPr>
        <p:spPr bwMode="auto">
          <a:xfrm>
            <a:off x="2694259" y="4526933"/>
            <a:ext cx="59809" cy="61679"/>
          </a:xfrm>
          <a:prstGeom prst="ellipse">
            <a:avLst/>
          </a:prstGeom>
          <a:solidFill>
            <a:srgbClr val="78D2D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" name="Freeform 9"/>
          <p:cNvSpPr>
            <a:spLocks/>
          </p:cNvSpPr>
          <p:nvPr/>
        </p:nvSpPr>
        <p:spPr bwMode="auto">
          <a:xfrm>
            <a:off x="2331668" y="5627793"/>
            <a:ext cx="2334422" cy="22428"/>
          </a:xfrm>
          <a:custGeom>
            <a:avLst/>
            <a:gdLst>
              <a:gd name="T0" fmla="*/ 1249 w 1249"/>
              <a:gd name="T1" fmla="*/ 0 h 12"/>
              <a:gd name="T2" fmla="*/ 0 w 1249"/>
              <a:gd name="T3" fmla="*/ 0 h 12"/>
              <a:gd name="T4" fmla="*/ 0 w 1249"/>
              <a:gd name="T5" fmla="*/ 12 h 12"/>
              <a:gd name="T6" fmla="*/ 1249 w 1249"/>
              <a:gd name="T7" fmla="*/ 12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249" h="12">
                <a:moveTo>
                  <a:pt x="1249" y="0"/>
                </a:moveTo>
                <a:lnTo>
                  <a:pt x="0" y="0"/>
                </a:lnTo>
                <a:lnTo>
                  <a:pt x="0" y="12"/>
                </a:lnTo>
                <a:lnTo>
                  <a:pt x="1249" y="1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" name="Oval 10"/>
          <p:cNvSpPr>
            <a:spLocks noChangeArrowheads="1"/>
          </p:cNvSpPr>
          <p:nvPr/>
        </p:nvSpPr>
        <p:spPr bwMode="auto">
          <a:xfrm>
            <a:off x="2694259" y="5607234"/>
            <a:ext cx="59809" cy="61679"/>
          </a:xfrm>
          <a:prstGeom prst="ellipse">
            <a:avLst/>
          </a:prstGeom>
          <a:solidFill>
            <a:srgbClr val="3B393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" name="Freeform 12"/>
          <p:cNvSpPr>
            <a:spLocks/>
          </p:cNvSpPr>
          <p:nvPr/>
        </p:nvSpPr>
        <p:spPr bwMode="auto">
          <a:xfrm>
            <a:off x="2331669" y="2403713"/>
            <a:ext cx="955076" cy="22428"/>
          </a:xfrm>
          <a:custGeom>
            <a:avLst/>
            <a:gdLst>
              <a:gd name="T0" fmla="*/ 511 w 511"/>
              <a:gd name="T1" fmla="*/ 0 h 12"/>
              <a:gd name="T2" fmla="*/ 0 w 511"/>
              <a:gd name="T3" fmla="*/ 0 h 12"/>
              <a:gd name="T4" fmla="*/ 0 w 511"/>
              <a:gd name="T5" fmla="*/ 12 h 12"/>
              <a:gd name="T6" fmla="*/ 511 w 511"/>
              <a:gd name="T7" fmla="*/ 12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11" h="12">
                <a:moveTo>
                  <a:pt x="511" y="0"/>
                </a:moveTo>
                <a:lnTo>
                  <a:pt x="0" y="0"/>
                </a:lnTo>
                <a:lnTo>
                  <a:pt x="0" y="12"/>
                </a:lnTo>
                <a:lnTo>
                  <a:pt x="511" y="1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" name="Oval 13"/>
          <p:cNvSpPr>
            <a:spLocks noChangeArrowheads="1"/>
          </p:cNvSpPr>
          <p:nvPr/>
        </p:nvSpPr>
        <p:spPr bwMode="auto">
          <a:xfrm>
            <a:off x="2694259" y="2383153"/>
            <a:ext cx="59809" cy="61679"/>
          </a:xfrm>
          <a:prstGeom prst="ellipse">
            <a:avLst/>
          </a:prstGeom>
          <a:solidFill>
            <a:srgbClr val="E2583D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" name="Freeform 15"/>
          <p:cNvSpPr>
            <a:spLocks/>
          </p:cNvSpPr>
          <p:nvPr/>
        </p:nvSpPr>
        <p:spPr bwMode="auto">
          <a:xfrm>
            <a:off x="2331668" y="3467192"/>
            <a:ext cx="1293370" cy="22428"/>
          </a:xfrm>
          <a:custGeom>
            <a:avLst/>
            <a:gdLst>
              <a:gd name="T0" fmla="*/ 692 w 692"/>
              <a:gd name="T1" fmla="*/ 0 h 12"/>
              <a:gd name="T2" fmla="*/ 0 w 692"/>
              <a:gd name="T3" fmla="*/ 0 h 12"/>
              <a:gd name="T4" fmla="*/ 0 w 692"/>
              <a:gd name="T5" fmla="*/ 12 h 12"/>
              <a:gd name="T6" fmla="*/ 692 w 692"/>
              <a:gd name="T7" fmla="*/ 12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692" h="12">
                <a:moveTo>
                  <a:pt x="692" y="0"/>
                </a:moveTo>
                <a:lnTo>
                  <a:pt x="0" y="0"/>
                </a:lnTo>
                <a:lnTo>
                  <a:pt x="0" y="12"/>
                </a:lnTo>
                <a:lnTo>
                  <a:pt x="692" y="1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" name="Oval 16"/>
          <p:cNvSpPr>
            <a:spLocks noChangeArrowheads="1"/>
          </p:cNvSpPr>
          <p:nvPr/>
        </p:nvSpPr>
        <p:spPr bwMode="auto">
          <a:xfrm>
            <a:off x="2694259" y="3448501"/>
            <a:ext cx="59809" cy="59809"/>
          </a:xfrm>
          <a:prstGeom prst="ellipse">
            <a:avLst/>
          </a:prstGeom>
          <a:solidFill>
            <a:srgbClr val="AFABAB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" name="Freeform 17"/>
          <p:cNvSpPr>
            <a:spLocks/>
          </p:cNvSpPr>
          <p:nvPr/>
        </p:nvSpPr>
        <p:spPr bwMode="auto">
          <a:xfrm>
            <a:off x="4624970" y="5014751"/>
            <a:ext cx="5106196" cy="1067218"/>
          </a:xfrm>
          <a:custGeom>
            <a:avLst/>
            <a:gdLst>
              <a:gd name="T0" fmla="*/ 2732 w 2732"/>
              <a:gd name="T1" fmla="*/ 571 h 571"/>
              <a:gd name="T2" fmla="*/ 2732 w 2732"/>
              <a:gd name="T3" fmla="*/ 0 h 571"/>
              <a:gd name="T4" fmla="*/ 330 w 2732"/>
              <a:gd name="T5" fmla="*/ 0 h 571"/>
              <a:gd name="T6" fmla="*/ 0 w 2732"/>
              <a:gd name="T7" fmla="*/ 571 h 571"/>
              <a:gd name="T8" fmla="*/ 2732 w 2732"/>
              <a:gd name="T9" fmla="*/ 571 h 5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732" h="571">
                <a:moveTo>
                  <a:pt x="2732" y="571"/>
                </a:moveTo>
                <a:lnTo>
                  <a:pt x="2732" y="0"/>
                </a:lnTo>
                <a:lnTo>
                  <a:pt x="330" y="0"/>
                </a:lnTo>
                <a:lnTo>
                  <a:pt x="0" y="571"/>
                </a:lnTo>
                <a:lnTo>
                  <a:pt x="2732" y="571"/>
                </a:lnTo>
                <a:close/>
              </a:path>
            </a:pathLst>
          </a:custGeom>
          <a:solidFill>
            <a:srgbClr val="252323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8" name="Freeform 18"/>
          <p:cNvSpPr>
            <a:spLocks/>
          </p:cNvSpPr>
          <p:nvPr/>
        </p:nvSpPr>
        <p:spPr bwMode="auto">
          <a:xfrm>
            <a:off x="4624970" y="5014751"/>
            <a:ext cx="5106196" cy="1067218"/>
          </a:xfrm>
          <a:custGeom>
            <a:avLst/>
            <a:gdLst>
              <a:gd name="T0" fmla="*/ 2732 w 2732"/>
              <a:gd name="T1" fmla="*/ 571 h 571"/>
              <a:gd name="T2" fmla="*/ 2732 w 2732"/>
              <a:gd name="T3" fmla="*/ 0 h 571"/>
              <a:gd name="T4" fmla="*/ 330 w 2732"/>
              <a:gd name="T5" fmla="*/ 0 h 571"/>
              <a:gd name="T6" fmla="*/ 0 w 2732"/>
              <a:gd name="T7" fmla="*/ 571 h 571"/>
              <a:gd name="T8" fmla="*/ 2732 w 2732"/>
              <a:gd name="T9" fmla="*/ 571 h 5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732" h="571">
                <a:moveTo>
                  <a:pt x="2732" y="571"/>
                </a:moveTo>
                <a:lnTo>
                  <a:pt x="2732" y="0"/>
                </a:lnTo>
                <a:lnTo>
                  <a:pt x="330" y="0"/>
                </a:lnTo>
                <a:lnTo>
                  <a:pt x="0" y="571"/>
                </a:lnTo>
                <a:lnTo>
                  <a:pt x="2732" y="571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9" name="Freeform 19"/>
          <p:cNvSpPr>
            <a:spLocks/>
          </p:cNvSpPr>
          <p:nvPr/>
        </p:nvSpPr>
        <p:spPr bwMode="auto">
          <a:xfrm>
            <a:off x="4624970" y="3949403"/>
            <a:ext cx="5106196" cy="1065348"/>
          </a:xfrm>
          <a:custGeom>
            <a:avLst/>
            <a:gdLst>
              <a:gd name="T0" fmla="*/ 2732 w 2732"/>
              <a:gd name="T1" fmla="*/ 570 h 570"/>
              <a:gd name="T2" fmla="*/ 2732 w 2732"/>
              <a:gd name="T3" fmla="*/ 0 h 570"/>
              <a:gd name="T4" fmla="*/ 330 w 2732"/>
              <a:gd name="T5" fmla="*/ 0 h 570"/>
              <a:gd name="T6" fmla="*/ 0 w 2732"/>
              <a:gd name="T7" fmla="*/ 570 h 570"/>
              <a:gd name="T8" fmla="*/ 2732 w 2732"/>
              <a:gd name="T9" fmla="*/ 570 h 5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732" h="570">
                <a:moveTo>
                  <a:pt x="2732" y="570"/>
                </a:moveTo>
                <a:lnTo>
                  <a:pt x="2732" y="0"/>
                </a:lnTo>
                <a:lnTo>
                  <a:pt x="330" y="0"/>
                </a:lnTo>
                <a:lnTo>
                  <a:pt x="0" y="570"/>
                </a:lnTo>
                <a:lnTo>
                  <a:pt x="2732" y="570"/>
                </a:lnTo>
                <a:close/>
              </a:path>
            </a:pathLst>
          </a:custGeom>
          <a:solidFill>
            <a:srgbClr val="4CC7C4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0" name="Freeform 20"/>
          <p:cNvSpPr>
            <a:spLocks/>
          </p:cNvSpPr>
          <p:nvPr/>
        </p:nvSpPr>
        <p:spPr bwMode="auto">
          <a:xfrm>
            <a:off x="4624970" y="3949403"/>
            <a:ext cx="5106196" cy="1065348"/>
          </a:xfrm>
          <a:custGeom>
            <a:avLst/>
            <a:gdLst>
              <a:gd name="T0" fmla="*/ 2732 w 2732"/>
              <a:gd name="T1" fmla="*/ 570 h 570"/>
              <a:gd name="T2" fmla="*/ 2732 w 2732"/>
              <a:gd name="T3" fmla="*/ 0 h 570"/>
              <a:gd name="T4" fmla="*/ 330 w 2732"/>
              <a:gd name="T5" fmla="*/ 0 h 570"/>
              <a:gd name="T6" fmla="*/ 0 w 2732"/>
              <a:gd name="T7" fmla="*/ 570 h 570"/>
              <a:gd name="T8" fmla="*/ 2732 w 2732"/>
              <a:gd name="T9" fmla="*/ 570 h 5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732" h="570">
                <a:moveTo>
                  <a:pt x="2732" y="570"/>
                </a:moveTo>
                <a:lnTo>
                  <a:pt x="2732" y="0"/>
                </a:lnTo>
                <a:lnTo>
                  <a:pt x="330" y="0"/>
                </a:lnTo>
                <a:lnTo>
                  <a:pt x="0" y="570"/>
                </a:lnTo>
                <a:lnTo>
                  <a:pt x="2732" y="57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1" name="Freeform 21"/>
          <p:cNvSpPr>
            <a:spLocks/>
          </p:cNvSpPr>
          <p:nvPr/>
        </p:nvSpPr>
        <p:spPr bwMode="auto">
          <a:xfrm>
            <a:off x="4624970" y="2885923"/>
            <a:ext cx="5106196" cy="1063480"/>
          </a:xfrm>
          <a:custGeom>
            <a:avLst/>
            <a:gdLst>
              <a:gd name="T0" fmla="*/ 2732 w 2732"/>
              <a:gd name="T1" fmla="*/ 569 h 569"/>
              <a:gd name="T2" fmla="*/ 2732 w 2732"/>
              <a:gd name="T3" fmla="*/ 0 h 569"/>
              <a:gd name="T4" fmla="*/ 330 w 2732"/>
              <a:gd name="T5" fmla="*/ 0 h 569"/>
              <a:gd name="T6" fmla="*/ 0 w 2732"/>
              <a:gd name="T7" fmla="*/ 569 h 569"/>
              <a:gd name="T8" fmla="*/ 2732 w 2732"/>
              <a:gd name="T9" fmla="*/ 569 h 5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732" h="569">
                <a:moveTo>
                  <a:pt x="2732" y="569"/>
                </a:moveTo>
                <a:lnTo>
                  <a:pt x="2732" y="0"/>
                </a:lnTo>
                <a:lnTo>
                  <a:pt x="330" y="0"/>
                </a:lnTo>
                <a:lnTo>
                  <a:pt x="0" y="569"/>
                </a:lnTo>
                <a:lnTo>
                  <a:pt x="2732" y="569"/>
                </a:lnTo>
                <a:close/>
              </a:path>
            </a:pathLst>
          </a:custGeom>
          <a:solidFill>
            <a:srgbClr val="76717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2" name="Freeform 22"/>
          <p:cNvSpPr>
            <a:spLocks/>
          </p:cNvSpPr>
          <p:nvPr/>
        </p:nvSpPr>
        <p:spPr bwMode="auto">
          <a:xfrm>
            <a:off x="4624970" y="2885923"/>
            <a:ext cx="5106196" cy="1063480"/>
          </a:xfrm>
          <a:custGeom>
            <a:avLst/>
            <a:gdLst>
              <a:gd name="T0" fmla="*/ 2732 w 2732"/>
              <a:gd name="T1" fmla="*/ 569 h 569"/>
              <a:gd name="T2" fmla="*/ 2732 w 2732"/>
              <a:gd name="T3" fmla="*/ 0 h 569"/>
              <a:gd name="T4" fmla="*/ 330 w 2732"/>
              <a:gd name="T5" fmla="*/ 0 h 569"/>
              <a:gd name="T6" fmla="*/ 0 w 2732"/>
              <a:gd name="T7" fmla="*/ 569 h 569"/>
              <a:gd name="T8" fmla="*/ 2732 w 2732"/>
              <a:gd name="T9" fmla="*/ 569 h 5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732" h="569">
                <a:moveTo>
                  <a:pt x="2732" y="569"/>
                </a:moveTo>
                <a:lnTo>
                  <a:pt x="2732" y="0"/>
                </a:lnTo>
                <a:lnTo>
                  <a:pt x="330" y="0"/>
                </a:lnTo>
                <a:lnTo>
                  <a:pt x="0" y="569"/>
                </a:lnTo>
                <a:lnTo>
                  <a:pt x="2732" y="569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3" name="Freeform 23"/>
          <p:cNvSpPr>
            <a:spLocks/>
          </p:cNvSpPr>
          <p:nvPr/>
        </p:nvSpPr>
        <p:spPr bwMode="auto">
          <a:xfrm>
            <a:off x="4624970" y="1818706"/>
            <a:ext cx="5106196" cy="1067218"/>
          </a:xfrm>
          <a:custGeom>
            <a:avLst/>
            <a:gdLst>
              <a:gd name="T0" fmla="*/ 2732 w 2732"/>
              <a:gd name="T1" fmla="*/ 571 h 571"/>
              <a:gd name="T2" fmla="*/ 2732 w 2732"/>
              <a:gd name="T3" fmla="*/ 0 h 571"/>
              <a:gd name="T4" fmla="*/ 330 w 2732"/>
              <a:gd name="T5" fmla="*/ 0 h 571"/>
              <a:gd name="T6" fmla="*/ 0 w 2732"/>
              <a:gd name="T7" fmla="*/ 571 h 571"/>
              <a:gd name="T8" fmla="*/ 2732 w 2732"/>
              <a:gd name="T9" fmla="*/ 571 h 5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732" h="571">
                <a:moveTo>
                  <a:pt x="2732" y="571"/>
                </a:moveTo>
                <a:lnTo>
                  <a:pt x="2732" y="0"/>
                </a:lnTo>
                <a:lnTo>
                  <a:pt x="330" y="0"/>
                </a:lnTo>
                <a:lnTo>
                  <a:pt x="0" y="571"/>
                </a:lnTo>
                <a:lnTo>
                  <a:pt x="2732" y="571"/>
                </a:lnTo>
                <a:close/>
              </a:path>
            </a:pathLst>
          </a:custGeom>
          <a:solidFill>
            <a:srgbClr val="D63E20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4" name="Freeform 24"/>
          <p:cNvSpPr>
            <a:spLocks/>
          </p:cNvSpPr>
          <p:nvPr/>
        </p:nvSpPr>
        <p:spPr bwMode="auto">
          <a:xfrm>
            <a:off x="4624970" y="1818706"/>
            <a:ext cx="5106196" cy="1067218"/>
          </a:xfrm>
          <a:custGeom>
            <a:avLst/>
            <a:gdLst>
              <a:gd name="T0" fmla="*/ 2732 w 2732"/>
              <a:gd name="T1" fmla="*/ 571 h 571"/>
              <a:gd name="T2" fmla="*/ 2732 w 2732"/>
              <a:gd name="T3" fmla="*/ 0 h 571"/>
              <a:gd name="T4" fmla="*/ 330 w 2732"/>
              <a:gd name="T5" fmla="*/ 0 h 571"/>
              <a:gd name="T6" fmla="*/ 0 w 2732"/>
              <a:gd name="T7" fmla="*/ 571 h 571"/>
              <a:gd name="T8" fmla="*/ 2732 w 2732"/>
              <a:gd name="T9" fmla="*/ 571 h 5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732" h="571">
                <a:moveTo>
                  <a:pt x="2732" y="571"/>
                </a:moveTo>
                <a:lnTo>
                  <a:pt x="2732" y="0"/>
                </a:lnTo>
                <a:lnTo>
                  <a:pt x="330" y="0"/>
                </a:lnTo>
                <a:lnTo>
                  <a:pt x="0" y="571"/>
                </a:lnTo>
                <a:lnTo>
                  <a:pt x="2732" y="571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5" name="Freeform 32"/>
          <p:cNvSpPr>
            <a:spLocks/>
          </p:cNvSpPr>
          <p:nvPr/>
        </p:nvSpPr>
        <p:spPr bwMode="auto">
          <a:xfrm>
            <a:off x="2557821" y="1299114"/>
            <a:ext cx="1919497" cy="994325"/>
          </a:xfrm>
          <a:custGeom>
            <a:avLst/>
            <a:gdLst>
              <a:gd name="T0" fmla="*/ 790 w 1027"/>
              <a:gd name="T1" fmla="*/ 0 h 532"/>
              <a:gd name="T2" fmla="*/ 91 w 1027"/>
              <a:gd name="T3" fmla="*/ 0 h 532"/>
              <a:gd name="T4" fmla="*/ 0 w 1027"/>
              <a:gd name="T5" fmla="*/ 85 h 532"/>
              <a:gd name="T6" fmla="*/ 91 w 1027"/>
              <a:gd name="T7" fmla="*/ 85 h 532"/>
              <a:gd name="T8" fmla="*/ 292 w 1027"/>
              <a:gd name="T9" fmla="*/ 532 h 532"/>
              <a:gd name="T10" fmla="*/ 1027 w 1027"/>
              <a:gd name="T11" fmla="*/ 532 h 532"/>
              <a:gd name="T12" fmla="*/ 790 w 1027"/>
              <a:gd name="T13" fmla="*/ 0 h 5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027" h="532">
                <a:moveTo>
                  <a:pt x="790" y="0"/>
                </a:moveTo>
                <a:lnTo>
                  <a:pt x="91" y="0"/>
                </a:lnTo>
                <a:lnTo>
                  <a:pt x="0" y="85"/>
                </a:lnTo>
                <a:lnTo>
                  <a:pt x="91" y="85"/>
                </a:lnTo>
                <a:lnTo>
                  <a:pt x="292" y="532"/>
                </a:lnTo>
                <a:lnTo>
                  <a:pt x="1027" y="532"/>
                </a:lnTo>
                <a:lnTo>
                  <a:pt x="790" y="0"/>
                </a:lnTo>
                <a:close/>
              </a:path>
            </a:pathLst>
          </a:custGeom>
          <a:solidFill>
            <a:srgbClr val="514A4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6" name="Freeform 33"/>
          <p:cNvSpPr>
            <a:spLocks/>
          </p:cNvSpPr>
          <p:nvPr/>
        </p:nvSpPr>
        <p:spPr bwMode="auto">
          <a:xfrm>
            <a:off x="3488599" y="3427944"/>
            <a:ext cx="170083" cy="160737"/>
          </a:xfrm>
          <a:custGeom>
            <a:avLst/>
            <a:gdLst>
              <a:gd name="T0" fmla="*/ 0 w 91"/>
              <a:gd name="T1" fmla="*/ 86 h 86"/>
              <a:gd name="T2" fmla="*/ 91 w 91"/>
              <a:gd name="T3" fmla="*/ 0 h 86"/>
              <a:gd name="T4" fmla="*/ 91 w 91"/>
              <a:gd name="T5" fmla="*/ 86 h 86"/>
              <a:gd name="T6" fmla="*/ 0 w 91"/>
              <a:gd name="T7" fmla="*/ 86 h 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91" h="86">
                <a:moveTo>
                  <a:pt x="0" y="86"/>
                </a:moveTo>
                <a:lnTo>
                  <a:pt x="91" y="0"/>
                </a:lnTo>
                <a:lnTo>
                  <a:pt x="91" y="86"/>
                </a:lnTo>
                <a:lnTo>
                  <a:pt x="0" y="86"/>
                </a:lnTo>
                <a:close/>
              </a:path>
            </a:pathLst>
          </a:custGeom>
          <a:solidFill>
            <a:srgbClr val="514A4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7" name="Freeform 34"/>
          <p:cNvSpPr>
            <a:spLocks/>
          </p:cNvSpPr>
          <p:nvPr/>
        </p:nvSpPr>
        <p:spPr bwMode="auto">
          <a:xfrm>
            <a:off x="3488599" y="3427944"/>
            <a:ext cx="170083" cy="160737"/>
          </a:xfrm>
          <a:custGeom>
            <a:avLst/>
            <a:gdLst>
              <a:gd name="T0" fmla="*/ 0 w 91"/>
              <a:gd name="T1" fmla="*/ 86 h 86"/>
              <a:gd name="T2" fmla="*/ 91 w 91"/>
              <a:gd name="T3" fmla="*/ 0 h 86"/>
              <a:gd name="T4" fmla="*/ 91 w 91"/>
              <a:gd name="T5" fmla="*/ 86 h 86"/>
              <a:gd name="T6" fmla="*/ 0 w 91"/>
              <a:gd name="T7" fmla="*/ 86 h 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91" h="86">
                <a:moveTo>
                  <a:pt x="0" y="86"/>
                </a:moveTo>
                <a:lnTo>
                  <a:pt x="91" y="0"/>
                </a:lnTo>
                <a:lnTo>
                  <a:pt x="91" y="86"/>
                </a:lnTo>
                <a:lnTo>
                  <a:pt x="0" y="86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8" name="Freeform 35"/>
          <p:cNvSpPr>
            <a:spLocks/>
          </p:cNvSpPr>
          <p:nvPr/>
        </p:nvSpPr>
        <p:spPr bwMode="auto">
          <a:xfrm>
            <a:off x="3948381" y="4495159"/>
            <a:ext cx="170083" cy="158868"/>
          </a:xfrm>
          <a:custGeom>
            <a:avLst/>
            <a:gdLst>
              <a:gd name="T0" fmla="*/ 0 w 91"/>
              <a:gd name="T1" fmla="*/ 85 h 85"/>
              <a:gd name="T2" fmla="*/ 91 w 91"/>
              <a:gd name="T3" fmla="*/ 0 h 85"/>
              <a:gd name="T4" fmla="*/ 91 w 91"/>
              <a:gd name="T5" fmla="*/ 85 h 85"/>
              <a:gd name="T6" fmla="*/ 0 w 91"/>
              <a:gd name="T7" fmla="*/ 85 h 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91" h="85">
                <a:moveTo>
                  <a:pt x="0" y="85"/>
                </a:moveTo>
                <a:lnTo>
                  <a:pt x="91" y="0"/>
                </a:lnTo>
                <a:lnTo>
                  <a:pt x="91" y="85"/>
                </a:lnTo>
                <a:lnTo>
                  <a:pt x="0" y="85"/>
                </a:lnTo>
                <a:close/>
              </a:path>
            </a:pathLst>
          </a:custGeom>
          <a:solidFill>
            <a:srgbClr val="514A4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9" name="Freeform 36"/>
          <p:cNvSpPr>
            <a:spLocks/>
          </p:cNvSpPr>
          <p:nvPr/>
        </p:nvSpPr>
        <p:spPr bwMode="auto">
          <a:xfrm>
            <a:off x="3948381" y="4495159"/>
            <a:ext cx="170083" cy="158868"/>
          </a:xfrm>
          <a:custGeom>
            <a:avLst/>
            <a:gdLst>
              <a:gd name="T0" fmla="*/ 0 w 91"/>
              <a:gd name="T1" fmla="*/ 85 h 85"/>
              <a:gd name="T2" fmla="*/ 91 w 91"/>
              <a:gd name="T3" fmla="*/ 0 h 85"/>
              <a:gd name="T4" fmla="*/ 91 w 91"/>
              <a:gd name="T5" fmla="*/ 85 h 85"/>
              <a:gd name="T6" fmla="*/ 0 w 91"/>
              <a:gd name="T7" fmla="*/ 85 h 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91" h="85">
                <a:moveTo>
                  <a:pt x="0" y="85"/>
                </a:moveTo>
                <a:lnTo>
                  <a:pt x="91" y="0"/>
                </a:lnTo>
                <a:lnTo>
                  <a:pt x="91" y="85"/>
                </a:lnTo>
                <a:lnTo>
                  <a:pt x="0" y="85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0" name="Freeform 37"/>
          <p:cNvSpPr>
            <a:spLocks/>
          </p:cNvSpPr>
          <p:nvPr/>
        </p:nvSpPr>
        <p:spPr bwMode="auto">
          <a:xfrm>
            <a:off x="2557821" y="1457982"/>
            <a:ext cx="4939853" cy="1063480"/>
          </a:xfrm>
          <a:custGeom>
            <a:avLst/>
            <a:gdLst>
              <a:gd name="T0" fmla="*/ 2300 w 2643"/>
              <a:gd name="T1" fmla="*/ 569 h 569"/>
              <a:gd name="T2" fmla="*/ 330 w 2643"/>
              <a:gd name="T3" fmla="*/ 569 h 569"/>
              <a:gd name="T4" fmla="*/ 0 w 2643"/>
              <a:gd name="T5" fmla="*/ 0 h 569"/>
              <a:gd name="T6" fmla="*/ 2643 w 2643"/>
              <a:gd name="T7" fmla="*/ 0 h 569"/>
              <a:gd name="T8" fmla="*/ 2300 w 2643"/>
              <a:gd name="T9" fmla="*/ 569 h 5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643" h="569">
                <a:moveTo>
                  <a:pt x="2300" y="569"/>
                </a:moveTo>
                <a:lnTo>
                  <a:pt x="330" y="569"/>
                </a:lnTo>
                <a:lnTo>
                  <a:pt x="0" y="0"/>
                </a:lnTo>
                <a:lnTo>
                  <a:pt x="2643" y="0"/>
                </a:lnTo>
                <a:lnTo>
                  <a:pt x="2300" y="569"/>
                </a:lnTo>
                <a:close/>
              </a:path>
            </a:pathLst>
          </a:custGeom>
          <a:solidFill>
            <a:srgbClr val="E2583D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" name="Freeform 38"/>
          <p:cNvSpPr>
            <a:spLocks/>
          </p:cNvSpPr>
          <p:nvPr/>
        </p:nvSpPr>
        <p:spPr bwMode="auto">
          <a:xfrm>
            <a:off x="2557821" y="1457982"/>
            <a:ext cx="4939853" cy="1063480"/>
          </a:xfrm>
          <a:custGeom>
            <a:avLst/>
            <a:gdLst>
              <a:gd name="T0" fmla="*/ 2300 w 2643"/>
              <a:gd name="T1" fmla="*/ 569 h 569"/>
              <a:gd name="T2" fmla="*/ 330 w 2643"/>
              <a:gd name="T3" fmla="*/ 569 h 569"/>
              <a:gd name="T4" fmla="*/ 0 w 2643"/>
              <a:gd name="T5" fmla="*/ 0 h 569"/>
              <a:gd name="T6" fmla="*/ 2643 w 2643"/>
              <a:gd name="T7" fmla="*/ 0 h 569"/>
              <a:gd name="T8" fmla="*/ 2300 w 2643"/>
              <a:gd name="T9" fmla="*/ 569 h 5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643" h="569">
                <a:moveTo>
                  <a:pt x="2300" y="569"/>
                </a:moveTo>
                <a:lnTo>
                  <a:pt x="330" y="569"/>
                </a:lnTo>
                <a:lnTo>
                  <a:pt x="0" y="0"/>
                </a:lnTo>
                <a:lnTo>
                  <a:pt x="2643" y="0"/>
                </a:lnTo>
                <a:lnTo>
                  <a:pt x="2300" y="569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" name="Freeform 42"/>
          <p:cNvSpPr>
            <a:spLocks/>
          </p:cNvSpPr>
          <p:nvPr/>
        </p:nvSpPr>
        <p:spPr bwMode="auto">
          <a:xfrm>
            <a:off x="3017603" y="2521462"/>
            <a:ext cx="3855814" cy="1067218"/>
          </a:xfrm>
          <a:custGeom>
            <a:avLst/>
            <a:gdLst>
              <a:gd name="T0" fmla="*/ 1727 w 2063"/>
              <a:gd name="T1" fmla="*/ 571 h 571"/>
              <a:gd name="T2" fmla="*/ 330 w 2063"/>
              <a:gd name="T3" fmla="*/ 571 h 571"/>
              <a:gd name="T4" fmla="*/ 0 w 2063"/>
              <a:gd name="T5" fmla="*/ 0 h 571"/>
              <a:gd name="T6" fmla="*/ 2063 w 2063"/>
              <a:gd name="T7" fmla="*/ 0 h 571"/>
              <a:gd name="T8" fmla="*/ 1727 w 2063"/>
              <a:gd name="T9" fmla="*/ 571 h 5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63" h="571">
                <a:moveTo>
                  <a:pt x="1727" y="571"/>
                </a:moveTo>
                <a:lnTo>
                  <a:pt x="330" y="571"/>
                </a:lnTo>
                <a:lnTo>
                  <a:pt x="0" y="0"/>
                </a:lnTo>
                <a:lnTo>
                  <a:pt x="2063" y="0"/>
                </a:lnTo>
                <a:lnTo>
                  <a:pt x="1727" y="571"/>
                </a:lnTo>
                <a:close/>
              </a:path>
            </a:pathLst>
          </a:custGeom>
          <a:solidFill>
            <a:srgbClr val="AFABAB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" name="Freeform 43"/>
          <p:cNvSpPr>
            <a:spLocks/>
          </p:cNvSpPr>
          <p:nvPr/>
        </p:nvSpPr>
        <p:spPr bwMode="auto">
          <a:xfrm>
            <a:off x="3017603" y="2521462"/>
            <a:ext cx="3855814" cy="1067218"/>
          </a:xfrm>
          <a:custGeom>
            <a:avLst/>
            <a:gdLst>
              <a:gd name="T0" fmla="*/ 1727 w 2063"/>
              <a:gd name="T1" fmla="*/ 571 h 571"/>
              <a:gd name="T2" fmla="*/ 330 w 2063"/>
              <a:gd name="T3" fmla="*/ 571 h 571"/>
              <a:gd name="T4" fmla="*/ 0 w 2063"/>
              <a:gd name="T5" fmla="*/ 0 h 571"/>
              <a:gd name="T6" fmla="*/ 2063 w 2063"/>
              <a:gd name="T7" fmla="*/ 0 h 571"/>
              <a:gd name="T8" fmla="*/ 1727 w 2063"/>
              <a:gd name="T9" fmla="*/ 571 h 5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63" h="571">
                <a:moveTo>
                  <a:pt x="1727" y="571"/>
                </a:moveTo>
                <a:lnTo>
                  <a:pt x="330" y="571"/>
                </a:lnTo>
                <a:lnTo>
                  <a:pt x="0" y="0"/>
                </a:lnTo>
                <a:lnTo>
                  <a:pt x="2063" y="0"/>
                </a:lnTo>
                <a:lnTo>
                  <a:pt x="1727" y="571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4" name="Freeform 44"/>
          <p:cNvSpPr>
            <a:spLocks/>
          </p:cNvSpPr>
          <p:nvPr/>
        </p:nvSpPr>
        <p:spPr bwMode="auto">
          <a:xfrm>
            <a:off x="3488599" y="3588680"/>
            <a:ext cx="2764299" cy="1065348"/>
          </a:xfrm>
          <a:custGeom>
            <a:avLst/>
            <a:gdLst>
              <a:gd name="T0" fmla="*/ 1148 w 1479"/>
              <a:gd name="T1" fmla="*/ 570 h 570"/>
              <a:gd name="T2" fmla="*/ 325 w 1479"/>
              <a:gd name="T3" fmla="*/ 570 h 570"/>
              <a:gd name="T4" fmla="*/ 0 w 1479"/>
              <a:gd name="T5" fmla="*/ 0 h 570"/>
              <a:gd name="T6" fmla="*/ 1479 w 1479"/>
              <a:gd name="T7" fmla="*/ 0 h 570"/>
              <a:gd name="T8" fmla="*/ 1148 w 1479"/>
              <a:gd name="T9" fmla="*/ 570 h 5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79" h="570">
                <a:moveTo>
                  <a:pt x="1148" y="570"/>
                </a:moveTo>
                <a:lnTo>
                  <a:pt x="325" y="570"/>
                </a:lnTo>
                <a:lnTo>
                  <a:pt x="0" y="0"/>
                </a:lnTo>
                <a:lnTo>
                  <a:pt x="1479" y="0"/>
                </a:lnTo>
                <a:lnTo>
                  <a:pt x="1148" y="570"/>
                </a:lnTo>
                <a:close/>
              </a:path>
            </a:pathLst>
          </a:custGeom>
          <a:solidFill>
            <a:srgbClr val="78D2D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5" name="Freeform 45"/>
          <p:cNvSpPr>
            <a:spLocks/>
          </p:cNvSpPr>
          <p:nvPr/>
        </p:nvSpPr>
        <p:spPr bwMode="auto">
          <a:xfrm>
            <a:off x="3488599" y="3588680"/>
            <a:ext cx="2764299" cy="1065348"/>
          </a:xfrm>
          <a:custGeom>
            <a:avLst/>
            <a:gdLst>
              <a:gd name="T0" fmla="*/ 1148 w 1479"/>
              <a:gd name="T1" fmla="*/ 570 h 570"/>
              <a:gd name="T2" fmla="*/ 325 w 1479"/>
              <a:gd name="T3" fmla="*/ 570 h 570"/>
              <a:gd name="T4" fmla="*/ 0 w 1479"/>
              <a:gd name="T5" fmla="*/ 0 h 570"/>
              <a:gd name="T6" fmla="*/ 1479 w 1479"/>
              <a:gd name="T7" fmla="*/ 0 h 570"/>
              <a:gd name="T8" fmla="*/ 1148 w 1479"/>
              <a:gd name="T9" fmla="*/ 570 h 5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79" h="570">
                <a:moveTo>
                  <a:pt x="1148" y="570"/>
                </a:moveTo>
                <a:lnTo>
                  <a:pt x="325" y="570"/>
                </a:lnTo>
                <a:lnTo>
                  <a:pt x="0" y="0"/>
                </a:lnTo>
                <a:lnTo>
                  <a:pt x="1479" y="0"/>
                </a:lnTo>
                <a:lnTo>
                  <a:pt x="1148" y="57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6" name="Freeform 46"/>
          <p:cNvSpPr>
            <a:spLocks/>
          </p:cNvSpPr>
          <p:nvPr/>
        </p:nvSpPr>
        <p:spPr bwMode="auto">
          <a:xfrm>
            <a:off x="3948381" y="4654029"/>
            <a:ext cx="1685867" cy="1067218"/>
          </a:xfrm>
          <a:custGeom>
            <a:avLst/>
            <a:gdLst>
              <a:gd name="T0" fmla="*/ 330 w 902"/>
              <a:gd name="T1" fmla="*/ 571 h 571"/>
              <a:gd name="T2" fmla="*/ 0 w 902"/>
              <a:gd name="T3" fmla="*/ 0 h 571"/>
              <a:gd name="T4" fmla="*/ 902 w 902"/>
              <a:gd name="T5" fmla="*/ 0 h 571"/>
              <a:gd name="T6" fmla="*/ 572 w 902"/>
              <a:gd name="T7" fmla="*/ 571 h 571"/>
              <a:gd name="T8" fmla="*/ 330 w 902"/>
              <a:gd name="T9" fmla="*/ 571 h 5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02" h="571">
                <a:moveTo>
                  <a:pt x="330" y="571"/>
                </a:moveTo>
                <a:lnTo>
                  <a:pt x="0" y="0"/>
                </a:lnTo>
                <a:lnTo>
                  <a:pt x="902" y="0"/>
                </a:lnTo>
                <a:lnTo>
                  <a:pt x="572" y="571"/>
                </a:lnTo>
                <a:lnTo>
                  <a:pt x="330" y="571"/>
                </a:lnTo>
                <a:close/>
              </a:path>
            </a:pathLst>
          </a:custGeom>
          <a:solidFill>
            <a:srgbClr val="3B393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7" name="Freeform 47"/>
          <p:cNvSpPr>
            <a:spLocks/>
          </p:cNvSpPr>
          <p:nvPr/>
        </p:nvSpPr>
        <p:spPr bwMode="auto">
          <a:xfrm>
            <a:off x="3948381" y="4654029"/>
            <a:ext cx="1685867" cy="1067218"/>
          </a:xfrm>
          <a:custGeom>
            <a:avLst/>
            <a:gdLst>
              <a:gd name="T0" fmla="*/ 330 w 902"/>
              <a:gd name="T1" fmla="*/ 571 h 571"/>
              <a:gd name="T2" fmla="*/ 0 w 902"/>
              <a:gd name="T3" fmla="*/ 0 h 571"/>
              <a:gd name="T4" fmla="*/ 902 w 902"/>
              <a:gd name="T5" fmla="*/ 0 h 571"/>
              <a:gd name="T6" fmla="*/ 572 w 902"/>
              <a:gd name="T7" fmla="*/ 571 h 571"/>
              <a:gd name="T8" fmla="*/ 330 w 902"/>
              <a:gd name="T9" fmla="*/ 571 h 5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02" h="571">
                <a:moveTo>
                  <a:pt x="330" y="571"/>
                </a:moveTo>
                <a:lnTo>
                  <a:pt x="0" y="0"/>
                </a:lnTo>
                <a:lnTo>
                  <a:pt x="902" y="0"/>
                </a:lnTo>
                <a:lnTo>
                  <a:pt x="572" y="571"/>
                </a:lnTo>
                <a:lnTo>
                  <a:pt x="330" y="571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8" name="Freeform 48"/>
          <p:cNvSpPr>
            <a:spLocks/>
          </p:cNvSpPr>
          <p:nvPr/>
        </p:nvSpPr>
        <p:spPr bwMode="auto">
          <a:xfrm>
            <a:off x="7280866" y="1672922"/>
            <a:ext cx="87845" cy="145785"/>
          </a:xfrm>
          <a:custGeom>
            <a:avLst/>
            <a:gdLst>
              <a:gd name="T0" fmla="*/ 47 w 47"/>
              <a:gd name="T1" fmla="*/ 0 h 78"/>
              <a:gd name="T2" fmla="*/ 0 w 47"/>
              <a:gd name="T3" fmla="*/ 78 h 78"/>
              <a:gd name="T4" fmla="*/ 1 w 47"/>
              <a:gd name="T5" fmla="*/ 78 h 78"/>
              <a:gd name="T6" fmla="*/ 47 w 47"/>
              <a:gd name="T7" fmla="*/ 0 h 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7" h="78">
                <a:moveTo>
                  <a:pt x="47" y="0"/>
                </a:moveTo>
                <a:lnTo>
                  <a:pt x="0" y="78"/>
                </a:lnTo>
                <a:lnTo>
                  <a:pt x="1" y="78"/>
                </a:lnTo>
                <a:lnTo>
                  <a:pt x="47" y="0"/>
                </a:lnTo>
                <a:close/>
              </a:path>
            </a:pathLst>
          </a:custGeom>
          <a:solidFill>
            <a:srgbClr val="D1D3D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1" name="Freeform 49"/>
          <p:cNvSpPr>
            <a:spLocks/>
          </p:cNvSpPr>
          <p:nvPr/>
        </p:nvSpPr>
        <p:spPr bwMode="auto">
          <a:xfrm>
            <a:off x="7280866" y="1672922"/>
            <a:ext cx="87845" cy="145785"/>
          </a:xfrm>
          <a:custGeom>
            <a:avLst/>
            <a:gdLst>
              <a:gd name="T0" fmla="*/ 47 w 47"/>
              <a:gd name="T1" fmla="*/ 0 h 78"/>
              <a:gd name="T2" fmla="*/ 0 w 47"/>
              <a:gd name="T3" fmla="*/ 78 h 78"/>
              <a:gd name="T4" fmla="*/ 1 w 47"/>
              <a:gd name="T5" fmla="*/ 78 h 78"/>
              <a:gd name="T6" fmla="*/ 47 w 47"/>
              <a:gd name="T7" fmla="*/ 0 h 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7" h="78">
                <a:moveTo>
                  <a:pt x="47" y="0"/>
                </a:moveTo>
                <a:lnTo>
                  <a:pt x="0" y="78"/>
                </a:lnTo>
                <a:lnTo>
                  <a:pt x="1" y="78"/>
                </a:lnTo>
                <a:lnTo>
                  <a:pt x="47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2" name="Freeform 50"/>
          <p:cNvSpPr>
            <a:spLocks/>
          </p:cNvSpPr>
          <p:nvPr/>
        </p:nvSpPr>
        <p:spPr bwMode="auto">
          <a:xfrm>
            <a:off x="6856594" y="1958883"/>
            <a:ext cx="338295" cy="562579"/>
          </a:xfrm>
          <a:custGeom>
            <a:avLst/>
            <a:gdLst>
              <a:gd name="T0" fmla="*/ 123 w 123"/>
              <a:gd name="T1" fmla="*/ 0 h 204"/>
              <a:gd name="T2" fmla="*/ 0 w 123"/>
              <a:gd name="T3" fmla="*/ 204 h 204"/>
              <a:gd name="T4" fmla="*/ 2 w 123"/>
              <a:gd name="T5" fmla="*/ 204 h 204"/>
              <a:gd name="T6" fmla="*/ 0 w 123"/>
              <a:gd name="T7" fmla="*/ 204 h 204"/>
              <a:gd name="T8" fmla="*/ 4 w 123"/>
              <a:gd name="T9" fmla="*/ 204 h 204"/>
              <a:gd name="T10" fmla="*/ 5 w 123"/>
              <a:gd name="T11" fmla="*/ 204 h 204"/>
              <a:gd name="T12" fmla="*/ 123 w 123"/>
              <a:gd name="T13" fmla="*/ 0 h 2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23" h="204">
                <a:moveTo>
                  <a:pt x="123" y="0"/>
                </a:moveTo>
                <a:cubicBezTo>
                  <a:pt x="0" y="204"/>
                  <a:pt x="0" y="204"/>
                  <a:pt x="0" y="204"/>
                </a:cubicBezTo>
                <a:cubicBezTo>
                  <a:pt x="1" y="204"/>
                  <a:pt x="1" y="204"/>
                  <a:pt x="2" y="204"/>
                </a:cubicBezTo>
                <a:cubicBezTo>
                  <a:pt x="0" y="204"/>
                  <a:pt x="0" y="204"/>
                  <a:pt x="0" y="204"/>
                </a:cubicBezTo>
                <a:cubicBezTo>
                  <a:pt x="4" y="204"/>
                  <a:pt x="4" y="204"/>
                  <a:pt x="4" y="204"/>
                </a:cubicBezTo>
                <a:cubicBezTo>
                  <a:pt x="5" y="204"/>
                  <a:pt x="5" y="204"/>
                  <a:pt x="5" y="204"/>
                </a:cubicBezTo>
                <a:cubicBezTo>
                  <a:pt x="123" y="0"/>
                  <a:pt x="123" y="0"/>
                  <a:pt x="123" y="0"/>
                </a:cubicBezTo>
              </a:path>
            </a:pathLst>
          </a:custGeom>
          <a:solidFill>
            <a:srgbClr val="FFCB7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3" name="Freeform 51"/>
          <p:cNvSpPr>
            <a:spLocks/>
          </p:cNvSpPr>
          <p:nvPr/>
        </p:nvSpPr>
        <p:spPr bwMode="auto">
          <a:xfrm>
            <a:off x="6245421" y="2915828"/>
            <a:ext cx="396235" cy="672852"/>
          </a:xfrm>
          <a:custGeom>
            <a:avLst/>
            <a:gdLst>
              <a:gd name="T0" fmla="*/ 212 w 212"/>
              <a:gd name="T1" fmla="*/ 0 h 360"/>
              <a:gd name="T2" fmla="*/ 0 w 212"/>
              <a:gd name="T3" fmla="*/ 360 h 360"/>
              <a:gd name="T4" fmla="*/ 3 w 212"/>
              <a:gd name="T5" fmla="*/ 360 h 360"/>
              <a:gd name="T6" fmla="*/ 212 w 212"/>
              <a:gd name="T7" fmla="*/ 0 h 3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2" h="360">
                <a:moveTo>
                  <a:pt x="212" y="0"/>
                </a:moveTo>
                <a:lnTo>
                  <a:pt x="0" y="360"/>
                </a:lnTo>
                <a:lnTo>
                  <a:pt x="3" y="360"/>
                </a:lnTo>
                <a:lnTo>
                  <a:pt x="212" y="0"/>
                </a:lnTo>
                <a:close/>
              </a:path>
            </a:pathLst>
          </a:custGeom>
          <a:solidFill>
            <a:srgbClr val="DF536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4" name="Freeform 52"/>
          <p:cNvSpPr>
            <a:spLocks/>
          </p:cNvSpPr>
          <p:nvPr/>
        </p:nvSpPr>
        <p:spPr bwMode="auto">
          <a:xfrm>
            <a:off x="6245421" y="2915828"/>
            <a:ext cx="396235" cy="672852"/>
          </a:xfrm>
          <a:custGeom>
            <a:avLst/>
            <a:gdLst>
              <a:gd name="T0" fmla="*/ 212 w 212"/>
              <a:gd name="T1" fmla="*/ 0 h 360"/>
              <a:gd name="T2" fmla="*/ 0 w 212"/>
              <a:gd name="T3" fmla="*/ 360 h 360"/>
              <a:gd name="T4" fmla="*/ 3 w 212"/>
              <a:gd name="T5" fmla="*/ 360 h 360"/>
              <a:gd name="T6" fmla="*/ 212 w 212"/>
              <a:gd name="T7" fmla="*/ 0 h 3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2" h="360">
                <a:moveTo>
                  <a:pt x="212" y="0"/>
                </a:moveTo>
                <a:lnTo>
                  <a:pt x="0" y="360"/>
                </a:lnTo>
                <a:lnTo>
                  <a:pt x="3" y="360"/>
                </a:lnTo>
                <a:lnTo>
                  <a:pt x="21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5" name="Freeform 73"/>
          <p:cNvSpPr>
            <a:spLocks noEditPoints="1"/>
          </p:cNvSpPr>
          <p:nvPr/>
        </p:nvSpPr>
        <p:spPr bwMode="auto">
          <a:xfrm>
            <a:off x="4623101" y="3949402"/>
            <a:ext cx="1704557" cy="2132567"/>
          </a:xfrm>
          <a:custGeom>
            <a:avLst/>
            <a:gdLst>
              <a:gd name="T0" fmla="*/ 4 w 912"/>
              <a:gd name="T1" fmla="*/ 1138 h 1141"/>
              <a:gd name="T2" fmla="*/ 0 w 912"/>
              <a:gd name="T3" fmla="*/ 1141 h 1141"/>
              <a:gd name="T4" fmla="*/ 1 w 912"/>
              <a:gd name="T5" fmla="*/ 1141 h 1141"/>
              <a:gd name="T6" fmla="*/ 4 w 912"/>
              <a:gd name="T7" fmla="*/ 1138 h 1141"/>
              <a:gd name="T8" fmla="*/ 588 w 912"/>
              <a:gd name="T9" fmla="*/ 570 h 1141"/>
              <a:gd name="T10" fmla="*/ 429 w 912"/>
              <a:gd name="T11" fmla="*/ 570 h 1141"/>
              <a:gd name="T12" fmla="*/ 429 w 912"/>
              <a:gd name="T13" fmla="*/ 570 h 1141"/>
              <a:gd name="T14" fmla="*/ 588 w 912"/>
              <a:gd name="T15" fmla="*/ 570 h 1141"/>
              <a:gd name="T16" fmla="*/ 588 w 912"/>
              <a:gd name="T17" fmla="*/ 570 h 1141"/>
              <a:gd name="T18" fmla="*/ 912 w 912"/>
              <a:gd name="T19" fmla="*/ 0 h 1141"/>
              <a:gd name="T20" fmla="*/ 760 w 912"/>
              <a:gd name="T21" fmla="*/ 0 h 1141"/>
              <a:gd name="T22" fmla="*/ 760 w 912"/>
              <a:gd name="T23" fmla="*/ 0 h 1141"/>
              <a:gd name="T24" fmla="*/ 912 w 912"/>
              <a:gd name="T25" fmla="*/ 0 h 1141"/>
              <a:gd name="T26" fmla="*/ 912 w 912"/>
              <a:gd name="T27" fmla="*/ 0 h 11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912" h="1141">
                <a:moveTo>
                  <a:pt x="4" y="1138"/>
                </a:moveTo>
                <a:lnTo>
                  <a:pt x="0" y="1141"/>
                </a:lnTo>
                <a:lnTo>
                  <a:pt x="1" y="1141"/>
                </a:lnTo>
                <a:lnTo>
                  <a:pt x="4" y="1138"/>
                </a:lnTo>
                <a:close/>
                <a:moveTo>
                  <a:pt x="588" y="570"/>
                </a:moveTo>
                <a:lnTo>
                  <a:pt x="429" y="570"/>
                </a:lnTo>
                <a:lnTo>
                  <a:pt x="429" y="570"/>
                </a:lnTo>
                <a:lnTo>
                  <a:pt x="588" y="570"/>
                </a:lnTo>
                <a:lnTo>
                  <a:pt x="588" y="570"/>
                </a:lnTo>
                <a:close/>
                <a:moveTo>
                  <a:pt x="912" y="0"/>
                </a:moveTo>
                <a:lnTo>
                  <a:pt x="760" y="0"/>
                </a:lnTo>
                <a:lnTo>
                  <a:pt x="760" y="0"/>
                </a:lnTo>
                <a:lnTo>
                  <a:pt x="912" y="0"/>
                </a:lnTo>
                <a:lnTo>
                  <a:pt x="912" y="0"/>
                </a:lnTo>
                <a:close/>
              </a:path>
            </a:pathLst>
          </a:custGeom>
          <a:solidFill>
            <a:srgbClr val="D1D3D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6" name="Freeform 74"/>
          <p:cNvSpPr>
            <a:spLocks noEditPoints="1"/>
          </p:cNvSpPr>
          <p:nvPr/>
        </p:nvSpPr>
        <p:spPr bwMode="auto">
          <a:xfrm>
            <a:off x="4623101" y="3949402"/>
            <a:ext cx="1704557" cy="2132567"/>
          </a:xfrm>
          <a:custGeom>
            <a:avLst/>
            <a:gdLst>
              <a:gd name="T0" fmla="*/ 4 w 912"/>
              <a:gd name="T1" fmla="*/ 1138 h 1141"/>
              <a:gd name="T2" fmla="*/ 0 w 912"/>
              <a:gd name="T3" fmla="*/ 1141 h 1141"/>
              <a:gd name="T4" fmla="*/ 1 w 912"/>
              <a:gd name="T5" fmla="*/ 1141 h 1141"/>
              <a:gd name="T6" fmla="*/ 4 w 912"/>
              <a:gd name="T7" fmla="*/ 1138 h 1141"/>
              <a:gd name="T8" fmla="*/ 588 w 912"/>
              <a:gd name="T9" fmla="*/ 570 h 1141"/>
              <a:gd name="T10" fmla="*/ 429 w 912"/>
              <a:gd name="T11" fmla="*/ 570 h 1141"/>
              <a:gd name="T12" fmla="*/ 429 w 912"/>
              <a:gd name="T13" fmla="*/ 570 h 1141"/>
              <a:gd name="T14" fmla="*/ 588 w 912"/>
              <a:gd name="T15" fmla="*/ 570 h 1141"/>
              <a:gd name="T16" fmla="*/ 588 w 912"/>
              <a:gd name="T17" fmla="*/ 570 h 1141"/>
              <a:gd name="T18" fmla="*/ 912 w 912"/>
              <a:gd name="T19" fmla="*/ 0 h 1141"/>
              <a:gd name="T20" fmla="*/ 760 w 912"/>
              <a:gd name="T21" fmla="*/ 0 h 1141"/>
              <a:gd name="T22" fmla="*/ 760 w 912"/>
              <a:gd name="T23" fmla="*/ 0 h 1141"/>
              <a:gd name="T24" fmla="*/ 912 w 912"/>
              <a:gd name="T25" fmla="*/ 0 h 1141"/>
              <a:gd name="T26" fmla="*/ 912 w 912"/>
              <a:gd name="T27" fmla="*/ 0 h 11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912" h="1141">
                <a:moveTo>
                  <a:pt x="4" y="1138"/>
                </a:moveTo>
                <a:lnTo>
                  <a:pt x="0" y="1141"/>
                </a:lnTo>
                <a:lnTo>
                  <a:pt x="1" y="1141"/>
                </a:lnTo>
                <a:lnTo>
                  <a:pt x="4" y="1138"/>
                </a:lnTo>
                <a:moveTo>
                  <a:pt x="588" y="570"/>
                </a:moveTo>
                <a:lnTo>
                  <a:pt x="429" y="570"/>
                </a:lnTo>
                <a:lnTo>
                  <a:pt x="429" y="570"/>
                </a:lnTo>
                <a:lnTo>
                  <a:pt x="588" y="570"/>
                </a:lnTo>
                <a:lnTo>
                  <a:pt x="588" y="570"/>
                </a:lnTo>
                <a:moveTo>
                  <a:pt x="912" y="0"/>
                </a:moveTo>
                <a:lnTo>
                  <a:pt x="760" y="0"/>
                </a:lnTo>
                <a:lnTo>
                  <a:pt x="760" y="0"/>
                </a:lnTo>
                <a:lnTo>
                  <a:pt x="912" y="0"/>
                </a:lnTo>
                <a:lnTo>
                  <a:pt x="91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7" name="Freeform 76"/>
          <p:cNvSpPr>
            <a:spLocks/>
          </p:cNvSpPr>
          <p:nvPr/>
        </p:nvSpPr>
        <p:spPr bwMode="auto">
          <a:xfrm>
            <a:off x="4624971" y="5014751"/>
            <a:ext cx="1097122" cy="1067218"/>
          </a:xfrm>
          <a:custGeom>
            <a:avLst/>
            <a:gdLst>
              <a:gd name="T0" fmla="*/ 587 w 587"/>
              <a:gd name="T1" fmla="*/ 0 h 571"/>
              <a:gd name="T2" fmla="*/ 428 w 587"/>
              <a:gd name="T3" fmla="*/ 0 h 571"/>
              <a:gd name="T4" fmla="*/ 210 w 587"/>
              <a:gd name="T5" fmla="*/ 378 h 571"/>
              <a:gd name="T6" fmla="*/ 208 w 587"/>
              <a:gd name="T7" fmla="*/ 378 h 571"/>
              <a:gd name="T8" fmla="*/ 3 w 587"/>
              <a:gd name="T9" fmla="*/ 568 h 571"/>
              <a:gd name="T10" fmla="*/ 0 w 587"/>
              <a:gd name="T11" fmla="*/ 571 h 571"/>
              <a:gd name="T12" fmla="*/ 263 w 587"/>
              <a:gd name="T13" fmla="*/ 571 h 571"/>
              <a:gd name="T14" fmla="*/ 587 w 587"/>
              <a:gd name="T15" fmla="*/ 0 h 5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87" h="571">
                <a:moveTo>
                  <a:pt x="587" y="0"/>
                </a:moveTo>
                <a:lnTo>
                  <a:pt x="428" y="0"/>
                </a:lnTo>
                <a:lnTo>
                  <a:pt x="210" y="378"/>
                </a:lnTo>
                <a:lnTo>
                  <a:pt x="208" y="378"/>
                </a:lnTo>
                <a:lnTo>
                  <a:pt x="3" y="568"/>
                </a:lnTo>
                <a:lnTo>
                  <a:pt x="0" y="571"/>
                </a:lnTo>
                <a:lnTo>
                  <a:pt x="263" y="571"/>
                </a:lnTo>
                <a:lnTo>
                  <a:pt x="587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8" name="Freeform 78"/>
          <p:cNvSpPr>
            <a:spLocks/>
          </p:cNvSpPr>
          <p:nvPr/>
        </p:nvSpPr>
        <p:spPr bwMode="auto">
          <a:xfrm>
            <a:off x="5424917" y="3949403"/>
            <a:ext cx="902743" cy="1065348"/>
          </a:xfrm>
          <a:custGeom>
            <a:avLst/>
            <a:gdLst>
              <a:gd name="T0" fmla="*/ 483 w 483"/>
              <a:gd name="T1" fmla="*/ 0 h 570"/>
              <a:gd name="T2" fmla="*/ 331 w 483"/>
              <a:gd name="T3" fmla="*/ 0 h 570"/>
              <a:gd name="T4" fmla="*/ 112 w 483"/>
              <a:gd name="T5" fmla="*/ 377 h 570"/>
              <a:gd name="T6" fmla="*/ 112 w 483"/>
              <a:gd name="T7" fmla="*/ 377 h 570"/>
              <a:gd name="T8" fmla="*/ 0 w 483"/>
              <a:gd name="T9" fmla="*/ 570 h 570"/>
              <a:gd name="T10" fmla="*/ 159 w 483"/>
              <a:gd name="T11" fmla="*/ 570 h 570"/>
              <a:gd name="T12" fmla="*/ 483 w 483"/>
              <a:gd name="T13" fmla="*/ 0 h 5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83" h="570">
                <a:moveTo>
                  <a:pt x="483" y="0"/>
                </a:moveTo>
                <a:lnTo>
                  <a:pt x="331" y="0"/>
                </a:lnTo>
                <a:lnTo>
                  <a:pt x="112" y="377"/>
                </a:lnTo>
                <a:lnTo>
                  <a:pt x="112" y="377"/>
                </a:lnTo>
                <a:lnTo>
                  <a:pt x="0" y="570"/>
                </a:lnTo>
                <a:lnTo>
                  <a:pt x="159" y="570"/>
                </a:lnTo>
                <a:lnTo>
                  <a:pt x="483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9" name="Freeform 85"/>
          <p:cNvSpPr>
            <a:spLocks/>
          </p:cNvSpPr>
          <p:nvPr/>
        </p:nvSpPr>
        <p:spPr bwMode="auto">
          <a:xfrm>
            <a:off x="6641656" y="2521461"/>
            <a:ext cx="231760" cy="390628"/>
          </a:xfrm>
          <a:custGeom>
            <a:avLst/>
            <a:gdLst>
              <a:gd name="T0" fmla="*/ 124 w 124"/>
              <a:gd name="T1" fmla="*/ 0 h 209"/>
              <a:gd name="T2" fmla="*/ 121 w 124"/>
              <a:gd name="T3" fmla="*/ 0 h 209"/>
              <a:gd name="T4" fmla="*/ 0 w 124"/>
              <a:gd name="T5" fmla="*/ 209 h 209"/>
              <a:gd name="T6" fmla="*/ 9 w 124"/>
              <a:gd name="T7" fmla="*/ 195 h 209"/>
              <a:gd name="T8" fmla="*/ 9 w 124"/>
              <a:gd name="T9" fmla="*/ 195 h 209"/>
              <a:gd name="T10" fmla="*/ 9 w 124"/>
              <a:gd name="T11" fmla="*/ 195 h 209"/>
              <a:gd name="T12" fmla="*/ 28 w 124"/>
              <a:gd name="T13" fmla="*/ 161 h 209"/>
              <a:gd name="T14" fmla="*/ 124 w 124"/>
              <a:gd name="T15" fmla="*/ 0 h 2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24" h="209">
                <a:moveTo>
                  <a:pt x="124" y="0"/>
                </a:moveTo>
                <a:lnTo>
                  <a:pt x="121" y="0"/>
                </a:lnTo>
                <a:lnTo>
                  <a:pt x="0" y="209"/>
                </a:lnTo>
                <a:lnTo>
                  <a:pt x="9" y="195"/>
                </a:lnTo>
                <a:lnTo>
                  <a:pt x="9" y="195"/>
                </a:lnTo>
                <a:lnTo>
                  <a:pt x="9" y="195"/>
                </a:lnTo>
                <a:lnTo>
                  <a:pt x="28" y="161"/>
                </a:lnTo>
                <a:lnTo>
                  <a:pt x="124" y="0"/>
                </a:lnTo>
                <a:close/>
              </a:path>
            </a:pathLst>
          </a:custGeom>
          <a:solidFill>
            <a:srgbClr val="AC243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0" name="Freeform 86"/>
          <p:cNvSpPr>
            <a:spLocks/>
          </p:cNvSpPr>
          <p:nvPr/>
        </p:nvSpPr>
        <p:spPr bwMode="auto">
          <a:xfrm>
            <a:off x="6641656" y="2521461"/>
            <a:ext cx="231760" cy="390628"/>
          </a:xfrm>
          <a:custGeom>
            <a:avLst/>
            <a:gdLst>
              <a:gd name="T0" fmla="*/ 124 w 124"/>
              <a:gd name="T1" fmla="*/ 0 h 209"/>
              <a:gd name="T2" fmla="*/ 121 w 124"/>
              <a:gd name="T3" fmla="*/ 0 h 209"/>
              <a:gd name="T4" fmla="*/ 0 w 124"/>
              <a:gd name="T5" fmla="*/ 209 h 209"/>
              <a:gd name="T6" fmla="*/ 9 w 124"/>
              <a:gd name="T7" fmla="*/ 195 h 209"/>
              <a:gd name="T8" fmla="*/ 9 w 124"/>
              <a:gd name="T9" fmla="*/ 195 h 209"/>
              <a:gd name="T10" fmla="*/ 9 w 124"/>
              <a:gd name="T11" fmla="*/ 195 h 209"/>
              <a:gd name="T12" fmla="*/ 28 w 124"/>
              <a:gd name="T13" fmla="*/ 161 h 209"/>
              <a:gd name="T14" fmla="*/ 124 w 124"/>
              <a:gd name="T15" fmla="*/ 0 h 2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24" h="209">
                <a:moveTo>
                  <a:pt x="124" y="0"/>
                </a:moveTo>
                <a:lnTo>
                  <a:pt x="121" y="0"/>
                </a:lnTo>
                <a:lnTo>
                  <a:pt x="0" y="209"/>
                </a:lnTo>
                <a:lnTo>
                  <a:pt x="9" y="195"/>
                </a:lnTo>
                <a:lnTo>
                  <a:pt x="9" y="195"/>
                </a:lnTo>
                <a:lnTo>
                  <a:pt x="9" y="195"/>
                </a:lnTo>
                <a:lnTo>
                  <a:pt x="28" y="161"/>
                </a:lnTo>
                <a:lnTo>
                  <a:pt x="124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1" name="Freeform 87"/>
          <p:cNvSpPr>
            <a:spLocks/>
          </p:cNvSpPr>
          <p:nvPr/>
        </p:nvSpPr>
        <p:spPr bwMode="auto">
          <a:xfrm>
            <a:off x="5630509" y="3588680"/>
            <a:ext cx="622388" cy="1065348"/>
          </a:xfrm>
          <a:custGeom>
            <a:avLst/>
            <a:gdLst>
              <a:gd name="T0" fmla="*/ 333 w 333"/>
              <a:gd name="T1" fmla="*/ 0 h 570"/>
              <a:gd name="T2" fmla="*/ 332 w 333"/>
              <a:gd name="T3" fmla="*/ 0 h 570"/>
              <a:gd name="T4" fmla="*/ 0 w 333"/>
              <a:gd name="T5" fmla="*/ 570 h 570"/>
              <a:gd name="T6" fmla="*/ 2 w 333"/>
              <a:gd name="T7" fmla="*/ 570 h 570"/>
              <a:gd name="T8" fmla="*/ 221 w 333"/>
              <a:gd name="T9" fmla="*/ 193 h 570"/>
              <a:gd name="T10" fmla="*/ 221 w 333"/>
              <a:gd name="T11" fmla="*/ 193 h 570"/>
              <a:gd name="T12" fmla="*/ 221 w 333"/>
              <a:gd name="T13" fmla="*/ 193 h 570"/>
              <a:gd name="T14" fmla="*/ 227 w 333"/>
              <a:gd name="T15" fmla="*/ 183 h 570"/>
              <a:gd name="T16" fmla="*/ 333 w 333"/>
              <a:gd name="T17" fmla="*/ 0 h 5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33" h="570">
                <a:moveTo>
                  <a:pt x="333" y="0"/>
                </a:moveTo>
                <a:lnTo>
                  <a:pt x="332" y="0"/>
                </a:lnTo>
                <a:lnTo>
                  <a:pt x="0" y="570"/>
                </a:lnTo>
                <a:lnTo>
                  <a:pt x="2" y="570"/>
                </a:lnTo>
                <a:lnTo>
                  <a:pt x="221" y="193"/>
                </a:lnTo>
                <a:lnTo>
                  <a:pt x="221" y="193"/>
                </a:lnTo>
                <a:lnTo>
                  <a:pt x="221" y="193"/>
                </a:lnTo>
                <a:lnTo>
                  <a:pt x="227" y="183"/>
                </a:lnTo>
                <a:lnTo>
                  <a:pt x="333" y="0"/>
                </a:lnTo>
                <a:close/>
              </a:path>
            </a:pathLst>
          </a:custGeom>
          <a:solidFill>
            <a:srgbClr val="228C8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2" name="Freeform 88"/>
          <p:cNvSpPr>
            <a:spLocks/>
          </p:cNvSpPr>
          <p:nvPr/>
        </p:nvSpPr>
        <p:spPr bwMode="auto">
          <a:xfrm>
            <a:off x="5630509" y="3588680"/>
            <a:ext cx="622388" cy="1065348"/>
          </a:xfrm>
          <a:custGeom>
            <a:avLst/>
            <a:gdLst>
              <a:gd name="T0" fmla="*/ 333 w 333"/>
              <a:gd name="T1" fmla="*/ 0 h 570"/>
              <a:gd name="T2" fmla="*/ 332 w 333"/>
              <a:gd name="T3" fmla="*/ 0 h 570"/>
              <a:gd name="T4" fmla="*/ 0 w 333"/>
              <a:gd name="T5" fmla="*/ 570 h 570"/>
              <a:gd name="T6" fmla="*/ 2 w 333"/>
              <a:gd name="T7" fmla="*/ 570 h 570"/>
              <a:gd name="T8" fmla="*/ 221 w 333"/>
              <a:gd name="T9" fmla="*/ 193 h 570"/>
              <a:gd name="T10" fmla="*/ 221 w 333"/>
              <a:gd name="T11" fmla="*/ 193 h 570"/>
              <a:gd name="T12" fmla="*/ 221 w 333"/>
              <a:gd name="T13" fmla="*/ 193 h 570"/>
              <a:gd name="T14" fmla="*/ 227 w 333"/>
              <a:gd name="T15" fmla="*/ 183 h 570"/>
              <a:gd name="T16" fmla="*/ 333 w 333"/>
              <a:gd name="T17" fmla="*/ 0 h 5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33" h="570">
                <a:moveTo>
                  <a:pt x="333" y="0"/>
                </a:moveTo>
                <a:lnTo>
                  <a:pt x="332" y="0"/>
                </a:lnTo>
                <a:lnTo>
                  <a:pt x="0" y="570"/>
                </a:lnTo>
                <a:lnTo>
                  <a:pt x="2" y="570"/>
                </a:lnTo>
                <a:lnTo>
                  <a:pt x="221" y="193"/>
                </a:lnTo>
                <a:lnTo>
                  <a:pt x="221" y="193"/>
                </a:lnTo>
                <a:lnTo>
                  <a:pt x="221" y="193"/>
                </a:lnTo>
                <a:lnTo>
                  <a:pt x="227" y="183"/>
                </a:lnTo>
                <a:lnTo>
                  <a:pt x="333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3" name="Freeform 89"/>
          <p:cNvSpPr>
            <a:spLocks/>
          </p:cNvSpPr>
          <p:nvPr/>
        </p:nvSpPr>
        <p:spPr bwMode="auto">
          <a:xfrm>
            <a:off x="5013729" y="4654029"/>
            <a:ext cx="620519" cy="1067218"/>
          </a:xfrm>
          <a:custGeom>
            <a:avLst/>
            <a:gdLst>
              <a:gd name="T0" fmla="*/ 332 w 332"/>
              <a:gd name="T1" fmla="*/ 0 h 571"/>
              <a:gd name="T2" fmla="*/ 332 w 332"/>
              <a:gd name="T3" fmla="*/ 0 h 571"/>
              <a:gd name="T4" fmla="*/ 330 w 332"/>
              <a:gd name="T5" fmla="*/ 0 h 571"/>
              <a:gd name="T6" fmla="*/ 0 w 332"/>
              <a:gd name="T7" fmla="*/ 571 h 571"/>
              <a:gd name="T8" fmla="*/ 2 w 332"/>
              <a:gd name="T9" fmla="*/ 571 h 571"/>
              <a:gd name="T10" fmla="*/ 220 w 332"/>
              <a:gd name="T11" fmla="*/ 193 h 571"/>
              <a:gd name="T12" fmla="*/ 220 w 332"/>
              <a:gd name="T13" fmla="*/ 193 h 571"/>
              <a:gd name="T14" fmla="*/ 332 w 332"/>
              <a:gd name="T15" fmla="*/ 0 h 5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32" h="571">
                <a:moveTo>
                  <a:pt x="332" y="0"/>
                </a:moveTo>
                <a:lnTo>
                  <a:pt x="332" y="0"/>
                </a:lnTo>
                <a:lnTo>
                  <a:pt x="330" y="0"/>
                </a:lnTo>
                <a:lnTo>
                  <a:pt x="0" y="571"/>
                </a:lnTo>
                <a:lnTo>
                  <a:pt x="2" y="571"/>
                </a:lnTo>
                <a:lnTo>
                  <a:pt x="220" y="193"/>
                </a:lnTo>
                <a:lnTo>
                  <a:pt x="220" y="193"/>
                </a:lnTo>
                <a:lnTo>
                  <a:pt x="332" y="0"/>
                </a:lnTo>
                <a:close/>
              </a:path>
            </a:pathLst>
          </a:custGeom>
          <a:solidFill>
            <a:srgbClr val="246EA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4" name="Freeform 90"/>
          <p:cNvSpPr>
            <a:spLocks/>
          </p:cNvSpPr>
          <p:nvPr/>
        </p:nvSpPr>
        <p:spPr bwMode="auto">
          <a:xfrm>
            <a:off x="5013729" y="4654029"/>
            <a:ext cx="620519" cy="1067218"/>
          </a:xfrm>
          <a:custGeom>
            <a:avLst/>
            <a:gdLst>
              <a:gd name="T0" fmla="*/ 332 w 332"/>
              <a:gd name="T1" fmla="*/ 0 h 571"/>
              <a:gd name="T2" fmla="*/ 332 w 332"/>
              <a:gd name="T3" fmla="*/ 0 h 571"/>
              <a:gd name="T4" fmla="*/ 330 w 332"/>
              <a:gd name="T5" fmla="*/ 0 h 571"/>
              <a:gd name="T6" fmla="*/ 0 w 332"/>
              <a:gd name="T7" fmla="*/ 571 h 571"/>
              <a:gd name="T8" fmla="*/ 2 w 332"/>
              <a:gd name="T9" fmla="*/ 571 h 571"/>
              <a:gd name="T10" fmla="*/ 220 w 332"/>
              <a:gd name="T11" fmla="*/ 193 h 571"/>
              <a:gd name="T12" fmla="*/ 220 w 332"/>
              <a:gd name="T13" fmla="*/ 193 h 571"/>
              <a:gd name="T14" fmla="*/ 332 w 332"/>
              <a:gd name="T15" fmla="*/ 0 h 5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32" h="571">
                <a:moveTo>
                  <a:pt x="332" y="0"/>
                </a:moveTo>
                <a:lnTo>
                  <a:pt x="332" y="0"/>
                </a:lnTo>
                <a:lnTo>
                  <a:pt x="330" y="0"/>
                </a:lnTo>
                <a:lnTo>
                  <a:pt x="0" y="571"/>
                </a:lnTo>
                <a:lnTo>
                  <a:pt x="2" y="571"/>
                </a:lnTo>
                <a:lnTo>
                  <a:pt x="220" y="193"/>
                </a:lnTo>
                <a:lnTo>
                  <a:pt x="220" y="193"/>
                </a:lnTo>
                <a:lnTo>
                  <a:pt x="33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5" name="Freeform 91"/>
          <p:cNvSpPr>
            <a:spLocks/>
          </p:cNvSpPr>
          <p:nvPr/>
        </p:nvSpPr>
        <p:spPr bwMode="auto">
          <a:xfrm>
            <a:off x="6869678" y="1818705"/>
            <a:ext cx="413057" cy="702756"/>
          </a:xfrm>
          <a:custGeom>
            <a:avLst/>
            <a:gdLst>
              <a:gd name="T0" fmla="*/ 221 w 221"/>
              <a:gd name="T1" fmla="*/ 0 h 376"/>
              <a:gd name="T2" fmla="*/ 220 w 221"/>
              <a:gd name="T3" fmla="*/ 0 h 376"/>
              <a:gd name="T4" fmla="*/ 174 w 221"/>
              <a:gd name="T5" fmla="*/ 75 h 376"/>
              <a:gd name="T6" fmla="*/ 0 w 221"/>
              <a:gd name="T7" fmla="*/ 376 h 376"/>
              <a:gd name="T8" fmla="*/ 221 w 221"/>
              <a:gd name="T9" fmla="*/ 0 h 3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21" h="376">
                <a:moveTo>
                  <a:pt x="221" y="0"/>
                </a:moveTo>
                <a:lnTo>
                  <a:pt x="220" y="0"/>
                </a:lnTo>
                <a:lnTo>
                  <a:pt x="174" y="75"/>
                </a:lnTo>
                <a:lnTo>
                  <a:pt x="0" y="376"/>
                </a:lnTo>
                <a:lnTo>
                  <a:pt x="221" y="0"/>
                </a:lnTo>
                <a:close/>
              </a:path>
            </a:pathLst>
          </a:custGeom>
          <a:solidFill>
            <a:srgbClr val="D1A86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6" name="Freeform 92"/>
          <p:cNvSpPr>
            <a:spLocks/>
          </p:cNvSpPr>
          <p:nvPr/>
        </p:nvSpPr>
        <p:spPr bwMode="auto">
          <a:xfrm>
            <a:off x="6869678" y="1818705"/>
            <a:ext cx="413057" cy="702756"/>
          </a:xfrm>
          <a:custGeom>
            <a:avLst/>
            <a:gdLst>
              <a:gd name="T0" fmla="*/ 221 w 221"/>
              <a:gd name="T1" fmla="*/ 0 h 376"/>
              <a:gd name="T2" fmla="*/ 220 w 221"/>
              <a:gd name="T3" fmla="*/ 0 h 376"/>
              <a:gd name="T4" fmla="*/ 174 w 221"/>
              <a:gd name="T5" fmla="*/ 75 h 376"/>
              <a:gd name="T6" fmla="*/ 0 w 221"/>
              <a:gd name="T7" fmla="*/ 376 h 376"/>
              <a:gd name="T8" fmla="*/ 221 w 221"/>
              <a:gd name="T9" fmla="*/ 0 h 3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21" h="376">
                <a:moveTo>
                  <a:pt x="221" y="0"/>
                </a:moveTo>
                <a:lnTo>
                  <a:pt x="220" y="0"/>
                </a:lnTo>
                <a:lnTo>
                  <a:pt x="174" y="75"/>
                </a:lnTo>
                <a:lnTo>
                  <a:pt x="0" y="376"/>
                </a:lnTo>
                <a:lnTo>
                  <a:pt x="221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7" name="Freeform 93"/>
          <p:cNvSpPr>
            <a:spLocks/>
          </p:cNvSpPr>
          <p:nvPr/>
        </p:nvSpPr>
        <p:spPr bwMode="auto">
          <a:xfrm>
            <a:off x="7194891" y="1818706"/>
            <a:ext cx="85975" cy="140178"/>
          </a:xfrm>
          <a:custGeom>
            <a:avLst/>
            <a:gdLst>
              <a:gd name="T0" fmla="*/ 46 w 46"/>
              <a:gd name="T1" fmla="*/ 0 h 75"/>
              <a:gd name="T2" fmla="*/ 44 w 46"/>
              <a:gd name="T3" fmla="*/ 0 h 75"/>
              <a:gd name="T4" fmla="*/ 0 w 46"/>
              <a:gd name="T5" fmla="*/ 75 h 75"/>
              <a:gd name="T6" fmla="*/ 46 w 46"/>
              <a:gd name="T7" fmla="*/ 0 h 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6" h="75">
                <a:moveTo>
                  <a:pt x="46" y="0"/>
                </a:moveTo>
                <a:lnTo>
                  <a:pt x="44" y="0"/>
                </a:lnTo>
                <a:lnTo>
                  <a:pt x="0" y="75"/>
                </a:lnTo>
                <a:lnTo>
                  <a:pt x="46" y="0"/>
                </a:lnTo>
                <a:close/>
              </a:path>
            </a:pathLst>
          </a:custGeom>
          <a:solidFill>
            <a:srgbClr val="D1A86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8" name="Freeform 94"/>
          <p:cNvSpPr>
            <a:spLocks/>
          </p:cNvSpPr>
          <p:nvPr/>
        </p:nvSpPr>
        <p:spPr bwMode="auto">
          <a:xfrm>
            <a:off x="7194891" y="1818706"/>
            <a:ext cx="85975" cy="140178"/>
          </a:xfrm>
          <a:custGeom>
            <a:avLst/>
            <a:gdLst>
              <a:gd name="T0" fmla="*/ 46 w 46"/>
              <a:gd name="T1" fmla="*/ 0 h 75"/>
              <a:gd name="T2" fmla="*/ 44 w 46"/>
              <a:gd name="T3" fmla="*/ 0 h 75"/>
              <a:gd name="T4" fmla="*/ 0 w 46"/>
              <a:gd name="T5" fmla="*/ 75 h 75"/>
              <a:gd name="T6" fmla="*/ 46 w 46"/>
              <a:gd name="T7" fmla="*/ 0 h 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6" h="75">
                <a:moveTo>
                  <a:pt x="46" y="0"/>
                </a:moveTo>
                <a:lnTo>
                  <a:pt x="44" y="0"/>
                </a:lnTo>
                <a:lnTo>
                  <a:pt x="0" y="75"/>
                </a:lnTo>
                <a:lnTo>
                  <a:pt x="46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9" name="Freeform 95"/>
          <p:cNvSpPr>
            <a:spLocks/>
          </p:cNvSpPr>
          <p:nvPr/>
        </p:nvSpPr>
        <p:spPr bwMode="auto">
          <a:xfrm>
            <a:off x="4624971" y="5721245"/>
            <a:ext cx="392497" cy="360724"/>
          </a:xfrm>
          <a:custGeom>
            <a:avLst/>
            <a:gdLst>
              <a:gd name="T0" fmla="*/ 210 w 210"/>
              <a:gd name="T1" fmla="*/ 0 h 193"/>
              <a:gd name="T2" fmla="*/ 0 w 210"/>
              <a:gd name="T3" fmla="*/ 193 h 193"/>
              <a:gd name="T4" fmla="*/ 112 w 210"/>
              <a:gd name="T5" fmla="*/ 0 h 193"/>
              <a:gd name="T6" fmla="*/ 210 w 210"/>
              <a:gd name="T7" fmla="*/ 0 h 1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0" h="193">
                <a:moveTo>
                  <a:pt x="210" y="0"/>
                </a:moveTo>
                <a:lnTo>
                  <a:pt x="0" y="193"/>
                </a:lnTo>
                <a:lnTo>
                  <a:pt x="112" y="0"/>
                </a:lnTo>
                <a:lnTo>
                  <a:pt x="210" y="0"/>
                </a:lnTo>
                <a:close/>
              </a:path>
            </a:pathLst>
          </a:custGeom>
          <a:solidFill>
            <a:srgbClr val="514A4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0" name="Rectangle 96"/>
          <p:cNvSpPr>
            <a:spLocks noChangeArrowheads="1"/>
          </p:cNvSpPr>
          <p:nvPr/>
        </p:nvSpPr>
        <p:spPr bwMode="auto">
          <a:xfrm>
            <a:off x="8804126" y="6081968"/>
            <a:ext cx="927040" cy="1870"/>
          </a:xfrm>
          <a:prstGeom prst="rect">
            <a:avLst/>
          </a:prstGeom>
          <a:solidFill>
            <a:srgbClr val="D1D3D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" name="Freeform 97"/>
          <p:cNvSpPr>
            <a:spLocks/>
          </p:cNvSpPr>
          <p:nvPr/>
        </p:nvSpPr>
        <p:spPr bwMode="auto">
          <a:xfrm>
            <a:off x="8804126" y="6081968"/>
            <a:ext cx="927040" cy="0"/>
          </a:xfrm>
          <a:custGeom>
            <a:avLst/>
            <a:gdLst>
              <a:gd name="T0" fmla="*/ 496 w 496"/>
              <a:gd name="T1" fmla="*/ 0 w 496"/>
              <a:gd name="T2" fmla="*/ 0 w 496"/>
              <a:gd name="T3" fmla="*/ 496 w 49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</a:cxnLst>
            <a:rect l="0" t="0" r="r" b="b"/>
            <a:pathLst>
              <a:path w="496">
                <a:moveTo>
                  <a:pt x="496" y="0"/>
                </a:moveTo>
                <a:lnTo>
                  <a:pt x="0" y="0"/>
                </a:lnTo>
                <a:lnTo>
                  <a:pt x="0" y="0"/>
                </a:lnTo>
                <a:lnTo>
                  <a:pt x="496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2" name="Oval 107"/>
          <p:cNvSpPr>
            <a:spLocks noChangeArrowheads="1"/>
          </p:cNvSpPr>
          <p:nvPr/>
        </p:nvSpPr>
        <p:spPr bwMode="auto">
          <a:xfrm>
            <a:off x="9200362" y="5014751"/>
            <a:ext cx="1065348" cy="1067218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3" name="Oval 108"/>
          <p:cNvSpPr>
            <a:spLocks noChangeArrowheads="1"/>
          </p:cNvSpPr>
          <p:nvPr/>
        </p:nvSpPr>
        <p:spPr bwMode="auto">
          <a:xfrm>
            <a:off x="9200362" y="1818706"/>
            <a:ext cx="1065348" cy="1067218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4" name="Oval 109"/>
          <p:cNvSpPr>
            <a:spLocks noChangeArrowheads="1"/>
          </p:cNvSpPr>
          <p:nvPr/>
        </p:nvSpPr>
        <p:spPr bwMode="auto">
          <a:xfrm>
            <a:off x="9200362" y="2885923"/>
            <a:ext cx="1065348" cy="106348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5" name="Oval 110"/>
          <p:cNvSpPr>
            <a:spLocks noChangeArrowheads="1"/>
          </p:cNvSpPr>
          <p:nvPr/>
        </p:nvSpPr>
        <p:spPr bwMode="auto">
          <a:xfrm>
            <a:off x="9200362" y="3949403"/>
            <a:ext cx="1065348" cy="1065348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6" name="Oval 108"/>
          <p:cNvSpPr>
            <a:spLocks noChangeArrowheads="1"/>
          </p:cNvSpPr>
          <p:nvPr/>
        </p:nvSpPr>
        <p:spPr bwMode="auto">
          <a:xfrm>
            <a:off x="9288054" y="1906551"/>
            <a:ext cx="889963" cy="891527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7" name="Oval 108"/>
          <p:cNvSpPr>
            <a:spLocks noChangeArrowheads="1"/>
          </p:cNvSpPr>
          <p:nvPr/>
        </p:nvSpPr>
        <p:spPr bwMode="auto">
          <a:xfrm>
            <a:off x="9288054" y="2973769"/>
            <a:ext cx="889963" cy="891527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8" name="Oval 108"/>
          <p:cNvSpPr>
            <a:spLocks noChangeArrowheads="1"/>
          </p:cNvSpPr>
          <p:nvPr/>
        </p:nvSpPr>
        <p:spPr bwMode="auto">
          <a:xfrm>
            <a:off x="9288054" y="4030708"/>
            <a:ext cx="889963" cy="891527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9" name="Oval 108"/>
          <p:cNvSpPr>
            <a:spLocks noChangeArrowheads="1"/>
          </p:cNvSpPr>
          <p:nvPr/>
        </p:nvSpPr>
        <p:spPr bwMode="auto">
          <a:xfrm>
            <a:off x="9288054" y="5096055"/>
            <a:ext cx="889963" cy="891527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0" name="Rectangle 149"/>
          <p:cNvSpPr/>
          <p:nvPr/>
        </p:nvSpPr>
        <p:spPr>
          <a:xfrm>
            <a:off x="1442648" y="2253850"/>
            <a:ext cx="1163767" cy="276999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US" sz="1200" b="1" dirty="0"/>
              <a:t>LOREM IPSUM</a:t>
            </a:r>
            <a:endParaRPr lang="en-US" sz="1200" dirty="0"/>
          </a:p>
        </p:txBody>
      </p:sp>
      <p:sp>
        <p:nvSpPr>
          <p:cNvPr id="151" name="Rectangle 150"/>
          <p:cNvSpPr/>
          <p:nvPr/>
        </p:nvSpPr>
        <p:spPr>
          <a:xfrm>
            <a:off x="1442648" y="3318075"/>
            <a:ext cx="1163767" cy="276999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US" sz="1200" b="1" dirty="0"/>
              <a:t>LOREM IPSUM</a:t>
            </a:r>
            <a:endParaRPr lang="en-US" sz="1200" dirty="0"/>
          </a:p>
        </p:txBody>
      </p:sp>
      <p:sp>
        <p:nvSpPr>
          <p:cNvPr id="152" name="Rectangle 151"/>
          <p:cNvSpPr/>
          <p:nvPr/>
        </p:nvSpPr>
        <p:spPr>
          <a:xfrm>
            <a:off x="1442648" y="4397442"/>
            <a:ext cx="1163767" cy="276999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US" sz="1200" b="1" dirty="0"/>
              <a:t>LOREM IPSUM</a:t>
            </a:r>
            <a:endParaRPr lang="en-US" sz="1200" dirty="0"/>
          </a:p>
        </p:txBody>
      </p:sp>
      <p:sp>
        <p:nvSpPr>
          <p:cNvPr id="153" name="Rectangle 152"/>
          <p:cNvSpPr/>
          <p:nvPr/>
        </p:nvSpPr>
        <p:spPr>
          <a:xfrm>
            <a:off x="1442648" y="5476809"/>
            <a:ext cx="1163767" cy="276999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US" sz="1200" b="1" dirty="0"/>
              <a:t>LOREM IPSUM</a:t>
            </a:r>
            <a:endParaRPr lang="en-US" sz="1200" dirty="0"/>
          </a:p>
        </p:txBody>
      </p:sp>
      <p:grpSp>
        <p:nvGrpSpPr>
          <p:cNvPr id="154" name="Group 153"/>
          <p:cNvGrpSpPr/>
          <p:nvPr/>
        </p:nvGrpSpPr>
        <p:grpSpPr>
          <a:xfrm>
            <a:off x="9591925" y="2183167"/>
            <a:ext cx="282224" cy="338295"/>
            <a:chOff x="5510213" y="777875"/>
            <a:chExt cx="239713" cy="287338"/>
          </a:xfrm>
          <a:solidFill>
            <a:srgbClr val="E2583D"/>
          </a:solidFill>
        </p:grpSpPr>
        <p:sp>
          <p:nvSpPr>
            <p:cNvPr id="155" name="Freeform 9"/>
            <p:cNvSpPr>
              <a:spLocks noEditPoints="1"/>
            </p:cNvSpPr>
            <p:nvPr/>
          </p:nvSpPr>
          <p:spPr bwMode="auto">
            <a:xfrm>
              <a:off x="5510213" y="777875"/>
              <a:ext cx="239713" cy="287338"/>
            </a:xfrm>
            <a:custGeom>
              <a:avLst/>
              <a:gdLst>
                <a:gd name="T0" fmla="*/ 31 w 754"/>
                <a:gd name="T1" fmla="*/ 443 h 904"/>
                <a:gd name="T2" fmla="*/ 63 w 754"/>
                <a:gd name="T3" fmla="*/ 396 h 904"/>
                <a:gd name="T4" fmla="*/ 284 w 754"/>
                <a:gd name="T5" fmla="*/ 390 h 904"/>
                <a:gd name="T6" fmla="*/ 314 w 754"/>
                <a:gd name="T7" fmla="*/ 370 h 904"/>
                <a:gd name="T8" fmla="*/ 319 w 754"/>
                <a:gd name="T9" fmla="*/ 324 h 904"/>
                <a:gd name="T10" fmla="*/ 301 w 754"/>
                <a:gd name="T11" fmla="*/ 241 h 904"/>
                <a:gd name="T12" fmla="*/ 310 w 754"/>
                <a:gd name="T13" fmla="*/ 69 h 904"/>
                <a:gd name="T14" fmla="*/ 340 w 754"/>
                <a:gd name="T15" fmla="*/ 39 h 904"/>
                <a:gd name="T16" fmla="*/ 386 w 754"/>
                <a:gd name="T17" fmla="*/ 30 h 904"/>
                <a:gd name="T18" fmla="*/ 428 w 754"/>
                <a:gd name="T19" fmla="*/ 48 h 904"/>
                <a:gd name="T20" fmla="*/ 454 w 754"/>
                <a:gd name="T21" fmla="*/ 86 h 904"/>
                <a:gd name="T22" fmla="*/ 449 w 754"/>
                <a:gd name="T23" fmla="*/ 276 h 904"/>
                <a:gd name="T24" fmla="*/ 432 w 754"/>
                <a:gd name="T25" fmla="*/ 340 h 904"/>
                <a:gd name="T26" fmla="*/ 447 w 754"/>
                <a:gd name="T27" fmla="*/ 379 h 904"/>
                <a:gd name="T28" fmla="*/ 483 w 754"/>
                <a:gd name="T29" fmla="*/ 391 h 904"/>
                <a:gd name="T30" fmla="*/ 702 w 754"/>
                <a:gd name="T31" fmla="*/ 404 h 904"/>
                <a:gd name="T32" fmla="*/ 724 w 754"/>
                <a:gd name="T33" fmla="*/ 573 h 904"/>
                <a:gd name="T34" fmla="*/ 630 w 754"/>
                <a:gd name="T35" fmla="*/ 685 h 904"/>
                <a:gd name="T36" fmla="*/ 615 w 754"/>
                <a:gd name="T37" fmla="*/ 678 h 904"/>
                <a:gd name="T38" fmla="*/ 603 w 754"/>
                <a:gd name="T39" fmla="*/ 690 h 904"/>
                <a:gd name="T40" fmla="*/ 542 w 754"/>
                <a:gd name="T41" fmla="*/ 732 h 904"/>
                <a:gd name="T42" fmla="*/ 528 w 754"/>
                <a:gd name="T43" fmla="*/ 724 h 904"/>
                <a:gd name="T44" fmla="*/ 514 w 754"/>
                <a:gd name="T45" fmla="*/ 732 h 904"/>
                <a:gd name="T46" fmla="*/ 452 w 754"/>
                <a:gd name="T47" fmla="*/ 796 h 904"/>
                <a:gd name="T48" fmla="*/ 440 w 754"/>
                <a:gd name="T49" fmla="*/ 784 h 904"/>
                <a:gd name="T50" fmla="*/ 425 w 754"/>
                <a:gd name="T51" fmla="*/ 790 h 904"/>
                <a:gd name="T52" fmla="*/ 241 w 754"/>
                <a:gd name="T53" fmla="*/ 739 h 904"/>
                <a:gd name="T54" fmla="*/ 219 w 754"/>
                <a:gd name="T55" fmla="*/ 725 h 904"/>
                <a:gd name="T56" fmla="*/ 694 w 754"/>
                <a:gd name="T57" fmla="*/ 603 h 904"/>
                <a:gd name="T58" fmla="*/ 467 w 754"/>
                <a:gd name="T59" fmla="*/ 356 h 904"/>
                <a:gd name="T60" fmla="*/ 474 w 754"/>
                <a:gd name="T61" fmla="*/ 301 h 904"/>
                <a:gd name="T62" fmla="*/ 485 w 754"/>
                <a:gd name="T63" fmla="*/ 88 h 904"/>
                <a:gd name="T64" fmla="*/ 455 w 754"/>
                <a:gd name="T65" fmla="*/ 32 h 904"/>
                <a:gd name="T66" fmla="*/ 400 w 754"/>
                <a:gd name="T67" fmla="*/ 2 h 904"/>
                <a:gd name="T68" fmla="*/ 335 w 754"/>
                <a:gd name="T69" fmla="*/ 7 h 904"/>
                <a:gd name="T70" fmla="*/ 289 w 754"/>
                <a:gd name="T71" fmla="*/ 45 h 904"/>
                <a:gd name="T72" fmla="*/ 271 w 754"/>
                <a:gd name="T73" fmla="*/ 105 h 904"/>
                <a:gd name="T74" fmla="*/ 289 w 754"/>
                <a:gd name="T75" fmla="*/ 330 h 904"/>
                <a:gd name="T76" fmla="*/ 278 w 754"/>
                <a:gd name="T77" fmla="*/ 361 h 904"/>
                <a:gd name="T78" fmla="*/ 46 w 754"/>
                <a:gd name="T79" fmla="*/ 370 h 904"/>
                <a:gd name="T80" fmla="*/ 13 w 754"/>
                <a:gd name="T81" fmla="*/ 406 h 904"/>
                <a:gd name="T82" fmla="*/ 0 w 754"/>
                <a:gd name="T83" fmla="*/ 453 h 904"/>
                <a:gd name="T84" fmla="*/ 6 w 754"/>
                <a:gd name="T85" fmla="*/ 600 h 904"/>
                <a:gd name="T86" fmla="*/ 30 w 754"/>
                <a:gd name="T87" fmla="*/ 892 h 904"/>
                <a:gd name="T88" fmla="*/ 42 w 754"/>
                <a:gd name="T89" fmla="*/ 904 h 904"/>
                <a:gd name="T90" fmla="*/ 164 w 754"/>
                <a:gd name="T91" fmla="*/ 896 h 904"/>
                <a:gd name="T92" fmla="*/ 215 w 754"/>
                <a:gd name="T93" fmla="*/ 900 h 904"/>
                <a:gd name="T94" fmla="*/ 712 w 754"/>
                <a:gd name="T95" fmla="*/ 904 h 904"/>
                <a:gd name="T96" fmla="*/ 724 w 754"/>
                <a:gd name="T97" fmla="*/ 892 h 904"/>
                <a:gd name="T98" fmla="*/ 747 w 754"/>
                <a:gd name="T99" fmla="*/ 600 h 904"/>
                <a:gd name="T100" fmla="*/ 754 w 754"/>
                <a:gd name="T101" fmla="*/ 451 h 904"/>
                <a:gd name="T102" fmla="*/ 741 w 754"/>
                <a:gd name="T103" fmla="*/ 406 h 904"/>
                <a:gd name="T104" fmla="*/ 706 w 754"/>
                <a:gd name="T105" fmla="*/ 370 h 9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754" h="904">
                  <a:moveTo>
                    <a:pt x="724" y="573"/>
                  </a:moveTo>
                  <a:lnTo>
                    <a:pt x="709" y="573"/>
                  </a:lnTo>
                  <a:lnTo>
                    <a:pt x="45" y="573"/>
                  </a:lnTo>
                  <a:lnTo>
                    <a:pt x="30" y="573"/>
                  </a:lnTo>
                  <a:lnTo>
                    <a:pt x="30" y="451"/>
                  </a:lnTo>
                  <a:lnTo>
                    <a:pt x="31" y="443"/>
                  </a:lnTo>
                  <a:lnTo>
                    <a:pt x="34" y="432"/>
                  </a:lnTo>
                  <a:lnTo>
                    <a:pt x="38" y="422"/>
                  </a:lnTo>
                  <a:lnTo>
                    <a:pt x="45" y="413"/>
                  </a:lnTo>
                  <a:lnTo>
                    <a:pt x="51" y="404"/>
                  </a:lnTo>
                  <a:lnTo>
                    <a:pt x="59" y="398"/>
                  </a:lnTo>
                  <a:lnTo>
                    <a:pt x="63" y="396"/>
                  </a:lnTo>
                  <a:lnTo>
                    <a:pt x="66" y="393"/>
                  </a:lnTo>
                  <a:lnTo>
                    <a:pt x="71" y="392"/>
                  </a:lnTo>
                  <a:lnTo>
                    <a:pt x="75" y="391"/>
                  </a:lnTo>
                  <a:lnTo>
                    <a:pt x="271" y="391"/>
                  </a:lnTo>
                  <a:lnTo>
                    <a:pt x="277" y="391"/>
                  </a:lnTo>
                  <a:lnTo>
                    <a:pt x="284" y="390"/>
                  </a:lnTo>
                  <a:lnTo>
                    <a:pt x="290" y="389"/>
                  </a:lnTo>
                  <a:lnTo>
                    <a:pt x="296" y="386"/>
                  </a:lnTo>
                  <a:lnTo>
                    <a:pt x="301" y="383"/>
                  </a:lnTo>
                  <a:lnTo>
                    <a:pt x="305" y="379"/>
                  </a:lnTo>
                  <a:lnTo>
                    <a:pt x="310" y="375"/>
                  </a:lnTo>
                  <a:lnTo>
                    <a:pt x="314" y="370"/>
                  </a:lnTo>
                  <a:lnTo>
                    <a:pt x="317" y="363"/>
                  </a:lnTo>
                  <a:lnTo>
                    <a:pt x="319" y="356"/>
                  </a:lnTo>
                  <a:lnTo>
                    <a:pt x="320" y="348"/>
                  </a:lnTo>
                  <a:lnTo>
                    <a:pt x="320" y="340"/>
                  </a:lnTo>
                  <a:lnTo>
                    <a:pt x="320" y="332"/>
                  </a:lnTo>
                  <a:lnTo>
                    <a:pt x="319" y="324"/>
                  </a:lnTo>
                  <a:lnTo>
                    <a:pt x="317" y="317"/>
                  </a:lnTo>
                  <a:lnTo>
                    <a:pt x="315" y="311"/>
                  </a:lnTo>
                  <a:lnTo>
                    <a:pt x="308" y="292"/>
                  </a:lnTo>
                  <a:lnTo>
                    <a:pt x="304" y="276"/>
                  </a:lnTo>
                  <a:lnTo>
                    <a:pt x="302" y="260"/>
                  </a:lnTo>
                  <a:lnTo>
                    <a:pt x="301" y="241"/>
                  </a:lnTo>
                  <a:lnTo>
                    <a:pt x="301" y="105"/>
                  </a:lnTo>
                  <a:lnTo>
                    <a:pt x="302" y="98"/>
                  </a:lnTo>
                  <a:lnTo>
                    <a:pt x="303" y="89"/>
                  </a:lnTo>
                  <a:lnTo>
                    <a:pt x="304" y="82"/>
                  </a:lnTo>
                  <a:lnTo>
                    <a:pt x="307" y="75"/>
                  </a:lnTo>
                  <a:lnTo>
                    <a:pt x="310" y="69"/>
                  </a:lnTo>
                  <a:lnTo>
                    <a:pt x="314" y="62"/>
                  </a:lnTo>
                  <a:lnTo>
                    <a:pt x="318" y="57"/>
                  </a:lnTo>
                  <a:lnTo>
                    <a:pt x="322" y="51"/>
                  </a:lnTo>
                  <a:lnTo>
                    <a:pt x="328" y="46"/>
                  </a:lnTo>
                  <a:lnTo>
                    <a:pt x="334" y="42"/>
                  </a:lnTo>
                  <a:lnTo>
                    <a:pt x="340" y="39"/>
                  </a:lnTo>
                  <a:lnTo>
                    <a:pt x="347" y="35"/>
                  </a:lnTo>
                  <a:lnTo>
                    <a:pt x="354" y="33"/>
                  </a:lnTo>
                  <a:lnTo>
                    <a:pt x="361" y="31"/>
                  </a:lnTo>
                  <a:lnTo>
                    <a:pt x="369" y="30"/>
                  </a:lnTo>
                  <a:lnTo>
                    <a:pt x="377" y="30"/>
                  </a:lnTo>
                  <a:lnTo>
                    <a:pt x="386" y="30"/>
                  </a:lnTo>
                  <a:lnTo>
                    <a:pt x="393" y="31"/>
                  </a:lnTo>
                  <a:lnTo>
                    <a:pt x="401" y="33"/>
                  </a:lnTo>
                  <a:lnTo>
                    <a:pt x="408" y="36"/>
                  </a:lnTo>
                  <a:lnTo>
                    <a:pt x="415" y="40"/>
                  </a:lnTo>
                  <a:lnTo>
                    <a:pt x="422" y="44"/>
                  </a:lnTo>
                  <a:lnTo>
                    <a:pt x="428" y="48"/>
                  </a:lnTo>
                  <a:lnTo>
                    <a:pt x="434" y="54"/>
                  </a:lnTo>
                  <a:lnTo>
                    <a:pt x="439" y="59"/>
                  </a:lnTo>
                  <a:lnTo>
                    <a:pt x="444" y="65"/>
                  </a:lnTo>
                  <a:lnTo>
                    <a:pt x="447" y="72"/>
                  </a:lnTo>
                  <a:lnTo>
                    <a:pt x="452" y="78"/>
                  </a:lnTo>
                  <a:lnTo>
                    <a:pt x="454" y="86"/>
                  </a:lnTo>
                  <a:lnTo>
                    <a:pt x="456" y="93"/>
                  </a:lnTo>
                  <a:lnTo>
                    <a:pt x="457" y="101"/>
                  </a:lnTo>
                  <a:lnTo>
                    <a:pt x="457" y="110"/>
                  </a:lnTo>
                  <a:lnTo>
                    <a:pt x="453" y="241"/>
                  </a:lnTo>
                  <a:lnTo>
                    <a:pt x="452" y="260"/>
                  </a:lnTo>
                  <a:lnTo>
                    <a:pt x="449" y="276"/>
                  </a:lnTo>
                  <a:lnTo>
                    <a:pt x="445" y="292"/>
                  </a:lnTo>
                  <a:lnTo>
                    <a:pt x="438" y="311"/>
                  </a:lnTo>
                  <a:lnTo>
                    <a:pt x="436" y="317"/>
                  </a:lnTo>
                  <a:lnTo>
                    <a:pt x="434" y="324"/>
                  </a:lnTo>
                  <a:lnTo>
                    <a:pt x="433" y="332"/>
                  </a:lnTo>
                  <a:lnTo>
                    <a:pt x="432" y="340"/>
                  </a:lnTo>
                  <a:lnTo>
                    <a:pt x="433" y="348"/>
                  </a:lnTo>
                  <a:lnTo>
                    <a:pt x="434" y="356"/>
                  </a:lnTo>
                  <a:lnTo>
                    <a:pt x="436" y="363"/>
                  </a:lnTo>
                  <a:lnTo>
                    <a:pt x="440" y="370"/>
                  </a:lnTo>
                  <a:lnTo>
                    <a:pt x="443" y="375"/>
                  </a:lnTo>
                  <a:lnTo>
                    <a:pt x="447" y="379"/>
                  </a:lnTo>
                  <a:lnTo>
                    <a:pt x="453" y="383"/>
                  </a:lnTo>
                  <a:lnTo>
                    <a:pt x="458" y="386"/>
                  </a:lnTo>
                  <a:lnTo>
                    <a:pt x="463" y="389"/>
                  </a:lnTo>
                  <a:lnTo>
                    <a:pt x="469" y="390"/>
                  </a:lnTo>
                  <a:lnTo>
                    <a:pt x="475" y="391"/>
                  </a:lnTo>
                  <a:lnTo>
                    <a:pt x="483" y="391"/>
                  </a:lnTo>
                  <a:lnTo>
                    <a:pt x="678" y="391"/>
                  </a:lnTo>
                  <a:lnTo>
                    <a:pt x="683" y="392"/>
                  </a:lnTo>
                  <a:lnTo>
                    <a:pt x="686" y="393"/>
                  </a:lnTo>
                  <a:lnTo>
                    <a:pt x="690" y="396"/>
                  </a:lnTo>
                  <a:lnTo>
                    <a:pt x="695" y="398"/>
                  </a:lnTo>
                  <a:lnTo>
                    <a:pt x="702" y="404"/>
                  </a:lnTo>
                  <a:lnTo>
                    <a:pt x="709" y="413"/>
                  </a:lnTo>
                  <a:lnTo>
                    <a:pt x="715" y="422"/>
                  </a:lnTo>
                  <a:lnTo>
                    <a:pt x="719" y="432"/>
                  </a:lnTo>
                  <a:lnTo>
                    <a:pt x="723" y="443"/>
                  </a:lnTo>
                  <a:lnTo>
                    <a:pt x="724" y="453"/>
                  </a:lnTo>
                  <a:lnTo>
                    <a:pt x="724" y="573"/>
                  </a:lnTo>
                  <a:close/>
                  <a:moveTo>
                    <a:pt x="694" y="874"/>
                  </a:moveTo>
                  <a:lnTo>
                    <a:pt x="633" y="874"/>
                  </a:lnTo>
                  <a:lnTo>
                    <a:pt x="633" y="693"/>
                  </a:lnTo>
                  <a:lnTo>
                    <a:pt x="632" y="690"/>
                  </a:lnTo>
                  <a:lnTo>
                    <a:pt x="632" y="687"/>
                  </a:lnTo>
                  <a:lnTo>
                    <a:pt x="630" y="685"/>
                  </a:lnTo>
                  <a:lnTo>
                    <a:pt x="629" y="683"/>
                  </a:lnTo>
                  <a:lnTo>
                    <a:pt x="627" y="681"/>
                  </a:lnTo>
                  <a:lnTo>
                    <a:pt x="624" y="679"/>
                  </a:lnTo>
                  <a:lnTo>
                    <a:pt x="621" y="678"/>
                  </a:lnTo>
                  <a:lnTo>
                    <a:pt x="618" y="678"/>
                  </a:lnTo>
                  <a:lnTo>
                    <a:pt x="615" y="678"/>
                  </a:lnTo>
                  <a:lnTo>
                    <a:pt x="612" y="679"/>
                  </a:lnTo>
                  <a:lnTo>
                    <a:pt x="610" y="681"/>
                  </a:lnTo>
                  <a:lnTo>
                    <a:pt x="607" y="683"/>
                  </a:lnTo>
                  <a:lnTo>
                    <a:pt x="605" y="685"/>
                  </a:lnTo>
                  <a:lnTo>
                    <a:pt x="604" y="687"/>
                  </a:lnTo>
                  <a:lnTo>
                    <a:pt x="603" y="690"/>
                  </a:lnTo>
                  <a:lnTo>
                    <a:pt x="603" y="693"/>
                  </a:lnTo>
                  <a:lnTo>
                    <a:pt x="603" y="874"/>
                  </a:lnTo>
                  <a:lnTo>
                    <a:pt x="543" y="874"/>
                  </a:lnTo>
                  <a:lnTo>
                    <a:pt x="543" y="739"/>
                  </a:lnTo>
                  <a:lnTo>
                    <a:pt x="542" y="735"/>
                  </a:lnTo>
                  <a:lnTo>
                    <a:pt x="542" y="732"/>
                  </a:lnTo>
                  <a:lnTo>
                    <a:pt x="540" y="730"/>
                  </a:lnTo>
                  <a:lnTo>
                    <a:pt x="539" y="728"/>
                  </a:lnTo>
                  <a:lnTo>
                    <a:pt x="535" y="726"/>
                  </a:lnTo>
                  <a:lnTo>
                    <a:pt x="533" y="725"/>
                  </a:lnTo>
                  <a:lnTo>
                    <a:pt x="530" y="724"/>
                  </a:lnTo>
                  <a:lnTo>
                    <a:pt x="528" y="724"/>
                  </a:lnTo>
                  <a:lnTo>
                    <a:pt x="525" y="724"/>
                  </a:lnTo>
                  <a:lnTo>
                    <a:pt x="521" y="725"/>
                  </a:lnTo>
                  <a:lnTo>
                    <a:pt x="519" y="726"/>
                  </a:lnTo>
                  <a:lnTo>
                    <a:pt x="517" y="728"/>
                  </a:lnTo>
                  <a:lnTo>
                    <a:pt x="515" y="730"/>
                  </a:lnTo>
                  <a:lnTo>
                    <a:pt x="514" y="732"/>
                  </a:lnTo>
                  <a:lnTo>
                    <a:pt x="513" y="735"/>
                  </a:lnTo>
                  <a:lnTo>
                    <a:pt x="513" y="739"/>
                  </a:lnTo>
                  <a:lnTo>
                    <a:pt x="513" y="874"/>
                  </a:lnTo>
                  <a:lnTo>
                    <a:pt x="453" y="874"/>
                  </a:lnTo>
                  <a:lnTo>
                    <a:pt x="453" y="799"/>
                  </a:lnTo>
                  <a:lnTo>
                    <a:pt x="452" y="796"/>
                  </a:lnTo>
                  <a:lnTo>
                    <a:pt x="450" y="793"/>
                  </a:lnTo>
                  <a:lnTo>
                    <a:pt x="449" y="790"/>
                  </a:lnTo>
                  <a:lnTo>
                    <a:pt x="447" y="788"/>
                  </a:lnTo>
                  <a:lnTo>
                    <a:pt x="445" y="786"/>
                  </a:lnTo>
                  <a:lnTo>
                    <a:pt x="443" y="785"/>
                  </a:lnTo>
                  <a:lnTo>
                    <a:pt x="440" y="784"/>
                  </a:lnTo>
                  <a:lnTo>
                    <a:pt x="436" y="784"/>
                  </a:lnTo>
                  <a:lnTo>
                    <a:pt x="434" y="784"/>
                  </a:lnTo>
                  <a:lnTo>
                    <a:pt x="431" y="785"/>
                  </a:lnTo>
                  <a:lnTo>
                    <a:pt x="429" y="786"/>
                  </a:lnTo>
                  <a:lnTo>
                    <a:pt x="427" y="788"/>
                  </a:lnTo>
                  <a:lnTo>
                    <a:pt x="425" y="790"/>
                  </a:lnTo>
                  <a:lnTo>
                    <a:pt x="424" y="793"/>
                  </a:lnTo>
                  <a:lnTo>
                    <a:pt x="422" y="796"/>
                  </a:lnTo>
                  <a:lnTo>
                    <a:pt x="421" y="799"/>
                  </a:lnTo>
                  <a:lnTo>
                    <a:pt x="421" y="874"/>
                  </a:lnTo>
                  <a:lnTo>
                    <a:pt x="241" y="874"/>
                  </a:lnTo>
                  <a:lnTo>
                    <a:pt x="241" y="739"/>
                  </a:lnTo>
                  <a:lnTo>
                    <a:pt x="240" y="733"/>
                  </a:lnTo>
                  <a:lnTo>
                    <a:pt x="237" y="729"/>
                  </a:lnTo>
                  <a:lnTo>
                    <a:pt x="234" y="726"/>
                  </a:lnTo>
                  <a:lnTo>
                    <a:pt x="229" y="724"/>
                  </a:lnTo>
                  <a:lnTo>
                    <a:pt x="225" y="724"/>
                  </a:lnTo>
                  <a:lnTo>
                    <a:pt x="219" y="725"/>
                  </a:lnTo>
                  <a:lnTo>
                    <a:pt x="215" y="728"/>
                  </a:lnTo>
                  <a:lnTo>
                    <a:pt x="213" y="732"/>
                  </a:lnTo>
                  <a:lnTo>
                    <a:pt x="141" y="874"/>
                  </a:lnTo>
                  <a:lnTo>
                    <a:pt x="60" y="874"/>
                  </a:lnTo>
                  <a:lnTo>
                    <a:pt x="60" y="603"/>
                  </a:lnTo>
                  <a:lnTo>
                    <a:pt x="694" y="603"/>
                  </a:lnTo>
                  <a:lnTo>
                    <a:pt x="694" y="874"/>
                  </a:lnTo>
                  <a:close/>
                  <a:moveTo>
                    <a:pt x="678" y="361"/>
                  </a:moveTo>
                  <a:lnTo>
                    <a:pt x="483" y="361"/>
                  </a:lnTo>
                  <a:lnTo>
                    <a:pt x="475" y="361"/>
                  </a:lnTo>
                  <a:lnTo>
                    <a:pt x="471" y="359"/>
                  </a:lnTo>
                  <a:lnTo>
                    <a:pt x="467" y="356"/>
                  </a:lnTo>
                  <a:lnTo>
                    <a:pt x="464" y="354"/>
                  </a:lnTo>
                  <a:lnTo>
                    <a:pt x="463" y="348"/>
                  </a:lnTo>
                  <a:lnTo>
                    <a:pt x="462" y="340"/>
                  </a:lnTo>
                  <a:lnTo>
                    <a:pt x="463" y="330"/>
                  </a:lnTo>
                  <a:lnTo>
                    <a:pt x="467" y="322"/>
                  </a:lnTo>
                  <a:lnTo>
                    <a:pt x="474" y="301"/>
                  </a:lnTo>
                  <a:lnTo>
                    <a:pt x="478" y="282"/>
                  </a:lnTo>
                  <a:lnTo>
                    <a:pt x="482" y="263"/>
                  </a:lnTo>
                  <a:lnTo>
                    <a:pt x="483" y="242"/>
                  </a:lnTo>
                  <a:lnTo>
                    <a:pt x="487" y="110"/>
                  </a:lnTo>
                  <a:lnTo>
                    <a:pt x="487" y="99"/>
                  </a:lnTo>
                  <a:lnTo>
                    <a:pt x="485" y="88"/>
                  </a:lnTo>
                  <a:lnTo>
                    <a:pt x="483" y="77"/>
                  </a:lnTo>
                  <a:lnTo>
                    <a:pt x="478" y="67"/>
                  </a:lnTo>
                  <a:lnTo>
                    <a:pt x="474" y="58"/>
                  </a:lnTo>
                  <a:lnTo>
                    <a:pt x="469" y="48"/>
                  </a:lnTo>
                  <a:lnTo>
                    <a:pt x="462" y="40"/>
                  </a:lnTo>
                  <a:lnTo>
                    <a:pt x="455" y="32"/>
                  </a:lnTo>
                  <a:lnTo>
                    <a:pt x="447" y="25"/>
                  </a:lnTo>
                  <a:lnTo>
                    <a:pt x="439" y="18"/>
                  </a:lnTo>
                  <a:lnTo>
                    <a:pt x="430" y="13"/>
                  </a:lnTo>
                  <a:lnTo>
                    <a:pt x="420" y="8"/>
                  </a:lnTo>
                  <a:lnTo>
                    <a:pt x="410" y="5"/>
                  </a:lnTo>
                  <a:lnTo>
                    <a:pt x="400" y="2"/>
                  </a:lnTo>
                  <a:lnTo>
                    <a:pt x="388" y="0"/>
                  </a:lnTo>
                  <a:lnTo>
                    <a:pt x="377" y="0"/>
                  </a:lnTo>
                  <a:lnTo>
                    <a:pt x="367" y="0"/>
                  </a:lnTo>
                  <a:lnTo>
                    <a:pt x="356" y="2"/>
                  </a:lnTo>
                  <a:lnTo>
                    <a:pt x="345" y="4"/>
                  </a:lnTo>
                  <a:lnTo>
                    <a:pt x="335" y="7"/>
                  </a:lnTo>
                  <a:lnTo>
                    <a:pt x="326" y="12"/>
                  </a:lnTo>
                  <a:lnTo>
                    <a:pt x="317" y="17"/>
                  </a:lnTo>
                  <a:lnTo>
                    <a:pt x="308" y="24"/>
                  </a:lnTo>
                  <a:lnTo>
                    <a:pt x="302" y="30"/>
                  </a:lnTo>
                  <a:lnTo>
                    <a:pt x="294" y="37"/>
                  </a:lnTo>
                  <a:lnTo>
                    <a:pt x="289" y="45"/>
                  </a:lnTo>
                  <a:lnTo>
                    <a:pt x="284" y="55"/>
                  </a:lnTo>
                  <a:lnTo>
                    <a:pt x="279" y="63"/>
                  </a:lnTo>
                  <a:lnTo>
                    <a:pt x="276" y="73"/>
                  </a:lnTo>
                  <a:lnTo>
                    <a:pt x="273" y="84"/>
                  </a:lnTo>
                  <a:lnTo>
                    <a:pt x="272" y="94"/>
                  </a:lnTo>
                  <a:lnTo>
                    <a:pt x="271" y="105"/>
                  </a:lnTo>
                  <a:lnTo>
                    <a:pt x="271" y="241"/>
                  </a:lnTo>
                  <a:lnTo>
                    <a:pt x="272" y="262"/>
                  </a:lnTo>
                  <a:lnTo>
                    <a:pt x="274" y="282"/>
                  </a:lnTo>
                  <a:lnTo>
                    <a:pt x="279" y="301"/>
                  </a:lnTo>
                  <a:lnTo>
                    <a:pt x="287" y="322"/>
                  </a:lnTo>
                  <a:lnTo>
                    <a:pt x="289" y="330"/>
                  </a:lnTo>
                  <a:lnTo>
                    <a:pt x="290" y="340"/>
                  </a:lnTo>
                  <a:lnTo>
                    <a:pt x="290" y="348"/>
                  </a:lnTo>
                  <a:lnTo>
                    <a:pt x="289" y="354"/>
                  </a:lnTo>
                  <a:lnTo>
                    <a:pt x="286" y="356"/>
                  </a:lnTo>
                  <a:lnTo>
                    <a:pt x="283" y="359"/>
                  </a:lnTo>
                  <a:lnTo>
                    <a:pt x="278" y="361"/>
                  </a:lnTo>
                  <a:lnTo>
                    <a:pt x="271" y="361"/>
                  </a:lnTo>
                  <a:lnTo>
                    <a:pt x="75" y="361"/>
                  </a:lnTo>
                  <a:lnTo>
                    <a:pt x="68" y="362"/>
                  </a:lnTo>
                  <a:lnTo>
                    <a:pt x="60" y="363"/>
                  </a:lnTo>
                  <a:lnTo>
                    <a:pt x="54" y="367"/>
                  </a:lnTo>
                  <a:lnTo>
                    <a:pt x="46" y="370"/>
                  </a:lnTo>
                  <a:lnTo>
                    <a:pt x="40" y="374"/>
                  </a:lnTo>
                  <a:lnTo>
                    <a:pt x="34" y="379"/>
                  </a:lnTo>
                  <a:lnTo>
                    <a:pt x="28" y="386"/>
                  </a:lnTo>
                  <a:lnTo>
                    <a:pt x="22" y="392"/>
                  </a:lnTo>
                  <a:lnTo>
                    <a:pt x="17" y="399"/>
                  </a:lnTo>
                  <a:lnTo>
                    <a:pt x="13" y="406"/>
                  </a:lnTo>
                  <a:lnTo>
                    <a:pt x="9" y="414"/>
                  </a:lnTo>
                  <a:lnTo>
                    <a:pt x="6" y="421"/>
                  </a:lnTo>
                  <a:lnTo>
                    <a:pt x="3" y="429"/>
                  </a:lnTo>
                  <a:lnTo>
                    <a:pt x="1" y="436"/>
                  </a:lnTo>
                  <a:lnTo>
                    <a:pt x="0" y="444"/>
                  </a:lnTo>
                  <a:lnTo>
                    <a:pt x="0" y="453"/>
                  </a:lnTo>
                  <a:lnTo>
                    <a:pt x="0" y="588"/>
                  </a:lnTo>
                  <a:lnTo>
                    <a:pt x="0" y="590"/>
                  </a:lnTo>
                  <a:lnTo>
                    <a:pt x="1" y="593"/>
                  </a:lnTo>
                  <a:lnTo>
                    <a:pt x="2" y="597"/>
                  </a:lnTo>
                  <a:lnTo>
                    <a:pt x="4" y="599"/>
                  </a:lnTo>
                  <a:lnTo>
                    <a:pt x="6" y="600"/>
                  </a:lnTo>
                  <a:lnTo>
                    <a:pt x="8" y="602"/>
                  </a:lnTo>
                  <a:lnTo>
                    <a:pt x="12" y="602"/>
                  </a:lnTo>
                  <a:lnTo>
                    <a:pt x="15" y="603"/>
                  </a:lnTo>
                  <a:lnTo>
                    <a:pt x="30" y="603"/>
                  </a:lnTo>
                  <a:lnTo>
                    <a:pt x="30" y="889"/>
                  </a:lnTo>
                  <a:lnTo>
                    <a:pt x="30" y="892"/>
                  </a:lnTo>
                  <a:lnTo>
                    <a:pt x="31" y="896"/>
                  </a:lnTo>
                  <a:lnTo>
                    <a:pt x="32" y="898"/>
                  </a:lnTo>
                  <a:lnTo>
                    <a:pt x="34" y="900"/>
                  </a:lnTo>
                  <a:lnTo>
                    <a:pt x="36" y="902"/>
                  </a:lnTo>
                  <a:lnTo>
                    <a:pt x="40" y="903"/>
                  </a:lnTo>
                  <a:lnTo>
                    <a:pt x="42" y="904"/>
                  </a:lnTo>
                  <a:lnTo>
                    <a:pt x="45" y="904"/>
                  </a:lnTo>
                  <a:lnTo>
                    <a:pt x="150" y="904"/>
                  </a:lnTo>
                  <a:lnTo>
                    <a:pt x="155" y="904"/>
                  </a:lnTo>
                  <a:lnTo>
                    <a:pt x="158" y="902"/>
                  </a:lnTo>
                  <a:lnTo>
                    <a:pt x="161" y="900"/>
                  </a:lnTo>
                  <a:lnTo>
                    <a:pt x="164" y="896"/>
                  </a:lnTo>
                  <a:lnTo>
                    <a:pt x="211" y="802"/>
                  </a:lnTo>
                  <a:lnTo>
                    <a:pt x="211" y="889"/>
                  </a:lnTo>
                  <a:lnTo>
                    <a:pt x="211" y="892"/>
                  </a:lnTo>
                  <a:lnTo>
                    <a:pt x="212" y="896"/>
                  </a:lnTo>
                  <a:lnTo>
                    <a:pt x="214" y="898"/>
                  </a:lnTo>
                  <a:lnTo>
                    <a:pt x="215" y="900"/>
                  </a:lnTo>
                  <a:lnTo>
                    <a:pt x="217" y="902"/>
                  </a:lnTo>
                  <a:lnTo>
                    <a:pt x="220" y="903"/>
                  </a:lnTo>
                  <a:lnTo>
                    <a:pt x="222" y="904"/>
                  </a:lnTo>
                  <a:lnTo>
                    <a:pt x="226" y="904"/>
                  </a:lnTo>
                  <a:lnTo>
                    <a:pt x="709" y="904"/>
                  </a:lnTo>
                  <a:lnTo>
                    <a:pt x="712" y="904"/>
                  </a:lnTo>
                  <a:lnTo>
                    <a:pt x="714" y="903"/>
                  </a:lnTo>
                  <a:lnTo>
                    <a:pt x="717" y="902"/>
                  </a:lnTo>
                  <a:lnTo>
                    <a:pt x="719" y="900"/>
                  </a:lnTo>
                  <a:lnTo>
                    <a:pt x="720" y="898"/>
                  </a:lnTo>
                  <a:lnTo>
                    <a:pt x="723" y="896"/>
                  </a:lnTo>
                  <a:lnTo>
                    <a:pt x="724" y="892"/>
                  </a:lnTo>
                  <a:lnTo>
                    <a:pt x="724" y="889"/>
                  </a:lnTo>
                  <a:lnTo>
                    <a:pt x="724" y="603"/>
                  </a:lnTo>
                  <a:lnTo>
                    <a:pt x="739" y="603"/>
                  </a:lnTo>
                  <a:lnTo>
                    <a:pt x="742" y="602"/>
                  </a:lnTo>
                  <a:lnTo>
                    <a:pt x="744" y="602"/>
                  </a:lnTo>
                  <a:lnTo>
                    <a:pt x="747" y="600"/>
                  </a:lnTo>
                  <a:lnTo>
                    <a:pt x="749" y="599"/>
                  </a:lnTo>
                  <a:lnTo>
                    <a:pt x="752" y="597"/>
                  </a:lnTo>
                  <a:lnTo>
                    <a:pt x="753" y="593"/>
                  </a:lnTo>
                  <a:lnTo>
                    <a:pt x="754" y="591"/>
                  </a:lnTo>
                  <a:lnTo>
                    <a:pt x="754" y="588"/>
                  </a:lnTo>
                  <a:lnTo>
                    <a:pt x="754" y="451"/>
                  </a:lnTo>
                  <a:lnTo>
                    <a:pt x="754" y="444"/>
                  </a:lnTo>
                  <a:lnTo>
                    <a:pt x="752" y="436"/>
                  </a:lnTo>
                  <a:lnTo>
                    <a:pt x="751" y="429"/>
                  </a:lnTo>
                  <a:lnTo>
                    <a:pt x="747" y="421"/>
                  </a:lnTo>
                  <a:lnTo>
                    <a:pt x="744" y="414"/>
                  </a:lnTo>
                  <a:lnTo>
                    <a:pt x="741" y="406"/>
                  </a:lnTo>
                  <a:lnTo>
                    <a:pt x="735" y="399"/>
                  </a:lnTo>
                  <a:lnTo>
                    <a:pt x="731" y="392"/>
                  </a:lnTo>
                  <a:lnTo>
                    <a:pt x="726" y="386"/>
                  </a:lnTo>
                  <a:lnTo>
                    <a:pt x="719" y="379"/>
                  </a:lnTo>
                  <a:lnTo>
                    <a:pt x="714" y="374"/>
                  </a:lnTo>
                  <a:lnTo>
                    <a:pt x="706" y="370"/>
                  </a:lnTo>
                  <a:lnTo>
                    <a:pt x="700" y="367"/>
                  </a:lnTo>
                  <a:lnTo>
                    <a:pt x="692" y="364"/>
                  </a:lnTo>
                  <a:lnTo>
                    <a:pt x="686" y="362"/>
                  </a:lnTo>
                  <a:lnTo>
                    <a:pt x="678" y="361"/>
                  </a:lnTo>
                  <a:lnTo>
                    <a:pt x="678" y="3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0"/>
            <p:cNvSpPr>
              <a:spLocks noEditPoints="1"/>
            </p:cNvSpPr>
            <p:nvPr/>
          </p:nvSpPr>
          <p:spPr bwMode="auto">
            <a:xfrm>
              <a:off x="5619750" y="801688"/>
              <a:ext cx="22225" cy="22225"/>
            </a:xfrm>
            <a:custGeom>
              <a:avLst/>
              <a:gdLst>
                <a:gd name="T0" fmla="*/ 30 w 69"/>
                <a:gd name="T1" fmla="*/ 34 h 68"/>
                <a:gd name="T2" fmla="*/ 31 w 69"/>
                <a:gd name="T3" fmla="*/ 32 h 68"/>
                <a:gd name="T4" fmla="*/ 31 w 69"/>
                <a:gd name="T5" fmla="*/ 31 h 68"/>
                <a:gd name="T6" fmla="*/ 33 w 69"/>
                <a:gd name="T7" fmla="*/ 30 h 68"/>
                <a:gd name="T8" fmla="*/ 34 w 69"/>
                <a:gd name="T9" fmla="*/ 30 h 68"/>
                <a:gd name="T10" fmla="*/ 35 w 69"/>
                <a:gd name="T11" fmla="*/ 30 h 68"/>
                <a:gd name="T12" fmla="*/ 38 w 69"/>
                <a:gd name="T13" fmla="*/ 31 h 68"/>
                <a:gd name="T14" fmla="*/ 38 w 69"/>
                <a:gd name="T15" fmla="*/ 32 h 68"/>
                <a:gd name="T16" fmla="*/ 39 w 69"/>
                <a:gd name="T17" fmla="*/ 34 h 68"/>
                <a:gd name="T18" fmla="*/ 38 w 69"/>
                <a:gd name="T19" fmla="*/ 36 h 68"/>
                <a:gd name="T20" fmla="*/ 36 w 69"/>
                <a:gd name="T21" fmla="*/ 37 h 68"/>
                <a:gd name="T22" fmla="*/ 35 w 69"/>
                <a:gd name="T23" fmla="*/ 37 h 68"/>
                <a:gd name="T24" fmla="*/ 34 w 69"/>
                <a:gd name="T25" fmla="*/ 37 h 68"/>
                <a:gd name="T26" fmla="*/ 33 w 69"/>
                <a:gd name="T27" fmla="*/ 37 h 68"/>
                <a:gd name="T28" fmla="*/ 31 w 69"/>
                <a:gd name="T29" fmla="*/ 37 h 68"/>
                <a:gd name="T30" fmla="*/ 31 w 69"/>
                <a:gd name="T31" fmla="*/ 36 h 68"/>
                <a:gd name="T32" fmla="*/ 30 w 69"/>
                <a:gd name="T33" fmla="*/ 34 h 68"/>
                <a:gd name="T34" fmla="*/ 34 w 69"/>
                <a:gd name="T35" fmla="*/ 0 h 68"/>
                <a:gd name="T36" fmla="*/ 28 w 69"/>
                <a:gd name="T37" fmla="*/ 0 h 68"/>
                <a:gd name="T38" fmla="*/ 21 w 69"/>
                <a:gd name="T39" fmla="*/ 2 h 68"/>
                <a:gd name="T40" fmla="*/ 15 w 69"/>
                <a:gd name="T41" fmla="*/ 6 h 68"/>
                <a:gd name="T42" fmla="*/ 11 w 69"/>
                <a:gd name="T43" fmla="*/ 10 h 68"/>
                <a:gd name="T44" fmla="*/ 6 w 69"/>
                <a:gd name="T45" fmla="*/ 15 h 68"/>
                <a:gd name="T46" fmla="*/ 3 w 69"/>
                <a:gd name="T47" fmla="*/ 21 h 68"/>
                <a:gd name="T48" fmla="*/ 1 w 69"/>
                <a:gd name="T49" fmla="*/ 27 h 68"/>
                <a:gd name="T50" fmla="*/ 0 w 69"/>
                <a:gd name="T51" fmla="*/ 34 h 68"/>
                <a:gd name="T52" fmla="*/ 1 w 69"/>
                <a:gd name="T53" fmla="*/ 41 h 68"/>
                <a:gd name="T54" fmla="*/ 3 w 69"/>
                <a:gd name="T55" fmla="*/ 48 h 68"/>
                <a:gd name="T56" fmla="*/ 6 w 69"/>
                <a:gd name="T57" fmla="*/ 53 h 68"/>
                <a:gd name="T58" fmla="*/ 11 w 69"/>
                <a:gd name="T59" fmla="*/ 58 h 68"/>
                <a:gd name="T60" fmla="*/ 15 w 69"/>
                <a:gd name="T61" fmla="*/ 63 h 68"/>
                <a:gd name="T62" fmla="*/ 21 w 69"/>
                <a:gd name="T63" fmla="*/ 65 h 68"/>
                <a:gd name="T64" fmla="*/ 28 w 69"/>
                <a:gd name="T65" fmla="*/ 67 h 68"/>
                <a:gd name="T66" fmla="*/ 34 w 69"/>
                <a:gd name="T67" fmla="*/ 68 h 68"/>
                <a:gd name="T68" fmla="*/ 41 w 69"/>
                <a:gd name="T69" fmla="*/ 67 h 68"/>
                <a:gd name="T70" fmla="*/ 47 w 69"/>
                <a:gd name="T71" fmla="*/ 65 h 68"/>
                <a:gd name="T72" fmla="*/ 54 w 69"/>
                <a:gd name="T73" fmla="*/ 63 h 68"/>
                <a:gd name="T74" fmla="*/ 58 w 69"/>
                <a:gd name="T75" fmla="*/ 58 h 68"/>
                <a:gd name="T76" fmla="*/ 62 w 69"/>
                <a:gd name="T77" fmla="*/ 53 h 68"/>
                <a:gd name="T78" fmla="*/ 65 w 69"/>
                <a:gd name="T79" fmla="*/ 48 h 68"/>
                <a:gd name="T80" fmla="*/ 68 w 69"/>
                <a:gd name="T81" fmla="*/ 41 h 68"/>
                <a:gd name="T82" fmla="*/ 69 w 69"/>
                <a:gd name="T83" fmla="*/ 34 h 68"/>
                <a:gd name="T84" fmla="*/ 68 w 69"/>
                <a:gd name="T85" fmla="*/ 27 h 68"/>
                <a:gd name="T86" fmla="*/ 65 w 69"/>
                <a:gd name="T87" fmla="*/ 21 h 68"/>
                <a:gd name="T88" fmla="*/ 62 w 69"/>
                <a:gd name="T89" fmla="*/ 15 h 68"/>
                <a:gd name="T90" fmla="*/ 58 w 69"/>
                <a:gd name="T91" fmla="*/ 10 h 68"/>
                <a:gd name="T92" fmla="*/ 54 w 69"/>
                <a:gd name="T93" fmla="*/ 6 h 68"/>
                <a:gd name="T94" fmla="*/ 47 w 69"/>
                <a:gd name="T95" fmla="*/ 2 h 68"/>
                <a:gd name="T96" fmla="*/ 41 w 69"/>
                <a:gd name="T97" fmla="*/ 0 h 68"/>
                <a:gd name="T98" fmla="*/ 34 w 69"/>
                <a:gd name="T99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69" h="68">
                  <a:moveTo>
                    <a:pt x="30" y="34"/>
                  </a:moveTo>
                  <a:lnTo>
                    <a:pt x="31" y="32"/>
                  </a:lnTo>
                  <a:lnTo>
                    <a:pt x="31" y="31"/>
                  </a:lnTo>
                  <a:lnTo>
                    <a:pt x="33" y="30"/>
                  </a:lnTo>
                  <a:lnTo>
                    <a:pt x="34" y="30"/>
                  </a:lnTo>
                  <a:lnTo>
                    <a:pt x="35" y="30"/>
                  </a:lnTo>
                  <a:lnTo>
                    <a:pt x="38" y="31"/>
                  </a:lnTo>
                  <a:lnTo>
                    <a:pt x="38" y="32"/>
                  </a:lnTo>
                  <a:lnTo>
                    <a:pt x="39" y="34"/>
                  </a:lnTo>
                  <a:lnTo>
                    <a:pt x="38" y="36"/>
                  </a:lnTo>
                  <a:lnTo>
                    <a:pt x="36" y="37"/>
                  </a:lnTo>
                  <a:lnTo>
                    <a:pt x="35" y="37"/>
                  </a:lnTo>
                  <a:lnTo>
                    <a:pt x="34" y="37"/>
                  </a:lnTo>
                  <a:lnTo>
                    <a:pt x="33" y="37"/>
                  </a:lnTo>
                  <a:lnTo>
                    <a:pt x="31" y="37"/>
                  </a:lnTo>
                  <a:lnTo>
                    <a:pt x="31" y="36"/>
                  </a:lnTo>
                  <a:lnTo>
                    <a:pt x="30" y="34"/>
                  </a:lnTo>
                  <a:close/>
                  <a:moveTo>
                    <a:pt x="34" y="0"/>
                  </a:moveTo>
                  <a:lnTo>
                    <a:pt x="28" y="0"/>
                  </a:lnTo>
                  <a:lnTo>
                    <a:pt x="21" y="2"/>
                  </a:lnTo>
                  <a:lnTo>
                    <a:pt x="15" y="6"/>
                  </a:lnTo>
                  <a:lnTo>
                    <a:pt x="11" y="10"/>
                  </a:lnTo>
                  <a:lnTo>
                    <a:pt x="6" y="15"/>
                  </a:lnTo>
                  <a:lnTo>
                    <a:pt x="3" y="21"/>
                  </a:lnTo>
                  <a:lnTo>
                    <a:pt x="1" y="27"/>
                  </a:lnTo>
                  <a:lnTo>
                    <a:pt x="0" y="34"/>
                  </a:lnTo>
                  <a:lnTo>
                    <a:pt x="1" y="41"/>
                  </a:lnTo>
                  <a:lnTo>
                    <a:pt x="3" y="48"/>
                  </a:lnTo>
                  <a:lnTo>
                    <a:pt x="6" y="53"/>
                  </a:lnTo>
                  <a:lnTo>
                    <a:pt x="11" y="58"/>
                  </a:lnTo>
                  <a:lnTo>
                    <a:pt x="15" y="63"/>
                  </a:lnTo>
                  <a:lnTo>
                    <a:pt x="21" y="65"/>
                  </a:lnTo>
                  <a:lnTo>
                    <a:pt x="28" y="67"/>
                  </a:lnTo>
                  <a:lnTo>
                    <a:pt x="34" y="68"/>
                  </a:lnTo>
                  <a:lnTo>
                    <a:pt x="41" y="67"/>
                  </a:lnTo>
                  <a:lnTo>
                    <a:pt x="47" y="65"/>
                  </a:lnTo>
                  <a:lnTo>
                    <a:pt x="54" y="63"/>
                  </a:lnTo>
                  <a:lnTo>
                    <a:pt x="58" y="58"/>
                  </a:lnTo>
                  <a:lnTo>
                    <a:pt x="62" y="53"/>
                  </a:lnTo>
                  <a:lnTo>
                    <a:pt x="65" y="48"/>
                  </a:lnTo>
                  <a:lnTo>
                    <a:pt x="68" y="41"/>
                  </a:lnTo>
                  <a:lnTo>
                    <a:pt x="69" y="34"/>
                  </a:lnTo>
                  <a:lnTo>
                    <a:pt x="68" y="27"/>
                  </a:lnTo>
                  <a:lnTo>
                    <a:pt x="65" y="21"/>
                  </a:lnTo>
                  <a:lnTo>
                    <a:pt x="62" y="15"/>
                  </a:lnTo>
                  <a:lnTo>
                    <a:pt x="58" y="10"/>
                  </a:lnTo>
                  <a:lnTo>
                    <a:pt x="54" y="6"/>
                  </a:lnTo>
                  <a:lnTo>
                    <a:pt x="47" y="2"/>
                  </a:lnTo>
                  <a:lnTo>
                    <a:pt x="41" y="0"/>
                  </a:lnTo>
                  <a:lnTo>
                    <a:pt x="3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57" name="Group 156"/>
          <p:cNvGrpSpPr/>
          <p:nvPr/>
        </p:nvGrpSpPr>
        <p:grpSpPr>
          <a:xfrm>
            <a:off x="9604074" y="4348442"/>
            <a:ext cx="257926" cy="256058"/>
            <a:chOff x="7045325" y="2544763"/>
            <a:chExt cx="219075" cy="217488"/>
          </a:xfrm>
          <a:solidFill>
            <a:srgbClr val="78D2D2"/>
          </a:solidFill>
        </p:grpSpPr>
        <p:sp>
          <p:nvSpPr>
            <p:cNvPr id="158" name="Freeform 174"/>
            <p:cNvSpPr>
              <a:spLocks/>
            </p:cNvSpPr>
            <p:nvPr/>
          </p:nvSpPr>
          <p:spPr bwMode="auto">
            <a:xfrm>
              <a:off x="7045325" y="2614613"/>
              <a:ext cx="133350" cy="147638"/>
            </a:xfrm>
            <a:custGeom>
              <a:avLst/>
              <a:gdLst>
                <a:gd name="T0" fmla="*/ 237 w 422"/>
                <a:gd name="T1" fmla="*/ 402 h 465"/>
                <a:gd name="T2" fmla="*/ 206 w 422"/>
                <a:gd name="T3" fmla="*/ 422 h 465"/>
                <a:gd name="T4" fmla="*/ 172 w 422"/>
                <a:gd name="T5" fmla="*/ 433 h 465"/>
                <a:gd name="T6" fmla="*/ 141 w 422"/>
                <a:gd name="T7" fmla="*/ 434 h 465"/>
                <a:gd name="T8" fmla="*/ 113 w 422"/>
                <a:gd name="T9" fmla="*/ 424 h 465"/>
                <a:gd name="T10" fmla="*/ 88 w 422"/>
                <a:gd name="T11" fmla="*/ 407 h 465"/>
                <a:gd name="T12" fmla="*/ 47 w 422"/>
                <a:gd name="T13" fmla="*/ 362 h 465"/>
                <a:gd name="T14" fmla="*/ 34 w 422"/>
                <a:gd name="T15" fmla="*/ 334 h 465"/>
                <a:gd name="T16" fmla="*/ 30 w 422"/>
                <a:gd name="T17" fmla="*/ 306 h 465"/>
                <a:gd name="T18" fmla="*/ 34 w 422"/>
                <a:gd name="T19" fmla="*/ 277 h 465"/>
                <a:gd name="T20" fmla="*/ 47 w 422"/>
                <a:gd name="T21" fmla="*/ 250 h 465"/>
                <a:gd name="T22" fmla="*/ 223 w 422"/>
                <a:gd name="T23" fmla="*/ 69 h 465"/>
                <a:gd name="T24" fmla="*/ 255 w 422"/>
                <a:gd name="T25" fmla="*/ 44 h 465"/>
                <a:gd name="T26" fmla="*/ 288 w 422"/>
                <a:gd name="T27" fmla="*/ 32 h 465"/>
                <a:gd name="T28" fmla="*/ 322 w 422"/>
                <a:gd name="T29" fmla="*/ 32 h 465"/>
                <a:gd name="T30" fmla="*/ 355 w 422"/>
                <a:gd name="T31" fmla="*/ 46 h 465"/>
                <a:gd name="T32" fmla="*/ 386 w 422"/>
                <a:gd name="T33" fmla="*/ 71 h 465"/>
                <a:gd name="T34" fmla="*/ 400 w 422"/>
                <a:gd name="T35" fmla="*/ 87 h 465"/>
                <a:gd name="T36" fmla="*/ 407 w 422"/>
                <a:gd name="T37" fmla="*/ 90 h 465"/>
                <a:gd name="T38" fmla="*/ 416 w 422"/>
                <a:gd name="T39" fmla="*/ 86 h 465"/>
                <a:gd name="T40" fmla="*/ 421 w 422"/>
                <a:gd name="T41" fmla="*/ 79 h 465"/>
                <a:gd name="T42" fmla="*/ 421 w 422"/>
                <a:gd name="T43" fmla="*/ 70 h 465"/>
                <a:gd name="T44" fmla="*/ 407 w 422"/>
                <a:gd name="T45" fmla="*/ 51 h 465"/>
                <a:gd name="T46" fmla="*/ 370 w 422"/>
                <a:gd name="T47" fmla="*/ 19 h 465"/>
                <a:gd name="T48" fmla="*/ 327 w 422"/>
                <a:gd name="T49" fmla="*/ 2 h 465"/>
                <a:gd name="T50" fmla="*/ 284 w 422"/>
                <a:gd name="T51" fmla="*/ 2 h 465"/>
                <a:gd name="T52" fmla="*/ 242 w 422"/>
                <a:gd name="T53" fmla="*/ 18 h 465"/>
                <a:gd name="T54" fmla="*/ 202 w 422"/>
                <a:gd name="T55" fmla="*/ 49 h 465"/>
                <a:gd name="T56" fmla="*/ 21 w 422"/>
                <a:gd name="T57" fmla="*/ 233 h 465"/>
                <a:gd name="T58" fmla="*/ 5 w 422"/>
                <a:gd name="T59" fmla="*/ 268 h 465"/>
                <a:gd name="T60" fmla="*/ 0 w 422"/>
                <a:gd name="T61" fmla="*/ 306 h 465"/>
                <a:gd name="T62" fmla="*/ 5 w 422"/>
                <a:gd name="T63" fmla="*/ 343 h 465"/>
                <a:gd name="T64" fmla="*/ 21 w 422"/>
                <a:gd name="T65" fmla="*/ 378 h 465"/>
                <a:gd name="T66" fmla="*/ 67 w 422"/>
                <a:gd name="T67" fmla="*/ 429 h 465"/>
                <a:gd name="T68" fmla="*/ 97 w 422"/>
                <a:gd name="T69" fmla="*/ 450 h 465"/>
                <a:gd name="T70" fmla="*/ 131 w 422"/>
                <a:gd name="T71" fmla="*/ 462 h 465"/>
                <a:gd name="T72" fmla="*/ 159 w 422"/>
                <a:gd name="T73" fmla="*/ 464 h 465"/>
                <a:gd name="T74" fmla="*/ 191 w 422"/>
                <a:gd name="T75" fmla="*/ 460 h 465"/>
                <a:gd name="T76" fmla="*/ 231 w 422"/>
                <a:gd name="T77" fmla="*/ 442 h 465"/>
                <a:gd name="T78" fmla="*/ 268 w 422"/>
                <a:gd name="T79" fmla="*/ 414 h 465"/>
                <a:gd name="T80" fmla="*/ 391 w 422"/>
                <a:gd name="T81" fmla="*/ 288 h 465"/>
                <a:gd name="T82" fmla="*/ 391 w 422"/>
                <a:gd name="T83" fmla="*/ 281 h 465"/>
                <a:gd name="T84" fmla="*/ 388 w 422"/>
                <a:gd name="T85" fmla="*/ 272 h 465"/>
                <a:gd name="T86" fmla="*/ 379 w 422"/>
                <a:gd name="T87" fmla="*/ 268 h 465"/>
                <a:gd name="T88" fmla="*/ 371 w 422"/>
                <a:gd name="T89" fmla="*/ 269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22" h="465">
                  <a:moveTo>
                    <a:pt x="367" y="272"/>
                  </a:moveTo>
                  <a:lnTo>
                    <a:pt x="247" y="392"/>
                  </a:lnTo>
                  <a:lnTo>
                    <a:pt x="237" y="402"/>
                  </a:lnTo>
                  <a:lnTo>
                    <a:pt x="226" y="409"/>
                  </a:lnTo>
                  <a:lnTo>
                    <a:pt x="217" y="417"/>
                  </a:lnTo>
                  <a:lnTo>
                    <a:pt x="206" y="422"/>
                  </a:lnTo>
                  <a:lnTo>
                    <a:pt x="194" y="427"/>
                  </a:lnTo>
                  <a:lnTo>
                    <a:pt x="184" y="431"/>
                  </a:lnTo>
                  <a:lnTo>
                    <a:pt x="172" y="433"/>
                  </a:lnTo>
                  <a:lnTo>
                    <a:pt x="161" y="434"/>
                  </a:lnTo>
                  <a:lnTo>
                    <a:pt x="150" y="434"/>
                  </a:lnTo>
                  <a:lnTo>
                    <a:pt x="141" y="434"/>
                  </a:lnTo>
                  <a:lnTo>
                    <a:pt x="131" y="432"/>
                  </a:lnTo>
                  <a:lnTo>
                    <a:pt x="122" y="429"/>
                  </a:lnTo>
                  <a:lnTo>
                    <a:pt x="113" y="424"/>
                  </a:lnTo>
                  <a:lnTo>
                    <a:pt x="104" y="420"/>
                  </a:lnTo>
                  <a:lnTo>
                    <a:pt x="96" y="414"/>
                  </a:lnTo>
                  <a:lnTo>
                    <a:pt x="88" y="407"/>
                  </a:lnTo>
                  <a:lnTo>
                    <a:pt x="58" y="377"/>
                  </a:lnTo>
                  <a:lnTo>
                    <a:pt x="52" y="370"/>
                  </a:lnTo>
                  <a:lnTo>
                    <a:pt x="47" y="362"/>
                  </a:lnTo>
                  <a:lnTo>
                    <a:pt x="41" y="354"/>
                  </a:lnTo>
                  <a:lnTo>
                    <a:pt x="37" y="344"/>
                  </a:lnTo>
                  <a:lnTo>
                    <a:pt x="34" y="334"/>
                  </a:lnTo>
                  <a:lnTo>
                    <a:pt x="32" y="325"/>
                  </a:lnTo>
                  <a:lnTo>
                    <a:pt x="31" y="315"/>
                  </a:lnTo>
                  <a:lnTo>
                    <a:pt x="30" y="306"/>
                  </a:lnTo>
                  <a:lnTo>
                    <a:pt x="31" y="296"/>
                  </a:lnTo>
                  <a:lnTo>
                    <a:pt x="32" y="286"/>
                  </a:lnTo>
                  <a:lnTo>
                    <a:pt x="34" y="277"/>
                  </a:lnTo>
                  <a:lnTo>
                    <a:pt x="37" y="267"/>
                  </a:lnTo>
                  <a:lnTo>
                    <a:pt x="41" y="258"/>
                  </a:lnTo>
                  <a:lnTo>
                    <a:pt x="47" y="250"/>
                  </a:lnTo>
                  <a:lnTo>
                    <a:pt x="52" y="241"/>
                  </a:lnTo>
                  <a:lnTo>
                    <a:pt x="58" y="234"/>
                  </a:lnTo>
                  <a:lnTo>
                    <a:pt x="223" y="69"/>
                  </a:lnTo>
                  <a:lnTo>
                    <a:pt x="234" y="60"/>
                  </a:lnTo>
                  <a:lnTo>
                    <a:pt x="245" y="51"/>
                  </a:lnTo>
                  <a:lnTo>
                    <a:pt x="255" y="44"/>
                  </a:lnTo>
                  <a:lnTo>
                    <a:pt x="266" y="38"/>
                  </a:lnTo>
                  <a:lnTo>
                    <a:pt x="278" y="34"/>
                  </a:lnTo>
                  <a:lnTo>
                    <a:pt x="288" y="32"/>
                  </a:lnTo>
                  <a:lnTo>
                    <a:pt x="299" y="30"/>
                  </a:lnTo>
                  <a:lnTo>
                    <a:pt x="311" y="30"/>
                  </a:lnTo>
                  <a:lnTo>
                    <a:pt x="322" y="32"/>
                  </a:lnTo>
                  <a:lnTo>
                    <a:pt x="333" y="35"/>
                  </a:lnTo>
                  <a:lnTo>
                    <a:pt x="344" y="39"/>
                  </a:lnTo>
                  <a:lnTo>
                    <a:pt x="355" y="46"/>
                  </a:lnTo>
                  <a:lnTo>
                    <a:pt x="365" y="53"/>
                  </a:lnTo>
                  <a:lnTo>
                    <a:pt x="376" y="62"/>
                  </a:lnTo>
                  <a:lnTo>
                    <a:pt x="386" y="71"/>
                  </a:lnTo>
                  <a:lnTo>
                    <a:pt x="394" y="83"/>
                  </a:lnTo>
                  <a:lnTo>
                    <a:pt x="397" y="85"/>
                  </a:lnTo>
                  <a:lnTo>
                    <a:pt x="400" y="87"/>
                  </a:lnTo>
                  <a:lnTo>
                    <a:pt x="402" y="88"/>
                  </a:lnTo>
                  <a:lnTo>
                    <a:pt x="405" y="88"/>
                  </a:lnTo>
                  <a:lnTo>
                    <a:pt x="407" y="90"/>
                  </a:lnTo>
                  <a:lnTo>
                    <a:pt x="410" y="88"/>
                  </a:lnTo>
                  <a:lnTo>
                    <a:pt x="414" y="87"/>
                  </a:lnTo>
                  <a:lnTo>
                    <a:pt x="416" y="86"/>
                  </a:lnTo>
                  <a:lnTo>
                    <a:pt x="418" y="84"/>
                  </a:lnTo>
                  <a:lnTo>
                    <a:pt x="420" y="82"/>
                  </a:lnTo>
                  <a:lnTo>
                    <a:pt x="421" y="79"/>
                  </a:lnTo>
                  <a:lnTo>
                    <a:pt x="422" y="77"/>
                  </a:lnTo>
                  <a:lnTo>
                    <a:pt x="422" y="74"/>
                  </a:lnTo>
                  <a:lnTo>
                    <a:pt x="421" y="70"/>
                  </a:lnTo>
                  <a:lnTo>
                    <a:pt x="420" y="68"/>
                  </a:lnTo>
                  <a:lnTo>
                    <a:pt x="419" y="65"/>
                  </a:lnTo>
                  <a:lnTo>
                    <a:pt x="407" y="51"/>
                  </a:lnTo>
                  <a:lnTo>
                    <a:pt x="395" y="39"/>
                  </a:lnTo>
                  <a:lnTo>
                    <a:pt x="383" y="29"/>
                  </a:lnTo>
                  <a:lnTo>
                    <a:pt x="370" y="19"/>
                  </a:lnTo>
                  <a:lnTo>
                    <a:pt x="356" y="11"/>
                  </a:lnTo>
                  <a:lnTo>
                    <a:pt x="342" y="6"/>
                  </a:lnTo>
                  <a:lnTo>
                    <a:pt x="327" y="2"/>
                  </a:lnTo>
                  <a:lnTo>
                    <a:pt x="313" y="0"/>
                  </a:lnTo>
                  <a:lnTo>
                    <a:pt x="298" y="0"/>
                  </a:lnTo>
                  <a:lnTo>
                    <a:pt x="284" y="2"/>
                  </a:lnTo>
                  <a:lnTo>
                    <a:pt x="270" y="5"/>
                  </a:lnTo>
                  <a:lnTo>
                    <a:pt x="256" y="10"/>
                  </a:lnTo>
                  <a:lnTo>
                    <a:pt x="242" y="18"/>
                  </a:lnTo>
                  <a:lnTo>
                    <a:pt x="229" y="26"/>
                  </a:lnTo>
                  <a:lnTo>
                    <a:pt x="215" y="36"/>
                  </a:lnTo>
                  <a:lnTo>
                    <a:pt x="202" y="49"/>
                  </a:lnTo>
                  <a:lnTo>
                    <a:pt x="37" y="213"/>
                  </a:lnTo>
                  <a:lnTo>
                    <a:pt x="29" y="223"/>
                  </a:lnTo>
                  <a:lnTo>
                    <a:pt x="21" y="233"/>
                  </a:lnTo>
                  <a:lnTo>
                    <a:pt x="15" y="245"/>
                  </a:lnTo>
                  <a:lnTo>
                    <a:pt x="9" y="256"/>
                  </a:lnTo>
                  <a:lnTo>
                    <a:pt x="5" y="268"/>
                  </a:lnTo>
                  <a:lnTo>
                    <a:pt x="2" y="281"/>
                  </a:lnTo>
                  <a:lnTo>
                    <a:pt x="1" y="293"/>
                  </a:lnTo>
                  <a:lnTo>
                    <a:pt x="0" y="306"/>
                  </a:lnTo>
                  <a:lnTo>
                    <a:pt x="1" y="318"/>
                  </a:lnTo>
                  <a:lnTo>
                    <a:pt x="2" y="331"/>
                  </a:lnTo>
                  <a:lnTo>
                    <a:pt x="5" y="343"/>
                  </a:lnTo>
                  <a:lnTo>
                    <a:pt x="9" y="356"/>
                  </a:lnTo>
                  <a:lnTo>
                    <a:pt x="15" y="366"/>
                  </a:lnTo>
                  <a:lnTo>
                    <a:pt x="21" y="378"/>
                  </a:lnTo>
                  <a:lnTo>
                    <a:pt x="29" y="389"/>
                  </a:lnTo>
                  <a:lnTo>
                    <a:pt x="37" y="399"/>
                  </a:lnTo>
                  <a:lnTo>
                    <a:pt x="67" y="429"/>
                  </a:lnTo>
                  <a:lnTo>
                    <a:pt x="77" y="436"/>
                  </a:lnTo>
                  <a:lnTo>
                    <a:pt x="86" y="443"/>
                  </a:lnTo>
                  <a:lnTo>
                    <a:pt x="97" y="450"/>
                  </a:lnTo>
                  <a:lnTo>
                    <a:pt x="108" y="455"/>
                  </a:lnTo>
                  <a:lnTo>
                    <a:pt x="119" y="460"/>
                  </a:lnTo>
                  <a:lnTo>
                    <a:pt x="131" y="462"/>
                  </a:lnTo>
                  <a:lnTo>
                    <a:pt x="143" y="464"/>
                  </a:lnTo>
                  <a:lnTo>
                    <a:pt x="155" y="465"/>
                  </a:lnTo>
                  <a:lnTo>
                    <a:pt x="159" y="464"/>
                  </a:lnTo>
                  <a:lnTo>
                    <a:pt x="162" y="464"/>
                  </a:lnTo>
                  <a:lnTo>
                    <a:pt x="177" y="463"/>
                  </a:lnTo>
                  <a:lnTo>
                    <a:pt x="191" y="460"/>
                  </a:lnTo>
                  <a:lnTo>
                    <a:pt x="204" y="455"/>
                  </a:lnTo>
                  <a:lnTo>
                    <a:pt x="218" y="450"/>
                  </a:lnTo>
                  <a:lnTo>
                    <a:pt x="231" y="442"/>
                  </a:lnTo>
                  <a:lnTo>
                    <a:pt x="244" y="434"/>
                  </a:lnTo>
                  <a:lnTo>
                    <a:pt x="256" y="424"/>
                  </a:lnTo>
                  <a:lnTo>
                    <a:pt x="268" y="414"/>
                  </a:lnTo>
                  <a:lnTo>
                    <a:pt x="388" y="294"/>
                  </a:lnTo>
                  <a:lnTo>
                    <a:pt x="389" y="292"/>
                  </a:lnTo>
                  <a:lnTo>
                    <a:pt x="391" y="288"/>
                  </a:lnTo>
                  <a:lnTo>
                    <a:pt x="391" y="286"/>
                  </a:lnTo>
                  <a:lnTo>
                    <a:pt x="392" y="283"/>
                  </a:lnTo>
                  <a:lnTo>
                    <a:pt x="391" y="281"/>
                  </a:lnTo>
                  <a:lnTo>
                    <a:pt x="391" y="278"/>
                  </a:lnTo>
                  <a:lnTo>
                    <a:pt x="389" y="275"/>
                  </a:lnTo>
                  <a:lnTo>
                    <a:pt x="388" y="272"/>
                  </a:lnTo>
                  <a:lnTo>
                    <a:pt x="385" y="270"/>
                  </a:lnTo>
                  <a:lnTo>
                    <a:pt x="383" y="269"/>
                  </a:lnTo>
                  <a:lnTo>
                    <a:pt x="379" y="268"/>
                  </a:lnTo>
                  <a:lnTo>
                    <a:pt x="377" y="268"/>
                  </a:lnTo>
                  <a:lnTo>
                    <a:pt x="374" y="268"/>
                  </a:lnTo>
                  <a:lnTo>
                    <a:pt x="371" y="269"/>
                  </a:lnTo>
                  <a:lnTo>
                    <a:pt x="369" y="270"/>
                  </a:lnTo>
                  <a:lnTo>
                    <a:pt x="367" y="2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75"/>
            <p:cNvSpPr>
              <a:spLocks/>
            </p:cNvSpPr>
            <p:nvPr/>
          </p:nvSpPr>
          <p:spPr bwMode="auto">
            <a:xfrm>
              <a:off x="7140575" y="2544763"/>
              <a:ext cx="123825" cy="146050"/>
            </a:xfrm>
            <a:custGeom>
              <a:avLst/>
              <a:gdLst>
                <a:gd name="T0" fmla="*/ 315 w 392"/>
                <a:gd name="T1" fmla="*/ 38 h 458"/>
                <a:gd name="T2" fmla="*/ 283 w 392"/>
                <a:gd name="T3" fmla="*/ 16 h 458"/>
                <a:gd name="T4" fmla="*/ 245 w 392"/>
                <a:gd name="T5" fmla="*/ 4 h 458"/>
                <a:gd name="T6" fmla="*/ 208 w 392"/>
                <a:gd name="T7" fmla="*/ 1 h 458"/>
                <a:gd name="T8" fmla="*/ 172 w 392"/>
                <a:gd name="T9" fmla="*/ 10 h 458"/>
                <a:gd name="T10" fmla="*/ 139 w 392"/>
                <a:gd name="T11" fmla="*/ 31 h 458"/>
                <a:gd name="T12" fmla="*/ 1 w 392"/>
                <a:gd name="T13" fmla="*/ 171 h 458"/>
                <a:gd name="T14" fmla="*/ 0 w 392"/>
                <a:gd name="T15" fmla="*/ 179 h 458"/>
                <a:gd name="T16" fmla="*/ 5 w 392"/>
                <a:gd name="T17" fmla="*/ 188 h 458"/>
                <a:gd name="T18" fmla="*/ 12 w 392"/>
                <a:gd name="T19" fmla="*/ 192 h 458"/>
                <a:gd name="T20" fmla="*/ 21 w 392"/>
                <a:gd name="T21" fmla="*/ 191 h 458"/>
                <a:gd name="T22" fmla="*/ 160 w 392"/>
                <a:gd name="T23" fmla="*/ 53 h 458"/>
                <a:gd name="T24" fmla="*/ 184 w 392"/>
                <a:gd name="T25" fmla="*/ 37 h 458"/>
                <a:gd name="T26" fmla="*/ 212 w 392"/>
                <a:gd name="T27" fmla="*/ 30 h 458"/>
                <a:gd name="T28" fmla="*/ 242 w 392"/>
                <a:gd name="T29" fmla="*/ 34 h 458"/>
                <a:gd name="T30" fmla="*/ 270 w 392"/>
                <a:gd name="T31" fmla="*/ 44 h 458"/>
                <a:gd name="T32" fmla="*/ 296 w 392"/>
                <a:gd name="T33" fmla="*/ 60 h 458"/>
                <a:gd name="T34" fmla="*/ 341 w 392"/>
                <a:gd name="T35" fmla="*/ 105 h 458"/>
                <a:gd name="T36" fmla="*/ 354 w 392"/>
                <a:gd name="T37" fmla="*/ 128 h 458"/>
                <a:gd name="T38" fmla="*/ 362 w 392"/>
                <a:gd name="T39" fmla="*/ 153 h 458"/>
                <a:gd name="T40" fmla="*/ 360 w 392"/>
                <a:gd name="T41" fmla="*/ 179 h 458"/>
                <a:gd name="T42" fmla="*/ 351 w 392"/>
                <a:gd name="T43" fmla="*/ 204 h 458"/>
                <a:gd name="T44" fmla="*/ 333 w 392"/>
                <a:gd name="T45" fmla="*/ 226 h 458"/>
                <a:gd name="T46" fmla="*/ 141 w 392"/>
                <a:gd name="T47" fmla="*/ 416 h 458"/>
                <a:gd name="T48" fmla="*/ 116 w 392"/>
                <a:gd name="T49" fmla="*/ 426 h 458"/>
                <a:gd name="T50" fmla="*/ 89 w 392"/>
                <a:gd name="T51" fmla="*/ 427 h 458"/>
                <a:gd name="T52" fmla="*/ 62 w 392"/>
                <a:gd name="T53" fmla="*/ 421 h 458"/>
                <a:gd name="T54" fmla="*/ 39 w 392"/>
                <a:gd name="T55" fmla="*/ 406 h 458"/>
                <a:gd name="T56" fmla="*/ 26 w 392"/>
                <a:gd name="T57" fmla="*/ 390 h 458"/>
                <a:gd name="T58" fmla="*/ 19 w 392"/>
                <a:gd name="T59" fmla="*/ 386 h 458"/>
                <a:gd name="T60" fmla="*/ 10 w 392"/>
                <a:gd name="T61" fmla="*/ 386 h 458"/>
                <a:gd name="T62" fmla="*/ 3 w 392"/>
                <a:gd name="T63" fmla="*/ 393 h 458"/>
                <a:gd name="T64" fmla="*/ 0 w 392"/>
                <a:gd name="T65" fmla="*/ 400 h 458"/>
                <a:gd name="T66" fmla="*/ 3 w 392"/>
                <a:gd name="T67" fmla="*/ 409 h 458"/>
                <a:gd name="T68" fmla="*/ 28 w 392"/>
                <a:gd name="T69" fmla="*/ 435 h 458"/>
                <a:gd name="T70" fmla="*/ 61 w 392"/>
                <a:gd name="T71" fmla="*/ 452 h 458"/>
                <a:gd name="T72" fmla="*/ 92 w 392"/>
                <a:gd name="T73" fmla="*/ 457 h 458"/>
                <a:gd name="T74" fmla="*/ 120 w 392"/>
                <a:gd name="T75" fmla="*/ 456 h 458"/>
                <a:gd name="T76" fmla="*/ 150 w 392"/>
                <a:gd name="T77" fmla="*/ 445 h 458"/>
                <a:gd name="T78" fmla="*/ 175 w 392"/>
                <a:gd name="T79" fmla="*/ 426 h 458"/>
                <a:gd name="T80" fmla="*/ 370 w 392"/>
                <a:gd name="T81" fmla="*/ 228 h 458"/>
                <a:gd name="T82" fmla="*/ 387 w 392"/>
                <a:gd name="T83" fmla="*/ 196 h 458"/>
                <a:gd name="T84" fmla="*/ 392 w 392"/>
                <a:gd name="T85" fmla="*/ 162 h 458"/>
                <a:gd name="T86" fmla="*/ 387 w 392"/>
                <a:gd name="T87" fmla="*/ 128 h 458"/>
                <a:gd name="T88" fmla="*/ 370 w 392"/>
                <a:gd name="T89" fmla="*/ 96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92" h="458">
                  <a:moveTo>
                    <a:pt x="354" y="76"/>
                  </a:moveTo>
                  <a:lnTo>
                    <a:pt x="324" y="46"/>
                  </a:lnTo>
                  <a:lnTo>
                    <a:pt x="315" y="38"/>
                  </a:lnTo>
                  <a:lnTo>
                    <a:pt x="305" y="30"/>
                  </a:lnTo>
                  <a:lnTo>
                    <a:pt x="293" y="23"/>
                  </a:lnTo>
                  <a:lnTo>
                    <a:pt x="283" y="16"/>
                  </a:lnTo>
                  <a:lnTo>
                    <a:pt x="270" y="11"/>
                  </a:lnTo>
                  <a:lnTo>
                    <a:pt x="258" y="7"/>
                  </a:lnTo>
                  <a:lnTo>
                    <a:pt x="245" y="4"/>
                  </a:lnTo>
                  <a:lnTo>
                    <a:pt x="232" y="1"/>
                  </a:lnTo>
                  <a:lnTo>
                    <a:pt x="220" y="0"/>
                  </a:lnTo>
                  <a:lnTo>
                    <a:pt x="208" y="1"/>
                  </a:lnTo>
                  <a:lnTo>
                    <a:pt x="195" y="3"/>
                  </a:lnTo>
                  <a:lnTo>
                    <a:pt x="183" y="6"/>
                  </a:lnTo>
                  <a:lnTo>
                    <a:pt x="172" y="10"/>
                  </a:lnTo>
                  <a:lnTo>
                    <a:pt x="160" y="15"/>
                  </a:lnTo>
                  <a:lnTo>
                    <a:pt x="149" y="23"/>
                  </a:lnTo>
                  <a:lnTo>
                    <a:pt x="139" y="31"/>
                  </a:lnTo>
                  <a:lnTo>
                    <a:pt x="5" y="166"/>
                  </a:lnTo>
                  <a:lnTo>
                    <a:pt x="3" y="168"/>
                  </a:lnTo>
                  <a:lnTo>
                    <a:pt x="1" y="171"/>
                  </a:lnTo>
                  <a:lnTo>
                    <a:pt x="0" y="174"/>
                  </a:lnTo>
                  <a:lnTo>
                    <a:pt x="0" y="177"/>
                  </a:lnTo>
                  <a:lnTo>
                    <a:pt x="0" y="179"/>
                  </a:lnTo>
                  <a:lnTo>
                    <a:pt x="1" y="182"/>
                  </a:lnTo>
                  <a:lnTo>
                    <a:pt x="3" y="184"/>
                  </a:lnTo>
                  <a:lnTo>
                    <a:pt x="5" y="188"/>
                  </a:lnTo>
                  <a:lnTo>
                    <a:pt x="7" y="189"/>
                  </a:lnTo>
                  <a:lnTo>
                    <a:pt x="10" y="191"/>
                  </a:lnTo>
                  <a:lnTo>
                    <a:pt x="12" y="192"/>
                  </a:lnTo>
                  <a:lnTo>
                    <a:pt x="15" y="192"/>
                  </a:lnTo>
                  <a:lnTo>
                    <a:pt x="19" y="192"/>
                  </a:lnTo>
                  <a:lnTo>
                    <a:pt x="21" y="191"/>
                  </a:lnTo>
                  <a:lnTo>
                    <a:pt x="24" y="189"/>
                  </a:lnTo>
                  <a:lnTo>
                    <a:pt x="26" y="188"/>
                  </a:lnTo>
                  <a:lnTo>
                    <a:pt x="160" y="53"/>
                  </a:lnTo>
                  <a:lnTo>
                    <a:pt x="167" y="46"/>
                  </a:lnTo>
                  <a:lnTo>
                    <a:pt x="176" y="41"/>
                  </a:lnTo>
                  <a:lnTo>
                    <a:pt x="184" y="37"/>
                  </a:lnTo>
                  <a:lnTo>
                    <a:pt x="193" y="34"/>
                  </a:lnTo>
                  <a:lnTo>
                    <a:pt x="203" y="31"/>
                  </a:lnTo>
                  <a:lnTo>
                    <a:pt x="212" y="30"/>
                  </a:lnTo>
                  <a:lnTo>
                    <a:pt x="222" y="30"/>
                  </a:lnTo>
                  <a:lnTo>
                    <a:pt x="231" y="31"/>
                  </a:lnTo>
                  <a:lnTo>
                    <a:pt x="242" y="34"/>
                  </a:lnTo>
                  <a:lnTo>
                    <a:pt x="252" y="36"/>
                  </a:lnTo>
                  <a:lnTo>
                    <a:pt x="261" y="40"/>
                  </a:lnTo>
                  <a:lnTo>
                    <a:pt x="270" y="44"/>
                  </a:lnTo>
                  <a:lnTo>
                    <a:pt x="280" y="48"/>
                  </a:lnTo>
                  <a:lnTo>
                    <a:pt x="288" y="55"/>
                  </a:lnTo>
                  <a:lnTo>
                    <a:pt x="296" y="60"/>
                  </a:lnTo>
                  <a:lnTo>
                    <a:pt x="303" y="68"/>
                  </a:lnTo>
                  <a:lnTo>
                    <a:pt x="333" y="98"/>
                  </a:lnTo>
                  <a:lnTo>
                    <a:pt x="341" y="105"/>
                  </a:lnTo>
                  <a:lnTo>
                    <a:pt x="346" y="113"/>
                  </a:lnTo>
                  <a:lnTo>
                    <a:pt x="351" y="120"/>
                  </a:lnTo>
                  <a:lnTo>
                    <a:pt x="354" y="128"/>
                  </a:lnTo>
                  <a:lnTo>
                    <a:pt x="358" y="136"/>
                  </a:lnTo>
                  <a:lnTo>
                    <a:pt x="360" y="145"/>
                  </a:lnTo>
                  <a:lnTo>
                    <a:pt x="362" y="153"/>
                  </a:lnTo>
                  <a:lnTo>
                    <a:pt x="362" y="162"/>
                  </a:lnTo>
                  <a:lnTo>
                    <a:pt x="362" y="170"/>
                  </a:lnTo>
                  <a:lnTo>
                    <a:pt x="360" y="179"/>
                  </a:lnTo>
                  <a:lnTo>
                    <a:pt x="358" y="188"/>
                  </a:lnTo>
                  <a:lnTo>
                    <a:pt x="354" y="195"/>
                  </a:lnTo>
                  <a:lnTo>
                    <a:pt x="351" y="204"/>
                  </a:lnTo>
                  <a:lnTo>
                    <a:pt x="346" y="211"/>
                  </a:lnTo>
                  <a:lnTo>
                    <a:pt x="341" y="219"/>
                  </a:lnTo>
                  <a:lnTo>
                    <a:pt x="333" y="226"/>
                  </a:lnTo>
                  <a:lnTo>
                    <a:pt x="154" y="405"/>
                  </a:lnTo>
                  <a:lnTo>
                    <a:pt x="148" y="411"/>
                  </a:lnTo>
                  <a:lnTo>
                    <a:pt x="141" y="416"/>
                  </a:lnTo>
                  <a:lnTo>
                    <a:pt x="133" y="421"/>
                  </a:lnTo>
                  <a:lnTo>
                    <a:pt x="124" y="424"/>
                  </a:lnTo>
                  <a:lnTo>
                    <a:pt x="116" y="426"/>
                  </a:lnTo>
                  <a:lnTo>
                    <a:pt x="107" y="427"/>
                  </a:lnTo>
                  <a:lnTo>
                    <a:pt x="99" y="428"/>
                  </a:lnTo>
                  <a:lnTo>
                    <a:pt x="89" y="427"/>
                  </a:lnTo>
                  <a:lnTo>
                    <a:pt x="80" y="426"/>
                  </a:lnTo>
                  <a:lnTo>
                    <a:pt x="71" y="424"/>
                  </a:lnTo>
                  <a:lnTo>
                    <a:pt x="62" y="421"/>
                  </a:lnTo>
                  <a:lnTo>
                    <a:pt x="54" y="416"/>
                  </a:lnTo>
                  <a:lnTo>
                    <a:pt x="46" y="411"/>
                  </a:lnTo>
                  <a:lnTo>
                    <a:pt x="39" y="406"/>
                  </a:lnTo>
                  <a:lnTo>
                    <a:pt x="32" y="399"/>
                  </a:lnTo>
                  <a:lnTo>
                    <a:pt x="27" y="393"/>
                  </a:lnTo>
                  <a:lnTo>
                    <a:pt x="26" y="390"/>
                  </a:lnTo>
                  <a:lnTo>
                    <a:pt x="24" y="389"/>
                  </a:lnTo>
                  <a:lnTo>
                    <a:pt x="21" y="386"/>
                  </a:lnTo>
                  <a:lnTo>
                    <a:pt x="19" y="386"/>
                  </a:lnTo>
                  <a:lnTo>
                    <a:pt x="15" y="385"/>
                  </a:lnTo>
                  <a:lnTo>
                    <a:pt x="12" y="386"/>
                  </a:lnTo>
                  <a:lnTo>
                    <a:pt x="10" y="386"/>
                  </a:lnTo>
                  <a:lnTo>
                    <a:pt x="7" y="389"/>
                  </a:lnTo>
                  <a:lnTo>
                    <a:pt x="5" y="391"/>
                  </a:lnTo>
                  <a:lnTo>
                    <a:pt x="3" y="393"/>
                  </a:lnTo>
                  <a:lnTo>
                    <a:pt x="1" y="395"/>
                  </a:lnTo>
                  <a:lnTo>
                    <a:pt x="0" y="398"/>
                  </a:lnTo>
                  <a:lnTo>
                    <a:pt x="0" y="400"/>
                  </a:lnTo>
                  <a:lnTo>
                    <a:pt x="0" y="403"/>
                  </a:lnTo>
                  <a:lnTo>
                    <a:pt x="1" y="407"/>
                  </a:lnTo>
                  <a:lnTo>
                    <a:pt x="3" y="409"/>
                  </a:lnTo>
                  <a:lnTo>
                    <a:pt x="10" y="418"/>
                  </a:lnTo>
                  <a:lnTo>
                    <a:pt x="19" y="427"/>
                  </a:lnTo>
                  <a:lnTo>
                    <a:pt x="28" y="435"/>
                  </a:lnTo>
                  <a:lnTo>
                    <a:pt x="38" y="442"/>
                  </a:lnTo>
                  <a:lnTo>
                    <a:pt x="50" y="447"/>
                  </a:lnTo>
                  <a:lnTo>
                    <a:pt x="61" y="452"/>
                  </a:lnTo>
                  <a:lnTo>
                    <a:pt x="73" y="455"/>
                  </a:lnTo>
                  <a:lnTo>
                    <a:pt x="86" y="457"/>
                  </a:lnTo>
                  <a:lnTo>
                    <a:pt x="92" y="457"/>
                  </a:lnTo>
                  <a:lnTo>
                    <a:pt x="99" y="458"/>
                  </a:lnTo>
                  <a:lnTo>
                    <a:pt x="109" y="457"/>
                  </a:lnTo>
                  <a:lnTo>
                    <a:pt x="120" y="456"/>
                  </a:lnTo>
                  <a:lnTo>
                    <a:pt x="130" y="453"/>
                  </a:lnTo>
                  <a:lnTo>
                    <a:pt x="141" y="449"/>
                  </a:lnTo>
                  <a:lnTo>
                    <a:pt x="150" y="445"/>
                  </a:lnTo>
                  <a:lnTo>
                    <a:pt x="159" y="440"/>
                  </a:lnTo>
                  <a:lnTo>
                    <a:pt x="167" y="433"/>
                  </a:lnTo>
                  <a:lnTo>
                    <a:pt x="175" y="426"/>
                  </a:lnTo>
                  <a:lnTo>
                    <a:pt x="354" y="247"/>
                  </a:lnTo>
                  <a:lnTo>
                    <a:pt x="363" y="238"/>
                  </a:lnTo>
                  <a:lnTo>
                    <a:pt x="370" y="228"/>
                  </a:lnTo>
                  <a:lnTo>
                    <a:pt x="377" y="217"/>
                  </a:lnTo>
                  <a:lnTo>
                    <a:pt x="382" y="207"/>
                  </a:lnTo>
                  <a:lnTo>
                    <a:pt x="387" y="196"/>
                  </a:lnTo>
                  <a:lnTo>
                    <a:pt x="390" y="184"/>
                  </a:lnTo>
                  <a:lnTo>
                    <a:pt x="392" y="174"/>
                  </a:lnTo>
                  <a:lnTo>
                    <a:pt x="392" y="162"/>
                  </a:lnTo>
                  <a:lnTo>
                    <a:pt x="392" y="150"/>
                  </a:lnTo>
                  <a:lnTo>
                    <a:pt x="390" y="138"/>
                  </a:lnTo>
                  <a:lnTo>
                    <a:pt x="387" y="128"/>
                  </a:lnTo>
                  <a:lnTo>
                    <a:pt x="382" y="117"/>
                  </a:lnTo>
                  <a:lnTo>
                    <a:pt x="377" y="106"/>
                  </a:lnTo>
                  <a:lnTo>
                    <a:pt x="370" y="96"/>
                  </a:lnTo>
                  <a:lnTo>
                    <a:pt x="363" y="86"/>
                  </a:lnTo>
                  <a:lnTo>
                    <a:pt x="354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60" name="Group 159"/>
          <p:cNvGrpSpPr/>
          <p:nvPr/>
        </p:nvGrpSpPr>
        <p:grpSpPr>
          <a:xfrm>
            <a:off x="9563888" y="3272813"/>
            <a:ext cx="338295" cy="293439"/>
            <a:chOff x="3171825" y="1955800"/>
            <a:chExt cx="287338" cy="249238"/>
          </a:xfrm>
          <a:solidFill>
            <a:srgbClr val="AFABAB"/>
          </a:solidFill>
        </p:grpSpPr>
        <p:sp>
          <p:nvSpPr>
            <p:cNvPr id="161" name="Freeform 75"/>
            <p:cNvSpPr>
              <a:spLocks noEditPoints="1"/>
            </p:cNvSpPr>
            <p:nvPr/>
          </p:nvSpPr>
          <p:spPr bwMode="auto">
            <a:xfrm>
              <a:off x="3171825" y="1955800"/>
              <a:ext cx="258763" cy="173038"/>
            </a:xfrm>
            <a:custGeom>
              <a:avLst/>
              <a:gdLst>
                <a:gd name="T0" fmla="*/ 54 w 813"/>
                <a:gd name="T1" fmla="*/ 30 h 542"/>
                <a:gd name="T2" fmla="*/ 60 w 813"/>
                <a:gd name="T3" fmla="*/ 30 h 542"/>
                <a:gd name="T4" fmla="*/ 756 w 813"/>
                <a:gd name="T5" fmla="*/ 30 h 542"/>
                <a:gd name="T6" fmla="*/ 413 w 813"/>
                <a:gd name="T7" fmla="*/ 311 h 542"/>
                <a:gd name="T8" fmla="*/ 782 w 813"/>
                <a:gd name="T9" fmla="*/ 240 h 542"/>
                <a:gd name="T10" fmla="*/ 784 w 813"/>
                <a:gd name="T11" fmla="*/ 246 h 542"/>
                <a:gd name="T12" fmla="*/ 787 w 813"/>
                <a:gd name="T13" fmla="*/ 251 h 542"/>
                <a:gd name="T14" fmla="*/ 791 w 813"/>
                <a:gd name="T15" fmla="*/ 254 h 542"/>
                <a:gd name="T16" fmla="*/ 798 w 813"/>
                <a:gd name="T17" fmla="*/ 255 h 542"/>
                <a:gd name="T18" fmla="*/ 803 w 813"/>
                <a:gd name="T19" fmla="*/ 254 h 542"/>
                <a:gd name="T20" fmla="*/ 807 w 813"/>
                <a:gd name="T21" fmla="*/ 251 h 542"/>
                <a:gd name="T22" fmla="*/ 811 w 813"/>
                <a:gd name="T23" fmla="*/ 247 h 542"/>
                <a:gd name="T24" fmla="*/ 813 w 813"/>
                <a:gd name="T25" fmla="*/ 240 h 542"/>
                <a:gd name="T26" fmla="*/ 812 w 813"/>
                <a:gd name="T27" fmla="*/ 67 h 542"/>
                <a:gd name="T28" fmla="*/ 810 w 813"/>
                <a:gd name="T29" fmla="*/ 52 h 542"/>
                <a:gd name="T30" fmla="*/ 805 w 813"/>
                <a:gd name="T31" fmla="*/ 38 h 542"/>
                <a:gd name="T32" fmla="*/ 800 w 813"/>
                <a:gd name="T33" fmla="*/ 26 h 542"/>
                <a:gd name="T34" fmla="*/ 791 w 813"/>
                <a:gd name="T35" fmla="*/ 16 h 542"/>
                <a:gd name="T36" fmla="*/ 782 w 813"/>
                <a:gd name="T37" fmla="*/ 8 h 542"/>
                <a:gd name="T38" fmla="*/ 771 w 813"/>
                <a:gd name="T39" fmla="*/ 2 h 542"/>
                <a:gd name="T40" fmla="*/ 759 w 813"/>
                <a:gd name="T41" fmla="*/ 0 h 542"/>
                <a:gd name="T42" fmla="*/ 60 w 813"/>
                <a:gd name="T43" fmla="*/ 0 h 542"/>
                <a:gd name="T44" fmla="*/ 47 w 813"/>
                <a:gd name="T45" fmla="*/ 1 h 542"/>
                <a:gd name="T46" fmla="*/ 35 w 813"/>
                <a:gd name="T47" fmla="*/ 6 h 542"/>
                <a:gd name="T48" fmla="*/ 25 w 813"/>
                <a:gd name="T49" fmla="*/ 12 h 542"/>
                <a:gd name="T50" fmla="*/ 16 w 813"/>
                <a:gd name="T51" fmla="*/ 21 h 542"/>
                <a:gd name="T52" fmla="*/ 10 w 813"/>
                <a:gd name="T53" fmla="*/ 31 h 542"/>
                <a:gd name="T54" fmla="*/ 4 w 813"/>
                <a:gd name="T55" fmla="*/ 44 h 542"/>
                <a:gd name="T56" fmla="*/ 1 w 813"/>
                <a:gd name="T57" fmla="*/ 59 h 542"/>
                <a:gd name="T58" fmla="*/ 0 w 813"/>
                <a:gd name="T59" fmla="*/ 75 h 542"/>
                <a:gd name="T60" fmla="*/ 0 w 813"/>
                <a:gd name="T61" fmla="*/ 474 h 542"/>
                <a:gd name="T62" fmla="*/ 2 w 813"/>
                <a:gd name="T63" fmla="*/ 490 h 542"/>
                <a:gd name="T64" fmla="*/ 6 w 813"/>
                <a:gd name="T65" fmla="*/ 503 h 542"/>
                <a:gd name="T66" fmla="*/ 13 w 813"/>
                <a:gd name="T67" fmla="*/ 516 h 542"/>
                <a:gd name="T68" fmla="*/ 20 w 813"/>
                <a:gd name="T69" fmla="*/ 526 h 542"/>
                <a:gd name="T70" fmla="*/ 30 w 813"/>
                <a:gd name="T71" fmla="*/ 533 h 542"/>
                <a:gd name="T72" fmla="*/ 41 w 813"/>
                <a:gd name="T73" fmla="*/ 538 h 542"/>
                <a:gd name="T74" fmla="*/ 54 w 813"/>
                <a:gd name="T75" fmla="*/ 541 h 542"/>
                <a:gd name="T76" fmla="*/ 376 w 813"/>
                <a:gd name="T77" fmla="*/ 542 h 542"/>
                <a:gd name="T78" fmla="*/ 382 w 813"/>
                <a:gd name="T79" fmla="*/ 541 h 542"/>
                <a:gd name="T80" fmla="*/ 387 w 813"/>
                <a:gd name="T81" fmla="*/ 537 h 542"/>
                <a:gd name="T82" fmla="*/ 390 w 813"/>
                <a:gd name="T83" fmla="*/ 532 h 542"/>
                <a:gd name="T84" fmla="*/ 391 w 813"/>
                <a:gd name="T85" fmla="*/ 527 h 542"/>
                <a:gd name="T86" fmla="*/ 390 w 813"/>
                <a:gd name="T87" fmla="*/ 520 h 542"/>
                <a:gd name="T88" fmla="*/ 387 w 813"/>
                <a:gd name="T89" fmla="*/ 516 h 542"/>
                <a:gd name="T90" fmla="*/ 382 w 813"/>
                <a:gd name="T91" fmla="*/ 513 h 542"/>
                <a:gd name="T92" fmla="*/ 376 w 813"/>
                <a:gd name="T93" fmla="*/ 512 h 542"/>
                <a:gd name="T94" fmla="*/ 55 w 813"/>
                <a:gd name="T95" fmla="*/ 511 h 542"/>
                <a:gd name="T96" fmla="*/ 47 w 813"/>
                <a:gd name="T97" fmla="*/ 508 h 542"/>
                <a:gd name="T98" fmla="*/ 39 w 813"/>
                <a:gd name="T99" fmla="*/ 500 h 542"/>
                <a:gd name="T100" fmla="*/ 32 w 813"/>
                <a:gd name="T101" fmla="*/ 485 h 542"/>
                <a:gd name="T102" fmla="*/ 30 w 813"/>
                <a:gd name="T103" fmla="*/ 471 h 542"/>
                <a:gd name="T104" fmla="*/ 30 w 813"/>
                <a:gd name="T105" fmla="*/ 75 h 542"/>
                <a:gd name="T106" fmla="*/ 33 w 813"/>
                <a:gd name="T107" fmla="*/ 53 h 542"/>
                <a:gd name="T108" fmla="*/ 409 w 813"/>
                <a:gd name="T109" fmla="*/ 345 h 542"/>
                <a:gd name="T110" fmla="*/ 418 w 813"/>
                <a:gd name="T111" fmla="*/ 344 h 542"/>
                <a:gd name="T112" fmla="*/ 780 w 813"/>
                <a:gd name="T113" fmla="*/ 53 h 542"/>
                <a:gd name="T114" fmla="*/ 782 w 813"/>
                <a:gd name="T115" fmla="*/ 75 h 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13" h="542">
                  <a:moveTo>
                    <a:pt x="413" y="311"/>
                  </a:moveTo>
                  <a:lnTo>
                    <a:pt x="54" y="30"/>
                  </a:lnTo>
                  <a:lnTo>
                    <a:pt x="57" y="30"/>
                  </a:lnTo>
                  <a:lnTo>
                    <a:pt x="60" y="30"/>
                  </a:lnTo>
                  <a:lnTo>
                    <a:pt x="752" y="30"/>
                  </a:lnTo>
                  <a:lnTo>
                    <a:pt x="756" y="30"/>
                  </a:lnTo>
                  <a:lnTo>
                    <a:pt x="759" y="31"/>
                  </a:lnTo>
                  <a:lnTo>
                    <a:pt x="413" y="311"/>
                  </a:lnTo>
                  <a:close/>
                  <a:moveTo>
                    <a:pt x="782" y="75"/>
                  </a:moveTo>
                  <a:lnTo>
                    <a:pt x="782" y="240"/>
                  </a:lnTo>
                  <a:lnTo>
                    <a:pt x="783" y="244"/>
                  </a:lnTo>
                  <a:lnTo>
                    <a:pt x="784" y="246"/>
                  </a:lnTo>
                  <a:lnTo>
                    <a:pt x="785" y="249"/>
                  </a:lnTo>
                  <a:lnTo>
                    <a:pt x="787" y="251"/>
                  </a:lnTo>
                  <a:lnTo>
                    <a:pt x="789" y="253"/>
                  </a:lnTo>
                  <a:lnTo>
                    <a:pt x="791" y="254"/>
                  </a:lnTo>
                  <a:lnTo>
                    <a:pt x="795" y="255"/>
                  </a:lnTo>
                  <a:lnTo>
                    <a:pt x="798" y="255"/>
                  </a:lnTo>
                  <a:lnTo>
                    <a:pt x="800" y="255"/>
                  </a:lnTo>
                  <a:lnTo>
                    <a:pt x="803" y="254"/>
                  </a:lnTo>
                  <a:lnTo>
                    <a:pt x="805" y="253"/>
                  </a:lnTo>
                  <a:lnTo>
                    <a:pt x="807" y="251"/>
                  </a:lnTo>
                  <a:lnTo>
                    <a:pt x="810" y="249"/>
                  </a:lnTo>
                  <a:lnTo>
                    <a:pt x="811" y="247"/>
                  </a:lnTo>
                  <a:lnTo>
                    <a:pt x="812" y="244"/>
                  </a:lnTo>
                  <a:lnTo>
                    <a:pt x="813" y="240"/>
                  </a:lnTo>
                  <a:lnTo>
                    <a:pt x="813" y="75"/>
                  </a:lnTo>
                  <a:lnTo>
                    <a:pt x="812" y="67"/>
                  </a:lnTo>
                  <a:lnTo>
                    <a:pt x="812" y="59"/>
                  </a:lnTo>
                  <a:lnTo>
                    <a:pt x="810" y="52"/>
                  </a:lnTo>
                  <a:lnTo>
                    <a:pt x="808" y="44"/>
                  </a:lnTo>
                  <a:lnTo>
                    <a:pt x="805" y="38"/>
                  </a:lnTo>
                  <a:lnTo>
                    <a:pt x="803" y="31"/>
                  </a:lnTo>
                  <a:lnTo>
                    <a:pt x="800" y="26"/>
                  </a:lnTo>
                  <a:lnTo>
                    <a:pt x="796" y="21"/>
                  </a:lnTo>
                  <a:lnTo>
                    <a:pt x="791" y="16"/>
                  </a:lnTo>
                  <a:lnTo>
                    <a:pt x="787" y="12"/>
                  </a:lnTo>
                  <a:lnTo>
                    <a:pt x="782" y="8"/>
                  </a:lnTo>
                  <a:lnTo>
                    <a:pt x="776" y="6"/>
                  </a:lnTo>
                  <a:lnTo>
                    <a:pt x="771" y="2"/>
                  </a:lnTo>
                  <a:lnTo>
                    <a:pt x="765" y="1"/>
                  </a:lnTo>
                  <a:lnTo>
                    <a:pt x="759" y="0"/>
                  </a:lnTo>
                  <a:lnTo>
                    <a:pt x="752" y="0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47" y="1"/>
                  </a:lnTo>
                  <a:lnTo>
                    <a:pt x="41" y="2"/>
                  </a:lnTo>
                  <a:lnTo>
                    <a:pt x="35" y="6"/>
                  </a:lnTo>
                  <a:lnTo>
                    <a:pt x="30" y="8"/>
                  </a:lnTo>
                  <a:lnTo>
                    <a:pt x="25" y="12"/>
                  </a:lnTo>
                  <a:lnTo>
                    <a:pt x="20" y="16"/>
                  </a:lnTo>
                  <a:lnTo>
                    <a:pt x="16" y="21"/>
                  </a:lnTo>
                  <a:lnTo>
                    <a:pt x="13" y="26"/>
                  </a:lnTo>
                  <a:lnTo>
                    <a:pt x="10" y="31"/>
                  </a:lnTo>
                  <a:lnTo>
                    <a:pt x="6" y="38"/>
                  </a:lnTo>
                  <a:lnTo>
                    <a:pt x="4" y="44"/>
                  </a:lnTo>
                  <a:lnTo>
                    <a:pt x="2" y="52"/>
                  </a:lnTo>
                  <a:lnTo>
                    <a:pt x="1" y="59"/>
                  </a:lnTo>
                  <a:lnTo>
                    <a:pt x="0" y="67"/>
                  </a:lnTo>
                  <a:lnTo>
                    <a:pt x="0" y="75"/>
                  </a:lnTo>
                  <a:lnTo>
                    <a:pt x="0" y="467"/>
                  </a:lnTo>
                  <a:lnTo>
                    <a:pt x="0" y="474"/>
                  </a:lnTo>
                  <a:lnTo>
                    <a:pt x="1" y="483"/>
                  </a:lnTo>
                  <a:lnTo>
                    <a:pt x="2" y="490"/>
                  </a:lnTo>
                  <a:lnTo>
                    <a:pt x="4" y="497"/>
                  </a:lnTo>
                  <a:lnTo>
                    <a:pt x="6" y="503"/>
                  </a:lnTo>
                  <a:lnTo>
                    <a:pt x="10" y="510"/>
                  </a:lnTo>
                  <a:lnTo>
                    <a:pt x="13" y="516"/>
                  </a:lnTo>
                  <a:lnTo>
                    <a:pt x="16" y="520"/>
                  </a:lnTo>
                  <a:lnTo>
                    <a:pt x="20" y="526"/>
                  </a:lnTo>
                  <a:lnTo>
                    <a:pt x="25" y="530"/>
                  </a:lnTo>
                  <a:lnTo>
                    <a:pt x="30" y="533"/>
                  </a:lnTo>
                  <a:lnTo>
                    <a:pt x="35" y="536"/>
                  </a:lnTo>
                  <a:lnTo>
                    <a:pt x="41" y="538"/>
                  </a:lnTo>
                  <a:lnTo>
                    <a:pt x="47" y="540"/>
                  </a:lnTo>
                  <a:lnTo>
                    <a:pt x="54" y="541"/>
                  </a:lnTo>
                  <a:lnTo>
                    <a:pt x="60" y="542"/>
                  </a:lnTo>
                  <a:lnTo>
                    <a:pt x="376" y="542"/>
                  </a:lnTo>
                  <a:lnTo>
                    <a:pt x="379" y="541"/>
                  </a:lnTo>
                  <a:lnTo>
                    <a:pt x="382" y="541"/>
                  </a:lnTo>
                  <a:lnTo>
                    <a:pt x="384" y="538"/>
                  </a:lnTo>
                  <a:lnTo>
                    <a:pt x="387" y="537"/>
                  </a:lnTo>
                  <a:lnTo>
                    <a:pt x="388" y="535"/>
                  </a:lnTo>
                  <a:lnTo>
                    <a:pt x="390" y="532"/>
                  </a:lnTo>
                  <a:lnTo>
                    <a:pt x="390" y="530"/>
                  </a:lnTo>
                  <a:lnTo>
                    <a:pt x="391" y="527"/>
                  </a:lnTo>
                  <a:lnTo>
                    <a:pt x="390" y="523"/>
                  </a:lnTo>
                  <a:lnTo>
                    <a:pt x="390" y="520"/>
                  </a:lnTo>
                  <a:lnTo>
                    <a:pt x="388" y="518"/>
                  </a:lnTo>
                  <a:lnTo>
                    <a:pt x="387" y="516"/>
                  </a:lnTo>
                  <a:lnTo>
                    <a:pt x="384" y="514"/>
                  </a:lnTo>
                  <a:lnTo>
                    <a:pt x="382" y="513"/>
                  </a:lnTo>
                  <a:lnTo>
                    <a:pt x="379" y="512"/>
                  </a:lnTo>
                  <a:lnTo>
                    <a:pt x="376" y="512"/>
                  </a:lnTo>
                  <a:lnTo>
                    <a:pt x="60" y="512"/>
                  </a:lnTo>
                  <a:lnTo>
                    <a:pt x="55" y="511"/>
                  </a:lnTo>
                  <a:lnTo>
                    <a:pt x="50" y="510"/>
                  </a:lnTo>
                  <a:lnTo>
                    <a:pt x="47" y="508"/>
                  </a:lnTo>
                  <a:lnTo>
                    <a:pt x="44" y="505"/>
                  </a:lnTo>
                  <a:lnTo>
                    <a:pt x="39" y="500"/>
                  </a:lnTo>
                  <a:lnTo>
                    <a:pt x="34" y="492"/>
                  </a:lnTo>
                  <a:lnTo>
                    <a:pt x="32" y="485"/>
                  </a:lnTo>
                  <a:lnTo>
                    <a:pt x="31" y="477"/>
                  </a:lnTo>
                  <a:lnTo>
                    <a:pt x="30" y="471"/>
                  </a:lnTo>
                  <a:lnTo>
                    <a:pt x="30" y="467"/>
                  </a:lnTo>
                  <a:lnTo>
                    <a:pt x="30" y="75"/>
                  </a:lnTo>
                  <a:lnTo>
                    <a:pt x="30" y="66"/>
                  </a:lnTo>
                  <a:lnTo>
                    <a:pt x="33" y="53"/>
                  </a:lnTo>
                  <a:lnTo>
                    <a:pt x="404" y="342"/>
                  </a:lnTo>
                  <a:lnTo>
                    <a:pt x="409" y="345"/>
                  </a:lnTo>
                  <a:lnTo>
                    <a:pt x="413" y="345"/>
                  </a:lnTo>
                  <a:lnTo>
                    <a:pt x="418" y="344"/>
                  </a:lnTo>
                  <a:lnTo>
                    <a:pt x="422" y="342"/>
                  </a:lnTo>
                  <a:lnTo>
                    <a:pt x="780" y="53"/>
                  </a:lnTo>
                  <a:lnTo>
                    <a:pt x="782" y="66"/>
                  </a:lnTo>
                  <a:lnTo>
                    <a:pt x="782" y="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76"/>
            <p:cNvSpPr>
              <a:spLocks noEditPoints="1"/>
            </p:cNvSpPr>
            <p:nvPr/>
          </p:nvSpPr>
          <p:spPr bwMode="auto">
            <a:xfrm>
              <a:off x="3314700" y="2062163"/>
              <a:ext cx="144463" cy="142875"/>
            </a:xfrm>
            <a:custGeom>
              <a:avLst/>
              <a:gdLst>
                <a:gd name="T0" fmla="*/ 310 w 452"/>
                <a:gd name="T1" fmla="*/ 253 h 448"/>
                <a:gd name="T2" fmla="*/ 308 w 452"/>
                <a:gd name="T3" fmla="*/ 261 h 448"/>
                <a:gd name="T4" fmla="*/ 349 w 452"/>
                <a:gd name="T5" fmla="*/ 395 h 448"/>
                <a:gd name="T6" fmla="*/ 232 w 452"/>
                <a:gd name="T7" fmla="*/ 313 h 448"/>
                <a:gd name="T8" fmla="*/ 223 w 452"/>
                <a:gd name="T9" fmla="*/ 313 h 448"/>
                <a:gd name="T10" fmla="*/ 104 w 452"/>
                <a:gd name="T11" fmla="*/ 395 h 448"/>
                <a:gd name="T12" fmla="*/ 148 w 452"/>
                <a:gd name="T13" fmla="*/ 261 h 448"/>
                <a:gd name="T14" fmla="*/ 145 w 452"/>
                <a:gd name="T15" fmla="*/ 253 h 448"/>
                <a:gd name="T16" fmla="*/ 56 w 452"/>
                <a:gd name="T17" fmla="*/ 178 h 448"/>
                <a:gd name="T18" fmla="*/ 155 w 452"/>
                <a:gd name="T19" fmla="*/ 177 h 448"/>
                <a:gd name="T20" fmla="*/ 161 w 452"/>
                <a:gd name="T21" fmla="*/ 172 h 448"/>
                <a:gd name="T22" fmla="*/ 228 w 452"/>
                <a:gd name="T23" fmla="*/ 48 h 448"/>
                <a:gd name="T24" fmla="*/ 290 w 452"/>
                <a:gd name="T25" fmla="*/ 172 h 448"/>
                <a:gd name="T26" fmla="*/ 297 w 452"/>
                <a:gd name="T27" fmla="*/ 177 h 448"/>
                <a:gd name="T28" fmla="*/ 396 w 452"/>
                <a:gd name="T29" fmla="*/ 178 h 448"/>
                <a:gd name="T30" fmla="*/ 451 w 452"/>
                <a:gd name="T31" fmla="*/ 157 h 448"/>
                <a:gd name="T32" fmla="*/ 445 w 452"/>
                <a:gd name="T33" fmla="*/ 150 h 448"/>
                <a:gd name="T34" fmla="*/ 437 w 452"/>
                <a:gd name="T35" fmla="*/ 148 h 448"/>
                <a:gd name="T36" fmla="*/ 242 w 452"/>
                <a:gd name="T37" fmla="*/ 8 h 448"/>
                <a:gd name="T38" fmla="*/ 236 w 452"/>
                <a:gd name="T39" fmla="*/ 2 h 448"/>
                <a:gd name="T40" fmla="*/ 229 w 452"/>
                <a:gd name="T41" fmla="*/ 0 h 448"/>
                <a:gd name="T42" fmla="*/ 228 w 452"/>
                <a:gd name="T43" fmla="*/ 0 h 448"/>
                <a:gd name="T44" fmla="*/ 220 w 452"/>
                <a:gd name="T45" fmla="*/ 2 h 448"/>
                <a:gd name="T46" fmla="*/ 215 w 452"/>
                <a:gd name="T47" fmla="*/ 7 h 448"/>
                <a:gd name="T48" fmla="*/ 15 w 452"/>
                <a:gd name="T49" fmla="*/ 148 h 448"/>
                <a:gd name="T50" fmla="*/ 7 w 452"/>
                <a:gd name="T51" fmla="*/ 150 h 448"/>
                <a:gd name="T52" fmla="*/ 1 w 452"/>
                <a:gd name="T53" fmla="*/ 157 h 448"/>
                <a:gd name="T54" fmla="*/ 0 w 452"/>
                <a:gd name="T55" fmla="*/ 166 h 448"/>
                <a:gd name="T56" fmla="*/ 6 w 452"/>
                <a:gd name="T57" fmla="*/ 173 h 448"/>
                <a:gd name="T58" fmla="*/ 62 w 452"/>
                <a:gd name="T59" fmla="*/ 429 h 448"/>
                <a:gd name="T60" fmla="*/ 62 w 452"/>
                <a:gd name="T61" fmla="*/ 437 h 448"/>
                <a:gd name="T62" fmla="*/ 67 w 452"/>
                <a:gd name="T63" fmla="*/ 445 h 448"/>
                <a:gd name="T64" fmla="*/ 75 w 452"/>
                <a:gd name="T65" fmla="*/ 448 h 448"/>
                <a:gd name="T66" fmla="*/ 84 w 452"/>
                <a:gd name="T67" fmla="*/ 446 h 448"/>
                <a:gd name="T68" fmla="*/ 367 w 452"/>
                <a:gd name="T69" fmla="*/ 446 h 448"/>
                <a:gd name="T70" fmla="*/ 377 w 452"/>
                <a:gd name="T71" fmla="*/ 448 h 448"/>
                <a:gd name="T72" fmla="*/ 385 w 452"/>
                <a:gd name="T73" fmla="*/ 446 h 448"/>
                <a:gd name="T74" fmla="*/ 391 w 452"/>
                <a:gd name="T75" fmla="*/ 438 h 448"/>
                <a:gd name="T76" fmla="*/ 391 w 452"/>
                <a:gd name="T77" fmla="*/ 429 h 448"/>
                <a:gd name="T78" fmla="*/ 446 w 452"/>
                <a:gd name="T79" fmla="*/ 173 h 448"/>
                <a:gd name="T80" fmla="*/ 451 w 452"/>
                <a:gd name="T81" fmla="*/ 166 h 448"/>
                <a:gd name="T82" fmla="*/ 451 w 452"/>
                <a:gd name="T83" fmla="*/ 157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52" h="448">
                  <a:moveTo>
                    <a:pt x="312" y="249"/>
                  </a:moveTo>
                  <a:lnTo>
                    <a:pt x="310" y="253"/>
                  </a:lnTo>
                  <a:lnTo>
                    <a:pt x="308" y="257"/>
                  </a:lnTo>
                  <a:lnTo>
                    <a:pt x="308" y="261"/>
                  </a:lnTo>
                  <a:lnTo>
                    <a:pt x="308" y="266"/>
                  </a:lnTo>
                  <a:lnTo>
                    <a:pt x="349" y="395"/>
                  </a:lnTo>
                  <a:lnTo>
                    <a:pt x="236" y="315"/>
                  </a:lnTo>
                  <a:lnTo>
                    <a:pt x="232" y="313"/>
                  </a:lnTo>
                  <a:lnTo>
                    <a:pt x="228" y="313"/>
                  </a:lnTo>
                  <a:lnTo>
                    <a:pt x="223" y="313"/>
                  </a:lnTo>
                  <a:lnTo>
                    <a:pt x="219" y="315"/>
                  </a:lnTo>
                  <a:lnTo>
                    <a:pt x="104" y="395"/>
                  </a:lnTo>
                  <a:lnTo>
                    <a:pt x="147" y="266"/>
                  </a:lnTo>
                  <a:lnTo>
                    <a:pt x="148" y="261"/>
                  </a:lnTo>
                  <a:lnTo>
                    <a:pt x="147" y="257"/>
                  </a:lnTo>
                  <a:lnTo>
                    <a:pt x="145" y="253"/>
                  </a:lnTo>
                  <a:lnTo>
                    <a:pt x="143" y="249"/>
                  </a:lnTo>
                  <a:lnTo>
                    <a:pt x="56" y="178"/>
                  </a:lnTo>
                  <a:lnTo>
                    <a:pt x="151" y="178"/>
                  </a:lnTo>
                  <a:lnTo>
                    <a:pt x="155" y="177"/>
                  </a:lnTo>
                  <a:lnTo>
                    <a:pt x="158" y="176"/>
                  </a:lnTo>
                  <a:lnTo>
                    <a:pt x="161" y="172"/>
                  </a:lnTo>
                  <a:lnTo>
                    <a:pt x="164" y="169"/>
                  </a:lnTo>
                  <a:lnTo>
                    <a:pt x="228" y="48"/>
                  </a:lnTo>
                  <a:lnTo>
                    <a:pt x="288" y="169"/>
                  </a:lnTo>
                  <a:lnTo>
                    <a:pt x="290" y="172"/>
                  </a:lnTo>
                  <a:lnTo>
                    <a:pt x="293" y="176"/>
                  </a:lnTo>
                  <a:lnTo>
                    <a:pt x="297" y="177"/>
                  </a:lnTo>
                  <a:lnTo>
                    <a:pt x="301" y="178"/>
                  </a:lnTo>
                  <a:lnTo>
                    <a:pt x="396" y="178"/>
                  </a:lnTo>
                  <a:lnTo>
                    <a:pt x="312" y="249"/>
                  </a:lnTo>
                  <a:close/>
                  <a:moveTo>
                    <a:pt x="451" y="157"/>
                  </a:moveTo>
                  <a:lnTo>
                    <a:pt x="449" y="153"/>
                  </a:lnTo>
                  <a:lnTo>
                    <a:pt x="445" y="150"/>
                  </a:lnTo>
                  <a:lnTo>
                    <a:pt x="441" y="148"/>
                  </a:lnTo>
                  <a:lnTo>
                    <a:pt x="437" y="148"/>
                  </a:lnTo>
                  <a:lnTo>
                    <a:pt x="310" y="148"/>
                  </a:lnTo>
                  <a:lnTo>
                    <a:pt x="242" y="8"/>
                  </a:lnTo>
                  <a:lnTo>
                    <a:pt x="240" y="4"/>
                  </a:lnTo>
                  <a:lnTo>
                    <a:pt x="236" y="2"/>
                  </a:lnTo>
                  <a:lnTo>
                    <a:pt x="232" y="0"/>
                  </a:lnTo>
                  <a:lnTo>
                    <a:pt x="229" y="0"/>
                  </a:lnTo>
                  <a:lnTo>
                    <a:pt x="228" y="0"/>
                  </a:lnTo>
                  <a:lnTo>
                    <a:pt x="228" y="0"/>
                  </a:lnTo>
                  <a:lnTo>
                    <a:pt x="225" y="0"/>
                  </a:lnTo>
                  <a:lnTo>
                    <a:pt x="220" y="2"/>
                  </a:lnTo>
                  <a:lnTo>
                    <a:pt x="217" y="4"/>
                  </a:lnTo>
                  <a:lnTo>
                    <a:pt x="215" y="7"/>
                  </a:lnTo>
                  <a:lnTo>
                    <a:pt x="142" y="148"/>
                  </a:lnTo>
                  <a:lnTo>
                    <a:pt x="15" y="148"/>
                  </a:lnTo>
                  <a:lnTo>
                    <a:pt x="11" y="148"/>
                  </a:lnTo>
                  <a:lnTo>
                    <a:pt x="7" y="150"/>
                  </a:lnTo>
                  <a:lnTo>
                    <a:pt x="4" y="153"/>
                  </a:lnTo>
                  <a:lnTo>
                    <a:pt x="1" y="157"/>
                  </a:lnTo>
                  <a:lnTo>
                    <a:pt x="0" y="162"/>
                  </a:lnTo>
                  <a:lnTo>
                    <a:pt x="0" y="166"/>
                  </a:lnTo>
                  <a:lnTo>
                    <a:pt x="3" y="170"/>
                  </a:lnTo>
                  <a:lnTo>
                    <a:pt x="6" y="173"/>
                  </a:lnTo>
                  <a:lnTo>
                    <a:pt x="115" y="266"/>
                  </a:lnTo>
                  <a:lnTo>
                    <a:pt x="62" y="429"/>
                  </a:lnTo>
                  <a:lnTo>
                    <a:pt x="60" y="433"/>
                  </a:lnTo>
                  <a:lnTo>
                    <a:pt x="62" y="437"/>
                  </a:lnTo>
                  <a:lnTo>
                    <a:pt x="63" y="441"/>
                  </a:lnTo>
                  <a:lnTo>
                    <a:pt x="67" y="445"/>
                  </a:lnTo>
                  <a:lnTo>
                    <a:pt x="71" y="448"/>
                  </a:lnTo>
                  <a:lnTo>
                    <a:pt x="75" y="448"/>
                  </a:lnTo>
                  <a:lnTo>
                    <a:pt x="80" y="448"/>
                  </a:lnTo>
                  <a:lnTo>
                    <a:pt x="84" y="446"/>
                  </a:lnTo>
                  <a:lnTo>
                    <a:pt x="228" y="346"/>
                  </a:lnTo>
                  <a:lnTo>
                    <a:pt x="367" y="446"/>
                  </a:lnTo>
                  <a:lnTo>
                    <a:pt x="371" y="448"/>
                  </a:lnTo>
                  <a:lnTo>
                    <a:pt x="377" y="448"/>
                  </a:lnTo>
                  <a:lnTo>
                    <a:pt x="381" y="448"/>
                  </a:lnTo>
                  <a:lnTo>
                    <a:pt x="385" y="446"/>
                  </a:lnTo>
                  <a:lnTo>
                    <a:pt x="389" y="441"/>
                  </a:lnTo>
                  <a:lnTo>
                    <a:pt x="391" y="438"/>
                  </a:lnTo>
                  <a:lnTo>
                    <a:pt x="392" y="433"/>
                  </a:lnTo>
                  <a:lnTo>
                    <a:pt x="391" y="429"/>
                  </a:lnTo>
                  <a:lnTo>
                    <a:pt x="340" y="266"/>
                  </a:lnTo>
                  <a:lnTo>
                    <a:pt x="446" y="173"/>
                  </a:lnTo>
                  <a:lnTo>
                    <a:pt x="450" y="170"/>
                  </a:lnTo>
                  <a:lnTo>
                    <a:pt x="451" y="166"/>
                  </a:lnTo>
                  <a:lnTo>
                    <a:pt x="452" y="162"/>
                  </a:lnTo>
                  <a:lnTo>
                    <a:pt x="451" y="1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63" name="Group 162"/>
          <p:cNvGrpSpPr/>
          <p:nvPr/>
        </p:nvGrpSpPr>
        <p:grpSpPr>
          <a:xfrm>
            <a:off x="9563888" y="5372671"/>
            <a:ext cx="338295" cy="338295"/>
            <a:chOff x="2598738" y="1933575"/>
            <a:chExt cx="287338" cy="287338"/>
          </a:xfrm>
          <a:solidFill>
            <a:srgbClr val="3B3939"/>
          </a:solidFill>
        </p:grpSpPr>
        <p:sp>
          <p:nvSpPr>
            <p:cNvPr id="164" name="Freeform 10"/>
            <p:cNvSpPr>
              <a:spLocks/>
            </p:cNvSpPr>
            <p:nvPr/>
          </p:nvSpPr>
          <p:spPr bwMode="auto">
            <a:xfrm>
              <a:off x="2813050" y="1933575"/>
              <a:ext cx="63500" cy="106363"/>
            </a:xfrm>
            <a:custGeom>
              <a:avLst/>
              <a:gdLst>
                <a:gd name="T0" fmla="*/ 3 w 196"/>
                <a:gd name="T1" fmla="*/ 99 h 331"/>
                <a:gd name="T2" fmla="*/ 81 w 196"/>
                <a:gd name="T3" fmla="*/ 176 h 331"/>
                <a:gd name="T4" fmla="*/ 85 w 196"/>
                <a:gd name="T5" fmla="*/ 179 h 331"/>
                <a:gd name="T6" fmla="*/ 91 w 196"/>
                <a:gd name="T7" fmla="*/ 180 h 331"/>
                <a:gd name="T8" fmla="*/ 97 w 196"/>
                <a:gd name="T9" fmla="*/ 179 h 331"/>
                <a:gd name="T10" fmla="*/ 102 w 196"/>
                <a:gd name="T11" fmla="*/ 176 h 331"/>
                <a:gd name="T12" fmla="*/ 105 w 196"/>
                <a:gd name="T13" fmla="*/ 172 h 331"/>
                <a:gd name="T14" fmla="*/ 106 w 196"/>
                <a:gd name="T15" fmla="*/ 166 h 331"/>
                <a:gd name="T16" fmla="*/ 105 w 196"/>
                <a:gd name="T17" fmla="*/ 160 h 331"/>
                <a:gd name="T18" fmla="*/ 102 w 196"/>
                <a:gd name="T19" fmla="*/ 155 h 331"/>
                <a:gd name="T20" fmla="*/ 121 w 196"/>
                <a:gd name="T21" fmla="*/ 105 h 331"/>
                <a:gd name="T22" fmla="*/ 137 w 196"/>
                <a:gd name="T23" fmla="*/ 109 h 331"/>
                <a:gd name="T24" fmla="*/ 152 w 196"/>
                <a:gd name="T25" fmla="*/ 120 h 331"/>
                <a:gd name="T26" fmla="*/ 162 w 196"/>
                <a:gd name="T27" fmla="*/ 134 h 331"/>
                <a:gd name="T28" fmla="*/ 166 w 196"/>
                <a:gd name="T29" fmla="*/ 150 h 331"/>
                <a:gd name="T30" fmla="*/ 166 w 196"/>
                <a:gd name="T31" fmla="*/ 320 h 331"/>
                <a:gd name="T32" fmla="*/ 169 w 196"/>
                <a:gd name="T33" fmla="*/ 325 h 331"/>
                <a:gd name="T34" fmla="*/ 173 w 196"/>
                <a:gd name="T35" fmla="*/ 328 h 331"/>
                <a:gd name="T36" fmla="*/ 178 w 196"/>
                <a:gd name="T37" fmla="*/ 330 h 331"/>
                <a:gd name="T38" fmla="*/ 185 w 196"/>
                <a:gd name="T39" fmla="*/ 330 h 331"/>
                <a:gd name="T40" fmla="*/ 190 w 196"/>
                <a:gd name="T41" fmla="*/ 328 h 331"/>
                <a:gd name="T42" fmla="*/ 193 w 196"/>
                <a:gd name="T43" fmla="*/ 325 h 331"/>
                <a:gd name="T44" fmla="*/ 196 w 196"/>
                <a:gd name="T45" fmla="*/ 320 h 331"/>
                <a:gd name="T46" fmla="*/ 196 w 196"/>
                <a:gd name="T47" fmla="*/ 150 h 331"/>
                <a:gd name="T48" fmla="*/ 194 w 196"/>
                <a:gd name="T49" fmla="*/ 136 h 331"/>
                <a:gd name="T50" fmla="*/ 190 w 196"/>
                <a:gd name="T51" fmla="*/ 122 h 331"/>
                <a:gd name="T52" fmla="*/ 183 w 196"/>
                <a:gd name="T53" fmla="*/ 109 h 331"/>
                <a:gd name="T54" fmla="*/ 174 w 196"/>
                <a:gd name="T55" fmla="*/ 98 h 331"/>
                <a:gd name="T56" fmla="*/ 162 w 196"/>
                <a:gd name="T57" fmla="*/ 89 h 331"/>
                <a:gd name="T58" fmla="*/ 149 w 196"/>
                <a:gd name="T59" fmla="*/ 82 h 331"/>
                <a:gd name="T60" fmla="*/ 135 w 196"/>
                <a:gd name="T61" fmla="*/ 77 h 331"/>
                <a:gd name="T62" fmla="*/ 121 w 196"/>
                <a:gd name="T63" fmla="*/ 75 h 331"/>
                <a:gd name="T64" fmla="*/ 102 w 196"/>
                <a:gd name="T65" fmla="*/ 26 h 331"/>
                <a:gd name="T66" fmla="*/ 105 w 196"/>
                <a:gd name="T67" fmla="*/ 22 h 331"/>
                <a:gd name="T68" fmla="*/ 106 w 196"/>
                <a:gd name="T69" fmla="*/ 15 h 331"/>
                <a:gd name="T70" fmla="*/ 105 w 196"/>
                <a:gd name="T71" fmla="*/ 10 h 331"/>
                <a:gd name="T72" fmla="*/ 102 w 196"/>
                <a:gd name="T73" fmla="*/ 4 h 331"/>
                <a:gd name="T74" fmla="*/ 97 w 196"/>
                <a:gd name="T75" fmla="*/ 1 h 331"/>
                <a:gd name="T76" fmla="*/ 91 w 196"/>
                <a:gd name="T77" fmla="*/ 0 h 331"/>
                <a:gd name="T78" fmla="*/ 85 w 196"/>
                <a:gd name="T79" fmla="*/ 1 h 331"/>
                <a:gd name="T80" fmla="*/ 81 w 196"/>
                <a:gd name="T81" fmla="*/ 4 h 331"/>
                <a:gd name="T82" fmla="*/ 3 w 196"/>
                <a:gd name="T83" fmla="*/ 83 h 331"/>
                <a:gd name="T84" fmla="*/ 1 w 196"/>
                <a:gd name="T85" fmla="*/ 88 h 331"/>
                <a:gd name="T86" fmla="*/ 1 w 196"/>
                <a:gd name="T87" fmla="*/ 93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96" h="331">
                  <a:moveTo>
                    <a:pt x="1" y="97"/>
                  </a:moveTo>
                  <a:lnTo>
                    <a:pt x="3" y="99"/>
                  </a:lnTo>
                  <a:lnTo>
                    <a:pt x="6" y="101"/>
                  </a:lnTo>
                  <a:lnTo>
                    <a:pt x="81" y="176"/>
                  </a:lnTo>
                  <a:lnTo>
                    <a:pt x="83" y="178"/>
                  </a:lnTo>
                  <a:lnTo>
                    <a:pt x="85" y="179"/>
                  </a:lnTo>
                  <a:lnTo>
                    <a:pt x="88" y="180"/>
                  </a:lnTo>
                  <a:lnTo>
                    <a:pt x="91" y="180"/>
                  </a:lnTo>
                  <a:lnTo>
                    <a:pt x="93" y="180"/>
                  </a:lnTo>
                  <a:lnTo>
                    <a:pt x="97" y="179"/>
                  </a:lnTo>
                  <a:lnTo>
                    <a:pt x="99" y="178"/>
                  </a:lnTo>
                  <a:lnTo>
                    <a:pt x="102" y="176"/>
                  </a:lnTo>
                  <a:lnTo>
                    <a:pt x="103" y="174"/>
                  </a:lnTo>
                  <a:lnTo>
                    <a:pt x="105" y="172"/>
                  </a:lnTo>
                  <a:lnTo>
                    <a:pt x="105" y="168"/>
                  </a:lnTo>
                  <a:lnTo>
                    <a:pt x="106" y="166"/>
                  </a:lnTo>
                  <a:lnTo>
                    <a:pt x="105" y="163"/>
                  </a:lnTo>
                  <a:lnTo>
                    <a:pt x="105" y="160"/>
                  </a:lnTo>
                  <a:lnTo>
                    <a:pt x="103" y="158"/>
                  </a:lnTo>
                  <a:lnTo>
                    <a:pt x="102" y="155"/>
                  </a:lnTo>
                  <a:lnTo>
                    <a:pt x="52" y="105"/>
                  </a:lnTo>
                  <a:lnTo>
                    <a:pt x="121" y="105"/>
                  </a:lnTo>
                  <a:lnTo>
                    <a:pt x="129" y="106"/>
                  </a:lnTo>
                  <a:lnTo>
                    <a:pt x="137" y="109"/>
                  </a:lnTo>
                  <a:lnTo>
                    <a:pt x="145" y="114"/>
                  </a:lnTo>
                  <a:lnTo>
                    <a:pt x="152" y="120"/>
                  </a:lnTo>
                  <a:lnTo>
                    <a:pt x="158" y="127"/>
                  </a:lnTo>
                  <a:lnTo>
                    <a:pt x="162" y="134"/>
                  </a:lnTo>
                  <a:lnTo>
                    <a:pt x="165" y="143"/>
                  </a:lnTo>
                  <a:lnTo>
                    <a:pt x="166" y="150"/>
                  </a:lnTo>
                  <a:lnTo>
                    <a:pt x="166" y="316"/>
                  </a:lnTo>
                  <a:lnTo>
                    <a:pt x="166" y="320"/>
                  </a:lnTo>
                  <a:lnTo>
                    <a:pt x="167" y="322"/>
                  </a:lnTo>
                  <a:lnTo>
                    <a:pt x="169" y="325"/>
                  </a:lnTo>
                  <a:lnTo>
                    <a:pt x="171" y="327"/>
                  </a:lnTo>
                  <a:lnTo>
                    <a:pt x="173" y="328"/>
                  </a:lnTo>
                  <a:lnTo>
                    <a:pt x="175" y="330"/>
                  </a:lnTo>
                  <a:lnTo>
                    <a:pt x="178" y="330"/>
                  </a:lnTo>
                  <a:lnTo>
                    <a:pt x="181" y="331"/>
                  </a:lnTo>
                  <a:lnTo>
                    <a:pt x="185" y="330"/>
                  </a:lnTo>
                  <a:lnTo>
                    <a:pt x="187" y="330"/>
                  </a:lnTo>
                  <a:lnTo>
                    <a:pt x="190" y="328"/>
                  </a:lnTo>
                  <a:lnTo>
                    <a:pt x="192" y="327"/>
                  </a:lnTo>
                  <a:lnTo>
                    <a:pt x="193" y="325"/>
                  </a:lnTo>
                  <a:lnTo>
                    <a:pt x="195" y="322"/>
                  </a:lnTo>
                  <a:lnTo>
                    <a:pt x="196" y="320"/>
                  </a:lnTo>
                  <a:lnTo>
                    <a:pt x="196" y="316"/>
                  </a:lnTo>
                  <a:lnTo>
                    <a:pt x="196" y="150"/>
                  </a:lnTo>
                  <a:lnTo>
                    <a:pt x="195" y="143"/>
                  </a:lnTo>
                  <a:lnTo>
                    <a:pt x="194" y="136"/>
                  </a:lnTo>
                  <a:lnTo>
                    <a:pt x="193" y="129"/>
                  </a:lnTo>
                  <a:lnTo>
                    <a:pt x="190" y="122"/>
                  </a:lnTo>
                  <a:lnTo>
                    <a:pt x="187" y="116"/>
                  </a:lnTo>
                  <a:lnTo>
                    <a:pt x="183" y="109"/>
                  </a:lnTo>
                  <a:lnTo>
                    <a:pt x="178" y="104"/>
                  </a:lnTo>
                  <a:lnTo>
                    <a:pt x="174" y="98"/>
                  </a:lnTo>
                  <a:lnTo>
                    <a:pt x="167" y="93"/>
                  </a:lnTo>
                  <a:lnTo>
                    <a:pt x="162" y="89"/>
                  </a:lnTo>
                  <a:lnTo>
                    <a:pt x="156" y="85"/>
                  </a:lnTo>
                  <a:lnTo>
                    <a:pt x="149" y="82"/>
                  </a:lnTo>
                  <a:lnTo>
                    <a:pt x="143" y="78"/>
                  </a:lnTo>
                  <a:lnTo>
                    <a:pt x="135" y="77"/>
                  </a:lnTo>
                  <a:lnTo>
                    <a:pt x="129" y="75"/>
                  </a:lnTo>
                  <a:lnTo>
                    <a:pt x="121" y="75"/>
                  </a:lnTo>
                  <a:lnTo>
                    <a:pt x="52" y="75"/>
                  </a:lnTo>
                  <a:lnTo>
                    <a:pt x="102" y="26"/>
                  </a:lnTo>
                  <a:lnTo>
                    <a:pt x="103" y="24"/>
                  </a:lnTo>
                  <a:lnTo>
                    <a:pt x="105" y="22"/>
                  </a:lnTo>
                  <a:lnTo>
                    <a:pt x="105" y="18"/>
                  </a:lnTo>
                  <a:lnTo>
                    <a:pt x="106" y="15"/>
                  </a:lnTo>
                  <a:lnTo>
                    <a:pt x="105" y="13"/>
                  </a:lnTo>
                  <a:lnTo>
                    <a:pt x="105" y="10"/>
                  </a:lnTo>
                  <a:lnTo>
                    <a:pt x="103" y="7"/>
                  </a:lnTo>
                  <a:lnTo>
                    <a:pt x="102" y="4"/>
                  </a:lnTo>
                  <a:lnTo>
                    <a:pt x="99" y="2"/>
                  </a:lnTo>
                  <a:lnTo>
                    <a:pt x="97" y="1"/>
                  </a:lnTo>
                  <a:lnTo>
                    <a:pt x="93" y="0"/>
                  </a:lnTo>
                  <a:lnTo>
                    <a:pt x="91" y="0"/>
                  </a:lnTo>
                  <a:lnTo>
                    <a:pt x="88" y="0"/>
                  </a:lnTo>
                  <a:lnTo>
                    <a:pt x="85" y="1"/>
                  </a:lnTo>
                  <a:lnTo>
                    <a:pt x="83" y="2"/>
                  </a:lnTo>
                  <a:lnTo>
                    <a:pt x="81" y="4"/>
                  </a:lnTo>
                  <a:lnTo>
                    <a:pt x="6" y="79"/>
                  </a:lnTo>
                  <a:lnTo>
                    <a:pt x="3" y="83"/>
                  </a:lnTo>
                  <a:lnTo>
                    <a:pt x="1" y="86"/>
                  </a:lnTo>
                  <a:lnTo>
                    <a:pt x="1" y="88"/>
                  </a:lnTo>
                  <a:lnTo>
                    <a:pt x="0" y="91"/>
                  </a:lnTo>
                  <a:lnTo>
                    <a:pt x="1" y="93"/>
                  </a:lnTo>
                  <a:lnTo>
                    <a:pt x="1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11"/>
            <p:cNvSpPr>
              <a:spLocks noEditPoints="1"/>
            </p:cNvSpPr>
            <p:nvPr/>
          </p:nvSpPr>
          <p:spPr bwMode="auto">
            <a:xfrm>
              <a:off x="2598738" y="1933575"/>
              <a:ext cx="287338" cy="287338"/>
            </a:xfrm>
            <a:custGeom>
              <a:avLst/>
              <a:gdLst>
                <a:gd name="T0" fmla="*/ 866 w 903"/>
                <a:gd name="T1" fmla="*/ 819 h 903"/>
                <a:gd name="T2" fmla="*/ 838 w 903"/>
                <a:gd name="T3" fmla="*/ 854 h 903"/>
                <a:gd name="T4" fmla="*/ 795 w 903"/>
                <a:gd name="T5" fmla="*/ 871 h 903"/>
                <a:gd name="T6" fmla="*/ 417 w 903"/>
                <a:gd name="T7" fmla="*/ 850 h 903"/>
                <a:gd name="T8" fmla="*/ 422 w 903"/>
                <a:gd name="T9" fmla="*/ 572 h 903"/>
                <a:gd name="T10" fmla="*/ 391 w 903"/>
                <a:gd name="T11" fmla="*/ 835 h 903"/>
                <a:gd name="T12" fmla="*/ 363 w 903"/>
                <a:gd name="T13" fmla="*/ 869 h 903"/>
                <a:gd name="T14" fmla="*/ 322 w 903"/>
                <a:gd name="T15" fmla="*/ 863 h 903"/>
                <a:gd name="T16" fmla="*/ 302 w 903"/>
                <a:gd name="T17" fmla="*/ 828 h 903"/>
                <a:gd name="T18" fmla="*/ 419 w 903"/>
                <a:gd name="T19" fmla="*/ 473 h 903"/>
                <a:gd name="T20" fmla="*/ 429 w 903"/>
                <a:gd name="T21" fmla="*/ 482 h 903"/>
                <a:gd name="T22" fmla="*/ 783 w 903"/>
                <a:gd name="T23" fmla="*/ 542 h 903"/>
                <a:gd name="T24" fmla="*/ 396 w 903"/>
                <a:gd name="T25" fmla="*/ 547 h 903"/>
                <a:gd name="T26" fmla="*/ 140 w 903"/>
                <a:gd name="T27" fmla="*/ 452 h 903"/>
                <a:gd name="T28" fmla="*/ 151 w 903"/>
                <a:gd name="T29" fmla="*/ 180 h 903"/>
                <a:gd name="T30" fmla="*/ 602 w 903"/>
                <a:gd name="T31" fmla="*/ 399 h 903"/>
                <a:gd name="T32" fmla="*/ 588 w 903"/>
                <a:gd name="T33" fmla="*/ 427 h 903"/>
                <a:gd name="T34" fmla="*/ 547 w 903"/>
                <a:gd name="T35" fmla="*/ 448 h 903"/>
                <a:gd name="T36" fmla="*/ 448 w 903"/>
                <a:gd name="T37" fmla="*/ 437 h 903"/>
                <a:gd name="T38" fmla="*/ 441 w 903"/>
                <a:gd name="T39" fmla="*/ 424 h 903"/>
                <a:gd name="T40" fmla="*/ 284 w 903"/>
                <a:gd name="T41" fmla="*/ 422 h 903"/>
                <a:gd name="T42" fmla="*/ 273 w 903"/>
                <a:gd name="T43" fmla="*/ 431 h 903"/>
                <a:gd name="T44" fmla="*/ 30 w 903"/>
                <a:gd name="T45" fmla="*/ 414 h 903"/>
                <a:gd name="T46" fmla="*/ 182 w 903"/>
                <a:gd name="T47" fmla="*/ 82 h 903"/>
                <a:gd name="T48" fmla="*/ 192 w 903"/>
                <a:gd name="T49" fmla="*/ 90 h 903"/>
                <a:gd name="T50" fmla="*/ 132 w 903"/>
                <a:gd name="T51" fmla="*/ 151 h 903"/>
                <a:gd name="T52" fmla="*/ 122 w 903"/>
                <a:gd name="T53" fmla="*/ 160 h 903"/>
                <a:gd name="T54" fmla="*/ 119 w 903"/>
                <a:gd name="T55" fmla="*/ 425 h 903"/>
                <a:gd name="T56" fmla="*/ 108 w 903"/>
                <a:gd name="T57" fmla="*/ 443 h 903"/>
                <a:gd name="T58" fmla="*/ 76 w 903"/>
                <a:gd name="T59" fmla="*/ 452 h 903"/>
                <a:gd name="T60" fmla="*/ 43 w 903"/>
                <a:gd name="T61" fmla="*/ 443 h 903"/>
                <a:gd name="T62" fmla="*/ 32 w 903"/>
                <a:gd name="T63" fmla="*/ 425 h 903"/>
                <a:gd name="T64" fmla="*/ 813 w 903"/>
                <a:gd name="T65" fmla="*/ 467 h 903"/>
                <a:gd name="T66" fmla="*/ 807 w 903"/>
                <a:gd name="T67" fmla="*/ 455 h 903"/>
                <a:gd name="T68" fmla="*/ 607 w 903"/>
                <a:gd name="T69" fmla="*/ 449 h 903"/>
                <a:gd name="T70" fmla="*/ 629 w 903"/>
                <a:gd name="T71" fmla="*/ 415 h 903"/>
                <a:gd name="T72" fmla="*/ 632 w 903"/>
                <a:gd name="T73" fmla="*/ 165 h 903"/>
                <a:gd name="T74" fmla="*/ 626 w 903"/>
                <a:gd name="T75" fmla="*/ 153 h 903"/>
                <a:gd name="T76" fmla="*/ 572 w 903"/>
                <a:gd name="T77" fmla="*/ 75 h 903"/>
                <a:gd name="T78" fmla="*/ 566 w 903"/>
                <a:gd name="T79" fmla="*/ 63 h 903"/>
                <a:gd name="T80" fmla="*/ 211 w 903"/>
                <a:gd name="T81" fmla="*/ 15 h 903"/>
                <a:gd name="T82" fmla="*/ 204 w 903"/>
                <a:gd name="T83" fmla="*/ 2 h 903"/>
                <a:gd name="T84" fmla="*/ 12 w 903"/>
                <a:gd name="T85" fmla="*/ 0 h 903"/>
                <a:gd name="T86" fmla="*/ 2 w 903"/>
                <a:gd name="T87" fmla="*/ 10 h 903"/>
                <a:gd name="T88" fmla="*/ 2 w 903"/>
                <a:gd name="T89" fmla="*/ 429 h 903"/>
                <a:gd name="T90" fmla="*/ 17 w 903"/>
                <a:gd name="T91" fmla="*/ 459 h 903"/>
                <a:gd name="T92" fmla="*/ 44 w 903"/>
                <a:gd name="T93" fmla="*/ 477 h 903"/>
                <a:gd name="T94" fmla="*/ 271 w 903"/>
                <a:gd name="T95" fmla="*/ 482 h 903"/>
                <a:gd name="T96" fmla="*/ 277 w 903"/>
                <a:gd name="T97" fmla="*/ 854 h 903"/>
                <a:gd name="T98" fmla="*/ 299 w 903"/>
                <a:gd name="T99" fmla="*/ 884 h 903"/>
                <a:gd name="T100" fmla="*/ 332 w 903"/>
                <a:gd name="T101" fmla="*/ 901 h 903"/>
                <a:gd name="T102" fmla="*/ 802 w 903"/>
                <a:gd name="T103" fmla="*/ 901 h 903"/>
                <a:gd name="T104" fmla="*/ 857 w 903"/>
                <a:gd name="T105" fmla="*/ 876 h 903"/>
                <a:gd name="T106" fmla="*/ 894 w 903"/>
                <a:gd name="T107" fmla="*/ 830 h 903"/>
                <a:gd name="T108" fmla="*/ 903 w 903"/>
                <a:gd name="T109" fmla="*/ 557 h 903"/>
                <a:gd name="T110" fmla="*/ 897 w 903"/>
                <a:gd name="T111" fmla="*/ 545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903" h="903">
                  <a:moveTo>
                    <a:pt x="873" y="783"/>
                  </a:moveTo>
                  <a:lnTo>
                    <a:pt x="872" y="793"/>
                  </a:lnTo>
                  <a:lnTo>
                    <a:pt x="871" y="801"/>
                  </a:lnTo>
                  <a:lnTo>
                    <a:pt x="869" y="811"/>
                  </a:lnTo>
                  <a:lnTo>
                    <a:pt x="866" y="819"/>
                  </a:lnTo>
                  <a:lnTo>
                    <a:pt x="862" y="827"/>
                  </a:lnTo>
                  <a:lnTo>
                    <a:pt x="857" y="834"/>
                  </a:lnTo>
                  <a:lnTo>
                    <a:pt x="852" y="841"/>
                  </a:lnTo>
                  <a:lnTo>
                    <a:pt x="846" y="847"/>
                  </a:lnTo>
                  <a:lnTo>
                    <a:pt x="838" y="854"/>
                  </a:lnTo>
                  <a:lnTo>
                    <a:pt x="831" y="858"/>
                  </a:lnTo>
                  <a:lnTo>
                    <a:pt x="823" y="862"/>
                  </a:lnTo>
                  <a:lnTo>
                    <a:pt x="814" y="867"/>
                  </a:lnTo>
                  <a:lnTo>
                    <a:pt x="805" y="869"/>
                  </a:lnTo>
                  <a:lnTo>
                    <a:pt x="795" y="871"/>
                  </a:lnTo>
                  <a:lnTo>
                    <a:pt x="786" y="873"/>
                  </a:lnTo>
                  <a:lnTo>
                    <a:pt x="775" y="873"/>
                  </a:lnTo>
                  <a:lnTo>
                    <a:pt x="404" y="873"/>
                  </a:lnTo>
                  <a:lnTo>
                    <a:pt x="411" y="862"/>
                  </a:lnTo>
                  <a:lnTo>
                    <a:pt x="417" y="850"/>
                  </a:lnTo>
                  <a:lnTo>
                    <a:pt x="419" y="845"/>
                  </a:lnTo>
                  <a:lnTo>
                    <a:pt x="421" y="840"/>
                  </a:lnTo>
                  <a:lnTo>
                    <a:pt x="422" y="833"/>
                  </a:lnTo>
                  <a:lnTo>
                    <a:pt x="422" y="828"/>
                  </a:lnTo>
                  <a:lnTo>
                    <a:pt x="422" y="572"/>
                  </a:lnTo>
                  <a:lnTo>
                    <a:pt x="873" y="572"/>
                  </a:lnTo>
                  <a:lnTo>
                    <a:pt x="873" y="783"/>
                  </a:lnTo>
                  <a:close/>
                  <a:moveTo>
                    <a:pt x="392" y="557"/>
                  </a:moveTo>
                  <a:lnTo>
                    <a:pt x="392" y="828"/>
                  </a:lnTo>
                  <a:lnTo>
                    <a:pt x="391" y="835"/>
                  </a:lnTo>
                  <a:lnTo>
                    <a:pt x="388" y="843"/>
                  </a:lnTo>
                  <a:lnTo>
                    <a:pt x="383" y="850"/>
                  </a:lnTo>
                  <a:lnTo>
                    <a:pt x="378" y="858"/>
                  </a:lnTo>
                  <a:lnTo>
                    <a:pt x="370" y="863"/>
                  </a:lnTo>
                  <a:lnTo>
                    <a:pt x="363" y="869"/>
                  </a:lnTo>
                  <a:lnTo>
                    <a:pt x="354" y="872"/>
                  </a:lnTo>
                  <a:lnTo>
                    <a:pt x="347" y="873"/>
                  </a:lnTo>
                  <a:lnTo>
                    <a:pt x="338" y="872"/>
                  </a:lnTo>
                  <a:lnTo>
                    <a:pt x="330" y="869"/>
                  </a:lnTo>
                  <a:lnTo>
                    <a:pt x="322" y="863"/>
                  </a:lnTo>
                  <a:lnTo>
                    <a:pt x="316" y="858"/>
                  </a:lnTo>
                  <a:lnTo>
                    <a:pt x="309" y="850"/>
                  </a:lnTo>
                  <a:lnTo>
                    <a:pt x="305" y="843"/>
                  </a:lnTo>
                  <a:lnTo>
                    <a:pt x="302" y="835"/>
                  </a:lnTo>
                  <a:lnTo>
                    <a:pt x="302" y="828"/>
                  </a:lnTo>
                  <a:lnTo>
                    <a:pt x="302" y="452"/>
                  </a:lnTo>
                  <a:lnTo>
                    <a:pt x="418" y="452"/>
                  </a:lnTo>
                  <a:lnTo>
                    <a:pt x="418" y="467"/>
                  </a:lnTo>
                  <a:lnTo>
                    <a:pt x="418" y="470"/>
                  </a:lnTo>
                  <a:lnTo>
                    <a:pt x="419" y="473"/>
                  </a:lnTo>
                  <a:lnTo>
                    <a:pt x="421" y="475"/>
                  </a:lnTo>
                  <a:lnTo>
                    <a:pt x="422" y="477"/>
                  </a:lnTo>
                  <a:lnTo>
                    <a:pt x="424" y="479"/>
                  </a:lnTo>
                  <a:lnTo>
                    <a:pt x="427" y="481"/>
                  </a:lnTo>
                  <a:lnTo>
                    <a:pt x="429" y="482"/>
                  </a:lnTo>
                  <a:lnTo>
                    <a:pt x="433" y="482"/>
                  </a:lnTo>
                  <a:lnTo>
                    <a:pt x="437" y="482"/>
                  </a:lnTo>
                  <a:lnTo>
                    <a:pt x="512" y="482"/>
                  </a:lnTo>
                  <a:lnTo>
                    <a:pt x="783" y="482"/>
                  </a:lnTo>
                  <a:lnTo>
                    <a:pt x="783" y="542"/>
                  </a:lnTo>
                  <a:lnTo>
                    <a:pt x="407" y="542"/>
                  </a:lnTo>
                  <a:lnTo>
                    <a:pt x="404" y="542"/>
                  </a:lnTo>
                  <a:lnTo>
                    <a:pt x="400" y="543"/>
                  </a:lnTo>
                  <a:lnTo>
                    <a:pt x="398" y="545"/>
                  </a:lnTo>
                  <a:lnTo>
                    <a:pt x="396" y="547"/>
                  </a:lnTo>
                  <a:lnTo>
                    <a:pt x="394" y="549"/>
                  </a:lnTo>
                  <a:lnTo>
                    <a:pt x="393" y="551"/>
                  </a:lnTo>
                  <a:lnTo>
                    <a:pt x="392" y="554"/>
                  </a:lnTo>
                  <a:lnTo>
                    <a:pt x="392" y="557"/>
                  </a:lnTo>
                  <a:close/>
                  <a:moveTo>
                    <a:pt x="140" y="452"/>
                  </a:moveTo>
                  <a:lnTo>
                    <a:pt x="144" y="443"/>
                  </a:lnTo>
                  <a:lnTo>
                    <a:pt x="148" y="434"/>
                  </a:lnTo>
                  <a:lnTo>
                    <a:pt x="151" y="425"/>
                  </a:lnTo>
                  <a:lnTo>
                    <a:pt x="151" y="414"/>
                  </a:lnTo>
                  <a:lnTo>
                    <a:pt x="151" y="180"/>
                  </a:lnTo>
                  <a:lnTo>
                    <a:pt x="602" y="180"/>
                  </a:lnTo>
                  <a:lnTo>
                    <a:pt x="602" y="378"/>
                  </a:lnTo>
                  <a:lnTo>
                    <a:pt x="603" y="385"/>
                  </a:lnTo>
                  <a:lnTo>
                    <a:pt x="602" y="393"/>
                  </a:lnTo>
                  <a:lnTo>
                    <a:pt x="602" y="399"/>
                  </a:lnTo>
                  <a:lnTo>
                    <a:pt x="600" y="405"/>
                  </a:lnTo>
                  <a:lnTo>
                    <a:pt x="598" y="412"/>
                  </a:lnTo>
                  <a:lnTo>
                    <a:pt x="596" y="417"/>
                  </a:lnTo>
                  <a:lnTo>
                    <a:pt x="592" y="423"/>
                  </a:lnTo>
                  <a:lnTo>
                    <a:pt x="588" y="427"/>
                  </a:lnTo>
                  <a:lnTo>
                    <a:pt x="582" y="432"/>
                  </a:lnTo>
                  <a:lnTo>
                    <a:pt x="574" y="438"/>
                  </a:lnTo>
                  <a:lnTo>
                    <a:pt x="567" y="442"/>
                  </a:lnTo>
                  <a:lnTo>
                    <a:pt x="557" y="445"/>
                  </a:lnTo>
                  <a:lnTo>
                    <a:pt x="547" y="448"/>
                  </a:lnTo>
                  <a:lnTo>
                    <a:pt x="537" y="449"/>
                  </a:lnTo>
                  <a:lnTo>
                    <a:pt x="525" y="452"/>
                  </a:lnTo>
                  <a:lnTo>
                    <a:pt x="512" y="452"/>
                  </a:lnTo>
                  <a:lnTo>
                    <a:pt x="448" y="452"/>
                  </a:lnTo>
                  <a:lnTo>
                    <a:pt x="448" y="437"/>
                  </a:lnTo>
                  <a:lnTo>
                    <a:pt x="448" y="433"/>
                  </a:lnTo>
                  <a:lnTo>
                    <a:pt x="447" y="431"/>
                  </a:lnTo>
                  <a:lnTo>
                    <a:pt x="446" y="428"/>
                  </a:lnTo>
                  <a:lnTo>
                    <a:pt x="443" y="426"/>
                  </a:lnTo>
                  <a:lnTo>
                    <a:pt x="441" y="424"/>
                  </a:lnTo>
                  <a:lnTo>
                    <a:pt x="439" y="423"/>
                  </a:lnTo>
                  <a:lnTo>
                    <a:pt x="436" y="422"/>
                  </a:lnTo>
                  <a:lnTo>
                    <a:pt x="433" y="422"/>
                  </a:lnTo>
                  <a:lnTo>
                    <a:pt x="286" y="422"/>
                  </a:lnTo>
                  <a:lnTo>
                    <a:pt x="284" y="422"/>
                  </a:lnTo>
                  <a:lnTo>
                    <a:pt x="280" y="423"/>
                  </a:lnTo>
                  <a:lnTo>
                    <a:pt x="278" y="424"/>
                  </a:lnTo>
                  <a:lnTo>
                    <a:pt x="276" y="426"/>
                  </a:lnTo>
                  <a:lnTo>
                    <a:pt x="274" y="428"/>
                  </a:lnTo>
                  <a:lnTo>
                    <a:pt x="273" y="431"/>
                  </a:lnTo>
                  <a:lnTo>
                    <a:pt x="272" y="433"/>
                  </a:lnTo>
                  <a:lnTo>
                    <a:pt x="271" y="437"/>
                  </a:lnTo>
                  <a:lnTo>
                    <a:pt x="271" y="452"/>
                  </a:lnTo>
                  <a:lnTo>
                    <a:pt x="140" y="452"/>
                  </a:lnTo>
                  <a:close/>
                  <a:moveTo>
                    <a:pt x="30" y="414"/>
                  </a:moveTo>
                  <a:lnTo>
                    <a:pt x="30" y="30"/>
                  </a:lnTo>
                  <a:lnTo>
                    <a:pt x="181" y="30"/>
                  </a:lnTo>
                  <a:lnTo>
                    <a:pt x="181" y="75"/>
                  </a:lnTo>
                  <a:lnTo>
                    <a:pt x="182" y="78"/>
                  </a:lnTo>
                  <a:lnTo>
                    <a:pt x="182" y="82"/>
                  </a:lnTo>
                  <a:lnTo>
                    <a:pt x="184" y="84"/>
                  </a:lnTo>
                  <a:lnTo>
                    <a:pt x="185" y="86"/>
                  </a:lnTo>
                  <a:lnTo>
                    <a:pt x="187" y="88"/>
                  </a:lnTo>
                  <a:lnTo>
                    <a:pt x="190" y="89"/>
                  </a:lnTo>
                  <a:lnTo>
                    <a:pt x="192" y="90"/>
                  </a:lnTo>
                  <a:lnTo>
                    <a:pt x="196" y="90"/>
                  </a:lnTo>
                  <a:lnTo>
                    <a:pt x="542" y="90"/>
                  </a:lnTo>
                  <a:lnTo>
                    <a:pt x="542" y="150"/>
                  </a:lnTo>
                  <a:lnTo>
                    <a:pt x="136" y="150"/>
                  </a:lnTo>
                  <a:lnTo>
                    <a:pt x="132" y="151"/>
                  </a:lnTo>
                  <a:lnTo>
                    <a:pt x="130" y="151"/>
                  </a:lnTo>
                  <a:lnTo>
                    <a:pt x="127" y="153"/>
                  </a:lnTo>
                  <a:lnTo>
                    <a:pt x="125" y="156"/>
                  </a:lnTo>
                  <a:lnTo>
                    <a:pt x="124" y="158"/>
                  </a:lnTo>
                  <a:lnTo>
                    <a:pt x="122" y="160"/>
                  </a:lnTo>
                  <a:lnTo>
                    <a:pt x="121" y="163"/>
                  </a:lnTo>
                  <a:lnTo>
                    <a:pt x="121" y="165"/>
                  </a:lnTo>
                  <a:lnTo>
                    <a:pt x="121" y="414"/>
                  </a:lnTo>
                  <a:lnTo>
                    <a:pt x="121" y="419"/>
                  </a:lnTo>
                  <a:lnTo>
                    <a:pt x="119" y="425"/>
                  </a:lnTo>
                  <a:lnTo>
                    <a:pt x="118" y="430"/>
                  </a:lnTo>
                  <a:lnTo>
                    <a:pt x="116" y="433"/>
                  </a:lnTo>
                  <a:lnTo>
                    <a:pt x="114" y="438"/>
                  </a:lnTo>
                  <a:lnTo>
                    <a:pt x="111" y="441"/>
                  </a:lnTo>
                  <a:lnTo>
                    <a:pt x="108" y="443"/>
                  </a:lnTo>
                  <a:lnTo>
                    <a:pt x="104" y="445"/>
                  </a:lnTo>
                  <a:lnTo>
                    <a:pt x="97" y="448"/>
                  </a:lnTo>
                  <a:lnTo>
                    <a:pt x="89" y="450"/>
                  </a:lnTo>
                  <a:lnTo>
                    <a:pt x="82" y="452"/>
                  </a:lnTo>
                  <a:lnTo>
                    <a:pt x="76" y="452"/>
                  </a:lnTo>
                  <a:lnTo>
                    <a:pt x="69" y="452"/>
                  </a:lnTo>
                  <a:lnTo>
                    <a:pt x="62" y="450"/>
                  </a:lnTo>
                  <a:lnTo>
                    <a:pt x="54" y="448"/>
                  </a:lnTo>
                  <a:lnTo>
                    <a:pt x="47" y="445"/>
                  </a:lnTo>
                  <a:lnTo>
                    <a:pt x="43" y="443"/>
                  </a:lnTo>
                  <a:lnTo>
                    <a:pt x="40" y="441"/>
                  </a:lnTo>
                  <a:lnTo>
                    <a:pt x="38" y="438"/>
                  </a:lnTo>
                  <a:lnTo>
                    <a:pt x="35" y="433"/>
                  </a:lnTo>
                  <a:lnTo>
                    <a:pt x="33" y="430"/>
                  </a:lnTo>
                  <a:lnTo>
                    <a:pt x="32" y="425"/>
                  </a:lnTo>
                  <a:lnTo>
                    <a:pt x="30" y="419"/>
                  </a:lnTo>
                  <a:lnTo>
                    <a:pt x="30" y="414"/>
                  </a:lnTo>
                  <a:close/>
                  <a:moveTo>
                    <a:pt x="888" y="542"/>
                  </a:moveTo>
                  <a:lnTo>
                    <a:pt x="813" y="542"/>
                  </a:lnTo>
                  <a:lnTo>
                    <a:pt x="813" y="467"/>
                  </a:lnTo>
                  <a:lnTo>
                    <a:pt x="812" y="463"/>
                  </a:lnTo>
                  <a:lnTo>
                    <a:pt x="812" y="461"/>
                  </a:lnTo>
                  <a:lnTo>
                    <a:pt x="810" y="458"/>
                  </a:lnTo>
                  <a:lnTo>
                    <a:pt x="809" y="456"/>
                  </a:lnTo>
                  <a:lnTo>
                    <a:pt x="807" y="455"/>
                  </a:lnTo>
                  <a:lnTo>
                    <a:pt x="804" y="453"/>
                  </a:lnTo>
                  <a:lnTo>
                    <a:pt x="802" y="452"/>
                  </a:lnTo>
                  <a:lnTo>
                    <a:pt x="798" y="452"/>
                  </a:lnTo>
                  <a:lnTo>
                    <a:pt x="605" y="452"/>
                  </a:lnTo>
                  <a:lnTo>
                    <a:pt x="607" y="449"/>
                  </a:lnTo>
                  <a:lnTo>
                    <a:pt x="611" y="447"/>
                  </a:lnTo>
                  <a:lnTo>
                    <a:pt x="616" y="440"/>
                  </a:lnTo>
                  <a:lnTo>
                    <a:pt x="621" y="432"/>
                  </a:lnTo>
                  <a:lnTo>
                    <a:pt x="626" y="424"/>
                  </a:lnTo>
                  <a:lnTo>
                    <a:pt x="629" y="415"/>
                  </a:lnTo>
                  <a:lnTo>
                    <a:pt x="631" y="405"/>
                  </a:lnTo>
                  <a:lnTo>
                    <a:pt x="632" y="396"/>
                  </a:lnTo>
                  <a:lnTo>
                    <a:pt x="633" y="386"/>
                  </a:lnTo>
                  <a:lnTo>
                    <a:pt x="632" y="376"/>
                  </a:lnTo>
                  <a:lnTo>
                    <a:pt x="632" y="165"/>
                  </a:lnTo>
                  <a:lnTo>
                    <a:pt x="632" y="163"/>
                  </a:lnTo>
                  <a:lnTo>
                    <a:pt x="631" y="160"/>
                  </a:lnTo>
                  <a:lnTo>
                    <a:pt x="630" y="158"/>
                  </a:lnTo>
                  <a:lnTo>
                    <a:pt x="628" y="156"/>
                  </a:lnTo>
                  <a:lnTo>
                    <a:pt x="626" y="153"/>
                  </a:lnTo>
                  <a:lnTo>
                    <a:pt x="624" y="151"/>
                  </a:lnTo>
                  <a:lnTo>
                    <a:pt x="620" y="151"/>
                  </a:lnTo>
                  <a:lnTo>
                    <a:pt x="617" y="150"/>
                  </a:lnTo>
                  <a:lnTo>
                    <a:pt x="572" y="150"/>
                  </a:lnTo>
                  <a:lnTo>
                    <a:pt x="572" y="75"/>
                  </a:lnTo>
                  <a:lnTo>
                    <a:pt x="572" y="72"/>
                  </a:lnTo>
                  <a:lnTo>
                    <a:pt x="571" y="70"/>
                  </a:lnTo>
                  <a:lnTo>
                    <a:pt x="570" y="68"/>
                  </a:lnTo>
                  <a:lnTo>
                    <a:pt x="568" y="64"/>
                  </a:lnTo>
                  <a:lnTo>
                    <a:pt x="566" y="63"/>
                  </a:lnTo>
                  <a:lnTo>
                    <a:pt x="563" y="61"/>
                  </a:lnTo>
                  <a:lnTo>
                    <a:pt x="560" y="60"/>
                  </a:lnTo>
                  <a:lnTo>
                    <a:pt x="557" y="60"/>
                  </a:lnTo>
                  <a:lnTo>
                    <a:pt x="211" y="60"/>
                  </a:lnTo>
                  <a:lnTo>
                    <a:pt x="211" y="15"/>
                  </a:lnTo>
                  <a:lnTo>
                    <a:pt x="211" y="12"/>
                  </a:lnTo>
                  <a:lnTo>
                    <a:pt x="210" y="10"/>
                  </a:lnTo>
                  <a:lnTo>
                    <a:pt x="208" y="7"/>
                  </a:lnTo>
                  <a:lnTo>
                    <a:pt x="206" y="4"/>
                  </a:lnTo>
                  <a:lnTo>
                    <a:pt x="204" y="2"/>
                  </a:lnTo>
                  <a:lnTo>
                    <a:pt x="202" y="1"/>
                  </a:lnTo>
                  <a:lnTo>
                    <a:pt x="199" y="0"/>
                  </a:lnTo>
                  <a:lnTo>
                    <a:pt x="196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9" y="1"/>
                  </a:lnTo>
                  <a:lnTo>
                    <a:pt x="7" y="2"/>
                  </a:lnTo>
                  <a:lnTo>
                    <a:pt x="5" y="4"/>
                  </a:lnTo>
                  <a:lnTo>
                    <a:pt x="3" y="7"/>
                  </a:lnTo>
                  <a:lnTo>
                    <a:pt x="2" y="10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414"/>
                  </a:lnTo>
                  <a:lnTo>
                    <a:pt x="0" y="422"/>
                  </a:lnTo>
                  <a:lnTo>
                    <a:pt x="2" y="429"/>
                  </a:lnTo>
                  <a:lnTo>
                    <a:pt x="4" y="435"/>
                  </a:lnTo>
                  <a:lnTo>
                    <a:pt x="6" y="442"/>
                  </a:lnTo>
                  <a:lnTo>
                    <a:pt x="9" y="448"/>
                  </a:lnTo>
                  <a:lnTo>
                    <a:pt x="12" y="454"/>
                  </a:lnTo>
                  <a:lnTo>
                    <a:pt x="17" y="459"/>
                  </a:lnTo>
                  <a:lnTo>
                    <a:pt x="21" y="463"/>
                  </a:lnTo>
                  <a:lnTo>
                    <a:pt x="26" y="468"/>
                  </a:lnTo>
                  <a:lnTo>
                    <a:pt x="32" y="471"/>
                  </a:lnTo>
                  <a:lnTo>
                    <a:pt x="38" y="474"/>
                  </a:lnTo>
                  <a:lnTo>
                    <a:pt x="44" y="477"/>
                  </a:lnTo>
                  <a:lnTo>
                    <a:pt x="52" y="479"/>
                  </a:lnTo>
                  <a:lnTo>
                    <a:pt x="59" y="481"/>
                  </a:lnTo>
                  <a:lnTo>
                    <a:pt x="67" y="482"/>
                  </a:lnTo>
                  <a:lnTo>
                    <a:pt x="76" y="482"/>
                  </a:lnTo>
                  <a:lnTo>
                    <a:pt x="271" y="482"/>
                  </a:lnTo>
                  <a:lnTo>
                    <a:pt x="271" y="828"/>
                  </a:lnTo>
                  <a:lnTo>
                    <a:pt x="272" y="834"/>
                  </a:lnTo>
                  <a:lnTo>
                    <a:pt x="273" y="841"/>
                  </a:lnTo>
                  <a:lnTo>
                    <a:pt x="275" y="847"/>
                  </a:lnTo>
                  <a:lnTo>
                    <a:pt x="277" y="854"/>
                  </a:lnTo>
                  <a:lnTo>
                    <a:pt x="280" y="860"/>
                  </a:lnTo>
                  <a:lnTo>
                    <a:pt x="285" y="867"/>
                  </a:lnTo>
                  <a:lnTo>
                    <a:pt x="289" y="873"/>
                  </a:lnTo>
                  <a:lnTo>
                    <a:pt x="293" y="878"/>
                  </a:lnTo>
                  <a:lnTo>
                    <a:pt x="299" y="884"/>
                  </a:lnTo>
                  <a:lnTo>
                    <a:pt x="305" y="888"/>
                  </a:lnTo>
                  <a:lnTo>
                    <a:pt x="311" y="892"/>
                  </a:lnTo>
                  <a:lnTo>
                    <a:pt x="318" y="897"/>
                  </a:lnTo>
                  <a:lnTo>
                    <a:pt x="324" y="899"/>
                  </a:lnTo>
                  <a:lnTo>
                    <a:pt x="332" y="901"/>
                  </a:lnTo>
                  <a:lnTo>
                    <a:pt x="339" y="903"/>
                  </a:lnTo>
                  <a:lnTo>
                    <a:pt x="347" y="903"/>
                  </a:lnTo>
                  <a:lnTo>
                    <a:pt x="775" y="903"/>
                  </a:lnTo>
                  <a:lnTo>
                    <a:pt x="788" y="902"/>
                  </a:lnTo>
                  <a:lnTo>
                    <a:pt x="802" y="901"/>
                  </a:lnTo>
                  <a:lnTo>
                    <a:pt x="813" y="898"/>
                  </a:lnTo>
                  <a:lnTo>
                    <a:pt x="825" y="894"/>
                  </a:lnTo>
                  <a:lnTo>
                    <a:pt x="837" y="889"/>
                  </a:lnTo>
                  <a:lnTo>
                    <a:pt x="848" y="883"/>
                  </a:lnTo>
                  <a:lnTo>
                    <a:pt x="857" y="876"/>
                  </a:lnTo>
                  <a:lnTo>
                    <a:pt x="867" y="869"/>
                  </a:lnTo>
                  <a:lnTo>
                    <a:pt x="875" y="860"/>
                  </a:lnTo>
                  <a:lnTo>
                    <a:pt x="882" y="852"/>
                  </a:lnTo>
                  <a:lnTo>
                    <a:pt x="888" y="841"/>
                  </a:lnTo>
                  <a:lnTo>
                    <a:pt x="894" y="830"/>
                  </a:lnTo>
                  <a:lnTo>
                    <a:pt x="898" y="819"/>
                  </a:lnTo>
                  <a:lnTo>
                    <a:pt x="901" y="808"/>
                  </a:lnTo>
                  <a:lnTo>
                    <a:pt x="902" y="796"/>
                  </a:lnTo>
                  <a:lnTo>
                    <a:pt x="903" y="783"/>
                  </a:lnTo>
                  <a:lnTo>
                    <a:pt x="903" y="557"/>
                  </a:lnTo>
                  <a:lnTo>
                    <a:pt x="903" y="554"/>
                  </a:lnTo>
                  <a:lnTo>
                    <a:pt x="902" y="551"/>
                  </a:lnTo>
                  <a:lnTo>
                    <a:pt x="901" y="549"/>
                  </a:lnTo>
                  <a:lnTo>
                    <a:pt x="899" y="547"/>
                  </a:lnTo>
                  <a:lnTo>
                    <a:pt x="897" y="545"/>
                  </a:lnTo>
                  <a:lnTo>
                    <a:pt x="894" y="543"/>
                  </a:lnTo>
                  <a:lnTo>
                    <a:pt x="892" y="542"/>
                  </a:lnTo>
                  <a:lnTo>
                    <a:pt x="888" y="5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Freeform 12"/>
            <p:cNvSpPr>
              <a:spLocks/>
            </p:cNvSpPr>
            <p:nvPr/>
          </p:nvSpPr>
          <p:spPr bwMode="auto">
            <a:xfrm>
              <a:off x="2608263" y="2125663"/>
              <a:ext cx="61913" cy="95250"/>
            </a:xfrm>
            <a:custGeom>
              <a:avLst/>
              <a:gdLst>
                <a:gd name="T0" fmla="*/ 194 w 196"/>
                <a:gd name="T1" fmla="*/ 202 h 301"/>
                <a:gd name="T2" fmla="*/ 116 w 196"/>
                <a:gd name="T3" fmla="*/ 125 h 301"/>
                <a:gd name="T4" fmla="*/ 111 w 196"/>
                <a:gd name="T5" fmla="*/ 122 h 301"/>
                <a:gd name="T6" fmla="*/ 106 w 196"/>
                <a:gd name="T7" fmla="*/ 121 h 301"/>
                <a:gd name="T8" fmla="*/ 100 w 196"/>
                <a:gd name="T9" fmla="*/ 122 h 301"/>
                <a:gd name="T10" fmla="*/ 95 w 196"/>
                <a:gd name="T11" fmla="*/ 125 h 301"/>
                <a:gd name="T12" fmla="*/ 92 w 196"/>
                <a:gd name="T13" fmla="*/ 130 h 301"/>
                <a:gd name="T14" fmla="*/ 91 w 196"/>
                <a:gd name="T15" fmla="*/ 136 h 301"/>
                <a:gd name="T16" fmla="*/ 92 w 196"/>
                <a:gd name="T17" fmla="*/ 141 h 301"/>
                <a:gd name="T18" fmla="*/ 95 w 196"/>
                <a:gd name="T19" fmla="*/ 146 h 301"/>
                <a:gd name="T20" fmla="*/ 76 w 196"/>
                <a:gd name="T21" fmla="*/ 196 h 301"/>
                <a:gd name="T22" fmla="*/ 58 w 196"/>
                <a:gd name="T23" fmla="*/ 192 h 301"/>
                <a:gd name="T24" fmla="*/ 44 w 196"/>
                <a:gd name="T25" fmla="*/ 182 h 301"/>
                <a:gd name="T26" fmla="*/ 34 w 196"/>
                <a:gd name="T27" fmla="*/ 168 h 301"/>
                <a:gd name="T28" fmla="*/ 30 w 196"/>
                <a:gd name="T29" fmla="*/ 153 h 301"/>
                <a:gd name="T30" fmla="*/ 30 w 196"/>
                <a:gd name="T31" fmla="*/ 13 h 301"/>
                <a:gd name="T32" fmla="*/ 28 w 196"/>
                <a:gd name="T33" fmla="*/ 7 h 301"/>
                <a:gd name="T34" fmla="*/ 24 w 196"/>
                <a:gd name="T35" fmla="*/ 3 h 301"/>
                <a:gd name="T36" fmla="*/ 19 w 196"/>
                <a:gd name="T37" fmla="*/ 1 h 301"/>
                <a:gd name="T38" fmla="*/ 12 w 196"/>
                <a:gd name="T39" fmla="*/ 1 h 301"/>
                <a:gd name="T40" fmla="*/ 7 w 196"/>
                <a:gd name="T41" fmla="*/ 3 h 301"/>
                <a:gd name="T42" fmla="*/ 3 w 196"/>
                <a:gd name="T43" fmla="*/ 7 h 301"/>
                <a:gd name="T44" fmla="*/ 0 w 196"/>
                <a:gd name="T45" fmla="*/ 13 h 301"/>
                <a:gd name="T46" fmla="*/ 0 w 196"/>
                <a:gd name="T47" fmla="*/ 153 h 301"/>
                <a:gd name="T48" fmla="*/ 2 w 196"/>
                <a:gd name="T49" fmla="*/ 167 h 301"/>
                <a:gd name="T50" fmla="*/ 7 w 196"/>
                <a:gd name="T51" fmla="*/ 181 h 301"/>
                <a:gd name="T52" fmla="*/ 14 w 196"/>
                <a:gd name="T53" fmla="*/ 193 h 301"/>
                <a:gd name="T54" fmla="*/ 23 w 196"/>
                <a:gd name="T55" fmla="*/ 203 h 301"/>
                <a:gd name="T56" fmla="*/ 35 w 196"/>
                <a:gd name="T57" fmla="*/ 213 h 301"/>
                <a:gd name="T58" fmla="*/ 48 w 196"/>
                <a:gd name="T59" fmla="*/ 220 h 301"/>
                <a:gd name="T60" fmla="*/ 62 w 196"/>
                <a:gd name="T61" fmla="*/ 224 h 301"/>
                <a:gd name="T62" fmla="*/ 76 w 196"/>
                <a:gd name="T63" fmla="*/ 226 h 301"/>
                <a:gd name="T64" fmla="*/ 95 w 196"/>
                <a:gd name="T65" fmla="*/ 275 h 301"/>
                <a:gd name="T66" fmla="*/ 92 w 196"/>
                <a:gd name="T67" fmla="*/ 281 h 301"/>
                <a:gd name="T68" fmla="*/ 91 w 196"/>
                <a:gd name="T69" fmla="*/ 286 h 301"/>
                <a:gd name="T70" fmla="*/ 92 w 196"/>
                <a:gd name="T71" fmla="*/ 292 h 301"/>
                <a:gd name="T72" fmla="*/ 95 w 196"/>
                <a:gd name="T73" fmla="*/ 297 h 301"/>
                <a:gd name="T74" fmla="*/ 100 w 196"/>
                <a:gd name="T75" fmla="*/ 300 h 301"/>
                <a:gd name="T76" fmla="*/ 106 w 196"/>
                <a:gd name="T77" fmla="*/ 301 h 301"/>
                <a:gd name="T78" fmla="*/ 111 w 196"/>
                <a:gd name="T79" fmla="*/ 300 h 301"/>
                <a:gd name="T80" fmla="*/ 116 w 196"/>
                <a:gd name="T81" fmla="*/ 297 h 301"/>
                <a:gd name="T82" fmla="*/ 194 w 196"/>
                <a:gd name="T83" fmla="*/ 220 h 301"/>
                <a:gd name="T84" fmla="*/ 196 w 196"/>
                <a:gd name="T85" fmla="*/ 214 h 301"/>
                <a:gd name="T86" fmla="*/ 196 w 196"/>
                <a:gd name="T87" fmla="*/ 209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96" h="301">
                  <a:moveTo>
                    <a:pt x="195" y="207"/>
                  </a:moveTo>
                  <a:lnTo>
                    <a:pt x="194" y="202"/>
                  </a:lnTo>
                  <a:lnTo>
                    <a:pt x="191" y="200"/>
                  </a:lnTo>
                  <a:lnTo>
                    <a:pt x="116" y="125"/>
                  </a:lnTo>
                  <a:lnTo>
                    <a:pt x="114" y="123"/>
                  </a:lnTo>
                  <a:lnTo>
                    <a:pt x="111" y="122"/>
                  </a:lnTo>
                  <a:lnTo>
                    <a:pt x="109" y="121"/>
                  </a:lnTo>
                  <a:lnTo>
                    <a:pt x="106" y="121"/>
                  </a:lnTo>
                  <a:lnTo>
                    <a:pt x="102" y="121"/>
                  </a:lnTo>
                  <a:lnTo>
                    <a:pt x="100" y="122"/>
                  </a:lnTo>
                  <a:lnTo>
                    <a:pt x="97" y="123"/>
                  </a:lnTo>
                  <a:lnTo>
                    <a:pt x="95" y="125"/>
                  </a:lnTo>
                  <a:lnTo>
                    <a:pt x="93" y="127"/>
                  </a:lnTo>
                  <a:lnTo>
                    <a:pt x="92" y="130"/>
                  </a:lnTo>
                  <a:lnTo>
                    <a:pt x="91" y="133"/>
                  </a:lnTo>
                  <a:lnTo>
                    <a:pt x="91" y="136"/>
                  </a:lnTo>
                  <a:lnTo>
                    <a:pt x="91" y="139"/>
                  </a:lnTo>
                  <a:lnTo>
                    <a:pt x="92" y="141"/>
                  </a:lnTo>
                  <a:lnTo>
                    <a:pt x="93" y="144"/>
                  </a:lnTo>
                  <a:lnTo>
                    <a:pt x="95" y="146"/>
                  </a:lnTo>
                  <a:lnTo>
                    <a:pt x="144" y="196"/>
                  </a:lnTo>
                  <a:lnTo>
                    <a:pt x="76" y="196"/>
                  </a:lnTo>
                  <a:lnTo>
                    <a:pt x="67" y="195"/>
                  </a:lnTo>
                  <a:lnTo>
                    <a:pt x="58" y="192"/>
                  </a:lnTo>
                  <a:lnTo>
                    <a:pt x="51" y="187"/>
                  </a:lnTo>
                  <a:lnTo>
                    <a:pt x="44" y="182"/>
                  </a:lnTo>
                  <a:lnTo>
                    <a:pt x="38" y="176"/>
                  </a:lnTo>
                  <a:lnTo>
                    <a:pt x="34" y="168"/>
                  </a:lnTo>
                  <a:lnTo>
                    <a:pt x="32" y="161"/>
                  </a:lnTo>
                  <a:lnTo>
                    <a:pt x="30" y="153"/>
                  </a:lnTo>
                  <a:lnTo>
                    <a:pt x="30" y="15"/>
                  </a:lnTo>
                  <a:lnTo>
                    <a:pt x="30" y="13"/>
                  </a:lnTo>
                  <a:lnTo>
                    <a:pt x="29" y="9"/>
                  </a:lnTo>
                  <a:lnTo>
                    <a:pt x="28" y="7"/>
                  </a:lnTo>
                  <a:lnTo>
                    <a:pt x="26" y="5"/>
                  </a:lnTo>
                  <a:lnTo>
                    <a:pt x="24" y="3"/>
                  </a:lnTo>
                  <a:lnTo>
                    <a:pt x="21" y="1"/>
                  </a:lnTo>
                  <a:lnTo>
                    <a:pt x="19" y="1"/>
                  </a:lnTo>
                  <a:lnTo>
                    <a:pt x="15" y="0"/>
                  </a:lnTo>
                  <a:lnTo>
                    <a:pt x="12" y="1"/>
                  </a:lnTo>
                  <a:lnTo>
                    <a:pt x="9" y="1"/>
                  </a:lnTo>
                  <a:lnTo>
                    <a:pt x="7" y="3"/>
                  </a:lnTo>
                  <a:lnTo>
                    <a:pt x="5" y="5"/>
                  </a:lnTo>
                  <a:lnTo>
                    <a:pt x="3" y="7"/>
                  </a:lnTo>
                  <a:lnTo>
                    <a:pt x="2" y="9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0" y="153"/>
                  </a:lnTo>
                  <a:lnTo>
                    <a:pt x="0" y="161"/>
                  </a:lnTo>
                  <a:lnTo>
                    <a:pt x="2" y="167"/>
                  </a:lnTo>
                  <a:lnTo>
                    <a:pt x="4" y="174"/>
                  </a:lnTo>
                  <a:lnTo>
                    <a:pt x="7" y="181"/>
                  </a:lnTo>
                  <a:lnTo>
                    <a:pt x="10" y="187"/>
                  </a:lnTo>
                  <a:lnTo>
                    <a:pt x="14" y="193"/>
                  </a:lnTo>
                  <a:lnTo>
                    <a:pt x="19" y="198"/>
                  </a:lnTo>
                  <a:lnTo>
                    <a:pt x="23" y="203"/>
                  </a:lnTo>
                  <a:lnTo>
                    <a:pt x="29" y="209"/>
                  </a:lnTo>
                  <a:lnTo>
                    <a:pt x="35" y="213"/>
                  </a:lnTo>
                  <a:lnTo>
                    <a:pt x="41" y="216"/>
                  </a:lnTo>
                  <a:lnTo>
                    <a:pt x="48" y="220"/>
                  </a:lnTo>
                  <a:lnTo>
                    <a:pt x="54" y="223"/>
                  </a:lnTo>
                  <a:lnTo>
                    <a:pt x="62" y="224"/>
                  </a:lnTo>
                  <a:lnTo>
                    <a:pt x="68" y="225"/>
                  </a:lnTo>
                  <a:lnTo>
                    <a:pt x="76" y="226"/>
                  </a:lnTo>
                  <a:lnTo>
                    <a:pt x="144" y="226"/>
                  </a:lnTo>
                  <a:lnTo>
                    <a:pt x="95" y="275"/>
                  </a:lnTo>
                  <a:lnTo>
                    <a:pt x="93" y="277"/>
                  </a:lnTo>
                  <a:lnTo>
                    <a:pt x="92" y="281"/>
                  </a:lnTo>
                  <a:lnTo>
                    <a:pt x="91" y="284"/>
                  </a:lnTo>
                  <a:lnTo>
                    <a:pt x="91" y="286"/>
                  </a:lnTo>
                  <a:lnTo>
                    <a:pt x="91" y="289"/>
                  </a:lnTo>
                  <a:lnTo>
                    <a:pt x="92" y="292"/>
                  </a:lnTo>
                  <a:lnTo>
                    <a:pt x="93" y="295"/>
                  </a:lnTo>
                  <a:lnTo>
                    <a:pt x="95" y="297"/>
                  </a:lnTo>
                  <a:lnTo>
                    <a:pt x="97" y="299"/>
                  </a:lnTo>
                  <a:lnTo>
                    <a:pt x="100" y="300"/>
                  </a:lnTo>
                  <a:lnTo>
                    <a:pt x="102" y="301"/>
                  </a:lnTo>
                  <a:lnTo>
                    <a:pt x="106" y="301"/>
                  </a:lnTo>
                  <a:lnTo>
                    <a:pt x="109" y="301"/>
                  </a:lnTo>
                  <a:lnTo>
                    <a:pt x="111" y="300"/>
                  </a:lnTo>
                  <a:lnTo>
                    <a:pt x="114" y="299"/>
                  </a:lnTo>
                  <a:lnTo>
                    <a:pt x="116" y="297"/>
                  </a:lnTo>
                  <a:lnTo>
                    <a:pt x="191" y="222"/>
                  </a:lnTo>
                  <a:lnTo>
                    <a:pt x="194" y="220"/>
                  </a:lnTo>
                  <a:lnTo>
                    <a:pt x="195" y="216"/>
                  </a:lnTo>
                  <a:lnTo>
                    <a:pt x="196" y="214"/>
                  </a:lnTo>
                  <a:lnTo>
                    <a:pt x="196" y="211"/>
                  </a:lnTo>
                  <a:lnTo>
                    <a:pt x="196" y="209"/>
                  </a:lnTo>
                  <a:lnTo>
                    <a:pt x="195" y="2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67" name="Rectangle 166"/>
          <p:cNvSpPr/>
          <p:nvPr/>
        </p:nvSpPr>
        <p:spPr>
          <a:xfrm>
            <a:off x="4323941" y="1609251"/>
            <a:ext cx="946910" cy="760953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US" sz="3600" dirty="0">
                <a:solidFill>
                  <a:schemeClr val="bg1"/>
                </a:solidFill>
              </a:rPr>
              <a:t>01</a:t>
            </a:r>
          </a:p>
        </p:txBody>
      </p:sp>
      <p:sp>
        <p:nvSpPr>
          <p:cNvPr id="168" name="Rectangle 167"/>
          <p:cNvSpPr/>
          <p:nvPr/>
        </p:nvSpPr>
        <p:spPr>
          <a:xfrm>
            <a:off x="4323941" y="2674598"/>
            <a:ext cx="946910" cy="760953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US" sz="3600" dirty="0">
                <a:solidFill>
                  <a:schemeClr val="bg1"/>
                </a:solidFill>
              </a:rPr>
              <a:t>02</a:t>
            </a:r>
          </a:p>
        </p:txBody>
      </p:sp>
      <p:sp>
        <p:nvSpPr>
          <p:cNvPr id="169" name="Rectangle 168"/>
          <p:cNvSpPr/>
          <p:nvPr/>
        </p:nvSpPr>
        <p:spPr>
          <a:xfrm>
            <a:off x="4323941" y="3762371"/>
            <a:ext cx="946910" cy="760953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US" sz="3600" dirty="0">
                <a:solidFill>
                  <a:schemeClr val="bg1"/>
                </a:solidFill>
              </a:rPr>
              <a:t>03</a:t>
            </a:r>
          </a:p>
        </p:txBody>
      </p:sp>
      <p:sp>
        <p:nvSpPr>
          <p:cNvPr id="170" name="Rectangle 169"/>
          <p:cNvSpPr/>
          <p:nvPr/>
        </p:nvSpPr>
        <p:spPr>
          <a:xfrm>
            <a:off x="4323941" y="4784733"/>
            <a:ext cx="946910" cy="760953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US" sz="3600" dirty="0">
                <a:solidFill>
                  <a:schemeClr val="bg1"/>
                </a:solidFill>
              </a:rPr>
              <a:t>04</a:t>
            </a:r>
          </a:p>
        </p:txBody>
      </p:sp>
      <p:sp>
        <p:nvSpPr>
          <p:cNvPr id="171" name="Rectangle 170"/>
          <p:cNvSpPr/>
          <p:nvPr>
            <p:custDataLst>
              <p:tags r:id="rId1"/>
            </p:custDataLst>
          </p:nvPr>
        </p:nvSpPr>
        <p:spPr>
          <a:xfrm>
            <a:off x="7174447" y="2050364"/>
            <a:ext cx="2022199" cy="60016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r"/>
            <a:r>
              <a:rPr lang="en-US" sz="1100" dirty="0">
                <a:solidFill>
                  <a:schemeClr val="bg1"/>
                </a:solidFill>
              </a:rPr>
              <a:t>Lorem Ipsum is simply dummy text of the printing and typesetting industry. </a:t>
            </a:r>
          </a:p>
        </p:txBody>
      </p:sp>
      <p:sp>
        <p:nvSpPr>
          <p:cNvPr id="172" name="Rectangle 171"/>
          <p:cNvSpPr/>
          <p:nvPr>
            <p:custDataLst>
              <p:tags r:id="rId2"/>
            </p:custDataLst>
          </p:nvPr>
        </p:nvSpPr>
        <p:spPr>
          <a:xfrm>
            <a:off x="7174447" y="3117582"/>
            <a:ext cx="2022199" cy="60016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r"/>
            <a:r>
              <a:rPr lang="en-US" sz="1100" dirty="0">
                <a:solidFill>
                  <a:schemeClr val="bg1"/>
                </a:solidFill>
              </a:rPr>
              <a:t>Lorem Ipsum is simply dummy text of the printing and typesetting industry. </a:t>
            </a:r>
          </a:p>
        </p:txBody>
      </p:sp>
      <p:sp>
        <p:nvSpPr>
          <p:cNvPr id="173" name="Rectangle 172"/>
          <p:cNvSpPr/>
          <p:nvPr>
            <p:custDataLst>
              <p:tags r:id="rId3"/>
            </p:custDataLst>
          </p:nvPr>
        </p:nvSpPr>
        <p:spPr>
          <a:xfrm>
            <a:off x="7174447" y="4195078"/>
            <a:ext cx="2022199" cy="60016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r"/>
            <a:r>
              <a:rPr lang="en-US" sz="1100" dirty="0">
                <a:solidFill>
                  <a:schemeClr val="bg1"/>
                </a:solidFill>
              </a:rPr>
              <a:t>Lorem Ipsum is simply dummy text of the printing and typesetting industry. </a:t>
            </a:r>
          </a:p>
        </p:txBody>
      </p:sp>
      <p:sp>
        <p:nvSpPr>
          <p:cNvPr id="174" name="Rectangle 173"/>
          <p:cNvSpPr/>
          <p:nvPr>
            <p:custDataLst>
              <p:tags r:id="rId4"/>
            </p:custDataLst>
          </p:nvPr>
        </p:nvSpPr>
        <p:spPr>
          <a:xfrm>
            <a:off x="7174447" y="5235860"/>
            <a:ext cx="2022199" cy="60016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r"/>
            <a:r>
              <a:rPr lang="en-US" sz="1100" dirty="0">
                <a:solidFill>
                  <a:schemeClr val="bg1"/>
                </a:solidFill>
              </a:rPr>
              <a:t>Lorem Ipsum is simply dummy text of the printing and typesetting industry. </a:t>
            </a:r>
          </a:p>
        </p:txBody>
      </p:sp>
    </p:spTree>
    <p:extLst>
      <p:ext uri="{BB962C8B-B14F-4D97-AF65-F5344CB8AC3E}">
        <p14:creationId xmlns:p14="http://schemas.microsoft.com/office/powerpoint/2010/main" val="235197267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4294967295"/>
          </p:nvPr>
        </p:nvSpPr>
        <p:spPr>
          <a:xfrm>
            <a:off x="0" y="6356350"/>
            <a:ext cx="2743200" cy="365125"/>
          </a:xfrm>
        </p:spPr>
        <p:txBody>
          <a:bodyPr/>
          <a:lstStyle/>
          <a:p>
            <a:fld id="{C9852138-FCC6-44DD-9FFC-1C789392E7AA}" type="datetime1">
              <a:rPr lang="en-US" smtClean="0"/>
              <a:t>11/15/2018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9448800" y="6356350"/>
            <a:ext cx="2743200" cy="365125"/>
          </a:xfrm>
        </p:spPr>
        <p:txBody>
          <a:bodyPr/>
          <a:lstStyle/>
          <a:p>
            <a:fld id="{03206E70-9524-410D-AE9B-78D656EAA14D}" type="slidenum">
              <a:rPr lang="en-US" smtClean="0"/>
              <a:pPr/>
              <a:t>23</a:t>
            </a:fld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tx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7" name="Freeform 6"/>
          <p:cNvSpPr>
            <a:spLocks/>
          </p:cNvSpPr>
          <p:nvPr/>
        </p:nvSpPr>
        <p:spPr bwMode="auto">
          <a:xfrm>
            <a:off x="0" y="-639708"/>
            <a:ext cx="12192001" cy="8099370"/>
          </a:xfrm>
          <a:custGeom>
            <a:avLst/>
            <a:gdLst>
              <a:gd name="T0" fmla="*/ 471 w 542"/>
              <a:gd name="T1" fmla="*/ 110 h 359"/>
              <a:gd name="T2" fmla="*/ 494 w 542"/>
              <a:gd name="T3" fmla="*/ 124 h 359"/>
              <a:gd name="T4" fmla="*/ 473 w 542"/>
              <a:gd name="T5" fmla="*/ 118 h 359"/>
              <a:gd name="T6" fmla="*/ 352 w 542"/>
              <a:gd name="T7" fmla="*/ 60 h 359"/>
              <a:gd name="T8" fmla="*/ 361 w 542"/>
              <a:gd name="T9" fmla="*/ 68 h 359"/>
              <a:gd name="T10" fmla="*/ 315 w 542"/>
              <a:gd name="T11" fmla="*/ 52 h 359"/>
              <a:gd name="T12" fmla="*/ 341 w 542"/>
              <a:gd name="T13" fmla="*/ 68 h 359"/>
              <a:gd name="T14" fmla="*/ 369 w 542"/>
              <a:gd name="T15" fmla="*/ 86 h 359"/>
              <a:gd name="T16" fmla="*/ 325 w 542"/>
              <a:gd name="T17" fmla="*/ 66 h 359"/>
              <a:gd name="T18" fmla="*/ 304 w 542"/>
              <a:gd name="T19" fmla="*/ 63 h 359"/>
              <a:gd name="T20" fmla="*/ 254 w 542"/>
              <a:gd name="T21" fmla="*/ 49 h 359"/>
              <a:gd name="T22" fmla="*/ 302 w 542"/>
              <a:gd name="T23" fmla="*/ 75 h 359"/>
              <a:gd name="T24" fmla="*/ 245 w 542"/>
              <a:gd name="T25" fmla="*/ 49 h 359"/>
              <a:gd name="T26" fmla="*/ 240 w 542"/>
              <a:gd name="T27" fmla="*/ 54 h 359"/>
              <a:gd name="T28" fmla="*/ 217 w 542"/>
              <a:gd name="T29" fmla="*/ 54 h 359"/>
              <a:gd name="T30" fmla="*/ 215 w 542"/>
              <a:gd name="T31" fmla="*/ 65 h 359"/>
              <a:gd name="T32" fmla="*/ 211 w 542"/>
              <a:gd name="T33" fmla="*/ 69 h 359"/>
              <a:gd name="T34" fmla="*/ 270 w 542"/>
              <a:gd name="T35" fmla="*/ 101 h 359"/>
              <a:gd name="T36" fmla="*/ 242 w 542"/>
              <a:gd name="T37" fmla="*/ 92 h 359"/>
              <a:gd name="T38" fmla="*/ 149 w 542"/>
              <a:gd name="T39" fmla="*/ 52 h 359"/>
              <a:gd name="T40" fmla="*/ 101 w 542"/>
              <a:gd name="T41" fmla="*/ 27 h 359"/>
              <a:gd name="T42" fmla="*/ 123 w 542"/>
              <a:gd name="T43" fmla="*/ 42 h 359"/>
              <a:gd name="T44" fmla="*/ 159 w 542"/>
              <a:gd name="T45" fmla="*/ 62 h 359"/>
              <a:gd name="T46" fmla="*/ 118 w 542"/>
              <a:gd name="T47" fmla="*/ 46 h 359"/>
              <a:gd name="T48" fmla="*/ 108 w 542"/>
              <a:gd name="T49" fmla="*/ 52 h 359"/>
              <a:gd name="T50" fmla="*/ 14 w 542"/>
              <a:gd name="T51" fmla="*/ 2 h 359"/>
              <a:gd name="T52" fmla="*/ 36 w 542"/>
              <a:gd name="T53" fmla="*/ 19 h 359"/>
              <a:gd name="T54" fmla="*/ 35 w 542"/>
              <a:gd name="T55" fmla="*/ 27 h 359"/>
              <a:gd name="T56" fmla="*/ 21 w 542"/>
              <a:gd name="T57" fmla="*/ 35 h 359"/>
              <a:gd name="T58" fmla="*/ 0 w 542"/>
              <a:gd name="T59" fmla="*/ 108 h 359"/>
              <a:gd name="T60" fmla="*/ 3 w 542"/>
              <a:gd name="T61" fmla="*/ 221 h 359"/>
              <a:gd name="T62" fmla="*/ 75 w 542"/>
              <a:gd name="T63" fmla="*/ 257 h 359"/>
              <a:gd name="T64" fmla="*/ 99 w 542"/>
              <a:gd name="T65" fmla="*/ 264 h 359"/>
              <a:gd name="T66" fmla="*/ 28 w 542"/>
              <a:gd name="T67" fmla="*/ 229 h 359"/>
              <a:gd name="T68" fmla="*/ 169 w 542"/>
              <a:gd name="T69" fmla="*/ 290 h 359"/>
              <a:gd name="T70" fmla="*/ 204 w 542"/>
              <a:gd name="T71" fmla="*/ 306 h 359"/>
              <a:gd name="T72" fmla="*/ 218 w 542"/>
              <a:gd name="T73" fmla="*/ 308 h 359"/>
              <a:gd name="T74" fmla="*/ 208 w 542"/>
              <a:gd name="T75" fmla="*/ 294 h 359"/>
              <a:gd name="T76" fmla="*/ 150 w 542"/>
              <a:gd name="T77" fmla="*/ 267 h 359"/>
              <a:gd name="T78" fmla="*/ 226 w 542"/>
              <a:gd name="T79" fmla="*/ 299 h 359"/>
              <a:gd name="T80" fmla="*/ 250 w 542"/>
              <a:gd name="T81" fmla="*/ 305 h 359"/>
              <a:gd name="T82" fmla="*/ 275 w 542"/>
              <a:gd name="T83" fmla="*/ 305 h 359"/>
              <a:gd name="T84" fmla="*/ 242 w 542"/>
              <a:gd name="T85" fmla="*/ 287 h 359"/>
              <a:gd name="T86" fmla="*/ 263 w 542"/>
              <a:gd name="T87" fmla="*/ 294 h 359"/>
              <a:gd name="T88" fmla="*/ 307 w 542"/>
              <a:gd name="T89" fmla="*/ 304 h 359"/>
              <a:gd name="T90" fmla="*/ 317 w 542"/>
              <a:gd name="T91" fmla="*/ 302 h 359"/>
              <a:gd name="T92" fmla="*/ 328 w 542"/>
              <a:gd name="T93" fmla="*/ 298 h 359"/>
              <a:gd name="T94" fmla="*/ 344 w 542"/>
              <a:gd name="T95" fmla="*/ 299 h 359"/>
              <a:gd name="T96" fmla="*/ 277 w 542"/>
              <a:gd name="T97" fmla="*/ 263 h 359"/>
              <a:gd name="T98" fmla="*/ 293 w 542"/>
              <a:gd name="T99" fmla="*/ 267 h 359"/>
              <a:gd name="T100" fmla="*/ 380 w 542"/>
              <a:gd name="T101" fmla="*/ 302 h 359"/>
              <a:gd name="T102" fmla="*/ 448 w 542"/>
              <a:gd name="T103" fmla="*/ 334 h 359"/>
              <a:gd name="T104" fmla="*/ 414 w 542"/>
              <a:gd name="T105" fmla="*/ 314 h 359"/>
              <a:gd name="T106" fmla="*/ 385 w 542"/>
              <a:gd name="T107" fmla="*/ 303 h 359"/>
              <a:gd name="T108" fmla="*/ 396 w 542"/>
              <a:gd name="T109" fmla="*/ 300 h 359"/>
              <a:gd name="T110" fmla="*/ 460 w 542"/>
              <a:gd name="T111" fmla="*/ 320 h 359"/>
              <a:gd name="T112" fmla="*/ 519 w 542"/>
              <a:gd name="T113" fmla="*/ 351 h 359"/>
              <a:gd name="T114" fmla="*/ 509 w 542"/>
              <a:gd name="T115" fmla="*/ 341 h 359"/>
              <a:gd name="T116" fmla="*/ 503 w 542"/>
              <a:gd name="T117" fmla="*/ 328 h 359"/>
              <a:gd name="T118" fmla="*/ 504 w 542"/>
              <a:gd name="T119" fmla="*/ 317 h 359"/>
              <a:gd name="T120" fmla="*/ 541 w 542"/>
              <a:gd name="T121" fmla="*/ 254 h 359"/>
              <a:gd name="T122" fmla="*/ 542 w 542"/>
              <a:gd name="T123" fmla="*/ 147 h 3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42" h="359">
                <a:moveTo>
                  <a:pt x="542" y="144"/>
                </a:moveTo>
                <a:cubicBezTo>
                  <a:pt x="542" y="139"/>
                  <a:pt x="542" y="139"/>
                  <a:pt x="542" y="139"/>
                </a:cubicBezTo>
                <a:cubicBezTo>
                  <a:pt x="537" y="139"/>
                  <a:pt x="537" y="139"/>
                  <a:pt x="537" y="139"/>
                </a:cubicBezTo>
                <a:cubicBezTo>
                  <a:pt x="529" y="135"/>
                  <a:pt x="522" y="131"/>
                  <a:pt x="514" y="127"/>
                </a:cubicBezTo>
                <a:cubicBezTo>
                  <a:pt x="500" y="120"/>
                  <a:pt x="485" y="114"/>
                  <a:pt x="472" y="106"/>
                </a:cubicBezTo>
                <a:cubicBezTo>
                  <a:pt x="472" y="106"/>
                  <a:pt x="472" y="106"/>
                  <a:pt x="472" y="106"/>
                </a:cubicBezTo>
                <a:cubicBezTo>
                  <a:pt x="470" y="105"/>
                  <a:pt x="469" y="104"/>
                  <a:pt x="466" y="104"/>
                </a:cubicBezTo>
                <a:cubicBezTo>
                  <a:pt x="464" y="103"/>
                  <a:pt x="463" y="102"/>
                  <a:pt x="461" y="101"/>
                </a:cubicBezTo>
                <a:cubicBezTo>
                  <a:pt x="462" y="102"/>
                  <a:pt x="465" y="104"/>
                  <a:pt x="465" y="104"/>
                </a:cubicBezTo>
                <a:cubicBezTo>
                  <a:pt x="466" y="105"/>
                  <a:pt x="467" y="105"/>
                  <a:pt x="467" y="105"/>
                </a:cubicBezTo>
                <a:cubicBezTo>
                  <a:pt x="468" y="106"/>
                  <a:pt x="470" y="107"/>
                  <a:pt x="470" y="107"/>
                </a:cubicBezTo>
                <a:cubicBezTo>
                  <a:pt x="468" y="107"/>
                  <a:pt x="472" y="108"/>
                  <a:pt x="471" y="109"/>
                </a:cubicBezTo>
                <a:cubicBezTo>
                  <a:pt x="470" y="109"/>
                  <a:pt x="469" y="108"/>
                  <a:pt x="469" y="108"/>
                </a:cubicBezTo>
                <a:cubicBezTo>
                  <a:pt x="469" y="109"/>
                  <a:pt x="471" y="109"/>
                  <a:pt x="472" y="110"/>
                </a:cubicBezTo>
                <a:cubicBezTo>
                  <a:pt x="473" y="110"/>
                  <a:pt x="475" y="111"/>
                  <a:pt x="475" y="112"/>
                </a:cubicBezTo>
                <a:cubicBezTo>
                  <a:pt x="474" y="111"/>
                  <a:pt x="472" y="110"/>
                  <a:pt x="471" y="110"/>
                </a:cubicBezTo>
                <a:cubicBezTo>
                  <a:pt x="471" y="110"/>
                  <a:pt x="470" y="110"/>
                  <a:pt x="470" y="110"/>
                </a:cubicBezTo>
                <a:cubicBezTo>
                  <a:pt x="472" y="111"/>
                  <a:pt x="473" y="111"/>
                  <a:pt x="475" y="112"/>
                </a:cubicBezTo>
                <a:cubicBezTo>
                  <a:pt x="476" y="113"/>
                  <a:pt x="477" y="113"/>
                  <a:pt x="479" y="114"/>
                </a:cubicBezTo>
                <a:cubicBezTo>
                  <a:pt x="479" y="114"/>
                  <a:pt x="479" y="115"/>
                  <a:pt x="478" y="115"/>
                </a:cubicBezTo>
                <a:cubicBezTo>
                  <a:pt x="476" y="114"/>
                  <a:pt x="474" y="112"/>
                  <a:pt x="472" y="111"/>
                </a:cubicBezTo>
                <a:cubicBezTo>
                  <a:pt x="468" y="109"/>
                  <a:pt x="463" y="107"/>
                  <a:pt x="458" y="105"/>
                </a:cubicBezTo>
                <a:cubicBezTo>
                  <a:pt x="458" y="105"/>
                  <a:pt x="457" y="105"/>
                  <a:pt x="457" y="104"/>
                </a:cubicBezTo>
                <a:cubicBezTo>
                  <a:pt x="456" y="104"/>
                  <a:pt x="454" y="103"/>
                  <a:pt x="453" y="102"/>
                </a:cubicBezTo>
                <a:cubicBezTo>
                  <a:pt x="452" y="102"/>
                  <a:pt x="451" y="101"/>
                  <a:pt x="449" y="101"/>
                </a:cubicBezTo>
                <a:cubicBezTo>
                  <a:pt x="447" y="100"/>
                  <a:pt x="446" y="99"/>
                  <a:pt x="443" y="98"/>
                </a:cubicBezTo>
                <a:cubicBezTo>
                  <a:pt x="443" y="99"/>
                  <a:pt x="445" y="100"/>
                  <a:pt x="448" y="101"/>
                </a:cubicBezTo>
                <a:cubicBezTo>
                  <a:pt x="452" y="104"/>
                  <a:pt x="456" y="106"/>
                  <a:pt x="460" y="106"/>
                </a:cubicBezTo>
                <a:cubicBezTo>
                  <a:pt x="465" y="109"/>
                  <a:pt x="469" y="111"/>
                  <a:pt x="474" y="113"/>
                </a:cubicBezTo>
                <a:cubicBezTo>
                  <a:pt x="477" y="115"/>
                  <a:pt x="481" y="116"/>
                  <a:pt x="484" y="118"/>
                </a:cubicBezTo>
                <a:cubicBezTo>
                  <a:pt x="486" y="119"/>
                  <a:pt x="488" y="120"/>
                  <a:pt x="490" y="121"/>
                </a:cubicBezTo>
                <a:cubicBezTo>
                  <a:pt x="491" y="122"/>
                  <a:pt x="493" y="123"/>
                  <a:pt x="494" y="124"/>
                </a:cubicBezTo>
                <a:cubicBezTo>
                  <a:pt x="492" y="123"/>
                  <a:pt x="491" y="122"/>
                  <a:pt x="489" y="121"/>
                </a:cubicBezTo>
                <a:cubicBezTo>
                  <a:pt x="489" y="121"/>
                  <a:pt x="488" y="121"/>
                  <a:pt x="487" y="121"/>
                </a:cubicBezTo>
                <a:cubicBezTo>
                  <a:pt x="487" y="121"/>
                  <a:pt x="487" y="121"/>
                  <a:pt x="487" y="121"/>
                </a:cubicBezTo>
                <a:cubicBezTo>
                  <a:pt x="487" y="121"/>
                  <a:pt x="489" y="122"/>
                  <a:pt x="491" y="123"/>
                </a:cubicBezTo>
                <a:cubicBezTo>
                  <a:pt x="491" y="123"/>
                  <a:pt x="492" y="124"/>
                  <a:pt x="492" y="124"/>
                </a:cubicBezTo>
                <a:cubicBezTo>
                  <a:pt x="494" y="125"/>
                  <a:pt x="495" y="125"/>
                  <a:pt x="496" y="126"/>
                </a:cubicBezTo>
                <a:cubicBezTo>
                  <a:pt x="498" y="126"/>
                  <a:pt x="499" y="127"/>
                  <a:pt x="501" y="127"/>
                </a:cubicBezTo>
                <a:cubicBezTo>
                  <a:pt x="501" y="127"/>
                  <a:pt x="501" y="128"/>
                  <a:pt x="501" y="128"/>
                </a:cubicBezTo>
                <a:cubicBezTo>
                  <a:pt x="503" y="130"/>
                  <a:pt x="504" y="131"/>
                  <a:pt x="507" y="131"/>
                </a:cubicBezTo>
                <a:cubicBezTo>
                  <a:pt x="510" y="132"/>
                  <a:pt x="511" y="133"/>
                  <a:pt x="514" y="134"/>
                </a:cubicBezTo>
                <a:cubicBezTo>
                  <a:pt x="514" y="135"/>
                  <a:pt x="513" y="135"/>
                  <a:pt x="510" y="135"/>
                </a:cubicBezTo>
                <a:cubicBezTo>
                  <a:pt x="512" y="136"/>
                  <a:pt x="514" y="136"/>
                  <a:pt x="515" y="137"/>
                </a:cubicBezTo>
                <a:cubicBezTo>
                  <a:pt x="515" y="137"/>
                  <a:pt x="515" y="137"/>
                  <a:pt x="515" y="137"/>
                </a:cubicBezTo>
                <a:cubicBezTo>
                  <a:pt x="505" y="133"/>
                  <a:pt x="494" y="128"/>
                  <a:pt x="485" y="123"/>
                </a:cubicBezTo>
                <a:cubicBezTo>
                  <a:pt x="484" y="123"/>
                  <a:pt x="483" y="123"/>
                  <a:pt x="482" y="122"/>
                </a:cubicBezTo>
                <a:cubicBezTo>
                  <a:pt x="479" y="121"/>
                  <a:pt x="476" y="119"/>
                  <a:pt x="473" y="118"/>
                </a:cubicBezTo>
                <a:cubicBezTo>
                  <a:pt x="472" y="117"/>
                  <a:pt x="471" y="117"/>
                  <a:pt x="471" y="117"/>
                </a:cubicBezTo>
                <a:cubicBezTo>
                  <a:pt x="470" y="117"/>
                  <a:pt x="469" y="117"/>
                  <a:pt x="468" y="117"/>
                </a:cubicBezTo>
                <a:cubicBezTo>
                  <a:pt x="455" y="110"/>
                  <a:pt x="444" y="104"/>
                  <a:pt x="430" y="97"/>
                </a:cubicBezTo>
                <a:cubicBezTo>
                  <a:pt x="430" y="96"/>
                  <a:pt x="428" y="95"/>
                  <a:pt x="426" y="94"/>
                </a:cubicBezTo>
                <a:cubicBezTo>
                  <a:pt x="425" y="94"/>
                  <a:pt x="425" y="93"/>
                  <a:pt x="421" y="92"/>
                </a:cubicBezTo>
                <a:cubicBezTo>
                  <a:pt x="421" y="92"/>
                  <a:pt x="418" y="92"/>
                  <a:pt x="417" y="91"/>
                </a:cubicBezTo>
                <a:cubicBezTo>
                  <a:pt x="412" y="89"/>
                  <a:pt x="409" y="87"/>
                  <a:pt x="403" y="84"/>
                </a:cubicBezTo>
                <a:cubicBezTo>
                  <a:pt x="405" y="86"/>
                  <a:pt x="409" y="87"/>
                  <a:pt x="409" y="89"/>
                </a:cubicBezTo>
                <a:cubicBezTo>
                  <a:pt x="399" y="84"/>
                  <a:pt x="390" y="80"/>
                  <a:pt x="382" y="76"/>
                </a:cubicBezTo>
                <a:cubicBezTo>
                  <a:pt x="380" y="74"/>
                  <a:pt x="378" y="73"/>
                  <a:pt x="374" y="72"/>
                </a:cubicBezTo>
                <a:cubicBezTo>
                  <a:pt x="374" y="72"/>
                  <a:pt x="373" y="71"/>
                  <a:pt x="373" y="71"/>
                </a:cubicBezTo>
                <a:cubicBezTo>
                  <a:pt x="371" y="69"/>
                  <a:pt x="366" y="68"/>
                  <a:pt x="364" y="66"/>
                </a:cubicBezTo>
                <a:cubicBezTo>
                  <a:pt x="363" y="66"/>
                  <a:pt x="363" y="66"/>
                  <a:pt x="363" y="66"/>
                </a:cubicBezTo>
                <a:cubicBezTo>
                  <a:pt x="363" y="66"/>
                  <a:pt x="363" y="66"/>
                  <a:pt x="363" y="66"/>
                </a:cubicBezTo>
                <a:cubicBezTo>
                  <a:pt x="363" y="66"/>
                  <a:pt x="363" y="66"/>
                  <a:pt x="364" y="66"/>
                </a:cubicBezTo>
                <a:cubicBezTo>
                  <a:pt x="361" y="64"/>
                  <a:pt x="356" y="62"/>
                  <a:pt x="352" y="60"/>
                </a:cubicBezTo>
                <a:cubicBezTo>
                  <a:pt x="347" y="57"/>
                  <a:pt x="342" y="54"/>
                  <a:pt x="340" y="52"/>
                </a:cubicBezTo>
                <a:cubicBezTo>
                  <a:pt x="339" y="52"/>
                  <a:pt x="338" y="51"/>
                  <a:pt x="338" y="51"/>
                </a:cubicBezTo>
                <a:cubicBezTo>
                  <a:pt x="334" y="49"/>
                  <a:pt x="328" y="46"/>
                  <a:pt x="324" y="44"/>
                </a:cubicBezTo>
                <a:cubicBezTo>
                  <a:pt x="323" y="43"/>
                  <a:pt x="321" y="42"/>
                  <a:pt x="318" y="42"/>
                </a:cubicBezTo>
                <a:cubicBezTo>
                  <a:pt x="317" y="41"/>
                  <a:pt x="316" y="41"/>
                  <a:pt x="314" y="40"/>
                </a:cubicBezTo>
                <a:cubicBezTo>
                  <a:pt x="314" y="40"/>
                  <a:pt x="313" y="40"/>
                  <a:pt x="313" y="40"/>
                </a:cubicBezTo>
                <a:cubicBezTo>
                  <a:pt x="313" y="40"/>
                  <a:pt x="313" y="40"/>
                  <a:pt x="313" y="40"/>
                </a:cubicBezTo>
                <a:cubicBezTo>
                  <a:pt x="316" y="42"/>
                  <a:pt x="321" y="45"/>
                  <a:pt x="326" y="47"/>
                </a:cubicBezTo>
                <a:cubicBezTo>
                  <a:pt x="328" y="48"/>
                  <a:pt x="331" y="49"/>
                  <a:pt x="331" y="50"/>
                </a:cubicBezTo>
                <a:cubicBezTo>
                  <a:pt x="338" y="52"/>
                  <a:pt x="333" y="53"/>
                  <a:pt x="338" y="54"/>
                </a:cubicBezTo>
                <a:cubicBezTo>
                  <a:pt x="338" y="54"/>
                  <a:pt x="338" y="54"/>
                  <a:pt x="338" y="54"/>
                </a:cubicBezTo>
                <a:cubicBezTo>
                  <a:pt x="339" y="55"/>
                  <a:pt x="339" y="56"/>
                  <a:pt x="342" y="57"/>
                </a:cubicBezTo>
                <a:cubicBezTo>
                  <a:pt x="345" y="59"/>
                  <a:pt x="349" y="60"/>
                  <a:pt x="351" y="62"/>
                </a:cubicBezTo>
                <a:cubicBezTo>
                  <a:pt x="353" y="63"/>
                  <a:pt x="354" y="63"/>
                  <a:pt x="356" y="63"/>
                </a:cubicBezTo>
                <a:cubicBezTo>
                  <a:pt x="356" y="64"/>
                  <a:pt x="354" y="64"/>
                  <a:pt x="357" y="65"/>
                </a:cubicBezTo>
                <a:cubicBezTo>
                  <a:pt x="357" y="66"/>
                  <a:pt x="361" y="67"/>
                  <a:pt x="361" y="68"/>
                </a:cubicBezTo>
                <a:cubicBezTo>
                  <a:pt x="361" y="68"/>
                  <a:pt x="360" y="68"/>
                  <a:pt x="360" y="68"/>
                </a:cubicBezTo>
                <a:cubicBezTo>
                  <a:pt x="358" y="67"/>
                  <a:pt x="359" y="68"/>
                  <a:pt x="359" y="69"/>
                </a:cubicBezTo>
                <a:cubicBezTo>
                  <a:pt x="355" y="68"/>
                  <a:pt x="352" y="66"/>
                  <a:pt x="352" y="66"/>
                </a:cubicBezTo>
                <a:cubicBezTo>
                  <a:pt x="352" y="64"/>
                  <a:pt x="350" y="63"/>
                  <a:pt x="346" y="62"/>
                </a:cubicBezTo>
                <a:cubicBezTo>
                  <a:pt x="344" y="62"/>
                  <a:pt x="342" y="61"/>
                  <a:pt x="341" y="60"/>
                </a:cubicBezTo>
                <a:cubicBezTo>
                  <a:pt x="340" y="59"/>
                  <a:pt x="338" y="58"/>
                  <a:pt x="336" y="58"/>
                </a:cubicBezTo>
                <a:cubicBezTo>
                  <a:pt x="336" y="58"/>
                  <a:pt x="336" y="58"/>
                  <a:pt x="335" y="58"/>
                </a:cubicBezTo>
                <a:cubicBezTo>
                  <a:pt x="332" y="56"/>
                  <a:pt x="328" y="54"/>
                  <a:pt x="324" y="53"/>
                </a:cubicBezTo>
                <a:cubicBezTo>
                  <a:pt x="324" y="53"/>
                  <a:pt x="324" y="53"/>
                  <a:pt x="324" y="53"/>
                </a:cubicBezTo>
                <a:cubicBezTo>
                  <a:pt x="324" y="53"/>
                  <a:pt x="324" y="53"/>
                  <a:pt x="324" y="53"/>
                </a:cubicBezTo>
                <a:cubicBezTo>
                  <a:pt x="324" y="53"/>
                  <a:pt x="324" y="53"/>
                  <a:pt x="324" y="53"/>
                </a:cubicBezTo>
                <a:cubicBezTo>
                  <a:pt x="322" y="51"/>
                  <a:pt x="319" y="50"/>
                  <a:pt x="317" y="49"/>
                </a:cubicBezTo>
                <a:cubicBezTo>
                  <a:pt x="313" y="48"/>
                  <a:pt x="310" y="46"/>
                  <a:pt x="306" y="44"/>
                </a:cubicBezTo>
                <a:cubicBezTo>
                  <a:pt x="307" y="46"/>
                  <a:pt x="317" y="49"/>
                  <a:pt x="315" y="51"/>
                </a:cubicBezTo>
                <a:cubicBezTo>
                  <a:pt x="314" y="50"/>
                  <a:pt x="314" y="51"/>
                  <a:pt x="314" y="52"/>
                </a:cubicBezTo>
                <a:cubicBezTo>
                  <a:pt x="314" y="52"/>
                  <a:pt x="314" y="52"/>
                  <a:pt x="315" y="52"/>
                </a:cubicBezTo>
                <a:cubicBezTo>
                  <a:pt x="317" y="53"/>
                  <a:pt x="319" y="53"/>
                  <a:pt x="322" y="54"/>
                </a:cubicBezTo>
                <a:cubicBezTo>
                  <a:pt x="322" y="55"/>
                  <a:pt x="323" y="55"/>
                  <a:pt x="324" y="55"/>
                </a:cubicBezTo>
                <a:cubicBezTo>
                  <a:pt x="325" y="56"/>
                  <a:pt x="326" y="56"/>
                  <a:pt x="326" y="57"/>
                </a:cubicBezTo>
                <a:cubicBezTo>
                  <a:pt x="332" y="59"/>
                  <a:pt x="336" y="62"/>
                  <a:pt x="340" y="65"/>
                </a:cubicBezTo>
                <a:cubicBezTo>
                  <a:pt x="338" y="65"/>
                  <a:pt x="336" y="63"/>
                  <a:pt x="334" y="63"/>
                </a:cubicBezTo>
                <a:cubicBezTo>
                  <a:pt x="334" y="64"/>
                  <a:pt x="338" y="65"/>
                  <a:pt x="339" y="66"/>
                </a:cubicBezTo>
                <a:cubicBezTo>
                  <a:pt x="339" y="66"/>
                  <a:pt x="339" y="66"/>
                  <a:pt x="338" y="66"/>
                </a:cubicBezTo>
                <a:cubicBezTo>
                  <a:pt x="338" y="66"/>
                  <a:pt x="338" y="66"/>
                  <a:pt x="338" y="66"/>
                </a:cubicBezTo>
                <a:cubicBezTo>
                  <a:pt x="338" y="66"/>
                  <a:pt x="338" y="67"/>
                  <a:pt x="337" y="66"/>
                </a:cubicBezTo>
                <a:cubicBezTo>
                  <a:pt x="334" y="65"/>
                  <a:pt x="333" y="65"/>
                  <a:pt x="332" y="65"/>
                </a:cubicBezTo>
                <a:cubicBezTo>
                  <a:pt x="331" y="65"/>
                  <a:pt x="333" y="66"/>
                  <a:pt x="334" y="67"/>
                </a:cubicBezTo>
                <a:cubicBezTo>
                  <a:pt x="337" y="68"/>
                  <a:pt x="340" y="69"/>
                  <a:pt x="341" y="70"/>
                </a:cubicBezTo>
                <a:cubicBezTo>
                  <a:pt x="343" y="72"/>
                  <a:pt x="345" y="72"/>
                  <a:pt x="347" y="72"/>
                </a:cubicBezTo>
                <a:cubicBezTo>
                  <a:pt x="349" y="73"/>
                  <a:pt x="351" y="74"/>
                  <a:pt x="355" y="76"/>
                </a:cubicBezTo>
                <a:cubicBezTo>
                  <a:pt x="353" y="74"/>
                  <a:pt x="351" y="73"/>
                  <a:pt x="347" y="72"/>
                </a:cubicBezTo>
                <a:cubicBezTo>
                  <a:pt x="345" y="71"/>
                  <a:pt x="343" y="70"/>
                  <a:pt x="341" y="68"/>
                </a:cubicBezTo>
                <a:cubicBezTo>
                  <a:pt x="339" y="68"/>
                  <a:pt x="339" y="67"/>
                  <a:pt x="341" y="67"/>
                </a:cubicBezTo>
                <a:cubicBezTo>
                  <a:pt x="343" y="68"/>
                  <a:pt x="346" y="69"/>
                  <a:pt x="347" y="68"/>
                </a:cubicBezTo>
                <a:cubicBezTo>
                  <a:pt x="347" y="69"/>
                  <a:pt x="348" y="69"/>
                  <a:pt x="349" y="69"/>
                </a:cubicBezTo>
                <a:cubicBezTo>
                  <a:pt x="349" y="70"/>
                  <a:pt x="351" y="71"/>
                  <a:pt x="353" y="72"/>
                </a:cubicBezTo>
                <a:cubicBezTo>
                  <a:pt x="359" y="75"/>
                  <a:pt x="364" y="78"/>
                  <a:pt x="370" y="81"/>
                </a:cubicBezTo>
                <a:cubicBezTo>
                  <a:pt x="373" y="83"/>
                  <a:pt x="375" y="84"/>
                  <a:pt x="380" y="86"/>
                </a:cubicBezTo>
                <a:cubicBezTo>
                  <a:pt x="382" y="88"/>
                  <a:pt x="388" y="90"/>
                  <a:pt x="390" y="92"/>
                </a:cubicBezTo>
                <a:cubicBezTo>
                  <a:pt x="391" y="93"/>
                  <a:pt x="393" y="94"/>
                  <a:pt x="394" y="95"/>
                </a:cubicBezTo>
                <a:cubicBezTo>
                  <a:pt x="395" y="96"/>
                  <a:pt x="396" y="96"/>
                  <a:pt x="396" y="97"/>
                </a:cubicBezTo>
                <a:cubicBezTo>
                  <a:pt x="397" y="97"/>
                  <a:pt x="397" y="98"/>
                  <a:pt x="398" y="98"/>
                </a:cubicBezTo>
                <a:cubicBezTo>
                  <a:pt x="396" y="97"/>
                  <a:pt x="394" y="96"/>
                  <a:pt x="392" y="95"/>
                </a:cubicBezTo>
                <a:cubicBezTo>
                  <a:pt x="390" y="95"/>
                  <a:pt x="390" y="94"/>
                  <a:pt x="388" y="94"/>
                </a:cubicBezTo>
                <a:cubicBezTo>
                  <a:pt x="387" y="93"/>
                  <a:pt x="385" y="92"/>
                  <a:pt x="384" y="92"/>
                </a:cubicBezTo>
                <a:cubicBezTo>
                  <a:pt x="384" y="92"/>
                  <a:pt x="384" y="93"/>
                  <a:pt x="383" y="93"/>
                </a:cubicBezTo>
                <a:cubicBezTo>
                  <a:pt x="380" y="91"/>
                  <a:pt x="378" y="90"/>
                  <a:pt x="374" y="88"/>
                </a:cubicBezTo>
                <a:cubicBezTo>
                  <a:pt x="372" y="87"/>
                  <a:pt x="370" y="87"/>
                  <a:pt x="369" y="86"/>
                </a:cubicBezTo>
                <a:cubicBezTo>
                  <a:pt x="369" y="86"/>
                  <a:pt x="370" y="85"/>
                  <a:pt x="369" y="85"/>
                </a:cubicBezTo>
                <a:cubicBezTo>
                  <a:pt x="367" y="84"/>
                  <a:pt x="367" y="85"/>
                  <a:pt x="367" y="85"/>
                </a:cubicBezTo>
                <a:cubicBezTo>
                  <a:pt x="365" y="84"/>
                  <a:pt x="364" y="83"/>
                  <a:pt x="362" y="83"/>
                </a:cubicBezTo>
                <a:cubicBezTo>
                  <a:pt x="362" y="83"/>
                  <a:pt x="362" y="83"/>
                  <a:pt x="362" y="83"/>
                </a:cubicBezTo>
                <a:cubicBezTo>
                  <a:pt x="356" y="78"/>
                  <a:pt x="346" y="74"/>
                  <a:pt x="338" y="70"/>
                </a:cubicBezTo>
                <a:cubicBezTo>
                  <a:pt x="334" y="67"/>
                  <a:pt x="330" y="65"/>
                  <a:pt x="326" y="63"/>
                </a:cubicBezTo>
                <a:cubicBezTo>
                  <a:pt x="324" y="61"/>
                  <a:pt x="321" y="60"/>
                  <a:pt x="318" y="59"/>
                </a:cubicBezTo>
                <a:cubicBezTo>
                  <a:pt x="317" y="58"/>
                  <a:pt x="317" y="57"/>
                  <a:pt x="314" y="57"/>
                </a:cubicBezTo>
                <a:cubicBezTo>
                  <a:pt x="309" y="56"/>
                  <a:pt x="312" y="57"/>
                  <a:pt x="312" y="58"/>
                </a:cubicBezTo>
                <a:cubicBezTo>
                  <a:pt x="311" y="57"/>
                  <a:pt x="310" y="57"/>
                  <a:pt x="308" y="56"/>
                </a:cubicBezTo>
                <a:cubicBezTo>
                  <a:pt x="310" y="58"/>
                  <a:pt x="313" y="60"/>
                  <a:pt x="316" y="61"/>
                </a:cubicBezTo>
                <a:cubicBezTo>
                  <a:pt x="315" y="61"/>
                  <a:pt x="314" y="62"/>
                  <a:pt x="316" y="62"/>
                </a:cubicBezTo>
                <a:cubicBezTo>
                  <a:pt x="319" y="64"/>
                  <a:pt x="321" y="65"/>
                  <a:pt x="325" y="66"/>
                </a:cubicBezTo>
                <a:cubicBezTo>
                  <a:pt x="325" y="66"/>
                  <a:pt x="325" y="66"/>
                  <a:pt x="325" y="67"/>
                </a:cubicBezTo>
                <a:cubicBezTo>
                  <a:pt x="325" y="67"/>
                  <a:pt x="325" y="67"/>
                  <a:pt x="325" y="67"/>
                </a:cubicBezTo>
                <a:cubicBezTo>
                  <a:pt x="325" y="67"/>
                  <a:pt x="325" y="66"/>
                  <a:pt x="325" y="66"/>
                </a:cubicBezTo>
                <a:cubicBezTo>
                  <a:pt x="325" y="67"/>
                  <a:pt x="322" y="67"/>
                  <a:pt x="327" y="68"/>
                </a:cubicBezTo>
                <a:cubicBezTo>
                  <a:pt x="328" y="69"/>
                  <a:pt x="330" y="70"/>
                  <a:pt x="328" y="70"/>
                </a:cubicBezTo>
                <a:cubicBezTo>
                  <a:pt x="328" y="70"/>
                  <a:pt x="328" y="70"/>
                  <a:pt x="328" y="70"/>
                </a:cubicBezTo>
                <a:cubicBezTo>
                  <a:pt x="328" y="70"/>
                  <a:pt x="328" y="70"/>
                  <a:pt x="328" y="70"/>
                </a:cubicBezTo>
                <a:cubicBezTo>
                  <a:pt x="328" y="70"/>
                  <a:pt x="328" y="70"/>
                  <a:pt x="328" y="70"/>
                </a:cubicBezTo>
                <a:cubicBezTo>
                  <a:pt x="323" y="67"/>
                  <a:pt x="319" y="65"/>
                  <a:pt x="312" y="62"/>
                </a:cubicBezTo>
                <a:cubicBezTo>
                  <a:pt x="311" y="62"/>
                  <a:pt x="310" y="61"/>
                  <a:pt x="309" y="60"/>
                </a:cubicBezTo>
                <a:cubicBezTo>
                  <a:pt x="306" y="60"/>
                  <a:pt x="310" y="62"/>
                  <a:pt x="310" y="62"/>
                </a:cubicBezTo>
                <a:cubicBezTo>
                  <a:pt x="309" y="62"/>
                  <a:pt x="308" y="62"/>
                  <a:pt x="307" y="62"/>
                </a:cubicBezTo>
                <a:cubicBezTo>
                  <a:pt x="303" y="61"/>
                  <a:pt x="301" y="59"/>
                  <a:pt x="298" y="58"/>
                </a:cubicBezTo>
                <a:cubicBezTo>
                  <a:pt x="296" y="57"/>
                  <a:pt x="294" y="55"/>
                  <a:pt x="292" y="55"/>
                </a:cubicBezTo>
                <a:cubicBezTo>
                  <a:pt x="289" y="55"/>
                  <a:pt x="295" y="57"/>
                  <a:pt x="296" y="58"/>
                </a:cubicBezTo>
                <a:cubicBezTo>
                  <a:pt x="296" y="58"/>
                  <a:pt x="296" y="58"/>
                  <a:pt x="296" y="58"/>
                </a:cubicBezTo>
                <a:cubicBezTo>
                  <a:pt x="296" y="58"/>
                  <a:pt x="296" y="58"/>
                  <a:pt x="296" y="58"/>
                </a:cubicBezTo>
                <a:cubicBezTo>
                  <a:pt x="295" y="58"/>
                  <a:pt x="295" y="58"/>
                  <a:pt x="294" y="58"/>
                </a:cubicBezTo>
                <a:cubicBezTo>
                  <a:pt x="297" y="60"/>
                  <a:pt x="302" y="61"/>
                  <a:pt x="304" y="63"/>
                </a:cubicBezTo>
                <a:cubicBezTo>
                  <a:pt x="305" y="63"/>
                  <a:pt x="305" y="64"/>
                  <a:pt x="306" y="64"/>
                </a:cubicBezTo>
                <a:cubicBezTo>
                  <a:pt x="306" y="64"/>
                  <a:pt x="305" y="64"/>
                  <a:pt x="304" y="64"/>
                </a:cubicBezTo>
                <a:cubicBezTo>
                  <a:pt x="304" y="65"/>
                  <a:pt x="304" y="65"/>
                  <a:pt x="305" y="66"/>
                </a:cubicBezTo>
                <a:cubicBezTo>
                  <a:pt x="311" y="69"/>
                  <a:pt x="311" y="69"/>
                  <a:pt x="305" y="69"/>
                </a:cubicBezTo>
                <a:cubicBezTo>
                  <a:pt x="305" y="69"/>
                  <a:pt x="305" y="69"/>
                  <a:pt x="305" y="69"/>
                </a:cubicBezTo>
                <a:cubicBezTo>
                  <a:pt x="305" y="69"/>
                  <a:pt x="305" y="69"/>
                  <a:pt x="305" y="69"/>
                </a:cubicBezTo>
                <a:cubicBezTo>
                  <a:pt x="305" y="69"/>
                  <a:pt x="305" y="69"/>
                  <a:pt x="305" y="69"/>
                </a:cubicBezTo>
                <a:cubicBezTo>
                  <a:pt x="303" y="69"/>
                  <a:pt x="303" y="67"/>
                  <a:pt x="300" y="67"/>
                </a:cubicBezTo>
                <a:cubicBezTo>
                  <a:pt x="298" y="68"/>
                  <a:pt x="301" y="69"/>
                  <a:pt x="302" y="69"/>
                </a:cubicBezTo>
                <a:cubicBezTo>
                  <a:pt x="303" y="70"/>
                  <a:pt x="303" y="71"/>
                  <a:pt x="301" y="70"/>
                </a:cubicBezTo>
                <a:cubicBezTo>
                  <a:pt x="295" y="68"/>
                  <a:pt x="289" y="67"/>
                  <a:pt x="284" y="64"/>
                </a:cubicBezTo>
                <a:cubicBezTo>
                  <a:pt x="284" y="64"/>
                  <a:pt x="283" y="63"/>
                  <a:pt x="284" y="63"/>
                </a:cubicBezTo>
                <a:cubicBezTo>
                  <a:pt x="284" y="63"/>
                  <a:pt x="286" y="64"/>
                  <a:pt x="287" y="64"/>
                </a:cubicBezTo>
                <a:cubicBezTo>
                  <a:pt x="282" y="61"/>
                  <a:pt x="272" y="58"/>
                  <a:pt x="267" y="55"/>
                </a:cubicBezTo>
                <a:cubicBezTo>
                  <a:pt x="265" y="54"/>
                  <a:pt x="262" y="52"/>
                  <a:pt x="258" y="50"/>
                </a:cubicBezTo>
                <a:cubicBezTo>
                  <a:pt x="257" y="50"/>
                  <a:pt x="256" y="49"/>
                  <a:pt x="254" y="49"/>
                </a:cubicBezTo>
                <a:cubicBezTo>
                  <a:pt x="252" y="49"/>
                  <a:pt x="253" y="50"/>
                  <a:pt x="255" y="50"/>
                </a:cubicBezTo>
                <a:cubicBezTo>
                  <a:pt x="259" y="52"/>
                  <a:pt x="255" y="52"/>
                  <a:pt x="255" y="52"/>
                </a:cubicBezTo>
                <a:cubicBezTo>
                  <a:pt x="254" y="52"/>
                  <a:pt x="253" y="52"/>
                  <a:pt x="253" y="52"/>
                </a:cubicBezTo>
                <a:cubicBezTo>
                  <a:pt x="255" y="53"/>
                  <a:pt x="255" y="54"/>
                  <a:pt x="260" y="55"/>
                </a:cubicBezTo>
                <a:cubicBezTo>
                  <a:pt x="261" y="54"/>
                  <a:pt x="259" y="53"/>
                  <a:pt x="259" y="53"/>
                </a:cubicBezTo>
                <a:cubicBezTo>
                  <a:pt x="262" y="54"/>
                  <a:pt x="262" y="55"/>
                  <a:pt x="264" y="55"/>
                </a:cubicBezTo>
                <a:cubicBezTo>
                  <a:pt x="269" y="57"/>
                  <a:pt x="269" y="59"/>
                  <a:pt x="274" y="61"/>
                </a:cubicBezTo>
                <a:cubicBezTo>
                  <a:pt x="276" y="62"/>
                  <a:pt x="278" y="63"/>
                  <a:pt x="280" y="64"/>
                </a:cubicBezTo>
                <a:cubicBezTo>
                  <a:pt x="280" y="64"/>
                  <a:pt x="279" y="65"/>
                  <a:pt x="280" y="66"/>
                </a:cubicBezTo>
                <a:cubicBezTo>
                  <a:pt x="282" y="67"/>
                  <a:pt x="284" y="68"/>
                  <a:pt x="286" y="69"/>
                </a:cubicBezTo>
                <a:cubicBezTo>
                  <a:pt x="286" y="69"/>
                  <a:pt x="287" y="69"/>
                  <a:pt x="287" y="69"/>
                </a:cubicBezTo>
                <a:cubicBezTo>
                  <a:pt x="285" y="68"/>
                  <a:pt x="283" y="67"/>
                  <a:pt x="281" y="66"/>
                </a:cubicBezTo>
                <a:cubicBezTo>
                  <a:pt x="286" y="66"/>
                  <a:pt x="287" y="68"/>
                  <a:pt x="290" y="69"/>
                </a:cubicBezTo>
                <a:cubicBezTo>
                  <a:pt x="291" y="71"/>
                  <a:pt x="297" y="73"/>
                  <a:pt x="300" y="74"/>
                </a:cubicBezTo>
                <a:cubicBezTo>
                  <a:pt x="300" y="75"/>
                  <a:pt x="301" y="75"/>
                  <a:pt x="302" y="75"/>
                </a:cubicBezTo>
                <a:cubicBezTo>
                  <a:pt x="302" y="75"/>
                  <a:pt x="302" y="75"/>
                  <a:pt x="302" y="75"/>
                </a:cubicBezTo>
                <a:cubicBezTo>
                  <a:pt x="302" y="75"/>
                  <a:pt x="302" y="75"/>
                  <a:pt x="302" y="75"/>
                </a:cubicBezTo>
                <a:cubicBezTo>
                  <a:pt x="302" y="75"/>
                  <a:pt x="302" y="75"/>
                  <a:pt x="302" y="75"/>
                </a:cubicBezTo>
                <a:cubicBezTo>
                  <a:pt x="306" y="77"/>
                  <a:pt x="308" y="79"/>
                  <a:pt x="313" y="80"/>
                </a:cubicBezTo>
                <a:cubicBezTo>
                  <a:pt x="313" y="80"/>
                  <a:pt x="313" y="80"/>
                  <a:pt x="313" y="80"/>
                </a:cubicBezTo>
                <a:cubicBezTo>
                  <a:pt x="313" y="80"/>
                  <a:pt x="313" y="80"/>
                  <a:pt x="313" y="80"/>
                </a:cubicBezTo>
                <a:cubicBezTo>
                  <a:pt x="314" y="81"/>
                  <a:pt x="316" y="82"/>
                  <a:pt x="318" y="83"/>
                </a:cubicBezTo>
                <a:cubicBezTo>
                  <a:pt x="319" y="84"/>
                  <a:pt x="322" y="85"/>
                  <a:pt x="325" y="86"/>
                </a:cubicBezTo>
                <a:cubicBezTo>
                  <a:pt x="327" y="87"/>
                  <a:pt x="328" y="88"/>
                  <a:pt x="330" y="89"/>
                </a:cubicBezTo>
                <a:cubicBezTo>
                  <a:pt x="330" y="89"/>
                  <a:pt x="330" y="90"/>
                  <a:pt x="330" y="90"/>
                </a:cubicBezTo>
                <a:cubicBezTo>
                  <a:pt x="332" y="91"/>
                  <a:pt x="335" y="92"/>
                  <a:pt x="334" y="93"/>
                </a:cubicBezTo>
                <a:cubicBezTo>
                  <a:pt x="328" y="90"/>
                  <a:pt x="324" y="88"/>
                  <a:pt x="317" y="85"/>
                </a:cubicBezTo>
                <a:cubicBezTo>
                  <a:pt x="306" y="80"/>
                  <a:pt x="296" y="74"/>
                  <a:pt x="285" y="69"/>
                </a:cubicBezTo>
                <a:cubicBezTo>
                  <a:pt x="284" y="68"/>
                  <a:pt x="282" y="68"/>
                  <a:pt x="281" y="67"/>
                </a:cubicBezTo>
                <a:cubicBezTo>
                  <a:pt x="280" y="67"/>
                  <a:pt x="280" y="67"/>
                  <a:pt x="279" y="66"/>
                </a:cubicBezTo>
                <a:cubicBezTo>
                  <a:pt x="273" y="64"/>
                  <a:pt x="268" y="61"/>
                  <a:pt x="262" y="58"/>
                </a:cubicBezTo>
                <a:cubicBezTo>
                  <a:pt x="256" y="55"/>
                  <a:pt x="249" y="52"/>
                  <a:pt x="245" y="49"/>
                </a:cubicBezTo>
                <a:cubicBezTo>
                  <a:pt x="244" y="48"/>
                  <a:pt x="241" y="47"/>
                  <a:pt x="239" y="45"/>
                </a:cubicBezTo>
                <a:cubicBezTo>
                  <a:pt x="240" y="46"/>
                  <a:pt x="241" y="46"/>
                  <a:pt x="242" y="46"/>
                </a:cubicBezTo>
                <a:cubicBezTo>
                  <a:pt x="242" y="45"/>
                  <a:pt x="240" y="45"/>
                  <a:pt x="238" y="44"/>
                </a:cubicBezTo>
                <a:cubicBezTo>
                  <a:pt x="237" y="44"/>
                  <a:pt x="238" y="45"/>
                  <a:pt x="238" y="45"/>
                </a:cubicBezTo>
                <a:cubicBezTo>
                  <a:pt x="237" y="45"/>
                  <a:pt x="236" y="44"/>
                  <a:pt x="233" y="44"/>
                </a:cubicBezTo>
                <a:cubicBezTo>
                  <a:pt x="238" y="46"/>
                  <a:pt x="239" y="47"/>
                  <a:pt x="243" y="49"/>
                </a:cubicBezTo>
                <a:cubicBezTo>
                  <a:pt x="245" y="50"/>
                  <a:pt x="246" y="51"/>
                  <a:pt x="248" y="52"/>
                </a:cubicBezTo>
                <a:cubicBezTo>
                  <a:pt x="252" y="55"/>
                  <a:pt x="258" y="58"/>
                  <a:pt x="262" y="60"/>
                </a:cubicBezTo>
                <a:cubicBezTo>
                  <a:pt x="261" y="60"/>
                  <a:pt x="262" y="61"/>
                  <a:pt x="262" y="61"/>
                </a:cubicBezTo>
                <a:cubicBezTo>
                  <a:pt x="263" y="62"/>
                  <a:pt x="263" y="63"/>
                  <a:pt x="262" y="63"/>
                </a:cubicBezTo>
                <a:cubicBezTo>
                  <a:pt x="260" y="63"/>
                  <a:pt x="258" y="62"/>
                  <a:pt x="257" y="61"/>
                </a:cubicBezTo>
                <a:cubicBezTo>
                  <a:pt x="254" y="60"/>
                  <a:pt x="250" y="59"/>
                  <a:pt x="246" y="57"/>
                </a:cubicBezTo>
                <a:cubicBezTo>
                  <a:pt x="242" y="56"/>
                  <a:pt x="240" y="56"/>
                  <a:pt x="238" y="57"/>
                </a:cubicBezTo>
                <a:cubicBezTo>
                  <a:pt x="238" y="57"/>
                  <a:pt x="236" y="57"/>
                  <a:pt x="235" y="56"/>
                </a:cubicBezTo>
                <a:cubicBezTo>
                  <a:pt x="234" y="55"/>
                  <a:pt x="234" y="55"/>
                  <a:pt x="236" y="55"/>
                </a:cubicBezTo>
                <a:cubicBezTo>
                  <a:pt x="239" y="56"/>
                  <a:pt x="238" y="54"/>
                  <a:pt x="240" y="54"/>
                </a:cubicBezTo>
                <a:cubicBezTo>
                  <a:pt x="236" y="53"/>
                  <a:pt x="232" y="52"/>
                  <a:pt x="228" y="50"/>
                </a:cubicBezTo>
                <a:cubicBezTo>
                  <a:pt x="229" y="52"/>
                  <a:pt x="230" y="52"/>
                  <a:pt x="230" y="53"/>
                </a:cubicBezTo>
                <a:cubicBezTo>
                  <a:pt x="228" y="53"/>
                  <a:pt x="223" y="51"/>
                  <a:pt x="224" y="53"/>
                </a:cubicBezTo>
                <a:cubicBezTo>
                  <a:pt x="225" y="55"/>
                  <a:pt x="225" y="55"/>
                  <a:pt x="221" y="55"/>
                </a:cubicBezTo>
                <a:cubicBezTo>
                  <a:pt x="225" y="57"/>
                  <a:pt x="228" y="58"/>
                  <a:pt x="232" y="59"/>
                </a:cubicBezTo>
                <a:cubicBezTo>
                  <a:pt x="232" y="59"/>
                  <a:pt x="233" y="59"/>
                  <a:pt x="233" y="59"/>
                </a:cubicBezTo>
                <a:cubicBezTo>
                  <a:pt x="233" y="59"/>
                  <a:pt x="233" y="60"/>
                  <a:pt x="232" y="60"/>
                </a:cubicBezTo>
                <a:cubicBezTo>
                  <a:pt x="230" y="60"/>
                  <a:pt x="232" y="60"/>
                  <a:pt x="233" y="61"/>
                </a:cubicBezTo>
                <a:cubicBezTo>
                  <a:pt x="234" y="61"/>
                  <a:pt x="234" y="61"/>
                  <a:pt x="234" y="61"/>
                </a:cubicBezTo>
                <a:cubicBezTo>
                  <a:pt x="234" y="61"/>
                  <a:pt x="234" y="62"/>
                  <a:pt x="236" y="62"/>
                </a:cubicBezTo>
                <a:cubicBezTo>
                  <a:pt x="238" y="63"/>
                  <a:pt x="238" y="64"/>
                  <a:pt x="236" y="64"/>
                </a:cubicBezTo>
                <a:cubicBezTo>
                  <a:pt x="235" y="64"/>
                  <a:pt x="238" y="65"/>
                  <a:pt x="238" y="65"/>
                </a:cubicBezTo>
                <a:cubicBezTo>
                  <a:pt x="236" y="65"/>
                  <a:pt x="235" y="64"/>
                  <a:pt x="234" y="63"/>
                </a:cubicBezTo>
                <a:cubicBezTo>
                  <a:pt x="232" y="62"/>
                  <a:pt x="228" y="60"/>
                  <a:pt x="225" y="58"/>
                </a:cubicBezTo>
                <a:cubicBezTo>
                  <a:pt x="224" y="58"/>
                  <a:pt x="222" y="57"/>
                  <a:pt x="220" y="56"/>
                </a:cubicBezTo>
                <a:cubicBezTo>
                  <a:pt x="219" y="55"/>
                  <a:pt x="218" y="55"/>
                  <a:pt x="217" y="54"/>
                </a:cubicBezTo>
                <a:cubicBezTo>
                  <a:pt x="216" y="54"/>
                  <a:pt x="215" y="53"/>
                  <a:pt x="215" y="53"/>
                </a:cubicBezTo>
                <a:cubicBezTo>
                  <a:pt x="215" y="53"/>
                  <a:pt x="214" y="52"/>
                  <a:pt x="213" y="52"/>
                </a:cubicBezTo>
                <a:cubicBezTo>
                  <a:pt x="212" y="53"/>
                  <a:pt x="211" y="52"/>
                  <a:pt x="210" y="52"/>
                </a:cubicBezTo>
                <a:cubicBezTo>
                  <a:pt x="210" y="52"/>
                  <a:pt x="211" y="52"/>
                  <a:pt x="212" y="53"/>
                </a:cubicBezTo>
                <a:cubicBezTo>
                  <a:pt x="213" y="53"/>
                  <a:pt x="214" y="54"/>
                  <a:pt x="216" y="54"/>
                </a:cubicBezTo>
                <a:cubicBezTo>
                  <a:pt x="221" y="57"/>
                  <a:pt x="225" y="60"/>
                  <a:pt x="233" y="63"/>
                </a:cubicBezTo>
                <a:cubicBezTo>
                  <a:pt x="237" y="67"/>
                  <a:pt x="244" y="70"/>
                  <a:pt x="250" y="73"/>
                </a:cubicBezTo>
                <a:cubicBezTo>
                  <a:pt x="253" y="74"/>
                  <a:pt x="255" y="76"/>
                  <a:pt x="258" y="77"/>
                </a:cubicBezTo>
                <a:cubicBezTo>
                  <a:pt x="259" y="79"/>
                  <a:pt x="263" y="80"/>
                  <a:pt x="266" y="82"/>
                </a:cubicBezTo>
                <a:cubicBezTo>
                  <a:pt x="262" y="81"/>
                  <a:pt x="258" y="81"/>
                  <a:pt x="253" y="79"/>
                </a:cubicBezTo>
                <a:cubicBezTo>
                  <a:pt x="248" y="77"/>
                  <a:pt x="243" y="75"/>
                  <a:pt x="239" y="73"/>
                </a:cubicBezTo>
                <a:cubicBezTo>
                  <a:pt x="233" y="69"/>
                  <a:pt x="228" y="66"/>
                  <a:pt x="220" y="63"/>
                </a:cubicBezTo>
                <a:cubicBezTo>
                  <a:pt x="217" y="61"/>
                  <a:pt x="212" y="60"/>
                  <a:pt x="208" y="59"/>
                </a:cubicBezTo>
                <a:cubicBezTo>
                  <a:pt x="207" y="60"/>
                  <a:pt x="211" y="62"/>
                  <a:pt x="214" y="63"/>
                </a:cubicBezTo>
                <a:cubicBezTo>
                  <a:pt x="216" y="63"/>
                  <a:pt x="219" y="64"/>
                  <a:pt x="219" y="65"/>
                </a:cubicBezTo>
                <a:cubicBezTo>
                  <a:pt x="219" y="65"/>
                  <a:pt x="217" y="65"/>
                  <a:pt x="215" y="65"/>
                </a:cubicBezTo>
                <a:cubicBezTo>
                  <a:pt x="214" y="65"/>
                  <a:pt x="212" y="64"/>
                  <a:pt x="211" y="65"/>
                </a:cubicBezTo>
                <a:cubicBezTo>
                  <a:pt x="211" y="64"/>
                  <a:pt x="210" y="64"/>
                  <a:pt x="209" y="63"/>
                </a:cubicBezTo>
                <a:cubicBezTo>
                  <a:pt x="209" y="63"/>
                  <a:pt x="209" y="63"/>
                  <a:pt x="209" y="62"/>
                </a:cubicBezTo>
                <a:cubicBezTo>
                  <a:pt x="209" y="62"/>
                  <a:pt x="209" y="62"/>
                  <a:pt x="209" y="62"/>
                </a:cubicBezTo>
                <a:cubicBezTo>
                  <a:pt x="210" y="63"/>
                  <a:pt x="212" y="64"/>
                  <a:pt x="212" y="63"/>
                </a:cubicBezTo>
                <a:cubicBezTo>
                  <a:pt x="212" y="63"/>
                  <a:pt x="212" y="62"/>
                  <a:pt x="208" y="61"/>
                </a:cubicBezTo>
                <a:cubicBezTo>
                  <a:pt x="208" y="61"/>
                  <a:pt x="207" y="61"/>
                  <a:pt x="207" y="61"/>
                </a:cubicBezTo>
                <a:cubicBezTo>
                  <a:pt x="205" y="60"/>
                  <a:pt x="203" y="59"/>
                  <a:pt x="201" y="58"/>
                </a:cubicBezTo>
                <a:cubicBezTo>
                  <a:pt x="201" y="58"/>
                  <a:pt x="200" y="58"/>
                  <a:pt x="200" y="58"/>
                </a:cubicBezTo>
                <a:cubicBezTo>
                  <a:pt x="202" y="59"/>
                  <a:pt x="204" y="60"/>
                  <a:pt x="206" y="61"/>
                </a:cubicBezTo>
                <a:cubicBezTo>
                  <a:pt x="207" y="62"/>
                  <a:pt x="207" y="62"/>
                  <a:pt x="205" y="62"/>
                </a:cubicBezTo>
                <a:cubicBezTo>
                  <a:pt x="203" y="62"/>
                  <a:pt x="202" y="62"/>
                  <a:pt x="201" y="62"/>
                </a:cubicBezTo>
                <a:cubicBezTo>
                  <a:pt x="200" y="61"/>
                  <a:pt x="199" y="60"/>
                  <a:pt x="195" y="59"/>
                </a:cubicBezTo>
                <a:cubicBezTo>
                  <a:pt x="196" y="60"/>
                  <a:pt x="197" y="61"/>
                  <a:pt x="198" y="62"/>
                </a:cubicBezTo>
                <a:cubicBezTo>
                  <a:pt x="199" y="64"/>
                  <a:pt x="203" y="65"/>
                  <a:pt x="207" y="67"/>
                </a:cubicBezTo>
                <a:cubicBezTo>
                  <a:pt x="208" y="68"/>
                  <a:pt x="209" y="68"/>
                  <a:pt x="211" y="69"/>
                </a:cubicBezTo>
                <a:cubicBezTo>
                  <a:pt x="211" y="69"/>
                  <a:pt x="211" y="69"/>
                  <a:pt x="212" y="70"/>
                </a:cubicBezTo>
                <a:cubicBezTo>
                  <a:pt x="212" y="70"/>
                  <a:pt x="213" y="71"/>
                  <a:pt x="215" y="71"/>
                </a:cubicBezTo>
                <a:cubicBezTo>
                  <a:pt x="216" y="72"/>
                  <a:pt x="217" y="72"/>
                  <a:pt x="217" y="72"/>
                </a:cubicBezTo>
                <a:cubicBezTo>
                  <a:pt x="215" y="73"/>
                  <a:pt x="219" y="74"/>
                  <a:pt x="218" y="75"/>
                </a:cubicBezTo>
                <a:cubicBezTo>
                  <a:pt x="217" y="74"/>
                  <a:pt x="213" y="73"/>
                  <a:pt x="213" y="74"/>
                </a:cubicBezTo>
                <a:cubicBezTo>
                  <a:pt x="212" y="74"/>
                  <a:pt x="214" y="75"/>
                  <a:pt x="216" y="76"/>
                </a:cubicBezTo>
                <a:cubicBezTo>
                  <a:pt x="218" y="77"/>
                  <a:pt x="219" y="77"/>
                  <a:pt x="220" y="78"/>
                </a:cubicBezTo>
                <a:cubicBezTo>
                  <a:pt x="221" y="80"/>
                  <a:pt x="224" y="82"/>
                  <a:pt x="231" y="83"/>
                </a:cubicBezTo>
                <a:cubicBezTo>
                  <a:pt x="232" y="85"/>
                  <a:pt x="238" y="87"/>
                  <a:pt x="241" y="88"/>
                </a:cubicBezTo>
                <a:cubicBezTo>
                  <a:pt x="246" y="91"/>
                  <a:pt x="252" y="94"/>
                  <a:pt x="258" y="97"/>
                </a:cubicBezTo>
                <a:cubicBezTo>
                  <a:pt x="259" y="98"/>
                  <a:pt x="261" y="99"/>
                  <a:pt x="266" y="101"/>
                </a:cubicBezTo>
                <a:cubicBezTo>
                  <a:pt x="264" y="99"/>
                  <a:pt x="261" y="98"/>
                  <a:pt x="259" y="97"/>
                </a:cubicBezTo>
                <a:cubicBezTo>
                  <a:pt x="257" y="96"/>
                  <a:pt x="256" y="95"/>
                  <a:pt x="254" y="94"/>
                </a:cubicBezTo>
                <a:cubicBezTo>
                  <a:pt x="260" y="96"/>
                  <a:pt x="261" y="98"/>
                  <a:pt x="265" y="99"/>
                </a:cubicBezTo>
                <a:cubicBezTo>
                  <a:pt x="267" y="100"/>
                  <a:pt x="269" y="101"/>
                  <a:pt x="270" y="101"/>
                </a:cubicBezTo>
                <a:cubicBezTo>
                  <a:pt x="270" y="101"/>
                  <a:pt x="270" y="101"/>
                  <a:pt x="270" y="101"/>
                </a:cubicBezTo>
                <a:cubicBezTo>
                  <a:pt x="270" y="102"/>
                  <a:pt x="270" y="102"/>
                  <a:pt x="272" y="103"/>
                </a:cubicBezTo>
                <a:cubicBezTo>
                  <a:pt x="274" y="104"/>
                  <a:pt x="274" y="103"/>
                  <a:pt x="274" y="103"/>
                </a:cubicBezTo>
                <a:cubicBezTo>
                  <a:pt x="277" y="104"/>
                  <a:pt x="280" y="105"/>
                  <a:pt x="282" y="107"/>
                </a:cubicBezTo>
                <a:cubicBezTo>
                  <a:pt x="282" y="107"/>
                  <a:pt x="281" y="107"/>
                  <a:pt x="280" y="106"/>
                </a:cubicBezTo>
                <a:cubicBezTo>
                  <a:pt x="279" y="106"/>
                  <a:pt x="278" y="105"/>
                  <a:pt x="277" y="106"/>
                </a:cubicBezTo>
                <a:cubicBezTo>
                  <a:pt x="273" y="105"/>
                  <a:pt x="270" y="104"/>
                  <a:pt x="269" y="102"/>
                </a:cubicBezTo>
                <a:cubicBezTo>
                  <a:pt x="268" y="102"/>
                  <a:pt x="267" y="101"/>
                  <a:pt x="266" y="101"/>
                </a:cubicBezTo>
                <a:cubicBezTo>
                  <a:pt x="265" y="101"/>
                  <a:pt x="266" y="102"/>
                  <a:pt x="267" y="102"/>
                </a:cubicBezTo>
                <a:cubicBezTo>
                  <a:pt x="266" y="102"/>
                  <a:pt x="265" y="102"/>
                  <a:pt x="265" y="102"/>
                </a:cubicBezTo>
                <a:cubicBezTo>
                  <a:pt x="264" y="102"/>
                  <a:pt x="263" y="101"/>
                  <a:pt x="262" y="101"/>
                </a:cubicBezTo>
                <a:cubicBezTo>
                  <a:pt x="257" y="99"/>
                  <a:pt x="253" y="96"/>
                  <a:pt x="248" y="94"/>
                </a:cubicBezTo>
                <a:cubicBezTo>
                  <a:pt x="248" y="94"/>
                  <a:pt x="248" y="94"/>
                  <a:pt x="248" y="95"/>
                </a:cubicBezTo>
                <a:cubicBezTo>
                  <a:pt x="248" y="95"/>
                  <a:pt x="249" y="95"/>
                  <a:pt x="249" y="95"/>
                </a:cubicBezTo>
                <a:cubicBezTo>
                  <a:pt x="249" y="95"/>
                  <a:pt x="249" y="95"/>
                  <a:pt x="249" y="95"/>
                </a:cubicBezTo>
                <a:cubicBezTo>
                  <a:pt x="249" y="95"/>
                  <a:pt x="249" y="95"/>
                  <a:pt x="249" y="95"/>
                </a:cubicBezTo>
                <a:cubicBezTo>
                  <a:pt x="246" y="95"/>
                  <a:pt x="243" y="94"/>
                  <a:pt x="242" y="92"/>
                </a:cubicBezTo>
                <a:cubicBezTo>
                  <a:pt x="241" y="92"/>
                  <a:pt x="239" y="90"/>
                  <a:pt x="236" y="90"/>
                </a:cubicBezTo>
                <a:cubicBezTo>
                  <a:pt x="235" y="90"/>
                  <a:pt x="234" y="90"/>
                  <a:pt x="234" y="90"/>
                </a:cubicBezTo>
                <a:cubicBezTo>
                  <a:pt x="232" y="91"/>
                  <a:pt x="235" y="92"/>
                  <a:pt x="237" y="92"/>
                </a:cubicBezTo>
                <a:cubicBezTo>
                  <a:pt x="244" y="96"/>
                  <a:pt x="253" y="100"/>
                  <a:pt x="260" y="103"/>
                </a:cubicBezTo>
                <a:cubicBezTo>
                  <a:pt x="260" y="103"/>
                  <a:pt x="260" y="103"/>
                  <a:pt x="260" y="103"/>
                </a:cubicBezTo>
                <a:cubicBezTo>
                  <a:pt x="263" y="105"/>
                  <a:pt x="270" y="107"/>
                  <a:pt x="271" y="109"/>
                </a:cubicBezTo>
                <a:cubicBezTo>
                  <a:pt x="261" y="105"/>
                  <a:pt x="252" y="101"/>
                  <a:pt x="243" y="96"/>
                </a:cubicBezTo>
                <a:cubicBezTo>
                  <a:pt x="234" y="91"/>
                  <a:pt x="224" y="87"/>
                  <a:pt x="212" y="82"/>
                </a:cubicBezTo>
                <a:cubicBezTo>
                  <a:pt x="210" y="81"/>
                  <a:pt x="208" y="80"/>
                  <a:pt x="206" y="79"/>
                </a:cubicBezTo>
                <a:cubicBezTo>
                  <a:pt x="202" y="76"/>
                  <a:pt x="195" y="73"/>
                  <a:pt x="190" y="70"/>
                </a:cubicBezTo>
                <a:cubicBezTo>
                  <a:pt x="189" y="70"/>
                  <a:pt x="193" y="71"/>
                  <a:pt x="193" y="72"/>
                </a:cubicBezTo>
                <a:cubicBezTo>
                  <a:pt x="188" y="71"/>
                  <a:pt x="184" y="69"/>
                  <a:pt x="181" y="67"/>
                </a:cubicBezTo>
                <a:cubicBezTo>
                  <a:pt x="179" y="65"/>
                  <a:pt x="177" y="64"/>
                  <a:pt x="171" y="63"/>
                </a:cubicBezTo>
                <a:cubicBezTo>
                  <a:pt x="166" y="62"/>
                  <a:pt x="165" y="60"/>
                  <a:pt x="162" y="59"/>
                </a:cubicBezTo>
                <a:cubicBezTo>
                  <a:pt x="162" y="59"/>
                  <a:pt x="162" y="59"/>
                  <a:pt x="162" y="59"/>
                </a:cubicBezTo>
                <a:cubicBezTo>
                  <a:pt x="157" y="57"/>
                  <a:pt x="153" y="54"/>
                  <a:pt x="149" y="52"/>
                </a:cubicBezTo>
                <a:cubicBezTo>
                  <a:pt x="152" y="53"/>
                  <a:pt x="153" y="54"/>
                  <a:pt x="155" y="55"/>
                </a:cubicBezTo>
                <a:cubicBezTo>
                  <a:pt x="156" y="55"/>
                  <a:pt x="158" y="56"/>
                  <a:pt x="161" y="57"/>
                </a:cubicBezTo>
                <a:cubicBezTo>
                  <a:pt x="160" y="56"/>
                  <a:pt x="159" y="55"/>
                  <a:pt x="156" y="55"/>
                </a:cubicBezTo>
                <a:cubicBezTo>
                  <a:pt x="153" y="53"/>
                  <a:pt x="151" y="52"/>
                  <a:pt x="148" y="50"/>
                </a:cubicBezTo>
                <a:cubicBezTo>
                  <a:pt x="146" y="49"/>
                  <a:pt x="145" y="49"/>
                  <a:pt x="143" y="48"/>
                </a:cubicBezTo>
                <a:cubicBezTo>
                  <a:pt x="143" y="48"/>
                  <a:pt x="142" y="48"/>
                  <a:pt x="142" y="48"/>
                </a:cubicBezTo>
                <a:cubicBezTo>
                  <a:pt x="144" y="49"/>
                  <a:pt x="145" y="49"/>
                  <a:pt x="146" y="50"/>
                </a:cubicBezTo>
                <a:cubicBezTo>
                  <a:pt x="146" y="50"/>
                  <a:pt x="145" y="50"/>
                  <a:pt x="145" y="50"/>
                </a:cubicBezTo>
                <a:cubicBezTo>
                  <a:pt x="140" y="47"/>
                  <a:pt x="132" y="44"/>
                  <a:pt x="129" y="41"/>
                </a:cubicBezTo>
                <a:cubicBezTo>
                  <a:pt x="126" y="40"/>
                  <a:pt x="124" y="39"/>
                  <a:pt x="121" y="38"/>
                </a:cubicBezTo>
                <a:cubicBezTo>
                  <a:pt x="121" y="37"/>
                  <a:pt x="120" y="36"/>
                  <a:pt x="116" y="34"/>
                </a:cubicBezTo>
                <a:cubicBezTo>
                  <a:pt x="113" y="32"/>
                  <a:pt x="106" y="30"/>
                  <a:pt x="100" y="28"/>
                </a:cubicBezTo>
                <a:cubicBezTo>
                  <a:pt x="100" y="28"/>
                  <a:pt x="100" y="28"/>
                  <a:pt x="99" y="28"/>
                </a:cubicBezTo>
                <a:cubicBezTo>
                  <a:pt x="98" y="27"/>
                  <a:pt x="96" y="26"/>
                  <a:pt x="94" y="25"/>
                </a:cubicBezTo>
                <a:cubicBezTo>
                  <a:pt x="92" y="24"/>
                  <a:pt x="94" y="24"/>
                  <a:pt x="96" y="25"/>
                </a:cubicBezTo>
                <a:cubicBezTo>
                  <a:pt x="97" y="25"/>
                  <a:pt x="98" y="26"/>
                  <a:pt x="101" y="27"/>
                </a:cubicBezTo>
                <a:cubicBezTo>
                  <a:pt x="100" y="26"/>
                  <a:pt x="98" y="25"/>
                  <a:pt x="97" y="25"/>
                </a:cubicBezTo>
                <a:cubicBezTo>
                  <a:pt x="96" y="24"/>
                  <a:pt x="95" y="24"/>
                  <a:pt x="94" y="24"/>
                </a:cubicBezTo>
                <a:cubicBezTo>
                  <a:pt x="90" y="21"/>
                  <a:pt x="83" y="17"/>
                  <a:pt x="77" y="14"/>
                </a:cubicBezTo>
                <a:cubicBezTo>
                  <a:pt x="75" y="13"/>
                  <a:pt x="74" y="12"/>
                  <a:pt x="69" y="11"/>
                </a:cubicBezTo>
                <a:cubicBezTo>
                  <a:pt x="70" y="12"/>
                  <a:pt x="73" y="13"/>
                  <a:pt x="76" y="14"/>
                </a:cubicBezTo>
                <a:cubicBezTo>
                  <a:pt x="79" y="16"/>
                  <a:pt x="83" y="18"/>
                  <a:pt x="87" y="20"/>
                </a:cubicBezTo>
                <a:cubicBezTo>
                  <a:pt x="85" y="21"/>
                  <a:pt x="90" y="24"/>
                  <a:pt x="92" y="25"/>
                </a:cubicBezTo>
                <a:cubicBezTo>
                  <a:pt x="93" y="27"/>
                  <a:pt x="96" y="28"/>
                  <a:pt x="98" y="29"/>
                </a:cubicBezTo>
                <a:cubicBezTo>
                  <a:pt x="98" y="30"/>
                  <a:pt x="101" y="31"/>
                  <a:pt x="103" y="31"/>
                </a:cubicBezTo>
                <a:cubicBezTo>
                  <a:pt x="108" y="33"/>
                  <a:pt x="113" y="35"/>
                  <a:pt x="110" y="36"/>
                </a:cubicBezTo>
                <a:cubicBezTo>
                  <a:pt x="109" y="37"/>
                  <a:pt x="111" y="38"/>
                  <a:pt x="115" y="39"/>
                </a:cubicBezTo>
                <a:cubicBezTo>
                  <a:pt x="117" y="40"/>
                  <a:pt x="119" y="41"/>
                  <a:pt x="121" y="42"/>
                </a:cubicBezTo>
                <a:cubicBezTo>
                  <a:pt x="122" y="42"/>
                  <a:pt x="124" y="43"/>
                  <a:pt x="125" y="44"/>
                </a:cubicBezTo>
                <a:cubicBezTo>
                  <a:pt x="125" y="44"/>
                  <a:pt x="126" y="45"/>
                  <a:pt x="128" y="46"/>
                </a:cubicBezTo>
                <a:cubicBezTo>
                  <a:pt x="129" y="46"/>
                  <a:pt x="128" y="45"/>
                  <a:pt x="127" y="44"/>
                </a:cubicBezTo>
                <a:cubicBezTo>
                  <a:pt x="126" y="43"/>
                  <a:pt x="125" y="42"/>
                  <a:pt x="123" y="42"/>
                </a:cubicBezTo>
                <a:cubicBezTo>
                  <a:pt x="121" y="40"/>
                  <a:pt x="121" y="40"/>
                  <a:pt x="123" y="40"/>
                </a:cubicBezTo>
                <a:cubicBezTo>
                  <a:pt x="125" y="40"/>
                  <a:pt x="125" y="41"/>
                  <a:pt x="126" y="41"/>
                </a:cubicBezTo>
                <a:cubicBezTo>
                  <a:pt x="134" y="46"/>
                  <a:pt x="143" y="50"/>
                  <a:pt x="151" y="55"/>
                </a:cubicBezTo>
                <a:cubicBezTo>
                  <a:pt x="149" y="54"/>
                  <a:pt x="146" y="53"/>
                  <a:pt x="145" y="53"/>
                </a:cubicBezTo>
                <a:cubicBezTo>
                  <a:pt x="140" y="50"/>
                  <a:pt x="135" y="49"/>
                  <a:pt x="129" y="49"/>
                </a:cubicBezTo>
                <a:cubicBezTo>
                  <a:pt x="129" y="49"/>
                  <a:pt x="130" y="48"/>
                  <a:pt x="129" y="48"/>
                </a:cubicBezTo>
                <a:cubicBezTo>
                  <a:pt x="129" y="48"/>
                  <a:pt x="128" y="47"/>
                  <a:pt x="127" y="47"/>
                </a:cubicBezTo>
                <a:cubicBezTo>
                  <a:pt x="127" y="48"/>
                  <a:pt x="126" y="48"/>
                  <a:pt x="128" y="49"/>
                </a:cubicBezTo>
                <a:cubicBezTo>
                  <a:pt x="129" y="50"/>
                  <a:pt x="122" y="48"/>
                  <a:pt x="126" y="50"/>
                </a:cubicBezTo>
                <a:cubicBezTo>
                  <a:pt x="128" y="51"/>
                  <a:pt x="132" y="52"/>
                  <a:pt x="132" y="51"/>
                </a:cubicBezTo>
                <a:cubicBezTo>
                  <a:pt x="136" y="49"/>
                  <a:pt x="139" y="52"/>
                  <a:pt x="143" y="53"/>
                </a:cubicBezTo>
                <a:cubicBezTo>
                  <a:pt x="144" y="54"/>
                  <a:pt x="146" y="55"/>
                  <a:pt x="147" y="56"/>
                </a:cubicBezTo>
                <a:cubicBezTo>
                  <a:pt x="151" y="58"/>
                  <a:pt x="154" y="57"/>
                  <a:pt x="157" y="58"/>
                </a:cubicBezTo>
                <a:cubicBezTo>
                  <a:pt x="157" y="58"/>
                  <a:pt x="157" y="58"/>
                  <a:pt x="157" y="58"/>
                </a:cubicBezTo>
                <a:cubicBezTo>
                  <a:pt x="158" y="58"/>
                  <a:pt x="158" y="58"/>
                  <a:pt x="158" y="58"/>
                </a:cubicBezTo>
                <a:cubicBezTo>
                  <a:pt x="161" y="60"/>
                  <a:pt x="157" y="60"/>
                  <a:pt x="159" y="62"/>
                </a:cubicBezTo>
                <a:cubicBezTo>
                  <a:pt x="162" y="64"/>
                  <a:pt x="169" y="67"/>
                  <a:pt x="173" y="70"/>
                </a:cubicBezTo>
                <a:cubicBezTo>
                  <a:pt x="175" y="70"/>
                  <a:pt x="176" y="71"/>
                  <a:pt x="177" y="72"/>
                </a:cubicBezTo>
                <a:cubicBezTo>
                  <a:pt x="183" y="74"/>
                  <a:pt x="185" y="76"/>
                  <a:pt x="188" y="78"/>
                </a:cubicBezTo>
                <a:cubicBezTo>
                  <a:pt x="194" y="80"/>
                  <a:pt x="196" y="82"/>
                  <a:pt x="202" y="85"/>
                </a:cubicBezTo>
                <a:cubicBezTo>
                  <a:pt x="204" y="86"/>
                  <a:pt x="207" y="87"/>
                  <a:pt x="209" y="89"/>
                </a:cubicBezTo>
                <a:cubicBezTo>
                  <a:pt x="215" y="92"/>
                  <a:pt x="222" y="95"/>
                  <a:pt x="228" y="98"/>
                </a:cubicBezTo>
                <a:cubicBezTo>
                  <a:pt x="229" y="99"/>
                  <a:pt x="231" y="100"/>
                  <a:pt x="232" y="100"/>
                </a:cubicBezTo>
                <a:cubicBezTo>
                  <a:pt x="231" y="100"/>
                  <a:pt x="230" y="100"/>
                  <a:pt x="229" y="100"/>
                </a:cubicBezTo>
                <a:cubicBezTo>
                  <a:pt x="224" y="97"/>
                  <a:pt x="219" y="95"/>
                  <a:pt x="213" y="93"/>
                </a:cubicBezTo>
                <a:cubicBezTo>
                  <a:pt x="214" y="93"/>
                  <a:pt x="214" y="93"/>
                  <a:pt x="214" y="94"/>
                </a:cubicBezTo>
                <a:cubicBezTo>
                  <a:pt x="214" y="93"/>
                  <a:pt x="213" y="93"/>
                  <a:pt x="213" y="93"/>
                </a:cubicBezTo>
                <a:cubicBezTo>
                  <a:pt x="207" y="89"/>
                  <a:pt x="200" y="86"/>
                  <a:pt x="194" y="83"/>
                </a:cubicBezTo>
                <a:cubicBezTo>
                  <a:pt x="188" y="80"/>
                  <a:pt x="181" y="77"/>
                  <a:pt x="175" y="74"/>
                </a:cubicBezTo>
                <a:cubicBezTo>
                  <a:pt x="165" y="70"/>
                  <a:pt x="155" y="65"/>
                  <a:pt x="146" y="60"/>
                </a:cubicBezTo>
                <a:cubicBezTo>
                  <a:pt x="144" y="59"/>
                  <a:pt x="141" y="58"/>
                  <a:pt x="138" y="57"/>
                </a:cubicBezTo>
                <a:cubicBezTo>
                  <a:pt x="133" y="53"/>
                  <a:pt x="124" y="50"/>
                  <a:pt x="118" y="46"/>
                </a:cubicBezTo>
                <a:cubicBezTo>
                  <a:pt x="118" y="45"/>
                  <a:pt x="113" y="44"/>
                  <a:pt x="110" y="42"/>
                </a:cubicBezTo>
                <a:cubicBezTo>
                  <a:pt x="109" y="43"/>
                  <a:pt x="114" y="45"/>
                  <a:pt x="116" y="46"/>
                </a:cubicBezTo>
                <a:cubicBezTo>
                  <a:pt x="116" y="46"/>
                  <a:pt x="116" y="46"/>
                  <a:pt x="116" y="46"/>
                </a:cubicBezTo>
                <a:cubicBezTo>
                  <a:pt x="115" y="47"/>
                  <a:pt x="113" y="47"/>
                  <a:pt x="106" y="45"/>
                </a:cubicBezTo>
                <a:cubicBezTo>
                  <a:pt x="108" y="46"/>
                  <a:pt x="108" y="48"/>
                  <a:pt x="112" y="49"/>
                </a:cubicBezTo>
                <a:cubicBezTo>
                  <a:pt x="114" y="49"/>
                  <a:pt x="111" y="47"/>
                  <a:pt x="116" y="49"/>
                </a:cubicBezTo>
                <a:cubicBezTo>
                  <a:pt x="120" y="50"/>
                  <a:pt x="119" y="51"/>
                  <a:pt x="122" y="52"/>
                </a:cubicBezTo>
                <a:cubicBezTo>
                  <a:pt x="122" y="54"/>
                  <a:pt x="117" y="53"/>
                  <a:pt x="117" y="53"/>
                </a:cubicBezTo>
                <a:cubicBezTo>
                  <a:pt x="108" y="51"/>
                  <a:pt x="117" y="54"/>
                  <a:pt x="116" y="54"/>
                </a:cubicBezTo>
                <a:cubicBezTo>
                  <a:pt x="117" y="54"/>
                  <a:pt x="116" y="54"/>
                  <a:pt x="115" y="55"/>
                </a:cubicBezTo>
                <a:cubicBezTo>
                  <a:pt x="115" y="55"/>
                  <a:pt x="114" y="55"/>
                  <a:pt x="113" y="55"/>
                </a:cubicBezTo>
                <a:cubicBezTo>
                  <a:pt x="112" y="54"/>
                  <a:pt x="110" y="53"/>
                  <a:pt x="108" y="52"/>
                </a:cubicBezTo>
                <a:cubicBezTo>
                  <a:pt x="106" y="51"/>
                  <a:pt x="104" y="50"/>
                  <a:pt x="102" y="49"/>
                </a:cubicBezTo>
                <a:cubicBezTo>
                  <a:pt x="98" y="46"/>
                  <a:pt x="90" y="43"/>
                  <a:pt x="82" y="39"/>
                </a:cubicBezTo>
                <a:cubicBezTo>
                  <a:pt x="89" y="43"/>
                  <a:pt x="93" y="46"/>
                  <a:pt x="101" y="49"/>
                </a:cubicBezTo>
                <a:cubicBezTo>
                  <a:pt x="103" y="50"/>
                  <a:pt x="105" y="51"/>
                  <a:pt x="108" y="52"/>
                </a:cubicBezTo>
                <a:cubicBezTo>
                  <a:pt x="109" y="54"/>
                  <a:pt x="111" y="55"/>
                  <a:pt x="113" y="56"/>
                </a:cubicBezTo>
                <a:cubicBezTo>
                  <a:pt x="111" y="56"/>
                  <a:pt x="113" y="57"/>
                  <a:pt x="112" y="57"/>
                </a:cubicBezTo>
                <a:cubicBezTo>
                  <a:pt x="108" y="57"/>
                  <a:pt x="106" y="56"/>
                  <a:pt x="104" y="55"/>
                </a:cubicBezTo>
                <a:cubicBezTo>
                  <a:pt x="93" y="49"/>
                  <a:pt x="82" y="42"/>
                  <a:pt x="71" y="36"/>
                </a:cubicBezTo>
                <a:cubicBezTo>
                  <a:pt x="70" y="36"/>
                  <a:pt x="69" y="35"/>
                  <a:pt x="67" y="35"/>
                </a:cubicBezTo>
                <a:cubicBezTo>
                  <a:pt x="66" y="33"/>
                  <a:pt x="63" y="32"/>
                  <a:pt x="60" y="31"/>
                </a:cubicBezTo>
                <a:cubicBezTo>
                  <a:pt x="60" y="30"/>
                  <a:pt x="60" y="30"/>
                  <a:pt x="60" y="30"/>
                </a:cubicBezTo>
                <a:cubicBezTo>
                  <a:pt x="60" y="30"/>
                  <a:pt x="59" y="30"/>
                  <a:pt x="59" y="29"/>
                </a:cubicBezTo>
                <a:cubicBezTo>
                  <a:pt x="57" y="28"/>
                  <a:pt x="55" y="27"/>
                  <a:pt x="52" y="25"/>
                </a:cubicBezTo>
                <a:cubicBezTo>
                  <a:pt x="51" y="24"/>
                  <a:pt x="51" y="23"/>
                  <a:pt x="44" y="20"/>
                </a:cubicBezTo>
                <a:cubicBezTo>
                  <a:pt x="37" y="18"/>
                  <a:pt x="34" y="15"/>
                  <a:pt x="35" y="13"/>
                </a:cubicBezTo>
                <a:cubicBezTo>
                  <a:pt x="35" y="12"/>
                  <a:pt x="37" y="12"/>
                  <a:pt x="36" y="11"/>
                </a:cubicBezTo>
                <a:cubicBezTo>
                  <a:pt x="33" y="11"/>
                  <a:pt x="30" y="10"/>
                  <a:pt x="27" y="10"/>
                </a:cubicBezTo>
                <a:cubicBezTo>
                  <a:pt x="25" y="9"/>
                  <a:pt x="24" y="8"/>
                  <a:pt x="23" y="8"/>
                </a:cubicBezTo>
                <a:cubicBezTo>
                  <a:pt x="23" y="7"/>
                  <a:pt x="22" y="7"/>
                  <a:pt x="22" y="7"/>
                </a:cubicBezTo>
                <a:cubicBezTo>
                  <a:pt x="19" y="5"/>
                  <a:pt x="17" y="4"/>
                  <a:pt x="14" y="2"/>
                </a:cubicBezTo>
                <a:cubicBezTo>
                  <a:pt x="13" y="2"/>
                  <a:pt x="12" y="1"/>
                  <a:pt x="9" y="0"/>
                </a:cubicBezTo>
                <a:cubicBezTo>
                  <a:pt x="9" y="1"/>
                  <a:pt x="11" y="2"/>
                  <a:pt x="13" y="2"/>
                </a:cubicBezTo>
                <a:cubicBezTo>
                  <a:pt x="13" y="3"/>
                  <a:pt x="13" y="3"/>
                  <a:pt x="13" y="3"/>
                </a:cubicBezTo>
                <a:cubicBezTo>
                  <a:pt x="13" y="3"/>
                  <a:pt x="12" y="3"/>
                  <a:pt x="12" y="3"/>
                </a:cubicBezTo>
                <a:cubicBezTo>
                  <a:pt x="11" y="3"/>
                  <a:pt x="11" y="3"/>
                  <a:pt x="11" y="3"/>
                </a:cubicBezTo>
                <a:cubicBezTo>
                  <a:pt x="9" y="2"/>
                  <a:pt x="9" y="1"/>
                  <a:pt x="5" y="0"/>
                </a:cubicBezTo>
                <a:cubicBezTo>
                  <a:pt x="5" y="0"/>
                  <a:pt x="7" y="1"/>
                  <a:pt x="10" y="3"/>
                </a:cubicBezTo>
                <a:cubicBezTo>
                  <a:pt x="11" y="3"/>
                  <a:pt x="12" y="4"/>
                  <a:pt x="14" y="5"/>
                </a:cubicBezTo>
                <a:cubicBezTo>
                  <a:pt x="13" y="5"/>
                  <a:pt x="16" y="6"/>
                  <a:pt x="17" y="7"/>
                </a:cubicBezTo>
                <a:cubicBezTo>
                  <a:pt x="17" y="7"/>
                  <a:pt x="17" y="8"/>
                  <a:pt x="18" y="8"/>
                </a:cubicBezTo>
                <a:cubicBezTo>
                  <a:pt x="21" y="9"/>
                  <a:pt x="22" y="11"/>
                  <a:pt x="25" y="12"/>
                </a:cubicBezTo>
                <a:cubicBezTo>
                  <a:pt x="25" y="13"/>
                  <a:pt x="28" y="14"/>
                  <a:pt x="30" y="15"/>
                </a:cubicBezTo>
                <a:cubicBezTo>
                  <a:pt x="31" y="16"/>
                  <a:pt x="33" y="17"/>
                  <a:pt x="33" y="18"/>
                </a:cubicBezTo>
                <a:cubicBezTo>
                  <a:pt x="33" y="18"/>
                  <a:pt x="33" y="18"/>
                  <a:pt x="33" y="18"/>
                </a:cubicBezTo>
                <a:cubicBezTo>
                  <a:pt x="32" y="18"/>
                  <a:pt x="31" y="18"/>
                  <a:pt x="32" y="18"/>
                </a:cubicBezTo>
                <a:cubicBezTo>
                  <a:pt x="33" y="19"/>
                  <a:pt x="35" y="19"/>
                  <a:pt x="36" y="19"/>
                </a:cubicBezTo>
                <a:cubicBezTo>
                  <a:pt x="42" y="22"/>
                  <a:pt x="41" y="23"/>
                  <a:pt x="46" y="26"/>
                </a:cubicBezTo>
                <a:cubicBezTo>
                  <a:pt x="47" y="27"/>
                  <a:pt x="51" y="28"/>
                  <a:pt x="51" y="29"/>
                </a:cubicBezTo>
                <a:cubicBezTo>
                  <a:pt x="42" y="25"/>
                  <a:pt x="34" y="21"/>
                  <a:pt x="28" y="18"/>
                </a:cubicBezTo>
                <a:cubicBezTo>
                  <a:pt x="28" y="17"/>
                  <a:pt x="28" y="17"/>
                  <a:pt x="26" y="16"/>
                </a:cubicBezTo>
                <a:cubicBezTo>
                  <a:pt x="24" y="15"/>
                  <a:pt x="22" y="14"/>
                  <a:pt x="19" y="13"/>
                </a:cubicBezTo>
                <a:cubicBezTo>
                  <a:pt x="20" y="14"/>
                  <a:pt x="21" y="15"/>
                  <a:pt x="23" y="16"/>
                </a:cubicBezTo>
                <a:cubicBezTo>
                  <a:pt x="24" y="16"/>
                  <a:pt x="25" y="17"/>
                  <a:pt x="26" y="17"/>
                </a:cubicBezTo>
                <a:cubicBezTo>
                  <a:pt x="26" y="18"/>
                  <a:pt x="29" y="19"/>
                  <a:pt x="29" y="20"/>
                </a:cubicBezTo>
                <a:cubicBezTo>
                  <a:pt x="28" y="19"/>
                  <a:pt x="27" y="19"/>
                  <a:pt x="25" y="18"/>
                </a:cubicBezTo>
                <a:cubicBezTo>
                  <a:pt x="23" y="18"/>
                  <a:pt x="25" y="19"/>
                  <a:pt x="26" y="20"/>
                </a:cubicBezTo>
                <a:cubicBezTo>
                  <a:pt x="28" y="21"/>
                  <a:pt x="31" y="22"/>
                  <a:pt x="35" y="23"/>
                </a:cubicBezTo>
                <a:cubicBezTo>
                  <a:pt x="37" y="25"/>
                  <a:pt x="41" y="28"/>
                  <a:pt x="46" y="30"/>
                </a:cubicBezTo>
                <a:cubicBezTo>
                  <a:pt x="50" y="32"/>
                  <a:pt x="43" y="31"/>
                  <a:pt x="43" y="33"/>
                </a:cubicBezTo>
                <a:cubicBezTo>
                  <a:pt x="42" y="33"/>
                  <a:pt x="41" y="33"/>
                  <a:pt x="39" y="32"/>
                </a:cubicBezTo>
                <a:cubicBezTo>
                  <a:pt x="35" y="30"/>
                  <a:pt x="31" y="28"/>
                  <a:pt x="29" y="26"/>
                </a:cubicBezTo>
                <a:cubicBezTo>
                  <a:pt x="31" y="25"/>
                  <a:pt x="33" y="27"/>
                  <a:pt x="35" y="27"/>
                </a:cubicBezTo>
                <a:cubicBezTo>
                  <a:pt x="33" y="26"/>
                  <a:pt x="32" y="24"/>
                  <a:pt x="28" y="24"/>
                </a:cubicBezTo>
                <a:cubicBezTo>
                  <a:pt x="25" y="23"/>
                  <a:pt x="28" y="25"/>
                  <a:pt x="27" y="25"/>
                </a:cubicBezTo>
                <a:cubicBezTo>
                  <a:pt x="22" y="24"/>
                  <a:pt x="22" y="25"/>
                  <a:pt x="24" y="26"/>
                </a:cubicBezTo>
                <a:cubicBezTo>
                  <a:pt x="28" y="28"/>
                  <a:pt x="32" y="30"/>
                  <a:pt x="36" y="32"/>
                </a:cubicBezTo>
                <a:cubicBezTo>
                  <a:pt x="37" y="33"/>
                  <a:pt x="41" y="34"/>
                  <a:pt x="40" y="35"/>
                </a:cubicBezTo>
                <a:cubicBezTo>
                  <a:pt x="36" y="34"/>
                  <a:pt x="40" y="36"/>
                  <a:pt x="39" y="36"/>
                </a:cubicBezTo>
                <a:cubicBezTo>
                  <a:pt x="36" y="36"/>
                  <a:pt x="35" y="35"/>
                  <a:pt x="33" y="35"/>
                </a:cubicBezTo>
                <a:cubicBezTo>
                  <a:pt x="27" y="33"/>
                  <a:pt x="26" y="31"/>
                  <a:pt x="19" y="29"/>
                </a:cubicBezTo>
                <a:cubicBezTo>
                  <a:pt x="20" y="30"/>
                  <a:pt x="25" y="31"/>
                  <a:pt x="25" y="32"/>
                </a:cubicBezTo>
                <a:cubicBezTo>
                  <a:pt x="25" y="34"/>
                  <a:pt x="35" y="37"/>
                  <a:pt x="32" y="38"/>
                </a:cubicBezTo>
                <a:cubicBezTo>
                  <a:pt x="31" y="38"/>
                  <a:pt x="30" y="37"/>
                  <a:pt x="29" y="37"/>
                </a:cubicBezTo>
                <a:cubicBezTo>
                  <a:pt x="29" y="35"/>
                  <a:pt x="21" y="33"/>
                  <a:pt x="18" y="31"/>
                </a:cubicBezTo>
                <a:cubicBezTo>
                  <a:pt x="19" y="33"/>
                  <a:pt x="21" y="34"/>
                  <a:pt x="25" y="36"/>
                </a:cubicBezTo>
                <a:cubicBezTo>
                  <a:pt x="29" y="38"/>
                  <a:pt x="34" y="40"/>
                  <a:pt x="38" y="43"/>
                </a:cubicBezTo>
                <a:cubicBezTo>
                  <a:pt x="33" y="41"/>
                  <a:pt x="29" y="40"/>
                  <a:pt x="24" y="38"/>
                </a:cubicBezTo>
                <a:cubicBezTo>
                  <a:pt x="24" y="37"/>
                  <a:pt x="23" y="36"/>
                  <a:pt x="21" y="35"/>
                </a:cubicBezTo>
                <a:cubicBezTo>
                  <a:pt x="19" y="35"/>
                  <a:pt x="19" y="36"/>
                  <a:pt x="21" y="37"/>
                </a:cubicBezTo>
                <a:cubicBezTo>
                  <a:pt x="22" y="38"/>
                  <a:pt x="22" y="38"/>
                  <a:pt x="22" y="38"/>
                </a:cubicBezTo>
                <a:cubicBezTo>
                  <a:pt x="28" y="44"/>
                  <a:pt x="35" y="49"/>
                  <a:pt x="44" y="55"/>
                </a:cubicBezTo>
                <a:cubicBezTo>
                  <a:pt x="43" y="55"/>
                  <a:pt x="43" y="55"/>
                  <a:pt x="42" y="54"/>
                </a:cubicBezTo>
                <a:cubicBezTo>
                  <a:pt x="34" y="50"/>
                  <a:pt x="25" y="45"/>
                  <a:pt x="17" y="40"/>
                </a:cubicBezTo>
                <a:cubicBezTo>
                  <a:pt x="12" y="37"/>
                  <a:pt x="6" y="34"/>
                  <a:pt x="0" y="31"/>
                </a:cubicBezTo>
                <a:cubicBezTo>
                  <a:pt x="0" y="84"/>
                  <a:pt x="0" y="84"/>
                  <a:pt x="0" y="84"/>
                </a:cubicBezTo>
                <a:cubicBezTo>
                  <a:pt x="0" y="84"/>
                  <a:pt x="1" y="85"/>
                  <a:pt x="1" y="85"/>
                </a:cubicBezTo>
                <a:cubicBezTo>
                  <a:pt x="2" y="86"/>
                  <a:pt x="3" y="86"/>
                  <a:pt x="4" y="87"/>
                </a:cubicBezTo>
                <a:cubicBezTo>
                  <a:pt x="4" y="87"/>
                  <a:pt x="5" y="88"/>
                  <a:pt x="6" y="88"/>
                </a:cubicBezTo>
                <a:cubicBezTo>
                  <a:pt x="4" y="88"/>
                  <a:pt x="2" y="88"/>
                  <a:pt x="0" y="88"/>
                </a:cubicBezTo>
                <a:cubicBezTo>
                  <a:pt x="0" y="107"/>
                  <a:pt x="0" y="107"/>
                  <a:pt x="0" y="107"/>
                </a:cubicBezTo>
                <a:cubicBezTo>
                  <a:pt x="0" y="107"/>
                  <a:pt x="0" y="107"/>
                  <a:pt x="1" y="107"/>
                </a:cubicBezTo>
                <a:cubicBezTo>
                  <a:pt x="1" y="108"/>
                  <a:pt x="1" y="108"/>
                  <a:pt x="2" y="109"/>
                </a:cubicBezTo>
                <a:cubicBezTo>
                  <a:pt x="1" y="109"/>
                  <a:pt x="1" y="109"/>
                  <a:pt x="0" y="109"/>
                </a:cubicBezTo>
                <a:cubicBezTo>
                  <a:pt x="0" y="109"/>
                  <a:pt x="0" y="109"/>
                  <a:pt x="0" y="108"/>
                </a:cubicBezTo>
                <a:cubicBezTo>
                  <a:pt x="0" y="126"/>
                  <a:pt x="0" y="126"/>
                  <a:pt x="0" y="126"/>
                </a:cubicBezTo>
                <a:cubicBezTo>
                  <a:pt x="0" y="127"/>
                  <a:pt x="0" y="127"/>
                  <a:pt x="0" y="127"/>
                </a:cubicBezTo>
                <a:cubicBezTo>
                  <a:pt x="0" y="127"/>
                  <a:pt x="0" y="127"/>
                  <a:pt x="0" y="127"/>
                </a:cubicBezTo>
                <a:cubicBezTo>
                  <a:pt x="0" y="158"/>
                  <a:pt x="0" y="158"/>
                  <a:pt x="0" y="158"/>
                </a:cubicBezTo>
                <a:cubicBezTo>
                  <a:pt x="0" y="158"/>
                  <a:pt x="0" y="158"/>
                  <a:pt x="0" y="158"/>
                </a:cubicBezTo>
                <a:cubicBezTo>
                  <a:pt x="0" y="159"/>
                  <a:pt x="0" y="159"/>
                  <a:pt x="0" y="159"/>
                </a:cubicBezTo>
                <a:cubicBezTo>
                  <a:pt x="0" y="159"/>
                  <a:pt x="0" y="159"/>
                  <a:pt x="0" y="159"/>
                </a:cubicBezTo>
                <a:cubicBezTo>
                  <a:pt x="0" y="173"/>
                  <a:pt x="0" y="173"/>
                  <a:pt x="0" y="173"/>
                </a:cubicBezTo>
                <a:cubicBezTo>
                  <a:pt x="0" y="173"/>
                  <a:pt x="0" y="173"/>
                  <a:pt x="0" y="173"/>
                </a:cubicBezTo>
                <a:cubicBezTo>
                  <a:pt x="0" y="173"/>
                  <a:pt x="0" y="173"/>
                  <a:pt x="0" y="173"/>
                </a:cubicBezTo>
                <a:cubicBezTo>
                  <a:pt x="0" y="173"/>
                  <a:pt x="0" y="173"/>
                  <a:pt x="0" y="173"/>
                </a:cubicBezTo>
                <a:cubicBezTo>
                  <a:pt x="0" y="220"/>
                  <a:pt x="0" y="220"/>
                  <a:pt x="0" y="220"/>
                </a:cubicBezTo>
                <a:cubicBezTo>
                  <a:pt x="1" y="220"/>
                  <a:pt x="2" y="220"/>
                  <a:pt x="3" y="221"/>
                </a:cubicBezTo>
                <a:cubicBezTo>
                  <a:pt x="3" y="221"/>
                  <a:pt x="3" y="221"/>
                  <a:pt x="3" y="221"/>
                </a:cubicBezTo>
                <a:cubicBezTo>
                  <a:pt x="3" y="221"/>
                  <a:pt x="3" y="221"/>
                  <a:pt x="3" y="221"/>
                </a:cubicBezTo>
                <a:cubicBezTo>
                  <a:pt x="3" y="221"/>
                  <a:pt x="3" y="221"/>
                  <a:pt x="3" y="221"/>
                </a:cubicBezTo>
                <a:cubicBezTo>
                  <a:pt x="2" y="221"/>
                  <a:pt x="1" y="220"/>
                  <a:pt x="0" y="220"/>
                </a:cubicBezTo>
                <a:cubicBezTo>
                  <a:pt x="0" y="220"/>
                  <a:pt x="0" y="220"/>
                  <a:pt x="0" y="220"/>
                </a:cubicBezTo>
                <a:cubicBezTo>
                  <a:pt x="0" y="220"/>
                  <a:pt x="0" y="220"/>
                  <a:pt x="0" y="220"/>
                </a:cubicBezTo>
                <a:cubicBezTo>
                  <a:pt x="0" y="223"/>
                  <a:pt x="0" y="223"/>
                  <a:pt x="0" y="223"/>
                </a:cubicBezTo>
                <a:cubicBezTo>
                  <a:pt x="0" y="223"/>
                  <a:pt x="0" y="223"/>
                  <a:pt x="0" y="223"/>
                </a:cubicBezTo>
                <a:cubicBezTo>
                  <a:pt x="0" y="223"/>
                  <a:pt x="0" y="223"/>
                  <a:pt x="0" y="223"/>
                </a:cubicBezTo>
                <a:cubicBezTo>
                  <a:pt x="0" y="223"/>
                  <a:pt x="0" y="223"/>
                  <a:pt x="0" y="223"/>
                </a:cubicBezTo>
                <a:cubicBezTo>
                  <a:pt x="0" y="229"/>
                  <a:pt x="0" y="229"/>
                  <a:pt x="0" y="229"/>
                </a:cubicBezTo>
                <a:cubicBezTo>
                  <a:pt x="13" y="229"/>
                  <a:pt x="13" y="229"/>
                  <a:pt x="13" y="229"/>
                </a:cubicBezTo>
                <a:cubicBezTo>
                  <a:pt x="18" y="231"/>
                  <a:pt x="23" y="234"/>
                  <a:pt x="28" y="236"/>
                </a:cubicBezTo>
                <a:cubicBezTo>
                  <a:pt x="42" y="243"/>
                  <a:pt x="57" y="249"/>
                  <a:pt x="70" y="256"/>
                </a:cubicBezTo>
                <a:cubicBezTo>
                  <a:pt x="70" y="256"/>
                  <a:pt x="70" y="256"/>
                  <a:pt x="70" y="256"/>
                </a:cubicBezTo>
                <a:cubicBezTo>
                  <a:pt x="72" y="257"/>
                  <a:pt x="73" y="258"/>
                  <a:pt x="76" y="258"/>
                </a:cubicBezTo>
                <a:cubicBezTo>
                  <a:pt x="78" y="259"/>
                  <a:pt x="79" y="260"/>
                  <a:pt x="81" y="261"/>
                </a:cubicBezTo>
                <a:cubicBezTo>
                  <a:pt x="80" y="260"/>
                  <a:pt x="77" y="259"/>
                  <a:pt x="77" y="258"/>
                </a:cubicBezTo>
                <a:cubicBezTo>
                  <a:pt x="76" y="258"/>
                  <a:pt x="75" y="257"/>
                  <a:pt x="75" y="257"/>
                </a:cubicBezTo>
                <a:cubicBezTo>
                  <a:pt x="74" y="256"/>
                  <a:pt x="72" y="256"/>
                  <a:pt x="72" y="255"/>
                </a:cubicBezTo>
                <a:cubicBezTo>
                  <a:pt x="74" y="255"/>
                  <a:pt x="70" y="254"/>
                  <a:pt x="71" y="254"/>
                </a:cubicBezTo>
                <a:cubicBezTo>
                  <a:pt x="72" y="254"/>
                  <a:pt x="73" y="254"/>
                  <a:pt x="73" y="254"/>
                </a:cubicBezTo>
                <a:cubicBezTo>
                  <a:pt x="73" y="254"/>
                  <a:pt x="71" y="253"/>
                  <a:pt x="70" y="253"/>
                </a:cubicBezTo>
                <a:cubicBezTo>
                  <a:pt x="69" y="252"/>
                  <a:pt x="67" y="252"/>
                  <a:pt x="67" y="251"/>
                </a:cubicBezTo>
                <a:cubicBezTo>
                  <a:pt x="68" y="252"/>
                  <a:pt x="70" y="252"/>
                  <a:pt x="71" y="253"/>
                </a:cubicBezTo>
                <a:cubicBezTo>
                  <a:pt x="72" y="253"/>
                  <a:pt x="72" y="253"/>
                  <a:pt x="72" y="253"/>
                </a:cubicBezTo>
                <a:cubicBezTo>
                  <a:pt x="70" y="252"/>
                  <a:pt x="69" y="251"/>
                  <a:pt x="67" y="251"/>
                </a:cubicBezTo>
                <a:cubicBezTo>
                  <a:pt x="66" y="250"/>
                  <a:pt x="65" y="249"/>
                  <a:pt x="63" y="249"/>
                </a:cubicBezTo>
                <a:cubicBezTo>
                  <a:pt x="63" y="248"/>
                  <a:pt x="64" y="248"/>
                  <a:pt x="64" y="248"/>
                </a:cubicBezTo>
                <a:cubicBezTo>
                  <a:pt x="66" y="249"/>
                  <a:pt x="68" y="250"/>
                  <a:pt x="70" y="251"/>
                </a:cubicBezTo>
                <a:cubicBezTo>
                  <a:pt x="74" y="253"/>
                  <a:pt x="79" y="255"/>
                  <a:pt x="84" y="258"/>
                </a:cubicBezTo>
                <a:cubicBezTo>
                  <a:pt x="84" y="258"/>
                  <a:pt x="85" y="258"/>
                  <a:pt x="85" y="258"/>
                </a:cubicBezTo>
                <a:cubicBezTo>
                  <a:pt x="86" y="259"/>
                  <a:pt x="88" y="259"/>
                  <a:pt x="89" y="260"/>
                </a:cubicBezTo>
                <a:cubicBezTo>
                  <a:pt x="90" y="260"/>
                  <a:pt x="91" y="261"/>
                  <a:pt x="93" y="261"/>
                </a:cubicBezTo>
                <a:cubicBezTo>
                  <a:pt x="95" y="262"/>
                  <a:pt x="96" y="263"/>
                  <a:pt x="99" y="264"/>
                </a:cubicBezTo>
                <a:cubicBezTo>
                  <a:pt x="99" y="263"/>
                  <a:pt x="97" y="262"/>
                  <a:pt x="94" y="261"/>
                </a:cubicBezTo>
                <a:cubicBezTo>
                  <a:pt x="90" y="258"/>
                  <a:pt x="86" y="257"/>
                  <a:pt x="82" y="256"/>
                </a:cubicBezTo>
                <a:cubicBezTo>
                  <a:pt x="77" y="254"/>
                  <a:pt x="73" y="252"/>
                  <a:pt x="68" y="250"/>
                </a:cubicBezTo>
                <a:cubicBezTo>
                  <a:pt x="65" y="248"/>
                  <a:pt x="61" y="247"/>
                  <a:pt x="58" y="245"/>
                </a:cubicBezTo>
                <a:cubicBezTo>
                  <a:pt x="56" y="244"/>
                  <a:pt x="54" y="243"/>
                  <a:pt x="52" y="242"/>
                </a:cubicBezTo>
                <a:cubicBezTo>
                  <a:pt x="51" y="241"/>
                  <a:pt x="49" y="240"/>
                  <a:pt x="48" y="240"/>
                </a:cubicBezTo>
                <a:cubicBezTo>
                  <a:pt x="50" y="240"/>
                  <a:pt x="51" y="241"/>
                  <a:pt x="53" y="242"/>
                </a:cubicBezTo>
                <a:cubicBezTo>
                  <a:pt x="53" y="242"/>
                  <a:pt x="54" y="242"/>
                  <a:pt x="55" y="242"/>
                </a:cubicBezTo>
                <a:cubicBezTo>
                  <a:pt x="55" y="242"/>
                  <a:pt x="55" y="242"/>
                  <a:pt x="55" y="242"/>
                </a:cubicBezTo>
                <a:cubicBezTo>
                  <a:pt x="55" y="242"/>
                  <a:pt x="53" y="241"/>
                  <a:pt x="51" y="240"/>
                </a:cubicBezTo>
                <a:cubicBezTo>
                  <a:pt x="51" y="240"/>
                  <a:pt x="50" y="240"/>
                  <a:pt x="50" y="239"/>
                </a:cubicBezTo>
                <a:cubicBezTo>
                  <a:pt x="48" y="239"/>
                  <a:pt x="47" y="238"/>
                  <a:pt x="46" y="237"/>
                </a:cubicBezTo>
                <a:cubicBezTo>
                  <a:pt x="44" y="237"/>
                  <a:pt x="43" y="237"/>
                  <a:pt x="41" y="236"/>
                </a:cubicBezTo>
                <a:cubicBezTo>
                  <a:pt x="41" y="236"/>
                  <a:pt x="41" y="235"/>
                  <a:pt x="41" y="235"/>
                </a:cubicBezTo>
                <a:cubicBezTo>
                  <a:pt x="39" y="234"/>
                  <a:pt x="38" y="233"/>
                  <a:pt x="35" y="233"/>
                </a:cubicBezTo>
                <a:cubicBezTo>
                  <a:pt x="33" y="232"/>
                  <a:pt x="31" y="230"/>
                  <a:pt x="28" y="229"/>
                </a:cubicBezTo>
                <a:cubicBezTo>
                  <a:pt x="28" y="229"/>
                  <a:pt x="28" y="229"/>
                  <a:pt x="28" y="229"/>
                </a:cubicBezTo>
                <a:cubicBezTo>
                  <a:pt x="33" y="229"/>
                  <a:pt x="33" y="229"/>
                  <a:pt x="33" y="229"/>
                </a:cubicBezTo>
                <a:cubicBezTo>
                  <a:pt x="41" y="233"/>
                  <a:pt x="49" y="236"/>
                  <a:pt x="57" y="240"/>
                </a:cubicBezTo>
                <a:cubicBezTo>
                  <a:pt x="58" y="240"/>
                  <a:pt x="59" y="240"/>
                  <a:pt x="60" y="241"/>
                </a:cubicBezTo>
                <a:cubicBezTo>
                  <a:pt x="63" y="242"/>
                  <a:pt x="66" y="244"/>
                  <a:pt x="69" y="245"/>
                </a:cubicBezTo>
                <a:cubicBezTo>
                  <a:pt x="70" y="246"/>
                  <a:pt x="71" y="246"/>
                  <a:pt x="71" y="246"/>
                </a:cubicBezTo>
                <a:cubicBezTo>
                  <a:pt x="72" y="246"/>
                  <a:pt x="73" y="246"/>
                  <a:pt x="74" y="246"/>
                </a:cubicBezTo>
                <a:cubicBezTo>
                  <a:pt x="87" y="252"/>
                  <a:pt x="98" y="259"/>
                  <a:pt x="112" y="265"/>
                </a:cubicBezTo>
                <a:cubicBezTo>
                  <a:pt x="112" y="266"/>
                  <a:pt x="114" y="267"/>
                  <a:pt x="116" y="268"/>
                </a:cubicBezTo>
                <a:cubicBezTo>
                  <a:pt x="117" y="268"/>
                  <a:pt x="117" y="269"/>
                  <a:pt x="121" y="269"/>
                </a:cubicBezTo>
                <a:cubicBezTo>
                  <a:pt x="122" y="269"/>
                  <a:pt x="124" y="270"/>
                  <a:pt x="125" y="271"/>
                </a:cubicBezTo>
                <a:cubicBezTo>
                  <a:pt x="130" y="273"/>
                  <a:pt x="133" y="275"/>
                  <a:pt x="139" y="277"/>
                </a:cubicBezTo>
                <a:cubicBezTo>
                  <a:pt x="137" y="276"/>
                  <a:pt x="133" y="274"/>
                  <a:pt x="133" y="273"/>
                </a:cubicBezTo>
                <a:cubicBezTo>
                  <a:pt x="143" y="277"/>
                  <a:pt x="152" y="281"/>
                  <a:pt x="160" y="286"/>
                </a:cubicBezTo>
                <a:cubicBezTo>
                  <a:pt x="162" y="287"/>
                  <a:pt x="164" y="288"/>
                  <a:pt x="168" y="289"/>
                </a:cubicBezTo>
                <a:cubicBezTo>
                  <a:pt x="168" y="289"/>
                  <a:pt x="169" y="290"/>
                  <a:pt x="169" y="290"/>
                </a:cubicBezTo>
                <a:cubicBezTo>
                  <a:pt x="171" y="291"/>
                  <a:pt x="176" y="293"/>
                  <a:pt x="178" y="295"/>
                </a:cubicBezTo>
                <a:cubicBezTo>
                  <a:pt x="179" y="295"/>
                  <a:pt x="179" y="295"/>
                  <a:pt x="179" y="295"/>
                </a:cubicBezTo>
                <a:cubicBezTo>
                  <a:pt x="179" y="295"/>
                  <a:pt x="179" y="295"/>
                  <a:pt x="179" y="295"/>
                </a:cubicBezTo>
                <a:cubicBezTo>
                  <a:pt x="179" y="295"/>
                  <a:pt x="179" y="295"/>
                  <a:pt x="178" y="295"/>
                </a:cubicBezTo>
                <a:cubicBezTo>
                  <a:pt x="181" y="297"/>
                  <a:pt x="186" y="299"/>
                  <a:pt x="190" y="301"/>
                </a:cubicBezTo>
                <a:cubicBezTo>
                  <a:pt x="195" y="303"/>
                  <a:pt x="200" y="306"/>
                  <a:pt x="202" y="308"/>
                </a:cubicBezTo>
                <a:cubicBezTo>
                  <a:pt x="203" y="309"/>
                  <a:pt x="204" y="309"/>
                  <a:pt x="204" y="309"/>
                </a:cubicBezTo>
                <a:cubicBezTo>
                  <a:pt x="208" y="311"/>
                  <a:pt x="214" y="314"/>
                  <a:pt x="218" y="316"/>
                </a:cubicBezTo>
                <a:cubicBezTo>
                  <a:pt x="219" y="317"/>
                  <a:pt x="221" y="318"/>
                  <a:pt x="224" y="318"/>
                </a:cubicBezTo>
                <a:cubicBezTo>
                  <a:pt x="225" y="318"/>
                  <a:pt x="226" y="319"/>
                  <a:pt x="228" y="320"/>
                </a:cubicBezTo>
                <a:cubicBezTo>
                  <a:pt x="228" y="320"/>
                  <a:pt x="229" y="320"/>
                  <a:pt x="229" y="320"/>
                </a:cubicBezTo>
                <a:cubicBezTo>
                  <a:pt x="229" y="320"/>
                  <a:pt x="229" y="320"/>
                  <a:pt x="229" y="320"/>
                </a:cubicBezTo>
                <a:cubicBezTo>
                  <a:pt x="226" y="317"/>
                  <a:pt x="221" y="315"/>
                  <a:pt x="216" y="313"/>
                </a:cubicBezTo>
                <a:cubicBezTo>
                  <a:pt x="214" y="312"/>
                  <a:pt x="211" y="311"/>
                  <a:pt x="211" y="310"/>
                </a:cubicBezTo>
                <a:cubicBezTo>
                  <a:pt x="204" y="309"/>
                  <a:pt x="209" y="308"/>
                  <a:pt x="204" y="306"/>
                </a:cubicBezTo>
                <a:cubicBezTo>
                  <a:pt x="204" y="306"/>
                  <a:pt x="204" y="306"/>
                  <a:pt x="204" y="306"/>
                </a:cubicBezTo>
                <a:cubicBezTo>
                  <a:pt x="203" y="305"/>
                  <a:pt x="203" y="304"/>
                  <a:pt x="200" y="303"/>
                </a:cubicBezTo>
                <a:cubicBezTo>
                  <a:pt x="197" y="302"/>
                  <a:pt x="193" y="300"/>
                  <a:pt x="191" y="299"/>
                </a:cubicBezTo>
                <a:cubicBezTo>
                  <a:pt x="189" y="297"/>
                  <a:pt x="188" y="298"/>
                  <a:pt x="186" y="298"/>
                </a:cubicBezTo>
                <a:cubicBezTo>
                  <a:pt x="186" y="297"/>
                  <a:pt x="188" y="297"/>
                  <a:pt x="185" y="296"/>
                </a:cubicBezTo>
                <a:cubicBezTo>
                  <a:pt x="185" y="295"/>
                  <a:pt x="181" y="294"/>
                  <a:pt x="181" y="293"/>
                </a:cubicBezTo>
                <a:cubicBezTo>
                  <a:pt x="181" y="293"/>
                  <a:pt x="182" y="293"/>
                  <a:pt x="182" y="293"/>
                </a:cubicBezTo>
                <a:cubicBezTo>
                  <a:pt x="184" y="293"/>
                  <a:pt x="183" y="293"/>
                  <a:pt x="183" y="292"/>
                </a:cubicBezTo>
                <a:cubicBezTo>
                  <a:pt x="187" y="293"/>
                  <a:pt x="190" y="295"/>
                  <a:pt x="190" y="295"/>
                </a:cubicBezTo>
                <a:cubicBezTo>
                  <a:pt x="190" y="297"/>
                  <a:pt x="192" y="297"/>
                  <a:pt x="196" y="298"/>
                </a:cubicBezTo>
                <a:cubicBezTo>
                  <a:pt x="198" y="299"/>
                  <a:pt x="200" y="300"/>
                  <a:pt x="201" y="301"/>
                </a:cubicBezTo>
                <a:cubicBezTo>
                  <a:pt x="202" y="301"/>
                  <a:pt x="204" y="302"/>
                  <a:pt x="206" y="302"/>
                </a:cubicBezTo>
                <a:cubicBezTo>
                  <a:pt x="206" y="303"/>
                  <a:pt x="206" y="303"/>
                  <a:pt x="207" y="303"/>
                </a:cubicBezTo>
                <a:cubicBezTo>
                  <a:pt x="210" y="304"/>
                  <a:pt x="214" y="306"/>
                  <a:pt x="218" y="308"/>
                </a:cubicBezTo>
                <a:cubicBezTo>
                  <a:pt x="218" y="308"/>
                  <a:pt x="218" y="308"/>
                  <a:pt x="218" y="308"/>
                </a:cubicBezTo>
                <a:cubicBezTo>
                  <a:pt x="218" y="308"/>
                  <a:pt x="218" y="308"/>
                  <a:pt x="218" y="308"/>
                </a:cubicBezTo>
                <a:cubicBezTo>
                  <a:pt x="218" y="308"/>
                  <a:pt x="218" y="308"/>
                  <a:pt x="218" y="308"/>
                </a:cubicBezTo>
                <a:cubicBezTo>
                  <a:pt x="220" y="309"/>
                  <a:pt x="223" y="310"/>
                  <a:pt x="225" y="311"/>
                </a:cubicBezTo>
                <a:cubicBezTo>
                  <a:pt x="229" y="312"/>
                  <a:pt x="232" y="314"/>
                  <a:pt x="236" y="316"/>
                </a:cubicBezTo>
                <a:cubicBezTo>
                  <a:pt x="235" y="314"/>
                  <a:pt x="225" y="311"/>
                  <a:pt x="227" y="310"/>
                </a:cubicBezTo>
                <a:cubicBezTo>
                  <a:pt x="228" y="310"/>
                  <a:pt x="228" y="309"/>
                  <a:pt x="228" y="309"/>
                </a:cubicBezTo>
                <a:cubicBezTo>
                  <a:pt x="228" y="309"/>
                  <a:pt x="228" y="308"/>
                  <a:pt x="227" y="308"/>
                </a:cubicBezTo>
                <a:cubicBezTo>
                  <a:pt x="225" y="308"/>
                  <a:pt x="223" y="307"/>
                  <a:pt x="220" y="306"/>
                </a:cubicBezTo>
                <a:cubicBezTo>
                  <a:pt x="220" y="306"/>
                  <a:pt x="219" y="305"/>
                  <a:pt x="218" y="305"/>
                </a:cubicBezTo>
                <a:cubicBezTo>
                  <a:pt x="217" y="305"/>
                  <a:pt x="216" y="304"/>
                  <a:pt x="216" y="304"/>
                </a:cubicBezTo>
                <a:cubicBezTo>
                  <a:pt x="210" y="301"/>
                  <a:pt x="206" y="298"/>
                  <a:pt x="202" y="296"/>
                </a:cubicBezTo>
                <a:cubicBezTo>
                  <a:pt x="204" y="296"/>
                  <a:pt x="206" y="297"/>
                  <a:pt x="208" y="298"/>
                </a:cubicBezTo>
                <a:cubicBezTo>
                  <a:pt x="208" y="297"/>
                  <a:pt x="204" y="296"/>
                  <a:pt x="203" y="295"/>
                </a:cubicBezTo>
                <a:cubicBezTo>
                  <a:pt x="203" y="295"/>
                  <a:pt x="203" y="295"/>
                  <a:pt x="204" y="295"/>
                </a:cubicBezTo>
                <a:cubicBezTo>
                  <a:pt x="204" y="295"/>
                  <a:pt x="204" y="295"/>
                  <a:pt x="204" y="295"/>
                </a:cubicBezTo>
                <a:cubicBezTo>
                  <a:pt x="204" y="295"/>
                  <a:pt x="204" y="294"/>
                  <a:pt x="205" y="295"/>
                </a:cubicBezTo>
                <a:cubicBezTo>
                  <a:pt x="208" y="296"/>
                  <a:pt x="209" y="296"/>
                  <a:pt x="210" y="296"/>
                </a:cubicBezTo>
                <a:cubicBezTo>
                  <a:pt x="211" y="295"/>
                  <a:pt x="209" y="295"/>
                  <a:pt x="208" y="294"/>
                </a:cubicBezTo>
                <a:cubicBezTo>
                  <a:pt x="205" y="293"/>
                  <a:pt x="202" y="292"/>
                  <a:pt x="201" y="291"/>
                </a:cubicBezTo>
                <a:cubicBezTo>
                  <a:pt x="199" y="289"/>
                  <a:pt x="197" y="289"/>
                  <a:pt x="195" y="289"/>
                </a:cubicBezTo>
                <a:cubicBezTo>
                  <a:pt x="193" y="288"/>
                  <a:pt x="191" y="287"/>
                  <a:pt x="187" y="285"/>
                </a:cubicBezTo>
                <a:cubicBezTo>
                  <a:pt x="189" y="287"/>
                  <a:pt x="191" y="288"/>
                  <a:pt x="195" y="289"/>
                </a:cubicBezTo>
                <a:cubicBezTo>
                  <a:pt x="197" y="290"/>
                  <a:pt x="199" y="291"/>
                  <a:pt x="201" y="292"/>
                </a:cubicBezTo>
                <a:cubicBezTo>
                  <a:pt x="203" y="293"/>
                  <a:pt x="203" y="294"/>
                  <a:pt x="201" y="294"/>
                </a:cubicBezTo>
                <a:cubicBezTo>
                  <a:pt x="199" y="293"/>
                  <a:pt x="196" y="291"/>
                  <a:pt x="195" y="293"/>
                </a:cubicBezTo>
                <a:cubicBezTo>
                  <a:pt x="195" y="292"/>
                  <a:pt x="194" y="292"/>
                  <a:pt x="193" y="292"/>
                </a:cubicBezTo>
                <a:cubicBezTo>
                  <a:pt x="193" y="291"/>
                  <a:pt x="191" y="290"/>
                  <a:pt x="189" y="290"/>
                </a:cubicBezTo>
                <a:cubicBezTo>
                  <a:pt x="184" y="287"/>
                  <a:pt x="178" y="284"/>
                  <a:pt x="172" y="281"/>
                </a:cubicBezTo>
                <a:cubicBezTo>
                  <a:pt x="169" y="279"/>
                  <a:pt x="167" y="277"/>
                  <a:pt x="162" y="275"/>
                </a:cubicBezTo>
                <a:cubicBezTo>
                  <a:pt x="160" y="273"/>
                  <a:pt x="154" y="271"/>
                  <a:pt x="152" y="269"/>
                </a:cubicBezTo>
                <a:cubicBezTo>
                  <a:pt x="151" y="269"/>
                  <a:pt x="149" y="268"/>
                  <a:pt x="148" y="267"/>
                </a:cubicBezTo>
                <a:cubicBezTo>
                  <a:pt x="147" y="266"/>
                  <a:pt x="146" y="266"/>
                  <a:pt x="146" y="265"/>
                </a:cubicBezTo>
                <a:cubicBezTo>
                  <a:pt x="145" y="265"/>
                  <a:pt x="145" y="264"/>
                  <a:pt x="144" y="264"/>
                </a:cubicBezTo>
                <a:cubicBezTo>
                  <a:pt x="146" y="265"/>
                  <a:pt x="148" y="266"/>
                  <a:pt x="150" y="267"/>
                </a:cubicBezTo>
                <a:cubicBezTo>
                  <a:pt x="152" y="267"/>
                  <a:pt x="152" y="268"/>
                  <a:pt x="154" y="268"/>
                </a:cubicBezTo>
                <a:cubicBezTo>
                  <a:pt x="155" y="269"/>
                  <a:pt x="157" y="269"/>
                  <a:pt x="158" y="270"/>
                </a:cubicBezTo>
                <a:cubicBezTo>
                  <a:pt x="158" y="269"/>
                  <a:pt x="158" y="269"/>
                  <a:pt x="159" y="269"/>
                </a:cubicBezTo>
                <a:cubicBezTo>
                  <a:pt x="162" y="270"/>
                  <a:pt x="164" y="272"/>
                  <a:pt x="168" y="273"/>
                </a:cubicBezTo>
                <a:cubicBezTo>
                  <a:pt x="170" y="274"/>
                  <a:pt x="172" y="275"/>
                  <a:pt x="173" y="276"/>
                </a:cubicBezTo>
                <a:cubicBezTo>
                  <a:pt x="173" y="276"/>
                  <a:pt x="172" y="276"/>
                  <a:pt x="173" y="277"/>
                </a:cubicBezTo>
                <a:cubicBezTo>
                  <a:pt x="175" y="277"/>
                  <a:pt x="175" y="277"/>
                  <a:pt x="176" y="277"/>
                </a:cubicBezTo>
                <a:cubicBezTo>
                  <a:pt x="177" y="277"/>
                  <a:pt x="178" y="278"/>
                  <a:pt x="180" y="279"/>
                </a:cubicBezTo>
                <a:cubicBezTo>
                  <a:pt x="180" y="279"/>
                  <a:pt x="180" y="279"/>
                  <a:pt x="180" y="279"/>
                </a:cubicBezTo>
                <a:cubicBezTo>
                  <a:pt x="186" y="283"/>
                  <a:pt x="196" y="287"/>
                  <a:pt x="204" y="291"/>
                </a:cubicBezTo>
                <a:cubicBezTo>
                  <a:pt x="208" y="293"/>
                  <a:pt x="212" y="296"/>
                  <a:pt x="216" y="298"/>
                </a:cubicBezTo>
                <a:cubicBezTo>
                  <a:pt x="218" y="299"/>
                  <a:pt x="221" y="301"/>
                  <a:pt x="224" y="302"/>
                </a:cubicBezTo>
                <a:cubicBezTo>
                  <a:pt x="225" y="303"/>
                  <a:pt x="225" y="304"/>
                  <a:pt x="228" y="304"/>
                </a:cubicBezTo>
                <a:cubicBezTo>
                  <a:pt x="233" y="305"/>
                  <a:pt x="230" y="303"/>
                  <a:pt x="230" y="303"/>
                </a:cubicBezTo>
                <a:cubicBezTo>
                  <a:pt x="231" y="303"/>
                  <a:pt x="232" y="304"/>
                  <a:pt x="234" y="304"/>
                </a:cubicBezTo>
                <a:cubicBezTo>
                  <a:pt x="232" y="303"/>
                  <a:pt x="229" y="301"/>
                  <a:pt x="226" y="299"/>
                </a:cubicBezTo>
                <a:cubicBezTo>
                  <a:pt x="227" y="299"/>
                  <a:pt x="228" y="299"/>
                  <a:pt x="226" y="298"/>
                </a:cubicBezTo>
                <a:cubicBezTo>
                  <a:pt x="223" y="297"/>
                  <a:pt x="221" y="296"/>
                  <a:pt x="217" y="294"/>
                </a:cubicBezTo>
                <a:cubicBezTo>
                  <a:pt x="217" y="294"/>
                  <a:pt x="217" y="294"/>
                  <a:pt x="217" y="294"/>
                </a:cubicBezTo>
                <a:cubicBezTo>
                  <a:pt x="217" y="294"/>
                  <a:pt x="217" y="294"/>
                  <a:pt x="217" y="294"/>
                </a:cubicBezTo>
                <a:cubicBezTo>
                  <a:pt x="217" y="294"/>
                  <a:pt x="217" y="294"/>
                  <a:pt x="217" y="294"/>
                </a:cubicBezTo>
                <a:cubicBezTo>
                  <a:pt x="217" y="294"/>
                  <a:pt x="220" y="294"/>
                  <a:pt x="215" y="293"/>
                </a:cubicBezTo>
                <a:cubicBezTo>
                  <a:pt x="214" y="292"/>
                  <a:pt x="212" y="291"/>
                  <a:pt x="214" y="291"/>
                </a:cubicBezTo>
                <a:cubicBezTo>
                  <a:pt x="214" y="291"/>
                  <a:pt x="214" y="291"/>
                  <a:pt x="214" y="291"/>
                </a:cubicBezTo>
                <a:cubicBezTo>
                  <a:pt x="214" y="291"/>
                  <a:pt x="214" y="291"/>
                  <a:pt x="214" y="291"/>
                </a:cubicBezTo>
                <a:cubicBezTo>
                  <a:pt x="214" y="291"/>
                  <a:pt x="214" y="291"/>
                  <a:pt x="214" y="291"/>
                </a:cubicBezTo>
                <a:cubicBezTo>
                  <a:pt x="219" y="293"/>
                  <a:pt x="223" y="296"/>
                  <a:pt x="230" y="298"/>
                </a:cubicBezTo>
                <a:cubicBezTo>
                  <a:pt x="231" y="299"/>
                  <a:pt x="232" y="299"/>
                  <a:pt x="233" y="300"/>
                </a:cubicBezTo>
                <a:cubicBezTo>
                  <a:pt x="236" y="300"/>
                  <a:pt x="232" y="299"/>
                  <a:pt x="232" y="299"/>
                </a:cubicBezTo>
                <a:cubicBezTo>
                  <a:pt x="233" y="299"/>
                  <a:pt x="234" y="298"/>
                  <a:pt x="235" y="298"/>
                </a:cubicBezTo>
                <a:cubicBezTo>
                  <a:pt x="239" y="300"/>
                  <a:pt x="241" y="301"/>
                  <a:pt x="244" y="303"/>
                </a:cubicBezTo>
                <a:cubicBezTo>
                  <a:pt x="246" y="304"/>
                  <a:pt x="248" y="305"/>
                  <a:pt x="250" y="305"/>
                </a:cubicBezTo>
                <a:cubicBezTo>
                  <a:pt x="253" y="306"/>
                  <a:pt x="247" y="304"/>
                  <a:pt x="246" y="303"/>
                </a:cubicBezTo>
                <a:cubicBezTo>
                  <a:pt x="246" y="303"/>
                  <a:pt x="246" y="303"/>
                  <a:pt x="246" y="302"/>
                </a:cubicBezTo>
                <a:cubicBezTo>
                  <a:pt x="246" y="302"/>
                  <a:pt x="246" y="302"/>
                  <a:pt x="246" y="302"/>
                </a:cubicBezTo>
                <a:cubicBezTo>
                  <a:pt x="247" y="302"/>
                  <a:pt x="247" y="302"/>
                  <a:pt x="248" y="302"/>
                </a:cubicBezTo>
                <a:cubicBezTo>
                  <a:pt x="245" y="301"/>
                  <a:pt x="240" y="299"/>
                  <a:pt x="238" y="298"/>
                </a:cubicBezTo>
                <a:cubicBezTo>
                  <a:pt x="237" y="297"/>
                  <a:pt x="237" y="297"/>
                  <a:pt x="236" y="296"/>
                </a:cubicBezTo>
                <a:cubicBezTo>
                  <a:pt x="236" y="296"/>
                  <a:pt x="237" y="296"/>
                  <a:pt x="238" y="296"/>
                </a:cubicBezTo>
                <a:cubicBezTo>
                  <a:pt x="238" y="296"/>
                  <a:pt x="238" y="296"/>
                  <a:pt x="237" y="295"/>
                </a:cubicBezTo>
                <a:cubicBezTo>
                  <a:pt x="231" y="292"/>
                  <a:pt x="231" y="292"/>
                  <a:pt x="237" y="292"/>
                </a:cubicBezTo>
                <a:cubicBezTo>
                  <a:pt x="239" y="292"/>
                  <a:pt x="239" y="293"/>
                  <a:pt x="242" y="293"/>
                </a:cubicBezTo>
                <a:cubicBezTo>
                  <a:pt x="244" y="293"/>
                  <a:pt x="241" y="292"/>
                  <a:pt x="240" y="292"/>
                </a:cubicBezTo>
                <a:cubicBezTo>
                  <a:pt x="239" y="291"/>
                  <a:pt x="239" y="290"/>
                  <a:pt x="241" y="291"/>
                </a:cubicBezTo>
                <a:cubicBezTo>
                  <a:pt x="247" y="293"/>
                  <a:pt x="253" y="294"/>
                  <a:pt x="258" y="297"/>
                </a:cubicBezTo>
                <a:cubicBezTo>
                  <a:pt x="258" y="297"/>
                  <a:pt x="259" y="297"/>
                  <a:pt x="258" y="297"/>
                </a:cubicBezTo>
                <a:cubicBezTo>
                  <a:pt x="258" y="297"/>
                  <a:pt x="256" y="296"/>
                  <a:pt x="255" y="297"/>
                </a:cubicBezTo>
                <a:cubicBezTo>
                  <a:pt x="260" y="300"/>
                  <a:pt x="270" y="302"/>
                  <a:pt x="275" y="305"/>
                </a:cubicBezTo>
                <a:cubicBezTo>
                  <a:pt x="277" y="307"/>
                  <a:pt x="280" y="308"/>
                  <a:pt x="284" y="310"/>
                </a:cubicBezTo>
                <a:cubicBezTo>
                  <a:pt x="285" y="311"/>
                  <a:pt x="286" y="311"/>
                  <a:pt x="288" y="311"/>
                </a:cubicBezTo>
                <a:cubicBezTo>
                  <a:pt x="290" y="311"/>
                  <a:pt x="289" y="310"/>
                  <a:pt x="287" y="310"/>
                </a:cubicBezTo>
                <a:cubicBezTo>
                  <a:pt x="283" y="308"/>
                  <a:pt x="287" y="309"/>
                  <a:pt x="287" y="308"/>
                </a:cubicBezTo>
                <a:cubicBezTo>
                  <a:pt x="288" y="308"/>
                  <a:pt x="289" y="308"/>
                  <a:pt x="289" y="309"/>
                </a:cubicBezTo>
                <a:cubicBezTo>
                  <a:pt x="287" y="308"/>
                  <a:pt x="287" y="306"/>
                  <a:pt x="282" y="306"/>
                </a:cubicBezTo>
                <a:cubicBezTo>
                  <a:pt x="281" y="306"/>
                  <a:pt x="283" y="307"/>
                  <a:pt x="283" y="307"/>
                </a:cubicBezTo>
                <a:cubicBezTo>
                  <a:pt x="280" y="307"/>
                  <a:pt x="280" y="306"/>
                  <a:pt x="278" y="305"/>
                </a:cubicBezTo>
                <a:cubicBezTo>
                  <a:pt x="273" y="303"/>
                  <a:pt x="273" y="302"/>
                  <a:pt x="268" y="300"/>
                </a:cubicBezTo>
                <a:cubicBezTo>
                  <a:pt x="266" y="299"/>
                  <a:pt x="264" y="298"/>
                  <a:pt x="262" y="297"/>
                </a:cubicBezTo>
                <a:cubicBezTo>
                  <a:pt x="262" y="296"/>
                  <a:pt x="263" y="296"/>
                  <a:pt x="262" y="295"/>
                </a:cubicBezTo>
                <a:cubicBezTo>
                  <a:pt x="260" y="294"/>
                  <a:pt x="258" y="293"/>
                  <a:pt x="256" y="292"/>
                </a:cubicBezTo>
                <a:cubicBezTo>
                  <a:pt x="256" y="292"/>
                  <a:pt x="255" y="292"/>
                  <a:pt x="255" y="292"/>
                </a:cubicBezTo>
                <a:cubicBezTo>
                  <a:pt x="257" y="293"/>
                  <a:pt x="259" y="294"/>
                  <a:pt x="261" y="295"/>
                </a:cubicBezTo>
                <a:cubicBezTo>
                  <a:pt x="256" y="294"/>
                  <a:pt x="255" y="293"/>
                  <a:pt x="252" y="292"/>
                </a:cubicBezTo>
                <a:cubicBezTo>
                  <a:pt x="251" y="290"/>
                  <a:pt x="245" y="288"/>
                  <a:pt x="242" y="287"/>
                </a:cubicBezTo>
                <a:cubicBezTo>
                  <a:pt x="242" y="286"/>
                  <a:pt x="241" y="286"/>
                  <a:pt x="240" y="286"/>
                </a:cubicBezTo>
                <a:cubicBezTo>
                  <a:pt x="240" y="286"/>
                  <a:pt x="240" y="286"/>
                  <a:pt x="240" y="286"/>
                </a:cubicBezTo>
                <a:cubicBezTo>
                  <a:pt x="240" y="286"/>
                  <a:pt x="240" y="286"/>
                  <a:pt x="240" y="286"/>
                </a:cubicBezTo>
                <a:cubicBezTo>
                  <a:pt x="240" y="286"/>
                  <a:pt x="240" y="286"/>
                  <a:pt x="240" y="286"/>
                </a:cubicBezTo>
                <a:cubicBezTo>
                  <a:pt x="236" y="285"/>
                  <a:pt x="234" y="283"/>
                  <a:pt x="229" y="281"/>
                </a:cubicBezTo>
                <a:cubicBezTo>
                  <a:pt x="229" y="281"/>
                  <a:pt x="229" y="281"/>
                  <a:pt x="229" y="281"/>
                </a:cubicBezTo>
                <a:cubicBezTo>
                  <a:pt x="229" y="281"/>
                  <a:pt x="229" y="281"/>
                  <a:pt x="229" y="281"/>
                </a:cubicBezTo>
                <a:cubicBezTo>
                  <a:pt x="228" y="280"/>
                  <a:pt x="226" y="279"/>
                  <a:pt x="224" y="279"/>
                </a:cubicBezTo>
                <a:cubicBezTo>
                  <a:pt x="223" y="277"/>
                  <a:pt x="220" y="276"/>
                  <a:pt x="217" y="275"/>
                </a:cubicBezTo>
                <a:cubicBezTo>
                  <a:pt x="215" y="274"/>
                  <a:pt x="214" y="273"/>
                  <a:pt x="212" y="273"/>
                </a:cubicBezTo>
                <a:cubicBezTo>
                  <a:pt x="212" y="272"/>
                  <a:pt x="212" y="272"/>
                  <a:pt x="212" y="272"/>
                </a:cubicBezTo>
                <a:cubicBezTo>
                  <a:pt x="210" y="271"/>
                  <a:pt x="207" y="270"/>
                  <a:pt x="208" y="269"/>
                </a:cubicBezTo>
                <a:cubicBezTo>
                  <a:pt x="214" y="271"/>
                  <a:pt x="218" y="274"/>
                  <a:pt x="225" y="276"/>
                </a:cubicBezTo>
                <a:cubicBezTo>
                  <a:pt x="236" y="282"/>
                  <a:pt x="246" y="287"/>
                  <a:pt x="257" y="292"/>
                </a:cubicBezTo>
                <a:cubicBezTo>
                  <a:pt x="258" y="292"/>
                  <a:pt x="260" y="293"/>
                  <a:pt x="261" y="293"/>
                </a:cubicBezTo>
                <a:cubicBezTo>
                  <a:pt x="262" y="294"/>
                  <a:pt x="262" y="294"/>
                  <a:pt x="263" y="294"/>
                </a:cubicBezTo>
                <a:cubicBezTo>
                  <a:pt x="269" y="297"/>
                  <a:pt x="274" y="300"/>
                  <a:pt x="280" y="302"/>
                </a:cubicBezTo>
                <a:cubicBezTo>
                  <a:pt x="286" y="305"/>
                  <a:pt x="293" y="308"/>
                  <a:pt x="297" y="311"/>
                </a:cubicBezTo>
                <a:cubicBezTo>
                  <a:pt x="298" y="312"/>
                  <a:pt x="301" y="313"/>
                  <a:pt x="303" y="315"/>
                </a:cubicBezTo>
                <a:cubicBezTo>
                  <a:pt x="302" y="314"/>
                  <a:pt x="301" y="314"/>
                  <a:pt x="300" y="314"/>
                </a:cubicBezTo>
                <a:cubicBezTo>
                  <a:pt x="301" y="315"/>
                  <a:pt x="302" y="315"/>
                  <a:pt x="304" y="316"/>
                </a:cubicBezTo>
                <a:cubicBezTo>
                  <a:pt x="305" y="316"/>
                  <a:pt x="304" y="315"/>
                  <a:pt x="304" y="315"/>
                </a:cubicBezTo>
                <a:cubicBezTo>
                  <a:pt x="305" y="315"/>
                  <a:pt x="306" y="316"/>
                  <a:pt x="309" y="316"/>
                </a:cubicBezTo>
                <a:cubicBezTo>
                  <a:pt x="304" y="314"/>
                  <a:pt x="303" y="313"/>
                  <a:pt x="299" y="311"/>
                </a:cubicBezTo>
                <a:cubicBezTo>
                  <a:pt x="297" y="310"/>
                  <a:pt x="296" y="309"/>
                  <a:pt x="294" y="308"/>
                </a:cubicBezTo>
                <a:cubicBezTo>
                  <a:pt x="290" y="306"/>
                  <a:pt x="284" y="303"/>
                  <a:pt x="280" y="300"/>
                </a:cubicBezTo>
                <a:cubicBezTo>
                  <a:pt x="281" y="300"/>
                  <a:pt x="280" y="300"/>
                  <a:pt x="280" y="299"/>
                </a:cubicBezTo>
                <a:cubicBezTo>
                  <a:pt x="279" y="299"/>
                  <a:pt x="279" y="298"/>
                  <a:pt x="280" y="298"/>
                </a:cubicBezTo>
                <a:cubicBezTo>
                  <a:pt x="282" y="298"/>
                  <a:pt x="284" y="299"/>
                  <a:pt x="285" y="300"/>
                </a:cubicBezTo>
                <a:cubicBezTo>
                  <a:pt x="288" y="301"/>
                  <a:pt x="292" y="302"/>
                  <a:pt x="296" y="303"/>
                </a:cubicBezTo>
                <a:cubicBezTo>
                  <a:pt x="300" y="305"/>
                  <a:pt x="302" y="304"/>
                  <a:pt x="304" y="304"/>
                </a:cubicBezTo>
                <a:cubicBezTo>
                  <a:pt x="304" y="304"/>
                  <a:pt x="306" y="304"/>
                  <a:pt x="307" y="304"/>
                </a:cubicBezTo>
                <a:cubicBezTo>
                  <a:pt x="308" y="305"/>
                  <a:pt x="308" y="305"/>
                  <a:pt x="306" y="305"/>
                </a:cubicBezTo>
                <a:cubicBezTo>
                  <a:pt x="303" y="305"/>
                  <a:pt x="304" y="306"/>
                  <a:pt x="302" y="306"/>
                </a:cubicBezTo>
                <a:cubicBezTo>
                  <a:pt x="306" y="307"/>
                  <a:pt x="310" y="308"/>
                  <a:pt x="314" y="310"/>
                </a:cubicBezTo>
                <a:cubicBezTo>
                  <a:pt x="313" y="309"/>
                  <a:pt x="312" y="308"/>
                  <a:pt x="312" y="307"/>
                </a:cubicBezTo>
                <a:cubicBezTo>
                  <a:pt x="314" y="308"/>
                  <a:pt x="319" y="309"/>
                  <a:pt x="318" y="307"/>
                </a:cubicBezTo>
                <a:cubicBezTo>
                  <a:pt x="317" y="305"/>
                  <a:pt x="317" y="305"/>
                  <a:pt x="321" y="305"/>
                </a:cubicBezTo>
                <a:cubicBezTo>
                  <a:pt x="317" y="304"/>
                  <a:pt x="314" y="302"/>
                  <a:pt x="310" y="302"/>
                </a:cubicBezTo>
                <a:cubicBezTo>
                  <a:pt x="310" y="302"/>
                  <a:pt x="309" y="302"/>
                  <a:pt x="309" y="302"/>
                </a:cubicBezTo>
                <a:cubicBezTo>
                  <a:pt x="309" y="301"/>
                  <a:pt x="309" y="301"/>
                  <a:pt x="310" y="301"/>
                </a:cubicBezTo>
                <a:cubicBezTo>
                  <a:pt x="312" y="301"/>
                  <a:pt x="310" y="300"/>
                  <a:pt x="309" y="300"/>
                </a:cubicBezTo>
                <a:cubicBezTo>
                  <a:pt x="308" y="300"/>
                  <a:pt x="308" y="300"/>
                  <a:pt x="308" y="299"/>
                </a:cubicBezTo>
                <a:cubicBezTo>
                  <a:pt x="308" y="299"/>
                  <a:pt x="308" y="299"/>
                  <a:pt x="306" y="298"/>
                </a:cubicBezTo>
                <a:cubicBezTo>
                  <a:pt x="304" y="297"/>
                  <a:pt x="304" y="297"/>
                  <a:pt x="306" y="297"/>
                </a:cubicBezTo>
                <a:cubicBezTo>
                  <a:pt x="307" y="297"/>
                  <a:pt x="304" y="296"/>
                  <a:pt x="305" y="295"/>
                </a:cubicBezTo>
                <a:cubicBezTo>
                  <a:pt x="306" y="296"/>
                  <a:pt x="307" y="297"/>
                  <a:pt x="308" y="297"/>
                </a:cubicBezTo>
                <a:cubicBezTo>
                  <a:pt x="310" y="299"/>
                  <a:pt x="314" y="300"/>
                  <a:pt x="317" y="302"/>
                </a:cubicBezTo>
                <a:cubicBezTo>
                  <a:pt x="318" y="303"/>
                  <a:pt x="320" y="304"/>
                  <a:pt x="322" y="305"/>
                </a:cubicBezTo>
                <a:cubicBezTo>
                  <a:pt x="323" y="305"/>
                  <a:pt x="324" y="306"/>
                  <a:pt x="325" y="306"/>
                </a:cubicBezTo>
                <a:cubicBezTo>
                  <a:pt x="326" y="306"/>
                  <a:pt x="327" y="307"/>
                  <a:pt x="327" y="307"/>
                </a:cubicBezTo>
                <a:cubicBezTo>
                  <a:pt x="327" y="307"/>
                  <a:pt x="328" y="308"/>
                  <a:pt x="329" y="308"/>
                </a:cubicBezTo>
                <a:cubicBezTo>
                  <a:pt x="330" y="308"/>
                  <a:pt x="331" y="309"/>
                  <a:pt x="332" y="309"/>
                </a:cubicBezTo>
                <a:cubicBezTo>
                  <a:pt x="332" y="308"/>
                  <a:pt x="331" y="308"/>
                  <a:pt x="330" y="308"/>
                </a:cubicBezTo>
                <a:cubicBezTo>
                  <a:pt x="329" y="307"/>
                  <a:pt x="328" y="306"/>
                  <a:pt x="326" y="306"/>
                </a:cubicBezTo>
                <a:cubicBezTo>
                  <a:pt x="321" y="303"/>
                  <a:pt x="317" y="300"/>
                  <a:pt x="309" y="297"/>
                </a:cubicBezTo>
                <a:cubicBezTo>
                  <a:pt x="305" y="294"/>
                  <a:pt x="298" y="291"/>
                  <a:pt x="292" y="288"/>
                </a:cubicBezTo>
                <a:cubicBezTo>
                  <a:pt x="289" y="287"/>
                  <a:pt x="287" y="285"/>
                  <a:pt x="284" y="284"/>
                </a:cubicBezTo>
                <a:cubicBezTo>
                  <a:pt x="283" y="283"/>
                  <a:pt x="279" y="281"/>
                  <a:pt x="276" y="280"/>
                </a:cubicBezTo>
                <a:cubicBezTo>
                  <a:pt x="280" y="281"/>
                  <a:pt x="284" y="280"/>
                  <a:pt x="289" y="282"/>
                </a:cubicBezTo>
                <a:cubicBezTo>
                  <a:pt x="294" y="284"/>
                  <a:pt x="299" y="286"/>
                  <a:pt x="303" y="288"/>
                </a:cubicBezTo>
                <a:cubicBezTo>
                  <a:pt x="309" y="291"/>
                  <a:pt x="314" y="295"/>
                  <a:pt x="322" y="298"/>
                </a:cubicBezTo>
                <a:cubicBezTo>
                  <a:pt x="325" y="299"/>
                  <a:pt x="330" y="300"/>
                  <a:pt x="334" y="302"/>
                </a:cubicBezTo>
                <a:cubicBezTo>
                  <a:pt x="335" y="300"/>
                  <a:pt x="331" y="299"/>
                  <a:pt x="328" y="298"/>
                </a:cubicBezTo>
                <a:cubicBezTo>
                  <a:pt x="326" y="297"/>
                  <a:pt x="323" y="297"/>
                  <a:pt x="323" y="296"/>
                </a:cubicBezTo>
                <a:cubicBezTo>
                  <a:pt x="323" y="295"/>
                  <a:pt x="325" y="296"/>
                  <a:pt x="327" y="296"/>
                </a:cubicBezTo>
                <a:cubicBezTo>
                  <a:pt x="328" y="296"/>
                  <a:pt x="330" y="296"/>
                  <a:pt x="331" y="296"/>
                </a:cubicBezTo>
                <a:cubicBezTo>
                  <a:pt x="331" y="297"/>
                  <a:pt x="332" y="297"/>
                  <a:pt x="333" y="298"/>
                </a:cubicBezTo>
                <a:cubicBezTo>
                  <a:pt x="333" y="298"/>
                  <a:pt x="333" y="298"/>
                  <a:pt x="333" y="298"/>
                </a:cubicBezTo>
                <a:cubicBezTo>
                  <a:pt x="333" y="298"/>
                  <a:pt x="333" y="298"/>
                  <a:pt x="333" y="298"/>
                </a:cubicBezTo>
                <a:cubicBezTo>
                  <a:pt x="332" y="298"/>
                  <a:pt x="330" y="297"/>
                  <a:pt x="330" y="297"/>
                </a:cubicBezTo>
                <a:cubicBezTo>
                  <a:pt x="330" y="298"/>
                  <a:pt x="331" y="299"/>
                  <a:pt x="334" y="299"/>
                </a:cubicBezTo>
                <a:cubicBezTo>
                  <a:pt x="334" y="299"/>
                  <a:pt x="335" y="300"/>
                  <a:pt x="335" y="300"/>
                </a:cubicBezTo>
                <a:cubicBezTo>
                  <a:pt x="337" y="301"/>
                  <a:pt x="339" y="302"/>
                  <a:pt x="341" y="303"/>
                </a:cubicBezTo>
                <a:cubicBezTo>
                  <a:pt x="341" y="303"/>
                  <a:pt x="342" y="303"/>
                  <a:pt x="342" y="303"/>
                </a:cubicBezTo>
                <a:cubicBezTo>
                  <a:pt x="340" y="302"/>
                  <a:pt x="338" y="301"/>
                  <a:pt x="336" y="300"/>
                </a:cubicBezTo>
                <a:cubicBezTo>
                  <a:pt x="335" y="299"/>
                  <a:pt x="335" y="299"/>
                  <a:pt x="337" y="298"/>
                </a:cubicBezTo>
                <a:cubicBezTo>
                  <a:pt x="339" y="299"/>
                  <a:pt x="340" y="299"/>
                  <a:pt x="341" y="299"/>
                </a:cubicBezTo>
                <a:cubicBezTo>
                  <a:pt x="342" y="300"/>
                  <a:pt x="344" y="301"/>
                  <a:pt x="347" y="301"/>
                </a:cubicBezTo>
                <a:cubicBezTo>
                  <a:pt x="346" y="300"/>
                  <a:pt x="345" y="299"/>
                  <a:pt x="344" y="299"/>
                </a:cubicBezTo>
                <a:cubicBezTo>
                  <a:pt x="343" y="297"/>
                  <a:pt x="339" y="295"/>
                  <a:pt x="335" y="294"/>
                </a:cubicBezTo>
                <a:cubicBezTo>
                  <a:pt x="334" y="293"/>
                  <a:pt x="333" y="293"/>
                  <a:pt x="331" y="292"/>
                </a:cubicBezTo>
                <a:cubicBezTo>
                  <a:pt x="331" y="292"/>
                  <a:pt x="331" y="292"/>
                  <a:pt x="330" y="291"/>
                </a:cubicBezTo>
                <a:cubicBezTo>
                  <a:pt x="330" y="291"/>
                  <a:pt x="329" y="290"/>
                  <a:pt x="327" y="290"/>
                </a:cubicBezTo>
                <a:cubicBezTo>
                  <a:pt x="326" y="289"/>
                  <a:pt x="325" y="289"/>
                  <a:pt x="325" y="289"/>
                </a:cubicBezTo>
                <a:cubicBezTo>
                  <a:pt x="327" y="288"/>
                  <a:pt x="323" y="287"/>
                  <a:pt x="324" y="287"/>
                </a:cubicBezTo>
                <a:cubicBezTo>
                  <a:pt x="325" y="287"/>
                  <a:pt x="329" y="288"/>
                  <a:pt x="329" y="287"/>
                </a:cubicBezTo>
                <a:cubicBezTo>
                  <a:pt x="330" y="287"/>
                  <a:pt x="328" y="286"/>
                  <a:pt x="326" y="285"/>
                </a:cubicBezTo>
                <a:cubicBezTo>
                  <a:pt x="324" y="284"/>
                  <a:pt x="323" y="284"/>
                  <a:pt x="322" y="283"/>
                </a:cubicBezTo>
                <a:cubicBezTo>
                  <a:pt x="320" y="281"/>
                  <a:pt x="318" y="280"/>
                  <a:pt x="311" y="278"/>
                </a:cubicBezTo>
                <a:cubicBezTo>
                  <a:pt x="310" y="277"/>
                  <a:pt x="304" y="275"/>
                  <a:pt x="301" y="273"/>
                </a:cubicBezTo>
                <a:cubicBezTo>
                  <a:pt x="296" y="271"/>
                  <a:pt x="290" y="268"/>
                  <a:pt x="284" y="265"/>
                </a:cubicBezTo>
                <a:cubicBezTo>
                  <a:pt x="283" y="264"/>
                  <a:pt x="281" y="263"/>
                  <a:pt x="276" y="262"/>
                </a:cubicBezTo>
                <a:cubicBezTo>
                  <a:pt x="278" y="263"/>
                  <a:pt x="281" y="264"/>
                  <a:pt x="283" y="265"/>
                </a:cubicBezTo>
                <a:cubicBezTo>
                  <a:pt x="285" y="266"/>
                  <a:pt x="286" y="267"/>
                  <a:pt x="288" y="268"/>
                </a:cubicBezTo>
                <a:cubicBezTo>
                  <a:pt x="282" y="266"/>
                  <a:pt x="281" y="264"/>
                  <a:pt x="277" y="263"/>
                </a:cubicBezTo>
                <a:cubicBezTo>
                  <a:pt x="275" y="262"/>
                  <a:pt x="273" y="262"/>
                  <a:pt x="272" y="261"/>
                </a:cubicBezTo>
                <a:cubicBezTo>
                  <a:pt x="272" y="261"/>
                  <a:pt x="272" y="261"/>
                  <a:pt x="272" y="261"/>
                </a:cubicBezTo>
                <a:cubicBezTo>
                  <a:pt x="272" y="261"/>
                  <a:pt x="272" y="260"/>
                  <a:pt x="270" y="259"/>
                </a:cubicBezTo>
                <a:cubicBezTo>
                  <a:pt x="268" y="259"/>
                  <a:pt x="268" y="259"/>
                  <a:pt x="268" y="260"/>
                </a:cubicBezTo>
                <a:cubicBezTo>
                  <a:pt x="265" y="258"/>
                  <a:pt x="262" y="257"/>
                  <a:pt x="260" y="256"/>
                </a:cubicBezTo>
                <a:cubicBezTo>
                  <a:pt x="260" y="256"/>
                  <a:pt x="261" y="256"/>
                  <a:pt x="262" y="256"/>
                </a:cubicBezTo>
                <a:cubicBezTo>
                  <a:pt x="263" y="256"/>
                  <a:pt x="264" y="257"/>
                  <a:pt x="265" y="257"/>
                </a:cubicBezTo>
                <a:cubicBezTo>
                  <a:pt x="269" y="258"/>
                  <a:pt x="272" y="259"/>
                  <a:pt x="273" y="260"/>
                </a:cubicBezTo>
                <a:cubicBezTo>
                  <a:pt x="274" y="260"/>
                  <a:pt x="275" y="261"/>
                  <a:pt x="276" y="261"/>
                </a:cubicBezTo>
                <a:cubicBezTo>
                  <a:pt x="277" y="261"/>
                  <a:pt x="276" y="260"/>
                  <a:pt x="275" y="260"/>
                </a:cubicBezTo>
                <a:cubicBezTo>
                  <a:pt x="276" y="260"/>
                  <a:pt x="277" y="260"/>
                  <a:pt x="277" y="260"/>
                </a:cubicBezTo>
                <a:cubicBezTo>
                  <a:pt x="278" y="260"/>
                  <a:pt x="279" y="261"/>
                  <a:pt x="280" y="261"/>
                </a:cubicBezTo>
                <a:cubicBezTo>
                  <a:pt x="285" y="263"/>
                  <a:pt x="289" y="266"/>
                  <a:pt x="294" y="268"/>
                </a:cubicBezTo>
                <a:cubicBezTo>
                  <a:pt x="294" y="268"/>
                  <a:pt x="294" y="268"/>
                  <a:pt x="294" y="267"/>
                </a:cubicBezTo>
                <a:cubicBezTo>
                  <a:pt x="294" y="267"/>
                  <a:pt x="293" y="267"/>
                  <a:pt x="293" y="267"/>
                </a:cubicBezTo>
                <a:cubicBezTo>
                  <a:pt x="293" y="267"/>
                  <a:pt x="293" y="267"/>
                  <a:pt x="293" y="267"/>
                </a:cubicBezTo>
                <a:cubicBezTo>
                  <a:pt x="293" y="267"/>
                  <a:pt x="293" y="267"/>
                  <a:pt x="293" y="267"/>
                </a:cubicBezTo>
                <a:cubicBezTo>
                  <a:pt x="296" y="267"/>
                  <a:pt x="299" y="268"/>
                  <a:pt x="300" y="270"/>
                </a:cubicBezTo>
                <a:cubicBezTo>
                  <a:pt x="301" y="270"/>
                  <a:pt x="303" y="271"/>
                  <a:pt x="306" y="272"/>
                </a:cubicBezTo>
                <a:cubicBezTo>
                  <a:pt x="307" y="272"/>
                  <a:pt x="308" y="272"/>
                  <a:pt x="308" y="272"/>
                </a:cubicBezTo>
                <a:cubicBezTo>
                  <a:pt x="310" y="271"/>
                  <a:pt x="307" y="270"/>
                  <a:pt x="305" y="270"/>
                </a:cubicBezTo>
                <a:cubicBezTo>
                  <a:pt x="298" y="266"/>
                  <a:pt x="289" y="262"/>
                  <a:pt x="282" y="259"/>
                </a:cubicBezTo>
                <a:cubicBezTo>
                  <a:pt x="282" y="259"/>
                  <a:pt x="282" y="259"/>
                  <a:pt x="282" y="259"/>
                </a:cubicBezTo>
                <a:cubicBezTo>
                  <a:pt x="279" y="257"/>
                  <a:pt x="272" y="255"/>
                  <a:pt x="271" y="253"/>
                </a:cubicBezTo>
                <a:cubicBezTo>
                  <a:pt x="281" y="257"/>
                  <a:pt x="290" y="262"/>
                  <a:pt x="299" y="266"/>
                </a:cubicBezTo>
                <a:cubicBezTo>
                  <a:pt x="308" y="270"/>
                  <a:pt x="318" y="275"/>
                  <a:pt x="330" y="280"/>
                </a:cubicBezTo>
                <a:cubicBezTo>
                  <a:pt x="332" y="281"/>
                  <a:pt x="334" y="281"/>
                  <a:pt x="336" y="282"/>
                </a:cubicBezTo>
                <a:cubicBezTo>
                  <a:pt x="340" y="285"/>
                  <a:pt x="347" y="288"/>
                  <a:pt x="352" y="291"/>
                </a:cubicBezTo>
                <a:cubicBezTo>
                  <a:pt x="353" y="291"/>
                  <a:pt x="349" y="290"/>
                  <a:pt x="349" y="289"/>
                </a:cubicBezTo>
                <a:cubicBezTo>
                  <a:pt x="355" y="290"/>
                  <a:pt x="358" y="292"/>
                  <a:pt x="361" y="294"/>
                </a:cubicBezTo>
                <a:cubicBezTo>
                  <a:pt x="363" y="295"/>
                  <a:pt x="365" y="297"/>
                  <a:pt x="371" y="298"/>
                </a:cubicBezTo>
                <a:cubicBezTo>
                  <a:pt x="376" y="299"/>
                  <a:pt x="377" y="300"/>
                  <a:pt x="380" y="302"/>
                </a:cubicBezTo>
                <a:cubicBezTo>
                  <a:pt x="380" y="302"/>
                  <a:pt x="380" y="302"/>
                  <a:pt x="380" y="302"/>
                </a:cubicBezTo>
                <a:cubicBezTo>
                  <a:pt x="385" y="304"/>
                  <a:pt x="389" y="306"/>
                  <a:pt x="393" y="308"/>
                </a:cubicBezTo>
                <a:cubicBezTo>
                  <a:pt x="390" y="307"/>
                  <a:pt x="389" y="306"/>
                  <a:pt x="387" y="306"/>
                </a:cubicBezTo>
                <a:cubicBezTo>
                  <a:pt x="386" y="305"/>
                  <a:pt x="385" y="304"/>
                  <a:pt x="381" y="303"/>
                </a:cubicBezTo>
                <a:cubicBezTo>
                  <a:pt x="382" y="304"/>
                  <a:pt x="383" y="305"/>
                  <a:pt x="386" y="306"/>
                </a:cubicBezTo>
                <a:cubicBezTo>
                  <a:pt x="389" y="307"/>
                  <a:pt x="391" y="308"/>
                  <a:pt x="394" y="310"/>
                </a:cubicBezTo>
                <a:cubicBezTo>
                  <a:pt x="396" y="311"/>
                  <a:pt x="398" y="311"/>
                  <a:pt x="399" y="312"/>
                </a:cubicBezTo>
                <a:cubicBezTo>
                  <a:pt x="399" y="312"/>
                  <a:pt x="400" y="312"/>
                  <a:pt x="400" y="312"/>
                </a:cubicBezTo>
                <a:cubicBezTo>
                  <a:pt x="398" y="311"/>
                  <a:pt x="397" y="311"/>
                  <a:pt x="396" y="310"/>
                </a:cubicBezTo>
                <a:cubicBezTo>
                  <a:pt x="396" y="310"/>
                  <a:pt x="397" y="310"/>
                  <a:pt x="397" y="310"/>
                </a:cubicBezTo>
                <a:cubicBezTo>
                  <a:pt x="402" y="313"/>
                  <a:pt x="410" y="316"/>
                  <a:pt x="413" y="319"/>
                </a:cubicBezTo>
                <a:cubicBezTo>
                  <a:pt x="416" y="320"/>
                  <a:pt x="418" y="321"/>
                  <a:pt x="421" y="322"/>
                </a:cubicBezTo>
                <a:cubicBezTo>
                  <a:pt x="421" y="323"/>
                  <a:pt x="422" y="324"/>
                  <a:pt x="426" y="325"/>
                </a:cubicBezTo>
                <a:cubicBezTo>
                  <a:pt x="429" y="328"/>
                  <a:pt x="436" y="329"/>
                  <a:pt x="442" y="331"/>
                </a:cubicBezTo>
                <a:cubicBezTo>
                  <a:pt x="442" y="331"/>
                  <a:pt x="442" y="331"/>
                  <a:pt x="443" y="331"/>
                </a:cubicBezTo>
                <a:cubicBezTo>
                  <a:pt x="444" y="332"/>
                  <a:pt x="446" y="333"/>
                  <a:pt x="448" y="334"/>
                </a:cubicBezTo>
                <a:cubicBezTo>
                  <a:pt x="450" y="335"/>
                  <a:pt x="448" y="335"/>
                  <a:pt x="446" y="334"/>
                </a:cubicBezTo>
                <a:cubicBezTo>
                  <a:pt x="445" y="334"/>
                  <a:pt x="444" y="333"/>
                  <a:pt x="441" y="333"/>
                </a:cubicBezTo>
                <a:cubicBezTo>
                  <a:pt x="442" y="333"/>
                  <a:pt x="444" y="334"/>
                  <a:pt x="445" y="334"/>
                </a:cubicBezTo>
                <a:cubicBezTo>
                  <a:pt x="446" y="335"/>
                  <a:pt x="447" y="335"/>
                  <a:pt x="448" y="336"/>
                </a:cubicBezTo>
                <a:cubicBezTo>
                  <a:pt x="452" y="338"/>
                  <a:pt x="459" y="341"/>
                  <a:pt x="465" y="344"/>
                </a:cubicBezTo>
                <a:cubicBezTo>
                  <a:pt x="467" y="345"/>
                  <a:pt x="468" y="347"/>
                  <a:pt x="473" y="348"/>
                </a:cubicBezTo>
                <a:cubicBezTo>
                  <a:pt x="472" y="347"/>
                  <a:pt x="469" y="345"/>
                  <a:pt x="466" y="344"/>
                </a:cubicBezTo>
                <a:cubicBezTo>
                  <a:pt x="463" y="342"/>
                  <a:pt x="459" y="340"/>
                  <a:pt x="455" y="339"/>
                </a:cubicBezTo>
                <a:cubicBezTo>
                  <a:pt x="457" y="338"/>
                  <a:pt x="452" y="335"/>
                  <a:pt x="450" y="334"/>
                </a:cubicBezTo>
                <a:cubicBezTo>
                  <a:pt x="449" y="333"/>
                  <a:pt x="446" y="331"/>
                  <a:pt x="444" y="330"/>
                </a:cubicBezTo>
                <a:cubicBezTo>
                  <a:pt x="444" y="329"/>
                  <a:pt x="441" y="329"/>
                  <a:pt x="439" y="328"/>
                </a:cubicBezTo>
                <a:cubicBezTo>
                  <a:pt x="435" y="326"/>
                  <a:pt x="429" y="324"/>
                  <a:pt x="432" y="323"/>
                </a:cubicBezTo>
                <a:cubicBezTo>
                  <a:pt x="433" y="323"/>
                  <a:pt x="431" y="321"/>
                  <a:pt x="427" y="321"/>
                </a:cubicBezTo>
                <a:cubicBezTo>
                  <a:pt x="425" y="320"/>
                  <a:pt x="423" y="319"/>
                  <a:pt x="421" y="318"/>
                </a:cubicBezTo>
                <a:cubicBezTo>
                  <a:pt x="420" y="317"/>
                  <a:pt x="418" y="317"/>
                  <a:pt x="417" y="316"/>
                </a:cubicBezTo>
                <a:cubicBezTo>
                  <a:pt x="417" y="315"/>
                  <a:pt x="416" y="315"/>
                  <a:pt x="414" y="314"/>
                </a:cubicBezTo>
                <a:cubicBezTo>
                  <a:pt x="413" y="314"/>
                  <a:pt x="414" y="315"/>
                  <a:pt x="415" y="316"/>
                </a:cubicBezTo>
                <a:cubicBezTo>
                  <a:pt x="416" y="317"/>
                  <a:pt x="417" y="317"/>
                  <a:pt x="419" y="318"/>
                </a:cubicBezTo>
                <a:cubicBezTo>
                  <a:pt x="421" y="319"/>
                  <a:pt x="421" y="320"/>
                  <a:pt x="419" y="320"/>
                </a:cubicBezTo>
                <a:cubicBezTo>
                  <a:pt x="417" y="320"/>
                  <a:pt x="417" y="319"/>
                  <a:pt x="416" y="319"/>
                </a:cubicBezTo>
                <a:cubicBezTo>
                  <a:pt x="408" y="314"/>
                  <a:pt x="399" y="310"/>
                  <a:pt x="391" y="306"/>
                </a:cubicBezTo>
                <a:cubicBezTo>
                  <a:pt x="393" y="306"/>
                  <a:pt x="396" y="307"/>
                  <a:pt x="397" y="308"/>
                </a:cubicBezTo>
                <a:cubicBezTo>
                  <a:pt x="402" y="311"/>
                  <a:pt x="407" y="311"/>
                  <a:pt x="413" y="311"/>
                </a:cubicBezTo>
                <a:cubicBezTo>
                  <a:pt x="413" y="312"/>
                  <a:pt x="412" y="312"/>
                  <a:pt x="413" y="312"/>
                </a:cubicBezTo>
                <a:cubicBezTo>
                  <a:pt x="413" y="313"/>
                  <a:pt x="414" y="313"/>
                  <a:pt x="415" y="313"/>
                </a:cubicBezTo>
                <a:cubicBezTo>
                  <a:pt x="415" y="312"/>
                  <a:pt x="416" y="312"/>
                  <a:pt x="414" y="311"/>
                </a:cubicBezTo>
                <a:cubicBezTo>
                  <a:pt x="413" y="311"/>
                  <a:pt x="420" y="312"/>
                  <a:pt x="416" y="310"/>
                </a:cubicBezTo>
                <a:cubicBezTo>
                  <a:pt x="414" y="309"/>
                  <a:pt x="410" y="309"/>
                  <a:pt x="410" y="309"/>
                </a:cubicBezTo>
                <a:cubicBezTo>
                  <a:pt x="406" y="311"/>
                  <a:pt x="403" y="308"/>
                  <a:pt x="399" y="307"/>
                </a:cubicBezTo>
                <a:cubicBezTo>
                  <a:pt x="398" y="306"/>
                  <a:pt x="396" y="305"/>
                  <a:pt x="395" y="305"/>
                </a:cubicBezTo>
                <a:cubicBezTo>
                  <a:pt x="391" y="302"/>
                  <a:pt x="388" y="303"/>
                  <a:pt x="385" y="303"/>
                </a:cubicBezTo>
                <a:cubicBezTo>
                  <a:pt x="385" y="303"/>
                  <a:pt x="385" y="303"/>
                  <a:pt x="385" y="303"/>
                </a:cubicBezTo>
                <a:cubicBezTo>
                  <a:pt x="384" y="302"/>
                  <a:pt x="384" y="302"/>
                  <a:pt x="384" y="302"/>
                </a:cubicBezTo>
                <a:cubicBezTo>
                  <a:pt x="382" y="301"/>
                  <a:pt x="385" y="301"/>
                  <a:pt x="384" y="299"/>
                </a:cubicBezTo>
                <a:cubicBezTo>
                  <a:pt x="380" y="296"/>
                  <a:pt x="373" y="294"/>
                  <a:pt x="369" y="291"/>
                </a:cubicBezTo>
                <a:cubicBezTo>
                  <a:pt x="367" y="291"/>
                  <a:pt x="366" y="290"/>
                  <a:pt x="365" y="289"/>
                </a:cubicBezTo>
                <a:cubicBezTo>
                  <a:pt x="359" y="288"/>
                  <a:pt x="358" y="286"/>
                  <a:pt x="354" y="284"/>
                </a:cubicBezTo>
                <a:cubicBezTo>
                  <a:pt x="348" y="282"/>
                  <a:pt x="346" y="279"/>
                  <a:pt x="341" y="277"/>
                </a:cubicBezTo>
                <a:cubicBezTo>
                  <a:pt x="338" y="276"/>
                  <a:pt x="335" y="274"/>
                  <a:pt x="333" y="273"/>
                </a:cubicBezTo>
                <a:cubicBezTo>
                  <a:pt x="327" y="270"/>
                  <a:pt x="320" y="267"/>
                  <a:pt x="314" y="264"/>
                </a:cubicBezTo>
                <a:cubicBezTo>
                  <a:pt x="313" y="263"/>
                  <a:pt x="311" y="263"/>
                  <a:pt x="310" y="262"/>
                </a:cubicBezTo>
                <a:cubicBezTo>
                  <a:pt x="311" y="262"/>
                  <a:pt x="312" y="262"/>
                  <a:pt x="313" y="262"/>
                </a:cubicBezTo>
                <a:cubicBezTo>
                  <a:pt x="318" y="265"/>
                  <a:pt x="323" y="267"/>
                  <a:pt x="329" y="269"/>
                </a:cubicBezTo>
                <a:cubicBezTo>
                  <a:pt x="328" y="269"/>
                  <a:pt x="328" y="269"/>
                  <a:pt x="328" y="268"/>
                </a:cubicBezTo>
                <a:cubicBezTo>
                  <a:pt x="328" y="269"/>
                  <a:pt x="329" y="269"/>
                  <a:pt x="329" y="269"/>
                </a:cubicBezTo>
                <a:cubicBezTo>
                  <a:pt x="335" y="272"/>
                  <a:pt x="342" y="275"/>
                  <a:pt x="348" y="279"/>
                </a:cubicBezTo>
                <a:cubicBezTo>
                  <a:pt x="354" y="281"/>
                  <a:pt x="361" y="284"/>
                  <a:pt x="367" y="287"/>
                </a:cubicBezTo>
                <a:cubicBezTo>
                  <a:pt x="377" y="291"/>
                  <a:pt x="387" y="296"/>
                  <a:pt x="396" y="300"/>
                </a:cubicBezTo>
                <a:cubicBezTo>
                  <a:pt x="398" y="301"/>
                  <a:pt x="401" y="303"/>
                  <a:pt x="404" y="304"/>
                </a:cubicBezTo>
                <a:cubicBezTo>
                  <a:pt x="409" y="307"/>
                  <a:pt x="418" y="310"/>
                  <a:pt x="424" y="314"/>
                </a:cubicBezTo>
                <a:cubicBezTo>
                  <a:pt x="425" y="315"/>
                  <a:pt x="429" y="316"/>
                  <a:pt x="432" y="318"/>
                </a:cubicBezTo>
                <a:cubicBezTo>
                  <a:pt x="433" y="317"/>
                  <a:pt x="428" y="315"/>
                  <a:pt x="426" y="314"/>
                </a:cubicBezTo>
                <a:cubicBezTo>
                  <a:pt x="426" y="314"/>
                  <a:pt x="426" y="314"/>
                  <a:pt x="426" y="314"/>
                </a:cubicBezTo>
                <a:cubicBezTo>
                  <a:pt x="428" y="313"/>
                  <a:pt x="429" y="313"/>
                  <a:pt x="436" y="315"/>
                </a:cubicBezTo>
                <a:cubicBezTo>
                  <a:pt x="434" y="314"/>
                  <a:pt x="434" y="312"/>
                  <a:pt x="430" y="311"/>
                </a:cubicBezTo>
                <a:cubicBezTo>
                  <a:pt x="428" y="311"/>
                  <a:pt x="431" y="313"/>
                  <a:pt x="426" y="311"/>
                </a:cubicBezTo>
                <a:cubicBezTo>
                  <a:pt x="422" y="310"/>
                  <a:pt x="423" y="309"/>
                  <a:pt x="420" y="308"/>
                </a:cubicBezTo>
                <a:cubicBezTo>
                  <a:pt x="420" y="307"/>
                  <a:pt x="425" y="307"/>
                  <a:pt x="425" y="307"/>
                </a:cubicBezTo>
                <a:cubicBezTo>
                  <a:pt x="434" y="309"/>
                  <a:pt x="425" y="307"/>
                  <a:pt x="426" y="306"/>
                </a:cubicBezTo>
                <a:cubicBezTo>
                  <a:pt x="425" y="306"/>
                  <a:pt x="426" y="306"/>
                  <a:pt x="427" y="306"/>
                </a:cubicBezTo>
                <a:cubicBezTo>
                  <a:pt x="427" y="306"/>
                  <a:pt x="428" y="306"/>
                  <a:pt x="429" y="306"/>
                </a:cubicBezTo>
                <a:cubicBezTo>
                  <a:pt x="430" y="306"/>
                  <a:pt x="432" y="307"/>
                  <a:pt x="434" y="308"/>
                </a:cubicBezTo>
                <a:cubicBezTo>
                  <a:pt x="436" y="309"/>
                  <a:pt x="438" y="310"/>
                  <a:pt x="440" y="311"/>
                </a:cubicBezTo>
                <a:cubicBezTo>
                  <a:pt x="444" y="314"/>
                  <a:pt x="452" y="317"/>
                  <a:pt x="460" y="320"/>
                </a:cubicBezTo>
                <a:cubicBezTo>
                  <a:pt x="453" y="317"/>
                  <a:pt x="449" y="314"/>
                  <a:pt x="441" y="311"/>
                </a:cubicBezTo>
                <a:cubicBezTo>
                  <a:pt x="439" y="310"/>
                  <a:pt x="437" y="309"/>
                  <a:pt x="434" y="308"/>
                </a:cubicBezTo>
                <a:cubicBezTo>
                  <a:pt x="433" y="307"/>
                  <a:pt x="431" y="306"/>
                  <a:pt x="429" y="305"/>
                </a:cubicBezTo>
                <a:cubicBezTo>
                  <a:pt x="431" y="305"/>
                  <a:pt x="429" y="304"/>
                  <a:pt x="430" y="303"/>
                </a:cubicBezTo>
                <a:cubicBezTo>
                  <a:pt x="434" y="303"/>
                  <a:pt x="436" y="305"/>
                  <a:pt x="438" y="306"/>
                </a:cubicBezTo>
                <a:cubicBezTo>
                  <a:pt x="449" y="312"/>
                  <a:pt x="460" y="317"/>
                  <a:pt x="471" y="323"/>
                </a:cubicBezTo>
                <a:cubicBezTo>
                  <a:pt x="472" y="324"/>
                  <a:pt x="473" y="325"/>
                  <a:pt x="475" y="325"/>
                </a:cubicBezTo>
                <a:cubicBezTo>
                  <a:pt x="476" y="326"/>
                  <a:pt x="479" y="328"/>
                  <a:pt x="482" y="329"/>
                </a:cubicBezTo>
                <a:cubicBezTo>
                  <a:pt x="482" y="329"/>
                  <a:pt x="482" y="329"/>
                  <a:pt x="482" y="329"/>
                </a:cubicBezTo>
                <a:cubicBezTo>
                  <a:pt x="482" y="329"/>
                  <a:pt x="483" y="329"/>
                  <a:pt x="483" y="330"/>
                </a:cubicBezTo>
                <a:cubicBezTo>
                  <a:pt x="485" y="331"/>
                  <a:pt x="487" y="332"/>
                  <a:pt x="490" y="334"/>
                </a:cubicBezTo>
                <a:cubicBezTo>
                  <a:pt x="491" y="335"/>
                  <a:pt x="491" y="336"/>
                  <a:pt x="498" y="339"/>
                </a:cubicBezTo>
                <a:cubicBezTo>
                  <a:pt x="505" y="341"/>
                  <a:pt x="509" y="344"/>
                  <a:pt x="507" y="346"/>
                </a:cubicBezTo>
                <a:cubicBezTo>
                  <a:pt x="507" y="346"/>
                  <a:pt x="505" y="346"/>
                  <a:pt x="506" y="347"/>
                </a:cubicBezTo>
                <a:cubicBezTo>
                  <a:pt x="509" y="348"/>
                  <a:pt x="512" y="348"/>
                  <a:pt x="515" y="349"/>
                </a:cubicBezTo>
                <a:cubicBezTo>
                  <a:pt x="517" y="349"/>
                  <a:pt x="518" y="350"/>
                  <a:pt x="519" y="351"/>
                </a:cubicBezTo>
                <a:cubicBezTo>
                  <a:pt x="519" y="351"/>
                  <a:pt x="520" y="351"/>
                  <a:pt x="520" y="351"/>
                </a:cubicBezTo>
                <a:cubicBezTo>
                  <a:pt x="523" y="353"/>
                  <a:pt x="525" y="354"/>
                  <a:pt x="528" y="356"/>
                </a:cubicBezTo>
                <a:cubicBezTo>
                  <a:pt x="529" y="357"/>
                  <a:pt x="530" y="357"/>
                  <a:pt x="533" y="358"/>
                </a:cubicBezTo>
                <a:cubicBezTo>
                  <a:pt x="533" y="357"/>
                  <a:pt x="531" y="357"/>
                  <a:pt x="529" y="356"/>
                </a:cubicBezTo>
                <a:cubicBezTo>
                  <a:pt x="529" y="356"/>
                  <a:pt x="529" y="355"/>
                  <a:pt x="529" y="355"/>
                </a:cubicBezTo>
                <a:cubicBezTo>
                  <a:pt x="529" y="355"/>
                  <a:pt x="530" y="355"/>
                  <a:pt x="530" y="355"/>
                </a:cubicBezTo>
                <a:cubicBezTo>
                  <a:pt x="531" y="355"/>
                  <a:pt x="531" y="355"/>
                  <a:pt x="531" y="356"/>
                </a:cubicBezTo>
                <a:cubicBezTo>
                  <a:pt x="533" y="357"/>
                  <a:pt x="533" y="357"/>
                  <a:pt x="537" y="359"/>
                </a:cubicBezTo>
                <a:cubicBezTo>
                  <a:pt x="537" y="358"/>
                  <a:pt x="535" y="357"/>
                  <a:pt x="532" y="356"/>
                </a:cubicBezTo>
                <a:cubicBezTo>
                  <a:pt x="531" y="355"/>
                  <a:pt x="530" y="354"/>
                  <a:pt x="528" y="354"/>
                </a:cubicBezTo>
                <a:cubicBezTo>
                  <a:pt x="529" y="353"/>
                  <a:pt x="526" y="352"/>
                  <a:pt x="525" y="351"/>
                </a:cubicBezTo>
                <a:cubicBezTo>
                  <a:pt x="525" y="351"/>
                  <a:pt x="525" y="351"/>
                  <a:pt x="524" y="350"/>
                </a:cubicBezTo>
                <a:cubicBezTo>
                  <a:pt x="521" y="349"/>
                  <a:pt x="520" y="348"/>
                  <a:pt x="517" y="347"/>
                </a:cubicBezTo>
                <a:cubicBezTo>
                  <a:pt x="517" y="346"/>
                  <a:pt x="514" y="345"/>
                  <a:pt x="512" y="344"/>
                </a:cubicBezTo>
                <a:cubicBezTo>
                  <a:pt x="511" y="343"/>
                  <a:pt x="509" y="342"/>
                  <a:pt x="509" y="341"/>
                </a:cubicBezTo>
                <a:cubicBezTo>
                  <a:pt x="509" y="341"/>
                  <a:pt x="509" y="341"/>
                  <a:pt x="509" y="341"/>
                </a:cubicBezTo>
                <a:cubicBezTo>
                  <a:pt x="510" y="341"/>
                  <a:pt x="511" y="341"/>
                  <a:pt x="510" y="341"/>
                </a:cubicBezTo>
                <a:cubicBezTo>
                  <a:pt x="509" y="340"/>
                  <a:pt x="507" y="340"/>
                  <a:pt x="506" y="340"/>
                </a:cubicBezTo>
                <a:cubicBezTo>
                  <a:pt x="500" y="337"/>
                  <a:pt x="501" y="336"/>
                  <a:pt x="496" y="334"/>
                </a:cubicBezTo>
                <a:cubicBezTo>
                  <a:pt x="495" y="333"/>
                  <a:pt x="491" y="331"/>
                  <a:pt x="491" y="330"/>
                </a:cubicBezTo>
                <a:cubicBezTo>
                  <a:pt x="500" y="334"/>
                  <a:pt x="508" y="338"/>
                  <a:pt x="514" y="341"/>
                </a:cubicBezTo>
                <a:cubicBezTo>
                  <a:pt x="514" y="342"/>
                  <a:pt x="514" y="342"/>
                  <a:pt x="516" y="343"/>
                </a:cubicBezTo>
                <a:cubicBezTo>
                  <a:pt x="518" y="344"/>
                  <a:pt x="520" y="345"/>
                  <a:pt x="523" y="346"/>
                </a:cubicBezTo>
                <a:cubicBezTo>
                  <a:pt x="522" y="345"/>
                  <a:pt x="521" y="344"/>
                  <a:pt x="519" y="343"/>
                </a:cubicBezTo>
                <a:cubicBezTo>
                  <a:pt x="518" y="342"/>
                  <a:pt x="517" y="342"/>
                  <a:pt x="516" y="342"/>
                </a:cubicBezTo>
                <a:cubicBezTo>
                  <a:pt x="516" y="341"/>
                  <a:pt x="513" y="340"/>
                  <a:pt x="513" y="339"/>
                </a:cubicBezTo>
                <a:cubicBezTo>
                  <a:pt x="514" y="339"/>
                  <a:pt x="515" y="340"/>
                  <a:pt x="517" y="340"/>
                </a:cubicBezTo>
                <a:cubicBezTo>
                  <a:pt x="519" y="341"/>
                  <a:pt x="517" y="340"/>
                  <a:pt x="517" y="339"/>
                </a:cubicBezTo>
                <a:cubicBezTo>
                  <a:pt x="514" y="338"/>
                  <a:pt x="511" y="337"/>
                  <a:pt x="507" y="336"/>
                </a:cubicBezTo>
                <a:cubicBezTo>
                  <a:pt x="505" y="334"/>
                  <a:pt x="501" y="332"/>
                  <a:pt x="496" y="330"/>
                </a:cubicBezTo>
                <a:cubicBezTo>
                  <a:pt x="492" y="328"/>
                  <a:pt x="499" y="328"/>
                  <a:pt x="499" y="327"/>
                </a:cubicBezTo>
                <a:cubicBezTo>
                  <a:pt x="500" y="327"/>
                  <a:pt x="501" y="327"/>
                  <a:pt x="503" y="328"/>
                </a:cubicBezTo>
                <a:cubicBezTo>
                  <a:pt x="507" y="330"/>
                  <a:pt x="511" y="332"/>
                  <a:pt x="513" y="333"/>
                </a:cubicBezTo>
                <a:cubicBezTo>
                  <a:pt x="511" y="334"/>
                  <a:pt x="509" y="333"/>
                  <a:pt x="507" y="332"/>
                </a:cubicBezTo>
                <a:cubicBezTo>
                  <a:pt x="509" y="333"/>
                  <a:pt x="510" y="335"/>
                  <a:pt x="514" y="335"/>
                </a:cubicBezTo>
                <a:cubicBezTo>
                  <a:pt x="517" y="336"/>
                  <a:pt x="514" y="334"/>
                  <a:pt x="515" y="334"/>
                </a:cubicBezTo>
                <a:cubicBezTo>
                  <a:pt x="520" y="335"/>
                  <a:pt x="520" y="335"/>
                  <a:pt x="518" y="333"/>
                </a:cubicBezTo>
                <a:cubicBezTo>
                  <a:pt x="514" y="331"/>
                  <a:pt x="510" y="329"/>
                  <a:pt x="506" y="327"/>
                </a:cubicBezTo>
                <a:cubicBezTo>
                  <a:pt x="505" y="326"/>
                  <a:pt x="501" y="325"/>
                  <a:pt x="502" y="325"/>
                </a:cubicBezTo>
                <a:cubicBezTo>
                  <a:pt x="506" y="325"/>
                  <a:pt x="502" y="324"/>
                  <a:pt x="503" y="323"/>
                </a:cubicBezTo>
                <a:cubicBezTo>
                  <a:pt x="506" y="324"/>
                  <a:pt x="507" y="325"/>
                  <a:pt x="509" y="325"/>
                </a:cubicBezTo>
                <a:cubicBezTo>
                  <a:pt x="515" y="326"/>
                  <a:pt x="516" y="328"/>
                  <a:pt x="523" y="330"/>
                </a:cubicBezTo>
                <a:cubicBezTo>
                  <a:pt x="522" y="329"/>
                  <a:pt x="517" y="328"/>
                  <a:pt x="517" y="327"/>
                </a:cubicBezTo>
                <a:cubicBezTo>
                  <a:pt x="517" y="325"/>
                  <a:pt x="507" y="323"/>
                  <a:pt x="510" y="321"/>
                </a:cubicBezTo>
                <a:cubicBezTo>
                  <a:pt x="511" y="322"/>
                  <a:pt x="512" y="322"/>
                  <a:pt x="513" y="323"/>
                </a:cubicBezTo>
                <a:cubicBezTo>
                  <a:pt x="513" y="324"/>
                  <a:pt x="521" y="326"/>
                  <a:pt x="524" y="328"/>
                </a:cubicBezTo>
                <a:cubicBezTo>
                  <a:pt x="523" y="327"/>
                  <a:pt x="521" y="325"/>
                  <a:pt x="517" y="324"/>
                </a:cubicBezTo>
                <a:cubicBezTo>
                  <a:pt x="513" y="322"/>
                  <a:pt x="509" y="319"/>
                  <a:pt x="504" y="317"/>
                </a:cubicBezTo>
                <a:cubicBezTo>
                  <a:pt x="509" y="319"/>
                  <a:pt x="513" y="320"/>
                  <a:pt x="518" y="322"/>
                </a:cubicBezTo>
                <a:cubicBezTo>
                  <a:pt x="518" y="323"/>
                  <a:pt x="519" y="323"/>
                  <a:pt x="521" y="325"/>
                </a:cubicBezTo>
                <a:cubicBezTo>
                  <a:pt x="523" y="324"/>
                  <a:pt x="523" y="324"/>
                  <a:pt x="521" y="322"/>
                </a:cubicBezTo>
                <a:cubicBezTo>
                  <a:pt x="521" y="322"/>
                  <a:pt x="520" y="322"/>
                  <a:pt x="520" y="321"/>
                </a:cubicBezTo>
                <a:cubicBezTo>
                  <a:pt x="514" y="316"/>
                  <a:pt x="507" y="311"/>
                  <a:pt x="498" y="305"/>
                </a:cubicBezTo>
                <a:cubicBezTo>
                  <a:pt x="499" y="306"/>
                  <a:pt x="500" y="306"/>
                  <a:pt x="500" y="306"/>
                </a:cubicBezTo>
                <a:cubicBezTo>
                  <a:pt x="508" y="311"/>
                  <a:pt x="517" y="315"/>
                  <a:pt x="525" y="320"/>
                </a:cubicBezTo>
                <a:cubicBezTo>
                  <a:pt x="530" y="323"/>
                  <a:pt x="536" y="326"/>
                  <a:pt x="542" y="329"/>
                </a:cubicBezTo>
                <a:cubicBezTo>
                  <a:pt x="542" y="278"/>
                  <a:pt x="542" y="278"/>
                  <a:pt x="542" y="278"/>
                </a:cubicBezTo>
                <a:cubicBezTo>
                  <a:pt x="542" y="277"/>
                  <a:pt x="541" y="277"/>
                  <a:pt x="541" y="277"/>
                </a:cubicBezTo>
                <a:cubicBezTo>
                  <a:pt x="540" y="276"/>
                  <a:pt x="539" y="275"/>
                  <a:pt x="538" y="275"/>
                </a:cubicBezTo>
                <a:cubicBezTo>
                  <a:pt x="538" y="274"/>
                  <a:pt x="537" y="274"/>
                  <a:pt x="536" y="274"/>
                </a:cubicBezTo>
                <a:cubicBezTo>
                  <a:pt x="538" y="273"/>
                  <a:pt x="540" y="273"/>
                  <a:pt x="542" y="274"/>
                </a:cubicBezTo>
                <a:cubicBezTo>
                  <a:pt x="542" y="256"/>
                  <a:pt x="542" y="256"/>
                  <a:pt x="542" y="256"/>
                </a:cubicBezTo>
                <a:cubicBezTo>
                  <a:pt x="542" y="256"/>
                  <a:pt x="542" y="256"/>
                  <a:pt x="542" y="255"/>
                </a:cubicBezTo>
                <a:cubicBezTo>
                  <a:pt x="541" y="255"/>
                  <a:pt x="541" y="254"/>
                  <a:pt x="541" y="254"/>
                </a:cubicBezTo>
                <a:cubicBezTo>
                  <a:pt x="541" y="254"/>
                  <a:pt x="541" y="254"/>
                  <a:pt x="542" y="254"/>
                </a:cubicBezTo>
                <a:cubicBezTo>
                  <a:pt x="542" y="254"/>
                  <a:pt x="542" y="254"/>
                  <a:pt x="542" y="254"/>
                </a:cubicBezTo>
                <a:cubicBezTo>
                  <a:pt x="542" y="237"/>
                  <a:pt x="542" y="237"/>
                  <a:pt x="542" y="237"/>
                </a:cubicBezTo>
                <a:cubicBezTo>
                  <a:pt x="542" y="237"/>
                  <a:pt x="542" y="237"/>
                  <a:pt x="542" y="236"/>
                </a:cubicBezTo>
                <a:cubicBezTo>
                  <a:pt x="542" y="236"/>
                  <a:pt x="542" y="236"/>
                  <a:pt x="542" y="236"/>
                </a:cubicBezTo>
                <a:cubicBezTo>
                  <a:pt x="542" y="207"/>
                  <a:pt x="542" y="207"/>
                  <a:pt x="542" y="207"/>
                </a:cubicBezTo>
                <a:cubicBezTo>
                  <a:pt x="542" y="207"/>
                  <a:pt x="542" y="207"/>
                  <a:pt x="542" y="207"/>
                </a:cubicBezTo>
                <a:cubicBezTo>
                  <a:pt x="542" y="206"/>
                  <a:pt x="542" y="206"/>
                  <a:pt x="542" y="206"/>
                </a:cubicBezTo>
                <a:cubicBezTo>
                  <a:pt x="542" y="206"/>
                  <a:pt x="542" y="206"/>
                  <a:pt x="542" y="206"/>
                </a:cubicBezTo>
                <a:cubicBezTo>
                  <a:pt x="542" y="193"/>
                  <a:pt x="542" y="193"/>
                  <a:pt x="542" y="193"/>
                </a:cubicBezTo>
                <a:cubicBezTo>
                  <a:pt x="542" y="193"/>
                  <a:pt x="542" y="193"/>
                  <a:pt x="542" y="193"/>
                </a:cubicBezTo>
                <a:cubicBezTo>
                  <a:pt x="542" y="192"/>
                  <a:pt x="542" y="192"/>
                  <a:pt x="542" y="192"/>
                </a:cubicBezTo>
                <a:cubicBezTo>
                  <a:pt x="542" y="192"/>
                  <a:pt x="542" y="192"/>
                  <a:pt x="542" y="192"/>
                </a:cubicBezTo>
                <a:cubicBezTo>
                  <a:pt x="542" y="148"/>
                  <a:pt x="542" y="148"/>
                  <a:pt x="542" y="148"/>
                </a:cubicBezTo>
                <a:cubicBezTo>
                  <a:pt x="540" y="147"/>
                  <a:pt x="538" y="146"/>
                  <a:pt x="537" y="145"/>
                </a:cubicBezTo>
                <a:cubicBezTo>
                  <a:pt x="539" y="146"/>
                  <a:pt x="541" y="146"/>
                  <a:pt x="542" y="147"/>
                </a:cubicBezTo>
                <a:cubicBezTo>
                  <a:pt x="542" y="144"/>
                  <a:pt x="542" y="144"/>
                  <a:pt x="542" y="144"/>
                </a:cubicBezTo>
                <a:cubicBezTo>
                  <a:pt x="542" y="144"/>
                  <a:pt x="542" y="144"/>
                  <a:pt x="542" y="144"/>
                </a:cubicBezTo>
                <a:cubicBezTo>
                  <a:pt x="542" y="144"/>
                  <a:pt x="542" y="144"/>
                  <a:pt x="542" y="144"/>
                </a:cubicBezTo>
                <a:close/>
              </a:path>
            </a:pathLst>
          </a:custGeom>
          <a:solidFill>
            <a:schemeClr val="bg1">
              <a:lumMod val="95000"/>
              <a:alpha val="1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Text Placeholder 1"/>
          <p:cNvSpPr txBox="1">
            <a:spLocks/>
          </p:cNvSpPr>
          <p:nvPr/>
        </p:nvSpPr>
        <p:spPr>
          <a:xfrm>
            <a:off x="2794000" y="360971"/>
            <a:ext cx="6604000" cy="53553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ID" sz="3200" dirty="0">
                <a:solidFill>
                  <a:schemeClr val="bg1"/>
                </a:solidFill>
                <a:latin typeface="+mj-lt"/>
              </a:rPr>
              <a:t>PowerPoint Templates</a:t>
            </a:r>
            <a:endParaRPr lang="en-US" sz="32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947437" y="3489476"/>
            <a:ext cx="8297126" cy="2770610"/>
          </a:xfrm>
          <a:prstGeom prst="rect">
            <a:avLst/>
          </a:prstGeom>
          <a:noFill/>
          <a:ln>
            <a:solidFill>
              <a:srgbClr val="E2583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9" name="Freeform 57"/>
          <p:cNvSpPr>
            <a:spLocks noEditPoints="1"/>
          </p:cNvSpPr>
          <p:nvPr/>
        </p:nvSpPr>
        <p:spPr bwMode="auto">
          <a:xfrm>
            <a:off x="2631458" y="1494416"/>
            <a:ext cx="223838" cy="287338"/>
          </a:xfrm>
          <a:custGeom>
            <a:avLst/>
            <a:gdLst>
              <a:gd name="T0" fmla="*/ 616 w 708"/>
              <a:gd name="T1" fmla="*/ 486 h 905"/>
              <a:gd name="T2" fmla="*/ 664 w 708"/>
              <a:gd name="T3" fmla="*/ 521 h 905"/>
              <a:gd name="T4" fmla="*/ 678 w 708"/>
              <a:gd name="T5" fmla="*/ 583 h 905"/>
              <a:gd name="T6" fmla="*/ 654 w 708"/>
              <a:gd name="T7" fmla="*/ 638 h 905"/>
              <a:gd name="T8" fmla="*/ 598 w 708"/>
              <a:gd name="T9" fmla="*/ 663 h 905"/>
              <a:gd name="T10" fmla="*/ 523 w 708"/>
              <a:gd name="T11" fmla="*/ 838 h 905"/>
              <a:gd name="T12" fmla="*/ 497 w 708"/>
              <a:gd name="T13" fmla="*/ 868 h 905"/>
              <a:gd name="T14" fmla="*/ 130 w 708"/>
              <a:gd name="T15" fmla="*/ 874 h 905"/>
              <a:gd name="T16" fmla="*/ 93 w 708"/>
              <a:gd name="T17" fmla="*/ 857 h 905"/>
              <a:gd name="T18" fmla="*/ 76 w 708"/>
              <a:gd name="T19" fmla="*/ 821 h 905"/>
              <a:gd name="T20" fmla="*/ 422 w 708"/>
              <a:gd name="T21" fmla="*/ 422 h 905"/>
              <a:gd name="T22" fmla="*/ 514 w 708"/>
              <a:gd name="T23" fmla="*/ 422 h 905"/>
              <a:gd name="T24" fmla="*/ 49 w 708"/>
              <a:gd name="T25" fmla="*/ 292 h 905"/>
              <a:gd name="T26" fmla="*/ 407 w 708"/>
              <a:gd name="T27" fmla="*/ 91 h 905"/>
              <a:gd name="T28" fmla="*/ 318 w 708"/>
              <a:gd name="T29" fmla="*/ 100 h 905"/>
              <a:gd name="T30" fmla="*/ 323 w 708"/>
              <a:gd name="T31" fmla="*/ 119 h 905"/>
              <a:gd name="T32" fmla="*/ 359 w 708"/>
              <a:gd name="T33" fmla="*/ 151 h 905"/>
              <a:gd name="T34" fmla="*/ 347 w 708"/>
              <a:gd name="T35" fmla="*/ 166 h 905"/>
              <a:gd name="T36" fmla="*/ 359 w 708"/>
              <a:gd name="T37" fmla="*/ 181 h 905"/>
              <a:gd name="T38" fmla="*/ 323 w 708"/>
              <a:gd name="T39" fmla="*/ 214 h 905"/>
              <a:gd name="T40" fmla="*/ 318 w 708"/>
              <a:gd name="T41" fmla="*/ 233 h 905"/>
              <a:gd name="T42" fmla="*/ 407 w 708"/>
              <a:gd name="T43" fmla="*/ 241 h 905"/>
              <a:gd name="T44" fmla="*/ 349 w 708"/>
              <a:gd name="T45" fmla="*/ 308 h 905"/>
              <a:gd name="T46" fmla="*/ 351 w 708"/>
              <a:gd name="T47" fmla="*/ 327 h 905"/>
              <a:gd name="T48" fmla="*/ 257 w 708"/>
              <a:gd name="T49" fmla="*/ 392 h 905"/>
              <a:gd name="T50" fmla="*/ 547 w 708"/>
              <a:gd name="T51" fmla="*/ 237 h 905"/>
              <a:gd name="T52" fmla="*/ 556 w 708"/>
              <a:gd name="T53" fmla="*/ 117 h 905"/>
              <a:gd name="T54" fmla="*/ 580 w 708"/>
              <a:gd name="T55" fmla="*/ 57 h 905"/>
              <a:gd name="T56" fmla="*/ 612 w 708"/>
              <a:gd name="T57" fmla="*/ 72 h 905"/>
              <a:gd name="T58" fmla="*/ 632 w 708"/>
              <a:gd name="T59" fmla="*/ 155 h 905"/>
              <a:gd name="T60" fmla="*/ 607 w 708"/>
              <a:gd name="T61" fmla="*/ 207 h 905"/>
              <a:gd name="T62" fmla="*/ 577 w 708"/>
              <a:gd name="T63" fmla="*/ 214 h 905"/>
              <a:gd name="T64" fmla="*/ 532 w 708"/>
              <a:gd name="T65" fmla="*/ 184 h 905"/>
              <a:gd name="T66" fmla="*/ 558 w 708"/>
              <a:gd name="T67" fmla="*/ 407 h 905"/>
              <a:gd name="T68" fmla="*/ 546 w 708"/>
              <a:gd name="T69" fmla="*/ 393 h 905"/>
              <a:gd name="T70" fmla="*/ 618 w 708"/>
              <a:gd name="T71" fmla="*/ 235 h 905"/>
              <a:gd name="T72" fmla="*/ 651 w 708"/>
              <a:gd name="T73" fmla="*/ 198 h 905"/>
              <a:gd name="T74" fmla="*/ 663 w 708"/>
              <a:gd name="T75" fmla="*/ 135 h 905"/>
              <a:gd name="T76" fmla="*/ 636 w 708"/>
              <a:gd name="T77" fmla="*/ 55 h 905"/>
              <a:gd name="T78" fmla="*/ 556 w 708"/>
              <a:gd name="T79" fmla="*/ 3 h 905"/>
              <a:gd name="T80" fmla="*/ 537 w 708"/>
              <a:gd name="T81" fmla="*/ 22 h 905"/>
              <a:gd name="T82" fmla="*/ 550 w 708"/>
              <a:gd name="T83" fmla="*/ 60 h 905"/>
              <a:gd name="T84" fmla="*/ 520 w 708"/>
              <a:gd name="T85" fmla="*/ 113 h 905"/>
              <a:gd name="T86" fmla="*/ 499 w 708"/>
              <a:gd name="T87" fmla="*/ 167 h 905"/>
              <a:gd name="T88" fmla="*/ 516 w 708"/>
              <a:gd name="T89" fmla="*/ 215 h 905"/>
              <a:gd name="T90" fmla="*/ 433 w 708"/>
              <a:gd name="T91" fmla="*/ 5 h 905"/>
              <a:gd name="T92" fmla="*/ 235 w 708"/>
              <a:gd name="T93" fmla="*/ 1 h 905"/>
              <a:gd name="T94" fmla="*/ 227 w 708"/>
              <a:gd name="T95" fmla="*/ 392 h 905"/>
              <a:gd name="T96" fmla="*/ 133 w 708"/>
              <a:gd name="T97" fmla="*/ 217 h 905"/>
              <a:gd name="T98" fmla="*/ 128 w 708"/>
              <a:gd name="T99" fmla="*/ 213 h 905"/>
              <a:gd name="T100" fmla="*/ 2 w 708"/>
              <a:gd name="T101" fmla="*/ 159 h 905"/>
              <a:gd name="T102" fmla="*/ 16 w 708"/>
              <a:gd name="T103" fmla="*/ 291 h 905"/>
              <a:gd name="T104" fmla="*/ 51 w 708"/>
              <a:gd name="T105" fmla="*/ 395 h 905"/>
              <a:gd name="T106" fmla="*/ 46 w 708"/>
              <a:gd name="T107" fmla="*/ 824 h 905"/>
              <a:gd name="T108" fmla="*/ 72 w 708"/>
              <a:gd name="T109" fmla="*/ 879 h 905"/>
              <a:gd name="T110" fmla="*/ 127 w 708"/>
              <a:gd name="T111" fmla="*/ 905 h 905"/>
              <a:gd name="T112" fmla="*/ 512 w 708"/>
              <a:gd name="T113" fmla="*/ 894 h 905"/>
              <a:gd name="T114" fmla="*/ 551 w 708"/>
              <a:gd name="T115" fmla="*/ 850 h 905"/>
              <a:gd name="T116" fmla="*/ 601 w 708"/>
              <a:gd name="T117" fmla="*/ 693 h 905"/>
              <a:gd name="T118" fmla="*/ 674 w 708"/>
              <a:gd name="T119" fmla="*/ 659 h 905"/>
              <a:gd name="T120" fmla="*/ 708 w 708"/>
              <a:gd name="T121" fmla="*/ 586 h 905"/>
              <a:gd name="T122" fmla="*/ 689 w 708"/>
              <a:gd name="T123" fmla="*/ 505 h 905"/>
              <a:gd name="T124" fmla="*/ 625 w 708"/>
              <a:gd name="T125" fmla="*/ 457 h 9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708" h="905">
                <a:moveTo>
                  <a:pt x="588" y="664"/>
                </a:moveTo>
                <a:lnTo>
                  <a:pt x="558" y="664"/>
                </a:lnTo>
                <a:lnTo>
                  <a:pt x="558" y="482"/>
                </a:lnTo>
                <a:lnTo>
                  <a:pt x="588" y="482"/>
                </a:lnTo>
                <a:lnTo>
                  <a:pt x="598" y="483"/>
                </a:lnTo>
                <a:lnTo>
                  <a:pt x="607" y="484"/>
                </a:lnTo>
                <a:lnTo>
                  <a:pt x="616" y="486"/>
                </a:lnTo>
                <a:lnTo>
                  <a:pt x="625" y="490"/>
                </a:lnTo>
                <a:lnTo>
                  <a:pt x="632" y="493"/>
                </a:lnTo>
                <a:lnTo>
                  <a:pt x="640" y="497"/>
                </a:lnTo>
                <a:lnTo>
                  <a:pt x="647" y="502"/>
                </a:lnTo>
                <a:lnTo>
                  <a:pt x="654" y="508"/>
                </a:lnTo>
                <a:lnTo>
                  <a:pt x="659" y="514"/>
                </a:lnTo>
                <a:lnTo>
                  <a:pt x="664" y="521"/>
                </a:lnTo>
                <a:lnTo>
                  <a:pt x="669" y="528"/>
                </a:lnTo>
                <a:lnTo>
                  <a:pt x="672" y="537"/>
                </a:lnTo>
                <a:lnTo>
                  <a:pt x="675" y="544"/>
                </a:lnTo>
                <a:lnTo>
                  <a:pt x="677" y="554"/>
                </a:lnTo>
                <a:lnTo>
                  <a:pt x="678" y="564"/>
                </a:lnTo>
                <a:lnTo>
                  <a:pt x="678" y="573"/>
                </a:lnTo>
                <a:lnTo>
                  <a:pt x="678" y="583"/>
                </a:lnTo>
                <a:lnTo>
                  <a:pt x="677" y="592"/>
                </a:lnTo>
                <a:lnTo>
                  <a:pt x="675" y="601"/>
                </a:lnTo>
                <a:lnTo>
                  <a:pt x="672" y="610"/>
                </a:lnTo>
                <a:lnTo>
                  <a:pt x="669" y="617"/>
                </a:lnTo>
                <a:lnTo>
                  <a:pt x="664" y="625"/>
                </a:lnTo>
                <a:lnTo>
                  <a:pt x="659" y="631"/>
                </a:lnTo>
                <a:lnTo>
                  <a:pt x="654" y="638"/>
                </a:lnTo>
                <a:lnTo>
                  <a:pt x="647" y="644"/>
                </a:lnTo>
                <a:lnTo>
                  <a:pt x="640" y="649"/>
                </a:lnTo>
                <a:lnTo>
                  <a:pt x="632" y="653"/>
                </a:lnTo>
                <a:lnTo>
                  <a:pt x="625" y="657"/>
                </a:lnTo>
                <a:lnTo>
                  <a:pt x="616" y="659"/>
                </a:lnTo>
                <a:lnTo>
                  <a:pt x="607" y="662"/>
                </a:lnTo>
                <a:lnTo>
                  <a:pt x="598" y="663"/>
                </a:lnTo>
                <a:lnTo>
                  <a:pt x="588" y="664"/>
                </a:lnTo>
                <a:lnTo>
                  <a:pt x="588" y="664"/>
                </a:lnTo>
                <a:close/>
                <a:moveTo>
                  <a:pt x="528" y="814"/>
                </a:moveTo>
                <a:lnTo>
                  <a:pt x="528" y="821"/>
                </a:lnTo>
                <a:lnTo>
                  <a:pt x="527" y="827"/>
                </a:lnTo>
                <a:lnTo>
                  <a:pt x="526" y="833"/>
                </a:lnTo>
                <a:lnTo>
                  <a:pt x="523" y="838"/>
                </a:lnTo>
                <a:lnTo>
                  <a:pt x="520" y="843"/>
                </a:lnTo>
                <a:lnTo>
                  <a:pt x="518" y="849"/>
                </a:lnTo>
                <a:lnTo>
                  <a:pt x="515" y="853"/>
                </a:lnTo>
                <a:lnTo>
                  <a:pt x="511" y="857"/>
                </a:lnTo>
                <a:lnTo>
                  <a:pt x="506" y="862"/>
                </a:lnTo>
                <a:lnTo>
                  <a:pt x="502" y="865"/>
                </a:lnTo>
                <a:lnTo>
                  <a:pt x="497" y="868"/>
                </a:lnTo>
                <a:lnTo>
                  <a:pt x="491" y="870"/>
                </a:lnTo>
                <a:lnTo>
                  <a:pt x="486" y="872"/>
                </a:lnTo>
                <a:lnTo>
                  <a:pt x="480" y="873"/>
                </a:lnTo>
                <a:lnTo>
                  <a:pt x="474" y="874"/>
                </a:lnTo>
                <a:lnTo>
                  <a:pt x="467" y="874"/>
                </a:lnTo>
                <a:lnTo>
                  <a:pt x="135" y="874"/>
                </a:lnTo>
                <a:lnTo>
                  <a:pt x="130" y="874"/>
                </a:lnTo>
                <a:lnTo>
                  <a:pt x="123" y="873"/>
                </a:lnTo>
                <a:lnTo>
                  <a:pt x="118" y="872"/>
                </a:lnTo>
                <a:lnTo>
                  <a:pt x="111" y="870"/>
                </a:lnTo>
                <a:lnTo>
                  <a:pt x="106" y="867"/>
                </a:lnTo>
                <a:lnTo>
                  <a:pt x="102" y="865"/>
                </a:lnTo>
                <a:lnTo>
                  <a:pt x="97" y="861"/>
                </a:lnTo>
                <a:lnTo>
                  <a:pt x="93" y="857"/>
                </a:lnTo>
                <a:lnTo>
                  <a:pt x="89" y="853"/>
                </a:lnTo>
                <a:lnTo>
                  <a:pt x="86" y="848"/>
                </a:lnTo>
                <a:lnTo>
                  <a:pt x="82" y="843"/>
                </a:lnTo>
                <a:lnTo>
                  <a:pt x="80" y="838"/>
                </a:lnTo>
                <a:lnTo>
                  <a:pt x="78" y="833"/>
                </a:lnTo>
                <a:lnTo>
                  <a:pt x="76" y="826"/>
                </a:lnTo>
                <a:lnTo>
                  <a:pt x="76" y="821"/>
                </a:lnTo>
                <a:lnTo>
                  <a:pt x="75" y="814"/>
                </a:lnTo>
                <a:lnTo>
                  <a:pt x="75" y="422"/>
                </a:lnTo>
                <a:lnTo>
                  <a:pt x="90" y="422"/>
                </a:lnTo>
                <a:lnTo>
                  <a:pt x="211" y="422"/>
                </a:lnTo>
                <a:lnTo>
                  <a:pt x="211" y="422"/>
                </a:lnTo>
                <a:lnTo>
                  <a:pt x="242" y="422"/>
                </a:lnTo>
                <a:lnTo>
                  <a:pt x="422" y="422"/>
                </a:lnTo>
                <a:lnTo>
                  <a:pt x="435" y="422"/>
                </a:lnTo>
                <a:lnTo>
                  <a:pt x="435" y="422"/>
                </a:lnTo>
                <a:lnTo>
                  <a:pt x="435" y="422"/>
                </a:lnTo>
                <a:lnTo>
                  <a:pt x="436" y="422"/>
                </a:lnTo>
                <a:lnTo>
                  <a:pt x="514" y="422"/>
                </a:lnTo>
                <a:lnTo>
                  <a:pt x="514" y="422"/>
                </a:lnTo>
                <a:lnTo>
                  <a:pt x="514" y="422"/>
                </a:lnTo>
                <a:lnTo>
                  <a:pt x="528" y="422"/>
                </a:lnTo>
                <a:lnTo>
                  <a:pt x="528" y="814"/>
                </a:lnTo>
                <a:close/>
                <a:moveTo>
                  <a:pt x="49" y="292"/>
                </a:moveTo>
                <a:lnTo>
                  <a:pt x="115" y="249"/>
                </a:lnTo>
                <a:lnTo>
                  <a:pt x="187" y="392"/>
                </a:lnTo>
                <a:lnTo>
                  <a:pt x="100" y="392"/>
                </a:lnTo>
                <a:lnTo>
                  <a:pt x="49" y="292"/>
                </a:lnTo>
                <a:close/>
                <a:moveTo>
                  <a:pt x="92" y="227"/>
                </a:moveTo>
                <a:lnTo>
                  <a:pt x="42" y="260"/>
                </a:lnTo>
                <a:lnTo>
                  <a:pt x="34" y="194"/>
                </a:lnTo>
                <a:lnTo>
                  <a:pt x="92" y="227"/>
                </a:lnTo>
                <a:close/>
                <a:moveTo>
                  <a:pt x="257" y="30"/>
                </a:moveTo>
                <a:lnTo>
                  <a:pt x="407" y="30"/>
                </a:lnTo>
                <a:lnTo>
                  <a:pt x="407" y="91"/>
                </a:lnTo>
                <a:lnTo>
                  <a:pt x="332" y="91"/>
                </a:lnTo>
                <a:lnTo>
                  <a:pt x="329" y="91"/>
                </a:lnTo>
                <a:lnTo>
                  <a:pt x="325" y="92"/>
                </a:lnTo>
                <a:lnTo>
                  <a:pt x="323" y="93"/>
                </a:lnTo>
                <a:lnTo>
                  <a:pt x="321" y="95"/>
                </a:lnTo>
                <a:lnTo>
                  <a:pt x="319" y="97"/>
                </a:lnTo>
                <a:lnTo>
                  <a:pt x="318" y="100"/>
                </a:lnTo>
                <a:lnTo>
                  <a:pt x="317" y="102"/>
                </a:lnTo>
                <a:lnTo>
                  <a:pt x="317" y="106"/>
                </a:lnTo>
                <a:lnTo>
                  <a:pt x="317" y="109"/>
                </a:lnTo>
                <a:lnTo>
                  <a:pt x="318" y="111"/>
                </a:lnTo>
                <a:lnTo>
                  <a:pt x="319" y="114"/>
                </a:lnTo>
                <a:lnTo>
                  <a:pt x="321" y="116"/>
                </a:lnTo>
                <a:lnTo>
                  <a:pt x="323" y="119"/>
                </a:lnTo>
                <a:lnTo>
                  <a:pt x="325" y="120"/>
                </a:lnTo>
                <a:lnTo>
                  <a:pt x="329" y="121"/>
                </a:lnTo>
                <a:lnTo>
                  <a:pt x="332" y="121"/>
                </a:lnTo>
                <a:lnTo>
                  <a:pt x="407" y="121"/>
                </a:lnTo>
                <a:lnTo>
                  <a:pt x="407" y="151"/>
                </a:lnTo>
                <a:lnTo>
                  <a:pt x="362" y="151"/>
                </a:lnTo>
                <a:lnTo>
                  <a:pt x="359" y="151"/>
                </a:lnTo>
                <a:lnTo>
                  <a:pt x="356" y="152"/>
                </a:lnTo>
                <a:lnTo>
                  <a:pt x="353" y="153"/>
                </a:lnTo>
                <a:lnTo>
                  <a:pt x="351" y="155"/>
                </a:lnTo>
                <a:lnTo>
                  <a:pt x="349" y="157"/>
                </a:lnTo>
                <a:lnTo>
                  <a:pt x="348" y="160"/>
                </a:lnTo>
                <a:lnTo>
                  <a:pt x="347" y="163"/>
                </a:lnTo>
                <a:lnTo>
                  <a:pt x="347" y="166"/>
                </a:lnTo>
                <a:lnTo>
                  <a:pt x="347" y="169"/>
                </a:lnTo>
                <a:lnTo>
                  <a:pt x="348" y="172"/>
                </a:lnTo>
                <a:lnTo>
                  <a:pt x="349" y="174"/>
                </a:lnTo>
                <a:lnTo>
                  <a:pt x="351" y="177"/>
                </a:lnTo>
                <a:lnTo>
                  <a:pt x="353" y="179"/>
                </a:lnTo>
                <a:lnTo>
                  <a:pt x="356" y="180"/>
                </a:lnTo>
                <a:lnTo>
                  <a:pt x="359" y="181"/>
                </a:lnTo>
                <a:lnTo>
                  <a:pt x="362" y="181"/>
                </a:lnTo>
                <a:lnTo>
                  <a:pt x="407" y="181"/>
                </a:lnTo>
                <a:lnTo>
                  <a:pt x="407" y="211"/>
                </a:lnTo>
                <a:lnTo>
                  <a:pt x="332" y="211"/>
                </a:lnTo>
                <a:lnTo>
                  <a:pt x="329" y="211"/>
                </a:lnTo>
                <a:lnTo>
                  <a:pt x="325" y="212"/>
                </a:lnTo>
                <a:lnTo>
                  <a:pt x="323" y="214"/>
                </a:lnTo>
                <a:lnTo>
                  <a:pt x="321" y="215"/>
                </a:lnTo>
                <a:lnTo>
                  <a:pt x="319" y="217"/>
                </a:lnTo>
                <a:lnTo>
                  <a:pt x="318" y="221"/>
                </a:lnTo>
                <a:lnTo>
                  <a:pt x="317" y="223"/>
                </a:lnTo>
                <a:lnTo>
                  <a:pt x="317" y="226"/>
                </a:lnTo>
                <a:lnTo>
                  <a:pt x="317" y="229"/>
                </a:lnTo>
                <a:lnTo>
                  <a:pt x="318" y="233"/>
                </a:lnTo>
                <a:lnTo>
                  <a:pt x="319" y="235"/>
                </a:lnTo>
                <a:lnTo>
                  <a:pt x="321" y="237"/>
                </a:lnTo>
                <a:lnTo>
                  <a:pt x="323" y="239"/>
                </a:lnTo>
                <a:lnTo>
                  <a:pt x="325" y="240"/>
                </a:lnTo>
                <a:lnTo>
                  <a:pt x="329" y="241"/>
                </a:lnTo>
                <a:lnTo>
                  <a:pt x="332" y="241"/>
                </a:lnTo>
                <a:lnTo>
                  <a:pt x="407" y="241"/>
                </a:lnTo>
                <a:lnTo>
                  <a:pt x="407" y="301"/>
                </a:lnTo>
                <a:lnTo>
                  <a:pt x="362" y="301"/>
                </a:lnTo>
                <a:lnTo>
                  <a:pt x="359" y="302"/>
                </a:lnTo>
                <a:lnTo>
                  <a:pt x="356" y="302"/>
                </a:lnTo>
                <a:lnTo>
                  <a:pt x="353" y="305"/>
                </a:lnTo>
                <a:lnTo>
                  <a:pt x="351" y="306"/>
                </a:lnTo>
                <a:lnTo>
                  <a:pt x="349" y="308"/>
                </a:lnTo>
                <a:lnTo>
                  <a:pt x="348" y="311"/>
                </a:lnTo>
                <a:lnTo>
                  <a:pt x="347" y="313"/>
                </a:lnTo>
                <a:lnTo>
                  <a:pt x="347" y="316"/>
                </a:lnTo>
                <a:lnTo>
                  <a:pt x="347" y="320"/>
                </a:lnTo>
                <a:lnTo>
                  <a:pt x="348" y="323"/>
                </a:lnTo>
                <a:lnTo>
                  <a:pt x="349" y="325"/>
                </a:lnTo>
                <a:lnTo>
                  <a:pt x="351" y="327"/>
                </a:lnTo>
                <a:lnTo>
                  <a:pt x="353" y="329"/>
                </a:lnTo>
                <a:lnTo>
                  <a:pt x="356" y="330"/>
                </a:lnTo>
                <a:lnTo>
                  <a:pt x="359" y="331"/>
                </a:lnTo>
                <a:lnTo>
                  <a:pt x="362" y="331"/>
                </a:lnTo>
                <a:lnTo>
                  <a:pt x="407" y="331"/>
                </a:lnTo>
                <a:lnTo>
                  <a:pt x="407" y="392"/>
                </a:lnTo>
                <a:lnTo>
                  <a:pt x="257" y="392"/>
                </a:lnTo>
                <a:lnTo>
                  <a:pt x="257" y="30"/>
                </a:lnTo>
                <a:close/>
                <a:moveTo>
                  <a:pt x="547" y="237"/>
                </a:moveTo>
                <a:lnTo>
                  <a:pt x="554" y="240"/>
                </a:lnTo>
                <a:lnTo>
                  <a:pt x="561" y="241"/>
                </a:lnTo>
                <a:lnTo>
                  <a:pt x="504" y="392"/>
                </a:lnTo>
                <a:lnTo>
                  <a:pt x="461" y="392"/>
                </a:lnTo>
                <a:lnTo>
                  <a:pt x="547" y="237"/>
                </a:lnTo>
                <a:lnTo>
                  <a:pt x="547" y="237"/>
                </a:lnTo>
                <a:lnTo>
                  <a:pt x="547" y="237"/>
                </a:lnTo>
                <a:lnTo>
                  <a:pt x="547" y="237"/>
                </a:lnTo>
                <a:close/>
                <a:moveTo>
                  <a:pt x="533" y="149"/>
                </a:moveTo>
                <a:lnTo>
                  <a:pt x="540" y="137"/>
                </a:lnTo>
                <a:lnTo>
                  <a:pt x="549" y="125"/>
                </a:lnTo>
                <a:lnTo>
                  <a:pt x="556" y="117"/>
                </a:lnTo>
                <a:lnTo>
                  <a:pt x="561" y="109"/>
                </a:lnTo>
                <a:lnTo>
                  <a:pt x="568" y="100"/>
                </a:lnTo>
                <a:lnTo>
                  <a:pt x="572" y="91"/>
                </a:lnTo>
                <a:lnTo>
                  <a:pt x="576" y="80"/>
                </a:lnTo>
                <a:lnTo>
                  <a:pt x="579" y="69"/>
                </a:lnTo>
                <a:lnTo>
                  <a:pt x="580" y="63"/>
                </a:lnTo>
                <a:lnTo>
                  <a:pt x="580" y="57"/>
                </a:lnTo>
                <a:lnTo>
                  <a:pt x="580" y="51"/>
                </a:lnTo>
                <a:lnTo>
                  <a:pt x="579" y="44"/>
                </a:lnTo>
                <a:lnTo>
                  <a:pt x="587" y="49"/>
                </a:lnTo>
                <a:lnTo>
                  <a:pt x="594" y="54"/>
                </a:lnTo>
                <a:lnTo>
                  <a:pt x="601" y="60"/>
                </a:lnTo>
                <a:lnTo>
                  <a:pt x="606" y="66"/>
                </a:lnTo>
                <a:lnTo>
                  <a:pt x="612" y="72"/>
                </a:lnTo>
                <a:lnTo>
                  <a:pt x="616" y="80"/>
                </a:lnTo>
                <a:lnTo>
                  <a:pt x="620" y="86"/>
                </a:lnTo>
                <a:lnTo>
                  <a:pt x="623" y="94"/>
                </a:lnTo>
                <a:lnTo>
                  <a:pt x="629" y="109"/>
                </a:lnTo>
                <a:lnTo>
                  <a:pt x="632" y="124"/>
                </a:lnTo>
                <a:lnTo>
                  <a:pt x="633" y="140"/>
                </a:lnTo>
                <a:lnTo>
                  <a:pt x="632" y="155"/>
                </a:lnTo>
                <a:lnTo>
                  <a:pt x="631" y="165"/>
                </a:lnTo>
                <a:lnTo>
                  <a:pt x="628" y="176"/>
                </a:lnTo>
                <a:lnTo>
                  <a:pt x="623" y="186"/>
                </a:lnTo>
                <a:lnTo>
                  <a:pt x="618" y="195"/>
                </a:lnTo>
                <a:lnTo>
                  <a:pt x="615" y="199"/>
                </a:lnTo>
                <a:lnTo>
                  <a:pt x="612" y="203"/>
                </a:lnTo>
                <a:lnTo>
                  <a:pt x="607" y="207"/>
                </a:lnTo>
                <a:lnTo>
                  <a:pt x="603" y="209"/>
                </a:lnTo>
                <a:lnTo>
                  <a:pt x="599" y="211"/>
                </a:lnTo>
                <a:lnTo>
                  <a:pt x="593" y="213"/>
                </a:lnTo>
                <a:lnTo>
                  <a:pt x="588" y="214"/>
                </a:lnTo>
                <a:lnTo>
                  <a:pt x="583" y="214"/>
                </a:lnTo>
                <a:lnTo>
                  <a:pt x="583" y="214"/>
                </a:lnTo>
                <a:lnTo>
                  <a:pt x="577" y="214"/>
                </a:lnTo>
                <a:lnTo>
                  <a:pt x="571" y="213"/>
                </a:lnTo>
                <a:lnTo>
                  <a:pt x="565" y="212"/>
                </a:lnTo>
                <a:lnTo>
                  <a:pt x="559" y="209"/>
                </a:lnTo>
                <a:lnTo>
                  <a:pt x="550" y="205"/>
                </a:lnTo>
                <a:lnTo>
                  <a:pt x="543" y="199"/>
                </a:lnTo>
                <a:lnTo>
                  <a:pt x="536" y="192"/>
                </a:lnTo>
                <a:lnTo>
                  <a:pt x="532" y="184"/>
                </a:lnTo>
                <a:lnTo>
                  <a:pt x="530" y="176"/>
                </a:lnTo>
                <a:lnTo>
                  <a:pt x="529" y="167"/>
                </a:lnTo>
                <a:lnTo>
                  <a:pt x="530" y="157"/>
                </a:lnTo>
                <a:lnTo>
                  <a:pt x="533" y="149"/>
                </a:lnTo>
                <a:close/>
                <a:moveTo>
                  <a:pt x="588" y="452"/>
                </a:moveTo>
                <a:lnTo>
                  <a:pt x="558" y="452"/>
                </a:lnTo>
                <a:lnTo>
                  <a:pt x="558" y="407"/>
                </a:lnTo>
                <a:lnTo>
                  <a:pt x="558" y="404"/>
                </a:lnTo>
                <a:lnTo>
                  <a:pt x="557" y="401"/>
                </a:lnTo>
                <a:lnTo>
                  <a:pt x="556" y="399"/>
                </a:lnTo>
                <a:lnTo>
                  <a:pt x="554" y="396"/>
                </a:lnTo>
                <a:lnTo>
                  <a:pt x="551" y="395"/>
                </a:lnTo>
                <a:lnTo>
                  <a:pt x="548" y="393"/>
                </a:lnTo>
                <a:lnTo>
                  <a:pt x="546" y="393"/>
                </a:lnTo>
                <a:lnTo>
                  <a:pt x="543" y="392"/>
                </a:lnTo>
                <a:lnTo>
                  <a:pt x="536" y="392"/>
                </a:lnTo>
                <a:lnTo>
                  <a:pt x="592" y="244"/>
                </a:lnTo>
                <a:lnTo>
                  <a:pt x="599" y="242"/>
                </a:lnTo>
                <a:lnTo>
                  <a:pt x="605" y="241"/>
                </a:lnTo>
                <a:lnTo>
                  <a:pt x="612" y="238"/>
                </a:lnTo>
                <a:lnTo>
                  <a:pt x="618" y="235"/>
                </a:lnTo>
                <a:lnTo>
                  <a:pt x="623" y="231"/>
                </a:lnTo>
                <a:lnTo>
                  <a:pt x="629" y="227"/>
                </a:lnTo>
                <a:lnTo>
                  <a:pt x="634" y="223"/>
                </a:lnTo>
                <a:lnTo>
                  <a:pt x="639" y="217"/>
                </a:lnTo>
                <a:lnTo>
                  <a:pt x="644" y="211"/>
                </a:lnTo>
                <a:lnTo>
                  <a:pt x="647" y="206"/>
                </a:lnTo>
                <a:lnTo>
                  <a:pt x="651" y="198"/>
                </a:lnTo>
                <a:lnTo>
                  <a:pt x="655" y="192"/>
                </a:lnTo>
                <a:lnTo>
                  <a:pt x="657" y="184"/>
                </a:lnTo>
                <a:lnTo>
                  <a:pt x="659" y="176"/>
                </a:lnTo>
                <a:lnTo>
                  <a:pt x="661" y="167"/>
                </a:lnTo>
                <a:lnTo>
                  <a:pt x="662" y="158"/>
                </a:lnTo>
                <a:lnTo>
                  <a:pt x="663" y="147"/>
                </a:lnTo>
                <a:lnTo>
                  <a:pt x="663" y="135"/>
                </a:lnTo>
                <a:lnTo>
                  <a:pt x="662" y="123"/>
                </a:lnTo>
                <a:lnTo>
                  <a:pt x="661" y="111"/>
                </a:lnTo>
                <a:lnTo>
                  <a:pt x="658" y="99"/>
                </a:lnTo>
                <a:lnTo>
                  <a:pt x="654" y="87"/>
                </a:lnTo>
                <a:lnTo>
                  <a:pt x="649" y="77"/>
                </a:lnTo>
                <a:lnTo>
                  <a:pt x="643" y="66"/>
                </a:lnTo>
                <a:lnTo>
                  <a:pt x="636" y="55"/>
                </a:lnTo>
                <a:lnTo>
                  <a:pt x="628" y="45"/>
                </a:lnTo>
                <a:lnTo>
                  <a:pt x="619" y="36"/>
                </a:lnTo>
                <a:lnTo>
                  <a:pt x="608" y="27"/>
                </a:lnTo>
                <a:lnTo>
                  <a:pt x="598" y="20"/>
                </a:lnTo>
                <a:lnTo>
                  <a:pt x="585" y="13"/>
                </a:lnTo>
                <a:lnTo>
                  <a:pt x="571" y="8"/>
                </a:lnTo>
                <a:lnTo>
                  <a:pt x="556" y="3"/>
                </a:lnTo>
                <a:lnTo>
                  <a:pt x="551" y="2"/>
                </a:lnTo>
                <a:lnTo>
                  <a:pt x="547" y="3"/>
                </a:lnTo>
                <a:lnTo>
                  <a:pt x="543" y="6"/>
                </a:lnTo>
                <a:lnTo>
                  <a:pt x="540" y="9"/>
                </a:lnTo>
                <a:lnTo>
                  <a:pt x="537" y="13"/>
                </a:lnTo>
                <a:lnTo>
                  <a:pt x="537" y="17"/>
                </a:lnTo>
                <a:lnTo>
                  <a:pt x="537" y="22"/>
                </a:lnTo>
                <a:lnTo>
                  <a:pt x="540" y="26"/>
                </a:lnTo>
                <a:lnTo>
                  <a:pt x="543" y="33"/>
                </a:lnTo>
                <a:lnTo>
                  <a:pt x="546" y="38"/>
                </a:lnTo>
                <a:lnTo>
                  <a:pt x="548" y="44"/>
                </a:lnTo>
                <a:lnTo>
                  <a:pt x="549" y="50"/>
                </a:lnTo>
                <a:lnTo>
                  <a:pt x="550" y="55"/>
                </a:lnTo>
                <a:lnTo>
                  <a:pt x="550" y="60"/>
                </a:lnTo>
                <a:lnTo>
                  <a:pt x="549" y="65"/>
                </a:lnTo>
                <a:lnTo>
                  <a:pt x="548" y="70"/>
                </a:lnTo>
                <a:lnTo>
                  <a:pt x="545" y="79"/>
                </a:lnTo>
                <a:lnTo>
                  <a:pt x="540" y="88"/>
                </a:lnTo>
                <a:lnTo>
                  <a:pt x="533" y="97"/>
                </a:lnTo>
                <a:lnTo>
                  <a:pt x="526" y="107"/>
                </a:lnTo>
                <a:lnTo>
                  <a:pt x="520" y="113"/>
                </a:lnTo>
                <a:lnTo>
                  <a:pt x="515" y="121"/>
                </a:lnTo>
                <a:lnTo>
                  <a:pt x="509" y="128"/>
                </a:lnTo>
                <a:lnTo>
                  <a:pt x="505" y="137"/>
                </a:lnTo>
                <a:lnTo>
                  <a:pt x="503" y="144"/>
                </a:lnTo>
                <a:lnTo>
                  <a:pt x="501" y="152"/>
                </a:lnTo>
                <a:lnTo>
                  <a:pt x="500" y="159"/>
                </a:lnTo>
                <a:lnTo>
                  <a:pt x="499" y="167"/>
                </a:lnTo>
                <a:lnTo>
                  <a:pt x="499" y="174"/>
                </a:lnTo>
                <a:lnTo>
                  <a:pt x="500" y="182"/>
                </a:lnTo>
                <a:lnTo>
                  <a:pt x="502" y="190"/>
                </a:lnTo>
                <a:lnTo>
                  <a:pt x="504" y="196"/>
                </a:lnTo>
                <a:lnTo>
                  <a:pt x="507" y="202"/>
                </a:lnTo>
                <a:lnTo>
                  <a:pt x="512" y="209"/>
                </a:lnTo>
                <a:lnTo>
                  <a:pt x="516" y="215"/>
                </a:lnTo>
                <a:lnTo>
                  <a:pt x="521" y="221"/>
                </a:lnTo>
                <a:lnTo>
                  <a:pt x="437" y="373"/>
                </a:lnTo>
                <a:lnTo>
                  <a:pt x="437" y="15"/>
                </a:lnTo>
                <a:lnTo>
                  <a:pt x="437" y="12"/>
                </a:lnTo>
                <a:lnTo>
                  <a:pt x="436" y="9"/>
                </a:lnTo>
                <a:lnTo>
                  <a:pt x="434" y="7"/>
                </a:lnTo>
                <a:lnTo>
                  <a:pt x="433" y="5"/>
                </a:lnTo>
                <a:lnTo>
                  <a:pt x="431" y="2"/>
                </a:lnTo>
                <a:lnTo>
                  <a:pt x="428" y="1"/>
                </a:lnTo>
                <a:lnTo>
                  <a:pt x="426" y="0"/>
                </a:lnTo>
                <a:lnTo>
                  <a:pt x="422" y="0"/>
                </a:lnTo>
                <a:lnTo>
                  <a:pt x="242" y="0"/>
                </a:lnTo>
                <a:lnTo>
                  <a:pt x="238" y="0"/>
                </a:lnTo>
                <a:lnTo>
                  <a:pt x="235" y="1"/>
                </a:lnTo>
                <a:lnTo>
                  <a:pt x="233" y="2"/>
                </a:lnTo>
                <a:lnTo>
                  <a:pt x="231" y="5"/>
                </a:lnTo>
                <a:lnTo>
                  <a:pt x="229" y="7"/>
                </a:lnTo>
                <a:lnTo>
                  <a:pt x="228" y="9"/>
                </a:lnTo>
                <a:lnTo>
                  <a:pt x="227" y="12"/>
                </a:lnTo>
                <a:lnTo>
                  <a:pt x="227" y="15"/>
                </a:lnTo>
                <a:lnTo>
                  <a:pt x="227" y="392"/>
                </a:lnTo>
                <a:lnTo>
                  <a:pt x="220" y="392"/>
                </a:lnTo>
                <a:lnTo>
                  <a:pt x="134" y="220"/>
                </a:lnTo>
                <a:lnTo>
                  <a:pt x="134" y="219"/>
                </a:lnTo>
                <a:lnTo>
                  <a:pt x="133" y="219"/>
                </a:lnTo>
                <a:lnTo>
                  <a:pt x="133" y="219"/>
                </a:lnTo>
                <a:lnTo>
                  <a:pt x="133" y="217"/>
                </a:lnTo>
                <a:lnTo>
                  <a:pt x="133" y="217"/>
                </a:lnTo>
                <a:lnTo>
                  <a:pt x="132" y="217"/>
                </a:lnTo>
                <a:lnTo>
                  <a:pt x="131" y="215"/>
                </a:lnTo>
                <a:lnTo>
                  <a:pt x="130" y="214"/>
                </a:lnTo>
                <a:lnTo>
                  <a:pt x="129" y="214"/>
                </a:lnTo>
                <a:lnTo>
                  <a:pt x="129" y="213"/>
                </a:lnTo>
                <a:lnTo>
                  <a:pt x="129" y="213"/>
                </a:lnTo>
                <a:lnTo>
                  <a:pt x="128" y="213"/>
                </a:lnTo>
                <a:lnTo>
                  <a:pt x="22" y="153"/>
                </a:lnTo>
                <a:lnTo>
                  <a:pt x="19" y="151"/>
                </a:lnTo>
                <a:lnTo>
                  <a:pt x="15" y="151"/>
                </a:lnTo>
                <a:lnTo>
                  <a:pt x="10" y="152"/>
                </a:lnTo>
                <a:lnTo>
                  <a:pt x="6" y="153"/>
                </a:lnTo>
                <a:lnTo>
                  <a:pt x="4" y="156"/>
                </a:lnTo>
                <a:lnTo>
                  <a:pt x="2" y="159"/>
                </a:lnTo>
                <a:lnTo>
                  <a:pt x="0" y="164"/>
                </a:lnTo>
                <a:lnTo>
                  <a:pt x="0" y="168"/>
                </a:lnTo>
                <a:lnTo>
                  <a:pt x="15" y="288"/>
                </a:lnTo>
                <a:lnTo>
                  <a:pt x="15" y="288"/>
                </a:lnTo>
                <a:lnTo>
                  <a:pt x="15" y="288"/>
                </a:lnTo>
                <a:lnTo>
                  <a:pt x="16" y="290"/>
                </a:lnTo>
                <a:lnTo>
                  <a:pt x="16" y="291"/>
                </a:lnTo>
                <a:lnTo>
                  <a:pt x="16" y="292"/>
                </a:lnTo>
                <a:lnTo>
                  <a:pt x="17" y="294"/>
                </a:lnTo>
                <a:lnTo>
                  <a:pt x="66" y="392"/>
                </a:lnTo>
                <a:lnTo>
                  <a:pt x="60" y="392"/>
                </a:lnTo>
                <a:lnTo>
                  <a:pt x="57" y="393"/>
                </a:lnTo>
                <a:lnTo>
                  <a:pt x="54" y="393"/>
                </a:lnTo>
                <a:lnTo>
                  <a:pt x="51" y="395"/>
                </a:lnTo>
                <a:lnTo>
                  <a:pt x="49" y="396"/>
                </a:lnTo>
                <a:lnTo>
                  <a:pt x="48" y="399"/>
                </a:lnTo>
                <a:lnTo>
                  <a:pt x="46" y="401"/>
                </a:lnTo>
                <a:lnTo>
                  <a:pt x="46" y="405"/>
                </a:lnTo>
                <a:lnTo>
                  <a:pt x="45" y="407"/>
                </a:lnTo>
                <a:lnTo>
                  <a:pt x="45" y="814"/>
                </a:lnTo>
                <a:lnTo>
                  <a:pt x="46" y="824"/>
                </a:lnTo>
                <a:lnTo>
                  <a:pt x="47" y="833"/>
                </a:lnTo>
                <a:lnTo>
                  <a:pt x="49" y="841"/>
                </a:lnTo>
                <a:lnTo>
                  <a:pt x="52" y="850"/>
                </a:lnTo>
                <a:lnTo>
                  <a:pt x="56" y="857"/>
                </a:lnTo>
                <a:lnTo>
                  <a:pt x="60" y="865"/>
                </a:lnTo>
                <a:lnTo>
                  <a:pt x="65" y="872"/>
                </a:lnTo>
                <a:lnTo>
                  <a:pt x="72" y="879"/>
                </a:lnTo>
                <a:lnTo>
                  <a:pt x="78" y="884"/>
                </a:lnTo>
                <a:lnTo>
                  <a:pt x="85" y="890"/>
                </a:lnTo>
                <a:lnTo>
                  <a:pt x="92" y="894"/>
                </a:lnTo>
                <a:lnTo>
                  <a:pt x="100" y="898"/>
                </a:lnTo>
                <a:lnTo>
                  <a:pt x="108" y="900"/>
                </a:lnTo>
                <a:lnTo>
                  <a:pt x="117" y="902"/>
                </a:lnTo>
                <a:lnTo>
                  <a:pt x="127" y="905"/>
                </a:lnTo>
                <a:lnTo>
                  <a:pt x="135" y="905"/>
                </a:lnTo>
                <a:lnTo>
                  <a:pt x="467" y="905"/>
                </a:lnTo>
                <a:lnTo>
                  <a:pt x="477" y="905"/>
                </a:lnTo>
                <a:lnTo>
                  <a:pt x="486" y="902"/>
                </a:lnTo>
                <a:lnTo>
                  <a:pt x="494" y="900"/>
                </a:lnTo>
                <a:lnTo>
                  <a:pt x="503" y="898"/>
                </a:lnTo>
                <a:lnTo>
                  <a:pt x="512" y="894"/>
                </a:lnTo>
                <a:lnTo>
                  <a:pt x="519" y="890"/>
                </a:lnTo>
                <a:lnTo>
                  <a:pt x="526" y="884"/>
                </a:lnTo>
                <a:lnTo>
                  <a:pt x="532" y="879"/>
                </a:lnTo>
                <a:lnTo>
                  <a:pt x="537" y="872"/>
                </a:lnTo>
                <a:lnTo>
                  <a:pt x="543" y="866"/>
                </a:lnTo>
                <a:lnTo>
                  <a:pt x="547" y="858"/>
                </a:lnTo>
                <a:lnTo>
                  <a:pt x="551" y="850"/>
                </a:lnTo>
                <a:lnTo>
                  <a:pt x="554" y="842"/>
                </a:lnTo>
                <a:lnTo>
                  <a:pt x="556" y="833"/>
                </a:lnTo>
                <a:lnTo>
                  <a:pt x="558" y="824"/>
                </a:lnTo>
                <a:lnTo>
                  <a:pt x="558" y="814"/>
                </a:lnTo>
                <a:lnTo>
                  <a:pt x="558" y="694"/>
                </a:lnTo>
                <a:lnTo>
                  <a:pt x="588" y="694"/>
                </a:lnTo>
                <a:lnTo>
                  <a:pt x="601" y="693"/>
                </a:lnTo>
                <a:lnTo>
                  <a:pt x="613" y="692"/>
                </a:lnTo>
                <a:lnTo>
                  <a:pt x="625" y="688"/>
                </a:lnTo>
                <a:lnTo>
                  <a:pt x="636" y="684"/>
                </a:lnTo>
                <a:lnTo>
                  <a:pt x="647" y="680"/>
                </a:lnTo>
                <a:lnTo>
                  <a:pt x="657" y="673"/>
                </a:lnTo>
                <a:lnTo>
                  <a:pt x="666" y="667"/>
                </a:lnTo>
                <a:lnTo>
                  <a:pt x="674" y="659"/>
                </a:lnTo>
                <a:lnTo>
                  <a:pt x="683" y="651"/>
                </a:lnTo>
                <a:lnTo>
                  <a:pt x="689" y="642"/>
                </a:lnTo>
                <a:lnTo>
                  <a:pt x="694" y="631"/>
                </a:lnTo>
                <a:lnTo>
                  <a:pt x="700" y="622"/>
                </a:lnTo>
                <a:lnTo>
                  <a:pt x="703" y="610"/>
                </a:lnTo>
                <a:lnTo>
                  <a:pt x="706" y="598"/>
                </a:lnTo>
                <a:lnTo>
                  <a:pt x="708" y="586"/>
                </a:lnTo>
                <a:lnTo>
                  <a:pt x="708" y="573"/>
                </a:lnTo>
                <a:lnTo>
                  <a:pt x="708" y="561"/>
                </a:lnTo>
                <a:lnTo>
                  <a:pt x="706" y="548"/>
                </a:lnTo>
                <a:lnTo>
                  <a:pt x="703" y="536"/>
                </a:lnTo>
                <a:lnTo>
                  <a:pt x="700" y="525"/>
                </a:lnTo>
                <a:lnTo>
                  <a:pt x="694" y="514"/>
                </a:lnTo>
                <a:lnTo>
                  <a:pt x="689" y="505"/>
                </a:lnTo>
                <a:lnTo>
                  <a:pt x="683" y="495"/>
                </a:lnTo>
                <a:lnTo>
                  <a:pt x="674" y="486"/>
                </a:lnTo>
                <a:lnTo>
                  <a:pt x="666" y="479"/>
                </a:lnTo>
                <a:lnTo>
                  <a:pt x="657" y="472"/>
                </a:lnTo>
                <a:lnTo>
                  <a:pt x="647" y="466"/>
                </a:lnTo>
                <a:lnTo>
                  <a:pt x="636" y="462"/>
                </a:lnTo>
                <a:lnTo>
                  <a:pt x="625" y="457"/>
                </a:lnTo>
                <a:lnTo>
                  <a:pt x="613" y="455"/>
                </a:lnTo>
                <a:lnTo>
                  <a:pt x="601" y="453"/>
                </a:lnTo>
                <a:lnTo>
                  <a:pt x="588" y="452"/>
                </a:lnTo>
                <a:close/>
              </a:path>
            </a:pathLst>
          </a:custGeom>
          <a:solidFill>
            <a:srgbClr val="E2583D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2149380" y="1885467"/>
            <a:ext cx="118799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LOREM IPSUM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2038375" y="2173846"/>
            <a:ext cx="1410005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Lorem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Ipsum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 is simply dummy text of the printing and typesetting industry. 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3848425" y="1885467"/>
            <a:ext cx="118799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LOREM IPSUM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3737420" y="2173846"/>
            <a:ext cx="1410005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Lorem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Ipsum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 is simply dummy text of the printing and typesetting industry. 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547470" y="1885467"/>
            <a:ext cx="118799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LOREM IPSUM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436465" y="2173846"/>
            <a:ext cx="1410005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Lorem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Ipsum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 is simply dummy text of the printing and typesetting industry. 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7246515" y="1885467"/>
            <a:ext cx="118799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LOREM IPSUM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7135510" y="2173846"/>
            <a:ext cx="1410005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Lorem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Ipsum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 is simply dummy text of the printing and typesetting industry. 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8945563" y="1885467"/>
            <a:ext cx="118799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LOREM IPSUM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8834558" y="2173846"/>
            <a:ext cx="1410005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Lorem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Ipsum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 is simply dummy text of the printing and typesetting industry. </a:t>
            </a:r>
          </a:p>
        </p:txBody>
      </p:sp>
      <p:cxnSp>
        <p:nvCxnSpPr>
          <p:cNvPr id="20" name="Straight Connector 19"/>
          <p:cNvCxnSpPr/>
          <p:nvPr/>
        </p:nvCxnSpPr>
        <p:spPr>
          <a:xfrm>
            <a:off x="3592900" y="1494416"/>
            <a:ext cx="0" cy="1281823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>
            <a:off x="5291945" y="1494416"/>
            <a:ext cx="0" cy="1281823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>
            <a:off x="6990990" y="1494416"/>
            <a:ext cx="0" cy="1281823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>
            <a:off x="8690035" y="1494416"/>
            <a:ext cx="0" cy="1281823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4" name="Group 23"/>
          <p:cNvGrpSpPr/>
          <p:nvPr/>
        </p:nvGrpSpPr>
        <p:grpSpPr>
          <a:xfrm>
            <a:off x="4298753" y="1494416"/>
            <a:ext cx="287338" cy="287338"/>
            <a:chOff x="885825" y="1925638"/>
            <a:chExt cx="287338" cy="287338"/>
          </a:xfrm>
          <a:solidFill>
            <a:srgbClr val="78D2D2"/>
          </a:solidFill>
        </p:grpSpPr>
        <p:sp>
          <p:nvSpPr>
            <p:cNvPr id="32" name="Freeform 50"/>
            <p:cNvSpPr>
              <a:spLocks noEditPoints="1"/>
            </p:cNvSpPr>
            <p:nvPr/>
          </p:nvSpPr>
          <p:spPr bwMode="auto">
            <a:xfrm>
              <a:off x="885825" y="1925638"/>
              <a:ext cx="228600" cy="287338"/>
            </a:xfrm>
            <a:custGeom>
              <a:avLst/>
              <a:gdLst>
                <a:gd name="T0" fmla="*/ 230 w 722"/>
                <a:gd name="T1" fmla="*/ 221 h 905"/>
                <a:gd name="T2" fmla="*/ 252 w 722"/>
                <a:gd name="T3" fmla="*/ 167 h 905"/>
                <a:gd name="T4" fmla="*/ 252 w 722"/>
                <a:gd name="T5" fmla="*/ 105 h 905"/>
                <a:gd name="T6" fmla="*/ 227 w 722"/>
                <a:gd name="T7" fmla="*/ 52 h 905"/>
                <a:gd name="T8" fmla="*/ 598 w 722"/>
                <a:gd name="T9" fmla="*/ 30 h 905"/>
                <a:gd name="T10" fmla="*/ 635 w 722"/>
                <a:gd name="T11" fmla="*/ 43 h 905"/>
                <a:gd name="T12" fmla="*/ 668 w 722"/>
                <a:gd name="T13" fmla="*/ 70 h 905"/>
                <a:gd name="T14" fmla="*/ 688 w 722"/>
                <a:gd name="T15" fmla="*/ 106 h 905"/>
                <a:gd name="T16" fmla="*/ 692 w 722"/>
                <a:gd name="T17" fmla="*/ 145 h 905"/>
                <a:gd name="T18" fmla="*/ 679 w 722"/>
                <a:gd name="T19" fmla="*/ 184 h 905"/>
                <a:gd name="T20" fmla="*/ 652 w 722"/>
                <a:gd name="T21" fmla="*/ 216 h 905"/>
                <a:gd name="T22" fmla="*/ 617 w 722"/>
                <a:gd name="T23" fmla="*/ 236 h 905"/>
                <a:gd name="T24" fmla="*/ 587 w 722"/>
                <a:gd name="T25" fmla="*/ 241 h 905"/>
                <a:gd name="T26" fmla="*/ 572 w 722"/>
                <a:gd name="T27" fmla="*/ 271 h 905"/>
                <a:gd name="T28" fmla="*/ 217 w 722"/>
                <a:gd name="T29" fmla="*/ 181 h 905"/>
                <a:gd name="T30" fmla="*/ 191 w 722"/>
                <a:gd name="T31" fmla="*/ 220 h 905"/>
                <a:gd name="T32" fmla="*/ 150 w 722"/>
                <a:gd name="T33" fmla="*/ 240 h 905"/>
                <a:gd name="T34" fmla="*/ 30 w 722"/>
                <a:gd name="T35" fmla="*/ 125 h 905"/>
                <a:gd name="T36" fmla="*/ 42 w 722"/>
                <a:gd name="T37" fmla="*/ 86 h 905"/>
                <a:gd name="T38" fmla="*/ 66 w 722"/>
                <a:gd name="T39" fmla="*/ 55 h 905"/>
                <a:gd name="T40" fmla="*/ 100 w 722"/>
                <a:gd name="T41" fmla="*/ 35 h 905"/>
                <a:gd name="T42" fmla="*/ 138 w 722"/>
                <a:gd name="T43" fmla="*/ 30 h 905"/>
                <a:gd name="T44" fmla="*/ 174 w 722"/>
                <a:gd name="T45" fmla="*/ 43 h 905"/>
                <a:gd name="T46" fmla="*/ 203 w 722"/>
                <a:gd name="T47" fmla="*/ 69 h 905"/>
                <a:gd name="T48" fmla="*/ 221 w 722"/>
                <a:gd name="T49" fmla="*/ 105 h 905"/>
                <a:gd name="T50" fmla="*/ 225 w 722"/>
                <a:gd name="T51" fmla="*/ 143 h 905"/>
                <a:gd name="T52" fmla="*/ 129 w 722"/>
                <a:gd name="T53" fmla="*/ 152 h 905"/>
                <a:gd name="T54" fmla="*/ 121 w 722"/>
                <a:gd name="T55" fmla="*/ 160 h 905"/>
                <a:gd name="T56" fmla="*/ 120 w 722"/>
                <a:gd name="T57" fmla="*/ 604 h 905"/>
                <a:gd name="T58" fmla="*/ 720 w 722"/>
                <a:gd name="T59" fmla="*/ 110 h 905"/>
                <a:gd name="T60" fmla="*/ 699 w 722"/>
                <a:gd name="T61" fmla="*/ 62 h 905"/>
                <a:gd name="T62" fmla="*/ 661 w 722"/>
                <a:gd name="T63" fmla="*/ 24 h 905"/>
                <a:gd name="T64" fmla="*/ 614 w 722"/>
                <a:gd name="T65" fmla="*/ 3 h 905"/>
                <a:gd name="T66" fmla="*/ 134 w 722"/>
                <a:gd name="T67" fmla="*/ 0 h 905"/>
                <a:gd name="T68" fmla="*/ 116 w 722"/>
                <a:gd name="T69" fmla="*/ 1 h 905"/>
                <a:gd name="T70" fmla="*/ 67 w 722"/>
                <a:gd name="T71" fmla="*/ 16 h 905"/>
                <a:gd name="T72" fmla="*/ 29 w 722"/>
                <a:gd name="T73" fmla="*/ 50 h 905"/>
                <a:gd name="T74" fmla="*/ 5 w 722"/>
                <a:gd name="T75" fmla="*/ 96 h 905"/>
                <a:gd name="T76" fmla="*/ 0 w 722"/>
                <a:gd name="T77" fmla="*/ 619 h 905"/>
                <a:gd name="T78" fmla="*/ 4 w 722"/>
                <a:gd name="T79" fmla="*/ 629 h 905"/>
                <a:gd name="T80" fmla="*/ 15 w 722"/>
                <a:gd name="T81" fmla="*/ 634 h 905"/>
                <a:gd name="T82" fmla="*/ 121 w 722"/>
                <a:gd name="T83" fmla="*/ 895 h 905"/>
                <a:gd name="T84" fmla="*/ 129 w 722"/>
                <a:gd name="T85" fmla="*/ 904 h 905"/>
                <a:gd name="T86" fmla="*/ 590 w 722"/>
                <a:gd name="T87" fmla="*/ 905 h 905"/>
                <a:gd name="T88" fmla="*/ 600 w 722"/>
                <a:gd name="T89" fmla="*/ 898 h 905"/>
                <a:gd name="T90" fmla="*/ 602 w 722"/>
                <a:gd name="T91" fmla="*/ 270 h 905"/>
                <a:gd name="T92" fmla="*/ 648 w 722"/>
                <a:gd name="T93" fmla="*/ 255 h 905"/>
                <a:gd name="T94" fmla="*/ 687 w 722"/>
                <a:gd name="T95" fmla="*/ 225 h 905"/>
                <a:gd name="T96" fmla="*/ 713 w 722"/>
                <a:gd name="T97" fmla="*/ 183 h 905"/>
                <a:gd name="T98" fmla="*/ 722 w 722"/>
                <a:gd name="T99" fmla="*/ 136 h 9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722" h="905">
                  <a:moveTo>
                    <a:pt x="587" y="241"/>
                  </a:moveTo>
                  <a:lnTo>
                    <a:pt x="211" y="241"/>
                  </a:lnTo>
                  <a:lnTo>
                    <a:pt x="221" y="231"/>
                  </a:lnTo>
                  <a:lnTo>
                    <a:pt x="230" y="221"/>
                  </a:lnTo>
                  <a:lnTo>
                    <a:pt x="237" y="209"/>
                  </a:lnTo>
                  <a:lnTo>
                    <a:pt x="244" y="195"/>
                  </a:lnTo>
                  <a:lnTo>
                    <a:pt x="249" y="182"/>
                  </a:lnTo>
                  <a:lnTo>
                    <a:pt x="252" y="167"/>
                  </a:lnTo>
                  <a:lnTo>
                    <a:pt x="254" y="152"/>
                  </a:lnTo>
                  <a:lnTo>
                    <a:pt x="256" y="136"/>
                  </a:lnTo>
                  <a:lnTo>
                    <a:pt x="254" y="120"/>
                  </a:lnTo>
                  <a:lnTo>
                    <a:pt x="252" y="105"/>
                  </a:lnTo>
                  <a:lnTo>
                    <a:pt x="248" y="91"/>
                  </a:lnTo>
                  <a:lnTo>
                    <a:pt x="243" y="77"/>
                  </a:lnTo>
                  <a:lnTo>
                    <a:pt x="235" y="64"/>
                  </a:lnTo>
                  <a:lnTo>
                    <a:pt x="227" y="52"/>
                  </a:lnTo>
                  <a:lnTo>
                    <a:pt x="218" y="40"/>
                  </a:lnTo>
                  <a:lnTo>
                    <a:pt x="207" y="30"/>
                  </a:lnTo>
                  <a:lnTo>
                    <a:pt x="587" y="30"/>
                  </a:lnTo>
                  <a:lnTo>
                    <a:pt x="598" y="30"/>
                  </a:lnTo>
                  <a:lnTo>
                    <a:pt x="607" y="33"/>
                  </a:lnTo>
                  <a:lnTo>
                    <a:pt x="617" y="36"/>
                  </a:lnTo>
                  <a:lnTo>
                    <a:pt x="627" y="39"/>
                  </a:lnTo>
                  <a:lnTo>
                    <a:pt x="635" y="43"/>
                  </a:lnTo>
                  <a:lnTo>
                    <a:pt x="645" y="50"/>
                  </a:lnTo>
                  <a:lnTo>
                    <a:pt x="652" y="56"/>
                  </a:lnTo>
                  <a:lnTo>
                    <a:pt x="660" y="63"/>
                  </a:lnTo>
                  <a:lnTo>
                    <a:pt x="668" y="70"/>
                  </a:lnTo>
                  <a:lnTo>
                    <a:pt x="674" y="79"/>
                  </a:lnTo>
                  <a:lnTo>
                    <a:pt x="679" y="87"/>
                  </a:lnTo>
                  <a:lnTo>
                    <a:pt x="684" y="96"/>
                  </a:lnTo>
                  <a:lnTo>
                    <a:pt x="688" y="106"/>
                  </a:lnTo>
                  <a:lnTo>
                    <a:pt x="690" y="115"/>
                  </a:lnTo>
                  <a:lnTo>
                    <a:pt x="692" y="126"/>
                  </a:lnTo>
                  <a:lnTo>
                    <a:pt x="692" y="136"/>
                  </a:lnTo>
                  <a:lnTo>
                    <a:pt x="692" y="145"/>
                  </a:lnTo>
                  <a:lnTo>
                    <a:pt x="690" y="156"/>
                  </a:lnTo>
                  <a:lnTo>
                    <a:pt x="688" y="166"/>
                  </a:lnTo>
                  <a:lnTo>
                    <a:pt x="684" y="176"/>
                  </a:lnTo>
                  <a:lnTo>
                    <a:pt x="679" y="184"/>
                  </a:lnTo>
                  <a:lnTo>
                    <a:pt x="674" y="193"/>
                  </a:lnTo>
                  <a:lnTo>
                    <a:pt x="668" y="201"/>
                  </a:lnTo>
                  <a:lnTo>
                    <a:pt x="660" y="209"/>
                  </a:lnTo>
                  <a:lnTo>
                    <a:pt x="652" y="216"/>
                  </a:lnTo>
                  <a:lnTo>
                    <a:pt x="645" y="222"/>
                  </a:lnTo>
                  <a:lnTo>
                    <a:pt x="635" y="228"/>
                  </a:lnTo>
                  <a:lnTo>
                    <a:pt x="627" y="233"/>
                  </a:lnTo>
                  <a:lnTo>
                    <a:pt x="617" y="236"/>
                  </a:lnTo>
                  <a:lnTo>
                    <a:pt x="607" y="239"/>
                  </a:lnTo>
                  <a:lnTo>
                    <a:pt x="598" y="241"/>
                  </a:lnTo>
                  <a:lnTo>
                    <a:pt x="587" y="241"/>
                  </a:lnTo>
                  <a:lnTo>
                    <a:pt x="587" y="241"/>
                  </a:lnTo>
                  <a:close/>
                  <a:moveTo>
                    <a:pt x="572" y="874"/>
                  </a:moveTo>
                  <a:lnTo>
                    <a:pt x="150" y="874"/>
                  </a:lnTo>
                  <a:lnTo>
                    <a:pt x="150" y="271"/>
                  </a:lnTo>
                  <a:lnTo>
                    <a:pt x="572" y="271"/>
                  </a:lnTo>
                  <a:lnTo>
                    <a:pt x="572" y="874"/>
                  </a:lnTo>
                  <a:close/>
                  <a:moveTo>
                    <a:pt x="150" y="240"/>
                  </a:moveTo>
                  <a:lnTo>
                    <a:pt x="150" y="181"/>
                  </a:lnTo>
                  <a:lnTo>
                    <a:pt x="217" y="181"/>
                  </a:lnTo>
                  <a:lnTo>
                    <a:pt x="211" y="192"/>
                  </a:lnTo>
                  <a:lnTo>
                    <a:pt x="206" y="201"/>
                  </a:lnTo>
                  <a:lnTo>
                    <a:pt x="199" y="211"/>
                  </a:lnTo>
                  <a:lnTo>
                    <a:pt x="191" y="220"/>
                  </a:lnTo>
                  <a:lnTo>
                    <a:pt x="182" y="226"/>
                  </a:lnTo>
                  <a:lnTo>
                    <a:pt x="172" y="233"/>
                  </a:lnTo>
                  <a:lnTo>
                    <a:pt x="161" y="237"/>
                  </a:lnTo>
                  <a:lnTo>
                    <a:pt x="150" y="240"/>
                  </a:lnTo>
                  <a:lnTo>
                    <a:pt x="150" y="240"/>
                  </a:lnTo>
                  <a:close/>
                  <a:moveTo>
                    <a:pt x="30" y="604"/>
                  </a:moveTo>
                  <a:lnTo>
                    <a:pt x="30" y="136"/>
                  </a:lnTo>
                  <a:lnTo>
                    <a:pt x="30" y="125"/>
                  </a:lnTo>
                  <a:lnTo>
                    <a:pt x="32" y="115"/>
                  </a:lnTo>
                  <a:lnTo>
                    <a:pt x="34" y="105"/>
                  </a:lnTo>
                  <a:lnTo>
                    <a:pt x="37" y="96"/>
                  </a:lnTo>
                  <a:lnTo>
                    <a:pt x="42" y="86"/>
                  </a:lnTo>
                  <a:lnTo>
                    <a:pt x="47" y="78"/>
                  </a:lnTo>
                  <a:lnTo>
                    <a:pt x="52" y="69"/>
                  </a:lnTo>
                  <a:lnTo>
                    <a:pt x="59" y="62"/>
                  </a:lnTo>
                  <a:lnTo>
                    <a:pt x="66" y="55"/>
                  </a:lnTo>
                  <a:lnTo>
                    <a:pt x="74" y="49"/>
                  </a:lnTo>
                  <a:lnTo>
                    <a:pt x="82" y="43"/>
                  </a:lnTo>
                  <a:lnTo>
                    <a:pt x="91" y="39"/>
                  </a:lnTo>
                  <a:lnTo>
                    <a:pt x="100" y="35"/>
                  </a:lnTo>
                  <a:lnTo>
                    <a:pt x="109" y="33"/>
                  </a:lnTo>
                  <a:lnTo>
                    <a:pt x="119" y="30"/>
                  </a:lnTo>
                  <a:lnTo>
                    <a:pt x="129" y="30"/>
                  </a:lnTo>
                  <a:lnTo>
                    <a:pt x="138" y="30"/>
                  </a:lnTo>
                  <a:lnTo>
                    <a:pt x="148" y="33"/>
                  </a:lnTo>
                  <a:lnTo>
                    <a:pt x="157" y="35"/>
                  </a:lnTo>
                  <a:lnTo>
                    <a:pt x="165" y="39"/>
                  </a:lnTo>
                  <a:lnTo>
                    <a:pt x="174" y="43"/>
                  </a:lnTo>
                  <a:lnTo>
                    <a:pt x="182" y="49"/>
                  </a:lnTo>
                  <a:lnTo>
                    <a:pt x="190" y="55"/>
                  </a:lnTo>
                  <a:lnTo>
                    <a:pt x="196" y="62"/>
                  </a:lnTo>
                  <a:lnTo>
                    <a:pt x="203" y="69"/>
                  </a:lnTo>
                  <a:lnTo>
                    <a:pt x="208" y="78"/>
                  </a:lnTo>
                  <a:lnTo>
                    <a:pt x="214" y="86"/>
                  </a:lnTo>
                  <a:lnTo>
                    <a:pt x="218" y="95"/>
                  </a:lnTo>
                  <a:lnTo>
                    <a:pt x="221" y="105"/>
                  </a:lnTo>
                  <a:lnTo>
                    <a:pt x="223" y="115"/>
                  </a:lnTo>
                  <a:lnTo>
                    <a:pt x="224" y="125"/>
                  </a:lnTo>
                  <a:lnTo>
                    <a:pt x="225" y="136"/>
                  </a:lnTo>
                  <a:lnTo>
                    <a:pt x="225" y="143"/>
                  </a:lnTo>
                  <a:lnTo>
                    <a:pt x="224" y="151"/>
                  </a:lnTo>
                  <a:lnTo>
                    <a:pt x="135" y="151"/>
                  </a:lnTo>
                  <a:lnTo>
                    <a:pt x="132" y="151"/>
                  </a:lnTo>
                  <a:lnTo>
                    <a:pt x="129" y="152"/>
                  </a:lnTo>
                  <a:lnTo>
                    <a:pt x="126" y="153"/>
                  </a:lnTo>
                  <a:lnTo>
                    <a:pt x="124" y="155"/>
                  </a:lnTo>
                  <a:lnTo>
                    <a:pt x="122" y="157"/>
                  </a:lnTo>
                  <a:lnTo>
                    <a:pt x="121" y="160"/>
                  </a:lnTo>
                  <a:lnTo>
                    <a:pt x="120" y="163"/>
                  </a:lnTo>
                  <a:lnTo>
                    <a:pt x="120" y="166"/>
                  </a:lnTo>
                  <a:lnTo>
                    <a:pt x="120" y="256"/>
                  </a:lnTo>
                  <a:lnTo>
                    <a:pt x="120" y="604"/>
                  </a:lnTo>
                  <a:lnTo>
                    <a:pt x="30" y="604"/>
                  </a:lnTo>
                  <a:close/>
                  <a:moveTo>
                    <a:pt x="722" y="136"/>
                  </a:moveTo>
                  <a:lnTo>
                    <a:pt x="722" y="123"/>
                  </a:lnTo>
                  <a:lnTo>
                    <a:pt x="720" y="110"/>
                  </a:lnTo>
                  <a:lnTo>
                    <a:pt x="717" y="97"/>
                  </a:lnTo>
                  <a:lnTo>
                    <a:pt x="712" y="84"/>
                  </a:lnTo>
                  <a:lnTo>
                    <a:pt x="706" y="72"/>
                  </a:lnTo>
                  <a:lnTo>
                    <a:pt x="699" y="62"/>
                  </a:lnTo>
                  <a:lnTo>
                    <a:pt x="691" y="51"/>
                  </a:lnTo>
                  <a:lnTo>
                    <a:pt x="682" y="41"/>
                  </a:lnTo>
                  <a:lnTo>
                    <a:pt x="672" y="33"/>
                  </a:lnTo>
                  <a:lnTo>
                    <a:pt x="661" y="24"/>
                  </a:lnTo>
                  <a:lnTo>
                    <a:pt x="650" y="17"/>
                  </a:lnTo>
                  <a:lnTo>
                    <a:pt x="638" y="11"/>
                  </a:lnTo>
                  <a:lnTo>
                    <a:pt x="626" y="7"/>
                  </a:lnTo>
                  <a:lnTo>
                    <a:pt x="614" y="3"/>
                  </a:lnTo>
                  <a:lnTo>
                    <a:pt x="601" y="1"/>
                  </a:lnTo>
                  <a:lnTo>
                    <a:pt x="587" y="0"/>
                  </a:lnTo>
                  <a:lnTo>
                    <a:pt x="135" y="0"/>
                  </a:lnTo>
                  <a:lnTo>
                    <a:pt x="134" y="0"/>
                  </a:lnTo>
                  <a:lnTo>
                    <a:pt x="133" y="0"/>
                  </a:lnTo>
                  <a:lnTo>
                    <a:pt x="131" y="0"/>
                  </a:lnTo>
                  <a:lnTo>
                    <a:pt x="129" y="0"/>
                  </a:lnTo>
                  <a:lnTo>
                    <a:pt x="116" y="1"/>
                  </a:lnTo>
                  <a:lnTo>
                    <a:pt x="103" y="2"/>
                  </a:lnTo>
                  <a:lnTo>
                    <a:pt x="90" y="7"/>
                  </a:lnTo>
                  <a:lnTo>
                    <a:pt x="78" y="11"/>
                  </a:lnTo>
                  <a:lnTo>
                    <a:pt x="67" y="16"/>
                  </a:lnTo>
                  <a:lnTo>
                    <a:pt x="57" y="24"/>
                  </a:lnTo>
                  <a:lnTo>
                    <a:pt x="47" y="31"/>
                  </a:lnTo>
                  <a:lnTo>
                    <a:pt x="37" y="40"/>
                  </a:lnTo>
                  <a:lnTo>
                    <a:pt x="29" y="50"/>
                  </a:lnTo>
                  <a:lnTo>
                    <a:pt x="21" y="60"/>
                  </a:lnTo>
                  <a:lnTo>
                    <a:pt x="15" y="71"/>
                  </a:lnTo>
                  <a:lnTo>
                    <a:pt x="9" y="83"/>
                  </a:lnTo>
                  <a:lnTo>
                    <a:pt x="5" y="96"/>
                  </a:lnTo>
                  <a:lnTo>
                    <a:pt x="2" y="109"/>
                  </a:lnTo>
                  <a:lnTo>
                    <a:pt x="0" y="122"/>
                  </a:lnTo>
                  <a:lnTo>
                    <a:pt x="0" y="136"/>
                  </a:lnTo>
                  <a:lnTo>
                    <a:pt x="0" y="619"/>
                  </a:lnTo>
                  <a:lnTo>
                    <a:pt x="0" y="621"/>
                  </a:lnTo>
                  <a:lnTo>
                    <a:pt x="1" y="624"/>
                  </a:lnTo>
                  <a:lnTo>
                    <a:pt x="2" y="626"/>
                  </a:lnTo>
                  <a:lnTo>
                    <a:pt x="4" y="629"/>
                  </a:lnTo>
                  <a:lnTo>
                    <a:pt x="6" y="630"/>
                  </a:lnTo>
                  <a:lnTo>
                    <a:pt x="8" y="633"/>
                  </a:lnTo>
                  <a:lnTo>
                    <a:pt x="11" y="633"/>
                  </a:lnTo>
                  <a:lnTo>
                    <a:pt x="15" y="634"/>
                  </a:lnTo>
                  <a:lnTo>
                    <a:pt x="120" y="634"/>
                  </a:lnTo>
                  <a:lnTo>
                    <a:pt x="120" y="890"/>
                  </a:lnTo>
                  <a:lnTo>
                    <a:pt x="120" y="893"/>
                  </a:lnTo>
                  <a:lnTo>
                    <a:pt x="121" y="895"/>
                  </a:lnTo>
                  <a:lnTo>
                    <a:pt x="122" y="898"/>
                  </a:lnTo>
                  <a:lnTo>
                    <a:pt x="124" y="900"/>
                  </a:lnTo>
                  <a:lnTo>
                    <a:pt x="126" y="902"/>
                  </a:lnTo>
                  <a:lnTo>
                    <a:pt x="129" y="904"/>
                  </a:lnTo>
                  <a:lnTo>
                    <a:pt x="132" y="905"/>
                  </a:lnTo>
                  <a:lnTo>
                    <a:pt x="135" y="905"/>
                  </a:lnTo>
                  <a:lnTo>
                    <a:pt x="587" y="905"/>
                  </a:lnTo>
                  <a:lnTo>
                    <a:pt x="590" y="905"/>
                  </a:lnTo>
                  <a:lnTo>
                    <a:pt x="593" y="904"/>
                  </a:lnTo>
                  <a:lnTo>
                    <a:pt x="595" y="902"/>
                  </a:lnTo>
                  <a:lnTo>
                    <a:pt x="598" y="900"/>
                  </a:lnTo>
                  <a:lnTo>
                    <a:pt x="600" y="898"/>
                  </a:lnTo>
                  <a:lnTo>
                    <a:pt x="601" y="895"/>
                  </a:lnTo>
                  <a:lnTo>
                    <a:pt x="602" y="893"/>
                  </a:lnTo>
                  <a:lnTo>
                    <a:pt x="602" y="890"/>
                  </a:lnTo>
                  <a:lnTo>
                    <a:pt x="602" y="270"/>
                  </a:lnTo>
                  <a:lnTo>
                    <a:pt x="615" y="268"/>
                  </a:lnTo>
                  <a:lnTo>
                    <a:pt x="626" y="265"/>
                  </a:lnTo>
                  <a:lnTo>
                    <a:pt x="637" y="260"/>
                  </a:lnTo>
                  <a:lnTo>
                    <a:pt x="648" y="255"/>
                  </a:lnTo>
                  <a:lnTo>
                    <a:pt x="659" y="249"/>
                  </a:lnTo>
                  <a:lnTo>
                    <a:pt x="669" y="241"/>
                  </a:lnTo>
                  <a:lnTo>
                    <a:pt x="678" y="234"/>
                  </a:lnTo>
                  <a:lnTo>
                    <a:pt x="687" y="225"/>
                  </a:lnTo>
                  <a:lnTo>
                    <a:pt x="694" y="215"/>
                  </a:lnTo>
                  <a:lnTo>
                    <a:pt x="702" y="206"/>
                  </a:lnTo>
                  <a:lnTo>
                    <a:pt x="708" y="195"/>
                  </a:lnTo>
                  <a:lnTo>
                    <a:pt x="713" y="183"/>
                  </a:lnTo>
                  <a:lnTo>
                    <a:pt x="717" y="172"/>
                  </a:lnTo>
                  <a:lnTo>
                    <a:pt x="720" y="160"/>
                  </a:lnTo>
                  <a:lnTo>
                    <a:pt x="722" y="148"/>
                  </a:lnTo>
                  <a:lnTo>
                    <a:pt x="722" y="136"/>
                  </a:lnTo>
                  <a:lnTo>
                    <a:pt x="722" y="1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33" name="Freeform 51"/>
            <p:cNvSpPr>
              <a:spLocks/>
            </p:cNvSpPr>
            <p:nvPr/>
          </p:nvSpPr>
          <p:spPr bwMode="auto">
            <a:xfrm>
              <a:off x="995363" y="2051050"/>
              <a:ext cx="57150" cy="9525"/>
            </a:xfrm>
            <a:custGeom>
              <a:avLst/>
              <a:gdLst>
                <a:gd name="T0" fmla="*/ 15 w 181"/>
                <a:gd name="T1" fmla="*/ 30 h 30"/>
                <a:gd name="T2" fmla="*/ 166 w 181"/>
                <a:gd name="T3" fmla="*/ 30 h 30"/>
                <a:gd name="T4" fmla="*/ 169 w 181"/>
                <a:gd name="T5" fmla="*/ 30 h 30"/>
                <a:gd name="T6" fmla="*/ 172 w 181"/>
                <a:gd name="T7" fmla="*/ 29 h 30"/>
                <a:gd name="T8" fmla="*/ 174 w 181"/>
                <a:gd name="T9" fmla="*/ 28 h 30"/>
                <a:gd name="T10" fmla="*/ 176 w 181"/>
                <a:gd name="T11" fmla="*/ 25 h 30"/>
                <a:gd name="T12" fmla="*/ 178 w 181"/>
                <a:gd name="T13" fmla="*/ 23 h 30"/>
                <a:gd name="T14" fmla="*/ 180 w 181"/>
                <a:gd name="T15" fmla="*/ 21 h 30"/>
                <a:gd name="T16" fmla="*/ 181 w 181"/>
                <a:gd name="T17" fmla="*/ 18 h 30"/>
                <a:gd name="T18" fmla="*/ 181 w 181"/>
                <a:gd name="T19" fmla="*/ 15 h 30"/>
                <a:gd name="T20" fmla="*/ 181 w 181"/>
                <a:gd name="T21" fmla="*/ 13 h 30"/>
                <a:gd name="T22" fmla="*/ 180 w 181"/>
                <a:gd name="T23" fmla="*/ 9 h 30"/>
                <a:gd name="T24" fmla="*/ 178 w 181"/>
                <a:gd name="T25" fmla="*/ 7 h 30"/>
                <a:gd name="T26" fmla="*/ 176 w 181"/>
                <a:gd name="T27" fmla="*/ 4 h 30"/>
                <a:gd name="T28" fmla="*/ 174 w 181"/>
                <a:gd name="T29" fmla="*/ 3 h 30"/>
                <a:gd name="T30" fmla="*/ 172 w 181"/>
                <a:gd name="T31" fmla="*/ 1 h 30"/>
                <a:gd name="T32" fmla="*/ 169 w 181"/>
                <a:gd name="T33" fmla="*/ 1 h 30"/>
                <a:gd name="T34" fmla="*/ 166 w 181"/>
                <a:gd name="T35" fmla="*/ 0 h 30"/>
                <a:gd name="T36" fmla="*/ 15 w 181"/>
                <a:gd name="T37" fmla="*/ 0 h 30"/>
                <a:gd name="T38" fmla="*/ 12 w 181"/>
                <a:gd name="T39" fmla="*/ 1 h 30"/>
                <a:gd name="T40" fmla="*/ 10 w 181"/>
                <a:gd name="T41" fmla="*/ 1 h 30"/>
                <a:gd name="T42" fmla="*/ 6 w 181"/>
                <a:gd name="T43" fmla="*/ 3 h 30"/>
                <a:gd name="T44" fmla="*/ 4 w 181"/>
                <a:gd name="T45" fmla="*/ 4 h 30"/>
                <a:gd name="T46" fmla="*/ 2 w 181"/>
                <a:gd name="T47" fmla="*/ 7 h 30"/>
                <a:gd name="T48" fmla="*/ 1 w 181"/>
                <a:gd name="T49" fmla="*/ 9 h 30"/>
                <a:gd name="T50" fmla="*/ 0 w 181"/>
                <a:gd name="T51" fmla="*/ 13 h 30"/>
                <a:gd name="T52" fmla="*/ 0 w 181"/>
                <a:gd name="T53" fmla="*/ 15 h 30"/>
                <a:gd name="T54" fmla="*/ 0 w 181"/>
                <a:gd name="T55" fmla="*/ 18 h 30"/>
                <a:gd name="T56" fmla="*/ 1 w 181"/>
                <a:gd name="T57" fmla="*/ 21 h 30"/>
                <a:gd name="T58" fmla="*/ 2 w 181"/>
                <a:gd name="T59" fmla="*/ 23 h 30"/>
                <a:gd name="T60" fmla="*/ 4 w 181"/>
                <a:gd name="T61" fmla="*/ 25 h 30"/>
                <a:gd name="T62" fmla="*/ 6 w 181"/>
                <a:gd name="T63" fmla="*/ 28 h 30"/>
                <a:gd name="T64" fmla="*/ 10 w 181"/>
                <a:gd name="T65" fmla="*/ 29 h 30"/>
                <a:gd name="T66" fmla="*/ 12 w 181"/>
                <a:gd name="T67" fmla="*/ 30 h 30"/>
                <a:gd name="T68" fmla="*/ 15 w 181"/>
                <a:gd name="T69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81" h="30">
                  <a:moveTo>
                    <a:pt x="15" y="30"/>
                  </a:moveTo>
                  <a:lnTo>
                    <a:pt x="166" y="30"/>
                  </a:lnTo>
                  <a:lnTo>
                    <a:pt x="169" y="30"/>
                  </a:lnTo>
                  <a:lnTo>
                    <a:pt x="172" y="29"/>
                  </a:lnTo>
                  <a:lnTo>
                    <a:pt x="174" y="28"/>
                  </a:lnTo>
                  <a:lnTo>
                    <a:pt x="176" y="25"/>
                  </a:lnTo>
                  <a:lnTo>
                    <a:pt x="178" y="23"/>
                  </a:lnTo>
                  <a:lnTo>
                    <a:pt x="180" y="21"/>
                  </a:lnTo>
                  <a:lnTo>
                    <a:pt x="181" y="18"/>
                  </a:lnTo>
                  <a:lnTo>
                    <a:pt x="181" y="15"/>
                  </a:lnTo>
                  <a:lnTo>
                    <a:pt x="181" y="13"/>
                  </a:lnTo>
                  <a:lnTo>
                    <a:pt x="180" y="9"/>
                  </a:lnTo>
                  <a:lnTo>
                    <a:pt x="178" y="7"/>
                  </a:lnTo>
                  <a:lnTo>
                    <a:pt x="176" y="4"/>
                  </a:lnTo>
                  <a:lnTo>
                    <a:pt x="174" y="3"/>
                  </a:lnTo>
                  <a:lnTo>
                    <a:pt x="172" y="1"/>
                  </a:lnTo>
                  <a:lnTo>
                    <a:pt x="169" y="1"/>
                  </a:lnTo>
                  <a:lnTo>
                    <a:pt x="166" y="0"/>
                  </a:lnTo>
                  <a:lnTo>
                    <a:pt x="15" y="0"/>
                  </a:lnTo>
                  <a:lnTo>
                    <a:pt x="12" y="1"/>
                  </a:lnTo>
                  <a:lnTo>
                    <a:pt x="10" y="1"/>
                  </a:lnTo>
                  <a:lnTo>
                    <a:pt x="6" y="3"/>
                  </a:lnTo>
                  <a:lnTo>
                    <a:pt x="4" y="4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1"/>
                  </a:lnTo>
                  <a:lnTo>
                    <a:pt x="2" y="23"/>
                  </a:lnTo>
                  <a:lnTo>
                    <a:pt x="4" y="25"/>
                  </a:lnTo>
                  <a:lnTo>
                    <a:pt x="6" y="28"/>
                  </a:lnTo>
                  <a:lnTo>
                    <a:pt x="10" y="29"/>
                  </a:lnTo>
                  <a:lnTo>
                    <a:pt x="12" y="30"/>
                  </a:lnTo>
                  <a:lnTo>
                    <a:pt x="15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34" name="Freeform 52"/>
            <p:cNvSpPr>
              <a:spLocks/>
            </p:cNvSpPr>
            <p:nvPr/>
          </p:nvSpPr>
          <p:spPr bwMode="auto">
            <a:xfrm>
              <a:off x="995363" y="2098675"/>
              <a:ext cx="57150" cy="9525"/>
            </a:xfrm>
            <a:custGeom>
              <a:avLst/>
              <a:gdLst>
                <a:gd name="T0" fmla="*/ 15 w 181"/>
                <a:gd name="T1" fmla="*/ 31 h 31"/>
                <a:gd name="T2" fmla="*/ 166 w 181"/>
                <a:gd name="T3" fmla="*/ 31 h 31"/>
                <a:gd name="T4" fmla="*/ 169 w 181"/>
                <a:gd name="T5" fmla="*/ 30 h 31"/>
                <a:gd name="T6" fmla="*/ 172 w 181"/>
                <a:gd name="T7" fmla="*/ 30 h 31"/>
                <a:gd name="T8" fmla="*/ 174 w 181"/>
                <a:gd name="T9" fmla="*/ 28 h 31"/>
                <a:gd name="T10" fmla="*/ 176 w 181"/>
                <a:gd name="T11" fmla="*/ 27 h 31"/>
                <a:gd name="T12" fmla="*/ 178 w 181"/>
                <a:gd name="T13" fmla="*/ 24 h 31"/>
                <a:gd name="T14" fmla="*/ 180 w 181"/>
                <a:gd name="T15" fmla="*/ 22 h 31"/>
                <a:gd name="T16" fmla="*/ 181 w 181"/>
                <a:gd name="T17" fmla="*/ 19 h 31"/>
                <a:gd name="T18" fmla="*/ 181 w 181"/>
                <a:gd name="T19" fmla="*/ 16 h 31"/>
                <a:gd name="T20" fmla="*/ 181 w 181"/>
                <a:gd name="T21" fmla="*/ 13 h 31"/>
                <a:gd name="T22" fmla="*/ 180 w 181"/>
                <a:gd name="T23" fmla="*/ 10 h 31"/>
                <a:gd name="T24" fmla="*/ 178 w 181"/>
                <a:gd name="T25" fmla="*/ 8 h 31"/>
                <a:gd name="T26" fmla="*/ 176 w 181"/>
                <a:gd name="T27" fmla="*/ 6 h 31"/>
                <a:gd name="T28" fmla="*/ 174 w 181"/>
                <a:gd name="T29" fmla="*/ 3 h 31"/>
                <a:gd name="T30" fmla="*/ 172 w 181"/>
                <a:gd name="T31" fmla="*/ 2 h 31"/>
                <a:gd name="T32" fmla="*/ 169 w 181"/>
                <a:gd name="T33" fmla="*/ 1 h 31"/>
                <a:gd name="T34" fmla="*/ 166 w 181"/>
                <a:gd name="T35" fmla="*/ 1 h 31"/>
                <a:gd name="T36" fmla="*/ 15 w 181"/>
                <a:gd name="T37" fmla="*/ 0 h 31"/>
                <a:gd name="T38" fmla="*/ 12 w 181"/>
                <a:gd name="T39" fmla="*/ 1 h 31"/>
                <a:gd name="T40" fmla="*/ 10 w 181"/>
                <a:gd name="T41" fmla="*/ 2 h 31"/>
                <a:gd name="T42" fmla="*/ 6 w 181"/>
                <a:gd name="T43" fmla="*/ 3 h 31"/>
                <a:gd name="T44" fmla="*/ 4 w 181"/>
                <a:gd name="T45" fmla="*/ 6 h 31"/>
                <a:gd name="T46" fmla="*/ 2 w 181"/>
                <a:gd name="T47" fmla="*/ 8 h 31"/>
                <a:gd name="T48" fmla="*/ 1 w 181"/>
                <a:gd name="T49" fmla="*/ 10 h 31"/>
                <a:gd name="T50" fmla="*/ 0 w 181"/>
                <a:gd name="T51" fmla="*/ 13 h 31"/>
                <a:gd name="T52" fmla="*/ 0 w 181"/>
                <a:gd name="T53" fmla="*/ 16 h 31"/>
                <a:gd name="T54" fmla="*/ 0 w 181"/>
                <a:gd name="T55" fmla="*/ 19 h 31"/>
                <a:gd name="T56" fmla="*/ 1 w 181"/>
                <a:gd name="T57" fmla="*/ 22 h 31"/>
                <a:gd name="T58" fmla="*/ 2 w 181"/>
                <a:gd name="T59" fmla="*/ 24 h 31"/>
                <a:gd name="T60" fmla="*/ 4 w 181"/>
                <a:gd name="T61" fmla="*/ 27 h 31"/>
                <a:gd name="T62" fmla="*/ 6 w 181"/>
                <a:gd name="T63" fmla="*/ 28 h 31"/>
                <a:gd name="T64" fmla="*/ 10 w 181"/>
                <a:gd name="T65" fmla="*/ 30 h 31"/>
                <a:gd name="T66" fmla="*/ 12 w 181"/>
                <a:gd name="T67" fmla="*/ 30 h 31"/>
                <a:gd name="T68" fmla="*/ 15 w 181"/>
                <a:gd name="T6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81" h="31">
                  <a:moveTo>
                    <a:pt x="15" y="31"/>
                  </a:moveTo>
                  <a:lnTo>
                    <a:pt x="166" y="31"/>
                  </a:lnTo>
                  <a:lnTo>
                    <a:pt x="169" y="30"/>
                  </a:lnTo>
                  <a:lnTo>
                    <a:pt x="172" y="30"/>
                  </a:lnTo>
                  <a:lnTo>
                    <a:pt x="174" y="28"/>
                  </a:lnTo>
                  <a:lnTo>
                    <a:pt x="176" y="27"/>
                  </a:lnTo>
                  <a:lnTo>
                    <a:pt x="178" y="24"/>
                  </a:lnTo>
                  <a:lnTo>
                    <a:pt x="180" y="22"/>
                  </a:lnTo>
                  <a:lnTo>
                    <a:pt x="181" y="19"/>
                  </a:lnTo>
                  <a:lnTo>
                    <a:pt x="181" y="16"/>
                  </a:lnTo>
                  <a:lnTo>
                    <a:pt x="181" y="13"/>
                  </a:lnTo>
                  <a:lnTo>
                    <a:pt x="180" y="10"/>
                  </a:lnTo>
                  <a:lnTo>
                    <a:pt x="178" y="8"/>
                  </a:lnTo>
                  <a:lnTo>
                    <a:pt x="176" y="6"/>
                  </a:lnTo>
                  <a:lnTo>
                    <a:pt x="174" y="3"/>
                  </a:lnTo>
                  <a:lnTo>
                    <a:pt x="172" y="2"/>
                  </a:lnTo>
                  <a:lnTo>
                    <a:pt x="169" y="1"/>
                  </a:lnTo>
                  <a:lnTo>
                    <a:pt x="166" y="1"/>
                  </a:lnTo>
                  <a:lnTo>
                    <a:pt x="15" y="0"/>
                  </a:lnTo>
                  <a:lnTo>
                    <a:pt x="12" y="1"/>
                  </a:lnTo>
                  <a:lnTo>
                    <a:pt x="10" y="2"/>
                  </a:lnTo>
                  <a:lnTo>
                    <a:pt x="6" y="3"/>
                  </a:lnTo>
                  <a:lnTo>
                    <a:pt x="4" y="6"/>
                  </a:lnTo>
                  <a:lnTo>
                    <a:pt x="2" y="8"/>
                  </a:lnTo>
                  <a:lnTo>
                    <a:pt x="1" y="10"/>
                  </a:lnTo>
                  <a:lnTo>
                    <a:pt x="0" y="13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1" y="22"/>
                  </a:lnTo>
                  <a:lnTo>
                    <a:pt x="2" y="24"/>
                  </a:lnTo>
                  <a:lnTo>
                    <a:pt x="4" y="27"/>
                  </a:lnTo>
                  <a:lnTo>
                    <a:pt x="6" y="28"/>
                  </a:lnTo>
                  <a:lnTo>
                    <a:pt x="10" y="30"/>
                  </a:lnTo>
                  <a:lnTo>
                    <a:pt x="12" y="30"/>
                  </a:lnTo>
                  <a:lnTo>
                    <a:pt x="15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35" name="Freeform 53"/>
            <p:cNvSpPr>
              <a:spLocks/>
            </p:cNvSpPr>
            <p:nvPr/>
          </p:nvSpPr>
          <p:spPr bwMode="auto">
            <a:xfrm>
              <a:off x="995363" y="2146300"/>
              <a:ext cx="57150" cy="9525"/>
            </a:xfrm>
            <a:custGeom>
              <a:avLst/>
              <a:gdLst>
                <a:gd name="T0" fmla="*/ 15 w 181"/>
                <a:gd name="T1" fmla="*/ 30 h 30"/>
                <a:gd name="T2" fmla="*/ 166 w 181"/>
                <a:gd name="T3" fmla="*/ 30 h 30"/>
                <a:gd name="T4" fmla="*/ 169 w 181"/>
                <a:gd name="T5" fmla="*/ 30 h 30"/>
                <a:gd name="T6" fmla="*/ 172 w 181"/>
                <a:gd name="T7" fmla="*/ 29 h 30"/>
                <a:gd name="T8" fmla="*/ 174 w 181"/>
                <a:gd name="T9" fmla="*/ 27 h 30"/>
                <a:gd name="T10" fmla="*/ 176 w 181"/>
                <a:gd name="T11" fmla="*/ 26 h 30"/>
                <a:gd name="T12" fmla="*/ 178 w 181"/>
                <a:gd name="T13" fmla="*/ 23 h 30"/>
                <a:gd name="T14" fmla="*/ 180 w 181"/>
                <a:gd name="T15" fmla="*/ 20 h 30"/>
                <a:gd name="T16" fmla="*/ 181 w 181"/>
                <a:gd name="T17" fmla="*/ 18 h 30"/>
                <a:gd name="T18" fmla="*/ 181 w 181"/>
                <a:gd name="T19" fmla="*/ 15 h 30"/>
                <a:gd name="T20" fmla="*/ 181 w 181"/>
                <a:gd name="T21" fmla="*/ 12 h 30"/>
                <a:gd name="T22" fmla="*/ 180 w 181"/>
                <a:gd name="T23" fmla="*/ 8 h 30"/>
                <a:gd name="T24" fmla="*/ 178 w 181"/>
                <a:gd name="T25" fmla="*/ 6 h 30"/>
                <a:gd name="T26" fmla="*/ 176 w 181"/>
                <a:gd name="T27" fmla="*/ 4 h 30"/>
                <a:gd name="T28" fmla="*/ 174 w 181"/>
                <a:gd name="T29" fmla="*/ 2 h 30"/>
                <a:gd name="T30" fmla="*/ 172 w 181"/>
                <a:gd name="T31" fmla="*/ 1 h 30"/>
                <a:gd name="T32" fmla="*/ 169 w 181"/>
                <a:gd name="T33" fmla="*/ 0 h 30"/>
                <a:gd name="T34" fmla="*/ 166 w 181"/>
                <a:gd name="T35" fmla="*/ 0 h 30"/>
                <a:gd name="T36" fmla="*/ 15 w 181"/>
                <a:gd name="T37" fmla="*/ 0 h 30"/>
                <a:gd name="T38" fmla="*/ 12 w 181"/>
                <a:gd name="T39" fmla="*/ 0 h 30"/>
                <a:gd name="T40" fmla="*/ 10 w 181"/>
                <a:gd name="T41" fmla="*/ 1 h 30"/>
                <a:gd name="T42" fmla="*/ 6 w 181"/>
                <a:gd name="T43" fmla="*/ 2 h 30"/>
                <a:gd name="T44" fmla="*/ 4 w 181"/>
                <a:gd name="T45" fmla="*/ 4 h 30"/>
                <a:gd name="T46" fmla="*/ 2 w 181"/>
                <a:gd name="T47" fmla="*/ 6 h 30"/>
                <a:gd name="T48" fmla="*/ 1 w 181"/>
                <a:gd name="T49" fmla="*/ 8 h 30"/>
                <a:gd name="T50" fmla="*/ 0 w 181"/>
                <a:gd name="T51" fmla="*/ 12 h 30"/>
                <a:gd name="T52" fmla="*/ 0 w 181"/>
                <a:gd name="T53" fmla="*/ 15 h 30"/>
                <a:gd name="T54" fmla="*/ 0 w 181"/>
                <a:gd name="T55" fmla="*/ 18 h 30"/>
                <a:gd name="T56" fmla="*/ 1 w 181"/>
                <a:gd name="T57" fmla="*/ 20 h 30"/>
                <a:gd name="T58" fmla="*/ 2 w 181"/>
                <a:gd name="T59" fmla="*/ 23 h 30"/>
                <a:gd name="T60" fmla="*/ 4 w 181"/>
                <a:gd name="T61" fmla="*/ 26 h 30"/>
                <a:gd name="T62" fmla="*/ 6 w 181"/>
                <a:gd name="T63" fmla="*/ 27 h 30"/>
                <a:gd name="T64" fmla="*/ 10 w 181"/>
                <a:gd name="T65" fmla="*/ 29 h 30"/>
                <a:gd name="T66" fmla="*/ 12 w 181"/>
                <a:gd name="T67" fmla="*/ 30 h 30"/>
                <a:gd name="T68" fmla="*/ 15 w 181"/>
                <a:gd name="T69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81" h="30">
                  <a:moveTo>
                    <a:pt x="15" y="30"/>
                  </a:moveTo>
                  <a:lnTo>
                    <a:pt x="166" y="30"/>
                  </a:lnTo>
                  <a:lnTo>
                    <a:pt x="169" y="30"/>
                  </a:lnTo>
                  <a:lnTo>
                    <a:pt x="172" y="29"/>
                  </a:lnTo>
                  <a:lnTo>
                    <a:pt x="174" y="27"/>
                  </a:lnTo>
                  <a:lnTo>
                    <a:pt x="176" y="26"/>
                  </a:lnTo>
                  <a:lnTo>
                    <a:pt x="178" y="23"/>
                  </a:lnTo>
                  <a:lnTo>
                    <a:pt x="180" y="20"/>
                  </a:lnTo>
                  <a:lnTo>
                    <a:pt x="181" y="18"/>
                  </a:lnTo>
                  <a:lnTo>
                    <a:pt x="181" y="15"/>
                  </a:lnTo>
                  <a:lnTo>
                    <a:pt x="181" y="12"/>
                  </a:lnTo>
                  <a:lnTo>
                    <a:pt x="180" y="8"/>
                  </a:lnTo>
                  <a:lnTo>
                    <a:pt x="178" y="6"/>
                  </a:lnTo>
                  <a:lnTo>
                    <a:pt x="176" y="4"/>
                  </a:lnTo>
                  <a:lnTo>
                    <a:pt x="174" y="2"/>
                  </a:lnTo>
                  <a:lnTo>
                    <a:pt x="172" y="1"/>
                  </a:lnTo>
                  <a:lnTo>
                    <a:pt x="169" y="0"/>
                  </a:lnTo>
                  <a:lnTo>
                    <a:pt x="166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8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0"/>
                  </a:lnTo>
                  <a:lnTo>
                    <a:pt x="2" y="23"/>
                  </a:lnTo>
                  <a:lnTo>
                    <a:pt x="4" y="26"/>
                  </a:lnTo>
                  <a:lnTo>
                    <a:pt x="6" y="27"/>
                  </a:lnTo>
                  <a:lnTo>
                    <a:pt x="10" y="29"/>
                  </a:lnTo>
                  <a:lnTo>
                    <a:pt x="12" y="30"/>
                  </a:lnTo>
                  <a:lnTo>
                    <a:pt x="15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36" name="Freeform 54"/>
            <p:cNvSpPr>
              <a:spLocks/>
            </p:cNvSpPr>
            <p:nvPr/>
          </p:nvSpPr>
          <p:spPr bwMode="auto">
            <a:xfrm>
              <a:off x="947738" y="2022475"/>
              <a:ext cx="38100" cy="33338"/>
            </a:xfrm>
            <a:custGeom>
              <a:avLst/>
              <a:gdLst>
                <a:gd name="T0" fmla="*/ 20 w 121"/>
                <a:gd name="T1" fmla="*/ 101 h 106"/>
                <a:gd name="T2" fmla="*/ 22 w 121"/>
                <a:gd name="T3" fmla="*/ 104 h 106"/>
                <a:gd name="T4" fmla="*/ 25 w 121"/>
                <a:gd name="T5" fmla="*/ 105 h 106"/>
                <a:gd name="T6" fmla="*/ 27 w 121"/>
                <a:gd name="T7" fmla="*/ 106 h 106"/>
                <a:gd name="T8" fmla="*/ 30 w 121"/>
                <a:gd name="T9" fmla="*/ 106 h 106"/>
                <a:gd name="T10" fmla="*/ 36 w 121"/>
                <a:gd name="T11" fmla="*/ 105 h 106"/>
                <a:gd name="T12" fmla="*/ 41 w 121"/>
                <a:gd name="T13" fmla="*/ 101 h 106"/>
                <a:gd name="T14" fmla="*/ 116 w 121"/>
                <a:gd name="T15" fmla="*/ 26 h 106"/>
                <a:gd name="T16" fmla="*/ 119 w 121"/>
                <a:gd name="T17" fmla="*/ 24 h 106"/>
                <a:gd name="T18" fmla="*/ 120 w 121"/>
                <a:gd name="T19" fmla="*/ 21 h 106"/>
                <a:gd name="T20" fmla="*/ 121 w 121"/>
                <a:gd name="T21" fmla="*/ 19 h 106"/>
                <a:gd name="T22" fmla="*/ 121 w 121"/>
                <a:gd name="T23" fmla="*/ 15 h 106"/>
                <a:gd name="T24" fmla="*/ 121 w 121"/>
                <a:gd name="T25" fmla="*/ 13 h 106"/>
                <a:gd name="T26" fmla="*/ 120 w 121"/>
                <a:gd name="T27" fmla="*/ 10 h 106"/>
                <a:gd name="T28" fmla="*/ 119 w 121"/>
                <a:gd name="T29" fmla="*/ 8 h 106"/>
                <a:gd name="T30" fmla="*/ 116 w 121"/>
                <a:gd name="T31" fmla="*/ 5 h 106"/>
                <a:gd name="T32" fmla="*/ 114 w 121"/>
                <a:gd name="T33" fmla="*/ 4 h 106"/>
                <a:gd name="T34" fmla="*/ 111 w 121"/>
                <a:gd name="T35" fmla="*/ 1 h 106"/>
                <a:gd name="T36" fmla="*/ 109 w 121"/>
                <a:gd name="T37" fmla="*/ 0 h 106"/>
                <a:gd name="T38" fmla="*/ 106 w 121"/>
                <a:gd name="T39" fmla="*/ 0 h 106"/>
                <a:gd name="T40" fmla="*/ 103 w 121"/>
                <a:gd name="T41" fmla="*/ 0 h 106"/>
                <a:gd name="T42" fmla="*/ 100 w 121"/>
                <a:gd name="T43" fmla="*/ 1 h 106"/>
                <a:gd name="T44" fmla="*/ 97 w 121"/>
                <a:gd name="T45" fmla="*/ 4 h 106"/>
                <a:gd name="T46" fmla="*/ 95 w 121"/>
                <a:gd name="T47" fmla="*/ 5 h 106"/>
                <a:gd name="T48" fmla="*/ 30 w 121"/>
                <a:gd name="T49" fmla="*/ 69 h 106"/>
                <a:gd name="T50" fmla="*/ 26 w 121"/>
                <a:gd name="T51" fmla="*/ 65 h 106"/>
                <a:gd name="T52" fmla="*/ 24 w 121"/>
                <a:gd name="T53" fmla="*/ 64 h 106"/>
                <a:gd name="T54" fmla="*/ 21 w 121"/>
                <a:gd name="T55" fmla="*/ 62 h 106"/>
                <a:gd name="T56" fmla="*/ 18 w 121"/>
                <a:gd name="T57" fmla="*/ 62 h 106"/>
                <a:gd name="T58" fmla="*/ 15 w 121"/>
                <a:gd name="T59" fmla="*/ 61 h 106"/>
                <a:gd name="T60" fmla="*/ 12 w 121"/>
                <a:gd name="T61" fmla="*/ 62 h 106"/>
                <a:gd name="T62" fmla="*/ 10 w 121"/>
                <a:gd name="T63" fmla="*/ 62 h 106"/>
                <a:gd name="T64" fmla="*/ 7 w 121"/>
                <a:gd name="T65" fmla="*/ 64 h 106"/>
                <a:gd name="T66" fmla="*/ 5 w 121"/>
                <a:gd name="T67" fmla="*/ 65 h 106"/>
                <a:gd name="T68" fmla="*/ 2 w 121"/>
                <a:gd name="T69" fmla="*/ 68 h 106"/>
                <a:gd name="T70" fmla="*/ 1 w 121"/>
                <a:gd name="T71" fmla="*/ 70 h 106"/>
                <a:gd name="T72" fmla="*/ 0 w 121"/>
                <a:gd name="T73" fmla="*/ 73 h 106"/>
                <a:gd name="T74" fmla="*/ 0 w 121"/>
                <a:gd name="T75" fmla="*/ 76 h 106"/>
                <a:gd name="T76" fmla="*/ 0 w 121"/>
                <a:gd name="T77" fmla="*/ 79 h 106"/>
                <a:gd name="T78" fmla="*/ 1 w 121"/>
                <a:gd name="T79" fmla="*/ 82 h 106"/>
                <a:gd name="T80" fmla="*/ 2 w 121"/>
                <a:gd name="T81" fmla="*/ 84 h 106"/>
                <a:gd name="T82" fmla="*/ 5 w 121"/>
                <a:gd name="T83" fmla="*/ 86 h 106"/>
                <a:gd name="T84" fmla="*/ 20 w 121"/>
                <a:gd name="T85" fmla="*/ 101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1" h="106">
                  <a:moveTo>
                    <a:pt x="20" y="101"/>
                  </a:moveTo>
                  <a:lnTo>
                    <a:pt x="22" y="104"/>
                  </a:lnTo>
                  <a:lnTo>
                    <a:pt x="25" y="105"/>
                  </a:lnTo>
                  <a:lnTo>
                    <a:pt x="27" y="106"/>
                  </a:lnTo>
                  <a:lnTo>
                    <a:pt x="30" y="106"/>
                  </a:lnTo>
                  <a:lnTo>
                    <a:pt x="36" y="105"/>
                  </a:lnTo>
                  <a:lnTo>
                    <a:pt x="41" y="101"/>
                  </a:lnTo>
                  <a:lnTo>
                    <a:pt x="116" y="26"/>
                  </a:lnTo>
                  <a:lnTo>
                    <a:pt x="119" y="24"/>
                  </a:lnTo>
                  <a:lnTo>
                    <a:pt x="120" y="21"/>
                  </a:lnTo>
                  <a:lnTo>
                    <a:pt x="121" y="19"/>
                  </a:lnTo>
                  <a:lnTo>
                    <a:pt x="121" y="15"/>
                  </a:lnTo>
                  <a:lnTo>
                    <a:pt x="121" y="13"/>
                  </a:lnTo>
                  <a:lnTo>
                    <a:pt x="120" y="10"/>
                  </a:lnTo>
                  <a:lnTo>
                    <a:pt x="119" y="8"/>
                  </a:lnTo>
                  <a:lnTo>
                    <a:pt x="116" y="5"/>
                  </a:lnTo>
                  <a:lnTo>
                    <a:pt x="114" y="4"/>
                  </a:lnTo>
                  <a:lnTo>
                    <a:pt x="111" y="1"/>
                  </a:lnTo>
                  <a:lnTo>
                    <a:pt x="109" y="0"/>
                  </a:lnTo>
                  <a:lnTo>
                    <a:pt x="106" y="0"/>
                  </a:lnTo>
                  <a:lnTo>
                    <a:pt x="103" y="0"/>
                  </a:lnTo>
                  <a:lnTo>
                    <a:pt x="100" y="1"/>
                  </a:lnTo>
                  <a:lnTo>
                    <a:pt x="97" y="4"/>
                  </a:lnTo>
                  <a:lnTo>
                    <a:pt x="95" y="5"/>
                  </a:lnTo>
                  <a:lnTo>
                    <a:pt x="30" y="69"/>
                  </a:lnTo>
                  <a:lnTo>
                    <a:pt x="26" y="65"/>
                  </a:lnTo>
                  <a:lnTo>
                    <a:pt x="24" y="64"/>
                  </a:lnTo>
                  <a:lnTo>
                    <a:pt x="21" y="62"/>
                  </a:lnTo>
                  <a:lnTo>
                    <a:pt x="18" y="62"/>
                  </a:lnTo>
                  <a:lnTo>
                    <a:pt x="15" y="61"/>
                  </a:lnTo>
                  <a:lnTo>
                    <a:pt x="12" y="62"/>
                  </a:lnTo>
                  <a:lnTo>
                    <a:pt x="10" y="62"/>
                  </a:lnTo>
                  <a:lnTo>
                    <a:pt x="7" y="64"/>
                  </a:lnTo>
                  <a:lnTo>
                    <a:pt x="5" y="65"/>
                  </a:lnTo>
                  <a:lnTo>
                    <a:pt x="2" y="68"/>
                  </a:lnTo>
                  <a:lnTo>
                    <a:pt x="1" y="70"/>
                  </a:lnTo>
                  <a:lnTo>
                    <a:pt x="0" y="73"/>
                  </a:lnTo>
                  <a:lnTo>
                    <a:pt x="0" y="76"/>
                  </a:lnTo>
                  <a:lnTo>
                    <a:pt x="0" y="79"/>
                  </a:lnTo>
                  <a:lnTo>
                    <a:pt x="1" y="82"/>
                  </a:lnTo>
                  <a:lnTo>
                    <a:pt x="2" y="84"/>
                  </a:lnTo>
                  <a:lnTo>
                    <a:pt x="5" y="86"/>
                  </a:lnTo>
                  <a:lnTo>
                    <a:pt x="20" y="1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37" name="Freeform 55"/>
            <p:cNvSpPr>
              <a:spLocks/>
            </p:cNvSpPr>
            <p:nvPr/>
          </p:nvSpPr>
          <p:spPr bwMode="auto">
            <a:xfrm>
              <a:off x="947738" y="2070100"/>
              <a:ext cx="38100" cy="33338"/>
            </a:xfrm>
            <a:custGeom>
              <a:avLst/>
              <a:gdLst>
                <a:gd name="T0" fmla="*/ 20 w 121"/>
                <a:gd name="T1" fmla="*/ 101 h 106"/>
                <a:gd name="T2" fmla="*/ 22 w 121"/>
                <a:gd name="T3" fmla="*/ 103 h 106"/>
                <a:gd name="T4" fmla="*/ 25 w 121"/>
                <a:gd name="T5" fmla="*/ 105 h 106"/>
                <a:gd name="T6" fmla="*/ 27 w 121"/>
                <a:gd name="T7" fmla="*/ 105 h 106"/>
                <a:gd name="T8" fmla="*/ 30 w 121"/>
                <a:gd name="T9" fmla="*/ 106 h 106"/>
                <a:gd name="T10" fmla="*/ 34 w 121"/>
                <a:gd name="T11" fmla="*/ 105 h 106"/>
                <a:gd name="T12" fmla="*/ 36 w 121"/>
                <a:gd name="T13" fmla="*/ 105 h 106"/>
                <a:gd name="T14" fmla="*/ 39 w 121"/>
                <a:gd name="T15" fmla="*/ 103 h 106"/>
                <a:gd name="T16" fmla="*/ 41 w 121"/>
                <a:gd name="T17" fmla="*/ 102 h 106"/>
                <a:gd name="T18" fmla="*/ 116 w 121"/>
                <a:gd name="T19" fmla="*/ 26 h 106"/>
                <a:gd name="T20" fmla="*/ 119 w 121"/>
                <a:gd name="T21" fmla="*/ 24 h 106"/>
                <a:gd name="T22" fmla="*/ 120 w 121"/>
                <a:gd name="T23" fmla="*/ 21 h 106"/>
                <a:gd name="T24" fmla="*/ 121 w 121"/>
                <a:gd name="T25" fmla="*/ 18 h 106"/>
                <a:gd name="T26" fmla="*/ 121 w 121"/>
                <a:gd name="T27" fmla="*/ 15 h 106"/>
                <a:gd name="T28" fmla="*/ 121 w 121"/>
                <a:gd name="T29" fmla="*/ 13 h 106"/>
                <a:gd name="T30" fmla="*/ 120 w 121"/>
                <a:gd name="T31" fmla="*/ 10 h 106"/>
                <a:gd name="T32" fmla="*/ 119 w 121"/>
                <a:gd name="T33" fmla="*/ 7 h 106"/>
                <a:gd name="T34" fmla="*/ 116 w 121"/>
                <a:gd name="T35" fmla="*/ 5 h 106"/>
                <a:gd name="T36" fmla="*/ 114 w 121"/>
                <a:gd name="T37" fmla="*/ 3 h 106"/>
                <a:gd name="T38" fmla="*/ 111 w 121"/>
                <a:gd name="T39" fmla="*/ 1 h 106"/>
                <a:gd name="T40" fmla="*/ 109 w 121"/>
                <a:gd name="T41" fmla="*/ 1 h 106"/>
                <a:gd name="T42" fmla="*/ 106 w 121"/>
                <a:gd name="T43" fmla="*/ 0 h 106"/>
                <a:gd name="T44" fmla="*/ 103 w 121"/>
                <a:gd name="T45" fmla="*/ 1 h 106"/>
                <a:gd name="T46" fmla="*/ 100 w 121"/>
                <a:gd name="T47" fmla="*/ 1 h 106"/>
                <a:gd name="T48" fmla="*/ 97 w 121"/>
                <a:gd name="T49" fmla="*/ 3 h 106"/>
                <a:gd name="T50" fmla="*/ 95 w 121"/>
                <a:gd name="T51" fmla="*/ 5 h 106"/>
                <a:gd name="T52" fmla="*/ 30 w 121"/>
                <a:gd name="T53" fmla="*/ 70 h 106"/>
                <a:gd name="T54" fmla="*/ 26 w 121"/>
                <a:gd name="T55" fmla="*/ 65 h 106"/>
                <a:gd name="T56" fmla="*/ 24 w 121"/>
                <a:gd name="T57" fmla="*/ 63 h 106"/>
                <a:gd name="T58" fmla="*/ 21 w 121"/>
                <a:gd name="T59" fmla="*/ 61 h 106"/>
                <a:gd name="T60" fmla="*/ 18 w 121"/>
                <a:gd name="T61" fmla="*/ 61 h 106"/>
                <a:gd name="T62" fmla="*/ 15 w 121"/>
                <a:gd name="T63" fmla="*/ 60 h 106"/>
                <a:gd name="T64" fmla="*/ 12 w 121"/>
                <a:gd name="T65" fmla="*/ 61 h 106"/>
                <a:gd name="T66" fmla="*/ 10 w 121"/>
                <a:gd name="T67" fmla="*/ 62 h 106"/>
                <a:gd name="T68" fmla="*/ 7 w 121"/>
                <a:gd name="T69" fmla="*/ 63 h 106"/>
                <a:gd name="T70" fmla="*/ 5 w 121"/>
                <a:gd name="T71" fmla="*/ 65 h 106"/>
                <a:gd name="T72" fmla="*/ 2 w 121"/>
                <a:gd name="T73" fmla="*/ 68 h 106"/>
                <a:gd name="T74" fmla="*/ 1 w 121"/>
                <a:gd name="T75" fmla="*/ 70 h 106"/>
                <a:gd name="T76" fmla="*/ 0 w 121"/>
                <a:gd name="T77" fmla="*/ 73 h 106"/>
                <a:gd name="T78" fmla="*/ 0 w 121"/>
                <a:gd name="T79" fmla="*/ 76 h 106"/>
                <a:gd name="T80" fmla="*/ 0 w 121"/>
                <a:gd name="T81" fmla="*/ 78 h 106"/>
                <a:gd name="T82" fmla="*/ 1 w 121"/>
                <a:gd name="T83" fmla="*/ 82 h 106"/>
                <a:gd name="T84" fmla="*/ 2 w 121"/>
                <a:gd name="T85" fmla="*/ 84 h 106"/>
                <a:gd name="T86" fmla="*/ 5 w 121"/>
                <a:gd name="T87" fmla="*/ 87 h 106"/>
                <a:gd name="T88" fmla="*/ 20 w 121"/>
                <a:gd name="T89" fmla="*/ 101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21" h="106">
                  <a:moveTo>
                    <a:pt x="20" y="101"/>
                  </a:moveTo>
                  <a:lnTo>
                    <a:pt x="22" y="103"/>
                  </a:lnTo>
                  <a:lnTo>
                    <a:pt x="25" y="105"/>
                  </a:lnTo>
                  <a:lnTo>
                    <a:pt x="27" y="105"/>
                  </a:lnTo>
                  <a:lnTo>
                    <a:pt x="30" y="106"/>
                  </a:lnTo>
                  <a:lnTo>
                    <a:pt x="34" y="105"/>
                  </a:lnTo>
                  <a:lnTo>
                    <a:pt x="36" y="105"/>
                  </a:lnTo>
                  <a:lnTo>
                    <a:pt x="39" y="103"/>
                  </a:lnTo>
                  <a:lnTo>
                    <a:pt x="41" y="102"/>
                  </a:lnTo>
                  <a:lnTo>
                    <a:pt x="116" y="26"/>
                  </a:lnTo>
                  <a:lnTo>
                    <a:pt x="119" y="24"/>
                  </a:lnTo>
                  <a:lnTo>
                    <a:pt x="120" y="21"/>
                  </a:lnTo>
                  <a:lnTo>
                    <a:pt x="121" y="18"/>
                  </a:lnTo>
                  <a:lnTo>
                    <a:pt x="121" y="15"/>
                  </a:lnTo>
                  <a:lnTo>
                    <a:pt x="121" y="13"/>
                  </a:lnTo>
                  <a:lnTo>
                    <a:pt x="120" y="10"/>
                  </a:lnTo>
                  <a:lnTo>
                    <a:pt x="119" y="7"/>
                  </a:lnTo>
                  <a:lnTo>
                    <a:pt x="116" y="5"/>
                  </a:lnTo>
                  <a:lnTo>
                    <a:pt x="114" y="3"/>
                  </a:lnTo>
                  <a:lnTo>
                    <a:pt x="111" y="1"/>
                  </a:lnTo>
                  <a:lnTo>
                    <a:pt x="109" y="1"/>
                  </a:lnTo>
                  <a:lnTo>
                    <a:pt x="106" y="0"/>
                  </a:lnTo>
                  <a:lnTo>
                    <a:pt x="103" y="1"/>
                  </a:lnTo>
                  <a:lnTo>
                    <a:pt x="100" y="1"/>
                  </a:lnTo>
                  <a:lnTo>
                    <a:pt x="97" y="3"/>
                  </a:lnTo>
                  <a:lnTo>
                    <a:pt x="95" y="5"/>
                  </a:lnTo>
                  <a:lnTo>
                    <a:pt x="30" y="70"/>
                  </a:lnTo>
                  <a:lnTo>
                    <a:pt x="26" y="65"/>
                  </a:lnTo>
                  <a:lnTo>
                    <a:pt x="24" y="63"/>
                  </a:lnTo>
                  <a:lnTo>
                    <a:pt x="21" y="61"/>
                  </a:lnTo>
                  <a:lnTo>
                    <a:pt x="18" y="61"/>
                  </a:lnTo>
                  <a:lnTo>
                    <a:pt x="15" y="60"/>
                  </a:lnTo>
                  <a:lnTo>
                    <a:pt x="12" y="61"/>
                  </a:lnTo>
                  <a:lnTo>
                    <a:pt x="10" y="62"/>
                  </a:lnTo>
                  <a:lnTo>
                    <a:pt x="7" y="63"/>
                  </a:lnTo>
                  <a:lnTo>
                    <a:pt x="5" y="65"/>
                  </a:lnTo>
                  <a:lnTo>
                    <a:pt x="2" y="68"/>
                  </a:lnTo>
                  <a:lnTo>
                    <a:pt x="1" y="70"/>
                  </a:lnTo>
                  <a:lnTo>
                    <a:pt x="0" y="73"/>
                  </a:lnTo>
                  <a:lnTo>
                    <a:pt x="0" y="76"/>
                  </a:lnTo>
                  <a:lnTo>
                    <a:pt x="0" y="78"/>
                  </a:lnTo>
                  <a:lnTo>
                    <a:pt x="1" y="82"/>
                  </a:lnTo>
                  <a:lnTo>
                    <a:pt x="2" y="84"/>
                  </a:lnTo>
                  <a:lnTo>
                    <a:pt x="5" y="87"/>
                  </a:lnTo>
                  <a:lnTo>
                    <a:pt x="20" y="1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38" name="Freeform 56"/>
            <p:cNvSpPr>
              <a:spLocks noEditPoints="1"/>
            </p:cNvSpPr>
            <p:nvPr/>
          </p:nvSpPr>
          <p:spPr bwMode="auto">
            <a:xfrm>
              <a:off x="1104900" y="1993900"/>
              <a:ext cx="68263" cy="219075"/>
            </a:xfrm>
            <a:custGeom>
              <a:avLst/>
              <a:gdLst>
                <a:gd name="T0" fmla="*/ 120 w 212"/>
                <a:gd name="T1" fmla="*/ 659 h 694"/>
                <a:gd name="T2" fmla="*/ 99 w 212"/>
                <a:gd name="T3" fmla="*/ 643 h 694"/>
                <a:gd name="T4" fmla="*/ 92 w 212"/>
                <a:gd name="T5" fmla="*/ 618 h 694"/>
                <a:gd name="T6" fmla="*/ 181 w 212"/>
                <a:gd name="T7" fmla="*/ 616 h 694"/>
                <a:gd name="T8" fmla="*/ 167 w 212"/>
                <a:gd name="T9" fmla="*/ 647 h 694"/>
                <a:gd name="T10" fmla="*/ 144 w 212"/>
                <a:gd name="T11" fmla="*/ 662 h 694"/>
                <a:gd name="T12" fmla="*/ 145 w 212"/>
                <a:gd name="T13" fmla="*/ 31 h 694"/>
                <a:gd name="T14" fmla="*/ 168 w 212"/>
                <a:gd name="T15" fmla="*/ 43 h 694"/>
                <a:gd name="T16" fmla="*/ 181 w 212"/>
                <a:gd name="T17" fmla="*/ 57 h 694"/>
                <a:gd name="T18" fmla="*/ 92 w 212"/>
                <a:gd name="T19" fmla="*/ 331 h 694"/>
                <a:gd name="T20" fmla="*/ 95 w 212"/>
                <a:gd name="T21" fmla="*/ 53 h 694"/>
                <a:gd name="T22" fmla="*/ 112 w 212"/>
                <a:gd name="T23" fmla="*/ 38 h 694"/>
                <a:gd name="T24" fmla="*/ 137 w 212"/>
                <a:gd name="T25" fmla="*/ 30 h 694"/>
                <a:gd name="T26" fmla="*/ 182 w 212"/>
                <a:gd name="T27" fmla="*/ 362 h 694"/>
                <a:gd name="T28" fmla="*/ 92 w 212"/>
                <a:gd name="T29" fmla="*/ 362 h 694"/>
                <a:gd name="T30" fmla="*/ 113 w 212"/>
                <a:gd name="T31" fmla="*/ 4 h 694"/>
                <a:gd name="T32" fmla="*/ 84 w 212"/>
                <a:gd name="T33" fmla="*/ 22 h 694"/>
                <a:gd name="T34" fmla="*/ 65 w 212"/>
                <a:gd name="T35" fmla="*/ 46 h 694"/>
                <a:gd name="T36" fmla="*/ 36 w 212"/>
                <a:gd name="T37" fmla="*/ 55 h 694"/>
                <a:gd name="T38" fmla="*/ 21 w 212"/>
                <a:gd name="T39" fmla="*/ 67 h 694"/>
                <a:gd name="T40" fmla="*/ 9 w 212"/>
                <a:gd name="T41" fmla="*/ 82 h 694"/>
                <a:gd name="T42" fmla="*/ 2 w 212"/>
                <a:gd name="T43" fmla="*/ 103 h 694"/>
                <a:gd name="T44" fmla="*/ 0 w 212"/>
                <a:gd name="T45" fmla="*/ 394 h 694"/>
                <a:gd name="T46" fmla="*/ 3 w 212"/>
                <a:gd name="T47" fmla="*/ 402 h 694"/>
                <a:gd name="T48" fmla="*/ 10 w 212"/>
                <a:gd name="T49" fmla="*/ 408 h 694"/>
                <a:gd name="T50" fmla="*/ 19 w 212"/>
                <a:gd name="T51" fmla="*/ 409 h 694"/>
                <a:gd name="T52" fmla="*/ 26 w 212"/>
                <a:gd name="T53" fmla="*/ 404 h 694"/>
                <a:gd name="T54" fmla="*/ 30 w 212"/>
                <a:gd name="T55" fmla="*/ 397 h 694"/>
                <a:gd name="T56" fmla="*/ 31 w 212"/>
                <a:gd name="T57" fmla="*/ 111 h 694"/>
                <a:gd name="T58" fmla="*/ 40 w 212"/>
                <a:gd name="T59" fmla="*/ 89 h 694"/>
                <a:gd name="T60" fmla="*/ 55 w 212"/>
                <a:gd name="T61" fmla="*/ 79 h 694"/>
                <a:gd name="T62" fmla="*/ 62 w 212"/>
                <a:gd name="T63" fmla="*/ 626 h 694"/>
                <a:gd name="T64" fmla="*/ 67 w 212"/>
                <a:gd name="T65" fmla="*/ 647 h 694"/>
                <a:gd name="T66" fmla="*/ 79 w 212"/>
                <a:gd name="T67" fmla="*/ 666 h 694"/>
                <a:gd name="T68" fmla="*/ 95 w 212"/>
                <a:gd name="T69" fmla="*/ 681 h 694"/>
                <a:gd name="T70" fmla="*/ 114 w 212"/>
                <a:gd name="T71" fmla="*/ 690 h 694"/>
                <a:gd name="T72" fmla="*/ 137 w 212"/>
                <a:gd name="T73" fmla="*/ 694 h 694"/>
                <a:gd name="T74" fmla="*/ 157 w 212"/>
                <a:gd name="T75" fmla="*/ 690 h 694"/>
                <a:gd name="T76" fmla="*/ 177 w 212"/>
                <a:gd name="T77" fmla="*/ 680 h 694"/>
                <a:gd name="T78" fmla="*/ 193 w 212"/>
                <a:gd name="T79" fmla="*/ 663 h 694"/>
                <a:gd name="T80" fmla="*/ 206 w 212"/>
                <a:gd name="T81" fmla="*/ 641 h 694"/>
                <a:gd name="T82" fmla="*/ 211 w 212"/>
                <a:gd name="T83" fmla="*/ 613 h 694"/>
                <a:gd name="T84" fmla="*/ 211 w 212"/>
                <a:gd name="T85" fmla="*/ 56 h 694"/>
                <a:gd name="T86" fmla="*/ 206 w 212"/>
                <a:gd name="T87" fmla="*/ 41 h 694"/>
                <a:gd name="T88" fmla="*/ 177 w 212"/>
                <a:gd name="T89" fmla="*/ 13 h 694"/>
                <a:gd name="T90" fmla="*/ 151 w 212"/>
                <a:gd name="T91" fmla="*/ 2 h 694"/>
                <a:gd name="T92" fmla="*/ 137 w 212"/>
                <a:gd name="T93" fmla="*/ 0 h 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12" h="694">
                  <a:moveTo>
                    <a:pt x="137" y="663"/>
                  </a:moveTo>
                  <a:lnTo>
                    <a:pt x="128" y="662"/>
                  </a:lnTo>
                  <a:lnTo>
                    <a:pt x="120" y="659"/>
                  </a:lnTo>
                  <a:lnTo>
                    <a:pt x="112" y="655"/>
                  </a:lnTo>
                  <a:lnTo>
                    <a:pt x="105" y="650"/>
                  </a:lnTo>
                  <a:lnTo>
                    <a:pt x="99" y="643"/>
                  </a:lnTo>
                  <a:lnTo>
                    <a:pt x="95" y="636"/>
                  </a:lnTo>
                  <a:lnTo>
                    <a:pt x="92" y="627"/>
                  </a:lnTo>
                  <a:lnTo>
                    <a:pt x="92" y="618"/>
                  </a:lnTo>
                  <a:lnTo>
                    <a:pt x="92" y="603"/>
                  </a:lnTo>
                  <a:lnTo>
                    <a:pt x="182" y="603"/>
                  </a:lnTo>
                  <a:lnTo>
                    <a:pt x="181" y="616"/>
                  </a:lnTo>
                  <a:lnTo>
                    <a:pt x="178" y="628"/>
                  </a:lnTo>
                  <a:lnTo>
                    <a:pt x="173" y="639"/>
                  </a:lnTo>
                  <a:lnTo>
                    <a:pt x="167" y="647"/>
                  </a:lnTo>
                  <a:lnTo>
                    <a:pt x="161" y="654"/>
                  </a:lnTo>
                  <a:lnTo>
                    <a:pt x="153" y="659"/>
                  </a:lnTo>
                  <a:lnTo>
                    <a:pt x="144" y="662"/>
                  </a:lnTo>
                  <a:lnTo>
                    <a:pt x="137" y="663"/>
                  </a:lnTo>
                  <a:close/>
                  <a:moveTo>
                    <a:pt x="137" y="30"/>
                  </a:moveTo>
                  <a:lnTo>
                    <a:pt x="145" y="31"/>
                  </a:lnTo>
                  <a:lnTo>
                    <a:pt x="153" y="34"/>
                  </a:lnTo>
                  <a:lnTo>
                    <a:pt x="161" y="38"/>
                  </a:lnTo>
                  <a:lnTo>
                    <a:pt x="168" y="43"/>
                  </a:lnTo>
                  <a:lnTo>
                    <a:pt x="173" y="47"/>
                  </a:lnTo>
                  <a:lnTo>
                    <a:pt x="178" y="53"/>
                  </a:lnTo>
                  <a:lnTo>
                    <a:pt x="181" y="57"/>
                  </a:lnTo>
                  <a:lnTo>
                    <a:pt x="182" y="60"/>
                  </a:lnTo>
                  <a:lnTo>
                    <a:pt x="182" y="331"/>
                  </a:lnTo>
                  <a:lnTo>
                    <a:pt x="92" y="331"/>
                  </a:lnTo>
                  <a:lnTo>
                    <a:pt x="92" y="60"/>
                  </a:lnTo>
                  <a:lnTo>
                    <a:pt x="93" y="57"/>
                  </a:lnTo>
                  <a:lnTo>
                    <a:pt x="95" y="53"/>
                  </a:lnTo>
                  <a:lnTo>
                    <a:pt x="99" y="48"/>
                  </a:lnTo>
                  <a:lnTo>
                    <a:pt x="106" y="43"/>
                  </a:lnTo>
                  <a:lnTo>
                    <a:pt x="112" y="38"/>
                  </a:lnTo>
                  <a:lnTo>
                    <a:pt x="120" y="34"/>
                  </a:lnTo>
                  <a:lnTo>
                    <a:pt x="127" y="31"/>
                  </a:lnTo>
                  <a:lnTo>
                    <a:pt x="137" y="30"/>
                  </a:lnTo>
                  <a:lnTo>
                    <a:pt x="137" y="30"/>
                  </a:lnTo>
                  <a:close/>
                  <a:moveTo>
                    <a:pt x="92" y="362"/>
                  </a:moveTo>
                  <a:lnTo>
                    <a:pt x="182" y="362"/>
                  </a:lnTo>
                  <a:lnTo>
                    <a:pt x="182" y="573"/>
                  </a:lnTo>
                  <a:lnTo>
                    <a:pt x="92" y="573"/>
                  </a:lnTo>
                  <a:lnTo>
                    <a:pt x="92" y="362"/>
                  </a:lnTo>
                  <a:close/>
                  <a:moveTo>
                    <a:pt x="137" y="0"/>
                  </a:moveTo>
                  <a:lnTo>
                    <a:pt x="125" y="1"/>
                  </a:lnTo>
                  <a:lnTo>
                    <a:pt x="113" y="4"/>
                  </a:lnTo>
                  <a:lnTo>
                    <a:pt x="102" y="9"/>
                  </a:lnTo>
                  <a:lnTo>
                    <a:pt x="93" y="15"/>
                  </a:lnTo>
                  <a:lnTo>
                    <a:pt x="84" y="22"/>
                  </a:lnTo>
                  <a:lnTo>
                    <a:pt x="76" y="29"/>
                  </a:lnTo>
                  <a:lnTo>
                    <a:pt x="69" y="38"/>
                  </a:lnTo>
                  <a:lnTo>
                    <a:pt x="65" y="46"/>
                  </a:lnTo>
                  <a:lnTo>
                    <a:pt x="53" y="48"/>
                  </a:lnTo>
                  <a:lnTo>
                    <a:pt x="41" y="53"/>
                  </a:lnTo>
                  <a:lnTo>
                    <a:pt x="36" y="55"/>
                  </a:lnTo>
                  <a:lnTo>
                    <a:pt x="30" y="58"/>
                  </a:lnTo>
                  <a:lnTo>
                    <a:pt x="25" y="62"/>
                  </a:lnTo>
                  <a:lnTo>
                    <a:pt x="21" y="67"/>
                  </a:lnTo>
                  <a:lnTo>
                    <a:pt x="16" y="71"/>
                  </a:lnTo>
                  <a:lnTo>
                    <a:pt x="12" y="76"/>
                  </a:lnTo>
                  <a:lnTo>
                    <a:pt x="9" y="82"/>
                  </a:lnTo>
                  <a:lnTo>
                    <a:pt x="6" y="88"/>
                  </a:lnTo>
                  <a:lnTo>
                    <a:pt x="3" y="96"/>
                  </a:lnTo>
                  <a:lnTo>
                    <a:pt x="2" y="103"/>
                  </a:lnTo>
                  <a:lnTo>
                    <a:pt x="1" y="112"/>
                  </a:lnTo>
                  <a:lnTo>
                    <a:pt x="0" y="120"/>
                  </a:lnTo>
                  <a:lnTo>
                    <a:pt x="0" y="394"/>
                  </a:lnTo>
                  <a:lnTo>
                    <a:pt x="1" y="397"/>
                  </a:lnTo>
                  <a:lnTo>
                    <a:pt x="2" y="399"/>
                  </a:lnTo>
                  <a:lnTo>
                    <a:pt x="3" y="402"/>
                  </a:lnTo>
                  <a:lnTo>
                    <a:pt x="6" y="404"/>
                  </a:lnTo>
                  <a:lnTo>
                    <a:pt x="8" y="406"/>
                  </a:lnTo>
                  <a:lnTo>
                    <a:pt x="10" y="408"/>
                  </a:lnTo>
                  <a:lnTo>
                    <a:pt x="13" y="409"/>
                  </a:lnTo>
                  <a:lnTo>
                    <a:pt x="15" y="409"/>
                  </a:lnTo>
                  <a:lnTo>
                    <a:pt x="19" y="409"/>
                  </a:lnTo>
                  <a:lnTo>
                    <a:pt x="22" y="408"/>
                  </a:lnTo>
                  <a:lnTo>
                    <a:pt x="24" y="406"/>
                  </a:lnTo>
                  <a:lnTo>
                    <a:pt x="26" y="404"/>
                  </a:lnTo>
                  <a:lnTo>
                    <a:pt x="28" y="402"/>
                  </a:lnTo>
                  <a:lnTo>
                    <a:pt x="29" y="399"/>
                  </a:lnTo>
                  <a:lnTo>
                    <a:pt x="30" y="397"/>
                  </a:lnTo>
                  <a:lnTo>
                    <a:pt x="30" y="394"/>
                  </a:lnTo>
                  <a:lnTo>
                    <a:pt x="30" y="120"/>
                  </a:lnTo>
                  <a:lnTo>
                    <a:pt x="31" y="111"/>
                  </a:lnTo>
                  <a:lnTo>
                    <a:pt x="34" y="102"/>
                  </a:lnTo>
                  <a:lnTo>
                    <a:pt x="36" y="96"/>
                  </a:lnTo>
                  <a:lnTo>
                    <a:pt x="40" y="89"/>
                  </a:lnTo>
                  <a:lnTo>
                    <a:pt x="44" y="85"/>
                  </a:lnTo>
                  <a:lnTo>
                    <a:pt x="50" y="82"/>
                  </a:lnTo>
                  <a:lnTo>
                    <a:pt x="55" y="79"/>
                  </a:lnTo>
                  <a:lnTo>
                    <a:pt x="62" y="77"/>
                  </a:lnTo>
                  <a:lnTo>
                    <a:pt x="62" y="618"/>
                  </a:lnTo>
                  <a:lnTo>
                    <a:pt x="62" y="626"/>
                  </a:lnTo>
                  <a:lnTo>
                    <a:pt x="63" y="633"/>
                  </a:lnTo>
                  <a:lnTo>
                    <a:pt x="65" y="640"/>
                  </a:lnTo>
                  <a:lnTo>
                    <a:pt x="67" y="647"/>
                  </a:lnTo>
                  <a:lnTo>
                    <a:pt x="70" y="654"/>
                  </a:lnTo>
                  <a:lnTo>
                    <a:pt x="74" y="660"/>
                  </a:lnTo>
                  <a:lnTo>
                    <a:pt x="79" y="666"/>
                  </a:lnTo>
                  <a:lnTo>
                    <a:pt x="84" y="671"/>
                  </a:lnTo>
                  <a:lnTo>
                    <a:pt x="90" y="676"/>
                  </a:lnTo>
                  <a:lnTo>
                    <a:pt x="95" y="681"/>
                  </a:lnTo>
                  <a:lnTo>
                    <a:pt x="101" y="684"/>
                  </a:lnTo>
                  <a:lnTo>
                    <a:pt x="108" y="687"/>
                  </a:lnTo>
                  <a:lnTo>
                    <a:pt x="114" y="690"/>
                  </a:lnTo>
                  <a:lnTo>
                    <a:pt x="122" y="693"/>
                  </a:lnTo>
                  <a:lnTo>
                    <a:pt x="129" y="694"/>
                  </a:lnTo>
                  <a:lnTo>
                    <a:pt x="137" y="694"/>
                  </a:lnTo>
                  <a:lnTo>
                    <a:pt x="143" y="694"/>
                  </a:lnTo>
                  <a:lnTo>
                    <a:pt x="150" y="693"/>
                  </a:lnTo>
                  <a:lnTo>
                    <a:pt x="157" y="690"/>
                  </a:lnTo>
                  <a:lnTo>
                    <a:pt x="164" y="687"/>
                  </a:lnTo>
                  <a:lnTo>
                    <a:pt x="170" y="684"/>
                  </a:lnTo>
                  <a:lnTo>
                    <a:pt x="177" y="680"/>
                  </a:lnTo>
                  <a:lnTo>
                    <a:pt x="182" y="675"/>
                  </a:lnTo>
                  <a:lnTo>
                    <a:pt x="187" y="669"/>
                  </a:lnTo>
                  <a:lnTo>
                    <a:pt x="193" y="663"/>
                  </a:lnTo>
                  <a:lnTo>
                    <a:pt x="197" y="656"/>
                  </a:lnTo>
                  <a:lnTo>
                    <a:pt x="201" y="648"/>
                  </a:lnTo>
                  <a:lnTo>
                    <a:pt x="206" y="641"/>
                  </a:lnTo>
                  <a:lnTo>
                    <a:pt x="208" y="632"/>
                  </a:lnTo>
                  <a:lnTo>
                    <a:pt x="210" y="623"/>
                  </a:lnTo>
                  <a:lnTo>
                    <a:pt x="211" y="613"/>
                  </a:lnTo>
                  <a:lnTo>
                    <a:pt x="212" y="603"/>
                  </a:lnTo>
                  <a:lnTo>
                    <a:pt x="212" y="60"/>
                  </a:lnTo>
                  <a:lnTo>
                    <a:pt x="211" y="56"/>
                  </a:lnTo>
                  <a:lnTo>
                    <a:pt x="210" y="51"/>
                  </a:lnTo>
                  <a:lnTo>
                    <a:pt x="208" y="45"/>
                  </a:lnTo>
                  <a:lnTo>
                    <a:pt x="206" y="41"/>
                  </a:lnTo>
                  <a:lnTo>
                    <a:pt x="198" y="30"/>
                  </a:lnTo>
                  <a:lnTo>
                    <a:pt x="188" y="20"/>
                  </a:lnTo>
                  <a:lnTo>
                    <a:pt x="177" y="13"/>
                  </a:lnTo>
                  <a:lnTo>
                    <a:pt x="164" y="6"/>
                  </a:lnTo>
                  <a:lnTo>
                    <a:pt x="157" y="3"/>
                  </a:lnTo>
                  <a:lnTo>
                    <a:pt x="151" y="2"/>
                  </a:lnTo>
                  <a:lnTo>
                    <a:pt x="143" y="1"/>
                  </a:lnTo>
                  <a:lnTo>
                    <a:pt x="137" y="0"/>
                  </a:lnTo>
                  <a:lnTo>
                    <a:pt x="13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9396685" y="1503941"/>
            <a:ext cx="285750" cy="277813"/>
            <a:chOff x="11028363" y="2508250"/>
            <a:chExt cx="285750" cy="277813"/>
          </a:xfrm>
          <a:solidFill>
            <a:srgbClr val="78D2D2"/>
          </a:solidFill>
        </p:grpSpPr>
        <p:sp>
          <p:nvSpPr>
            <p:cNvPr id="30" name="Freeform 70"/>
            <p:cNvSpPr>
              <a:spLocks/>
            </p:cNvSpPr>
            <p:nvPr/>
          </p:nvSpPr>
          <p:spPr bwMode="auto">
            <a:xfrm>
              <a:off x="11060113" y="2508250"/>
              <a:ext cx="225425" cy="157163"/>
            </a:xfrm>
            <a:custGeom>
              <a:avLst/>
              <a:gdLst>
                <a:gd name="T0" fmla="*/ 19 w 711"/>
                <a:gd name="T1" fmla="*/ 494 h 494"/>
                <a:gd name="T2" fmla="*/ 678 w 711"/>
                <a:gd name="T3" fmla="*/ 60 h 494"/>
                <a:gd name="T4" fmla="*/ 667 w 711"/>
                <a:gd name="T5" fmla="*/ 167 h 494"/>
                <a:gd name="T6" fmla="*/ 668 w 711"/>
                <a:gd name="T7" fmla="*/ 173 h 494"/>
                <a:gd name="T8" fmla="*/ 671 w 711"/>
                <a:gd name="T9" fmla="*/ 177 h 494"/>
                <a:gd name="T10" fmla="*/ 677 w 711"/>
                <a:gd name="T11" fmla="*/ 180 h 494"/>
                <a:gd name="T12" fmla="*/ 681 w 711"/>
                <a:gd name="T13" fmla="*/ 181 h 494"/>
                <a:gd name="T14" fmla="*/ 687 w 711"/>
                <a:gd name="T15" fmla="*/ 180 h 494"/>
                <a:gd name="T16" fmla="*/ 695 w 711"/>
                <a:gd name="T17" fmla="*/ 173 h 494"/>
                <a:gd name="T18" fmla="*/ 711 w 711"/>
                <a:gd name="T19" fmla="*/ 33 h 494"/>
                <a:gd name="T20" fmla="*/ 711 w 711"/>
                <a:gd name="T21" fmla="*/ 30 h 494"/>
                <a:gd name="T22" fmla="*/ 711 w 711"/>
                <a:gd name="T23" fmla="*/ 27 h 494"/>
                <a:gd name="T24" fmla="*/ 710 w 711"/>
                <a:gd name="T25" fmla="*/ 24 h 494"/>
                <a:gd name="T26" fmla="*/ 709 w 711"/>
                <a:gd name="T27" fmla="*/ 22 h 494"/>
                <a:gd name="T28" fmla="*/ 709 w 711"/>
                <a:gd name="T29" fmla="*/ 22 h 494"/>
                <a:gd name="T30" fmla="*/ 707 w 711"/>
                <a:gd name="T31" fmla="*/ 20 h 494"/>
                <a:gd name="T32" fmla="*/ 705 w 711"/>
                <a:gd name="T33" fmla="*/ 18 h 494"/>
                <a:gd name="T34" fmla="*/ 701 w 711"/>
                <a:gd name="T35" fmla="*/ 16 h 494"/>
                <a:gd name="T36" fmla="*/ 699 w 711"/>
                <a:gd name="T37" fmla="*/ 15 h 494"/>
                <a:gd name="T38" fmla="*/ 698 w 711"/>
                <a:gd name="T39" fmla="*/ 15 h 494"/>
                <a:gd name="T40" fmla="*/ 560 w 711"/>
                <a:gd name="T41" fmla="*/ 0 h 494"/>
                <a:gd name="T42" fmla="*/ 555 w 711"/>
                <a:gd name="T43" fmla="*/ 3 h 494"/>
                <a:gd name="T44" fmla="*/ 550 w 711"/>
                <a:gd name="T45" fmla="*/ 6 h 494"/>
                <a:gd name="T46" fmla="*/ 547 w 711"/>
                <a:gd name="T47" fmla="*/ 11 h 494"/>
                <a:gd name="T48" fmla="*/ 546 w 711"/>
                <a:gd name="T49" fmla="*/ 16 h 494"/>
                <a:gd name="T50" fmla="*/ 548 w 711"/>
                <a:gd name="T51" fmla="*/ 23 h 494"/>
                <a:gd name="T52" fmla="*/ 551 w 711"/>
                <a:gd name="T53" fmla="*/ 27 h 494"/>
                <a:gd name="T54" fmla="*/ 557 w 711"/>
                <a:gd name="T55" fmla="*/ 30 h 494"/>
                <a:gd name="T56" fmla="*/ 653 w 711"/>
                <a:gd name="T57" fmla="*/ 41 h 494"/>
                <a:gd name="T58" fmla="*/ 4 w 711"/>
                <a:gd name="T59" fmla="*/ 468 h 494"/>
                <a:gd name="T60" fmla="*/ 1 w 711"/>
                <a:gd name="T61" fmla="*/ 474 h 494"/>
                <a:gd name="T62" fmla="*/ 0 w 711"/>
                <a:gd name="T63" fmla="*/ 479 h 494"/>
                <a:gd name="T64" fmla="*/ 1 w 711"/>
                <a:gd name="T65" fmla="*/ 485 h 494"/>
                <a:gd name="T66" fmla="*/ 5 w 711"/>
                <a:gd name="T67" fmla="*/ 490 h 494"/>
                <a:gd name="T68" fmla="*/ 11 w 711"/>
                <a:gd name="T69" fmla="*/ 494 h 4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11" h="494">
                  <a:moveTo>
                    <a:pt x="15" y="494"/>
                  </a:moveTo>
                  <a:lnTo>
                    <a:pt x="19" y="494"/>
                  </a:lnTo>
                  <a:lnTo>
                    <a:pt x="23" y="492"/>
                  </a:lnTo>
                  <a:lnTo>
                    <a:pt x="678" y="60"/>
                  </a:lnTo>
                  <a:lnTo>
                    <a:pt x="667" y="164"/>
                  </a:lnTo>
                  <a:lnTo>
                    <a:pt x="667" y="167"/>
                  </a:lnTo>
                  <a:lnTo>
                    <a:pt x="667" y="170"/>
                  </a:lnTo>
                  <a:lnTo>
                    <a:pt x="668" y="173"/>
                  </a:lnTo>
                  <a:lnTo>
                    <a:pt x="670" y="175"/>
                  </a:lnTo>
                  <a:lnTo>
                    <a:pt x="671" y="177"/>
                  </a:lnTo>
                  <a:lnTo>
                    <a:pt x="675" y="179"/>
                  </a:lnTo>
                  <a:lnTo>
                    <a:pt x="677" y="180"/>
                  </a:lnTo>
                  <a:lnTo>
                    <a:pt x="680" y="180"/>
                  </a:lnTo>
                  <a:lnTo>
                    <a:pt x="681" y="181"/>
                  </a:lnTo>
                  <a:lnTo>
                    <a:pt x="682" y="181"/>
                  </a:lnTo>
                  <a:lnTo>
                    <a:pt x="687" y="180"/>
                  </a:lnTo>
                  <a:lnTo>
                    <a:pt x="692" y="177"/>
                  </a:lnTo>
                  <a:lnTo>
                    <a:pt x="695" y="173"/>
                  </a:lnTo>
                  <a:lnTo>
                    <a:pt x="696" y="167"/>
                  </a:lnTo>
                  <a:lnTo>
                    <a:pt x="711" y="33"/>
                  </a:lnTo>
                  <a:lnTo>
                    <a:pt x="711" y="31"/>
                  </a:lnTo>
                  <a:lnTo>
                    <a:pt x="711" y="30"/>
                  </a:lnTo>
                  <a:lnTo>
                    <a:pt x="711" y="28"/>
                  </a:lnTo>
                  <a:lnTo>
                    <a:pt x="711" y="27"/>
                  </a:lnTo>
                  <a:lnTo>
                    <a:pt x="711" y="26"/>
                  </a:lnTo>
                  <a:lnTo>
                    <a:pt x="710" y="24"/>
                  </a:lnTo>
                  <a:lnTo>
                    <a:pt x="710" y="23"/>
                  </a:lnTo>
                  <a:lnTo>
                    <a:pt x="709" y="22"/>
                  </a:lnTo>
                  <a:lnTo>
                    <a:pt x="709" y="22"/>
                  </a:lnTo>
                  <a:lnTo>
                    <a:pt x="709" y="22"/>
                  </a:lnTo>
                  <a:lnTo>
                    <a:pt x="708" y="21"/>
                  </a:lnTo>
                  <a:lnTo>
                    <a:pt x="707" y="20"/>
                  </a:lnTo>
                  <a:lnTo>
                    <a:pt x="706" y="19"/>
                  </a:lnTo>
                  <a:lnTo>
                    <a:pt x="705" y="18"/>
                  </a:lnTo>
                  <a:lnTo>
                    <a:pt x="703" y="18"/>
                  </a:lnTo>
                  <a:lnTo>
                    <a:pt x="701" y="16"/>
                  </a:lnTo>
                  <a:lnTo>
                    <a:pt x="700" y="16"/>
                  </a:lnTo>
                  <a:lnTo>
                    <a:pt x="699" y="15"/>
                  </a:lnTo>
                  <a:lnTo>
                    <a:pt x="698" y="15"/>
                  </a:lnTo>
                  <a:lnTo>
                    <a:pt x="698" y="15"/>
                  </a:lnTo>
                  <a:lnTo>
                    <a:pt x="563" y="0"/>
                  </a:lnTo>
                  <a:lnTo>
                    <a:pt x="560" y="0"/>
                  </a:lnTo>
                  <a:lnTo>
                    <a:pt x="557" y="1"/>
                  </a:lnTo>
                  <a:lnTo>
                    <a:pt x="555" y="3"/>
                  </a:lnTo>
                  <a:lnTo>
                    <a:pt x="552" y="4"/>
                  </a:lnTo>
                  <a:lnTo>
                    <a:pt x="550" y="6"/>
                  </a:lnTo>
                  <a:lnTo>
                    <a:pt x="548" y="8"/>
                  </a:lnTo>
                  <a:lnTo>
                    <a:pt x="547" y="11"/>
                  </a:lnTo>
                  <a:lnTo>
                    <a:pt x="546" y="14"/>
                  </a:lnTo>
                  <a:lnTo>
                    <a:pt x="546" y="16"/>
                  </a:lnTo>
                  <a:lnTo>
                    <a:pt x="547" y="20"/>
                  </a:lnTo>
                  <a:lnTo>
                    <a:pt x="548" y="23"/>
                  </a:lnTo>
                  <a:lnTo>
                    <a:pt x="549" y="25"/>
                  </a:lnTo>
                  <a:lnTo>
                    <a:pt x="551" y="27"/>
                  </a:lnTo>
                  <a:lnTo>
                    <a:pt x="553" y="28"/>
                  </a:lnTo>
                  <a:lnTo>
                    <a:pt x="557" y="30"/>
                  </a:lnTo>
                  <a:lnTo>
                    <a:pt x="560" y="30"/>
                  </a:lnTo>
                  <a:lnTo>
                    <a:pt x="653" y="41"/>
                  </a:lnTo>
                  <a:lnTo>
                    <a:pt x="6" y="466"/>
                  </a:lnTo>
                  <a:lnTo>
                    <a:pt x="4" y="468"/>
                  </a:lnTo>
                  <a:lnTo>
                    <a:pt x="2" y="471"/>
                  </a:lnTo>
                  <a:lnTo>
                    <a:pt x="1" y="474"/>
                  </a:lnTo>
                  <a:lnTo>
                    <a:pt x="0" y="476"/>
                  </a:lnTo>
                  <a:lnTo>
                    <a:pt x="0" y="479"/>
                  </a:lnTo>
                  <a:lnTo>
                    <a:pt x="0" y="482"/>
                  </a:lnTo>
                  <a:lnTo>
                    <a:pt x="1" y="485"/>
                  </a:lnTo>
                  <a:lnTo>
                    <a:pt x="2" y="488"/>
                  </a:lnTo>
                  <a:lnTo>
                    <a:pt x="5" y="490"/>
                  </a:lnTo>
                  <a:lnTo>
                    <a:pt x="8" y="492"/>
                  </a:lnTo>
                  <a:lnTo>
                    <a:pt x="11" y="494"/>
                  </a:lnTo>
                  <a:lnTo>
                    <a:pt x="15" y="4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31" name="Freeform 71"/>
            <p:cNvSpPr>
              <a:spLocks noEditPoints="1"/>
            </p:cNvSpPr>
            <p:nvPr/>
          </p:nvSpPr>
          <p:spPr bwMode="auto">
            <a:xfrm>
              <a:off x="11028363" y="2593975"/>
              <a:ext cx="285750" cy="192088"/>
            </a:xfrm>
            <a:custGeom>
              <a:avLst/>
              <a:gdLst>
                <a:gd name="T0" fmla="*/ 812 w 902"/>
                <a:gd name="T1" fmla="*/ 30 h 601"/>
                <a:gd name="T2" fmla="*/ 511 w 902"/>
                <a:gd name="T3" fmla="*/ 571 h 601"/>
                <a:gd name="T4" fmla="*/ 601 w 902"/>
                <a:gd name="T5" fmla="*/ 571 h 601"/>
                <a:gd name="T6" fmla="*/ 300 w 902"/>
                <a:gd name="T7" fmla="*/ 330 h 601"/>
                <a:gd name="T8" fmla="*/ 300 w 902"/>
                <a:gd name="T9" fmla="*/ 571 h 601"/>
                <a:gd name="T10" fmla="*/ 180 w 902"/>
                <a:gd name="T11" fmla="*/ 481 h 601"/>
                <a:gd name="T12" fmla="*/ 887 w 902"/>
                <a:gd name="T13" fmla="*/ 571 h 601"/>
                <a:gd name="T14" fmla="*/ 841 w 902"/>
                <a:gd name="T15" fmla="*/ 12 h 601"/>
                <a:gd name="T16" fmla="*/ 838 w 902"/>
                <a:gd name="T17" fmla="*/ 5 h 601"/>
                <a:gd name="T18" fmla="*/ 829 w 902"/>
                <a:gd name="T19" fmla="*/ 0 h 601"/>
                <a:gd name="T20" fmla="*/ 704 w 902"/>
                <a:gd name="T21" fmla="*/ 0 h 601"/>
                <a:gd name="T22" fmla="*/ 695 w 902"/>
                <a:gd name="T23" fmla="*/ 5 h 601"/>
                <a:gd name="T24" fmla="*/ 692 w 902"/>
                <a:gd name="T25" fmla="*/ 12 h 601"/>
                <a:gd name="T26" fmla="*/ 631 w 902"/>
                <a:gd name="T27" fmla="*/ 571 h 601"/>
                <a:gd name="T28" fmla="*/ 630 w 902"/>
                <a:gd name="T29" fmla="*/ 160 h 601"/>
                <a:gd name="T30" fmla="*/ 625 w 902"/>
                <a:gd name="T31" fmla="*/ 152 h 601"/>
                <a:gd name="T32" fmla="*/ 616 w 902"/>
                <a:gd name="T33" fmla="*/ 150 h 601"/>
                <a:gd name="T34" fmla="*/ 490 w 902"/>
                <a:gd name="T35" fmla="*/ 151 h 601"/>
                <a:gd name="T36" fmla="*/ 483 w 902"/>
                <a:gd name="T37" fmla="*/ 157 h 601"/>
                <a:gd name="T38" fmla="*/ 481 w 902"/>
                <a:gd name="T39" fmla="*/ 165 h 601"/>
                <a:gd name="T40" fmla="*/ 421 w 902"/>
                <a:gd name="T41" fmla="*/ 315 h 601"/>
                <a:gd name="T42" fmla="*/ 418 w 902"/>
                <a:gd name="T43" fmla="*/ 308 h 601"/>
                <a:gd name="T44" fmla="*/ 411 w 902"/>
                <a:gd name="T45" fmla="*/ 302 h 601"/>
                <a:gd name="T46" fmla="*/ 285 w 902"/>
                <a:gd name="T47" fmla="*/ 300 h 601"/>
                <a:gd name="T48" fmla="*/ 277 w 902"/>
                <a:gd name="T49" fmla="*/ 304 h 601"/>
                <a:gd name="T50" fmla="*/ 271 w 902"/>
                <a:gd name="T51" fmla="*/ 310 h 601"/>
                <a:gd name="T52" fmla="*/ 270 w 902"/>
                <a:gd name="T53" fmla="*/ 571 h 601"/>
                <a:gd name="T54" fmla="*/ 210 w 902"/>
                <a:gd name="T55" fmla="*/ 463 h 601"/>
                <a:gd name="T56" fmla="*/ 206 w 902"/>
                <a:gd name="T57" fmla="*/ 456 h 601"/>
                <a:gd name="T58" fmla="*/ 198 w 902"/>
                <a:gd name="T59" fmla="*/ 451 h 601"/>
                <a:gd name="T60" fmla="*/ 72 w 902"/>
                <a:gd name="T61" fmla="*/ 451 h 601"/>
                <a:gd name="T62" fmla="*/ 64 w 902"/>
                <a:gd name="T63" fmla="*/ 456 h 601"/>
                <a:gd name="T64" fmla="*/ 60 w 902"/>
                <a:gd name="T65" fmla="*/ 463 h 601"/>
                <a:gd name="T66" fmla="*/ 15 w 902"/>
                <a:gd name="T67" fmla="*/ 571 h 601"/>
                <a:gd name="T68" fmla="*/ 6 w 902"/>
                <a:gd name="T69" fmla="*/ 573 h 601"/>
                <a:gd name="T70" fmla="*/ 1 w 902"/>
                <a:gd name="T71" fmla="*/ 581 h 601"/>
                <a:gd name="T72" fmla="*/ 0 w 902"/>
                <a:gd name="T73" fmla="*/ 590 h 601"/>
                <a:gd name="T74" fmla="*/ 4 w 902"/>
                <a:gd name="T75" fmla="*/ 597 h 601"/>
                <a:gd name="T76" fmla="*/ 12 w 902"/>
                <a:gd name="T77" fmla="*/ 601 h 601"/>
                <a:gd name="T78" fmla="*/ 195 w 902"/>
                <a:gd name="T79" fmla="*/ 601 h 601"/>
                <a:gd name="T80" fmla="*/ 496 w 902"/>
                <a:gd name="T81" fmla="*/ 601 h 601"/>
                <a:gd name="T82" fmla="*/ 827 w 902"/>
                <a:gd name="T83" fmla="*/ 601 h 601"/>
                <a:gd name="T84" fmla="*/ 892 w 902"/>
                <a:gd name="T85" fmla="*/ 600 h 601"/>
                <a:gd name="T86" fmla="*/ 899 w 902"/>
                <a:gd name="T87" fmla="*/ 595 h 601"/>
                <a:gd name="T88" fmla="*/ 902 w 902"/>
                <a:gd name="T89" fmla="*/ 586 h 601"/>
                <a:gd name="T90" fmla="*/ 899 w 902"/>
                <a:gd name="T91" fmla="*/ 578 h 601"/>
                <a:gd name="T92" fmla="*/ 892 w 902"/>
                <a:gd name="T93" fmla="*/ 572 h 6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902" h="601">
                  <a:moveTo>
                    <a:pt x="721" y="571"/>
                  </a:moveTo>
                  <a:lnTo>
                    <a:pt x="721" y="30"/>
                  </a:lnTo>
                  <a:lnTo>
                    <a:pt x="812" y="30"/>
                  </a:lnTo>
                  <a:lnTo>
                    <a:pt x="812" y="571"/>
                  </a:lnTo>
                  <a:lnTo>
                    <a:pt x="721" y="571"/>
                  </a:lnTo>
                  <a:close/>
                  <a:moveTo>
                    <a:pt x="511" y="571"/>
                  </a:moveTo>
                  <a:lnTo>
                    <a:pt x="511" y="180"/>
                  </a:lnTo>
                  <a:lnTo>
                    <a:pt x="601" y="180"/>
                  </a:lnTo>
                  <a:lnTo>
                    <a:pt x="601" y="571"/>
                  </a:lnTo>
                  <a:lnTo>
                    <a:pt x="511" y="571"/>
                  </a:lnTo>
                  <a:close/>
                  <a:moveTo>
                    <a:pt x="300" y="571"/>
                  </a:moveTo>
                  <a:lnTo>
                    <a:pt x="300" y="330"/>
                  </a:lnTo>
                  <a:lnTo>
                    <a:pt x="391" y="330"/>
                  </a:lnTo>
                  <a:lnTo>
                    <a:pt x="391" y="571"/>
                  </a:lnTo>
                  <a:lnTo>
                    <a:pt x="300" y="571"/>
                  </a:lnTo>
                  <a:close/>
                  <a:moveTo>
                    <a:pt x="90" y="571"/>
                  </a:moveTo>
                  <a:lnTo>
                    <a:pt x="90" y="481"/>
                  </a:lnTo>
                  <a:lnTo>
                    <a:pt x="180" y="481"/>
                  </a:lnTo>
                  <a:lnTo>
                    <a:pt x="180" y="571"/>
                  </a:lnTo>
                  <a:lnTo>
                    <a:pt x="90" y="571"/>
                  </a:lnTo>
                  <a:close/>
                  <a:moveTo>
                    <a:pt x="887" y="571"/>
                  </a:moveTo>
                  <a:lnTo>
                    <a:pt x="842" y="571"/>
                  </a:lnTo>
                  <a:lnTo>
                    <a:pt x="842" y="15"/>
                  </a:lnTo>
                  <a:lnTo>
                    <a:pt x="841" y="12"/>
                  </a:lnTo>
                  <a:lnTo>
                    <a:pt x="841" y="9"/>
                  </a:lnTo>
                  <a:lnTo>
                    <a:pt x="839" y="7"/>
                  </a:lnTo>
                  <a:lnTo>
                    <a:pt x="838" y="5"/>
                  </a:lnTo>
                  <a:lnTo>
                    <a:pt x="835" y="3"/>
                  </a:lnTo>
                  <a:lnTo>
                    <a:pt x="832" y="1"/>
                  </a:lnTo>
                  <a:lnTo>
                    <a:pt x="829" y="0"/>
                  </a:lnTo>
                  <a:lnTo>
                    <a:pt x="827" y="0"/>
                  </a:lnTo>
                  <a:lnTo>
                    <a:pt x="706" y="0"/>
                  </a:lnTo>
                  <a:lnTo>
                    <a:pt x="704" y="0"/>
                  </a:lnTo>
                  <a:lnTo>
                    <a:pt x="701" y="1"/>
                  </a:lnTo>
                  <a:lnTo>
                    <a:pt x="698" y="3"/>
                  </a:lnTo>
                  <a:lnTo>
                    <a:pt x="695" y="5"/>
                  </a:lnTo>
                  <a:lnTo>
                    <a:pt x="694" y="7"/>
                  </a:lnTo>
                  <a:lnTo>
                    <a:pt x="692" y="9"/>
                  </a:lnTo>
                  <a:lnTo>
                    <a:pt x="692" y="12"/>
                  </a:lnTo>
                  <a:lnTo>
                    <a:pt x="691" y="15"/>
                  </a:lnTo>
                  <a:lnTo>
                    <a:pt x="691" y="571"/>
                  </a:lnTo>
                  <a:lnTo>
                    <a:pt x="631" y="571"/>
                  </a:lnTo>
                  <a:lnTo>
                    <a:pt x="631" y="165"/>
                  </a:lnTo>
                  <a:lnTo>
                    <a:pt x="631" y="162"/>
                  </a:lnTo>
                  <a:lnTo>
                    <a:pt x="630" y="160"/>
                  </a:lnTo>
                  <a:lnTo>
                    <a:pt x="629" y="157"/>
                  </a:lnTo>
                  <a:lnTo>
                    <a:pt x="627" y="155"/>
                  </a:lnTo>
                  <a:lnTo>
                    <a:pt x="625" y="152"/>
                  </a:lnTo>
                  <a:lnTo>
                    <a:pt x="622" y="151"/>
                  </a:lnTo>
                  <a:lnTo>
                    <a:pt x="619" y="150"/>
                  </a:lnTo>
                  <a:lnTo>
                    <a:pt x="616" y="150"/>
                  </a:lnTo>
                  <a:lnTo>
                    <a:pt x="496" y="150"/>
                  </a:lnTo>
                  <a:lnTo>
                    <a:pt x="493" y="150"/>
                  </a:lnTo>
                  <a:lnTo>
                    <a:pt x="490" y="151"/>
                  </a:lnTo>
                  <a:lnTo>
                    <a:pt x="487" y="154"/>
                  </a:lnTo>
                  <a:lnTo>
                    <a:pt x="485" y="155"/>
                  </a:lnTo>
                  <a:lnTo>
                    <a:pt x="483" y="157"/>
                  </a:lnTo>
                  <a:lnTo>
                    <a:pt x="482" y="160"/>
                  </a:lnTo>
                  <a:lnTo>
                    <a:pt x="481" y="162"/>
                  </a:lnTo>
                  <a:lnTo>
                    <a:pt x="481" y="165"/>
                  </a:lnTo>
                  <a:lnTo>
                    <a:pt x="481" y="571"/>
                  </a:lnTo>
                  <a:lnTo>
                    <a:pt x="421" y="571"/>
                  </a:lnTo>
                  <a:lnTo>
                    <a:pt x="421" y="315"/>
                  </a:lnTo>
                  <a:lnTo>
                    <a:pt x="420" y="313"/>
                  </a:lnTo>
                  <a:lnTo>
                    <a:pt x="420" y="310"/>
                  </a:lnTo>
                  <a:lnTo>
                    <a:pt x="418" y="308"/>
                  </a:lnTo>
                  <a:lnTo>
                    <a:pt x="417" y="306"/>
                  </a:lnTo>
                  <a:lnTo>
                    <a:pt x="414" y="304"/>
                  </a:lnTo>
                  <a:lnTo>
                    <a:pt x="411" y="302"/>
                  </a:lnTo>
                  <a:lnTo>
                    <a:pt x="408" y="301"/>
                  </a:lnTo>
                  <a:lnTo>
                    <a:pt x="406" y="300"/>
                  </a:lnTo>
                  <a:lnTo>
                    <a:pt x="285" y="300"/>
                  </a:lnTo>
                  <a:lnTo>
                    <a:pt x="283" y="301"/>
                  </a:lnTo>
                  <a:lnTo>
                    <a:pt x="280" y="302"/>
                  </a:lnTo>
                  <a:lnTo>
                    <a:pt x="277" y="304"/>
                  </a:lnTo>
                  <a:lnTo>
                    <a:pt x="274" y="306"/>
                  </a:lnTo>
                  <a:lnTo>
                    <a:pt x="273" y="308"/>
                  </a:lnTo>
                  <a:lnTo>
                    <a:pt x="271" y="310"/>
                  </a:lnTo>
                  <a:lnTo>
                    <a:pt x="271" y="313"/>
                  </a:lnTo>
                  <a:lnTo>
                    <a:pt x="270" y="316"/>
                  </a:lnTo>
                  <a:lnTo>
                    <a:pt x="270" y="571"/>
                  </a:lnTo>
                  <a:lnTo>
                    <a:pt x="210" y="571"/>
                  </a:lnTo>
                  <a:lnTo>
                    <a:pt x="210" y="466"/>
                  </a:lnTo>
                  <a:lnTo>
                    <a:pt x="210" y="463"/>
                  </a:lnTo>
                  <a:lnTo>
                    <a:pt x="209" y="460"/>
                  </a:lnTo>
                  <a:lnTo>
                    <a:pt x="208" y="458"/>
                  </a:lnTo>
                  <a:lnTo>
                    <a:pt x="206" y="456"/>
                  </a:lnTo>
                  <a:lnTo>
                    <a:pt x="204" y="454"/>
                  </a:lnTo>
                  <a:lnTo>
                    <a:pt x="201" y="452"/>
                  </a:lnTo>
                  <a:lnTo>
                    <a:pt x="198" y="451"/>
                  </a:lnTo>
                  <a:lnTo>
                    <a:pt x="195" y="451"/>
                  </a:lnTo>
                  <a:lnTo>
                    <a:pt x="75" y="451"/>
                  </a:lnTo>
                  <a:lnTo>
                    <a:pt x="72" y="451"/>
                  </a:lnTo>
                  <a:lnTo>
                    <a:pt x="69" y="452"/>
                  </a:lnTo>
                  <a:lnTo>
                    <a:pt x="66" y="454"/>
                  </a:lnTo>
                  <a:lnTo>
                    <a:pt x="64" y="456"/>
                  </a:lnTo>
                  <a:lnTo>
                    <a:pt x="62" y="458"/>
                  </a:lnTo>
                  <a:lnTo>
                    <a:pt x="61" y="460"/>
                  </a:lnTo>
                  <a:lnTo>
                    <a:pt x="60" y="463"/>
                  </a:lnTo>
                  <a:lnTo>
                    <a:pt x="60" y="466"/>
                  </a:lnTo>
                  <a:lnTo>
                    <a:pt x="60" y="571"/>
                  </a:lnTo>
                  <a:lnTo>
                    <a:pt x="15" y="571"/>
                  </a:lnTo>
                  <a:lnTo>
                    <a:pt x="12" y="571"/>
                  </a:lnTo>
                  <a:lnTo>
                    <a:pt x="9" y="572"/>
                  </a:lnTo>
                  <a:lnTo>
                    <a:pt x="6" y="573"/>
                  </a:lnTo>
                  <a:lnTo>
                    <a:pt x="4" y="576"/>
                  </a:lnTo>
                  <a:lnTo>
                    <a:pt x="2" y="578"/>
                  </a:lnTo>
                  <a:lnTo>
                    <a:pt x="1" y="581"/>
                  </a:lnTo>
                  <a:lnTo>
                    <a:pt x="0" y="583"/>
                  </a:lnTo>
                  <a:lnTo>
                    <a:pt x="0" y="586"/>
                  </a:lnTo>
                  <a:lnTo>
                    <a:pt x="0" y="590"/>
                  </a:lnTo>
                  <a:lnTo>
                    <a:pt x="1" y="593"/>
                  </a:lnTo>
                  <a:lnTo>
                    <a:pt x="2" y="595"/>
                  </a:lnTo>
                  <a:lnTo>
                    <a:pt x="4" y="597"/>
                  </a:lnTo>
                  <a:lnTo>
                    <a:pt x="6" y="599"/>
                  </a:lnTo>
                  <a:lnTo>
                    <a:pt x="9" y="600"/>
                  </a:lnTo>
                  <a:lnTo>
                    <a:pt x="12" y="601"/>
                  </a:lnTo>
                  <a:lnTo>
                    <a:pt x="15" y="601"/>
                  </a:lnTo>
                  <a:lnTo>
                    <a:pt x="75" y="601"/>
                  </a:lnTo>
                  <a:lnTo>
                    <a:pt x="195" y="601"/>
                  </a:lnTo>
                  <a:lnTo>
                    <a:pt x="285" y="601"/>
                  </a:lnTo>
                  <a:lnTo>
                    <a:pt x="406" y="601"/>
                  </a:lnTo>
                  <a:lnTo>
                    <a:pt x="496" y="601"/>
                  </a:lnTo>
                  <a:lnTo>
                    <a:pt x="616" y="601"/>
                  </a:lnTo>
                  <a:lnTo>
                    <a:pt x="706" y="601"/>
                  </a:lnTo>
                  <a:lnTo>
                    <a:pt x="827" y="601"/>
                  </a:lnTo>
                  <a:lnTo>
                    <a:pt x="887" y="601"/>
                  </a:lnTo>
                  <a:lnTo>
                    <a:pt x="890" y="601"/>
                  </a:lnTo>
                  <a:lnTo>
                    <a:pt x="892" y="600"/>
                  </a:lnTo>
                  <a:lnTo>
                    <a:pt x="896" y="599"/>
                  </a:lnTo>
                  <a:lnTo>
                    <a:pt x="898" y="597"/>
                  </a:lnTo>
                  <a:lnTo>
                    <a:pt x="899" y="595"/>
                  </a:lnTo>
                  <a:lnTo>
                    <a:pt x="901" y="593"/>
                  </a:lnTo>
                  <a:lnTo>
                    <a:pt x="901" y="590"/>
                  </a:lnTo>
                  <a:lnTo>
                    <a:pt x="902" y="586"/>
                  </a:lnTo>
                  <a:lnTo>
                    <a:pt x="902" y="583"/>
                  </a:lnTo>
                  <a:lnTo>
                    <a:pt x="901" y="581"/>
                  </a:lnTo>
                  <a:lnTo>
                    <a:pt x="899" y="578"/>
                  </a:lnTo>
                  <a:lnTo>
                    <a:pt x="898" y="576"/>
                  </a:lnTo>
                  <a:lnTo>
                    <a:pt x="896" y="573"/>
                  </a:lnTo>
                  <a:lnTo>
                    <a:pt x="892" y="572"/>
                  </a:lnTo>
                  <a:lnTo>
                    <a:pt x="890" y="571"/>
                  </a:lnTo>
                  <a:lnTo>
                    <a:pt x="887" y="5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sp>
        <p:nvSpPr>
          <p:cNvPr id="26" name="Freeform 192"/>
          <p:cNvSpPr>
            <a:spLocks noEditPoints="1"/>
          </p:cNvSpPr>
          <p:nvPr/>
        </p:nvSpPr>
        <p:spPr bwMode="auto">
          <a:xfrm>
            <a:off x="7696843" y="1496004"/>
            <a:ext cx="287338" cy="285750"/>
          </a:xfrm>
          <a:custGeom>
            <a:avLst/>
            <a:gdLst>
              <a:gd name="T0" fmla="*/ 373 w 902"/>
              <a:gd name="T1" fmla="*/ 840 h 902"/>
              <a:gd name="T2" fmla="*/ 386 w 902"/>
              <a:gd name="T3" fmla="*/ 772 h 902"/>
              <a:gd name="T4" fmla="*/ 709 w 902"/>
              <a:gd name="T5" fmla="*/ 790 h 902"/>
              <a:gd name="T6" fmla="*/ 871 w 902"/>
              <a:gd name="T7" fmla="*/ 816 h 902"/>
              <a:gd name="T8" fmla="*/ 713 w 902"/>
              <a:gd name="T9" fmla="*/ 865 h 902"/>
              <a:gd name="T10" fmla="*/ 102 w 902"/>
              <a:gd name="T11" fmla="*/ 580 h 902"/>
              <a:gd name="T12" fmla="*/ 214 w 902"/>
              <a:gd name="T13" fmla="*/ 672 h 902"/>
              <a:gd name="T14" fmla="*/ 34 w 902"/>
              <a:gd name="T15" fmla="*/ 625 h 902"/>
              <a:gd name="T16" fmla="*/ 483 w 902"/>
              <a:gd name="T17" fmla="*/ 47 h 902"/>
              <a:gd name="T18" fmla="*/ 567 w 902"/>
              <a:gd name="T19" fmla="*/ 98 h 902"/>
              <a:gd name="T20" fmla="*/ 391 w 902"/>
              <a:gd name="T21" fmla="*/ 145 h 902"/>
              <a:gd name="T22" fmla="*/ 100 w 902"/>
              <a:gd name="T23" fmla="*/ 127 h 902"/>
              <a:gd name="T24" fmla="*/ 40 w 902"/>
              <a:gd name="T25" fmla="*/ 77 h 902"/>
              <a:gd name="T26" fmla="*/ 239 w 902"/>
              <a:gd name="T27" fmla="*/ 31 h 902"/>
              <a:gd name="T28" fmla="*/ 516 w 902"/>
              <a:gd name="T29" fmla="*/ 366 h 902"/>
              <a:gd name="T30" fmla="*/ 529 w 902"/>
              <a:gd name="T31" fmla="*/ 434 h 902"/>
              <a:gd name="T32" fmla="*/ 270 w 902"/>
              <a:gd name="T33" fmla="*/ 464 h 902"/>
              <a:gd name="T34" fmla="*/ 49 w 902"/>
              <a:gd name="T35" fmla="*/ 425 h 902"/>
              <a:gd name="T36" fmla="*/ 119 w 902"/>
              <a:gd name="T37" fmla="*/ 373 h 902"/>
              <a:gd name="T38" fmla="*/ 408 w 902"/>
              <a:gd name="T39" fmla="*/ 279 h 902"/>
              <a:gd name="T40" fmla="*/ 570 w 902"/>
              <a:gd name="T41" fmla="*/ 305 h 902"/>
              <a:gd name="T42" fmla="*/ 412 w 902"/>
              <a:gd name="T43" fmla="*/ 354 h 902"/>
              <a:gd name="T44" fmla="*/ 122 w 902"/>
              <a:gd name="T45" fmla="*/ 343 h 902"/>
              <a:gd name="T46" fmla="*/ 42 w 902"/>
              <a:gd name="T47" fmla="*/ 245 h 902"/>
              <a:gd name="T48" fmla="*/ 301 w 902"/>
              <a:gd name="T49" fmla="*/ 285 h 902"/>
              <a:gd name="T50" fmla="*/ 459 w 902"/>
              <a:gd name="T51" fmla="*/ 243 h 902"/>
              <a:gd name="T52" fmla="*/ 165 w 902"/>
              <a:gd name="T53" fmla="*/ 246 h 902"/>
              <a:gd name="T54" fmla="*/ 30 w 902"/>
              <a:gd name="T55" fmla="*/ 195 h 902"/>
              <a:gd name="T56" fmla="*/ 221 w 902"/>
              <a:gd name="T57" fmla="*/ 176 h 902"/>
              <a:gd name="T58" fmla="*/ 536 w 902"/>
              <a:gd name="T59" fmla="*/ 148 h 902"/>
              <a:gd name="T60" fmla="*/ 189 w 902"/>
              <a:gd name="T61" fmla="*/ 564 h 902"/>
              <a:gd name="T62" fmla="*/ 31 w 902"/>
              <a:gd name="T63" fmla="*/ 515 h 902"/>
              <a:gd name="T64" fmla="*/ 193 w 902"/>
              <a:gd name="T65" fmla="*/ 490 h 902"/>
              <a:gd name="T66" fmla="*/ 516 w 902"/>
              <a:gd name="T67" fmla="*/ 471 h 902"/>
              <a:gd name="T68" fmla="*/ 417 w 902"/>
              <a:gd name="T69" fmla="*/ 528 h 902"/>
              <a:gd name="T70" fmla="*/ 871 w 902"/>
              <a:gd name="T71" fmla="*/ 605 h 902"/>
              <a:gd name="T72" fmla="*/ 718 w 902"/>
              <a:gd name="T73" fmla="*/ 654 h 902"/>
              <a:gd name="T74" fmla="*/ 419 w 902"/>
              <a:gd name="T75" fmla="*/ 642 h 902"/>
              <a:gd name="T76" fmla="*/ 335 w 902"/>
              <a:gd name="T77" fmla="*/ 592 h 902"/>
              <a:gd name="T78" fmla="*/ 511 w 902"/>
              <a:gd name="T79" fmla="*/ 544 h 902"/>
              <a:gd name="T80" fmla="*/ 802 w 902"/>
              <a:gd name="T81" fmla="*/ 563 h 902"/>
              <a:gd name="T82" fmla="*/ 867 w 902"/>
              <a:gd name="T83" fmla="*/ 715 h 902"/>
              <a:gd name="T84" fmla="*/ 688 w 902"/>
              <a:gd name="T85" fmla="*/ 762 h 902"/>
              <a:gd name="T86" fmla="*/ 404 w 902"/>
              <a:gd name="T87" fmla="*/ 745 h 902"/>
              <a:gd name="T88" fmla="*/ 352 w 902"/>
              <a:gd name="T89" fmla="*/ 654 h 902"/>
              <a:gd name="T90" fmla="*/ 642 w 902"/>
              <a:gd name="T91" fmla="*/ 691 h 902"/>
              <a:gd name="T92" fmla="*/ 872 w 902"/>
              <a:gd name="T93" fmla="*/ 643 h 902"/>
              <a:gd name="T94" fmla="*/ 590 w 902"/>
              <a:gd name="T95" fmla="*/ 63 h 902"/>
              <a:gd name="T96" fmla="*/ 408 w 902"/>
              <a:gd name="T97" fmla="*/ 5 h 902"/>
              <a:gd name="T98" fmla="*/ 118 w 902"/>
              <a:gd name="T99" fmla="*/ 16 h 902"/>
              <a:gd name="T100" fmla="*/ 2 w 902"/>
              <a:gd name="T101" fmla="*/ 78 h 902"/>
              <a:gd name="T102" fmla="*/ 9 w 902"/>
              <a:gd name="T103" fmla="*/ 640 h 902"/>
              <a:gd name="T104" fmla="*/ 181 w 902"/>
              <a:gd name="T105" fmla="*/ 699 h 902"/>
              <a:gd name="T106" fmla="*/ 325 w 902"/>
              <a:gd name="T107" fmla="*/ 851 h 902"/>
              <a:gd name="T108" fmla="*/ 601 w 902"/>
              <a:gd name="T109" fmla="*/ 902 h 902"/>
              <a:gd name="T110" fmla="*/ 877 w 902"/>
              <a:gd name="T111" fmla="*/ 851 h 902"/>
              <a:gd name="T112" fmla="*/ 900 w 902"/>
              <a:gd name="T113" fmla="*/ 590 h 902"/>
              <a:gd name="T114" fmla="*/ 784 w 902"/>
              <a:gd name="T115" fmla="*/ 527 h 9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902" h="902">
                <a:moveTo>
                  <a:pt x="601" y="872"/>
                </a:moveTo>
                <a:lnTo>
                  <a:pt x="571" y="870"/>
                </a:lnTo>
                <a:lnTo>
                  <a:pt x="542" y="869"/>
                </a:lnTo>
                <a:lnTo>
                  <a:pt x="515" y="867"/>
                </a:lnTo>
                <a:lnTo>
                  <a:pt x="490" y="865"/>
                </a:lnTo>
                <a:lnTo>
                  <a:pt x="465" y="862"/>
                </a:lnTo>
                <a:lnTo>
                  <a:pt x="444" y="859"/>
                </a:lnTo>
                <a:lnTo>
                  <a:pt x="422" y="854"/>
                </a:lnTo>
                <a:lnTo>
                  <a:pt x="404" y="850"/>
                </a:lnTo>
                <a:lnTo>
                  <a:pt x="388" y="846"/>
                </a:lnTo>
                <a:lnTo>
                  <a:pt x="373" y="840"/>
                </a:lnTo>
                <a:lnTo>
                  <a:pt x="360" y="836"/>
                </a:lnTo>
                <a:lnTo>
                  <a:pt x="349" y="831"/>
                </a:lnTo>
                <a:lnTo>
                  <a:pt x="342" y="825"/>
                </a:lnTo>
                <a:lnTo>
                  <a:pt x="335" y="821"/>
                </a:lnTo>
                <a:lnTo>
                  <a:pt x="332" y="816"/>
                </a:lnTo>
                <a:lnTo>
                  <a:pt x="331" y="812"/>
                </a:lnTo>
                <a:lnTo>
                  <a:pt x="331" y="749"/>
                </a:lnTo>
                <a:lnTo>
                  <a:pt x="342" y="756"/>
                </a:lnTo>
                <a:lnTo>
                  <a:pt x="356" y="761"/>
                </a:lnTo>
                <a:lnTo>
                  <a:pt x="370" y="767"/>
                </a:lnTo>
                <a:lnTo>
                  <a:pt x="386" y="772"/>
                </a:lnTo>
                <a:lnTo>
                  <a:pt x="402" y="776"/>
                </a:lnTo>
                <a:lnTo>
                  <a:pt x="419" y="779"/>
                </a:lnTo>
                <a:lnTo>
                  <a:pt x="437" y="783"/>
                </a:lnTo>
                <a:lnTo>
                  <a:pt x="456" y="786"/>
                </a:lnTo>
                <a:lnTo>
                  <a:pt x="494" y="791"/>
                </a:lnTo>
                <a:lnTo>
                  <a:pt x="531" y="793"/>
                </a:lnTo>
                <a:lnTo>
                  <a:pt x="568" y="795"/>
                </a:lnTo>
                <a:lnTo>
                  <a:pt x="601" y="797"/>
                </a:lnTo>
                <a:lnTo>
                  <a:pt x="635" y="795"/>
                </a:lnTo>
                <a:lnTo>
                  <a:pt x="671" y="793"/>
                </a:lnTo>
                <a:lnTo>
                  <a:pt x="709" y="790"/>
                </a:lnTo>
                <a:lnTo>
                  <a:pt x="747" y="786"/>
                </a:lnTo>
                <a:lnTo>
                  <a:pt x="765" y="783"/>
                </a:lnTo>
                <a:lnTo>
                  <a:pt x="783" y="779"/>
                </a:lnTo>
                <a:lnTo>
                  <a:pt x="800" y="776"/>
                </a:lnTo>
                <a:lnTo>
                  <a:pt x="817" y="772"/>
                </a:lnTo>
                <a:lnTo>
                  <a:pt x="832" y="767"/>
                </a:lnTo>
                <a:lnTo>
                  <a:pt x="847" y="761"/>
                </a:lnTo>
                <a:lnTo>
                  <a:pt x="860" y="756"/>
                </a:lnTo>
                <a:lnTo>
                  <a:pt x="872" y="749"/>
                </a:lnTo>
                <a:lnTo>
                  <a:pt x="872" y="812"/>
                </a:lnTo>
                <a:lnTo>
                  <a:pt x="871" y="816"/>
                </a:lnTo>
                <a:lnTo>
                  <a:pt x="867" y="821"/>
                </a:lnTo>
                <a:lnTo>
                  <a:pt x="861" y="825"/>
                </a:lnTo>
                <a:lnTo>
                  <a:pt x="853" y="831"/>
                </a:lnTo>
                <a:lnTo>
                  <a:pt x="842" y="836"/>
                </a:lnTo>
                <a:lnTo>
                  <a:pt x="830" y="840"/>
                </a:lnTo>
                <a:lnTo>
                  <a:pt x="815" y="846"/>
                </a:lnTo>
                <a:lnTo>
                  <a:pt x="798" y="850"/>
                </a:lnTo>
                <a:lnTo>
                  <a:pt x="780" y="854"/>
                </a:lnTo>
                <a:lnTo>
                  <a:pt x="760" y="859"/>
                </a:lnTo>
                <a:lnTo>
                  <a:pt x="737" y="862"/>
                </a:lnTo>
                <a:lnTo>
                  <a:pt x="713" y="865"/>
                </a:lnTo>
                <a:lnTo>
                  <a:pt x="688" y="867"/>
                </a:lnTo>
                <a:lnTo>
                  <a:pt x="660" y="869"/>
                </a:lnTo>
                <a:lnTo>
                  <a:pt x="632" y="870"/>
                </a:lnTo>
                <a:lnTo>
                  <a:pt x="601" y="872"/>
                </a:lnTo>
                <a:close/>
                <a:moveTo>
                  <a:pt x="30" y="616"/>
                </a:moveTo>
                <a:lnTo>
                  <a:pt x="30" y="553"/>
                </a:lnTo>
                <a:lnTo>
                  <a:pt x="42" y="560"/>
                </a:lnTo>
                <a:lnTo>
                  <a:pt x="55" y="566"/>
                </a:lnTo>
                <a:lnTo>
                  <a:pt x="70" y="572"/>
                </a:lnTo>
                <a:lnTo>
                  <a:pt x="85" y="576"/>
                </a:lnTo>
                <a:lnTo>
                  <a:pt x="102" y="580"/>
                </a:lnTo>
                <a:lnTo>
                  <a:pt x="119" y="584"/>
                </a:lnTo>
                <a:lnTo>
                  <a:pt x="137" y="588"/>
                </a:lnTo>
                <a:lnTo>
                  <a:pt x="155" y="591"/>
                </a:lnTo>
                <a:lnTo>
                  <a:pt x="193" y="595"/>
                </a:lnTo>
                <a:lnTo>
                  <a:pt x="230" y="598"/>
                </a:lnTo>
                <a:lnTo>
                  <a:pt x="267" y="601"/>
                </a:lnTo>
                <a:lnTo>
                  <a:pt x="301" y="601"/>
                </a:lnTo>
                <a:lnTo>
                  <a:pt x="301" y="676"/>
                </a:lnTo>
                <a:lnTo>
                  <a:pt x="270" y="676"/>
                </a:lnTo>
                <a:lnTo>
                  <a:pt x="241" y="674"/>
                </a:lnTo>
                <a:lnTo>
                  <a:pt x="214" y="672"/>
                </a:lnTo>
                <a:lnTo>
                  <a:pt x="189" y="670"/>
                </a:lnTo>
                <a:lnTo>
                  <a:pt x="165" y="667"/>
                </a:lnTo>
                <a:lnTo>
                  <a:pt x="142" y="664"/>
                </a:lnTo>
                <a:lnTo>
                  <a:pt x="122" y="659"/>
                </a:lnTo>
                <a:lnTo>
                  <a:pt x="103" y="655"/>
                </a:lnTo>
                <a:lnTo>
                  <a:pt x="87" y="650"/>
                </a:lnTo>
                <a:lnTo>
                  <a:pt x="72" y="646"/>
                </a:lnTo>
                <a:lnTo>
                  <a:pt x="59" y="640"/>
                </a:lnTo>
                <a:lnTo>
                  <a:pt x="49" y="636"/>
                </a:lnTo>
                <a:lnTo>
                  <a:pt x="41" y="631"/>
                </a:lnTo>
                <a:lnTo>
                  <a:pt x="34" y="625"/>
                </a:lnTo>
                <a:lnTo>
                  <a:pt x="31" y="621"/>
                </a:lnTo>
                <a:lnTo>
                  <a:pt x="30" y="616"/>
                </a:lnTo>
                <a:lnTo>
                  <a:pt x="30" y="616"/>
                </a:lnTo>
                <a:close/>
                <a:moveTo>
                  <a:pt x="301" y="30"/>
                </a:moveTo>
                <a:lnTo>
                  <a:pt x="332" y="30"/>
                </a:lnTo>
                <a:lnTo>
                  <a:pt x="362" y="31"/>
                </a:lnTo>
                <a:lnTo>
                  <a:pt x="391" y="33"/>
                </a:lnTo>
                <a:lnTo>
                  <a:pt x="417" y="36"/>
                </a:lnTo>
                <a:lnTo>
                  <a:pt x="441" y="39"/>
                </a:lnTo>
                <a:lnTo>
                  <a:pt x="463" y="42"/>
                </a:lnTo>
                <a:lnTo>
                  <a:pt x="483" y="47"/>
                </a:lnTo>
                <a:lnTo>
                  <a:pt x="501" y="52"/>
                </a:lnTo>
                <a:lnTo>
                  <a:pt x="517" y="56"/>
                </a:lnTo>
                <a:lnTo>
                  <a:pt x="531" y="62"/>
                </a:lnTo>
                <a:lnTo>
                  <a:pt x="544" y="66"/>
                </a:lnTo>
                <a:lnTo>
                  <a:pt x="554" y="71"/>
                </a:lnTo>
                <a:lnTo>
                  <a:pt x="561" y="77"/>
                </a:lnTo>
                <a:lnTo>
                  <a:pt x="567" y="81"/>
                </a:lnTo>
                <a:lnTo>
                  <a:pt x="570" y="85"/>
                </a:lnTo>
                <a:lnTo>
                  <a:pt x="571" y="90"/>
                </a:lnTo>
                <a:lnTo>
                  <a:pt x="570" y="94"/>
                </a:lnTo>
                <a:lnTo>
                  <a:pt x="567" y="98"/>
                </a:lnTo>
                <a:lnTo>
                  <a:pt x="561" y="102"/>
                </a:lnTo>
                <a:lnTo>
                  <a:pt x="554" y="108"/>
                </a:lnTo>
                <a:lnTo>
                  <a:pt x="544" y="112"/>
                </a:lnTo>
                <a:lnTo>
                  <a:pt x="531" y="117"/>
                </a:lnTo>
                <a:lnTo>
                  <a:pt x="517" y="123"/>
                </a:lnTo>
                <a:lnTo>
                  <a:pt x="501" y="127"/>
                </a:lnTo>
                <a:lnTo>
                  <a:pt x="483" y="131"/>
                </a:lnTo>
                <a:lnTo>
                  <a:pt x="463" y="136"/>
                </a:lnTo>
                <a:lnTo>
                  <a:pt x="441" y="140"/>
                </a:lnTo>
                <a:lnTo>
                  <a:pt x="417" y="143"/>
                </a:lnTo>
                <a:lnTo>
                  <a:pt x="391" y="145"/>
                </a:lnTo>
                <a:lnTo>
                  <a:pt x="362" y="147"/>
                </a:lnTo>
                <a:lnTo>
                  <a:pt x="332" y="150"/>
                </a:lnTo>
                <a:lnTo>
                  <a:pt x="301" y="150"/>
                </a:lnTo>
                <a:lnTo>
                  <a:pt x="269" y="150"/>
                </a:lnTo>
                <a:lnTo>
                  <a:pt x="239" y="147"/>
                </a:lnTo>
                <a:lnTo>
                  <a:pt x="211" y="145"/>
                </a:lnTo>
                <a:lnTo>
                  <a:pt x="184" y="143"/>
                </a:lnTo>
                <a:lnTo>
                  <a:pt x="161" y="140"/>
                </a:lnTo>
                <a:lnTo>
                  <a:pt x="138" y="136"/>
                </a:lnTo>
                <a:lnTo>
                  <a:pt x="118" y="131"/>
                </a:lnTo>
                <a:lnTo>
                  <a:pt x="100" y="127"/>
                </a:lnTo>
                <a:lnTo>
                  <a:pt x="84" y="123"/>
                </a:lnTo>
                <a:lnTo>
                  <a:pt x="70" y="117"/>
                </a:lnTo>
                <a:lnTo>
                  <a:pt x="58" y="112"/>
                </a:lnTo>
                <a:lnTo>
                  <a:pt x="47" y="108"/>
                </a:lnTo>
                <a:lnTo>
                  <a:pt x="40" y="102"/>
                </a:lnTo>
                <a:lnTo>
                  <a:pt x="34" y="98"/>
                </a:lnTo>
                <a:lnTo>
                  <a:pt x="31" y="94"/>
                </a:lnTo>
                <a:lnTo>
                  <a:pt x="30" y="90"/>
                </a:lnTo>
                <a:lnTo>
                  <a:pt x="31" y="85"/>
                </a:lnTo>
                <a:lnTo>
                  <a:pt x="34" y="81"/>
                </a:lnTo>
                <a:lnTo>
                  <a:pt x="40" y="77"/>
                </a:lnTo>
                <a:lnTo>
                  <a:pt x="47" y="71"/>
                </a:lnTo>
                <a:lnTo>
                  <a:pt x="58" y="66"/>
                </a:lnTo>
                <a:lnTo>
                  <a:pt x="70" y="62"/>
                </a:lnTo>
                <a:lnTo>
                  <a:pt x="84" y="56"/>
                </a:lnTo>
                <a:lnTo>
                  <a:pt x="100" y="52"/>
                </a:lnTo>
                <a:lnTo>
                  <a:pt x="118" y="47"/>
                </a:lnTo>
                <a:lnTo>
                  <a:pt x="138" y="42"/>
                </a:lnTo>
                <a:lnTo>
                  <a:pt x="161" y="39"/>
                </a:lnTo>
                <a:lnTo>
                  <a:pt x="184" y="36"/>
                </a:lnTo>
                <a:lnTo>
                  <a:pt x="211" y="33"/>
                </a:lnTo>
                <a:lnTo>
                  <a:pt x="239" y="31"/>
                </a:lnTo>
                <a:lnTo>
                  <a:pt x="269" y="30"/>
                </a:lnTo>
                <a:lnTo>
                  <a:pt x="301" y="30"/>
                </a:lnTo>
                <a:close/>
                <a:moveTo>
                  <a:pt x="301" y="390"/>
                </a:moveTo>
                <a:lnTo>
                  <a:pt x="334" y="390"/>
                </a:lnTo>
                <a:lnTo>
                  <a:pt x="371" y="387"/>
                </a:lnTo>
                <a:lnTo>
                  <a:pt x="408" y="385"/>
                </a:lnTo>
                <a:lnTo>
                  <a:pt x="446" y="380"/>
                </a:lnTo>
                <a:lnTo>
                  <a:pt x="464" y="378"/>
                </a:lnTo>
                <a:lnTo>
                  <a:pt x="482" y="373"/>
                </a:lnTo>
                <a:lnTo>
                  <a:pt x="500" y="370"/>
                </a:lnTo>
                <a:lnTo>
                  <a:pt x="516" y="366"/>
                </a:lnTo>
                <a:lnTo>
                  <a:pt x="532" y="361"/>
                </a:lnTo>
                <a:lnTo>
                  <a:pt x="546" y="355"/>
                </a:lnTo>
                <a:lnTo>
                  <a:pt x="559" y="350"/>
                </a:lnTo>
                <a:lnTo>
                  <a:pt x="571" y="343"/>
                </a:lnTo>
                <a:lnTo>
                  <a:pt x="571" y="406"/>
                </a:lnTo>
                <a:lnTo>
                  <a:pt x="570" y="410"/>
                </a:lnTo>
                <a:lnTo>
                  <a:pt x="567" y="415"/>
                </a:lnTo>
                <a:lnTo>
                  <a:pt x="560" y="419"/>
                </a:lnTo>
                <a:lnTo>
                  <a:pt x="552" y="425"/>
                </a:lnTo>
                <a:lnTo>
                  <a:pt x="542" y="430"/>
                </a:lnTo>
                <a:lnTo>
                  <a:pt x="529" y="434"/>
                </a:lnTo>
                <a:lnTo>
                  <a:pt x="514" y="440"/>
                </a:lnTo>
                <a:lnTo>
                  <a:pt x="498" y="444"/>
                </a:lnTo>
                <a:lnTo>
                  <a:pt x="479" y="448"/>
                </a:lnTo>
                <a:lnTo>
                  <a:pt x="459" y="453"/>
                </a:lnTo>
                <a:lnTo>
                  <a:pt x="437" y="456"/>
                </a:lnTo>
                <a:lnTo>
                  <a:pt x="412" y="459"/>
                </a:lnTo>
                <a:lnTo>
                  <a:pt x="387" y="462"/>
                </a:lnTo>
                <a:lnTo>
                  <a:pt x="360" y="463"/>
                </a:lnTo>
                <a:lnTo>
                  <a:pt x="331" y="464"/>
                </a:lnTo>
                <a:lnTo>
                  <a:pt x="301" y="466"/>
                </a:lnTo>
                <a:lnTo>
                  <a:pt x="270" y="464"/>
                </a:lnTo>
                <a:lnTo>
                  <a:pt x="241" y="463"/>
                </a:lnTo>
                <a:lnTo>
                  <a:pt x="214" y="462"/>
                </a:lnTo>
                <a:lnTo>
                  <a:pt x="189" y="459"/>
                </a:lnTo>
                <a:lnTo>
                  <a:pt x="165" y="456"/>
                </a:lnTo>
                <a:lnTo>
                  <a:pt x="142" y="453"/>
                </a:lnTo>
                <a:lnTo>
                  <a:pt x="122" y="448"/>
                </a:lnTo>
                <a:lnTo>
                  <a:pt x="103" y="444"/>
                </a:lnTo>
                <a:lnTo>
                  <a:pt x="87" y="440"/>
                </a:lnTo>
                <a:lnTo>
                  <a:pt x="72" y="434"/>
                </a:lnTo>
                <a:lnTo>
                  <a:pt x="59" y="430"/>
                </a:lnTo>
                <a:lnTo>
                  <a:pt x="49" y="425"/>
                </a:lnTo>
                <a:lnTo>
                  <a:pt x="41" y="419"/>
                </a:lnTo>
                <a:lnTo>
                  <a:pt x="34" y="415"/>
                </a:lnTo>
                <a:lnTo>
                  <a:pt x="31" y="410"/>
                </a:lnTo>
                <a:lnTo>
                  <a:pt x="30" y="406"/>
                </a:lnTo>
                <a:lnTo>
                  <a:pt x="30" y="343"/>
                </a:lnTo>
                <a:lnTo>
                  <a:pt x="42" y="350"/>
                </a:lnTo>
                <a:lnTo>
                  <a:pt x="55" y="355"/>
                </a:lnTo>
                <a:lnTo>
                  <a:pt x="70" y="361"/>
                </a:lnTo>
                <a:lnTo>
                  <a:pt x="85" y="366"/>
                </a:lnTo>
                <a:lnTo>
                  <a:pt x="102" y="370"/>
                </a:lnTo>
                <a:lnTo>
                  <a:pt x="119" y="373"/>
                </a:lnTo>
                <a:lnTo>
                  <a:pt x="137" y="378"/>
                </a:lnTo>
                <a:lnTo>
                  <a:pt x="155" y="380"/>
                </a:lnTo>
                <a:lnTo>
                  <a:pt x="193" y="385"/>
                </a:lnTo>
                <a:lnTo>
                  <a:pt x="230" y="387"/>
                </a:lnTo>
                <a:lnTo>
                  <a:pt x="267" y="390"/>
                </a:lnTo>
                <a:lnTo>
                  <a:pt x="301" y="391"/>
                </a:lnTo>
                <a:lnTo>
                  <a:pt x="301" y="390"/>
                </a:lnTo>
                <a:close/>
                <a:moveTo>
                  <a:pt x="301" y="285"/>
                </a:moveTo>
                <a:lnTo>
                  <a:pt x="334" y="285"/>
                </a:lnTo>
                <a:lnTo>
                  <a:pt x="371" y="282"/>
                </a:lnTo>
                <a:lnTo>
                  <a:pt x="408" y="279"/>
                </a:lnTo>
                <a:lnTo>
                  <a:pt x="446" y="275"/>
                </a:lnTo>
                <a:lnTo>
                  <a:pt x="464" y="272"/>
                </a:lnTo>
                <a:lnTo>
                  <a:pt x="482" y="268"/>
                </a:lnTo>
                <a:lnTo>
                  <a:pt x="500" y="265"/>
                </a:lnTo>
                <a:lnTo>
                  <a:pt x="516" y="261"/>
                </a:lnTo>
                <a:lnTo>
                  <a:pt x="532" y="256"/>
                </a:lnTo>
                <a:lnTo>
                  <a:pt x="546" y="250"/>
                </a:lnTo>
                <a:lnTo>
                  <a:pt x="559" y="245"/>
                </a:lnTo>
                <a:lnTo>
                  <a:pt x="571" y="238"/>
                </a:lnTo>
                <a:lnTo>
                  <a:pt x="571" y="300"/>
                </a:lnTo>
                <a:lnTo>
                  <a:pt x="570" y="305"/>
                </a:lnTo>
                <a:lnTo>
                  <a:pt x="567" y="309"/>
                </a:lnTo>
                <a:lnTo>
                  <a:pt x="560" y="315"/>
                </a:lnTo>
                <a:lnTo>
                  <a:pt x="552" y="320"/>
                </a:lnTo>
                <a:lnTo>
                  <a:pt x="542" y="325"/>
                </a:lnTo>
                <a:lnTo>
                  <a:pt x="529" y="330"/>
                </a:lnTo>
                <a:lnTo>
                  <a:pt x="514" y="335"/>
                </a:lnTo>
                <a:lnTo>
                  <a:pt x="498" y="339"/>
                </a:lnTo>
                <a:lnTo>
                  <a:pt x="479" y="343"/>
                </a:lnTo>
                <a:lnTo>
                  <a:pt x="459" y="348"/>
                </a:lnTo>
                <a:lnTo>
                  <a:pt x="437" y="351"/>
                </a:lnTo>
                <a:lnTo>
                  <a:pt x="412" y="354"/>
                </a:lnTo>
                <a:lnTo>
                  <a:pt x="387" y="356"/>
                </a:lnTo>
                <a:lnTo>
                  <a:pt x="360" y="358"/>
                </a:lnTo>
                <a:lnTo>
                  <a:pt x="331" y="360"/>
                </a:lnTo>
                <a:lnTo>
                  <a:pt x="301" y="361"/>
                </a:lnTo>
                <a:lnTo>
                  <a:pt x="270" y="360"/>
                </a:lnTo>
                <a:lnTo>
                  <a:pt x="241" y="358"/>
                </a:lnTo>
                <a:lnTo>
                  <a:pt x="214" y="356"/>
                </a:lnTo>
                <a:lnTo>
                  <a:pt x="189" y="354"/>
                </a:lnTo>
                <a:lnTo>
                  <a:pt x="165" y="351"/>
                </a:lnTo>
                <a:lnTo>
                  <a:pt x="142" y="348"/>
                </a:lnTo>
                <a:lnTo>
                  <a:pt x="122" y="343"/>
                </a:lnTo>
                <a:lnTo>
                  <a:pt x="103" y="339"/>
                </a:lnTo>
                <a:lnTo>
                  <a:pt x="87" y="335"/>
                </a:lnTo>
                <a:lnTo>
                  <a:pt x="72" y="330"/>
                </a:lnTo>
                <a:lnTo>
                  <a:pt x="59" y="325"/>
                </a:lnTo>
                <a:lnTo>
                  <a:pt x="49" y="320"/>
                </a:lnTo>
                <a:lnTo>
                  <a:pt x="41" y="315"/>
                </a:lnTo>
                <a:lnTo>
                  <a:pt x="34" y="309"/>
                </a:lnTo>
                <a:lnTo>
                  <a:pt x="31" y="305"/>
                </a:lnTo>
                <a:lnTo>
                  <a:pt x="30" y="300"/>
                </a:lnTo>
                <a:lnTo>
                  <a:pt x="30" y="237"/>
                </a:lnTo>
                <a:lnTo>
                  <a:pt x="42" y="245"/>
                </a:lnTo>
                <a:lnTo>
                  <a:pt x="55" y="250"/>
                </a:lnTo>
                <a:lnTo>
                  <a:pt x="70" y="256"/>
                </a:lnTo>
                <a:lnTo>
                  <a:pt x="85" y="261"/>
                </a:lnTo>
                <a:lnTo>
                  <a:pt x="102" y="265"/>
                </a:lnTo>
                <a:lnTo>
                  <a:pt x="119" y="268"/>
                </a:lnTo>
                <a:lnTo>
                  <a:pt x="137" y="272"/>
                </a:lnTo>
                <a:lnTo>
                  <a:pt x="155" y="275"/>
                </a:lnTo>
                <a:lnTo>
                  <a:pt x="193" y="279"/>
                </a:lnTo>
                <a:lnTo>
                  <a:pt x="230" y="282"/>
                </a:lnTo>
                <a:lnTo>
                  <a:pt x="267" y="285"/>
                </a:lnTo>
                <a:lnTo>
                  <a:pt x="301" y="285"/>
                </a:lnTo>
                <a:close/>
                <a:moveTo>
                  <a:pt x="571" y="195"/>
                </a:moveTo>
                <a:lnTo>
                  <a:pt x="570" y="199"/>
                </a:lnTo>
                <a:lnTo>
                  <a:pt x="567" y="204"/>
                </a:lnTo>
                <a:lnTo>
                  <a:pt x="560" y="210"/>
                </a:lnTo>
                <a:lnTo>
                  <a:pt x="552" y="215"/>
                </a:lnTo>
                <a:lnTo>
                  <a:pt x="542" y="219"/>
                </a:lnTo>
                <a:lnTo>
                  <a:pt x="529" y="225"/>
                </a:lnTo>
                <a:lnTo>
                  <a:pt x="514" y="229"/>
                </a:lnTo>
                <a:lnTo>
                  <a:pt x="498" y="234"/>
                </a:lnTo>
                <a:lnTo>
                  <a:pt x="479" y="238"/>
                </a:lnTo>
                <a:lnTo>
                  <a:pt x="459" y="243"/>
                </a:lnTo>
                <a:lnTo>
                  <a:pt x="437" y="246"/>
                </a:lnTo>
                <a:lnTo>
                  <a:pt x="412" y="249"/>
                </a:lnTo>
                <a:lnTo>
                  <a:pt x="387" y="251"/>
                </a:lnTo>
                <a:lnTo>
                  <a:pt x="360" y="253"/>
                </a:lnTo>
                <a:lnTo>
                  <a:pt x="331" y="255"/>
                </a:lnTo>
                <a:lnTo>
                  <a:pt x="301" y="255"/>
                </a:lnTo>
                <a:lnTo>
                  <a:pt x="270" y="255"/>
                </a:lnTo>
                <a:lnTo>
                  <a:pt x="241" y="253"/>
                </a:lnTo>
                <a:lnTo>
                  <a:pt x="214" y="251"/>
                </a:lnTo>
                <a:lnTo>
                  <a:pt x="189" y="249"/>
                </a:lnTo>
                <a:lnTo>
                  <a:pt x="165" y="246"/>
                </a:lnTo>
                <a:lnTo>
                  <a:pt x="142" y="242"/>
                </a:lnTo>
                <a:lnTo>
                  <a:pt x="122" y="238"/>
                </a:lnTo>
                <a:lnTo>
                  <a:pt x="103" y="234"/>
                </a:lnTo>
                <a:lnTo>
                  <a:pt x="87" y="229"/>
                </a:lnTo>
                <a:lnTo>
                  <a:pt x="72" y="225"/>
                </a:lnTo>
                <a:lnTo>
                  <a:pt x="59" y="219"/>
                </a:lnTo>
                <a:lnTo>
                  <a:pt x="49" y="215"/>
                </a:lnTo>
                <a:lnTo>
                  <a:pt x="41" y="210"/>
                </a:lnTo>
                <a:lnTo>
                  <a:pt x="34" y="204"/>
                </a:lnTo>
                <a:lnTo>
                  <a:pt x="31" y="200"/>
                </a:lnTo>
                <a:lnTo>
                  <a:pt x="30" y="195"/>
                </a:lnTo>
                <a:lnTo>
                  <a:pt x="30" y="131"/>
                </a:lnTo>
                <a:lnTo>
                  <a:pt x="41" y="138"/>
                </a:lnTo>
                <a:lnTo>
                  <a:pt x="53" y="143"/>
                </a:lnTo>
                <a:lnTo>
                  <a:pt x="65" y="148"/>
                </a:lnTo>
                <a:lnTo>
                  <a:pt x="79" y="153"/>
                </a:lnTo>
                <a:lnTo>
                  <a:pt x="94" y="157"/>
                </a:lnTo>
                <a:lnTo>
                  <a:pt x="110" y="161"/>
                </a:lnTo>
                <a:lnTo>
                  <a:pt x="127" y="165"/>
                </a:lnTo>
                <a:lnTo>
                  <a:pt x="145" y="168"/>
                </a:lnTo>
                <a:lnTo>
                  <a:pt x="182" y="173"/>
                </a:lnTo>
                <a:lnTo>
                  <a:pt x="221" y="176"/>
                </a:lnTo>
                <a:lnTo>
                  <a:pt x="260" y="178"/>
                </a:lnTo>
                <a:lnTo>
                  <a:pt x="301" y="180"/>
                </a:lnTo>
                <a:lnTo>
                  <a:pt x="341" y="178"/>
                </a:lnTo>
                <a:lnTo>
                  <a:pt x="380" y="176"/>
                </a:lnTo>
                <a:lnTo>
                  <a:pt x="419" y="173"/>
                </a:lnTo>
                <a:lnTo>
                  <a:pt x="456" y="168"/>
                </a:lnTo>
                <a:lnTo>
                  <a:pt x="474" y="165"/>
                </a:lnTo>
                <a:lnTo>
                  <a:pt x="491" y="161"/>
                </a:lnTo>
                <a:lnTo>
                  <a:pt x="507" y="157"/>
                </a:lnTo>
                <a:lnTo>
                  <a:pt x="522" y="153"/>
                </a:lnTo>
                <a:lnTo>
                  <a:pt x="536" y="148"/>
                </a:lnTo>
                <a:lnTo>
                  <a:pt x="548" y="143"/>
                </a:lnTo>
                <a:lnTo>
                  <a:pt x="560" y="138"/>
                </a:lnTo>
                <a:lnTo>
                  <a:pt x="571" y="131"/>
                </a:lnTo>
                <a:lnTo>
                  <a:pt x="571" y="195"/>
                </a:lnTo>
                <a:close/>
                <a:moveTo>
                  <a:pt x="315" y="571"/>
                </a:moveTo>
                <a:lnTo>
                  <a:pt x="307" y="571"/>
                </a:lnTo>
                <a:lnTo>
                  <a:pt x="301" y="571"/>
                </a:lnTo>
                <a:lnTo>
                  <a:pt x="270" y="571"/>
                </a:lnTo>
                <a:lnTo>
                  <a:pt x="241" y="569"/>
                </a:lnTo>
                <a:lnTo>
                  <a:pt x="214" y="567"/>
                </a:lnTo>
                <a:lnTo>
                  <a:pt x="189" y="564"/>
                </a:lnTo>
                <a:lnTo>
                  <a:pt x="165" y="562"/>
                </a:lnTo>
                <a:lnTo>
                  <a:pt x="142" y="558"/>
                </a:lnTo>
                <a:lnTo>
                  <a:pt x="122" y="554"/>
                </a:lnTo>
                <a:lnTo>
                  <a:pt x="103" y="550"/>
                </a:lnTo>
                <a:lnTo>
                  <a:pt x="87" y="545"/>
                </a:lnTo>
                <a:lnTo>
                  <a:pt x="72" y="541"/>
                </a:lnTo>
                <a:lnTo>
                  <a:pt x="59" y="535"/>
                </a:lnTo>
                <a:lnTo>
                  <a:pt x="49" y="530"/>
                </a:lnTo>
                <a:lnTo>
                  <a:pt x="41" y="526"/>
                </a:lnTo>
                <a:lnTo>
                  <a:pt x="34" y="520"/>
                </a:lnTo>
                <a:lnTo>
                  <a:pt x="31" y="515"/>
                </a:lnTo>
                <a:lnTo>
                  <a:pt x="30" y="511"/>
                </a:lnTo>
                <a:lnTo>
                  <a:pt x="30" y="448"/>
                </a:lnTo>
                <a:lnTo>
                  <a:pt x="42" y="455"/>
                </a:lnTo>
                <a:lnTo>
                  <a:pt x="55" y="461"/>
                </a:lnTo>
                <a:lnTo>
                  <a:pt x="70" y="467"/>
                </a:lnTo>
                <a:lnTo>
                  <a:pt x="85" y="471"/>
                </a:lnTo>
                <a:lnTo>
                  <a:pt x="102" y="475"/>
                </a:lnTo>
                <a:lnTo>
                  <a:pt x="119" y="479"/>
                </a:lnTo>
                <a:lnTo>
                  <a:pt x="137" y="483"/>
                </a:lnTo>
                <a:lnTo>
                  <a:pt x="155" y="486"/>
                </a:lnTo>
                <a:lnTo>
                  <a:pt x="193" y="490"/>
                </a:lnTo>
                <a:lnTo>
                  <a:pt x="230" y="493"/>
                </a:lnTo>
                <a:lnTo>
                  <a:pt x="267" y="494"/>
                </a:lnTo>
                <a:lnTo>
                  <a:pt x="301" y="496"/>
                </a:lnTo>
                <a:lnTo>
                  <a:pt x="334" y="494"/>
                </a:lnTo>
                <a:lnTo>
                  <a:pt x="371" y="493"/>
                </a:lnTo>
                <a:lnTo>
                  <a:pt x="408" y="490"/>
                </a:lnTo>
                <a:lnTo>
                  <a:pt x="446" y="486"/>
                </a:lnTo>
                <a:lnTo>
                  <a:pt x="464" y="483"/>
                </a:lnTo>
                <a:lnTo>
                  <a:pt x="482" y="479"/>
                </a:lnTo>
                <a:lnTo>
                  <a:pt x="500" y="475"/>
                </a:lnTo>
                <a:lnTo>
                  <a:pt x="516" y="471"/>
                </a:lnTo>
                <a:lnTo>
                  <a:pt x="532" y="467"/>
                </a:lnTo>
                <a:lnTo>
                  <a:pt x="546" y="461"/>
                </a:lnTo>
                <a:lnTo>
                  <a:pt x="559" y="455"/>
                </a:lnTo>
                <a:lnTo>
                  <a:pt x="571" y="448"/>
                </a:lnTo>
                <a:lnTo>
                  <a:pt x="571" y="511"/>
                </a:lnTo>
                <a:lnTo>
                  <a:pt x="571" y="511"/>
                </a:lnTo>
                <a:lnTo>
                  <a:pt x="571" y="511"/>
                </a:lnTo>
                <a:lnTo>
                  <a:pt x="530" y="513"/>
                </a:lnTo>
                <a:lnTo>
                  <a:pt x="491" y="516"/>
                </a:lnTo>
                <a:lnTo>
                  <a:pt x="452" y="521"/>
                </a:lnTo>
                <a:lnTo>
                  <a:pt x="417" y="528"/>
                </a:lnTo>
                <a:lnTo>
                  <a:pt x="400" y="532"/>
                </a:lnTo>
                <a:lnTo>
                  <a:pt x="384" y="536"/>
                </a:lnTo>
                <a:lnTo>
                  <a:pt x="370" y="541"/>
                </a:lnTo>
                <a:lnTo>
                  <a:pt x="356" y="546"/>
                </a:lnTo>
                <a:lnTo>
                  <a:pt x="343" y="551"/>
                </a:lnTo>
                <a:lnTo>
                  <a:pt x="332" y="558"/>
                </a:lnTo>
                <a:lnTo>
                  <a:pt x="322" y="563"/>
                </a:lnTo>
                <a:lnTo>
                  <a:pt x="315" y="571"/>
                </a:lnTo>
                <a:lnTo>
                  <a:pt x="315" y="571"/>
                </a:lnTo>
                <a:close/>
                <a:moveTo>
                  <a:pt x="872" y="601"/>
                </a:moveTo>
                <a:lnTo>
                  <a:pt x="871" y="605"/>
                </a:lnTo>
                <a:lnTo>
                  <a:pt x="868" y="609"/>
                </a:lnTo>
                <a:lnTo>
                  <a:pt x="862" y="613"/>
                </a:lnTo>
                <a:lnTo>
                  <a:pt x="854" y="619"/>
                </a:lnTo>
                <a:lnTo>
                  <a:pt x="844" y="624"/>
                </a:lnTo>
                <a:lnTo>
                  <a:pt x="832" y="628"/>
                </a:lnTo>
                <a:lnTo>
                  <a:pt x="818" y="634"/>
                </a:lnTo>
                <a:lnTo>
                  <a:pt x="802" y="638"/>
                </a:lnTo>
                <a:lnTo>
                  <a:pt x="784" y="643"/>
                </a:lnTo>
                <a:lnTo>
                  <a:pt x="764" y="647"/>
                </a:lnTo>
                <a:lnTo>
                  <a:pt x="741" y="651"/>
                </a:lnTo>
                <a:lnTo>
                  <a:pt x="718" y="654"/>
                </a:lnTo>
                <a:lnTo>
                  <a:pt x="691" y="657"/>
                </a:lnTo>
                <a:lnTo>
                  <a:pt x="663" y="659"/>
                </a:lnTo>
                <a:lnTo>
                  <a:pt x="633" y="661"/>
                </a:lnTo>
                <a:lnTo>
                  <a:pt x="601" y="661"/>
                </a:lnTo>
                <a:lnTo>
                  <a:pt x="569" y="661"/>
                </a:lnTo>
                <a:lnTo>
                  <a:pt x="539" y="659"/>
                </a:lnTo>
                <a:lnTo>
                  <a:pt x="511" y="657"/>
                </a:lnTo>
                <a:lnTo>
                  <a:pt x="485" y="654"/>
                </a:lnTo>
                <a:lnTo>
                  <a:pt x="461" y="651"/>
                </a:lnTo>
                <a:lnTo>
                  <a:pt x="438" y="647"/>
                </a:lnTo>
                <a:lnTo>
                  <a:pt x="419" y="642"/>
                </a:lnTo>
                <a:lnTo>
                  <a:pt x="401" y="638"/>
                </a:lnTo>
                <a:lnTo>
                  <a:pt x="385" y="634"/>
                </a:lnTo>
                <a:lnTo>
                  <a:pt x="370" y="628"/>
                </a:lnTo>
                <a:lnTo>
                  <a:pt x="358" y="624"/>
                </a:lnTo>
                <a:lnTo>
                  <a:pt x="348" y="619"/>
                </a:lnTo>
                <a:lnTo>
                  <a:pt x="341" y="613"/>
                </a:lnTo>
                <a:lnTo>
                  <a:pt x="335" y="609"/>
                </a:lnTo>
                <a:lnTo>
                  <a:pt x="332" y="605"/>
                </a:lnTo>
                <a:lnTo>
                  <a:pt x="331" y="601"/>
                </a:lnTo>
                <a:lnTo>
                  <a:pt x="332" y="596"/>
                </a:lnTo>
                <a:lnTo>
                  <a:pt x="335" y="592"/>
                </a:lnTo>
                <a:lnTo>
                  <a:pt x="341" y="588"/>
                </a:lnTo>
                <a:lnTo>
                  <a:pt x="348" y="582"/>
                </a:lnTo>
                <a:lnTo>
                  <a:pt x="358" y="578"/>
                </a:lnTo>
                <a:lnTo>
                  <a:pt x="370" y="573"/>
                </a:lnTo>
                <a:lnTo>
                  <a:pt x="385" y="567"/>
                </a:lnTo>
                <a:lnTo>
                  <a:pt x="401" y="563"/>
                </a:lnTo>
                <a:lnTo>
                  <a:pt x="419" y="559"/>
                </a:lnTo>
                <a:lnTo>
                  <a:pt x="438" y="554"/>
                </a:lnTo>
                <a:lnTo>
                  <a:pt x="461" y="550"/>
                </a:lnTo>
                <a:lnTo>
                  <a:pt x="485" y="547"/>
                </a:lnTo>
                <a:lnTo>
                  <a:pt x="511" y="544"/>
                </a:lnTo>
                <a:lnTo>
                  <a:pt x="539" y="543"/>
                </a:lnTo>
                <a:lnTo>
                  <a:pt x="569" y="541"/>
                </a:lnTo>
                <a:lnTo>
                  <a:pt x="601" y="541"/>
                </a:lnTo>
                <a:lnTo>
                  <a:pt x="633" y="541"/>
                </a:lnTo>
                <a:lnTo>
                  <a:pt x="663" y="543"/>
                </a:lnTo>
                <a:lnTo>
                  <a:pt x="691" y="544"/>
                </a:lnTo>
                <a:lnTo>
                  <a:pt x="718" y="547"/>
                </a:lnTo>
                <a:lnTo>
                  <a:pt x="741" y="550"/>
                </a:lnTo>
                <a:lnTo>
                  <a:pt x="764" y="554"/>
                </a:lnTo>
                <a:lnTo>
                  <a:pt x="784" y="559"/>
                </a:lnTo>
                <a:lnTo>
                  <a:pt x="802" y="563"/>
                </a:lnTo>
                <a:lnTo>
                  <a:pt x="818" y="567"/>
                </a:lnTo>
                <a:lnTo>
                  <a:pt x="832" y="573"/>
                </a:lnTo>
                <a:lnTo>
                  <a:pt x="844" y="578"/>
                </a:lnTo>
                <a:lnTo>
                  <a:pt x="854" y="582"/>
                </a:lnTo>
                <a:lnTo>
                  <a:pt x="862" y="588"/>
                </a:lnTo>
                <a:lnTo>
                  <a:pt x="868" y="592"/>
                </a:lnTo>
                <a:lnTo>
                  <a:pt x="871" y="596"/>
                </a:lnTo>
                <a:lnTo>
                  <a:pt x="872" y="601"/>
                </a:lnTo>
                <a:close/>
                <a:moveTo>
                  <a:pt x="872" y="706"/>
                </a:moveTo>
                <a:lnTo>
                  <a:pt x="871" y="711"/>
                </a:lnTo>
                <a:lnTo>
                  <a:pt x="867" y="715"/>
                </a:lnTo>
                <a:lnTo>
                  <a:pt x="861" y="721"/>
                </a:lnTo>
                <a:lnTo>
                  <a:pt x="853" y="726"/>
                </a:lnTo>
                <a:lnTo>
                  <a:pt x="842" y="730"/>
                </a:lnTo>
                <a:lnTo>
                  <a:pt x="830" y="735"/>
                </a:lnTo>
                <a:lnTo>
                  <a:pt x="815" y="741"/>
                </a:lnTo>
                <a:lnTo>
                  <a:pt x="798" y="745"/>
                </a:lnTo>
                <a:lnTo>
                  <a:pt x="780" y="749"/>
                </a:lnTo>
                <a:lnTo>
                  <a:pt x="760" y="754"/>
                </a:lnTo>
                <a:lnTo>
                  <a:pt x="737" y="757"/>
                </a:lnTo>
                <a:lnTo>
                  <a:pt x="713" y="760"/>
                </a:lnTo>
                <a:lnTo>
                  <a:pt x="688" y="762"/>
                </a:lnTo>
                <a:lnTo>
                  <a:pt x="660" y="764"/>
                </a:lnTo>
                <a:lnTo>
                  <a:pt x="632" y="765"/>
                </a:lnTo>
                <a:lnTo>
                  <a:pt x="601" y="765"/>
                </a:lnTo>
                <a:lnTo>
                  <a:pt x="571" y="765"/>
                </a:lnTo>
                <a:lnTo>
                  <a:pt x="542" y="764"/>
                </a:lnTo>
                <a:lnTo>
                  <a:pt x="515" y="762"/>
                </a:lnTo>
                <a:lnTo>
                  <a:pt x="490" y="760"/>
                </a:lnTo>
                <a:lnTo>
                  <a:pt x="465" y="757"/>
                </a:lnTo>
                <a:lnTo>
                  <a:pt x="444" y="754"/>
                </a:lnTo>
                <a:lnTo>
                  <a:pt x="422" y="749"/>
                </a:lnTo>
                <a:lnTo>
                  <a:pt x="404" y="745"/>
                </a:lnTo>
                <a:lnTo>
                  <a:pt x="388" y="741"/>
                </a:lnTo>
                <a:lnTo>
                  <a:pt x="373" y="735"/>
                </a:lnTo>
                <a:lnTo>
                  <a:pt x="360" y="730"/>
                </a:lnTo>
                <a:lnTo>
                  <a:pt x="349" y="726"/>
                </a:lnTo>
                <a:lnTo>
                  <a:pt x="342" y="721"/>
                </a:lnTo>
                <a:lnTo>
                  <a:pt x="335" y="715"/>
                </a:lnTo>
                <a:lnTo>
                  <a:pt x="332" y="711"/>
                </a:lnTo>
                <a:lnTo>
                  <a:pt x="331" y="706"/>
                </a:lnTo>
                <a:lnTo>
                  <a:pt x="331" y="643"/>
                </a:lnTo>
                <a:lnTo>
                  <a:pt x="341" y="649"/>
                </a:lnTo>
                <a:lnTo>
                  <a:pt x="352" y="654"/>
                </a:lnTo>
                <a:lnTo>
                  <a:pt x="366" y="659"/>
                </a:lnTo>
                <a:lnTo>
                  <a:pt x="380" y="664"/>
                </a:lnTo>
                <a:lnTo>
                  <a:pt x="395" y="668"/>
                </a:lnTo>
                <a:lnTo>
                  <a:pt x="411" y="672"/>
                </a:lnTo>
                <a:lnTo>
                  <a:pt x="429" y="676"/>
                </a:lnTo>
                <a:lnTo>
                  <a:pt x="446" y="679"/>
                </a:lnTo>
                <a:lnTo>
                  <a:pt x="483" y="684"/>
                </a:lnTo>
                <a:lnTo>
                  <a:pt x="522" y="688"/>
                </a:lnTo>
                <a:lnTo>
                  <a:pt x="561" y="691"/>
                </a:lnTo>
                <a:lnTo>
                  <a:pt x="601" y="691"/>
                </a:lnTo>
                <a:lnTo>
                  <a:pt x="642" y="691"/>
                </a:lnTo>
                <a:lnTo>
                  <a:pt x="681" y="688"/>
                </a:lnTo>
                <a:lnTo>
                  <a:pt x="720" y="684"/>
                </a:lnTo>
                <a:lnTo>
                  <a:pt x="757" y="679"/>
                </a:lnTo>
                <a:lnTo>
                  <a:pt x="775" y="676"/>
                </a:lnTo>
                <a:lnTo>
                  <a:pt x="792" y="672"/>
                </a:lnTo>
                <a:lnTo>
                  <a:pt x="808" y="668"/>
                </a:lnTo>
                <a:lnTo>
                  <a:pt x="823" y="664"/>
                </a:lnTo>
                <a:lnTo>
                  <a:pt x="837" y="659"/>
                </a:lnTo>
                <a:lnTo>
                  <a:pt x="850" y="654"/>
                </a:lnTo>
                <a:lnTo>
                  <a:pt x="861" y="649"/>
                </a:lnTo>
                <a:lnTo>
                  <a:pt x="872" y="643"/>
                </a:lnTo>
                <a:lnTo>
                  <a:pt x="872" y="706"/>
                </a:lnTo>
                <a:close/>
                <a:moveTo>
                  <a:pt x="601" y="511"/>
                </a:moveTo>
                <a:lnTo>
                  <a:pt x="601" y="406"/>
                </a:lnTo>
                <a:lnTo>
                  <a:pt x="601" y="300"/>
                </a:lnTo>
                <a:lnTo>
                  <a:pt x="601" y="195"/>
                </a:lnTo>
                <a:lnTo>
                  <a:pt x="601" y="90"/>
                </a:lnTo>
                <a:lnTo>
                  <a:pt x="601" y="83"/>
                </a:lnTo>
                <a:lnTo>
                  <a:pt x="600" y="78"/>
                </a:lnTo>
                <a:lnTo>
                  <a:pt x="598" y="72"/>
                </a:lnTo>
                <a:lnTo>
                  <a:pt x="595" y="68"/>
                </a:lnTo>
                <a:lnTo>
                  <a:pt x="590" y="63"/>
                </a:lnTo>
                <a:lnTo>
                  <a:pt x="586" y="59"/>
                </a:lnTo>
                <a:lnTo>
                  <a:pt x="581" y="53"/>
                </a:lnTo>
                <a:lnTo>
                  <a:pt x="574" y="49"/>
                </a:lnTo>
                <a:lnTo>
                  <a:pt x="560" y="41"/>
                </a:lnTo>
                <a:lnTo>
                  <a:pt x="544" y="34"/>
                </a:lnTo>
                <a:lnTo>
                  <a:pt x="526" y="27"/>
                </a:lnTo>
                <a:lnTo>
                  <a:pt x="506" y="21"/>
                </a:lnTo>
                <a:lnTo>
                  <a:pt x="483" y="16"/>
                </a:lnTo>
                <a:lnTo>
                  <a:pt x="460" y="11"/>
                </a:lnTo>
                <a:lnTo>
                  <a:pt x="435" y="8"/>
                </a:lnTo>
                <a:lnTo>
                  <a:pt x="408" y="5"/>
                </a:lnTo>
                <a:lnTo>
                  <a:pt x="382" y="2"/>
                </a:lnTo>
                <a:lnTo>
                  <a:pt x="355" y="1"/>
                </a:lnTo>
                <a:lnTo>
                  <a:pt x="328" y="0"/>
                </a:lnTo>
                <a:lnTo>
                  <a:pt x="301" y="0"/>
                </a:lnTo>
                <a:lnTo>
                  <a:pt x="273" y="0"/>
                </a:lnTo>
                <a:lnTo>
                  <a:pt x="246" y="1"/>
                </a:lnTo>
                <a:lnTo>
                  <a:pt x="219" y="2"/>
                </a:lnTo>
                <a:lnTo>
                  <a:pt x="193" y="5"/>
                </a:lnTo>
                <a:lnTo>
                  <a:pt x="167" y="8"/>
                </a:lnTo>
                <a:lnTo>
                  <a:pt x="141" y="11"/>
                </a:lnTo>
                <a:lnTo>
                  <a:pt x="118" y="16"/>
                </a:lnTo>
                <a:lnTo>
                  <a:pt x="96" y="21"/>
                </a:lnTo>
                <a:lnTo>
                  <a:pt x="75" y="27"/>
                </a:lnTo>
                <a:lnTo>
                  <a:pt x="57" y="34"/>
                </a:lnTo>
                <a:lnTo>
                  <a:pt x="41" y="41"/>
                </a:lnTo>
                <a:lnTo>
                  <a:pt x="27" y="49"/>
                </a:lnTo>
                <a:lnTo>
                  <a:pt x="20" y="53"/>
                </a:lnTo>
                <a:lnTo>
                  <a:pt x="15" y="59"/>
                </a:lnTo>
                <a:lnTo>
                  <a:pt x="11" y="63"/>
                </a:lnTo>
                <a:lnTo>
                  <a:pt x="6" y="68"/>
                </a:lnTo>
                <a:lnTo>
                  <a:pt x="4" y="72"/>
                </a:lnTo>
                <a:lnTo>
                  <a:pt x="2" y="78"/>
                </a:lnTo>
                <a:lnTo>
                  <a:pt x="0" y="84"/>
                </a:lnTo>
                <a:lnTo>
                  <a:pt x="0" y="90"/>
                </a:lnTo>
                <a:lnTo>
                  <a:pt x="0" y="195"/>
                </a:lnTo>
                <a:lnTo>
                  <a:pt x="0" y="300"/>
                </a:lnTo>
                <a:lnTo>
                  <a:pt x="0" y="406"/>
                </a:lnTo>
                <a:lnTo>
                  <a:pt x="0" y="511"/>
                </a:lnTo>
                <a:lnTo>
                  <a:pt x="0" y="616"/>
                </a:lnTo>
                <a:lnTo>
                  <a:pt x="0" y="622"/>
                </a:lnTo>
                <a:lnTo>
                  <a:pt x="2" y="628"/>
                </a:lnTo>
                <a:lnTo>
                  <a:pt x="4" y="634"/>
                </a:lnTo>
                <a:lnTo>
                  <a:pt x="9" y="640"/>
                </a:lnTo>
                <a:lnTo>
                  <a:pt x="13" y="646"/>
                </a:lnTo>
                <a:lnTo>
                  <a:pt x="18" y="650"/>
                </a:lnTo>
                <a:lnTo>
                  <a:pt x="25" y="655"/>
                </a:lnTo>
                <a:lnTo>
                  <a:pt x="31" y="659"/>
                </a:lnTo>
                <a:lnTo>
                  <a:pt x="47" y="668"/>
                </a:lnTo>
                <a:lnTo>
                  <a:pt x="65" y="676"/>
                </a:lnTo>
                <a:lnTo>
                  <a:pt x="86" y="682"/>
                </a:lnTo>
                <a:lnTo>
                  <a:pt x="108" y="687"/>
                </a:lnTo>
                <a:lnTo>
                  <a:pt x="132" y="693"/>
                </a:lnTo>
                <a:lnTo>
                  <a:pt x="156" y="696"/>
                </a:lnTo>
                <a:lnTo>
                  <a:pt x="181" y="699"/>
                </a:lnTo>
                <a:lnTo>
                  <a:pt x="207" y="701"/>
                </a:lnTo>
                <a:lnTo>
                  <a:pt x="256" y="704"/>
                </a:lnTo>
                <a:lnTo>
                  <a:pt x="301" y="706"/>
                </a:lnTo>
                <a:lnTo>
                  <a:pt x="301" y="812"/>
                </a:lnTo>
                <a:lnTo>
                  <a:pt x="301" y="818"/>
                </a:lnTo>
                <a:lnTo>
                  <a:pt x="303" y="823"/>
                </a:lnTo>
                <a:lnTo>
                  <a:pt x="305" y="830"/>
                </a:lnTo>
                <a:lnTo>
                  <a:pt x="309" y="835"/>
                </a:lnTo>
                <a:lnTo>
                  <a:pt x="314" y="840"/>
                </a:lnTo>
                <a:lnTo>
                  <a:pt x="319" y="846"/>
                </a:lnTo>
                <a:lnTo>
                  <a:pt x="325" y="851"/>
                </a:lnTo>
                <a:lnTo>
                  <a:pt x="332" y="855"/>
                </a:lnTo>
                <a:lnTo>
                  <a:pt x="348" y="864"/>
                </a:lnTo>
                <a:lnTo>
                  <a:pt x="366" y="870"/>
                </a:lnTo>
                <a:lnTo>
                  <a:pt x="387" y="877"/>
                </a:lnTo>
                <a:lnTo>
                  <a:pt x="409" y="883"/>
                </a:lnTo>
                <a:lnTo>
                  <a:pt x="433" y="888"/>
                </a:lnTo>
                <a:lnTo>
                  <a:pt x="457" y="892"/>
                </a:lnTo>
                <a:lnTo>
                  <a:pt x="482" y="895"/>
                </a:lnTo>
                <a:lnTo>
                  <a:pt x="507" y="897"/>
                </a:lnTo>
                <a:lnTo>
                  <a:pt x="556" y="900"/>
                </a:lnTo>
                <a:lnTo>
                  <a:pt x="601" y="902"/>
                </a:lnTo>
                <a:lnTo>
                  <a:pt x="646" y="900"/>
                </a:lnTo>
                <a:lnTo>
                  <a:pt x="695" y="897"/>
                </a:lnTo>
                <a:lnTo>
                  <a:pt x="721" y="895"/>
                </a:lnTo>
                <a:lnTo>
                  <a:pt x="746" y="892"/>
                </a:lnTo>
                <a:lnTo>
                  <a:pt x="770" y="888"/>
                </a:lnTo>
                <a:lnTo>
                  <a:pt x="794" y="883"/>
                </a:lnTo>
                <a:lnTo>
                  <a:pt x="815" y="877"/>
                </a:lnTo>
                <a:lnTo>
                  <a:pt x="837" y="870"/>
                </a:lnTo>
                <a:lnTo>
                  <a:pt x="855" y="864"/>
                </a:lnTo>
                <a:lnTo>
                  <a:pt x="871" y="855"/>
                </a:lnTo>
                <a:lnTo>
                  <a:pt x="877" y="851"/>
                </a:lnTo>
                <a:lnTo>
                  <a:pt x="884" y="846"/>
                </a:lnTo>
                <a:lnTo>
                  <a:pt x="889" y="840"/>
                </a:lnTo>
                <a:lnTo>
                  <a:pt x="893" y="835"/>
                </a:lnTo>
                <a:lnTo>
                  <a:pt x="898" y="830"/>
                </a:lnTo>
                <a:lnTo>
                  <a:pt x="900" y="823"/>
                </a:lnTo>
                <a:lnTo>
                  <a:pt x="901" y="818"/>
                </a:lnTo>
                <a:lnTo>
                  <a:pt x="902" y="812"/>
                </a:lnTo>
                <a:lnTo>
                  <a:pt x="902" y="706"/>
                </a:lnTo>
                <a:lnTo>
                  <a:pt x="902" y="601"/>
                </a:lnTo>
                <a:lnTo>
                  <a:pt x="902" y="595"/>
                </a:lnTo>
                <a:lnTo>
                  <a:pt x="900" y="590"/>
                </a:lnTo>
                <a:lnTo>
                  <a:pt x="898" y="584"/>
                </a:lnTo>
                <a:lnTo>
                  <a:pt x="895" y="579"/>
                </a:lnTo>
                <a:lnTo>
                  <a:pt x="891" y="574"/>
                </a:lnTo>
                <a:lnTo>
                  <a:pt x="887" y="569"/>
                </a:lnTo>
                <a:lnTo>
                  <a:pt x="882" y="565"/>
                </a:lnTo>
                <a:lnTo>
                  <a:pt x="875" y="560"/>
                </a:lnTo>
                <a:lnTo>
                  <a:pt x="861" y="552"/>
                </a:lnTo>
                <a:lnTo>
                  <a:pt x="845" y="545"/>
                </a:lnTo>
                <a:lnTo>
                  <a:pt x="826" y="538"/>
                </a:lnTo>
                <a:lnTo>
                  <a:pt x="806" y="532"/>
                </a:lnTo>
                <a:lnTo>
                  <a:pt x="784" y="527"/>
                </a:lnTo>
                <a:lnTo>
                  <a:pt x="760" y="522"/>
                </a:lnTo>
                <a:lnTo>
                  <a:pt x="735" y="519"/>
                </a:lnTo>
                <a:lnTo>
                  <a:pt x="709" y="516"/>
                </a:lnTo>
                <a:lnTo>
                  <a:pt x="682" y="514"/>
                </a:lnTo>
                <a:lnTo>
                  <a:pt x="656" y="512"/>
                </a:lnTo>
                <a:lnTo>
                  <a:pt x="629" y="511"/>
                </a:lnTo>
                <a:lnTo>
                  <a:pt x="601" y="511"/>
                </a:lnTo>
                <a:lnTo>
                  <a:pt x="601" y="511"/>
                </a:lnTo>
                <a:close/>
              </a:path>
            </a:pathLst>
          </a:custGeom>
          <a:solidFill>
            <a:srgbClr val="E2583D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pSp>
        <p:nvGrpSpPr>
          <p:cNvPr id="27" name="Group 26"/>
          <p:cNvGrpSpPr/>
          <p:nvPr/>
        </p:nvGrpSpPr>
        <p:grpSpPr>
          <a:xfrm>
            <a:off x="5999386" y="1497592"/>
            <a:ext cx="284163" cy="284162"/>
            <a:chOff x="11033125" y="1349375"/>
            <a:chExt cx="284163" cy="284162"/>
          </a:xfrm>
          <a:solidFill>
            <a:srgbClr val="AFABAB"/>
          </a:solidFill>
        </p:grpSpPr>
        <p:sp>
          <p:nvSpPr>
            <p:cNvPr id="28" name="Freeform 331"/>
            <p:cNvSpPr>
              <a:spLocks noEditPoints="1"/>
            </p:cNvSpPr>
            <p:nvPr/>
          </p:nvSpPr>
          <p:spPr bwMode="auto">
            <a:xfrm>
              <a:off x="11133138" y="1385888"/>
              <a:ext cx="84138" cy="77787"/>
            </a:xfrm>
            <a:custGeom>
              <a:avLst/>
              <a:gdLst>
                <a:gd name="T0" fmla="*/ 167 w 268"/>
                <a:gd name="T1" fmla="*/ 133 h 246"/>
                <a:gd name="T2" fmla="*/ 164 w 268"/>
                <a:gd name="T3" fmla="*/ 142 h 246"/>
                <a:gd name="T4" fmla="*/ 178 w 268"/>
                <a:gd name="T5" fmla="*/ 188 h 246"/>
                <a:gd name="T6" fmla="*/ 139 w 268"/>
                <a:gd name="T7" fmla="*/ 157 h 246"/>
                <a:gd name="T8" fmla="*/ 129 w 268"/>
                <a:gd name="T9" fmla="*/ 157 h 246"/>
                <a:gd name="T10" fmla="*/ 90 w 268"/>
                <a:gd name="T11" fmla="*/ 188 h 246"/>
                <a:gd name="T12" fmla="*/ 105 w 268"/>
                <a:gd name="T13" fmla="*/ 142 h 246"/>
                <a:gd name="T14" fmla="*/ 101 w 268"/>
                <a:gd name="T15" fmla="*/ 133 h 246"/>
                <a:gd name="T16" fmla="*/ 58 w 268"/>
                <a:gd name="T17" fmla="*/ 97 h 246"/>
                <a:gd name="T18" fmla="*/ 109 w 268"/>
                <a:gd name="T19" fmla="*/ 96 h 246"/>
                <a:gd name="T20" fmla="*/ 115 w 268"/>
                <a:gd name="T21" fmla="*/ 91 h 246"/>
                <a:gd name="T22" fmla="*/ 133 w 268"/>
                <a:gd name="T23" fmla="*/ 52 h 246"/>
                <a:gd name="T24" fmla="*/ 153 w 268"/>
                <a:gd name="T25" fmla="*/ 91 h 246"/>
                <a:gd name="T26" fmla="*/ 160 w 268"/>
                <a:gd name="T27" fmla="*/ 96 h 246"/>
                <a:gd name="T28" fmla="*/ 212 w 268"/>
                <a:gd name="T29" fmla="*/ 97 h 246"/>
                <a:gd name="T30" fmla="*/ 254 w 268"/>
                <a:gd name="T31" fmla="*/ 67 h 246"/>
                <a:gd name="T32" fmla="*/ 146 w 268"/>
                <a:gd name="T33" fmla="*/ 9 h 246"/>
                <a:gd name="T34" fmla="*/ 141 w 268"/>
                <a:gd name="T35" fmla="*/ 3 h 246"/>
                <a:gd name="T36" fmla="*/ 132 w 268"/>
                <a:gd name="T37" fmla="*/ 0 h 246"/>
                <a:gd name="T38" fmla="*/ 125 w 268"/>
                <a:gd name="T39" fmla="*/ 3 h 246"/>
                <a:gd name="T40" fmla="*/ 120 w 268"/>
                <a:gd name="T41" fmla="*/ 9 h 246"/>
                <a:gd name="T42" fmla="*/ 15 w 268"/>
                <a:gd name="T43" fmla="*/ 67 h 246"/>
                <a:gd name="T44" fmla="*/ 6 w 268"/>
                <a:gd name="T45" fmla="*/ 69 h 246"/>
                <a:gd name="T46" fmla="*/ 1 w 268"/>
                <a:gd name="T47" fmla="*/ 76 h 246"/>
                <a:gd name="T48" fmla="*/ 0 w 268"/>
                <a:gd name="T49" fmla="*/ 86 h 246"/>
                <a:gd name="T50" fmla="*/ 5 w 268"/>
                <a:gd name="T51" fmla="*/ 93 h 246"/>
                <a:gd name="T52" fmla="*/ 46 w 268"/>
                <a:gd name="T53" fmla="*/ 226 h 246"/>
                <a:gd name="T54" fmla="*/ 46 w 268"/>
                <a:gd name="T55" fmla="*/ 236 h 246"/>
                <a:gd name="T56" fmla="*/ 51 w 268"/>
                <a:gd name="T57" fmla="*/ 243 h 246"/>
                <a:gd name="T58" fmla="*/ 60 w 268"/>
                <a:gd name="T59" fmla="*/ 246 h 246"/>
                <a:gd name="T60" fmla="*/ 69 w 268"/>
                <a:gd name="T61" fmla="*/ 242 h 246"/>
                <a:gd name="T62" fmla="*/ 200 w 268"/>
                <a:gd name="T63" fmla="*/ 242 h 246"/>
                <a:gd name="T64" fmla="*/ 209 w 268"/>
                <a:gd name="T65" fmla="*/ 246 h 246"/>
                <a:gd name="T66" fmla="*/ 218 w 268"/>
                <a:gd name="T67" fmla="*/ 243 h 246"/>
                <a:gd name="T68" fmla="*/ 223 w 268"/>
                <a:gd name="T69" fmla="*/ 236 h 246"/>
                <a:gd name="T70" fmla="*/ 223 w 268"/>
                <a:gd name="T71" fmla="*/ 226 h 246"/>
                <a:gd name="T72" fmla="*/ 263 w 268"/>
                <a:gd name="T73" fmla="*/ 93 h 246"/>
                <a:gd name="T74" fmla="*/ 268 w 268"/>
                <a:gd name="T75" fmla="*/ 86 h 246"/>
                <a:gd name="T76" fmla="*/ 268 w 268"/>
                <a:gd name="T77" fmla="*/ 76 h 246"/>
                <a:gd name="T78" fmla="*/ 263 w 268"/>
                <a:gd name="T79" fmla="*/ 69 h 246"/>
                <a:gd name="T80" fmla="*/ 254 w 268"/>
                <a:gd name="T81" fmla="*/ 67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68" h="246">
                  <a:moveTo>
                    <a:pt x="170" y="130"/>
                  </a:moveTo>
                  <a:lnTo>
                    <a:pt x="167" y="133"/>
                  </a:lnTo>
                  <a:lnTo>
                    <a:pt x="164" y="137"/>
                  </a:lnTo>
                  <a:lnTo>
                    <a:pt x="164" y="142"/>
                  </a:lnTo>
                  <a:lnTo>
                    <a:pt x="164" y="146"/>
                  </a:lnTo>
                  <a:lnTo>
                    <a:pt x="178" y="188"/>
                  </a:lnTo>
                  <a:lnTo>
                    <a:pt x="143" y="160"/>
                  </a:lnTo>
                  <a:lnTo>
                    <a:pt x="139" y="157"/>
                  </a:lnTo>
                  <a:lnTo>
                    <a:pt x="135" y="157"/>
                  </a:lnTo>
                  <a:lnTo>
                    <a:pt x="129" y="157"/>
                  </a:lnTo>
                  <a:lnTo>
                    <a:pt x="125" y="160"/>
                  </a:lnTo>
                  <a:lnTo>
                    <a:pt x="90" y="188"/>
                  </a:lnTo>
                  <a:lnTo>
                    <a:pt x="104" y="146"/>
                  </a:lnTo>
                  <a:lnTo>
                    <a:pt x="105" y="142"/>
                  </a:lnTo>
                  <a:lnTo>
                    <a:pt x="104" y="137"/>
                  </a:lnTo>
                  <a:lnTo>
                    <a:pt x="101" y="133"/>
                  </a:lnTo>
                  <a:lnTo>
                    <a:pt x="98" y="130"/>
                  </a:lnTo>
                  <a:lnTo>
                    <a:pt x="58" y="97"/>
                  </a:lnTo>
                  <a:lnTo>
                    <a:pt x="105" y="97"/>
                  </a:lnTo>
                  <a:lnTo>
                    <a:pt x="109" y="96"/>
                  </a:lnTo>
                  <a:lnTo>
                    <a:pt x="112" y="93"/>
                  </a:lnTo>
                  <a:lnTo>
                    <a:pt x="115" y="91"/>
                  </a:lnTo>
                  <a:lnTo>
                    <a:pt x="118" y="87"/>
                  </a:lnTo>
                  <a:lnTo>
                    <a:pt x="133" y="52"/>
                  </a:lnTo>
                  <a:lnTo>
                    <a:pt x="151" y="88"/>
                  </a:lnTo>
                  <a:lnTo>
                    <a:pt x="153" y="91"/>
                  </a:lnTo>
                  <a:lnTo>
                    <a:pt x="156" y="94"/>
                  </a:lnTo>
                  <a:lnTo>
                    <a:pt x="160" y="96"/>
                  </a:lnTo>
                  <a:lnTo>
                    <a:pt x="164" y="97"/>
                  </a:lnTo>
                  <a:lnTo>
                    <a:pt x="212" y="97"/>
                  </a:lnTo>
                  <a:lnTo>
                    <a:pt x="170" y="130"/>
                  </a:lnTo>
                  <a:close/>
                  <a:moveTo>
                    <a:pt x="254" y="67"/>
                  </a:moveTo>
                  <a:lnTo>
                    <a:pt x="174" y="67"/>
                  </a:lnTo>
                  <a:lnTo>
                    <a:pt x="146" y="9"/>
                  </a:lnTo>
                  <a:lnTo>
                    <a:pt x="144" y="5"/>
                  </a:lnTo>
                  <a:lnTo>
                    <a:pt x="141" y="3"/>
                  </a:lnTo>
                  <a:lnTo>
                    <a:pt x="138" y="0"/>
                  </a:lnTo>
                  <a:lnTo>
                    <a:pt x="132" y="0"/>
                  </a:lnTo>
                  <a:lnTo>
                    <a:pt x="129" y="0"/>
                  </a:lnTo>
                  <a:lnTo>
                    <a:pt x="125" y="3"/>
                  </a:lnTo>
                  <a:lnTo>
                    <a:pt x="122" y="6"/>
                  </a:lnTo>
                  <a:lnTo>
                    <a:pt x="120" y="9"/>
                  </a:lnTo>
                  <a:lnTo>
                    <a:pt x="95" y="67"/>
                  </a:lnTo>
                  <a:lnTo>
                    <a:pt x="15" y="67"/>
                  </a:lnTo>
                  <a:lnTo>
                    <a:pt x="10" y="67"/>
                  </a:lnTo>
                  <a:lnTo>
                    <a:pt x="6" y="69"/>
                  </a:lnTo>
                  <a:lnTo>
                    <a:pt x="3" y="72"/>
                  </a:lnTo>
                  <a:lnTo>
                    <a:pt x="1" y="76"/>
                  </a:lnTo>
                  <a:lnTo>
                    <a:pt x="0" y="81"/>
                  </a:lnTo>
                  <a:lnTo>
                    <a:pt x="0" y="86"/>
                  </a:lnTo>
                  <a:lnTo>
                    <a:pt x="2" y="89"/>
                  </a:lnTo>
                  <a:lnTo>
                    <a:pt x="5" y="93"/>
                  </a:lnTo>
                  <a:lnTo>
                    <a:pt x="71" y="146"/>
                  </a:lnTo>
                  <a:lnTo>
                    <a:pt x="46" y="226"/>
                  </a:lnTo>
                  <a:lnTo>
                    <a:pt x="45" y="231"/>
                  </a:lnTo>
                  <a:lnTo>
                    <a:pt x="46" y="236"/>
                  </a:lnTo>
                  <a:lnTo>
                    <a:pt x="48" y="240"/>
                  </a:lnTo>
                  <a:lnTo>
                    <a:pt x="51" y="243"/>
                  </a:lnTo>
                  <a:lnTo>
                    <a:pt x="55" y="245"/>
                  </a:lnTo>
                  <a:lnTo>
                    <a:pt x="60" y="246"/>
                  </a:lnTo>
                  <a:lnTo>
                    <a:pt x="65" y="245"/>
                  </a:lnTo>
                  <a:lnTo>
                    <a:pt x="69" y="242"/>
                  </a:lnTo>
                  <a:lnTo>
                    <a:pt x="135" y="190"/>
                  </a:lnTo>
                  <a:lnTo>
                    <a:pt x="200" y="242"/>
                  </a:lnTo>
                  <a:lnTo>
                    <a:pt x="204" y="245"/>
                  </a:lnTo>
                  <a:lnTo>
                    <a:pt x="209" y="246"/>
                  </a:lnTo>
                  <a:lnTo>
                    <a:pt x="214" y="245"/>
                  </a:lnTo>
                  <a:lnTo>
                    <a:pt x="218" y="243"/>
                  </a:lnTo>
                  <a:lnTo>
                    <a:pt x="221" y="240"/>
                  </a:lnTo>
                  <a:lnTo>
                    <a:pt x="223" y="236"/>
                  </a:lnTo>
                  <a:lnTo>
                    <a:pt x="224" y="231"/>
                  </a:lnTo>
                  <a:lnTo>
                    <a:pt x="223" y="226"/>
                  </a:lnTo>
                  <a:lnTo>
                    <a:pt x="197" y="146"/>
                  </a:lnTo>
                  <a:lnTo>
                    <a:pt x="263" y="93"/>
                  </a:lnTo>
                  <a:lnTo>
                    <a:pt x="266" y="89"/>
                  </a:lnTo>
                  <a:lnTo>
                    <a:pt x="268" y="86"/>
                  </a:lnTo>
                  <a:lnTo>
                    <a:pt x="268" y="81"/>
                  </a:lnTo>
                  <a:lnTo>
                    <a:pt x="268" y="76"/>
                  </a:lnTo>
                  <a:lnTo>
                    <a:pt x="266" y="72"/>
                  </a:lnTo>
                  <a:lnTo>
                    <a:pt x="263" y="69"/>
                  </a:lnTo>
                  <a:lnTo>
                    <a:pt x="259" y="67"/>
                  </a:lnTo>
                  <a:lnTo>
                    <a:pt x="254" y="67"/>
                  </a:lnTo>
                  <a:lnTo>
                    <a:pt x="254" y="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9" name="Freeform 332"/>
            <p:cNvSpPr>
              <a:spLocks noEditPoints="1"/>
            </p:cNvSpPr>
            <p:nvPr/>
          </p:nvSpPr>
          <p:spPr bwMode="auto">
            <a:xfrm>
              <a:off x="11033125" y="1349375"/>
              <a:ext cx="284163" cy="284162"/>
            </a:xfrm>
            <a:custGeom>
              <a:avLst/>
              <a:gdLst>
                <a:gd name="T0" fmla="*/ 794 w 898"/>
                <a:gd name="T1" fmla="*/ 181 h 897"/>
                <a:gd name="T2" fmla="*/ 861 w 898"/>
                <a:gd name="T3" fmla="*/ 209 h 897"/>
                <a:gd name="T4" fmla="*/ 817 w 898"/>
                <a:gd name="T5" fmla="*/ 324 h 897"/>
                <a:gd name="T6" fmla="*/ 756 w 898"/>
                <a:gd name="T7" fmla="*/ 367 h 897"/>
                <a:gd name="T8" fmla="*/ 527 w 898"/>
                <a:gd name="T9" fmla="*/ 521 h 897"/>
                <a:gd name="T10" fmla="*/ 479 w 898"/>
                <a:gd name="T11" fmla="*/ 583 h 897"/>
                <a:gd name="T12" fmla="*/ 476 w 898"/>
                <a:gd name="T13" fmla="*/ 697 h 897"/>
                <a:gd name="T14" fmla="*/ 533 w 898"/>
                <a:gd name="T15" fmla="*/ 793 h 897"/>
                <a:gd name="T16" fmla="*/ 628 w 898"/>
                <a:gd name="T17" fmla="*/ 867 h 897"/>
                <a:gd name="T18" fmla="*/ 354 w 898"/>
                <a:gd name="T19" fmla="*/ 803 h 897"/>
                <a:gd name="T20" fmla="*/ 415 w 898"/>
                <a:gd name="T21" fmla="*/ 720 h 897"/>
                <a:gd name="T22" fmla="*/ 421 w 898"/>
                <a:gd name="T23" fmla="*/ 595 h 897"/>
                <a:gd name="T24" fmla="*/ 379 w 898"/>
                <a:gd name="T25" fmla="*/ 528 h 897"/>
                <a:gd name="T26" fmla="*/ 275 w 898"/>
                <a:gd name="T27" fmla="*/ 460 h 897"/>
                <a:gd name="T28" fmla="*/ 195 w 898"/>
                <a:gd name="T29" fmla="*/ 371 h 897"/>
                <a:gd name="T30" fmla="*/ 151 w 898"/>
                <a:gd name="T31" fmla="*/ 260 h 897"/>
                <a:gd name="T32" fmla="*/ 127 w 898"/>
                <a:gd name="T33" fmla="*/ 91 h 897"/>
                <a:gd name="T34" fmla="*/ 767 w 898"/>
                <a:gd name="T35" fmla="*/ 145 h 897"/>
                <a:gd name="T36" fmla="*/ 737 w 898"/>
                <a:gd name="T37" fmla="*/ 296 h 897"/>
                <a:gd name="T38" fmla="*/ 688 w 898"/>
                <a:gd name="T39" fmla="*/ 393 h 897"/>
                <a:gd name="T40" fmla="*/ 590 w 898"/>
                <a:gd name="T41" fmla="*/ 480 h 897"/>
                <a:gd name="T42" fmla="*/ 54 w 898"/>
                <a:gd name="T43" fmla="*/ 280 h 897"/>
                <a:gd name="T44" fmla="*/ 30 w 898"/>
                <a:gd name="T45" fmla="*/ 116 h 897"/>
                <a:gd name="T46" fmla="*/ 112 w 898"/>
                <a:gd name="T47" fmla="*/ 221 h 897"/>
                <a:gd name="T48" fmla="*/ 140 w 898"/>
                <a:gd name="T49" fmla="*/ 367 h 897"/>
                <a:gd name="T50" fmla="*/ 89 w 898"/>
                <a:gd name="T51" fmla="*/ 336 h 897"/>
                <a:gd name="T52" fmla="*/ 893 w 898"/>
                <a:gd name="T53" fmla="*/ 64 h 897"/>
                <a:gd name="T54" fmla="*/ 803 w 898"/>
                <a:gd name="T55" fmla="*/ 37 h 897"/>
                <a:gd name="T56" fmla="*/ 797 w 898"/>
                <a:gd name="T57" fmla="*/ 2 h 897"/>
                <a:gd name="T58" fmla="*/ 102 w 898"/>
                <a:gd name="T59" fmla="*/ 2 h 897"/>
                <a:gd name="T60" fmla="*/ 96 w 898"/>
                <a:gd name="T61" fmla="*/ 37 h 897"/>
                <a:gd name="T62" fmla="*/ 5 w 898"/>
                <a:gd name="T63" fmla="*/ 64 h 897"/>
                <a:gd name="T64" fmla="*/ 0 w 898"/>
                <a:gd name="T65" fmla="*/ 117 h 897"/>
                <a:gd name="T66" fmla="*/ 15 w 898"/>
                <a:gd name="T67" fmla="*/ 258 h 897"/>
                <a:gd name="T68" fmla="*/ 80 w 898"/>
                <a:gd name="T69" fmla="*/ 368 h 897"/>
                <a:gd name="T70" fmla="*/ 179 w 898"/>
                <a:gd name="T71" fmla="*/ 403 h 897"/>
                <a:gd name="T72" fmla="*/ 293 w 898"/>
                <a:gd name="T73" fmla="*/ 507 h 897"/>
                <a:gd name="T74" fmla="*/ 371 w 898"/>
                <a:gd name="T75" fmla="*/ 564 h 897"/>
                <a:gd name="T76" fmla="*/ 395 w 898"/>
                <a:gd name="T77" fmla="*/ 625 h 897"/>
                <a:gd name="T78" fmla="*/ 374 w 898"/>
                <a:gd name="T79" fmla="*/ 743 h 897"/>
                <a:gd name="T80" fmla="*/ 301 w 898"/>
                <a:gd name="T81" fmla="*/ 789 h 897"/>
                <a:gd name="T82" fmla="*/ 244 w 898"/>
                <a:gd name="T83" fmla="*/ 797 h 897"/>
                <a:gd name="T84" fmla="*/ 241 w 898"/>
                <a:gd name="T85" fmla="*/ 888 h 897"/>
                <a:gd name="T86" fmla="*/ 643 w 898"/>
                <a:gd name="T87" fmla="*/ 897 h 897"/>
                <a:gd name="T88" fmla="*/ 658 w 898"/>
                <a:gd name="T89" fmla="*/ 886 h 897"/>
                <a:gd name="T90" fmla="*/ 652 w 898"/>
                <a:gd name="T91" fmla="*/ 795 h 897"/>
                <a:gd name="T92" fmla="*/ 580 w 898"/>
                <a:gd name="T93" fmla="*/ 783 h 897"/>
                <a:gd name="T94" fmla="*/ 515 w 898"/>
                <a:gd name="T95" fmla="*/ 720 h 897"/>
                <a:gd name="T96" fmla="*/ 502 w 898"/>
                <a:gd name="T97" fmla="*/ 614 h 897"/>
                <a:gd name="T98" fmla="*/ 531 w 898"/>
                <a:gd name="T99" fmla="*/ 556 h 897"/>
                <a:gd name="T100" fmla="*/ 621 w 898"/>
                <a:gd name="T101" fmla="*/ 496 h 897"/>
                <a:gd name="T102" fmla="*/ 734 w 898"/>
                <a:gd name="T103" fmla="*/ 402 h 897"/>
                <a:gd name="T104" fmla="*/ 827 w 898"/>
                <a:gd name="T105" fmla="*/ 357 h 897"/>
                <a:gd name="T106" fmla="*/ 876 w 898"/>
                <a:gd name="T107" fmla="*/ 272 h 897"/>
                <a:gd name="T108" fmla="*/ 898 w 898"/>
                <a:gd name="T109" fmla="*/ 140 h 8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98" h="897">
                  <a:moveTo>
                    <a:pt x="737" y="371"/>
                  </a:moveTo>
                  <a:lnTo>
                    <a:pt x="749" y="348"/>
                  </a:lnTo>
                  <a:lnTo>
                    <a:pt x="761" y="320"/>
                  </a:lnTo>
                  <a:lnTo>
                    <a:pt x="770" y="290"/>
                  </a:lnTo>
                  <a:lnTo>
                    <a:pt x="779" y="258"/>
                  </a:lnTo>
                  <a:lnTo>
                    <a:pt x="787" y="221"/>
                  </a:lnTo>
                  <a:lnTo>
                    <a:pt x="794" y="181"/>
                  </a:lnTo>
                  <a:lnTo>
                    <a:pt x="798" y="137"/>
                  </a:lnTo>
                  <a:lnTo>
                    <a:pt x="801" y="90"/>
                  </a:lnTo>
                  <a:lnTo>
                    <a:pt x="868" y="90"/>
                  </a:lnTo>
                  <a:lnTo>
                    <a:pt x="868" y="113"/>
                  </a:lnTo>
                  <a:lnTo>
                    <a:pt x="868" y="141"/>
                  </a:lnTo>
                  <a:lnTo>
                    <a:pt x="866" y="174"/>
                  </a:lnTo>
                  <a:lnTo>
                    <a:pt x="861" y="209"/>
                  </a:lnTo>
                  <a:lnTo>
                    <a:pt x="858" y="227"/>
                  </a:lnTo>
                  <a:lnTo>
                    <a:pt x="854" y="244"/>
                  </a:lnTo>
                  <a:lnTo>
                    <a:pt x="848" y="261"/>
                  </a:lnTo>
                  <a:lnTo>
                    <a:pt x="842" y="278"/>
                  </a:lnTo>
                  <a:lnTo>
                    <a:pt x="836" y="294"/>
                  </a:lnTo>
                  <a:lnTo>
                    <a:pt x="827" y="309"/>
                  </a:lnTo>
                  <a:lnTo>
                    <a:pt x="817" y="324"/>
                  </a:lnTo>
                  <a:lnTo>
                    <a:pt x="806" y="337"/>
                  </a:lnTo>
                  <a:lnTo>
                    <a:pt x="798" y="343"/>
                  </a:lnTo>
                  <a:lnTo>
                    <a:pt x="791" y="350"/>
                  </a:lnTo>
                  <a:lnTo>
                    <a:pt x="783" y="355"/>
                  </a:lnTo>
                  <a:lnTo>
                    <a:pt x="775" y="359"/>
                  </a:lnTo>
                  <a:lnTo>
                    <a:pt x="766" y="364"/>
                  </a:lnTo>
                  <a:lnTo>
                    <a:pt x="756" y="367"/>
                  </a:lnTo>
                  <a:lnTo>
                    <a:pt x="747" y="370"/>
                  </a:lnTo>
                  <a:lnTo>
                    <a:pt x="737" y="371"/>
                  </a:lnTo>
                  <a:lnTo>
                    <a:pt x="737" y="371"/>
                  </a:lnTo>
                  <a:close/>
                  <a:moveTo>
                    <a:pt x="574" y="490"/>
                  </a:moveTo>
                  <a:lnTo>
                    <a:pt x="553" y="503"/>
                  </a:lnTo>
                  <a:lnTo>
                    <a:pt x="535" y="514"/>
                  </a:lnTo>
                  <a:lnTo>
                    <a:pt x="527" y="521"/>
                  </a:lnTo>
                  <a:lnTo>
                    <a:pt x="518" y="528"/>
                  </a:lnTo>
                  <a:lnTo>
                    <a:pt x="509" y="536"/>
                  </a:lnTo>
                  <a:lnTo>
                    <a:pt x="502" y="543"/>
                  </a:lnTo>
                  <a:lnTo>
                    <a:pt x="496" y="552"/>
                  </a:lnTo>
                  <a:lnTo>
                    <a:pt x="489" y="561"/>
                  </a:lnTo>
                  <a:lnTo>
                    <a:pt x="484" y="572"/>
                  </a:lnTo>
                  <a:lnTo>
                    <a:pt x="479" y="583"/>
                  </a:lnTo>
                  <a:lnTo>
                    <a:pt x="476" y="595"/>
                  </a:lnTo>
                  <a:lnTo>
                    <a:pt x="473" y="607"/>
                  </a:lnTo>
                  <a:lnTo>
                    <a:pt x="471" y="621"/>
                  </a:lnTo>
                  <a:lnTo>
                    <a:pt x="471" y="637"/>
                  </a:lnTo>
                  <a:lnTo>
                    <a:pt x="472" y="659"/>
                  </a:lnTo>
                  <a:lnTo>
                    <a:pt x="473" y="678"/>
                  </a:lnTo>
                  <a:lnTo>
                    <a:pt x="476" y="697"/>
                  </a:lnTo>
                  <a:lnTo>
                    <a:pt x="481" y="714"/>
                  </a:lnTo>
                  <a:lnTo>
                    <a:pt x="486" y="730"/>
                  </a:lnTo>
                  <a:lnTo>
                    <a:pt x="493" y="745"/>
                  </a:lnTo>
                  <a:lnTo>
                    <a:pt x="501" y="759"/>
                  </a:lnTo>
                  <a:lnTo>
                    <a:pt x="510" y="771"/>
                  </a:lnTo>
                  <a:lnTo>
                    <a:pt x="521" y="783"/>
                  </a:lnTo>
                  <a:lnTo>
                    <a:pt x="533" y="793"/>
                  </a:lnTo>
                  <a:lnTo>
                    <a:pt x="546" y="800"/>
                  </a:lnTo>
                  <a:lnTo>
                    <a:pt x="560" y="807"/>
                  </a:lnTo>
                  <a:lnTo>
                    <a:pt x="576" y="813"/>
                  </a:lnTo>
                  <a:lnTo>
                    <a:pt x="592" y="817"/>
                  </a:lnTo>
                  <a:lnTo>
                    <a:pt x="610" y="820"/>
                  </a:lnTo>
                  <a:lnTo>
                    <a:pt x="628" y="822"/>
                  </a:lnTo>
                  <a:lnTo>
                    <a:pt x="628" y="867"/>
                  </a:lnTo>
                  <a:lnTo>
                    <a:pt x="270" y="867"/>
                  </a:lnTo>
                  <a:lnTo>
                    <a:pt x="270" y="822"/>
                  </a:lnTo>
                  <a:lnTo>
                    <a:pt x="289" y="820"/>
                  </a:lnTo>
                  <a:lnTo>
                    <a:pt x="307" y="818"/>
                  </a:lnTo>
                  <a:lnTo>
                    <a:pt x="324" y="814"/>
                  </a:lnTo>
                  <a:lnTo>
                    <a:pt x="340" y="810"/>
                  </a:lnTo>
                  <a:lnTo>
                    <a:pt x="354" y="803"/>
                  </a:lnTo>
                  <a:lnTo>
                    <a:pt x="366" y="796"/>
                  </a:lnTo>
                  <a:lnTo>
                    <a:pt x="378" y="786"/>
                  </a:lnTo>
                  <a:lnTo>
                    <a:pt x="387" y="775"/>
                  </a:lnTo>
                  <a:lnTo>
                    <a:pt x="396" y="764"/>
                  </a:lnTo>
                  <a:lnTo>
                    <a:pt x="404" y="751"/>
                  </a:lnTo>
                  <a:lnTo>
                    <a:pt x="410" y="736"/>
                  </a:lnTo>
                  <a:lnTo>
                    <a:pt x="415" y="720"/>
                  </a:lnTo>
                  <a:lnTo>
                    <a:pt x="420" y="702"/>
                  </a:lnTo>
                  <a:lnTo>
                    <a:pt x="423" y="681"/>
                  </a:lnTo>
                  <a:lnTo>
                    <a:pt x="425" y="660"/>
                  </a:lnTo>
                  <a:lnTo>
                    <a:pt x="425" y="637"/>
                  </a:lnTo>
                  <a:lnTo>
                    <a:pt x="425" y="621"/>
                  </a:lnTo>
                  <a:lnTo>
                    <a:pt x="423" y="607"/>
                  </a:lnTo>
                  <a:lnTo>
                    <a:pt x="421" y="595"/>
                  </a:lnTo>
                  <a:lnTo>
                    <a:pt x="416" y="583"/>
                  </a:lnTo>
                  <a:lnTo>
                    <a:pt x="412" y="572"/>
                  </a:lnTo>
                  <a:lnTo>
                    <a:pt x="407" y="561"/>
                  </a:lnTo>
                  <a:lnTo>
                    <a:pt x="401" y="553"/>
                  </a:lnTo>
                  <a:lnTo>
                    <a:pt x="394" y="544"/>
                  </a:lnTo>
                  <a:lnTo>
                    <a:pt x="386" y="536"/>
                  </a:lnTo>
                  <a:lnTo>
                    <a:pt x="379" y="528"/>
                  </a:lnTo>
                  <a:lnTo>
                    <a:pt x="370" y="522"/>
                  </a:lnTo>
                  <a:lnTo>
                    <a:pt x="362" y="516"/>
                  </a:lnTo>
                  <a:lnTo>
                    <a:pt x="344" y="503"/>
                  </a:lnTo>
                  <a:lnTo>
                    <a:pt x="324" y="491"/>
                  </a:lnTo>
                  <a:lnTo>
                    <a:pt x="308" y="481"/>
                  </a:lnTo>
                  <a:lnTo>
                    <a:pt x="292" y="472"/>
                  </a:lnTo>
                  <a:lnTo>
                    <a:pt x="275" y="460"/>
                  </a:lnTo>
                  <a:lnTo>
                    <a:pt x="258" y="446"/>
                  </a:lnTo>
                  <a:lnTo>
                    <a:pt x="242" y="431"/>
                  </a:lnTo>
                  <a:lnTo>
                    <a:pt x="226" y="414"/>
                  </a:lnTo>
                  <a:lnTo>
                    <a:pt x="217" y="404"/>
                  </a:lnTo>
                  <a:lnTo>
                    <a:pt x="210" y="394"/>
                  </a:lnTo>
                  <a:lnTo>
                    <a:pt x="202" y="383"/>
                  </a:lnTo>
                  <a:lnTo>
                    <a:pt x="195" y="371"/>
                  </a:lnTo>
                  <a:lnTo>
                    <a:pt x="188" y="358"/>
                  </a:lnTo>
                  <a:lnTo>
                    <a:pt x="181" y="344"/>
                  </a:lnTo>
                  <a:lnTo>
                    <a:pt x="174" y="329"/>
                  </a:lnTo>
                  <a:lnTo>
                    <a:pt x="167" y="313"/>
                  </a:lnTo>
                  <a:lnTo>
                    <a:pt x="162" y="297"/>
                  </a:lnTo>
                  <a:lnTo>
                    <a:pt x="157" y="279"/>
                  </a:lnTo>
                  <a:lnTo>
                    <a:pt x="151" y="260"/>
                  </a:lnTo>
                  <a:lnTo>
                    <a:pt x="146" y="240"/>
                  </a:lnTo>
                  <a:lnTo>
                    <a:pt x="142" y="218"/>
                  </a:lnTo>
                  <a:lnTo>
                    <a:pt x="137" y="196"/>
                  </a:lnTo>
                  <a:lnTo>
                    <a:pt x="134" y="172"/>
                  </a:lnTo>
                  <a:lnTo>
                    <a:pt x="131" y="147"/>
                  </a:lnTo>
                  <a:lnTo>
                    <a:pt x="129" y="120"/>
                  </a:lnTo>
                  <a:lnTo>
                    <a:pt x="127" y="91"/>
                  </a:lnTo>
                  <a:lnTo>
                    <a:pt x="126" y="61"/>
                  </a:lnTo>
                  <a:lnTo>
                    <a:pt x="126" y="30"/>
                  </a:lnTo>
                  <a:lnTo>
                    <a:pt x="774" y="30"/>
                  </a:lnTo>
                  <a:lnTo>
                    <a:pt x="774" y="61"/>
                  </a:lnTo>
                  <a:lnTo>
                    <a:pt x="771" y="91"/>
                  </a:lnTo>
                  <a:lnTo>
                    <a:pt x="770" y="119"/>
                  </a:lnTo>
                  <a:lnTo>
                    <a:pt x="767" y="145"/>
                  </a:lnTo>
                  <a:lnTo>
                    <a:pt x="765" y="171"/>
                  </a:lnTo>
                  <a:lnTo>
                    <a:pt x="761" y="195"/>
                  </a:lnTo>
                  <a:lnTo>
                    <a:pt x="758" y="217"/>
                  </a:lnTo>
                  <a:lnTo>
                    <a:pt x="753" y="239"/>
                  </a:lnTo>
                  <a:lnTo>
                    <a:pt x="748" y="259"/>
                  </a:lnTo>
                  <a:lnTo>
                    <a:pt x="743" y="278"/>
                  </a:lnTo>
                  <a:lnTo>
                    <a:pt x="737" y="296"/>
                  </a:lnTo>
                  <a:lnTo>
                    <a:pt x="731" y="312"/>
                  </a:lnTo>
                  <a:lnTo>
                    <a:pt x="724" y="328"/>
                  </a:lnTo>
                  <a:lnTo>
                    <a:pt x="718" y="343"/>
                  </a:lnTo>
                  <a:lnTo>
                    <a:pt x="710" y="356"/>
                  </a:lnTo>
                  <a:lnTo>
                    <a:pt x="704" y="369"/>
                  </a:lnTo>
                  <a:lnTo>
                    <a:pt x="697" y="382"/>
                  </a:lnTo>
                  <a:lnTo>
                    <a:pt x="688" y="393"/>
                  </a:lnTo>
                  <a:lnTo>
                    <a:pt x="681" y="403"/>
                  </a:lnTo>
                  <a:lnTo>
                    <a:pt x="673" y="413"/>
                  </a:lnTo>
                  <a:lnTo>
                    <a:pt x="656" y="430"/>
                  </a:lnTo>
                  <a:lnTo>
                    <a:pt x="640" y="445"/>
                  </a:lnTo>
                  <a:lnTo>
                    <a:pt x="623" y="459"/>
                  </a:lnTo>
                  <a:lnTo>
                    <a:pt x="606" y="471"/>
                  </a:lnTo>
                  <a:lnTo>
                    <a:pt x="590" y="480"/>
                  </a:lnTo>
                  <a:lnTo>
                    <a:pt x="574" y="490"/>
                  </a:lnTo>
                  <a:lnTo>
                    <a:pt x="574" y="490"/>
                  </a:lnTo>
                  <a:close/>
                  <a:moveTo>
                    <a:pt x="89" y="336"/>
                  </a:moveTo>
                  <a:lnTo>
                    <a:pt x="78" y="324"/>
                  </a:lnTo>
                  <a:lnTo>
                    <a:pt x="69" y="310"/>
                  </a:lnTo>
                  <a:lnTo>
                    <a:pt x="61" y="295"/>
                  </a:lnTo>
                  <a:lnTo>
                    <a:pt x="54" y="280"/>
                  </a:lnTo>
                  <a:lnTo>
                    <a:pt x="49" y="264"/>
                  </a:lnTo>
                  <a:lnTo>
                    <a:pt x="43" y="247"/>
                  </a:lnTo>
                  <a:lnTo>
                    <a:pt x="40" y="230"/>
                  </a:lnTo>
                  <a:lnTo>
                    <a:pt x="37" y="213"/>
                  </a:lnTo>
                  <a:lnTo>
                    <a:pt x="32" y="178"/>
                  </a:lnTo>
                  <a:lnTo>
                    <a:pt x="30" y="145"/>
                  </a:lnTo>
                  <a:lnTo>
                    <a:pt x="30" y="116"/>
                  </a:lnTo>
                  <a:lnTo>
                    <a:pt x="30" y="90"/>
                  </a:lnTo>
                  <a:lnTo>
                    <a:pt x="30" y="90"/>
                  </a:lnTo>
                  <a:lnTo>
                    <a:pt x="30" y="90"/>
                  </a:lnTo>
                  <a:lnTo>
                    <a:pt x="97" y="90"/>
                  </a:lnTo>
                  <a:lnTo>
                    <a:pt x="100" y="137"/>
                  </a:lnTo>
                  <a:lnTo>
                    <a:pt x="105" y="181"/>
                  </a:lnTo>
                  <a:lnTo>
                    <a:pt x="112" y="221"/>
                  </a:lnTo>
                  <a:lnTo>
                    <a:pt x="119" y="258"/>
                  </a:lnTo>
                  <a:lnTo>
                    <a:pt x="128" y="291"/>
                  </a:lnTo>
                  <a:lnTo>
                    <a:pt x="137" y="321"/>
                  </a:lnTo>
                  <a:lnTo>
                    <a:pt x="149" y="348"/>
                  </a:lnTo>
                  <a:lnTo>
                    <a:pt x="161" y="372"/>
                  </a:lnTo>
                  <a:lnTo>
                    <a:pt x="150" y="370"/>
                  </a:lnTo>
                  <a:lnTo>
                    <a:pt x="140" y="367"/>
                  </a:lnTo>
                  <a:lnTo>
                    <a:pt x="131" y="364"/>
                  </a:lnTo>
                  <a:lnTo>
                    <a:pt x="121" y="359"/>
                  </a:lnTo>
                  <a:lnTo>
                    <a:pt x="113" y="355"/>
                  </a:lnTo>
                  <a:lnTo>
                    <a:pt x="105" y="350"/>
                  </a:lnTo>
                  <a:lnTo>
                    <a:pt x="97" y="343"/>
                  </a:lnTo>
                  <a:lnTo>
                    <a:pt x="89" y="336"/>
                  </a:lnTo>
                  <a:lnTo>
                    <a:pt x="89" y="336"/>
                  </a:lnTo>
                  <a:close/>
                  <a:moveTo>
                    <a:pt x="898" y="86"/>
                  </a:moveTo>
                  <a:lnTo>
                    <a:pt x="898" y="80"/>
                  </a:lnTo>
                  <a:lnTo>
                    <a:pt x="898" y="75"/>
                  </a:lnTo>
                  <a:lnTo>
                    <a:pt x="898" y="72"/>
                  </a:lnTo>
                  <a:lnTo>
                    <a:pt x="897" y="70"/>
                  </a:lnTo>
                  <a:lnTo>
                    <a:pt x="895" y="66"/>
                  </a:lnTo>
                  <a:lnTo>
                    <a:pt x="893" y="64"/>
                  </a:lnTo>
                  <a:lnTo>
                    <a:pt x="891" y="62"/>
                  </a:lnTo>
                  <a:lnTo>
                    <a:pt x="889" y="61"/>
                  </a:lnTo>
                  <a:lnTo>
                    <a:pt x="886" y="60"/>
                  </a:lnTo>
                  <a:lnTo>
                    <a:pt x="883" y="60"/>
                  </a:lnTo>
                  <a:lnTo>
                    <a:pt x="802" y="60"/>
                  </a:lnTo>
                  <a:lnTo>
                    <a:pt x="803" y="49"/>
                  </a:lnTo>
                  <a:lnTo>
                    <a:pt x="803" y="37"/>
                  </a:lnTo>
                  <a:lnTo>
                    <a:pt x="803" y="27"/>
                  </a:lnTo>
                  <a:lnTo>
                    <a:pt x="803" y="15"/>
                  </a:lnTo>
                  <a:lnTo>
                    <a:pt x="803" y="12"/>
                  </a:lnTo>
                  <a:lnTo>
                    <a:pt x="802" y="10"/>
                  </a:lnTo>
                  <a:lnTo>
                    <a:pt x="801" y="6"/>
                  </a:lnTo>
                  <a:lnTo>
                    <a:pt x="799" y="4"/>
                  </a:lnTo>
                  <a:lnTo>
                    <a:pt x="797" y="2"/>
                  </a:lnTo>
                  <a:lnTo>
                    <a:pt x="795" y="1"/>
                  </a:lnTo>
                  <a:lnTo>
                    <a:pt x="792" y="0"/>
                  </a:lnTo>
                  <a:lnTo>
                    <a:pt x="789" y="0"/>
                  </a:lnTo>
                  <a:lnTo>
                    <a:pt x="111" y="0"/>
                  </a:lnTo>
                  <a:lnTo>
                    <a:pt x="107" y="0"/>
                  </a:lnTo>
                  <a:lnTo>
                    <a:pt x="104" y="1"/>
                  </a:lnTo>
                  <a:lnTo>
                    <a:pt x="102" y="2"/>
                  </a:lnTo>
                  <a:lnTo>
                    <a:pt x="100" y="4"/>
                  </a:lnTo>
                  <a:lnTo>
                    <a:pt x="98" y="6"/>
                  </a:lnTo>
                  <a:lnTo>
                    <a:pt x="97" y="10"/>
                  </a:lnTo>
                  <a:lnTo>
                    <a:pt x="96" y="12"/>
                  </a:lnTo>
                  <a:lnTo>
                    <a:pt x="96" y="15"/>
                  </a:lnTo>
                  <a:lnTo>
                    <a:pt x="96" y="27"/>
                  </a:lnTo>
                  <a:lnTo>
                    <a:pt x="96" y="37"/>
                  </a:lnTo>
                  <a:lnTo>
                    <a:pt x="96" y="49"/>
                  </a:lnTo>
                  <a:lnTo>
                    <a:pt x="96" y="60"/>
                  </a:lnTo>
                  <a:lnTo>
                    <a:pt x="15" y="60"/>
                  </a:lnTo>
                  <a:lnTo>
                    <a:pt x="12" y="60"/>
                  </a:lnTo>
                  <a:lnTo>
                    <a:pt x="10" y="61"/>
                  </a:lnTo>
                  <a:lnTo>
                    <a:pt x="7" y="62"/>
                  </a:lnTo>
                  <a:lnTo>
                    <a:pt x="5" y="64"/>
                  </a:lnTo>
                  <a:lnTo>
                    <a:pt x="4" y="66"/>
                  </a:lnTo>
                  <a:lnTo>
                    <a:pt x="1" y="70"/>
                  </a:lnTo>
                  <a:lnTo>
                    <a:pt x="1" y="72"/>
                  </a:lnTo>
                  <a:lnTo>
                    <a:pt x="0" y="75"/>
                  </a:lnTo>
                  <a:lnTo>
                    <a:pt x="0" y="82"/>
                  </a:lnTo>
                  <a:lnTo>
                    <a:pt x="0" y="90"/>
                  </a:lnTo>
                  <a:lnTo>
                    <a:pt x="0" y="117"/>
                  </a:lnTo>
                  <a:lnTo>
                    <a:pt x="0" y="149"/>
                  </a:lnTo>
                  <a:lnTo>
                    <a:pt x="1" y="166"/>
                  </a:lnTo>
                  <a:lnTo>
                    <a:pt x="3" y="184"/>
                  </a:lnTo>
                  <a:lnTo>
                    <a:pt x="5" y="202"/>
                  </a:lnTo>
                  <a:lnTo>
                    <a:pt x="8" y="220"/>
                  </a:lnTo>
                  <a:lnTo>
                    <a:pt x="11" y="240"/>
                  </a:lnTo>
                  <a:lnTo>
                    <a:pt x="15" y="258"/>
                  </a:lnTo>
                  <a:lnTo>
                    <a:pt x="21" y="277"/>
                  </a:lnTo>
                  <a:lnTo>
                    <a:pt x="28" y="294"/>
                  </a:lnTo>
                  <a:lnTo>
                    <a:pt x="36" y="311"/>
                  </a:lnTo>
                  <a:lnTo>
                    <a:pt x="45" y="328"/>
                  </a:lnTo>
                  <a:lnTo>
                    <a:pt x="56" y="343"/>
                  </a:lnTo>
                  <a:lnTo>
                    <a:pt x="68" y="357"/>
                  </a:lnTo>
                  <a:lnTo>
                    <a:pt x="80" y="368"/>
                  </a:lnTo>
                  <a:lnTo>
                    <a:pt x="91" y="376"/>
                  </a:lnTo>
                  <a:lnTo>
                    <a:pt x="104" y="384"/>
                  </a:lnTo>
                  <a:lnTo>
                    <a:pt x="118" y="390"/>
                  </a:lnTo>
                  <a:lnTo>
                    <a:pt x="132" y="396"/>
                  </a:lnTo>
                  <a:lnTo>
                    <a:pt x="147" y="400"/>
                  </a:lnTo>
                  <a:lnTo>
                    <a:pt x="163" y="402"/>
                  </a:lnTo>
                  <a:lnTo>
                    <a:pt x="179" y="403"/>
                  </a:lnTo>
                  <a:lnTo>
                    <a:pt x="195" y="425"/>
                  </a:lnTo>
                  <a:lnTo>
                    <a:pt x="211" y="443"/>
                  </a:lnTo>
                  <a:lnTo>
                    <a:pt x="227" y="459"/>
                  </a:lnTo>
                  <a:lnTo>
                    <a:pt x="243" y="473"/>
                  </a:lnTo>
                  <a:lnTo>
                    <a:pt x="260" y="486"/>
                  </a:lnTo>
                  <a:lnTo>
                    <a:pt x="276" y="497"/>
                  </a:lnTo>
                  <a:lnTo>
                    <a:pt x="293" y="507"/>
                  </a:lnTo>
                  <a:lnTo>
                    <a:pt x="308" y="517"/>
                  </a:lnTo>
                  <a:lnTo>
                    <a:pt x="328" y="528"/>
                  </a:lnTo>
                  <a:lnTo>
                    <a:pt x="345" y="539"/>
                  </a:lnTo>
                  <a:lnTo>
                    <a:pt x="352" y="545"/>
                  </a:lnTo>
                  <a:lnTo>
                    <a:pt x="359" y="551"/>
                  </a:lnTo>
                  <a:lnTo>
                    <a:pt x="366" y="557"/>
                  </a:lnTo>
                  <a:lnTo>
                    <a:pt x="371" y="564"/>
                  </a:lnTo>
                  <a:lnTo>
                    <a:pt x="377" y="570"/>
                  </a:lnTo>
                  <a:lnTo>
                    <a:pt x="382" y="578"/>
                  </a:lnTo>
                  <a:lnTo>
                    <a:pt x="385" y="585"/>
                  </a:lnTo>
                  <a:lnTo>
                    <a:pt x="390" y="594"/>
                  </a:lnTo>
                  <a:lnTo>
                    <a:pt x="392" y="603"/>
                  </a:lnTo>
                  <a:lnTo>
                    <a:pt x="394" y="614"/>
                  </a:lnTo>
                  <a:lnTo>
                    <a:pt x="395" y="625"/>
                  </a:lnTo>
                  <a:lnTo>
                    <a:pt x="395" y="636"/>
                  </a:lnTo>
                  <a:lnTo>
                    <a:pt x="395" y="660"/>
                  </a:lnTo>
                  <a:lnTo>
                    <a:pt x="393" y="681"/>
                  </a:lnTo>
                  <a:lnTo>
                    <a:pt x="390" y="699"/>
                  </a:lnTo>
                  <a:lnTo>
                    <a:pt x="385" y="717"/>
                  </a:lnTo>
                  <a:lnTo>
                    <a:pt x="380" y="730"/>
                  </a:lnTo>
                  <a:lnTo>
                    <a:pt x="374" y="743"/>
                  </a:lnTo>
                  <a:lnTo>
                    <a:pt x="366" y="754"/>
                  </a:lnTo>
                  <a:lnTo>
                    <a:pt x="358" y="764"/>
                  </a:lnTo>
                  <a:lnTo>
                    <a:pt x="348" y="771"/>
                  </a:lnTo>
                  <a:lnTo>
                    <a:pt x="338" y="778"/>
                  </a:lnTo>
                  <a:lnTo>
                    <a:pt x="327" y="783"/>
                  </a:lnTo>
                  <a:lnTo>
                    <a:pt x="314" y="786"/>
                  </a:lnTo>
                  <a:lnTo>
                    <a:pt x="301" y="789"/>
                  </a:lnTo>
                  <a:lnTo>
                    <a:pt x="287" y="791"/>
                  </a:lnTo>
                  <a:lnTo>
                    <a:pt x="271" y="793"/>
                  </a:lnTo>
                  <a:lnTo>
                    <a:pt x="255" y="793"/>
                  </a:lnTo>
                  <a:lnTo>
                    <a:pt x="252" y="793"/>
                  </a:lnTo>
                  <a:lnTo>
                    <a:pt x="250" y="794"/>
                  </a:lnTo>
                  <a:lnTo>
                    <a:pt x="246" y="795"/>
                  </a:lnTo>
                  <a:lnTo>
                    <a:pt x="244" y="797"/>
                  </a:lnTo>
                  <a:lnTo>
                    <a:pt x="242" y="799"/>
                  </a:lnTo>
                  <a:lnTo>
                    <a:pt x="241" y="802"/>
                  </a:lnTo>
                  <a:lnTo>
                    <a:pt x="240" y="804"/>
                  </a:lnTo>
                  <a:lnTo>
                    <a:pt x="240" y="807"/>
                  </a:lnTo>
                  <a:lnTo>
                    <a:pt x="240" y="882"/>
                  </a:lnTo>
                  <a:lnTo>
                    <a:pt x="240" y="886"/>
                  </a:lnTo>
                  <a:lnTo>
                    <a:pt x="241" y="888"/>
                  </a:lnTo>
                  <a:lnTo>
                    <a:pt x="242" y="891"/>
                  </a:lnTo>
                  <a:lnTo>
                    <a:pt x="244" y="893"/>
                  </a:lnTo>
                  <a:lnTo>
                    <a:pt x="246" y="894"/>
                  </a:lnTo>
                  <a:lnTo>
                    <a:pt x="250" y="896"/>
                  </a:lnTo>
                  <a:lnTo>
                    <a:pt x="252" y="897"/>
                  </a:lnTo>
                  <a:lnTo>
                    <a:pt x="255" y="897"/>
                  </a:lnTo>
                  <a:lnTo>
                    <a:pt x="643" y="897"/>
                  </a:lnTo>
                  <a:lnTo>
                    <a:pt x="646" y="897"/>
                  </a:lnTo>
                  <a:lnTo>
                    <a:pt x="649" y="896"/>
                  </a:lnTo>
                  <a:lnTo>
                    <a:pt x="652" y="894"/>
                  </a:lnTo>
                  <a:lnTo>
                    <a:pt x="654" y="893"/>
                  </a:lnTo>
                  <a:lnTo>
                    <a:pt x="656" y="891"/>
                  </a:lnTo>
                  <a:lnTo>
                    <a:pt x="657" y="888"/>
                  </a:lnTo>
                  <a:lnTo>
                    <a:pt x="658" y="886"/>
                  </a:lnTo>
                  <a:lnTo>
                    <a:pt x="658" y="882"/>
                  </a:lnTo>
                  <a:lnTo>
                    <a:pt x="658" y="807"/>
                  </a:lnTo>
                  <a:lnTo>
                    <a:pt x="658" y="804"/>
                  </a:lnTo>
                  <a:lnTo>
                    <a:pt x="657" y="802"/>
                  </a:lnTo>
                  <a:lnTo>
                    <a:pt x="656" y="799"/>
                  </a:lnTo>
                  <a:lnTo>
                    <a:pt x="654" y="797"/>
                  </a:lnTo>
                  <a:lnTo>
                    <a:pt x="652" y="795"/>
                  </a:lnTo>
                  <a:lnTo>
                    <a:pt x="649" y="794"/>
                  </a:lnTo>
                  <a:lnTo>
                    <a:pt x="646" y="793"/>
                  </a:lnTo>
                  <a:lnTo>
                    <a:pt x="643" y="793"/>
                  </a:lnTo>
                  <a:lnTo>
                    <a:pt x="626" y="791"/>
                  </a:lnTo>
                  <a:lnTo>
                    <a:pt x="610" y="790"/>
                  </a:lnTo>
                  <a:lnTo>
                    <a:pt x="594" y="787"/>
                  </a:lnTo>
                  <a:lnTo>
                    <a:pt x="580" y="783"/>
                  </a:lnTo>
                  <a:lnTo>
                    <a:pt x="567" y="778"/>
                  </a:lnTo>
                  <a:lnTo>
                    <a:pt x="555" y="771"/>
                  </a:lnTo>
                  <a:lnTo>
                    <a:pt x="545" y="764"/>
                  </a:lnTo>
                  <a:lnTo>
                    <a:pt x="535" y="755"/>
                  </a:lnTo>
                  <a:lnTo>
                    <a:pt x="528" y="744"/>
                  </a:lnTo>
                  <a:lnTo>
                    <a:pt x="520" y="733"/>
                  </a:lnTo>
                  <a:lnTo>
                    <a:pt x="515" y="720"/>
                  </a:lnTo>
                  <a:lnTo>
                    <a:pt x="509" y="706"/>
                  </a:lnTo>
                  <a:lnTo>
                    <a:pt x="505" y="691"/>
                  </a:lnTo>
                  <a:lnTo>
                    <a:pt x="503" y="674"/>
                  </a:lnTo>
                  <a:lnTo>
                    <a:pt x="501" y="657"/>
                  </a:lnTo>
                  <a:lnTo>
                    <a:pt x="501" y="637"/>
                  </a:lnTo>
                  <a:lnTo>
                    <a:pt x="501" y="625"/>
                  </a:lnTo>
                  <a:lnTo>
                    <a:pt x="502" y="614"/>
                  </a:lnTo>
                  <a:lnTo>
                    <a:pt x="504" y="603"/>
                  </a:lnTo>
                  <a:lnTo>
                    <a:pt x="507" y="594"/>
                  </a:lnTo>
                  <a:lnTo>
                    <a:pt x="510" y="585"/>
                  </a:lnTo>
                  <a:lnTo>
                    <a:pt x="515" y="578"/>
                  </a:lnTo>
                  <a:lnTo>
                    <a:pt x="519" y="570"/>
                  </a:lnTo>
                  <a:lnTo>
                    <a:pt x="524" y="563"/>
                  </a:lnTo>
                  <a:lnTo>
                    <a:pt x="531" y="556"/>
                  </a:lnTo>
                  <a:lnTo>
                    <a:pt x="537" y="550"/>
                  </a:lnTo>
                  <a:lnTo>
                    <a:pt x="545" y="544"/>
                  </a:lnTo>
                  <a:lnTo>
                    <a:pt x="552" y="539"/>
                  </a:lnTo>
                  <a:lnTo>
                    <a:pt x="569" y="527"/>
                  </a:lnTo>
                  <a:lnTo>
                    <a:pt x="589" y="516"/>
                  </a:lnTo>
                  <a:lnTo>
                    <a:pt x="605" y="506"/>
                  </a:lnTo>
                  <a:lnTo>
                    <a:pt x="621" y="496"/>
                  </a:lnTo>
                  <a:lnTo>
                    <a:pt x="637" y="484"/>
                  </a:lnTo>
                  <a:lnTo>
                    <a:pt x="654" y="473"/>
                  </a:lnTo>
                  <a:lnTo>
                    <a:pt x="670" y="459"/>
                  </a:lnTo>
                  <a:lnTo>
                    <a:pt x="687" y="443"/>
                  </a:lnTo>
                  <a:lnTo>
                    <a:pt x="703" y="425"/>
                  </a:lnTo>
                  <a:lnTo>
                    <a:pt x="718" y="403"/>
                  </a:lnTo>
                  <a:lnTo>
                    <a:pt x="734" y="402"/>
                  </a:lnTo>
                  <a:lnTo>
                    <a:pt x="750" y="400"/>
                  </a:lnTo>
                  <a:lnTo>
                    <a:pt x="764" y="396"/>
                  </a:lnTo>
                  <a:lnTo>
                    <a:pt x="778" y="390"/>
                  </a:lnTo>
                  <a:lnTo>
                    <a:pt x="792" y="384"/>
                  </a:lnTo>
                  <a:lnTo>
                    <a:pt x="805" y="376"/>
                  </a:lnTo>
                  <a:lnTo>
                    <a:pt x="816" y="368"/>
                  </a:lnTo>
                  <a:lnTo>
                    <a:pt x="827" y="357"/>
                  </a:lnTo>
                  <a:lnTo>
                    <a:pt x="833" y="350"/>
                  </a:lnTo>
                  <a:lnTo>
                    <a:pt x="840" y="342"/>
                  </a:lnTo>
                  <a:lnTo>
                    <a:pt x="846" y="335"/>
                  </a:lnTo>
                  <a:lnTo>
                    <a:pt x="852" y="326"/>
                  </a:lnTo>
                  <a:lnTo>
                    <a:pt x="861" y="309"/>
                  </a:lnTo>
                  <a:lnTo>
                    <a:pt x="869" y="291"/>
                  </a:lnTo>
                  <a:lnTo>
                    <a:pt x="876" y="272"/>
                  </a:lnTo>
                  <a:lnTo>
                    <a:pt x="882" y="252"/>
                  </a:lnTo>
                  <a:lnTo>
                    <a:pt x="887" y="233"/>
                  </a:lnTo>
                  <a:lnTo>
                    <a:pt x="890" y="214"/>
                  </a:lnTo>
                  <a:lnTo>
                    <a:pt x="893" y="195"/>
                  </a:lnTo>
                  <a:lnTo>
                    <a:pt x="895" y="175"/>
                  </a:lnTo>
                  <a:lnTo>
                    <a:pt x="897" y="157"/>
                  </a:lnTo>
                  <a:lnTo>
                    <a:pt x="898" y="140"/>
                  </a:lnTo>
                  <a:lnTo>
                    <a:pt x="898" y="110"/>
                  </a:lnTo>
                  <a:lnTo>
                    <a:pt x="898" y="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sp>
        <p:nvSpPr>
          <p:cNvPr id="50" name="Freeform 57"/>
          <p:cNvSpPr>
            <a:spLocks noEditPoints="1"/>
          </p:cNvSpPr>
          <p:nvPr/>
        </p:nvSpPr>
        <p:spPr bwMode="auto">
          <a:xfrm>
            <a:off x="2285177" y="3883505"/>
            <a:ext cx="728486" cy="728488"/>
          </a:xfrm>
          <a:custGeom>
            <a:avLst/>
            <a:gdLst>
              <a:gd name="T0" fmla="*/ 58 w 902"/>
              <a:gd name="T1" fmla="*/ 760 h 902"/>
              <a:gd name="T2" fmla="*/ 105 w 902"/>
              <a:gd name="T3" fmla="*/ 702 h 902"/>
              <a:gd name="T4" fmla="*/ 247 w 902"/>
              <a:gd name="T5" fmla="*/ 639 h 902"/>
              <a:gd name="T6" fmla="*/ 356 w 902"/>
              <a:gd name="T7" fmla="*/ 598 h 902"/>
              <a:gd name="T8" fmla="*/ 360 w 902"/>
              <a:gd name="T9" fmla="*/ 459 h 902"/>
              <a:gd name="T10" fmla="*/ 328 w 902"/>
              <a:gd name="T11" fmla="*/ 415 h 902"/>
              <a:gd name="T12" fmla="*/ 315 w 902"/>
              <a:gd name="T13" fmla="*/ 354 h 902"/>
              <a:gd name="T14" fmla="*/ 296 w 902"/>
              <a:gd name="T15" fmla="*/ 324 h 902"/>
              <a:gd name="T16" fmla="*/ 297 w 902"/>
              <a:gd name="T17" fmla="*/ 284 h 902"/>
              <a:gd name="T18" fmla="*/ 313 w 902"/>
              <a:gd name="T19" fmla="*/ 267 h 902"/>
              <a:gd name="T20" fmla="*/ 300 w 902"/>
              <a:gd name="T21" fmla="*/ 205 h 902"/>
              <a:gd name="T22" fmla="*/ 293 w 902"/>
              <a:gd name="T23" fmla="*/ 113 h 902"/>
              <a:gd name="T24" fmla="*/ 315 w 902"/>
              <a:gd name="T25" fmla="*/ 88 h 902"/>
              <a:gd name="T26" fmla="*/ 352 w 902"/>
              <a:gd name="T27" fmla="*/ 73 h 902"/>
              <a:gd name="T28" fmla="*/ 377 w 902"/>
              <a:gd name="T29" fmla="*/ 48 h 902"/>
              <a:gd name="T30" fmla="*/ 478 w 902"/>
              <a:gd name="T31" fmla="*/ 30 h 902"/>
              <a:gd name="T32" fmla="*/ 574 w 902"/>
              <a:gd name="T33" fmla="*/ 45 h 902"/>
              <a:gd name="T34" fmla="*/ 620 w 902"/>
              <a:gd name="T35" fmla="*/ 77 h 902"/>
              <a:gd name="T36" fmla="*/ 627 w 902"/>
              <a:gd name="T37" fmla="*/ 127 h 902"/>
              <a:gd name="T38" fmla="*/ 590 w 902"/>
              <a:gd name="T39" fmla="*/ 250 h 902"/>
              <a:gd name="T40" fmla="*/ 596 w 902"/>
              <a:gd name="T41" fmla="*/ 272 h 902"/>
              <a:gd name="T42" fmla="*/ 610 w 902"/>
              <a:gd name="T43" fmla="*/ 298 h 902"/>
              <a:gd name="T44" fmla="*/ 600 w 902"/>
              <a:gd name="T45" fmla="*/ 339 h 902"/>
              <a:gd name="T46" fmla="*/ 586 w 902"/>
              <a:gd name="T47" fmla="*/ 379 h 902"/>
              <a:gd name="T48" fmla="*/ 546 w 902"/>
              <a:gd name="T49" fmla="*/ 461 h 902"/>
              <a:gd name="T50" fmla="*/ 542 w 902"/>
              <a:gd name="T51" fmla="*/ 591 h 902"/>
              <a:gd name="T52" fmla="*/ 600 w 902"/>
              <a:gd name="T53" fmla="*/ 619 h 902"/>
              <a:gd name="T54" fmla="*/ 774 w 902"/>
              <a:gd name="T55" fmla="*/ 688 h 902"/>
              <a:gd name="T56" fmla="*/ 832 w 902"/>
              <a:gd name="T57" fmla="*/ 732 h 902"/>
              <a:gd name="T58" fmla="*/ 869 w 902"/>
              <a:gd name="T59" fmla="*/ 848 h 902"/>
              <a:gd name="T60" fmla="*/ 841 w 902"/>
              <a:gd name="T61" fmla="*/ 698 h 902"/>
              <a:gd name="T62" fmla="*/ 747 w 902"/>
              <a:gd name="T63" fmla="*/ 642 h 902"/>
              <a:gd name="T64" fmla="*/ 585 w 902"/>
              <a:gd name="T65" fmla="*/ 581 h 902"/>
              <a:gd name="T66" fmla="*/ 598 w 902"/>
              <a:gd name="T67" fmla="*/ 440 h 902"/>
              <a:gd name="T68" fmla="*/ 618 w 902"/>
              <a:gd name="T69" fmla="*/ 364 h 902"/>
              <a:gd name="T70" fmla="*/ 640 w 902"/>
              <a:gd name="T71" fmla="*/ 308 h 902"/>
              <a:gd name="T72" fmla="*/ 620 w 902"/>
              <a:gd name="T73" fmla="*/ 253 h 902"/>
              <a:gd name="T74" fmla="*/ 649 w 902"/>
              <a:gd name="T75" fmla="*/ 170 h 902"/>
              <a:gd name="T76" fmla="*/ 656 w 902"/>
              <a:gd name="T77" fmla="*/ 86 h 902"/>
              <a:gd name="T78" fmla="*/ 615 w 902"/>
              <a:gd name="T79" fmla="*/ 32 h 902"/>
              <a:gd name="T80" fmla="*/ 538 w 902"/>
              <a:gd name="T81" fmla="*/ 6 h 902"/>
              <a:gd name="T82" fmla="*/ 432 w 902"/>
              <a:gd name="T83" fmla="*/ 3 h 902"/>
              <a:gd name="T84" fmla="*/ 351 w 902"/>
              <a:gd name="T85" fmla="*/ 29 h 902"/>
              <a:gd name="T86" fmla="*/ 312 w 902"/>
              <a:gd name="T87" fmla="*/ 58 h 902"/>
              <a:gd name="T88" fmla="*/ 275 w 902"/>
              <a:gd name="T89" fmla="*/ 82 h 902"/>
              <a:gd name="T90" fmla="*/ 260 w 902"/>
              <a:gd name="T91" fmla="*/ 141 h 902"/>
              <a:gd name="T92" fmla="*/ 281 w 902"/>
              <a:gd name="T93" fmla="*/ 244 h 902"/>
              <a:gd name="T94" fmla="*/ 264 w 902"/>
              <a:gd name="T95" fmla="*/ 287 h 902"/>
              <a:gd name="T96" fmla="*/ 273 w 902"/>
              <a:gd name="T97" fmla="*/ 350 h 902"/>
              <a:gd name="T98" fmla="*/ 291 w 902"/>
              <a:gd name="T99" fmla="*/ 404 h 902"/>
              <a:gd name="T100" fmla="*/ 331 w 902"/>
              <a:gd name="T101" fmla="*/ 473 h 902"/>
              <a:gd name="T102" fmla="*/ 233 w 902"/>
              <a:gd name="T103" fmla="*/ 612 h 902"/>
              <a:gd name="T104" fmla="*/ 82 w 902"/>
              <a:gd name="T105" fmla="*/ 682 h 902"/>
              <a:gd name="T106" fmla="*/ 33 w 902"/>
              <a:gd name="T107" fmla="*/ 741 h 902"/>
              <a:gd name="T108" fmla="*/ 3 w 902"/>
              <a:gd name="T109" fmla="*/ 856 h 902"/>
              <a:gd name="T110" fmla="*/ 3 w 902"/>
              <a:gd name="T111" fmla="*/ 895 h 902"/>
              <a:gd name="T112" fmla="*/ 887 w 902"/>
              <a:gd name="T113" fmla="*/ 902 h 902"/>
              <a:gd name="T114" fmla="*/ 901 w 902"/>
              <a:gd name="T115" fmla="*/ 893 h 902"/>
              <a:gd name="T116" fmla="*/ 897 w 902"/>
              <a:gd name="T117" fmla="*/ 835 h 902"/>
              <a:gd name="T118" fmla="*/ 863 w 902"/>
              <a:gd name="T119" fmla="*/ 727 h 9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902" h="902">
                <a:moveTo>
                  <a:pt x="31" y="872"/>
                </a:moveTo>
                <a:lnTo>
                  <a:pt x="34" y="848"/>
                </a:lnTo>
                <a:lnTo>
                  <a:pt x="39" y="816"/>
                </a:lnTo>
                <a:lnTo>
                  <a:pt x="45" y="798"/>
                </a:lnTo>
                <a:lnTo>
                  <a:pt x="50" y="780"/>
                </a:lnTo>
                <a:lnTo>
                  <a:pt x="58" y="760"/>
                </a:lnTo>
                <a:lnTo>
                  <a:pt x="66" y="740"/>
                </a:lnTo>
                <a:lnTo>
                  <a:pt x="71" y="732"/>
                </a:lnTo>
                <a:lnTo>
                  <a:pt x="78" y="725"/>
                </a:lnTo>
                <a:lnTo>
                  <a:pt x="85" y="717"/>
                </a:lnTo>
                <a:lnTo>
                  <a:pt x="94" y="710"/>
                </a:lnTo>
                <a:lnTo>
                  <a:pt x="105" y="702"/>
                </a:lnTo>
                <a:lnTo>
                  <a:pt x="117" y="695"/>
                </a:lnTo>
                <a:lnTo>
                  <a:pt x="129" y="688"/>
                </a:lnTo>
                <a:lnTo>
                  <a:pt x="143" y="681"/>
                </a:lnTo>
                <a:lnTo>
                  <a:pt x="174" y="667"/>
                </a:lnTo>
                <a:lnTo>
                  <a:pt x="209" y="653"/>
                </a:lnTo>
                <a:lnTo>
                  <a:pt x="247" y="639"/>
                </a:lnTo>
                <a:lnTo>
                  <a:pt x="287" y="624"/>
                </a:lnTo>
                <a:lnTo>
                  <a:pt x="303" y="619"/>
                </a:lnTo>
                <a:lnTo>
                  <a:pt x="319" y="612"/>
                </a:lnTo>
                <a:lnTo>
                  <a:pt x="335" y="607"/>
                </a:lnTo>
                <a:lnTo>
                  <a:pt x="351" y="601"/>
                </a:lnTo>
                <a:lnTo>
                  <a:pt x="356" y="598"/>
                </a:lnTo>
                <a:lnTo>
                  <a:pt x="359" y="595"/>
                </a:lnTo>
                <a:lnTo>
                  <a:pt x="360" y="591"/>
                </a:lnTo>
                <a:lnTo>
                  <a:pt x="361" y="587"/>
                </a:lnTo>
                <a:lnTo>
                  <a:pt x="361" y="467"/>
                </a:lnTo>
                <a:lnTo>
                  <a:pt x="361" y="462"/>
                </a:lnTo>
                <a:lnTo>
                  <a:pt x="360" y="459"/>
                </a:lnTo>
                <a:lnTo>
                  <a:pt x="358" y="457"/>
                </a:lnTo>
                <a:lnTo>
                  <a:pt x="356" y="455"/>
                </a:lnTo>
                <a:lnTo>
                  <a:pt x="349" y="448"/>
                </a:lnTo>
                <a:lnTo>
                  <a:pt x="335" y="429"/>
                </a:lnTo>
                <a:lnTo>
                  <a:pt x="331" y="423"/>
                </a:lnTo>
                <a:lnTo>
                  <a:pt x="328" y="415"/>
                </a:lnTo>
                <a:lnTo>
                  <a:pt x="325" y="408"/>
                </a:lnTo>
                <a:lnTo>
                  <a:pt x="321" y="398"/>
                </a:lnTo>
                <a:lnTo>
                  <a:pt x="318" y="388"/>
                </a:lnTo>
                <a:lnTo>
                  <a:pt x="316" y="378"/>
                </a:lnTo>
                <a:lnTo>
                  <a:pt x="315" y="367"/>
                </a:lnTo>
                <a:lnTo>
                  <a:pt x="315" y="354"/>
                </a:lnTo>
                <a:lnTo>
                  <a:pt x="314" y="349"/>
                </a:lnTo>
                <a:lnTo>
                  <a:pt x="312" y="344"/>
                </a:lnTo>
                <a:lnTo>
                  <a:pt x="307" y="341"/>
                </a:lnTo>
                <a:lnTo>
                  <a:pt x="302" y="339"/>
                </a:lnTo>
                <a:lnTo>
                  <a:pt x="299" y="334"/>
                </a:lnTo>
                <a:lnTo>
                  <a:pt x="296" y="324"/>
                </a:lnTo>
                <a:lnTo>
                  <a:pt x="294" y="319"/>
                </a:lnTo>
                <a:lnTo>
                  <a:pt x="293" y="311"/>
                </a:lnTo>
                <a:lnTo>
                  <a:pt x="292" y="305"/>
                </a:lnTo>
                <a:lnTo>
                  <a:pt x="293" y="298"/>
                </a:lnTo>
                <a:lnTo>
                  <a:pt x="294" y="291"/>
                </a:lnTo>
                <a:lnTo>
                  <a:pt x="297" y="284"/>
                </a:lnTo>
                <a:lnTo>
                  <a:pt x="298" y="280"/>
                </a:lnTo>
                <a:lnTo>
                  <a:pt x="300" y="278"/>
                </a:lnTo>
                <a:lnTo>
                  <a:pt x="303" y="275"/>
                </a:lnTo>
                <a:lnTo>
                  <a:pt x="306" y="272"/>
                </a:lnTo>
                <a:lnTo>
                  <a:pt x="309" y="270"/>
                </a:lnTo>
                <a:lnTo>
                  <a:pt x="313" y="267"/>
                </a:lnTo>
                <a:lnTo>
                  <a:pt x="314" y="264"/>
                </a:lnTo>
                <a:lnTo>
                  <a:pt x="315" y="260"/>
                </a:lnTo>
                <a:lnTo>
                  <a:pt x="314" y="251"/>
                </a:lnTo>
                <a:lnTo>
                  <a:pt x="308" y="235"/>
                </a:lnTo>
                <a:lnTo>
                  <a:pt x="305" y="222"/>
                </a:lnTo>
                <a:lnTo>
                  <a:pt x="300" y="205"/>
                </a:lnTo>
                <a:lnTo>
                  <a:pt x="296" y="187"/>
                </a:lnTo>
                <a:lnTo>
                  <a:pt x="292" y="167"/>
                </a:lnTo>
                <a:lnTo>
                  <a:pt x="290" y="148"/>
                </a:lnTo>
                <a:lnTo>
                  <a:pt x="290" y="130"/>
                </a:lnTo>
                <a:lnTo>
                  <a:pt x="291" y="121"/>
                </a:lnTo>
                <a:lnTo>
                  <a:pt x="293" y="113"/>
                </a:lnTo>
                <a:lnTo>
                  <a:pt x="296" y="106"/>
                </a:lnTo>
                <a:lnTo>
                  <a:pt x="300" y="100"/>
                </a:lnTo>
                <a:lnTo>
                  <a:pt x="303" y="97"/>
                </a:lnTo>
                <a:lnTo>
                  <a:pt x="306" y="93"/>
                </a:lnTo>
                <a:lnTo>
                  <a:pt x="311" y="90"/>
                </a:lnTo>
                <a:lnTo>
                  <a:pt x="315" y="88"/>
                </a:lnTo>
                <a:lnTo>
                  <a:pt x="326" y="86"/>
                </a:lnTo>
                <a:lnTo>
                  <a:pt x="337" y="85"/>
                </a:lnTo>
                <a:lnTo>
                  <a:pt x="343" y="84"/>
                </a:lnTo>
                <a:lnTo>
                  <a:pt x="347" y="82"/>
                </a:lnTo>
                <a:lnTo>
                  <a:pt x="350" y="78"/>
                </a:lnTo>
                <a:lnTo>
                  <a:pt x="352" y="73"/>
                </a:lnTo>
                <a:lnTo>
                  <a:pt x="353" y="69"/>
                </a:lnTo>
                <a:lnTo>
                  <a:pt x="357" y="64"/>
                </a:lnTo>
                <a:lnTo>
                  <a:pt x="360" y="60"/>
                </a:lnTo>
                <a:lnTo>
                  <a:pt x="365" y="56"/>
                </a:lnTo>
                <a:lnTo>
                  <a:pt x="371" y="53"/>
                </a:lnTo>
                <a:lnTo>
                  <a:pt x="377" y="48"/>
                </a:lnTo>
                <a:lnTo>
                  <a:pt x="385" y="45"/>
                </a:lnTo>
                <a:lnTo>
                  <a:pt x="393" y="42"/>
                </a:lnTo>
                <a:lnTo>
                  <a:pt x="410" y="38"/>
                </a:lnTo>
                <a:lnTo>
                  <a:pt x="431" y="33"/>
                </a:lnTo>
                <a:lnTo>
                  <a:pt x="453" y="31"/>
                </a:lnTo>
                <a:lnTo>
                  <a:pt x="478" y="30"/>
                </a:lnTo>
                <a:lnTo>
                  <a:pt x="502" y="31"/>
                </a:lnTo>
                <a:lnTo>
                  <a:pt x="528" y="34"/>
                </a:lnTo>
                <a:lnTo>
                  <a:pt x="540" y="37"/>
                </a:lnTo>
                <a:lnTo>
                  <a:pt x="552" y="39"/>
                </a:lnTo>
                <a:lnTo>
                  <a:pt x="564" y="42"/>
                </a:lnTo>
                <a:lnTo>
                  <a:pt x="574" y="45"/>
                </a:lnTo>
                <a:lnTo>
                  <a:pt x="584" y="49"/>
                </a:lnTo>
                <a:lnTo>
                  <a:pt x="594" y="54"/>
                </a:lnTo>
                <a:lnTo>
                  <a:pt x="602" y="59"/>
                </a:lnTo>
                <a:lnTo>
                  <a:pt x="609" y="64"/>
                </a:lnTo>
                <a:lnTo>
                  <a:pt x="615" y="71"/>
                </a:lnTo>
                <a:lnTo>
                  <a:pt x="620" y="77"/>
                </a:lnTo>
                <a:lnTo>
                  <a:pt x="624" y="84"/>
                </a:lnTo>
                <a:lnTo>
                  <a:pt x="626" y="91"/>
                </a:lnTo>
                <a:lnTo>
                  <a:pt x="628" y="100"/>
                </a:lnTo>
                <a:lnTo>
                  <a:pt x="628" y="108"/>
                </a:lnTo>
                <a:lnTo>
                  <a:pt x="628" y="118"/>
                </a:lnTo>
                <a:lnTo>
                  <a:pt x="627" y="127"/>
                </a:lnTo>
                <a:lnTo>
                  <a:pt x="625" y="146"/>
                </a:lnTo>
                <a:lnTo>
                  <a:pt x="619" y="165"/>
                </a:lnTo>
                <a:lnTo>
                  <a:pt x="609" y="201"/>
                </a:lnTo>
                <a:lnTo>
                  <a:pt x="597" y="231"/>
                </a:lnTo>
                <a:lnTo>
                  <a:pt x="593" y="241"/>
                </a:lnTo>
                <a:lnTo>
                  <a:pt x="590" y="250"/>
                </a:lnTo>
                <a:lnTo>
                  <a:pt x="588" y="255"/>
                </a:lnTo>
                <a:lnTo>
                  <a:pt x="588" y="260"/>
                </a:lnTo>
                <a:lnTo>
                  <a:pt x="588" y="264"/>
                </a:lnTo>
                <a:lnTo>
                  <a:pt x="590" y="267"/>
                </a:lnTo>
                <a:lnTo>
                  <a:pt x="593" y="270"/>
                </a:lnTo>
                <a:lnTo>
                  <a:pt x="596" y="272"/>
                </a:lnTo>
                <a:lnTo>
                  <a:pt x="600" y="275"/>
                </a:lnTo>
                <a:lnTo>
                  <a:pt x="602" y="278"/>
                </a:lnTo>
                <a:lnTo>
                  <a:pt x="604" y="280"/>
                </a:lnTo>
                <a:lnTo>
                  <a:pt x="606" y="284"/>
                </a:lnTo>
                <a:lnTo>
                  <a:pt x="609" y="291"/>
                </a:lnTo>
                <a:lnTo>
                  <a:pt x="610" y="298"/>
                </a:lnTo>
                <a:lnTo>
                  <a:pt x="610" y="305"/>
                </a:lnTo>
                <a:lnTo>
                  <a:pt x="610" y="311"/>
                </a:lnTo>
                <a:lnTo>
                  <a:pt x="609" y="318"/>
                </a:lnTo>
                <a:lnTo>
                  <a:pt x="608" y="324"/>
                </a:lnTo>
                <a:lnTo>
                  <a:pt x="603" y="334"/>
                </a:lnTo>
                <a:lnTo>
                  <a:pt x="600" y="339"/>
                </a:lnTo>
                <a:lnTo>
                  <a:pt x="596" y="341"/>
                </a:lnTo>
                <a:lnTo>
                  <a:pt x="591" y="344"/>
                </a:lnTo>
                <a:lnTo>
                  <a:pt x="589" y="349"/>
                </a:lnTo>
                <a:lnTo>
                  <a:pt x="588" y="354"/>
                </a:lnTo>
                <a:lnTo>
                  <a:pt x="587" y="367"/>
                </a:lnTo>
                <a:lnTo>
                  <a:pt x="586" y="379"/>
                </a:lnTo>
                <a:lnTo>
                  <a:pt x="584" y="389"/>
                </a:lnTo>
                <a:lnTo>
                  <a:pt x="582" y="399"/>
                </a:lnTo>
                <a:lnTo>
                  <a:pt x="575" y="418"/>
                </a:lnTo>
                <a:lnTo>
                  <a:pt x="567" y="433"/>
                </a:lnTo>
                <a:lnTo>
                  <a:pt x="553" y="455"/>
                </a:lnTo>
                <a:lnTo>
                  <a:pt x="546" y="461"/>
                </a:lnTo>
                <a:lnTo>
                  <a:pt x="544" y="464"/>
                </a:lnTo>
                <a:lnTo>
                  <a:pt x="543" y="467"/>
                </a:lnTo>
                <a:lnTo>
                  <a:pt x="542" y="470"/>
                </a:lnTo>
                <a:lnTo>
                  <a:pt x="541" y="473"/>
                </a:lnTo>
                <a:lnTo>
                  <a:pt x="541" y="587"/>
                </a:lnTo>
                <a:lnTo>
                  <a:pt x="542" y="591"/>
                </a:lnTo>
                <a:lnTo>
                  <a:pt x="544" y="595"/>
                </a:lnTo>
                <a:lnTo>
                  <a:pt x="548" y="598"/>
                </a:lnTo>
                <a:lnTo>
                  <a:pt x="552" y="601"/>
                </a:lnTo>
                <a:lnTo>
                  <a:pt x="568" y="607"/>
                </a:lnTo>
                <a:lnTo>
                  <a:pt x="584" y="612"/>
                </a:lnTo>
                <a:lnTo>
                  <a:pt x="600" y="619"/>
                </a:lnTo>
                <a:lnTo>
                  <a:pt x="615" y="624"/>
                </a:lnTo>
                <a:lnTo>
                  <a:pt x="656" y="639"/>
                </a:lnTo>
                <a:lnTo>
                  <a:pt x="693" y="653"/>
                </a:lnTo>
                <a:lnTo>
                  <a:pt x="729" y="667"/>
                </a:lnTo>
                <a:lnTo>
                  <a:pt x="760" y="681"/>
                </a:lnTo>
                <a:lnTo>
                  <a:pt x="774" y="688"/>
                </a:lnTo>
                <a:lnTo>
                  <a:pt x="787" y="695"/>
                </a:lnTo>
                <a:lnTo>
                  <a:pt x="797" y="702"/>
                </a:lnTo>
                <a:lnTo>
                  <a:pt x="808" y="710"/>
                </a:lnTo>
                <a:lnTo>
                  <a:pt x="818" y="717"/>
                </a:lnTo>
                <a:lnTo>
                  <a:pt x="825" y="725"/>
                </a:lnTo>
                <a:lnTo>
                  <a:pt x="832" y="732"/>
                </a:lnTo>
                <a:lnTo>
                  <a:pt x="836" y="740"/>
                </a:lnTo>
                <a:lnTo>
                  <a:pt x="846" y="759"/>
                </a:lnTo>
                <a:lnTo>
                  <a:pt x="852" y="780"/>
                </a:lnTo>
                <a:lnTo>
                  <a:pt x="858" y="798"/>
                </a:lnTo>
                <a:lnTo>
                  <a:pt x="863" y="816"/>
                </a:lnTo>
                <a:lnTo>
                  <a:pt x="869" y="848"/>
                </a:lnTo>
                <a:lnTo>
                  <a:pt x="871" y="872"/>
                </a:lnTo>
                <a:lnTo>
                  <a:pt x="31" y="872"/>
                </a:lnTo>
                <a:close/>
                <a:moveTo>
                  <a:pt x="863" y="727"/>
                </a:moveTo>
                <a:lnTo>
                  <a:pt x="857" y="716"/>
                </a:lnTo>
                <a:lnTo>
                  <a:pt x="850" y="708"/>
                </a:lnTo>
                <a:lnTo>
                  <a:pt x="841" y="698"/>
                </a:lnTo>
                <a:lnTo>
                  <a:pt x="832" y="690"/>
                </a:lnTo>
                <a:lnTo>
                  <a:pt x="821" y="682"/>
                </a:lnTo>
                <a:lnTo>
                  <a:pt x="808" y="673"/>
                </a:lnTo>
                <a:lnTo>
                  <a:pt x="795" y="666"/>
                </a:lnTo>
                <a:lnTo>
                  <a:pt x="780" y="657"/>
                </a:lnTo>
                <a:lnTo>
                  <a:pt x="747" y="642"/>
                </a:lnTo>
                <a:lnTo>
                  <a:pt x="710" y="627"/>
                </a:lnTo>
                <a:lnTo>
                  <a:pt x="670" y="612"/>
                </a:lnTo>
                <a:lnTo>
                  <a:pt x="626" y="596"/>
                </a:lnTo>
                <a:lnTo>
                  <a:pt x="613" y="591"/>
                </a:lnTo>
                <a:lnTo>
                  <a:pt x="599" y="587"/>
                </a:lnTo>
                <a:lnTo>
                  <a:pt x="585" y="581"/>
                </a:lnTo>
                <a:lnTo>
                  <a:pt x="571" y="576"/>
                </a:lnTo>
                <a:lnTo>
                  <a:pt x="571" y="478"/>
                </a:lnTo>
                <a:lnTo>
                  <a:pt x="578" y="473"/>
                </a:lnTo>
                <a:lnTo>
                  <a:pt x="584" y="464"/>
                </a:lnTo>
                <a:lnTo>
                  <a:pt x="590" y="453"/>
                </a:lnTo>
                <a:lnTo>
                  <a:pt x="598" y="440"/>
                </a:lnTo>
                <a:lnTo>
                  <a:pt x="605" y="424"/>
                </a:lnTo>
                <a:lnTo>
                  <a:pt x="611" y="406"/>
                </a:lnTo>
                <a:lnTo>
                  <a:pt x="614" y="397"/>
                </a:lnTo>
                <a:lnTo>
                  <a:pt x="615" y="386"/>
                </a:lnTo>
                <a:lnTo>
                  <a:pt x="617" y="375"/>
                </a:lnTo>
                <a:lnTo>
                  <a:pt x="618" y="364"/>
                </a:lnTo>
                <a:lnTo>
                  <a:pt x="624" y="358"/>
                </a:lnTo>
                <a:lnTo>
                  <a:pt x="629" y="350"/>
                </a:lnTo>
                <a:lnTo>
                  <a:pt x="633" y="340"/>
                </a:lnTo>
                <a:lnTo>
                  <a:pt x="638" y="328"/>
                </a:lnTo>
                <a:lnTo>
                  <a:pt x="639" y="319"/>
                </a:lnTo>
                <a:lnTo>
                  <a:pt x="640" y="308"/>
                </a:lnTo>
                <a:lnTo>
                  <a:pt x="640" y="297"/>
                </a:lnTo>
                <a:lnTo>
                  <a:pt x="639" y="287"/>
                </a:lnTo>
                <a:lnTo>
                  <a:pt x="635" y="278"/>
                </a:lnTo>
                <a:lnTo>
                  <a:pt x="632" y="268"/>
                </a:lnTo>
                <a:lnTo>
                  <a:pt x="627" y="261"/>
                </a:lnTo>
                <a:lnTo>
                  <a:pt x="620" y="253"/>
                </a:lnTo>
                <a:lnTo>
                  <a:pt x="623" y="248"/>
                </a:lnTo>
                <a:lnTo>
                  <a:pt x="625" y="242"/>
                </a:lnTo>
                <a:lnTo>
                  <a:pt x="631" y="227"/>
                </a:lnTo>
                <a:lnTo>
                  <a:pt x="638" y="209"/>
                </a:lnTo>
                <a:lnTo>
                  <a:pt x="644" y="190"/>
                </a:lnTo>
                <a:lnTo>
                  <a:pt x="649" y="170"/>
                </a:lnTo>
                <a:lnTo>
                  <a:pt x="655" y="148"/>
                </a:lnTo>
                <a:lnTo>
                  <a:pt x="657" y="127"/>
                </a:lnTo>
                <a:lnTo>
                  <a:pt x="658" y="116"/>
                </a:lnTo>
                <a:lnTo>
                  <a:pt x="658" y="106"/>
                </a:lnTo>
                <a:lnTo>
                  <a:pt x="657" y="96"/>
                </a:lnTo>
                <a:lnTo>
                  <a:pt x="656" y="86"/>
                </a:lnTo>
                <a:lnTo>
                  <a:pt x="653" y="75"/>
                </a:lnTo>
                <a:lnTo>
                  <a:pt x="648" y="64"/>
                </a:lnTo>
                <a:lnTo>
                  <a:pt x="642" y="56"/>
                </a:lnTo>
                <a:lnTo>
                  <a:pt x="634" y="47"/>
                </a:lnTo>
                <a:lnTo>
                  <a:pt x="625" y="40"/>
                </a:lnTo>
                <a:lnTo>
                  <a:pt x="615" y="32"/>
                </a:lnTo>
                <a:lnTo>
                  <a:pt x="604" y="26"/>
                </a:lnTo>
                <a:lnTo>
                  <a:pt x="593" y="21"/>
                </a:lnTo>
                <a:lnTo>
                  <a:pt x="580" y="15"/>
                </a:lnTo>
                <a:lnTo>
                  <a:pt x="566" y="12"/>
                </a:lnTo>
                <a:lnTo>
                  <a:pt x="552" y="8"/>
                </a:lnTo>
                <a:lnTo>
                  <a:pt x="538" y="6"/>
                </a:lnTo>
                <a:lnTo>
                  <a:pt x="523" y="2"/>
                </a:lnTo>
                <a:lnTo>
                  <a:pt x="508" y="1"/>
                </a:lnTo>
                <a:lnTo>
                  <a:pt x="493" y="0"/>
                </a:lnTo>
                <a:lnTo>
                  <a:pt x="478" y="0"/>
                </a:lnTo>
                <a:lnTo>
                  <a:pt x="455" y="0"/>
                </a:lnTo>
                <a:lnTo>
                  <a:pt x="432" y="3"/>
                </a:lnTo>
                <a:lnTo>
                  <a:pt x="409" y="7"/>
                </a:lnTo>
                <a:lnTo>
                  <a:pt x="388" y="12"/>
                </a:lnTo>
                <a:lnTo>
                  <a:pt x="378" y="16"/>
                </a:lnTo>
                <a:lnTo>
                  <a:pt x="368" y="19"/>
                </a:lnTo>
                <a:lnTo>
                  <a:pt x="359" y="25"/>
                </a:lnTo>
                <a:lnTo>
                  <a:pt x="351" y="29"/>
                </a:lnTo>
                <a:lnTo>
                  <a:pt x="344" y="36"/>
                </a:lnTo>
                <a:lnTo>
                  <a:pt x="337" y="41"/>
                </a:lnTo>
                <a:lnTo>
                  <a:pt x="331" y="48"/>
                </a:lnTo>
                <a:lnTo>
                  <a:pt x="327" y="55"/>
                </a:lnTo>
                <a:lnTo>
                  <a:pt x="319" y="56"/>
                </a:lnTo>
                <a:lnTo>
                  <a:pt x="312" y="58"/>
                </a:lnTo>
                <a:lnTo>
                  <a:pt x="304" y="60"/>
                </a:lnTo>
                <a:lnTo>
                  <a:pt x="298" y="63"/>
                </a:lnTo>
                <a:lnTo>
                  <a:pt x="291" y="67"/>
                </a:lnTo>
                <a:lnTo>
                  <a:pt x="286" y="71"/>
                </a:lnTo>
                <a:lnTo>
                  <a:pt x="281" y="76"/>
                </a:lnTo>
                <a:lnTo>
                  <a:pt x="275" y="82"/>
                </a:lnTo>
                <a:lnTo>
                  <a:pt x="270" y="90"/>
                </a:lnTo>
                <a:lnTo>
                  <a:pt x="267" y="99"/>
                </a:lnTo>
                <a:lnTo>
                  <a:pt x="263" y="110"/>
                </a:lnTo>
                <a:lnTo>
                  <a:pt x="261" y="119"/>
                </a:lnTo>
                <a:lnTo>
                  <a:pt x="260" y="130"/>
                </a:lnTo>
                <a:lnTo>
                  <a:pt x="260" y="141"/>
                </a:lnTo>
                <a:lnTo>
                  <a:pt x="260" y="152"/>
                </a:lnTo>
                <a:lnTo>
                  <a:pt x="261" y="163"/>
                </a:lnTo>
                <a:lnTo>
                  <a:pt x="264" y="186"/>
                </a:lnTo>
                <a:lnTo>
                  <a:pt x="270" y="207"/>
                </a:lnTo>
                <a:lnTo>
                  <a:pt x="275" y="226"/>
                </a:lnTo>
                <a:lnTo>
                  <a:pt x="281" y="244"/>
                </a:lnTo>
                <a:lnTo>
                  <a:pt x="282" y="249"/>
                </a:lnTo>
                <a:lnTo>
                  <a:pt x="283" y="252"/>
                </a:lnTo>
                <a:lnTo>
                  <a:pt x="276" y="260"/>
                </a:lnTo>
                <a:lnTo>
                  <a:pt x="271" y="268"/>
                </a:lnTo>
                <a:lnTo>
                  <a:pt x="267" y="277"/>
                </a:lnTo>
                <a:lnTo>
                  <a:pt x="264" y="287"/>
                </a:lnTo>
                <a:lnTo>
                  <a:pt x="263" y="297"/>
                </a:lnTo>
                <a:lnTo>
                  <a:pt x="262" y="308"/>
                </a:lnTo>
                <a:lnTo>
                  <a:pt x="263" y="319"/>
                </a:lnTo>
                <a:lnTo>
                  <a:pt x="266" y="328"/>
                </a:lnTo>
                <a:lnTo>
                  <a:pt x="269" y="340"/>
                </a:lnTo>
                <a:lnTo>
                  <a:pt x="273" y="350"/>
                </a:lnTo>
                <a:lnTo>
                  <a:pt x="278" y="358"/>
                </a:lnTo>
                <a:lnTo>
                  <a:pt x="285" y="364"/>
                </a:lnTo>
                <a:lnTo>
                  <a:pt x="286" y="375"/>
                </a:lnTo>
                <a:lnTo>
                  <a:pt x="287" y="385"/>
                </a:lnTo>
                <a:lnTo>
                  <a:pt x="289" y="396"/>
                </a:lnTo>
                <a:lnTo>
                  <a:pt x="291" y="404"/>
                </a:lnTo>
                <a:lnTo>
                  <a:pt x="298" y="421"/>
                </a:lnTo>
                <a:lnTo>
                  <a:pt x="304" y="437"/>
                </a:lnTo>
                <a:lnTo>
                  <a:pt x="312" y="448"/>
                </a:lnTo>
                <a:lnTo>
                  <a:pt x="319" y="459"/>
                </a:lnTo>
                <a:lnTo>
                  <a:pt x="326" y="467"/>
                </a:lnTo>
                <a:lnTo>
                  <a:pt x="331" y="473"/>
                </a:lnTo>
                <a:lnTo>
                  <a:pt x="331" y="576"/>
                </a:lnTo>
                <a:lnTo>
                  <a:pt x="317" y="581"/>
                </a:lnTo>
                <a:lnTo>
                  <a:pt x="303" y="587"/>
                </a:lnTo>
                <a:lnTo>
                  <a:pt x="290" y="591"/>
                </a:lnTo>
                <a:lnTo>
                  <a:pt x="277" y="596"/>
                </a:lnTo>
                <a:lnTo>
                  <a:pt x="233" y="612"/>
                </a:lnTo>
                <a:lnTo>
                  <a:pt x="193" y="627"/>
                </a:lnTo>
                <a:lnTo>
                  <a:pt x="155" y="642"/>
                </a:lnTo>
                <a:lnTo>
                  <a:pt x="123" y="658"/>
                </a:lnTo>
                <a:lnTo>
                  <a:pt x="108" y="666"/>
                </a:lnTo>
                <a:lnTo>
                  <a:pt x="94" y="673"/>
                </a:lnTo>
                <a:lnTo>
                  <a:pt x="82" y="682"/>
                </a:lnTo>
                <a:lnTo>
                  <a:pt x="70" y="690"/>
                </a:lnTo>
                <a:lnTo>
                  <a:pt x="61" y="698"/>
                </a:lnTo>
                <a:lnTo>
                  <a:pt x="52" y="708"/>
                </a:lnTo>
                <a:lnTo>
                  <a:pt x="46" y="716"/>
                </a:lnTo>
                <a:lnTo>
                  <a:pt x="39" y="727"/>
                </a:lnTo>
                <a:lnTo>
                  <a:pt x="33" y="741"/>
                </a:lnTo>
                <a:lnTo>
                  <a:pt x="26" y="756"/>
                </a:lnTo>
                <a:lnTo>
                  <a:pt x="21" y="770"/>
                </a:lnTo>
                <a:lnTo>
                  <a:pt x="17" y="784"/>
                </a:lnTo>
                <a:lnTo>
                  <a:pt x="10" y="811"/>
                </a:lnTo>
                <a:lnTo>
                  <a:pt x="5" y="835"/>
                </a:lnTo>
                <a:lnTo>
                  <a:pt x="3" y="856"/>
                </a:lnTo>
                <a:lnTo>
                  <a:pt x="1" y="872"/>
                </a:lnTo>
                <a:lnTo>
                  <a:pt x="1" y="882"/>
                </a:lnTo>
                <a:lnTo>
                  <a:pt x="0" y="887"/>
                </a:lnTo>
                <a:lnTo>
                  <a:pt x="1" y="890"/>
                </a:lnTo>
                <a:lnTo>
                  <a:pt x="2" y="893"/>
                </a:lnTo>
                <a:lnTo>
                  <a:pt x="3" y="895"/>
                </a:lnTo>
                <a:lnTo>
                  <a:pt x="5" y="898"/>
                </a:lnTo>
                <a:lnTo>
                  <a:pt x="7" y="900"/>
                </a:lnTo>
                <a:lnTo>
                  <a:pt x="9" y="901"/>
                </a:lnTo>
                <a:lnTo>
                  <a:pt x="12" y="902"/>
                </a:lnTo>
                <a:lnTo>
                  <a:pt x="15" y="902"/>
                </a:lnTo>
                <a:lnTo>
                  <a:pt x="887" y="902"/>
                </a:lnTo>
                <a:lnTo>
                  <a:pt x="891" y="902"/>
                </a:lnTo>
                <a:lnTo>
                  <a:pt x="894" y="901"/>
                </a:lnTo>
                <a:lnTo>
                  <a:pt x="896" y="900"/>
                </a:lnTo>
                <a:lnTo>
                  <a:pt x="898" y="898"/>
                </a:lnTo>
                <a:lnTo>
                  <a:pt x="900" y="895"/>
                </a:lnTo>
                <a:lnTo>
                  <a:pt x="901" y="893"/>
                </a:lnTo>
                <a:lnTo>
                  <a:pt x="902" y="890"/>
                </a:lnTo>
                <a:lnTo>
                  <a:pt x="902" y="887"/>
                </a:lnTo>
                <a:lnTo>
                  <a:pt x="902" y="882"/>
                </a:lnTo>
                <a:lnTo>
                  <a:pt x="901" y="872"/>
                </a:lnTo>
                <a:lnTo>
                  <a:pt x="900" y="856"/>
                </a:lnTo>
                <a:lnTo>
                  <a:pt x="897" y="835"/>
                </a:lnTo>
                <a:lnTo>
                  <a:pt x="893" y="811"/>
                </a:lnTo>
                <a:lnTo>
                  <a:pt x="885" y="784"/>
                </a:lnTo>
                <a:lnTo>
                  <a:pt x="881" y="770"/>
                </a:lnTo>
                <a:lnTo>
                  <a:pt x="876" y="756"/>
                </a:lnTo>
                <a:lnTo>
                  <a:pt x="870" y="741"/>
                </a:lnTo>
                <a:lnTo>
                  <a:pt x="863" y="727"/>
                </a:lnTo>
                <a:close/>
              </a:path>
            </a:pathLst>
          </a:custGeom>
          <a:solidFill>
            <a:srgbClr val="E2583D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1" name="Freeform 57"/>
          <p:cNvSpPr>
            <a:spLocks noEditPoints="1"/>
          </p:cNvSpPr>
          <p:nvPr/>
        </p:nvSpPr>
        <p:spPr bwMode="auto">
          <a:xfrm>
            <a:off x="3051082" y="3883505"/>
            <a:ext cx="728486" cy="728488"/>
          </a:xfrm>
          <a:custGeom>
            <a:avLst/>
            <a:gdLst>
              <a:gd name="T0" fmla="*/ 58 w 902"/>
              <a:gd name="T1" fmla="*/ 760 h 902"/>
              <a:gd name="T2" fmla="*/ 105 w 902"/>
              <a:gd name="T3" fmla="*/ 702 h 902"/>
              <a:gd name="T4" fmla="*/ 247 w 902"/>
              <a:gd name="T5" fmla="*/ 639 h 902"/>
              <a:gd name="T6" fmla="*/ 356 w 902"/>
              <a:gd name="T7" fmla="*/ 598 h 902"/>
              <a:gd name="T8" fmla="*/ 360 w 902"/>
              <a:gd name="T9" fmla="*/ 459 h 902"/>
              <a:gd name="T10" fmla="*/ 328 w 902"/>
              <a:gd name="T11" fmla="*/ 415 h 902"/>
              <a:gd name="T12" fmla="*/ 315 w 902"/>
              <a:gd name="T13" fmla="*/ 354 h 902"/>
              <a:gd name="T14" fmla="*/ 296 w 902"/>
              <a:gd name="T15" fmla="*/ 324 h 902"/>
              <a:gd name="T16" fmla="*/ 297 w 902"/>
              <a:gd name="T17" fmla="*/ 284 h 902"/>
              <a:gd name="T18" fmla="*/ 313 w 902"/>
              <a:gd name="T19" fmla="*/ 267 h 902"/>
              <a:gd name="T20" fmla="*/ 300 w 902"/>
              <a:gd name="T21" fmla="*/ 205 h 902"/>
              <a:gd name="T22" fmla="*/ 293 w 902"/>
              <a:gd name="T23" fmla="*/ 113 h 902"/>
              <a:gd name="T24" fmla="*/ 315 w 902"/>
              <a:gd name="T25" fmla="*/ 88 h 902"/>
              <a:gd name="T26" fmla="*/ 352 w 902"/>
              <a:gd name="T27" fmla="*/ 73 h 902"/>
              <a:gd name="T28" fmla="*/ 377 w 902"/>
              <a:gd name="T29" fmla="*/ 48 h 902"/>
              <a:gd name="T30" fmla="*/ 478 w 902"/>
              <a:gd name="T31" fmla="*/ 30 h 902"/>
              <a:gd name="T32" fmla="*/ 574 w 902"/>
              <a:gd name="T33" fmla="*/ 45 h 902"/>
              <a:gd name="T34" fmla="*/ 620 w 902"/>
              <a:gd name="T35" fmla="*/ 77 h 902"/>
              <a:gd name="T36" fmla="*/ 627 w 902"/>
              <a:gd name="T37" fmla="*/ 127 h 902"/>
              <a:gd name="T38" fmla="*/ 590 w 902"/>
              <a:gd name="T39" fmla="*/ 250 h 902"/>
              <a:gd name="T40" fmla="*/ 596 w 902"/>
              <a:gd name="T41" fmla="*/ 272 h 902"/>
              <a:gd name="T42" fmla="*/ 610 w 902"/>
              <a:gd name="T43" fmla="*/ 298 h 902"/>
              <a:gd name="T44" fmla="*/ 600 w 902"/>
              <a:gd name="T45" fmla="*/ 339 h 902"/>
              <a:gd name="T46" fmla="*/ 586 w 902"/>
              <a:gd name="T47" fmla="*/ 379 h 902"/>
              <a:gd name="T48" fmla="*/ 546 w 902"/>
              <a:gd name="T49" fmla="*/ 461 h 902"/>
              <a:gd name="T50" fmla="*/ 542 w 902"/>
              <a:gd name="T51" fmla="*/ 591 h 902"/>
              <a:gd name="T52" fmla="*/ 600 w 902"/>
              <a:gd name="T53" fmla="*/ 619 h 902"/>
              <a:gd name="T54" fmla="*/ 774 w 902"/>
              <a:gd name="T55" fmla="*/ 688 h 902"/>
              <a:gd name="T56" fmla="*/ 832 w 902"/>
              <a:gd name="T57" fmla="*/ 732 h 902"/>
              <a:gd name="T58" fmla="*/ 869 w 902"/>
              <a:gd name="T59" fmla="*/ 848 h 902"/>
              <a:gd name="T60" fmla="*/ 841 w 902"/>
              <a:gd name="T61" fmla="*/ 698 h 902"/>
              <a:gd name="T62" fmla="*/ 747 w 902"/>
              <a:gd name="T63" fmla="*/ 642 h 902"/>
              <a:gd name="T64" fmla="*/ 585 w 902"/>
              <a:gd name="T65" fmla="*/ 581 h 902"/>
              <a:gd name="T66" fmla="*/ 598 w 902"/>
              <a:gd name="T67" fmla="*/ 440 h 902"/>
              <a:gd name="T68" fmla="*/ 618 w 902"/>
              <a:gd name="T69" fmla="*/ 364 h 902"/>
              <a:gd name="T70" fmla="*/ 640 w 902"/>
              <a:gd name="T71" fmla="*/ 308 h 902"/>
              <a:gd name="T72" fmla="*/ 620 w 902"/>
              <a:gd name="T73" fmla="*/ 253 h 902"/>
              <a:gd name="T74" fmla="*/ 649 w 902"/>
              <a:gd name="T75" fmla="*/ 170 h 902"/>
              <a:gd name="T76" fmla="*/ 656 w 902"/>
              <a:gd name="T77" fmla="*/ 86 h 902"/>
              <a:gd name="T78" fmla="*/ 615 w 902"/>
              <a:gd name="T79" fmla="*/ 32 h 902"/>
              <a:gd name="T80" fmla="*/ 538 w 902"/>
              <a:gd name="T81" fmla="*/ 6 h 902"/>
              <a:gd name="T82" fmla="*/ 432 w 902"/>
              <a:gd name="T83" fmla="*/ 3 h 902"/>
              <a:gd name="T84" fmla="*/ 351 w 902"/>
              <a:gd name="T85" fmla="*/ 29 h 902"/>
              <a:gd name="T86" fmla="*/ 312 w 902"/>
              <a:gd name="T87" fmla="*/ 58 h 902"/>
              <a:gd name="T88" fmla="*/ 275 w 902"/>
              <a:gd name="T89" fmla="*/ 82 h 902"/>
              <a:gd name="T90" fmla="*/ 260 w 902"/>
              <a:gd name="T91" fmla="*/ 141 h 902"/>
              <a:gd name="T92" fmla="*/ 281 w 902"/>
              <a:gd name="T93" fmla="*/ 244 h 902"/>
              <a:gd name="T94" fmla="*/ 264 w 902"/>
              <a:gd name="T95" fmla="*/ 287 h 902"/>
              <a:gd name="T96" fmla="*/ 273 w 902"/>
              <a:gd name="T97" fmla="*/ 350 h 902"/>
              <a:gd name="T98" fmla="*/ 291 w 902"/>
              <a:gd name="T99" fmla="*/ 404 h 902"/>
              <a:gd name="T100" fmla="*/ 331 w 902"/>
              <a:gd name="T101" fmla="*/ 473 h 902"/>
              <a:gd name="T102" fmla="*/ 233 w 902"/>
              <a:gd name="T103" fmla="*/ 612 h 902"/>
              <a:gd name="T104" fmla="*/ 82 w 902"/>
              <a:gd name="T105" fmla="*/ 682 h 902"/>
              <a:gd name="T106" fmla="*/ 33 w 902"/>
              <a:gd name="T107" fmla="*/ 741 h 902"/>
              <a:gd name="T108" fmla="*/ 3 w 902"/>
              <a:gd name="T109" fmla="*/ 856 h 902"/>
              <a:gd name="T110" fmla="*/ 3 w 902"/>
              <a:gd name="T111" fmla="*/ 895 h 902"/>
              <a:gd name="T112" fmla="*/ 887 w 902"/>
              <a:gd name="T113" fmla="*/ 902 h 902"/>
              <a:gd name="T114" fmla="*/ 901 w 902"/>
              <a:gd name="T115" fmla="*/ 893 h 902"/>
              <a:gd name="T116" fmla="*/ 897 w 902"/>
              <a:gd name="T117" fmla="*/ 835 h 902"/>
              <a:gd name="T118" fmla="*/ 863 w 902"/>
              <a:gd name="T119" fmla="*/ 727 h 9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902" h="902">
                <a:moveTo>
                  <a:pt x="31" y="872"/>
                </a:moveTo>
                <a:lnTo>
                  <a:pt x="34" y="848"/>
                </a:lnTo>
                <a:lnTo>
                  <a:pt x="39" y="816"/>
                </a:lnTo>
                <a:lnTo>
                  <a:pt x="45" y="798"/>
                </a:lnTo>
                <a:lnTo>
                  <a:pt x="50" y="780"/>
                </a:lnTo>
                <a:lnTo>
                  <a:pt x="58" y="760"/>
                </a:lnTo>
                <a:lnTo>
                  <a:pt x="66" y="740"/>
                </a:lnTo>
                <a:lnTo>
                  <a:pt x="71" y="732"/>
                </a:lnTo>
                <a:lnTo>
                  <a:pt x="78" y="725"/>
                </a:lnTo>
                <a:lnTo>
                  <a:pt x="85" y="717"/>
                </a:lnTo>
                <a:lnTo>
                  <a:pt x="94" y="710"/>
                </a:lnTo>
                <a:lnTo>
                  <a:pt x="105" y="702"/>
                </a:lnTo>
                <a:lnTo>
                  <a:pt x="117" y="695"/>
                </a:lnTo>
                <a:lnTo>
                  <a:pt x="129" y="688"/>
                </a:lnTo>
                <a:lnTo>
                  <a:pt x="143" y="681"/>
                </a:lnTo>
                <a:lnTo>
                  <a:pt x="174" y="667"/>
                </a:lnTo>
                <a:lnTo>
                  <a:pt x="209" y="653"/>
                </a:lnTo>
                <a:lnTo>
                  <a:pt x="247" y="639"/>
                </a:lnTo>
                <a:lnTo>
                  <a:pt x="287" y="624"/>
                </a:lnTo>
                <a:lnTo>
                  <a:pt x="303" y="619"/>
                </a:lnTo>
                <a:lnTo>
                  <a:pt x="319" y="612"/>
                </a:lnTo>
                <a:lnTo>
                  <a:pt x="335" y="607"/>
                </a:lnTo>
                <a:lnTo>
                  <a:pt x="351" y="601"/>
                </a:lnTo>
                <a:lnTo>
                  <a:pt x="356" y="598"/>
                </a:lnTo>
                <a:lnTo>
                  <a:pt x="359" y="595"/>
                </a:lnTo>
                <a:lnTo>
                  <a:pt x="360" y="591"/>
                </a:lnTo>
                <a:lnTo>
                  <a:pt x="361" y="587"/>
                </a:lnTo>
                <a:lnTo>
                  <a:pt x="361" y="467"/>
                </a:lnTo>
                <a:lnTo>
                  <a:pt x="361" y="462"/>
                </a:lnTo>
                <a:lnTo>
                  <a:pt x="360" y="459"/>
                </a:lnTo>
                <a:lnTo>
                  <a:pt x="358" y="457"/>
                </a:lnTo>
                <a:lnTo>
                  <a:pt x="356" y="455"/>
                </a:lnTo>
                <a:lnTo>
                  <a:pt x="349" y="448"/>
                </a:lnTo>
                <a:lnTo>
                  <a:pt x="335" y="429"/>
                </a:lnTo>
                <a:lnTo>
                  <a:pt x="331" y="423"/>
                </a:lnTo>
                <a:lnTo>
                  <a:pt x="328" y="415"/>
                </a:lnTo>
                <a:lnTo>
                  <a:pt x="325" y="408"/>
                </a:lnTo>
                <a:lnTo>
                  <a:pt x="321" y="398"/>
                </a:lnTo>
                <a:lnTo>
                  <a:pt x="318" y="388"/>
                </a:lnTo>
                <a:lnTo>
                  <a:pt x="316" y="378"/>
                </a:lnTo>
                <a:lnTo>
                  <a:pt x="315" y="367"/>
                </a:lnTo>
                <a:lnTo>
                  <a:pt x="315" y="354"/>
                </a:lnTo>
                <a:lnTo>
                  <a:pt x="314" y="349"/>
                </a:lnTo>
                <a:lnTo>
                  <a:pt x="312" y="344"/>
                </a:lnTo>
                <a:lnTo>
                  <a:pt x="307" y="341"/>
                </a:lnTo>
                <a:lnTo>
                  <a:pt x="302" y="339"/>
                </a:lnTo>
                <a:lnTo>
                  <a:pt x="299" y="334"/>
                </a:lnTo>
                <a:lnTo>
                  <a:pt x="296" y="324"/>
                </a:lnTo>
                <a:lnTo>
                  <a:pt x="294" y="319"/>
                </a:lnTo>
                <a:lnTo>
                  <a:pt x="293" y="311"/>
                </a:lnTo>
                <a:lnTo>
                  <a:pt x="292" y="305"/>
                </a:lnTo>
                <a:lnTo>
                  <a:pt x="293" y="298"/>
                </a:lnTo>
                <a:lnTo>
                  <a:pt x="294" y="291"/>
                </a:lnTo>
                <a:lnTo>
                  <a:pt x="297" y="284"/>
                </a:lnTo>
                <a:lnTo>
                  <a:pt x="298" y="280"/>
                </a:lnTo>
                <a:lnTo>
                  <a:pt x="300" y="278"/>
                </a:lnTo>
                <a:lnTo>
                  <a:pt x="303" y="275"/>
                </a:lnTo>
                <a:lnTo>
                  <a:pt x="306" y="272"/>
                </a:lnTo>
                <a:lnTo>
                  <a:pt x="309" y="270"/>
                </a:lnTo>
                <a:lnTo>
                  <a:pt x="313" y="267"/>
                </a:lnTo>
                <a:lnTo>
                  <a:pt x="314" y="264"/>
                </a:lnTo>
                <a:lnTo>
                  <a:pt x="315" y="260"/>
                </a:lnTo>
                <a:lnTo>
                  <a:pt x="314" y="251"/>
                </a:lnTo>
                <a:lnTo>
                  <a:pt x="308" y="235"/>
                </a:lnTo>
                <a:lnTo>
                  <a:pt x="305" y="222"/>
                </a:lnTo>
                <a:lnTo>
                  <a:pt x="300" y="205"/>
                </a:lnTo>
                <a:lnTo>
                  <a:pt x="296" y="187"/>
                </a:lnTo>
                <a:lnTo>
                  <a:pt x="292" y="167"/>
                </a:lnTo>
                <a:lnTo>
                  <a:pt x="290" y="148"/>
                </a:lnTo>
                <a:lnTo>
                  <a:pt x="290" y="130"/>
                </a:lnTo>
                <a:lnTo>
                  <a:pt x="291" y="121"/>
                </a:lnTo>
                <a:lnTo>
                  <a:pt x="293" y="113"/>
                </a:lnTo>
                <a:lnTo>
                  <a:pt x="296" y="106"/>
                </a:lnTo>
                <a:lnTo>
                  <a:pt x="300" y="100"/>
                </a:lnTo>
                <a:lnTo>
                  <a:pt x="303" y="97"/>
                </a:lnTo>
                <a:lnTo>
                  <a:pt x="306" y="93"/>
                </a:lnTo>
                <a:lnTo>
                  <a:pt x="311" y="90"/>
                </a:lnTo>
                <a:lnTo>
                  <a:pt x="315" y="88"/>
                </a:lnTo>
                <a:lnTo>
                  <a:pt x="326" y="86"/>
                </a:lnTo>
                <a:lnTo>
                  <a:pt x="337" y="85"/>
                </a:lnTo>
                <a:lnTo>
                  <a:pt x="343" y="84"/>
                </a:lnTo>
                <a:lnTo>
                  <a:pt x="347" y="82"/>
                </a:lnTo>
                <a:lnTo>
                  <a:pt x="350" y="78"/>
                </a:lnTo>
                <a:lnTo>
                  <a:pt x="352" y="73"/>
                </a:lnTo>
                <a:lnTo>
                  <a:pt x="353" y="69"/>
                </a:lnTo>
                <a:lnTo>
                  <a:pt x="357" y="64"/>
                </a:lnTo>
                <a:lnTo>
                  <a:pt x="360" y="60"/>
                </a:lnTo>
                <a:lnTo>
                  <a:pt x="365" y="56"/>
                </a:lnTo>
                <a:lnTo>
                  <a:pt x="371" y="53"/>
                </a:lnTo>
                <a:lnTo>
                  <a:pt x="377" y="48"/>
                </a:lnTo>
                <a:lnTo>
                  <a:pt x="385" y="45"/>
                </a:lnTo>
                <a:lnTo>
                  <a:pt x="393" y="42"/>
                </a:lnTo>
                <a:lnTo>
                  <a:pt x="410" y="38"/>
                </a:lnTo>
                <a:lnTo>
                  <a:pt x="431" y="33"/>
                </a:lnTo>
                <a:lnTo>
                  <a:pt x="453" y="31"/>
                </a:lnTo>
                <a:lnTo>
                  <a:pt x="478" y="30"/>
                </a:lnTo>
                <a:lnTo>
                  <a:pt x="502" y="31"/>
                </a:lnTo>
                <a:lnTo>
                  <a:pt x="528" y="34"/>
                </a:lnTo>
                <a:lnTo>
                  <a:pt x="540" y="37"/>
                </a:lnTo>
                <a:lnTo>
                  <a:pt x="552" y="39"/>
                </a:lnTo>
                <a:lnTo>
                  <a:pt x="564" y="42"/>
                </a:lnTo>
                <a:lnTo>
                  <a:pt x="574" y="45"/>
                </a:lnTo>
                <a:lnTo>
                  <a:pt x="584" y="49"/>
                </a:lnTo>
                <a:lnTo>
                  <a:pt x="594" y="54"/>
                </a:lnTo>
                <a:lnTo>
                  <a:pt x="602" y="59"/>
                </a:lnTo>
                <a:lnTo>
                  <a:pt x="609" y="64"/>
                </a:lnTo>
                <a:lnTo>
                  <a:pt x="615" y="71"/>
                </a:lnTo>
                <a:lnTo>
                  <a:pt x="620" y="77"/>
                </a:lnTo>
                <a:lnTo>
                  <a:pt x="624" y="84"/>
                </a:lnTo>
                <a:lnTo>
                  <a:pt x="626" y="91"/>
                </a:lnTo>
                <a:lnTo>
                  <a:pt x="628" y="100"/>
                </a:lnTo>
                <a:lnTo>
                  <a:pt x="628" y="108"/>
                </a:lnTo>
                <a:lnTo>
                  <a:pt x="628" y="118"/>
                </a:lnTo>
                <a:lnTo>
                  <a:pt x="627" y="127"/>
                </a:lnTo>
                <a:lnTo>
                  <a:pt x="625" y="146"/>
                </a:lnTo>
                <a:lnTo>
                  <a:pt x="619" y="165"/>
                </a:lnTo>
                <a:lnTo>
                  <a:pt x="609" y="201"/>
                </a:lnTo>
                <a:lnTo>
                  <a:pt x="597" y="231"/>
                </a:lnTo>
                <a:lnTo>
                  <a:pt x="593" y="241"/>
                </a:lnTo>
                <a:lnTo>
                  <a:pt x="590" y="250"/>
                </a:lnTo>
                <a:lnTo>
                  <a:pt x="588" y="255"/>
                </a:lnTo>
                <a:lnTo>
                  <a:pt x="588" y="260"/>
                </a:lnTo>
                <a:lnTo>
                  <a:pt x="588" y="264"/>
                </a:lnTo>
                <a:lnTo>
                  <a:pt x="590" y="267"/>
                </a:lnTo>
                <a:lnTo>
                  <a:pt x="593" y="270"/>
                </a:lnTo>
                <a:lnTo>
                  <a:pt x="596" y="272"/>
                </a:lnTo>
                <a:lnTo>
                  <a:pt x="600" y="275"/>
                </a:lnTo>
                <a:lnTo>
                  <a:pt x="602" y="278"/>
                </a:lnTo>
                <a:lnTo>
                  <a:pt x="604" y="280"/>
                </a:lnTo>
                <a:lnTo>
                  <a:pt x="606" y="284"/>
                </a:lnTo>
                <a:lnTo>
                  <a:pt x="609" y="291"/>
                </a:lnTo>
                <a:lnTo>
                  <a:pt x="610" y="298"/>
                </a:lnTo>
                <a:lnTo>
                  <a:pt x="610" y="305"/>
                </a:lnTo>
                <a:lnTo>
                  <a:pt x="610" y="311"/>
                </a:lnTo>
                <a:lnTo>
                  <a:pt x="609" y="318"/>
                </a:lnTo>
                <a:lnTo>
                  <a:pt x="608" y="324"/>
                </a:lnTo>
                <a:lnTo>
                  <a:pt x="603" y="334"/>
                </a:lnTo>
                <a:lnTo>
                  <a:pt x="600" y="339"/>
                </a:lnTo>
                <a:lnTo>
                  <a:pt x="596" y="341"/>
                </a:lnTo>
                <a:lnTo>
                  <a:pt x="591" y="344"/>
                </a:lnTo>
                <a:lnTo>
                  <a:pt x="589" y="349"/>
                </a:lnTo>
                <a:lnTo>
                  <a:pt x="588" y="354"/>
                </a:lnTo>
                <a:lnTo>
                  <a:pt x="587" y="367"/>
                </a:lnTo>
                <a:lnTo>
                  <a:pt x="586" y="379"/>
                </a:lnTo>
                <a:lnTo>
                  <a:pt x="584" y="389"/>
                </a:lnTo>
                <a:lnTo>
                  <a:pt x="582" y="399"/>
                </a:lnTo>
                <a:lnTo>
                  <a:pt x="575" y="418"/>
                </a:lnTo>
                <a:lnTo>
                  <a:pt x="567" y="433"/>
                </a:lnTo>
                <a:lnTo>
                  <a:pt x="553" y="455"/>
                </a:lnTo>
                <a:lnTo>
                  <a:pt x="546" y="461"/>
                </a:lnTo>
                <a:lnTo>
                  <a:pt x="544" y="464"/>
                </a:lnTo>
                <a:lnTo>
                  <a:pt x="543" y="467"/>
                </a:lnTo>
                <a:lnTo>
                  <a:pt x="542" y="470"/>
                </a:lnTo>
                <a:lnTo>
                  <a:pt x="541" y="473"/>
                </a:lnTo>
                <a:lnTo>
                  <a:pt x="541" y="587"/>
                </a:lnTo>
                <a:lnTo>
                  <a:pt x="542" y="591"/>
                </a:lnTo>
                <a:lnTo>
                  <a:pt x="544" y="595"/>
                </a:lnTo>
                <a:lnTo>
                  <a:pt x="548" y="598"/>
                </a:lnTo>
                <a:lnTo>
                  <a:pt x="552" y="601"/>
                </a:lnTo>
                <a:lnTo>
                  <a:pt x="568" y="607"/>
                </a:lnTo>
                <a:lnTo>
                  <a:pt x="584" y="612"/>
                </a:lnTo>
                <a:lnTo>
                  <a:pt x="600" y="619"/>
                </a:lnTo>
                <a:lnTo>
                  <a:pt x="615" y="624"/>
                </a:lnTo>
                <a:lnTo>
                  <a:pt x="656" y="639"/>
                </a:lnTo>
                <a:lnTo>
                  <a:pt x="693" y="653"/>
                </a:lnTo>
                <a:lnTo>
                  <a:pt x="729" y="667"/>
                </a:lnTo>
                <a:lnTo>
                  <a:pt x="760" y="681"/>
                </a:lnTo>
                <a:lnTo>
                  <a:pt x="774" y="688"/>
                </a:lnTo>
                <a:lnTo>
                  <a:pt x="787" y="695"/>
                </a:lnTo>
                <a:lnTo>
                  <a:pt x="797" y="702"/>
                </a:lnTo>
                <a:lnTo>
                  <a:pt x="808" y="710"/>
                </a:lnTo>
                <a:lnTo>
                  <a:pt x="818" y="717"/>
                </a:lnTo>
                <a:lnTo>
                  <a:pt x="825" y="725"/>
                </a:lnTo>
                <a:lnTo>
                  <a:pt x="832" y="732"/>
                </a:lnTo>
                <a:lnTo>
                  <a:pt x="836" y="740"/>
                </a:lnTo>
                <a:lnTo>
                  <a:pt x="846" y="759"/>
                </a:lnTo>
                <a:lnTo>
                  <a:pt x="852" y="780"/>
                </a:lnTo>
                <a:lnTo>
                  <a:pt x="858" y="798"/>
                </a:lnTo>
                <a:lnTo>
                  <a:pt x="863" y="816"/>
                </a:lnTo>
                <a:lnTo>
                  <a:pt x="869" y="848"/>
                </a:lnTo>
                <a:lnTo>
                  <a:pt x="871" y="872"/>
                </a:lnTo>
                <a:lnTo>
                  <a:pt x="31" y="872"/>
                </a:lnTo>
                <a:close/>
                <a:moveTo>
                  <a:pt x="863" y="727"/>
                </a:moveTo>
                <a:lnTo>
                  <a:pt x="857" y="716"/>
                </a:lnTo>
                <a:lnTo>
                  <a:pt x="850" y="708"/>
                </a:lnTo>
                <a:lnTo>
                  <a:pt x="841" y="698"/>
                </a:lnTo>
                <a:lnTo>
                  <a:pt x="832" y="690"/>
                </a:lnTo>
                <a:lnTo>
                  <a:pt x="821" y="682"/>
                </a:lnTo>
                <a:lnTo>
                  <a:pt x="808" y="673"/>
                </a:lnTo>
                <a:lnTo>
                  <a:pt x="795" y="666"/>
                </a:lnTo>
                <a:lnTo>
                  <a:pt x="780" y="657"/>
                </a:lnTo>
                <a:lnTo>
                  <a:pt x="747" y="642"/>
                </a:lnTo>
                <a:lnTo>
                  <a:pt x="710" y="627"/>
                </a:lnTo>
                <a:lnTo>
                  <a:pt x="670" y="612"/>
                </a:lnTo>
                <a:lnTo>
                  <a:pt x="626" y="596"/>
                </a:lnTo>
                <a:lnTo>
                  <a:pt x="613" y="591"/>
                </a:lnTo>
                <a:lnTo>
                  <a:pt x="599" y="587"/>
                </a:lnTo>
                <a:lnTo>
                  <a:pt x="585" y="581"/>
                </a:lnTo>
                <a:lnTo>
                  <a:pt x="571" y="576"/>
                </a:lnTo>
                <a:lnTo>
                  <a:pt x="571" y="478"/>
                </a:lnTo>
                <a:lnTo>
                  <a:pt x="578" y="473"/>
                </a:lnTo>
                <a:lnTo>
                  <a:pt x="584" y="464"/>
                </a:lnTo>
                <a:lnTo>
                  <a:pt x="590" y="453"/>
                </a:lnTo>
                <a:lnTo>
                  <a:pt x="598" y="440"/>
                </a:lnTo>
                <a:lnTo>
                  <a:pt x="605" y="424"/>
                </a:lnTo>
                <a:lnTo>
                  <a:pt x="611" y="406"/>
                </a:lnTo>
                <a:lnTo>
                  <a:pt x="614" y="397"/>
                </a:lnTo>
                <a:lnTo>
                  <a:pt x="615" y="386"/>
                </a:lnTo>
                <a:lnTo>
                  <a:pt x="617" y="375"/>
                </a:lnTo>
                <a:lnTo>
                  <a:pt x="618" y="364"/>
                </a:lnTo>
                <a:lnTo>
                  <a:pt x="624" y="358"/>
                </a:lnTo>
                <a:lnTo>
                  <a:pt x="629" y="350"/>
                </a:lnTo>
                <a:lnTo>
                  <a:pt x="633" y="340"/>
                </a:lnTo>
                <a:lnTo>
                  <a:pt x="638" y="328"/>
                </a:lnTo>
                <a:lnTo>
                  <a:pt x="639" y="319"/>
                </a:lnTo>
                <a:lnTo>
                  <a:pt x="640" y="308"/>
                </a:lnTo>
                <a:lnTo>
                  <a:pt x="640" y="297"/>
                </a:lnTo>
                <a:lnTo>
                  <a:pt x="639" y="287"/>
                </a:lnTo>
                <a:lnTo>
                  <a:pt x="635" y="278"/>
                </a:lnTo>
                <a:lnTo>
                  <a:pt x="632" y="268"/>
                </a:lnTo>
                <a:lnTo>
                  <a:pt x="627" y="261"/>
                </a:lnTo>
                <a:lnTo>
                  <a:pt x="620" y="253"/>
                </a:lnTo>
                <a:lnTo>
                  <a:pt x="623" y="248"/>
                </a:lnTo>
                <a:lnTo>
                  <a:pt x="625" y="242"/>
                </a:lnTo>
                <a:lnTo>
                  <a:pt x="631" y="227"/>
                </a:lnTo>
                <a:lnTo>
                  <a:pt x="638" y="209"/>
                </a:lnTo>
                <a:lnTo>
                  <a:pt x="644" y="190"/>
                </a:lnTo>
                <a:lnTo>
                  <a:pt x="649" y="170"/>
                </a:lnTo>
                <a:lnTo>
                  <a:pt x="655" y="148"/>
                </a:lnTo>
                <a:lnTo>
                  <a:pt x="657" y="127"/>
                </a:lnTo>
                <a:lnTo>
                  <a:pt x="658" y="116"/>
                </a:lnTo>
                <a:lnTo>
                  <a:pt x="658" y="106"/>
                </a:lnTo>
                <a:lnTo>
                  <a:pt x="657" y="96"/>
                </a:lnTo>
                <a:lnTo>
                  <a:pt x="656" y="86"/>
                </a:lnTo>
                <a:lnTo>
                  <a:pt x="653" y="75"/>
                </a:lnTo>
                <a:lnTo>
                  <a:pt x="648" y="64"/>
                </a:lnTo>
                <a:lnTo>
                  <a:pt x="642" y="56"/>
                </a:lnTo>
                <a:lnTo>
                  <a:pt x="634" y="47"/>
                </a:lnTo>
                <a:lnTo>
                  <a:pt x="625" y="40"/>
                </a:lnTo>
                <a:lnTo>
                  <a:pt x="615" y="32"/>
                </a:lnTo>
                <a:lnTo>
                  <a:pt x="604" y="26"/>
                </a:lnTo>
                <a:lnTo>
                  <a:pt x="593" y="21"/>
                </a:lnTo>
                <a:lnTo>
                  <a:pt x="580" y="15"/>
                </a:lnTo>
                <a:lnTo>
                  <a:pt x="566" y="12"/>
                </a:lnTo>
                <a:lnTo>
                  <a:pt x="552" y="8"/>
                </a:lnTo>
                <a:lnTo>
                  <a:pt x="538" y="6"/>
                </a:lnTo>
                <a:lnTo>
                  <a:pt x="523" y="2"/>
                </a:lnTo>
                <a:lnTo>
                  <a:pt x="508" y="1"/>
                </a:lnTo>
                <a:lnTo>
                  <a:pt x="493" y="0"/>
                </a:lnTo>
                <a:lnTo>
                  <a:pt x="478" y="0"/>
                </a:lnTo>
                <a:lnTo>
                  <a:pt x="455" y="0"/>
                </a:lnTo>
                <a:lnTo>
                  <a:pt x="432" y="3"/>
                </a:lnTo>
                <a:lnTo>
                  <a:pt x="409" y="7"/>
                </a:lnTo>
                <a:lnTo>
                  <a:pt x="388" y="12"/>
                </a:lnTo>
                <a:lnTo>
                  <a:pt x="378" y="16"/>
                </a:lnTo>
                <a:lnTo>
                  <a:pt x="368" y="19"/>
                </a:lnTo>
                <a:lnTo>
                  <a:pt x="359" y="25"/>
                </a:lnTo>
                <a:lnTo>
                  <a:pt x="351" y="29"/>
                </a:lnTo>
                <a:lnTo>
                  <a:pt x="344" y="36"/>
                </a:lnTo>
                <a:lnTo>
                  <a:pt x="337" y="41"/>
                </a:lnTo>
                <a:lnTo>
                  <a:pt x="331" y="48"/>
                </a:lnTo>
                <a:lnTo>
                  <a:pt x="327" y="55"/>
                </a:lnTo>
                <a:lnTo>
                  <a:pt x="319" y="56"/>
                </a:lnTo>
                <a:lnTo>
                  <a:pt x="312" y="58"/>
                </a:lnTo>
                <a:lnTo>
                  <a:pt x="304" y="60"/>
                </a:lnTo>
                <a:lnTo>
                  <a:pt x="298" y="63"/>
                </a:lnTo>
                <a:lnTo>
                  <a:pt x="291" y="67"/>
                </a:lnTo>
                <a:lnTo>
                  <a:pt x="286" y="71"/>
                </a:lnTo>
                <a:lnTo>
                  <a:pt x="281" y="76"/>
                </a:lnTo>
                <a:lnTo>
                  <a:pt x="275" y="82"/>
                </a:lnTo>
                <a:lnTo>
                  <a:pt x="270" y="90"/>
                </a:lnTo>
                <a:lnTo>
                  <a:pt x="267" y="99"/>
                </a:lnTo>
                <a:lnTo>
                  <a:pt x="263" y="110"/>
                </a:lnTo>
                <a:lnTo>
                  <a:pt x="261" y="119"/>
                </a:lnTo>
                <a:lnTo>
                  <a:pt x="260" y="130"/>
                </a:lnTo>
                <a:lnTo>
                  <a:pt x="260" y="141"/>
                </a:lnTo>
                <a:lnTo>
                  <a:pt x="260" y="152"/>
                </a:lnTo>
                <a:lnTo>
                  <a:pt x="261" y="163"/>
                </a:lnTo>
                <a:lnTo>
                  <a:pt x="264" y="186"/>
                </a:lnTo>
                <a:lnTo>
                  <a:pt x="270" y="207"/>
                </a:lnTo>
                <a:lnTo>
                  <a:pt x="275" y="226"/>
                </a:lnTo>
                <a:lnTo>
                  <a:pt x="281" y="244"/>
                </a:lnTo>
                <a:lnTo>
                  <a:pt x="282" y="249"/>
                </a:lnTo>
                <a:lnTo>
                  <a:pt x="283" y="252"/>
                </a:lnTo>
                <a:lnTo>
                  <a:pt x="276" y="260"/>
                </a:lnTo>
                <a:lnTo>
                  <a:pt x="271" y="268"/>
                </a:lnTo>
                <a:lnTo>
                  <a:pt x="267" y="277"/>
                </a:lnTo>
                <a:lnTo>
                  <a:pt x="264" y="287"/>
                </a:lnTo>
                <a:lnTo>
                  <a:pt x="263" y="297"/>
                </a:lnTo>
                <a:lnTo>
                  <a:pt x="262" y="308"/>
                </a:lnTo>
                <a:lnTo>
                  <a:pt x="263" y="319"/>
                </a:lnTo>
                <a:lnTo>
                  <a:pt x="266" y="328"/>
                </a:lnTo>
                <a:lnTo>
                  <a:pt x="269" y="340"/>
                </a:lnTo>
                <a:lnTo>
                  <a:pt x="273" y="350"/>
                </a:lnTo>
                <a:lnTo>
                  <a:pt x="278" y="358"/>
                </a:lnTo>
                <a:lnTo>
                  <a:pt x="285" y="364"/>
                </a:lnTo>
                <a:lnTo>
                  <a:pt x="286" y="375"/>
                </a:lnTo>
                <a:lnTo>
                  <a:pt x="287" y="385"/>
                </a:lnTo>
                <a:lnTo>
                  <a:pt x="289" y="396"/>
                </a:lnTo>
                <a:lnTo>
                  <a:pt x="291" y="404"/>
                </a:lnTo>
                <a:lnTo>
                  <a:pt x="298" y="421"/>
                </a:lnTo>
                <a:lnTo>
                  <a:pt x="304" y="437"/>
                </a:lnTo>
                <a:lnTo>
                  <a:pt x="312" y="448"/>
                </a:lnTo>
                <a:lnTo>
                  <a:pt x="319" y="459"/>
                </a:lnTo>
                <a:lnTo>
                  <a:pt x="326" y="467"/>
                </a:lnTo>
                <a:lnTo>
                  <a:pt x="331" y="473"/>
                </a:lnTo>
                <a:lnTo>
                  <a:pt x="331" y="576"/>
                </a:lnTo>
                <a:lnTo>
                  <a:pt x="317" y="581"/>
                </a:lnTo>
                <a:lnTo>
                  <a:pt x="303" y="587"/>
                </a:lnTo>
                <a:lnTo>
                  <a:pt x="290" y="591"/>
                </a:lnTo>
                <a:lnTo>
                  <a:pt x="277" y="596"/>
                </a:lnTo>
                <a:lnTo>
                  <a:pt x="233" y="612"/>
                </a:lnTo>
                <a:lnTo>
                  <a:pt x="193" y="627"/>
                </a:lnTo>
                <a:lnTo>
                  <a:pt x="155" y="642"/>
                </a:lnTo>
                <a:lnTo>
                  <a:pt x="123" y="658"/>
                </a:lnTo>
                <a:lnTo>
                  <a:pt x="108" y="666"/>
                </a:lnTo>
                <a:lnTo>
                  <a:pt x="94" y="673"/>
                </a:lnTo>
                <a:lnTo>
                  <a:pt x="82" y="682"/>
                </a:lnTo>
                <a:lnTo>
                  <a:pt x="70" y="690"/>
                </a:lnTo>
                <a:lnTo>
                  <a:pt x="61" y="698"/>
                </a:lnTo>
                <a:lnTo>
                  <a:pt x="52" y="708"/>
                </a:lnTo>
                <a:lnTo>
                  <a:pt x="46" y="716"/>
                </a:lnTo>
                <a:lnTo>
                  <a:pt x="39" y="727"/>
                </a:lnTo>
                <a:lnTo>
                  <a:pt x="33" y="741"/>
                </a:lnTo>
                <a:lnTo>
                  <a:pt x="26" y="756"/>
                </a:lnTo>
                <a:lnTo>
                  <a:pt x="21" y="770"/>
                </a:lnTo>
                <a:lnTo>
                  <a:pt x="17" y="784"/>
                </a:lnTo>
                <a:lnTo>
                  <a:pt x="10" y="811"/>
                </a:lnTo>
                <a:lnTo>
                  <a:pt x="5" y="835"/>
                </a:lnTo>
                <a:lnTo>
                  <a:pt x="3" y="856"/>
                </a:lnTo>
                <a:lnTo>
                  <a:pt x="1" y="872"/>
                </a:lnTo>
                <a:lnTo>
                  <a:pt x="1" y="882"/>
                </a:lnTo>
                <a:lnTo>
                  <a:pt x="0" y="887"/>
                </a:lnTo>
                <a:lnTo>
                  <a:pt x="1" y="890"/>
                </a:lnTo>
                <a:lnTo>
                  <a:pt x="2" y="893"/>
                </a:lnTo>
                <a:lnTo>
                  <a:pt x="3" y="895"/>
                </a:lnTo>
                <a:lnTo>
                  <a:pt x="5" y="898"/>
                </a:lnTo>
                <a:lnTo>
                  <a:pt x="7" y="900"/>
                </a:lnTo>
                <a:lnTo>
                  <a:pt x="9" y="901"/>
                </a:lnTo>
                <a:lnTo>
                  <a:pt x="12" y="902"/>
                </a:lnTo>
                <a:lnTo>
                  <a:pt x="15" y="902"/>
                </a:lnTo>
                <a:lnTo>
                  <a:pt x="887" y="902"/>
                </a:lnTo>
                <a:lnTo>
                  <a:pt x="891" y="902"/>
                </a:lnTo>
                <a:lnTo>
                  <a:pt x="894" y="901"/>
                </a:lnTo>
                <a:lnTo>
                  <a:pt x="896" y="900"/>
                </a:lnTo>
                <a:lnTo>
                  <a:pt x="898" y="898"/>
                </a:lnTo>
                <a:lnTo>
                  <a:pt x="900" y="895"/>
                </a:lnTo>
                <a:lnTo>
                  <a:pt x="901" y="893"/>
                </a:lnTo>
                <a:lnTo>
                  <a:pt x="902" y="890"/>
                </a:lnTo>
                <a:lnTo>
                  <a:pt x="902" y="887"/>
                </a:lnTo>
                <a:lnTo>
                  <a:pt x="902" y="882"/>
                </a:lnTo>
                <a:lnTo>
                  <a:pt x="901" y="872"/>
                </a:lnTo>
                <a:lnTo>
                  <a:pt x="900" y="856"/>
                </a:lnTo>
                <a:lnTo>
                  <a:pt x="897" y="835"/>
                </a:lnTo>
                <a:lnTo>
                  <a:pt x="893" y="811"/>
                </a:lnTo>
                <a:lnTo>
                  <a:pt x="885" y="784"/>
                </a:lnTo>
                <a:lnTo>
                  <a:pt x="881" y="770"/>
                </a:lnTo>
                <a:lnTo>
                  <a:pt x="876" y="756"/>
                </a:lnTo>
                <a:lnTo>
                  <a:pt x="870" y="741"/>
                </a:lnTo>
                <a:lnTo>
                  <a:pt x="863" y="727"/>
                </a:lnTo>
                <a:close/>
              </a:path>
            </a:pathLst>
          </a:custGeom>
          <a:solidFill>
            <a:srgbClr val="E2583D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2" name="Freeform 57"/>
          <p:cNvSpPr>
            <a:spLocks noEditPoints="1"/>
          </p:cNvSpPr>
          <p:nvPr/>
        </p:nvSpPr>
        <p:spPr bwMode="auto">
          <a:xfrm>
            <a:off x="3816988" y="3883505"/>
            <a:ext cx="728486" cy="728488"/>
          </a:xfrm>
          <a:custGeom>
            <a:avLst/>
            <a:gdLst>
              <a:gd name="T0" fmla="*/ 58 w 902"/>
              <a:gd name="T1" fmla="*/ 760 h 902"/>
              <a:gd name="T2" fmla="*/ 105 w 902"/>
              <a:gd name="T3" fmla="*/ 702 h 902"/>
              <a:gd name="T4" fmla="*/ 247 w 902"/>
              <a:gd name="T5" fmla="*/ 639 h 902"/>
              <a:gd name="T6" fmla="*/ 356 w 902"/>
              <a:gd name="T7" fmla="*/ 598 h 902"/>
              <a:gd name="T8" fmla="*/ 360 w 902"/>
              <a:gd name="T9" fmla="*/ 459 h 902"/>
              <a:gd name="T10" fmla="*/ 328 w 902"/>
              <a:gd name="T11" fmla="*/ 415 h 902"/>
              <a:gd name="T12" fmla="*/ 315 w 902"/>
              <a:gd name="T13" fmla="*/ 354 h 902"/>
              <a:gd name="T14" fmla="*/ 296 w 902"/>
              <a:gd name="T15" fmla="*/ 324 h 902"/>
              <a:gd name="T16" fmla="*/ 297 w 902"/>
              <a:gd name="T17" fmla="*/ 284 h 902"/>
              <a:gd name="T18" fmla="*/ 313 w 902"/>
              <a:gd name="T19" fmla="*/ 267 h 902"/>
              <a:gd name="T20" fmla="*/ 300 w 902"/>
              <a:gd name="T21" fmla="*/ 205 h 902"/>
              <a:gd name="T22" fmla="*/ 293 w 902"/>
              <a:gd name="T23" fmla="*/ 113 h 902"/>
              <a:gd name="T24" fmla="*/ 315 w 902"/>
              <a:gd name="T25" fmla="*/ 88 h 902"/>
              <a:gd name="T26" fmla="*/ 352 w 902"/>
              <a:gd name="T27" fmla="*/ 73 h 902"/>
              <a:gd name="T28" fmla="*/ 377 w 902"/>
              <a:gd name="T29" fmla="*/ 48 h 902"/>
              <a:gd name="T30" fmla="*/ 478 w 902"/>
              <a:gd name="T31" fmla="*/ 30 h 902"/>
              <a:gd name="T32" fmla="*/ 574 w 902"/>
              <a:gd name="T33" fmla="*/ 45 h 902"/>
              <a:gd name="T34" fmla="*/ 620 w 902"/>
              <a:gd name="T35" fmla="*/ 77 h 902"/>
              <a:gd name="T36" fmla="*/ 627 w 902"/>
              <a:gd name="T37" fmla="*/ 127 h 902"/>
              <a:gd name="T38" fmla="*/ 590 w 902"/>
              <a:gd name="T39" fmla="*/ 250 h 902"/>
              <a:gd name="T40" fmla="*/ 596 w 902"/>
              <a:gd name="T41" fmla="*/ 272 h 902"/>
              <a:gd name="T42" fmla="*/ 610 w 902"/>
              <a:gd name="T43" fmla="*/ 298 h 902"/>
              <a:gd name="T44" fmla="*/ 600 w 902"/>
              <a:gd name="T45" fmla="*/ 339 h 902"/>
              <a:gd name="T46" fmla="*/ 586 w 902"/>
              <a:gd name="T47" fmla="*/ 379 h 902"/>
              <a:gd name="T48" fmla="*/ 546 w 902"/>
              <a:gd name="T49" fmla="*/ 461 h 902"/>
              <a:gd name="T50" fmla="*/ 542 w 902"/>
              <a:gd name="T51" fmla="*/ 591 h 902"/>
              <a:gd name="T52" fmla="*/ 600 w 902"/>
              <a:gd name="T53" fmla="*/ 619 h 902"/>
              <a:gd name="T54" fmla="*/ 774 w 902"/>
              <a:gd name="T55" fmla="*/ 688 h 902"/>
              <a:gd name="T56" fmla="*/ 832 w 902"/>
              <a:gd name="T57" fmla="*/ 732 h 902"/>
              <a:gd name="T58" fmla="*/ 869 w 902"/>
              <a:gd name="T59" fmla="*/ 848 h 902"/>
              <a:gd name="T60" fmla="*/ 841 w 902"/>
              <a:gd name="T61" fmla="*/ 698 h 902"/>
              <a:gd name="T62" fmla="*/ 747 w 902"/>
              <a:gd name="T63" fmla="*/ 642 h 902"/>
              <a:gd name="T64" fmla="*/ 585 w 902"/>
              <a:gd name="T65" fmla="*/ 581 h 902"/>
              <a:gd name="T66" fmla="*/ 598 w 902"/>
              <a:gd name="T67" fmla="*/ 440 h 902"/>
              <a:gd name="T68" fmla="*/ 618 w 902"/>
              <a:gd name="T69" fmla="*/ 364 h 902"/>
              <a:gd name="T70" fmla="*/ 640 w 902"/>
              <a:gd name="T71" fmla="*/ 308 h 902"/>
              <a:gd name="T72" fmla="*/ 620 w 902"/>
              <a:gd name="T73" fmla="*/ 253 h 902"/>
              <a:gd name="T74" fmla="*/ 649 w 902"/>
              <a:gd name="T75" fmla="*/ 170 h 902"/>
              <a:gd name="T76" fmla="*/ 656 w 902"/>
              <a:gd name="T77" fmla="*/ 86 h 902"/>
              <a:gd name="T78" fmla="*/ 615 w 902"/>
              <a:gd name="T79" fmla="*/ 32 h 902"/>
              <a:gd name="T80" fmla="*/ 538 w 902"/>
              <a:gd name="T81" fmla="*/ 6 h 902"/>
              <a:gd name="T82" fmla="*/ 432 w 902"/>
              <a:gd name="T83" fmla="*/ 3 h 902"/>
              <a:gd name="T84" fmla="*/ 351 w 902"/>
              <a:gd name="T85" fmla="*/ 29 h 902"/>
              <a:gd name="T86" fmla="*/ 312 w 902"/>
              <a:gd name="T87" fmla="*/ 58 h 902"/>
              <a:gd name="T88" fmla="*/ 275 w 902"/>
              <a:gd name="T89" fmla="*/ 82 h 902"/>
              <a:gd name="T90" fmla="*/ 260 w 902"/>
              <a:gd name="T91" fmla="*/ 141 h 902"/>
              <a:gd name="T92" fmla="*/ 281 w 902"/>
              <a:gd name="T93" fmla="*/ 244 h 902"/>
              <a:gd name="T94" fmla="*/ 264 w 902"/>
              <a:gd name="T95" fmla="*/ 287 h 902"/>
              <a:gd name="T96" fmla="*/ 273 w 902"/>
              <a:gd name="T97" fmla="*/ 350 h 902"/>
              <a:gd name="T98" fmla="*/ 291 w 902"/>
              <a:gd name="T99" fmla="*/ 404 h 902"/>
              <a:gd name="T100" fmla="*/ 331 w 902"/>
              <a:gd name="T101" fmla="*/ 473 h 902"/>
              <a:gd name="T102" fmla="*/ 233 w 902"/>
              <a:gd name="T103" fmla="*/ 612 h 902"/>
              <a:gd name="T104" fmla="*/ 82 w 902"/>
              <a:gd name="T105" fmla="*/ 682 h 902"/>
              <a:gd name="T106" fmla="*/ 33 w 902"/>
              <a:gd name="T107" fmla="*/ 741 h 902"/>
              <a:gd name="T108" fmla="*/ 3 w 902"/>
              <a:gd name="T109" fmla="*/ 856 h 902"/>
              <a:gd name="T110" fmla="*/ 3 w 902"/>
              <a:gd name="T111" fmla="*/ 895 h 902"/>
              <a:gd name="T112" fmla="*/ 887 w 902"/>
              <a:gd name="T113" fmla="*/ 902 h 902"/>
              <a:gd name="T114" fmla="*/ 901 w 902"/>
              <a:gd name="T115" fmla="*/ 893 h 902"/>
              <a:gd name="T116" fmla="*/ 897 w 902"/>
              <a:gd name="T117" fmla="*/ 835 h 902"/>
              <a:gd name="T118" fmla="*/ 863 w 902"/>
              <a:gd name="T119" fmla="*/ 727 h 9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902" h="902">
                <a:moveTo>
                  <a:pt x="31" y="872"/>
                </a:moveTo>
                <a:lnTo>
                  <a:pt x="34" y="848"/>
                </a:lnTo>
                <a:lnTo>
                  <a:pt x="39" y="816"/>
                </a:lnTo>
                <a:lnTo>
                  <a:pt x="45" y="798"/>
                </a:lnTo>
                <a:lnTo>
                  <a:pt x="50" y="780"/>
                </a:lnTo>
                <a:lnTo>
                  <a:pt x="58" y="760"/>
                </a:lnTo>
                <a:lnTo>
                  <a:pt x="66" y="740"/>
                </a:lnTo>
                <a:lnTo>
                  <a:pt x="71" y="732"/>
                </a:lnTo>
                <a:lnTo>
                  <a:pt x="78" y="725"/>
                </a:lnTo>
                <a:lnTo>
                  <a:pt x="85" y="717"/>
                </a:lnTo>
                <a:lnTo>
                  <a:pt x="94" y="710"/>
                </a:lnTo>
                <a:lnTo>
                  <a:pt x="105" y="702"/>
                </a:lnTo>
                <a:lnTo>
                  <a:pt x="117" y="695"/>
                </a:lnTo>
                <a:lnTo>
                  <a:pt x="129" y="688"/>
                </a:lnTo>
                <a:lnTo>
                  <a:pt x="143" y="681"/>
                </a:lnTo>
                <a:lnTo>
                  <a:pt x="174" y="667"/>
                </a:lnTo>
                <a:lnTo>
                  <a:pt x="209" y="653"/>
                </a:lnTo>
                <a:lnTo>
                  <a:pt x="247" y="639"/>
                </a:lnTo>
                <a:lnTo>
                  <a:pt x="287" y="624"/>
                </a:lnTo>
                <a:lnTo>
                  <a:pt x="303" y="619"/>
                </a:lnTo>
                <a:lnTo>
                  <a:pt x="319" y="612"/>
                </a:lnTo>
                <a:lnTo>
                  <a:pt x="335" y="607"/>
                </a:lnTo>
                <a:lnTo>
                  <a:pt x="351" y="601"/>
                </a:lnTo>
                <a:lnTo>
                  <a:pt x="356" y="598"/>
                </a:lnTo>
                <a:lnTo>
                  <a:pt x="359" y="595"/>
                </a:lnTo>
                <a:lnTo>
                  <a:pt x="360" y="591"/>
                </a:lnTo>
                <a:lnTo>
                  <a:pt x="361" y="587"/>
                </a:lnTo>
                <a:lnTo>
                  <a:pt x="361" y="467"/>
                </a:lnTo>
                <a:lnTo>
                  <a:pt x="361" y="462"/>
                </a:lnTo>
                <a:lnTo>
                  <a:pt x="360" y="459"/>
                </a:lnTo>
                <a:lnTo>
                  <a:pt x="358" y="457"/>
                </a:lnTo>
                <a:lnTo>
                  <a:pt x="356" y="455"/>
                </a:lnTo>
                <a:lnTo>
                  <a:pt x="349" y="448"/>
                </a:lnTo>
                <a:lnTo>
                  <a:pt x="335" y="429"/>
                </a:lnTo>
                <a:lnTo>
                  <a:pt x="331" y="423"/>
                </a:lnTo>
                <a:lnTo>
                  <a:pt x="328" y="415"/>
                </a:lnTo>
                <a:lnTo>
                  <a:pt x="325" y="408"/>
                </a:lnTo>
                <a:lnTo>
                  <a:pt x="321" y="398"/>
                </a:lnTo>
                <a:lnTo>
                  <a:pt x="318" y="388"/>
                </a:lnTo>
                <a:lnTo>
                  <a:pt x="316" y="378"/>
                </a:lnTo>
                <a:lnTo>
                  <a:pt x="315" y="367"/>
                </a:lnTo>
                <a:lnTo>
                  <a:pt x="315" y="354"/>
                </a:lnTo>
                <a:lnTo>
                  <a:pt x="314" y="349"/>
                </a:lnTo>
                <a:lnTo>
                  <a:pt x="312" y="344"/>
                </a:lnTo>
                <a:lnTo>
                  <a:pt x="307" y="341"/>
                </a:lnTo>
                <a:lnTo>
                  <a:pt x="302" y="339"/>
                </a:lnTo>
                <a:lnTo>
                  <a:pt x="299" y="334"/>
                </a:lnTo>
                <a:lnTo>
                  <a:pt x="296" y="324"/>
                </a:lnTo>
                <a:lnTo>
                  <a:pt x="294" y="319"/>
                </a:lnTo>
                <a:lnTo>
                  <a:pt x="293" y="311"/>
                </a:lnTo>
                <a:lnTo>
                  <a:pt x="292" y="305"/>
                </a:lnTo>
                <a:lnTo>
                  <a:pt x="293" y="298"/>
                </a:lnTo>
                <a:lnTo>
                  <a:pt x="294" y="291"/>
                </a:lnTo>
                <a:lnTo>
                  <a:pt x="297" y="284"/>
                </a:lnTo>
                <a:lnTo>
                  <a:pt x="298" y="280"/>
                </a:lnTo>
                <a:lnTo>
                  <a:pt x="300" y="278"/>
                </a:lnTo>
                <a:lnTo>
                  <a:pt x="303" y="275"/>
                </a:lnTo>
                <a:lnTo>
                  <a:pt x="306" y="272"/>
                </a:lnTo>
                <a:lnTo>
                  <a:pt x="309" y="270"/>
                </a:lnTo>
                <a:lnTo>
                  <a:pt x="313" y="267"/>
                </a:lnTo>
                <a:lnTo>
                  <a:pt x="314" y="264"/>
                </a:lnTo>
                <a:lnTo>
                  <a:pt x="315" y="260"/>
                </a:lnTo>
                <a:lnTo>
                  <a:pt x="314" y="251"/>
                </a:lnTo>
                <a:lnTo>
                  <a:pt x="308" y="235"/>
                </a:lnTo>
                <a:lnTo>
                  <a:pt x="305" y="222"/>
                </a:lnTo>
                <a:lnTo>
                  <a:pt x="300" y="205"/>
                </a:lnTo>
                <a:lnTo>
                  <a:pt x="296" y="187"/>
                </a:lnTo>
                <a:lnTo>
                  <a:pt x="292" y="167"/>
                </a:lnTo>
                <a:lnTo>
                  <a:pt x="290" y="148"/>
                </a:lnTo>
                <a:lnTo>
                  <a:pt x="290" y="130"/>
                </a:lnTo>
                <a:lnTo>
                  <a:pt x="291" y="121"/>
                </a:lnTo>
                <a:lnTo>
                  <a:pt x="293" y="113"/>
                </a:lnTo>
                <a:lnTo>
                  <a:pt x="296" y="106"/>
                </a:lnTo>
                <a:lnTo>
                  <a:pt x="300" y="100"/>
                </a:lnTo>
                <a:lnTo>
                  <a:pt x="303" y="97"/>
                </a:lnTo>
                <a:lnTo>
                  <a:pt x="306" y="93"/>
                </a:lnTo>
                <a:lnTo>
                  <a:pt x="311" y="90"/>
                </a:lnTo>
                <a:lnTo>
                  <a:pt x="315" y="88"/>
                </a:lnTo>
                <a:lnTo>
                  <a:pt x="326" y="86"/>
                </a:lnTo>
                <a:lnTo>
                  <a:pt x="337" y="85"/>
                </a:lnTo>
                <a:lnTo>
                  <a:pt x="343" y="84"/>
                </a:lnTo>
                <a:lnTo>
                  <a:pt x="347" y="82"/>
                </a:lnTo>
                <a:lnTo>
                  <a:pt x="350" y="78"/>
                </a:lnTo>
                <a:lnTo>
                  <a:pt x="352" y="73"/>
                </a:lnTo>
                <a:lnTo>
                  <a:pt x="353" y="69"/>
                </a:lnTo>
                <a:lnTo>
                  <a:pt x="357" y="64"/>
                </a:lnTo>
                <a:lnTo>
                  <a:pt x="360" y="60"/>
                </a:lnTo>
                <a:lnTo>
                  <a:pt x="365" y="56"/>
                </a:lnTo>
                <a:lnTo>
                  <a:pt x="371" y="53"/>
                </a:lnTo>
                <a:lnTo>
                  <a:pt x="377" y="48"/>
                </a:lnTo>
                <a:lnTo>
                  <a:pt x="385" y="45"/>
                </a:lnTo>
                <a:lnTo>
                  <a:pt x="393" y="42"/>
                </a:lnTo>
                <a:lnTo>
                  <a:pt x="410" y="38"/>
                </a:lnTo>
                <a:lnTo>
                  <a:pt x="431" y="33"/>
                </a:lnTo>
                <a:lnTo>
                  <a:pt x="453" y="31"/>
                </a:lnTo>
                <a:lnTo>
                  <a:pt x="478" y="30"/>
                </a:lnTo>
                <a:lnTo>
                  <a:pt x="502" y="31"/>
                </a:lnTo>
                <a:lnTo>
                  <a:pt x="528" y="34"/>
                </a:lnTo>
                <a:lnTo>
                  <a:pt x="540" y="37"/>
                </a:lnTo>
                <a:lnTo>
                  <a:pt x="552" y="39"/>
                </a:lnTo>
                <a:lnTo>
                  <a:pt x="564" y="42"/>
                </a:lnTo>
                <a:lnTo>
                  <a:pt x="574" y="45"/>
                </a:lnTo>
                <a:lnTo>
                  <a:pt x="584" y="49"/>
                </a:lnTo>
                <a:lnTo>
                  <a:pt x="594" y="54"/>
                </a:lnTo>
                <a:lnTo>
                  <a:pt x="602" y="59"/>
                </a:lnTo>
                <a:lnTo>
                  <a:pt x="609" y="64"/>
                </a:lnTo>
                <a:lnTo>
                  <a:pt x="615" y="71"/>
                </a:lnTo>
                <a:lnTo>
                  <a:pt x="620" y="77"/>
                </a:lnTo>
                <a:lnTo>
                  <a:pt x="624" y="84"/>
                </a:lnTo>
                <a:lnTo>
                  <a:pt x="626" y="91"/>
                </a:lnTo>
                <a:lnTo>
                  <a:pt x="628" y="100"/>
                </a:lnTo>
                <a:lnTo>
                  <a:pt x="628" y="108"/>
                </a:lnTo>
                <a:lnTo>
                  <a:pt x="628" y="118"/>
                </a:lnTo>
                <a:lnTo>
                  <a:pt x="627" y="127"/>
                </a:lnTo>
                <a:lnTo>
                  <a:pt x="625" y="146"/>
                </a:lnTo>
                <a:lnTo>
                  <a:pt x="619" y="165"/>
                </a:lnTo>
                <a:lnTo>
                  <a:pt x="609" y="201"/>
                </a:lnTo>
                <a:lnTo>
                  <a:pt x="597" y="231"/>
                </a:lnTo>
                <a:lnTo>
                  <a:pt x="593" y="241"/>
                </a:lnTo>
                <a:lnTo>
                  <a:pt x="590" y="250"/>
                </a:lnTo>
                <a:lnTo>
                  <a:pt x="588" y="255"/>
                </a:lnTo>
                <a:lnTo>
                  <a:pt x="588" y="260"/>
                </a:lnTo>
                <a:lnTo>
                  <a:pt x="588" y="264"/>
                </a:lnTo>
                <a:lnTo>
                  <a:pt x="590" y="267"/>
                </a:lnTo>
                <a:lnTo>
                  <a:pt x="593" y="270"/>
                </a:lnTo>
                <a:lnTo>
                  <a:pt x="596" y="272"/>
                </a:lnTo>
                <a:lnTo>
                  <a:pt x="600" y="275"/>
                </a:lnTo>
                <a:lnTo>
                  <a:pt x="602" y="278"/>
                </a:lnTo>
                <a:lnTo>
                  <a:pt x="604" y="280"/>
                </a:lnTo>
                <a:lnTo>
                  <a:pt x="606" y="284"/>
                </a:lnTo>
                <a:lnTo>
                  <a:pt x="609" y="291"/>
                </a:lnTo>
                <a:lnTo>
                  <a:pt x="610" y="298"/>
                </a:lnTo>
                <a:lnTo>
                  <a:pt x="610" y="305"/>
                </a:lnTo>
                <a:lnTo>
                  <a:pt x="610" y="311"/>
                </a:lnTo>
                <a:lnTo>
                  <a:pt x="609" y="318"/>
                </a:lnTo>
                <a:lnTo>
                  <a:pt x="608" y="324"/>
                </a:lnTo>
                <a:lnTo>
                  <a:pt x="603" y="334"/>
                </a:lnTo>
                <a:lnTo>
                  <a:pt x="600" y="339"/>
                </a:lnTo>
                <a:lnTo>
                  <a:pt x="596" y="341"/>
                </a:lnTo>
                <a:lnTo>
                  <a:pt x="591" y="344"/>
                </a:lnTo>
                <a:lnTo>
                  <a:pt x="589" y="349"/>
                </a:lnTo>
                <a:lnTo>
                  <a:pt x="588" y="354"/>
                </a:lnTo>
                <a:lnTo>
                  <a:pt x="587" y="367"/>
                </a:lnTo>
                <a:lnTo>
                  <a:pt x="586" y="379"/>
                </a:lnTo>
                <a:lnTo>
                  <a:pt x="584" y="389"/>
                </a:lnTo>
                <a:lnTo>
                  <a:pt x="582" y="399"/>
                </a:lnTo>
                <a:lnTo>
                  <a:pt x="575" y="418"/>
                </a:lnTo>
                <a:lnTo>
                  <a:pt x="567" y="433"/>
                </a:lnTo>
                <a:lnTo>
                  <a:pt x="553" y="455"/>
                </a:lnTo>
                <a:lnTo>
                  <a:pt x="546" y="461"/>
                </a:lnTo>
                <a:lnTo>
                  <a:pt x="544" y="464"/>
                </a:lnTo>
                <a:lnTo>
                  <a:pt x="543" y="467"/>
                </a:lnTo>
                <a:lnTo>
                  <a:pt x="542" y="470"/>
                </a:lnTo>
                <a:lnTo>
                  <a:pt x="541" y="473"/>
                </a:lnTo>
                <a:lnTo>
                  <a:pt x="541" y="587"/>
                </a:lnTo>
                <a:lnTo>
                  <a:pt x="542" y="591"/>
                </a:lnTo>
                <a:lnTo>
                  <a:pt x="544" y="595"/>
                </a:lnTo>
                <a:lnTo>
                  <a:pt x="548" y="598"/>
                </a:lnTo>
                <a:lnTo>
                  <a:pt x="552" y="601"/>
                </a:lnTo>
                <a:lnTo>
                  <a:pt x="568" y="607"/>
                </a:lnTo>
                <a:lnTo>
                  <a:pt x="584" y="612"/>
                </a:lnTo>
                <a:lnTo>
                  <a:pt x="600" y="619"/>
                </a:lnTo>
                <a:lnTo>
                  <a:pt x="615" y="624"/>
                </a:lnTo>
                <a:lnTo>
                  <a:pt x="656" y="639"/>
                </a:lnTo>
                <a:lnTo>
                  <a:pt x="693" y="653"/>
                </a:lnTo>
                <a:lnTo>
                  <a:pt x="729" y="667"/>
                </a:lnTo>
                <a:lnTo>
                  <a:pt x="760" y="681"/>
                </a:lnTo>
                <a:lnTo>
                  <a:pt x="774" y="688"/>
                </a:lnTo>
                <a:lnTo>
                  <a:pt x="787" y="695"/>
                </a:lnTo>
                <a:lnTo>
                  <a:pt x="797" y="702"/>
                </a:lnTo>
                <a:lnTo>
                  <a:pt x="808" y="710"/>
                </a:lnTo>
                <a:lnTo>
                  <a:pt x="818" y="717"/>
                </a:lnTo>
                <a:lnTo>
                  <a:pt x="825" y="725"/>
                </a:lnTo>
                <a:lnTo>
                  <a:pt x="832" y="732"/>
                </a:lnTo>
                <a:lnTo>
                  <a:pt x="836" y="740"/>
                </a:lnTo>
                <a:lnTo>
                  <a:pt x="846" y="759"/>
                </a:lnTo>
                <a:lnTo>
                  <a:pt x="852" y="780"/>
                </a:lnTo>
                <a:lnTo>
                  <a:pt x="858" y="798"/>
                </a:lnTo>
                <a:lnTo>
                  <a:pt x="863" y="816"/>
                </a:lnTo>
                <a:lnTo>
                  <a:pt x="869" y="848"/>
                </a:lnTo>
                <a:lnTo>
                  <a:pt x="871" y="872"/>
                </a:lnTo>
                <a:lnTo>
                  <a:pt x="31" y="872"/>
                </a:lnTo>
                <a:close/>
                <a:moveTo>
                  <a:pt x="863" y="727"/>
                </a:moveTo>
                <a:lnTo>
                  <a:pt x="857" y="716"/>
                </a:lnTo>
                <a:lnTo>
                  <a:pt x="850" y="708"/>
                </a:lnTo>
                <a:lnTo>
                  <a:pt x="841" y="698"/>
                </a:lnTo>
                <a:lnTo>
                  <a:pt x="832" y="690"/>
                </a:lnTo>
                <a:lnTo>
                  <a:pt x="821" y="682"/>
                </a:lnTo>
                <a:lnTo>
                  <a:pt x="808" y="673"/>
                </a:lnTo>
                <a:lnTo>
                  <a:pt x="795" y="666"/>
                </a:lnTo>
                <a:lnTo>
                  <a:pt x="780" y="657"/>
                </a:lnTo>
                <a:lnTo>
                  <a:pt x="747" y="642"/>
                </a:lnTo>
                <a:lnTo>
                  <a:pt x="710" y="627"/>
                </a:lnTo>
                <a:lnTo>
                  <a:pt x="670" y="612"/>
                </a:lnTo>
                <a:lnTo>
                  <a:pt x="626" y="596"/>
                </a:lnTo>
                <a:lnTo>
                  <a:pt x="613" y="591"/>
                </a:lnTo>
                <a:lnTo>
                  <a:pt x="599" y="587"/>
                </a:lnTo>
                <a:lnTo>
                  <a:pt x="585" y="581"/>
                </a:lnTo>
                <a:lnTo>
                  <a:pt x="571" y="576"/>
                </a:lnTo>
                <a:lnTo>
                  <a:pt x="571" y="478"/>
                </a:lnTo>
                <a:lnTo>
                  <a:pt x="578" y="473"/>
                </a:lnTo>
                <a:lnTo>
                  <a:pt x="584" y="464"/>
                </a:lnTo>
                <a:lnTo>
                  <a:pt x="590" y="453"/>
                </a:lnTo>
                <a:lnTo>
                  <a:pt x="598" y="440"/>
                </a:lnTo>
                <a:lnTo>
                  <a:pt x="605" y="424"/>
                </a:lnTo>
                <a:lnTo>
                  <a:pt x="611" y="406"/>
                </a:lnTo>
                <a:lnTo>
                  <a:pt x="614" y="397"/>
                </a:lnTo>
                <a:lnTo>
                  <a:pt x="615" y="386"/>
                </a:lnTo>
                <a:lnTo>
                  <a:pt x="617" y="375"/>
                </a:lnTo>
                <a:lnTo>
                  <a:pt x="618" y="364"/>
                </a:lnTo>
                <a:lnTo>
                  <a:pt x="624" y="358"/>
                </a:lnTo>
                <a:lnTo>
                  <a:pt x="629" y="350"/>
                </a:lnTo>
                <a:lnTo>
                  <a:pt x="633" y="340"/>
                </a:lnTo>
                <a:lnTo>
                  <a:pt x="638" y="328"/>
                </a:lnTo>
                <a:lnTo>
                  <a:pt x="639" y="319"/>
                </a:lnTo>
                <a:lnTo>
                  <a:pt x="640" y="308"/>
                </a:lnTo>
                <a:lnTo>
                  <a:pt x="640" y="297"/>
                </a:lnTo>
                <a:lnTo>
                  <a:pt x="639" y="287"/>
                </a:lnTo>
                <a:lnTo>
                  <a:pt x="635" y="278"/>
                </a:lnTo>
                <a:lnTo>
                  <a:pt x="632" y="268"/>
                </a:lnTo>
                <a:lnTo>
                  <a:pt x="627" y="261"/>
                </a:lnTo>
                <a:lnTo>
                  <a:pt x="620" y="253"/>
                </a:lnTo>
                <a:lnTo>
                  <a:pt x="623" y="248"/>
                </a:lnTo>
                <a:lnTo>
                  <a:pt x="625" y="242"/>
                </a:lnTo>
                <a:lnTo>
                  <a:pt x="631" y="227"/>
                </a:lnTo>
                <a:lnTo>
                  <a:pt x="638" y="209"/>
                </a:lnTo>
                <a:lnTo>
                  <a:pt x="644" y="190"/>
                </a:lnTo>
                <a:lnTo>
                  <a:pt x="649" y="170"/>
                </a:lnTo>
                <a:lnTo>
                  <a:pt x="655" y="148"/>
                </a:lnTo>
                <a:lnTo>
                  <a:pt x="657" y="127"/>
                </a:lnTo>
                <a:lnTo>
                  <a:pt x="658" y="116"/>
                </a:lnTo>
                <a:lnTo>
                  <a:pt x="658" y="106"/>
                </a:lnTo>
                <a:lnTo>
                  <a:pt x="657" y="96"/>
                </a:lnTo>
                <a:lnTo>
                  <a:pt x="656" y="86"/>
                </a:lnTo>
                <a:lnTo>
                  <a:pt x="653" y="75"/>
                </a:lnTo>
                <a:lnTo>
                  <a:pt x="648" y="64"/>
                </a:lnTo>
                <a:lnTo>
                  <a:pt x="642" y="56"/>
                </a:lnTo>
                <a:lnTo>
                  <a:pt x="634" y="47"/>
                </a:lnTo>
                <a:lnTo>
                  <a:pt x="625" y="40"/>
                </a:lnTo>
                <a:lnTo>
                  <a:pt x="615" y="32"/>
                </a:lnTo>
                <a:lnTo>
                  <a:pt x="604" y="26"/>
                </a:lnTo>
                <a:lnTo>
                  <a:pt x="593" y="21"/>
                </a:lnTo>
                <a:lnTo>
                  <a:pt x="580" y="15"/>
                </a:lnTo>
                <a:lnTo>
                  <a:pt x="566" y="12"/>
                </a:lnTo>
                <a:lnTo>
                  <a:pt x="552" y="8"/>
                </a:lnTo>
                <a:lnTo>
                  <a:pt x="538" y="6"/>
                </a:lnTo>
                <a:lnTo>
                  <a:pt x="523" y="2"/>
                </a:lnTo>
                <a:lnTo>
                  <a:pt x="508" y="1"/>
                </a:lnTo>
                <a:lnTo>
                  <a:pt x="493" y="0"/>
                </a:lnTo>
                <a:lnTo>
                  <a:pt x="478" y="0"/>
                </a:lnTo>
                <a:lnTo>
                  <a:pt x="455" y="0"/>
                </a:lnTo>
                <a:lnTo>
                  <a:pt x="432" y="3"/>
                </a:lnTo>
                <a:lnTo>
                  <a:pt x="409" y="7"/>
                </a:lnTo>
                <a:lnTo>
                  <a:pt x="388" y="12"/>
                </a:lnTo>
                <a:lnTo>
                  <a:pt x="378" y="16"/>
                </a:lnTo>
                <a:lnTo>
                  <a:pt x="368" y="19"/>
                </a:lnTo>
                <a:lnTo>
                  <a:pt x="359" y="25"/>
                </a:lnTo>
                <a:lnTo>
                  <a:pt x="351" y="29"/>
                </a:lnTo>
                <a:lnTo>
                  <a:pt x="344" y="36"/>
                </a:lnTo>
                <a:lnTo>
                  <a:pt x="337" y="41"/>
                </a:lnTo>
                <a:lnTo>
                  <a:pt x="331" y="48"/>
                </a:lnTo>
                <a:lnTo>
                  <a:pt x="327" y="55"/>
                </a:lnTo>
                <a:lnTo>
                  <a:pt x="319" y="56"/>
                </a:lnTo>
                <a:lnTo>
                  <a:pt x="312" y="58"/>
                </a:lnTo>
                <a:lnTo>
                  <a:pt x="304" y="60"/>
                </a:lnTo>
                <a:lnTo>
                  <a:pt x="298" y="63"/>
                </a:lnTo>
                <a:lnTo>
                  <a:pt x="291" y="67"/>
                </a:lnTo>
                <a:lnTo>
                  <a:pt x="286" y="71"/>
                </a:lnTo>
                <a:lnTo>
                  <a:pt x="281" y="76"/>
                </a:lnTo>
                <a:lnTo>
                  <a:pt x="275" y="82"/>
                </a:lnTo>
                <a:lnTo>
                  <a:pt x="270" y="90"/>
                </a:lnTo>
                <a:lnTo>
                  <a:pt x="267" y="99"/>
                </a:lnTo>
                <a:lnTo>
                  <a:pt x="263" y="110"/>
                </a:lnTo>
                <a:lnTo>
                  <a:pt x="261" y="119"/>
                </a:lnTo>
                <a:lnTo>
                  <a:pt x="260" y="130"/>
                </a:lnTo>
                <a:lnTo>
                  <a:pt x="260" y="141"/>
                </a:lnTo>
                <a:lnTo>
                  <a:pt x="260" y="152"/>
                </a:lnTo>
                <a:lnTo>
                  <a:pt x="261" y="163"/>
                </a:lnTo>
                <a:lnTo>
                  <a:pt x="264" y="186"/>
                </a:lnTo>
                <a:lnTo>
                  <a:pt x="270" y="207"/>
                </a:lnTo>
                <a:lnTo>
                  <a:pt x="275" y="226"/>
                </a:lnTo>
                <a:lnTo>
                  <a:pt x="281" y="244"/>
                </a:lnTo>
                <a:lnTo>
                  <a:pt x="282" y="249"/>
                </a:lnTo>
                <a:lnTo>
                  <a:pt x="283" y="252"/>
                </a:lnTo>
                <a:lnTo>
                  <a:pt x="276" y="260"/>
                </a:lnTo>
                <a:lnTo>
                  <a:pt x="271" y="268"/>
                </a:lnTo>
                <a:lnTo>
                  <a:pt x="267" y="277"/>
                </a:lnTo>
                <a:lnTo>
                  <a:pt x="264" y="287"/>
                </a:lnTo>
                <a:lnTo>
                  <a:pt x="263" y="297"/>
                </a:lnTo>
                <a:lnTo>
                  <a:pt x="262" y="308"/>
                </a:lnTo>
                <a:lnTo>
                  <a:pt x="263" y="319"/>
                </a:lnTo>
                <a:lnTo>
                  <a:pt x="266" y="328"/>
                </a:lnTo>
                <a:lnTo>
                  <a:pt x="269" y="340"/>
                </a:lnTo>
                <a:lnTo>
                  <a:pt x="273" y="350"/>
                </a:lnTo>
                <a:lnTo>
                  <a:pt x="278" y="358"/>
                </a:lnTo>
                <a:lnTo>
                  <a:pt x="285" y="364"/>
                </a:lnTo>
                <a:lnTo>
                  <a:pt x="286" y="375"/>
                </a:lnTo>
                <a:lnTo>
                  <a:pt x="287" y="385"/>
                </a:lnTo>
                <a:lnTo>
                  <a:pt x="289" y="396"/>
                </a:lnTo>
                <a:lnTo>
                  <a:pt x="291" y="404"/>
                </a:lnTo>
                <a:lnTo>
                  <a:pt x="298" y="421"/>
                </a:lnTo>
                <a:lnTo>
                  <a:pt x="304" y="437"/>
                </a:lnTo>
                <a:lnTo>
                  <a:pt x="312" y="448"/>
                </a:lnTo>
                <a:lnTo>
                  <a:pt x="319" y="459"/>
                </a:lnTo>
                <a:lnTo>
                  <a:pt x="326" y="467"/>
                </a:lnTo>
                <a:lnTo>
                  <a:pt x="331" y="473"/>
                </a:lnTo>
                <a:lnTo>
                  <a:pt x="331" y="576"/>
                </a:lnTo>
                <a:lnTo>
                  <a:pt x="317" y="581"/>
                </a:lnTo>
                <a:lnTo>
                  <a:pt x="303" y="587"/>
                </a:lnTo>
                <a:lnTo>
                  <a:pt x="290" y="591"/>
                </a:lnTo>
                <a:lnTo>
                  <a:pt x="277" y="596"/>
                </a:lnTo>
                <a:lnTo>
                  <a:pt x="233" y="612"/>
                </a:lnTo>
                <a:lnTo>
                  <a:pt x="193" y="627"/>
                </a:lnTo>
                <a:lnTo>
                  <a:pt x="155" y="642"/>
                </a:lnTo>
                <a:lnTo>
                  <a:pt x="123" y="658"/>
                </a:lnTo>
                <a:lnTo>
                  <a:pt x="108" y="666"/>
                </a:lnTo>
                <a:lnTo>
                  <a:pt x="94" y="673"/>
                </a:lnTo>
                <a:lnTo>
                  <a:pt x="82" y="682"/>
                </a:lnTo>
                <a:lnTo>
                  <a:pt x="70" y="690"/>
                </a:lnTo>
                <a:lnTo>
                  <a:pt x="61" y="698"/>
                </a:lnTo>
                <a:lnTo>
                  <a:pt x="52" y="708"/>
                </a:lnTo>
                <a:lnTo>
                  <a:pt x="46" y="716"/>
                </a:lnTo>
                <a:lnTo>
                  <a:pt x="39" y="727"/>
                </a:lnTo>
                <a:lnTo>
                  <a:pt x="33" y="741"/>
                </a:lnTo>
                <a:lnTo>
                  <a:pt x="26" y="756"/>
                </a:lnTo>
                <a:lnTo>
                  <a:pt x="21" y="770"/>
                </a:lnTo>
                <a:lnTo>
                  <a:pt x="17" y="784"/>
                </a:lnTo>
                <a:lnTo>
                  <a:pt x="10" y="811"/>
                </a:lnTo>
                <a:lnTo>
                  <a:pt x="5" y="835"/>
                </a:lnTo>
                <a:lnTo>
                  <a:pt x="3" y="856"/>
                </a:lnTo>
                <a:lnTo>
                  <a:pt x="1" y="872"/>
                </a:lnTo>
                <a:lnTo>
                  <a:pt x="1" y="882"/>
                </a:lnTo>
                <a:lnTo>
                  <a:pt x="0" y="887"/>
                </a:lnTo>
                <a:lnTo>
                  <a:pt x="1" y="890"/>
                </a:lnTo>
                <a:lnTo>
                  <a:pt x="2" y="893"/>
                </a:lnTo>
                <a:lnTo>
                  <a:pt x="3" y="895"/>
                </a:lnTo>
                <a:lnTo>
                  <a:pt x="5" y="898"/>
                </a:lnTo>
                <a:lnTo>
                  <a:pt x="7" y="900"/>
                </a:lnTo>
                <a:lnTo>
                  <a:pt x="9" y="901"/>
                </a:lnTo>
                <a:lnTo>
                  <a:pt x="12" y="902"/>
                </a:lnTo>
                <a:lnTo>
                  <a:pt x="15" y="902"/>
                </a:lnTo>
                <a:lnTo>
                  <a:pt x="887" y="902"/>
                </a:lnTo>
                <a:lnTo>
                  <a:pt x="891" y="902"/>
                </a:lnTo>
                <a:lnTo>
                  <a:pt x="894" y="901"/>
                </a:lnTo>
                <a:lnTo>
                  <a:pt x="896" y="900"/>
                </a:lnTo>
                <a:lnTo>
                  <a:pt x="898" y="898"/>
                </a:lnTo>
                <a:lnTo>
                  <a:pt x="900" y="895"/>
                </a:lnTo>
                <a:lnTo>
                  <a:pt x="901" y="893"/>
                </a:lnTo>
                <a:lnTo>
                  <a:pt x="902" y="890"/>
                </a:lnTo>
                <a:lnTo>
                  <a:pt x="902" y="887"/>
                </a:lnTo>
                <a:lnTo>
                  <a:pt x="902" y="882"/>
                </a:lnTo>
                <a:lnTo>
                  <a:pt x="901" y="872"/>
                </a:lnTo>
                <a:lnTo>
                  <a:pt x="900" y="856"/>
                </a:lnTo>
                <a:lnTo>
                  <a:pt x="897" y="835"/>
                </a:lnTo>
                <a:lnTo>
                  <a:pt x="893" y="811"/>
                </a:lnTo>
                <a:lnTo>
                  <a:pt x="885" y="784"/>
                </a:lnTo>
                <a:lnTo>
                  <a:pt x="881" y="770"/>
                </a:lnTo>
                <a:lnTo>
                  <a:pt x="876" y="756"/>
                </a:lnTo>
                <a:lnTo>
                  <a:pt x="870" y="741"/>
                </a:lnTo>
                <a:lnTo>
                  <a:pt x="863" y="727"/>
                </a:lnTo>
                <a:close/>
              </a:path>
            </a:pathLst>
          </a:custGeom>
          <a:solidFill>
            <a:srgbClr val="E2583D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3" name="Freeform 57"/>
          <p:cNvSpPr>
            <a:spLocks noEditPoints="1"/>
          </p:cNvSpPr>
          <p:nvPr/>
        </p:nvSpPr>
        <p:spPr bwMode="auto">
          <a:xfrm>
            <a:off x="4582895" y="3883505"/>
            <a:ext cx="728486" cy="728488"/>
          </a:xfrm>
          <a:custGeom>
            <a:avLst/>
            <a:gdLst>
              <a:gd name="T0" fmla="*/ 58 w 902"/>
              <a:gd name="T1" fmla="*/ 760 h 902"/>
              <a:gd name="T2" fmla="*/ 105 w 902"/>
              <a:gd name="T3" fmla="*/ 702 h 902"/>
              <a:gd name="T4" fmla="*/ 247 w 902"/>
              <a:gd name="T5" fmla="*/ 639 h 902"/>
              <a:gd name="T6" fmla="*/ 356 w 902"/>
              <a:gd name="T7" fmla="*/ 598 h 902"/>
              <a:gd name="T8" fmla="*/ 360 w 902"/>
              <a:gd name="T9" fmla="*/ 459 h 902"/>
              <a:gd name="T10" fmla="*/ 328 w 902"/>
              <a:gd name="T11" fmla="*/ 415 h 902"/>
              <a:gd name="T12" fmla="*/ 315 w 902"/>
              <a:gd name="T13" fmla="*/ 354 h 902"/>
              <a:gd name="T14" fmla="*/ 296 w 902"/>
              <a:gd name="T15" fmla="*/ 324 h 902"/>
              <a:gd name="T16" fmla="*/ 297 w 902"/>
              <a:gd name="T17" fmla="*/ 284 h 902"/>
              <a:gd name="T18" fmla="*/ 313 w 902"/>
              <a:gd name="T19" fmla="*/ 267 h 902"/>
              <a:gd name="T20" fmla="*/ 300 w 902"/>
              <a:gd name="T21" fmla="*/ 205 h 902"/>
              <a:gd name="T22" fmla="*/ 293 w 902"/>
              <a:gd name="T23" fmla="*/ 113 h 902"/>
              <a:gd name="T24" fmla="*/ 315 w 902"/>
              <a:gd name="T25" fmla="*/ 88 h 902"/>
              <a:gd name="T26" fmla="*/ 352 w 902"/>
              <a:gd name="T27" fmla="*/ 73 h 902"/>
              <a:gd name="T28" fmla="*/ 377 w 902"/>
              <a:gd name="T29" fmla="*/ 48 h 902"/>
              <a:gd name="T30" fmla="*/ 478 w 902"/>
              <a:gd name="T31" fmla="*/ 30 h 902"/>
              <a:gd name="T32" fmla="*/ 574 w 902"/>
              <a:gd name="T33" fmla="*/ 45 h 902"/>
              <a:gd name="T34" fmla="*/ 620 w 902"/>
              <a:gd name="T35" fmla="*/ 77 h 902"/>
              <a:gd name="T36" fmla="*/ 627 w 902"/>
              <a:gd name="T37" fmla="*/ 127 h 902"/>
              <a:gd name="T38" fmla="*/ 590 w 902"/>
              <a:gd name="T39" fmla="*/ 250 h 902"/>
              <a:gd name="T40" fmla="*/ 596 w 902"/>
              <a:gd name="T41" fmla="*/ 272 h 902"/>
              <a:gd name="T42" fmla="*/ 610 w 902"/>
              <a:gd name="T43" fmla="*/ 298 h 902"/>
              <a:gd name="T44" fmla="*/ 600 w 902"/>
              <a:gd name="T45" fmla="*/ 339 h 902"/>
              <a:gd name="T46" fmla="*/ 586 w 902"/>
              <a:gd name="T47" fmla="*/ 379 h 902"/>
              <a:gd name="T48" fmla="*/ 546 w 902"/>
              <a:gd name="T49" fmla="*/ 461 h 902"/>
              <a:gd name="T50" fmla="*/ 542 w 902"/>
              <a:gd name="T51" fmla="*/ 591 h 902"/>
              <a:gd name="T52" fmla="*/ 600 w 902"/>
              <a:gd name="T53" fmla="*/ 619 h 902"/>
              <a:gd name="T54" fmla="*/ 774 w 902"/>
              <a:gd name="T55" fmla="*/ 688 h 902"/>
              <a:gd name="T56" fmla="*/ 832 w 902"/>
              <a:gd name="T57" fmla="*/ 732 h 902"/>
              <a:gd name="T58" fmla="*/ 869 w 902"/>
              <a:gd name="T59" fmla="*/ 848 h 902"/>
              <a:gd name="T60" fmla="*/ 841 w 902"/>
              <a:gd name="T61" fmla="*/ 698 h 902"/>
              <a:gd name="T62" fmla="*/ 747 w 902"/>
              <a:gd name="T63" fmla="*/ 642 h 902"/>
              <a:gd name="T64" fmla="*/ 585 w 902"/>
              <a:gd name="T65" fmla="*/ 581 h 902"/>
              <a:gd name="T66" fmla="*/ 598 w 902"/>
              <a:gd name="T67" fmla="*/ 440 h 902"/>
              <a:gd name="T68" fmla="*/ 618 w 902"/>
              <a:gd name="T69" fmla="*/ 364 h 902"/>
              <a:gd name="T70" fmla="*/ 640 w 902"/>
              <a:gd name="T71" fmla="*/ 308 h 902"/>
              <a:gd name="T72" fmla="*/ 620 w 902"/>
              <a:gd name="T73" fmla="*/ 253 h 902"/>
              <a:gd name="T74" fmla="*/ 649 w 902"/>
              <a:gd name="T75" fmla="*/ 170 h 902"/>
              <a:gd name="T76" fmla="*/ 656 w 902"/>
              <a:gd name="T77" fmla="*/ 86 h 902"/>
              <a:gd name="T78" fmla="*/ 615 w 902"/>
              <a:gd name="T79" fmla="*/ 32 h 902"/>
              <a:gd name="T80" fmla="*/ 538 w 902"/>
              <a:gd name="T81" fmla="*/ 6 h 902"/>
              <a:gd name="T82" fmla="*/ 432 w 902"/>
              <a:gd name="T83" fmla="*/ 3 h 902"/>
              <a:gd name="T84" fmla="*/ 351 w 902"/>
              <a:gd name="T85" fmla="*/ 29 h 902"/>
              <a:gd name="T86" fmla="*/ 312 w 902"/>
              <a:gd name="T87" fmla="*/ 58 h 902"/>
              <a:gd name="T88" fmla="*/ 275 w 902"/>
              <a:gd name="T89" fmla="*/ 82 h 902"/>
              <a:gd name="T90" fmla="*/ 260 w 902"/>
              <a:gd name="T91" fmla="*/ 141 h 902"/>
              <a:gd name="T92" fmla="*/ 281 w 902"/>
              <a:gd name="T93" fmla="*/ 244 h 902"/>
              <a:gd name="T94" fmla="*/ 264 w 902"/>
              <a:gd name="T95" fmla="*/ 287 h 902"/>
              <a:gd name="T96" fmla="*/ 273 w 902"/>
              <a:gd name="T97" fmla="*/ 350 h 902"/>
              <a:gd name="T98" fmla="*/ 291 w 902"/>
              <a:gd name="T99" fmla="*/ 404 h 902"/>
              <a:gd name="T100" fmla="*/ 331 w 902"/>
              <a:gd name="T101" fmla="*/ 473 h 902"/>
              <a:gd name="T102" fmla="*/ 233 w 902"/>
              <a:gd name="T103" fmla="*/ 612 h 902"/>
              <a:gd name="T104" fmla="*/ 82 w 902"/>
              <a:gd name="T105" fmla="*/ 682 h 902"/>
              <a:gd name="T106" fmla="*/ 33 w 902"/>
              <a:gd name="T107" fmla="*/ 741 h 902"/>
              <a:gd name="T108" fmla="*/ 3 w 902"/>
              <a:gd name="T109" fmla="*/ 856 h 902"/>
              <a:gd name="T110" fmla="*/ 3 w 902"/>
              <a:gd name="T111" fmla="*/ 895 h 902"/>
              <a:gd name="T112" fmla="*/ 887 w 902"/>
              <a:gd name="T113" fmla="*/ 902 h 902"/>
              <a:gd name="T114" fmla="*/ 901 w 902"/>
              <a:gd name="T115" fmla="*/ 893 h 902"/>
              <a:gd name="T116" fmla="*/ 897 w 902"/>
              <a:gd name="T117" fmla="*/ 835 h 902"/>
              <a:gd name="T118" fmla="*/ 863 w 902"/>
              <a:gd name="T119" fmla="*/ 727 h 9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902" h="902">
                <a:moveTo>
                  <a:pt x="31" y="872"/>
                </a:moveTo>
                <a:lnTo>
                  <a:pt x="34" y="848"/>
                </a:lnTo>
                <a:lnTo>
                  <a:pt x="39" y="816"/>
                </a:lnTo>
                <a:lnTo>
                  <a:pt x="45" y="798"/>
                </a:lnTo>
                <a:lnTo>
                  <a:pt x="50" y="780"/>
                </a:lnTo>
                <a:lnTo>
                  <a:pt x="58" y="760"/>
                </a:lnTo>
                <a:lnTo>
                  <a:pt x="66" y="740"/>
                </a:lnTo>
                <a:lnTo>
                  <a:pt x="71" y="732"/>
                </a:lnTo>
                <a:lnTo>
                  <a:pt x="78" y="725"/>
                </a:lnTo>
                <a:lnTo>
                  <a:pt x="85" y="717"/>
                </a:lnTo>
                <a:lnTo>
                  <a:pt x="94" y="710"/>
                </a:lnTo>
                <a:lnTo>
                  <a:pt x="105" y="702"/>
                </a:lnTo>
                <a:lnTo>
                  <a:pt x="117" y="695"/>
                </a:lnTo>
                <a:lnTo>
                  <a:pt x="129" y="688"/>
                </a:lnTo>
                <a:lnTo>
                  <a:pt x="143" y="681"/>
                </a:lnTo>
                <a:lnTo>
                  <a:pt x="174" y="667"/>
                </a:lnTo>
                <a:lnTo>
                  <a:pt x="209" y="653"/>
                </a:lnTo>
                <a:lnTo>
                  <a:pt x="247" y="639"/>
                </a:lnTo>
                <a:lnTo>
                  <a:pt x="287" y="624"/>
                </a:lnTo>
                <a:lnTo>
                  <a:pt x="303" y="619"/>
                </a:lnTo>
                <a:lnTo>
                  <a:pt x="319" y="612"/>
                </a:lnTo>
                <a:lnTo>
                  <a:pt x="335" y="607"/>
                </a:lnTo>
                <a:lnTo>
                  <a:pt x="351" y="601"/>
                </a:lnTo>
                <a:lnTo>
                  <a:pt x="356" y="598"/>
                </a:lnTo>
                <a:lnTo>
                  <a:pt x="359" y="595"/>
                </a:lnTo>
                <a:lnTo>
                  <a:pt x="360" y="591"/>
                </a:lnTo>
                <a:lnTo>
                  <a:pt x="361" y="587"/>
                </a:lnTo>
                <a:lnTo>
                  <a:pt x="361" y="467"/>
                </a:lnTo>
                <a:lnTo>
                  <a:pt x="361" y="462"/>
                </a:lnTo>
                <a:lnTo>
                  <a:pt x="360" y="459"/>
                </a:lnTo>
                <a:lnTo>
                  <a:pt x="358" y="457"/>
                </a:lnTo>
                <a:lnTo>
                  <a:pt x="356" y="455"/>
                </a:lnTo>
                <a:lnTo>
                  <a:pt x="349" y="448"/>
                </a:lnTo>
                <a:lnTo>
                  <a:pt x="335" y="429"/>
                </a:lnTo>
                <a:lnTo>
                  <a:pt x="331" y="423"/>
                </a:lnTo>
                <a:lnTo>
                  <a:pt x="328" y="415"/>
                </a:lnTo>
                <a:lnTo>
                  <a:pt x="325" y="408"/>
                </a:lnTo>
                <a:lnTo>
                  <a:pt x="321" y="398"/>
                </a:lnTo>
                <a:lnTo>
                  <a:pt x="318" y="388"/>
                </a:lnTo>
                <a:lnTo>
                  <a:pt x="316" y="378"/>
                </a:lnTo>
                <a:lnTo>
                  <a:pt x="315" y="367"/>
                </a:lnTo>
                <a:lnTo>
                  <a:pt x="315" y="354"/>
                </a:lnTo>
                <a:lnTo>
                  <a:pt x="314" y="349"/>
                </a:lnTo>
                <a:lnTo>
                  <a:pt x="312" y="344"/>
                </a:lnTo>
                <a:lnTo>
                  <a:pt x="307" y="341"/>
                </a:lnTo>
                <a:lnTo>
                  <a:pt x="302" y="339"/>
                </a:lnTo>
                <a:lnTo>
                  <a:pt x="299" y="334"/>
                </a:lnTo>
                <a:lnTo>
                  <a:pt x="296" y="324"/>
                </a:lnTo>
                <a:lnTo>
                  <a:pt x="294" y="319"/>
                </a:lnTo>
                <a:lnTo>
                  <a:pt x="293" y="311"/>
                </a:lnTo>
                <a:lnTo>
                  <a:pt x="292" y="305"/>
                </a:lnTo>
                <a:lnTo>
                  <a:pt x="293" y="298"/>
                </a:lnTo>
                <a:lnTo>
                  <a:pt x="294" y="291"/>
                </a:lnTo>
                <a:lnTo>
                  <a:pt x="297" y="284"/>
                </a:lnTo>
                <a:lnTo>
                  <a:pt x="298" y="280"/>
                </a:lnTo>
                <a:lnTo>
                  <a:pt x="300" y="278"/>
                </a:lnTo>
                <a:lnTo>
                  <a:pt x="303" y="275"/>
                </a:lnTo>
                <a:lnTo>
                  <a:pt x="306" y="272"/>
                </a:lnTo>
                <a:lnTo>
                  <a:pt x="309" y="270"/>
                </a:lnTo>
                <a:lnTo>
                  <a:pt x="313" y="267"/>
                </a:lnTo>
                <a:lnTo>
                  <a:pt x="314" y="264"/>
                </a:lnTo>
                <a:lnTo>
                  <a:pt x="315" y="260"/>
                </a:lnTo>
                <a:lnTo>
                  <a:pt x="314" y="251"/>
                </a:lnTo>
                <a:lnTo>
                  <a:pt x="308" y="235"/>
                </a:lnTo>
                <a:lnTo>
                  <a:pt x="305" y="222"/>
                </a:lnTo>
                <a:lnTo>
                  <a:pt x="300" y="205"/>
                </a:lnTo>
                <a:lnTo>
                  <a:pt x="296" y="187"/>
                </a:lnTo>
                <a:lnTo>
                  <a:pt x="292" y="167"/>
                </a:lnTo>
                <a:lnTo>
                  <a:pt x="290" y="148"/>
                </a:lnTo>
                <a:lnTo>
                  <a:pt x="290" y="130"/>
                </a:lnTo>
                <a:lnTo>
                  <a:pt x="291" y="121"/>
                </a:lnTo>
                <a:lnTo>
                  <a:pt x="293" y="113"/>
                </a:lnTo>
                <a:lnTo>
                  <a:pt x="296" y="106"/>
                </a:lnTo>
                <a:lnTo>
                  <a:pt x="300" y="100"/>
                </a:lnTo>
                <a:lnTo>
                  <a:pt x="303" y="97"/>
                </a:lnTo>
                <a:lnTo>
                  <a:pt x="306" y="93"/>
                </a:lnTo>
                <a:lnTo>
                  <a:pt x="311" y="90"/>
                </a:lnTo>
                <a:lnTo>
                  <a:pt x="315" y="88"/>
                </a:lnTo>
                <a:lnTo>
                  <a:pt x="326" y="86"/>
                </a:lnTo>
                <a:lnTo>
                  <a:pt x="337" y="85"/>
                </a:lnTo>
                <a:lnTo>
                  <a:pt x="343" y="84"/>
                </a:lnTo>
                <a:lnTo>
                  <a:pt x="347" y="82"/>
                </a:lnTo>
                <a:lnTo>
                  <a:pt x="350" y="78"/>
                </a:lnTo>
                <a:lnTo>
                  <a:pt x="352" y="73"/>
                </a:lnTo>
                <a:lnTo>
                  <a:pt x="353" y="69"/>
                </a:lnTo>
                <a:lnTo>
                  <a:pt x="357" y="64"/>
                </a:lnTo>
                <a:lnTo>
                  <a:pt x="360" y="60"/>
                </a:lnTo>
                <a:lnTo>
                  <a:pt x="365" y="56"/>
                </a:lnTo>
                <a:lnTo>
                  <a:pt x="371" y="53"/>
                </a:lnTo>
                <a:lnTo>
                  <a:pt x="377" y="48"/>
                </a:lnTo>
                <a:lnTo>
                  <a:pt x="385" y="45"/>
                </a:lnTo>
                <a:lnTo>
                  <a:pt x="393" y="42"/>
                </a:lnTo>
                <a:lnTo>
                  <a:pt x="410" y="38"/>
                </a:lnTo>
                <a:lnTo>
                  <a:pt x="431" y="33"/>
                </a:lnTo>
                <a:lnTo>
                  <a:pt x="453" y="31"/>
                </a:lnTo>
                <a:lnTo>
                  <a:pt x="478" y="30"/>
                </a:lnTo>
                <a:lnTo>
                  <a:pt x="502" y="31"/>
                </a:lnTo>
                <a:lnTo>
                  <a:pt x="528" y="34"/>
                </a:lnTo>
                <a:lnTo>
                  <a:pt x="540" y="37"/>
                </a:lnTo>
                <a:lnTo>
                  <a:pt x="552" y="39"/>
                </a:lnTo>
                <a:lnTo>
                  <a:pt x="564" y="42"/>
                </a:lnTo>
                <a:lnTo>
                  <a:pt x="574" y="45"/>
                </a:lnTo>
                <a:lnTo>
                  <a:pt x="584" y="49"/>
                </a:lnTo>
                <a:lnTo>
                  <a:pt x="594" y="54"/>
                </a:lnTo>
                <a:lnTo>
                  <a:pt x="602" y="59"/>
                </a:lnTo>
                <a:lnTo>
                  <a:pt x="609" y="64"/>
                </a:lnTo>
                <a:lnTo>
                  <a:pt x="615" y="71"/>
                </a:lnTo>
                <a:lnTo>
                  <a:pt x="620" y="77"/>
                </a:lnTo>
                <a:lnTo>
                  <a:pt x="624" y="84"/>
                </a:lnTo>
                <a:lnTo>
                  <a:pt x="626" y="91"/>
                </a:lnTo>
                <a:lnTo>
                  <a:pt x="628" y="100"/>
                </a:lnTo>
                <a:lnTo>
                  <a:pt x="628" y="108"/>
                </a:lnTo>
                <a:lnTo>
                  <a:pt x="628" y="118"/>
                </a:lnTo>
                <a:lnTo>
                  <a:pt x="627" y="127"/>
                </a:lnTo>
                <a:lnTo>
                  <a:pt x="625" y="146"/>
                </a:lnTo>
                <a:lnTo>
                  <a:pt x="619" y="165"/>
                </a:lnTo>
                <a:lnTo>
                  <a:pt x="609" y="201"/>
                </a:lnTo>
                <a:lnTo>
                  <a:pt x="597" y="231"/>
                </a:lnTo>
                <a:lnTo>
                  <a:pt x="593" y="241"/>
                </a:lnTo>
                <a:lnTo>
                  <a:pt x="590" y="250"/>
                </a:lnTo>
                <a:lnTo>
                  <a:pt x="588" y="255"/>
                </a:lnTo>
                <a:lnTo>
                  <a:pt x="588" y="260"/>
                </a:lnTo>
                <a:lnTo>
                  <a:pt x="588" y="264"/>
                </a:lnTo>
                <a:lnTo>
                  <a:pt x="590" y="267"/>
                </a:lnTo>
                <a:lnTo>
                  <a:pt x="593" y="270"/>
                </a:lnTo>
                <a:lnTo>
                  <a:pt x="596" y="272"/>
                </a:lnTo>
                <a:lnTo>
                  <a:pt x="600" y="275"/>
                </a:lnTo>
                <a:lnTo>
                  <a:pt x="602" y="278"/>
                </a:lnTo>
                <a:lnTo>
                  <a:pt x="604" y="280"/>
                </a:lnTo>
                <a:lnTo>
                  <a:pt x="606" y="284"/>
                </a:lnTo>
                <a:lnTo>
                  <a:pt x="609" y="291"/>
                </a:lnTo>
                <a:lnTo>
                  <a:pt x="610" y="298"/>
                </a:lnTo>
                <a:lnTo>
                  <a:pt x="610" y="305"/>
                </a:lnTo>
                <a:lnTo>
                  <a:pt x="610" y="311"/>
                </a:lnTo>
                <a:lnTo>
                  <a:pt x="609" y="318"/>
                </a:lnTo>
                <a:lnTo>
                  <a:pt x="608" y="324"/>
                </a:lnTo>
                <a:lnTo>
                  <a:pt x="603" y="334"/>
                </a:lnTo>
                <a:lnTo>
                  <a:pt x="600" y="339"/>
                </a:lnTo>
                <a:lnTo>
                  <a:pt x="596" y="341"/>
                </a:lnTo>
                <a:lnTo>
                  <a:pt x="591" y="344"/>
                </a:lnTo>
                <a:lnTo>
                  <a:pt x="589" y="349"/>
                </a:lnTo>
                <a:lnTo>
                  <a:pt x="588" y="354"/>
                </a:lnTo>
                <a:lnTo>
                  <a:pt x="587" y="367"/>
                </a:lnTo>
                <a:lnTo>
                  <a:pt x="586" y="379"/>
                </a:lnTo>
                <a:lnTo>
                  <a:pt x="584" y="389"/>
                </a:lnTo>
                <a:lnTo>
                  <a:pt x="582" y="399"/>
                </a:lnTo>
                <a:lnTo>
                  <a:pt x="575" y="418"/>
                </a:lnTo>
                <a:lnTo>
                  <a:pt x="567" y="433"/>
                </a:lnTo>
                <a:lnTo>
                  <a:pt x="553" y="455"/>
                </a:lnTo>
                <a:lnTo>
                  <a:pt x="546" y="461"/>
                </a:lnTo>
                <a:lnTo>
                  <a:pt x="544" y="464"/>
                </a:lnTo>
                <a:lnTo>
                  <a:pt x="543" y="467"/>
                </a:lnTo>
                <a:lnTo>
                  <a:pt x="542" y="470"/>
                </a:lnTo>
                <a:lnTo>
                  <a:pt x="541" y="473"/>
                </a:lnTo>
                <a:lnTo>
                  <a:pt x="541" y="587"/>
                </a:lnTo>
                <a:lnTo>
                  <a:pt x="542" y="591"/>
                </a:lnTo>
                <a:lnTo>
                  <a:pt x="544" y="595"/>
                </a:lnTo>
                <a:lnTo>
                  <a:pt x="548" y="598"/>
                </a:lnTo>
                <a:lnTo>
                  <a:pt x="552" y="601"/>
                </a:lnTo>
                <a:lnTo>
                  <a:pt x="568" y="607"/>
                </a:lnTo>
                <a:lnTo>
                  <a:pt x="584" y="612"/>
                </a:lnTo>
                <a:lnTo>
                  <a:pt x="600" y="619"/>
                </a:lnTo>
                <a:lnTo>
                  <a:pt x="615" y="624"/>
                </a:lnTo>
                <a:lnTo>
                  <a:pt x="656" y="639"/>
                </a:lnTo>
                <a:lnTo>
                  <a:pt x="693" y="653"/>
                </a:lnTo>
                <a:lnTo>
                  <a:pt x="729" y="667"/>
                </a:lnTo>
                <a:lnTo>
                  <a:pt x="760" y="681"/>
                </a:lnTo>
                <a:lnTo>
                  <a:pt x="774" y="688"/>
                </a:lnTo>
                <a:lnTo>
                  <a:pt x="787" y="695"/>
                </a:lnTo>
                <a:lnTo>
                  <a:pt x="797" y="702"/>
                </a:lnTo>
                <a:lnTo>
                  <a:pt x="808" y="710"/>
                </a:lnTo>
                <a:lnTo>
                  <a:pt x="818" y="717"/>
                </a:lnTo>
                <a:lnTo>
                  <a:pt x="825" y="725"/>
                </a:lnTo>
                <a:lnTo>
                  <a:pt x="832" y="732"/>
                </a:lnTo>
                <a:lnTo>
                  <a:pt x="836" y="740"/>
                </a:lnTo>
                <a:lnTo>
                  <a:pt x="846" y="759"/>
                </a:lnTo>
                <a:lnTo>
                  <a:pt x="852" y="780"/>
                </a:lnTo>
                <a:lnTo>
                  <a:pt x="858" y="798"/>
                </a:lnTo>
                <a:lnTo>
                  <a:pt x="863" y="816"/>
                </a:lnTo>
                <a:lnTo>
                  <a:pt x="869" y="848"/>
                </a:lnTo>
                <a:lnTo>
                  <a:pt x="871" y="872"/>
                </a:lnTo>
                <a:lnTo>
                  <a:pt x="31" y="872"/>
                </a:lnTo>
                <a:close/>
                <a:moveTo>
                  <a:pt x="863" y="727"/>
                </a:moveTo>
                <a:lnTo>
                  <a:pt x="857" y="716"/>
                </a:lnTo>
                <a:lnTo>
                  <a:pt x="850" y="708"/>
                </a:lnTo>
                <a:lnTo>
                  <a:pt x="841" y="698"/>
                </a:lnTo>
                <a:lnTo>
                  <a:pt x="832" y="690"/>
                </a:lnTo>
                <a:lnTo>
                  <a:pt x="821" y="682"/>
                </a:lnTo>
                <a:lnTo>
                  <a:pt x="808" y="673"/>
                </a:lnTo>
                <a:lnTo>
                  <a:pt x="795" y="666"/>
                </a:lnTo>
                <a:lnTo>
                  <a:pt x="780" y="657"/>
                </a:lnTo>
                <a:lnTo>
                  <a:pt x="747" y="642"/>
                </a:lnTo>
                <a:lnTo>
                  <a:pt x="710" y="627"/>
                </a:lnTo>
                <a:lnTo>
                  <a:pt x="670" y="612"/>
                </a:lnTo>
                <a:lnTo>
                  <a:pt x="626" y="596"/>
                </a:lnTo>
                <a:lnTo>
                  <a:pt x="613" y="591"/>
                </a:lnTo>
                <a:lnTo>
                  <a:pt x="599" y="587"/>
                </a:lnTo>
                <a:lnTo>
                  <a:pt x="585" y="581"/>
                </a:lnTo>
                <a:lnTo>
                  <a:pt x="571" y="576"/>
                </a:lnTo>
                <a:lnTo>
                  <a:pt x="571" y="478"/>
                </a:lnTo>
                <a:lnTo>
                  <a:pt x="578" y="473"/>
                </a:lnTo>
                <a:lnTo>
                  <a:pt x="584" y="464"/>
                </a:lnTo>
                <a:lnTo>
                  <a:pt x="590" y="453"/>
                </a:lnTo>
                <a:lnTo>
                  <a:pt x="598" y="440"/>
                </a:lnTo>
                <a:lnTo>
                  <a:pt x="605" y="424"/>
                </a:lnTo>
                <a:lnTo>
                  <a:pt x="611" y="406"/>
                </a:lnTo>
                <a:lnTo>
                  <a:pt x="614" y="397"/>
                </a:lnTo>
                <a:lnTo>
                  <a:pt x="615" y="386"/>
                </a:lnTo>
                <a:lnTo>
                  <a:pt x="617" y="375"/>
                </a:lnTo>
                <a:lnTo>
                  <a:pt x="618" y="364"/>
                </a:lnTo>
                <a:lnTo>
                  <a:pt x="624" y="358"/>
                </a:lnTo>
                <a:lnTo>
                  <a:pt x="629" y="350"/>
                </a:lnTo>
                <a:lnTo>
                  <a:pt x="633" y="340"/>
                </a:lnTo>
                <a:lnTo>
                  <a:pt x="638" y="328"/>
                </a:lnTo>
                <a:lnTo>
                  <a:pt x="639" y="319"/>
                </a:lnTo>
                <a:lnTo>
                  <a:pt x="640" y="308"/>
                </a:lnTo>
                <a:lnTo>
                  <a:pt x="640" y="297"/>
                </a:lnTo>
                <a:lnTo>
                  <a:pt x="639" y="287"/>
                </a:lnTo>
                <a:lnTo>
                  <a:pt x="635" y="278"/>
                </a:lnTo>
                <a:lnTo>
                  <a:pt x="632" y="268"/>
                </a:lnTo>
                <a:lnTo>
                  <a:pt x="627" y="261"/>
                </a:lnTo>
                <a:lnTo>
                  <a:pt x="620" y="253"/>
                </a:lnTo>
                <a:lnTo>
                  <a:pt x="623" y="248"/>
                </a:lnTo>
                <a:lnTo>
                  <a:pt x="625" y="242"/>
                </a:lnTo>
                <a:lnTo>
                  <a:pt x="631" y="227"/>
                </a:lnTo>
                <a:lnTo>
                  <a:pt x="638" y="209"/>
                </a:lnTo>
                <a:lnTo>
                  <a:pt x="644" y="190"/>
                </a:lnTo>
                <a:lnTo>
                  <a:pt x="649" y="170"/>
                </a:lnTo>
                <a:lnTo>
                  <a:pt x="655" y="148"/>
                </a:lnTo>
                <a:lnTo>
                  <a:pt x="657" y="127"/>
                </a:lnTo>
                <a:lnTo>
                  <a:pt x="658" y="116"/>
                </a:lnTo>
                <a:lnTo>
                  <a:pt x="658" y="106"/>
                </a:lnTo>
                <a:lnTo>
                  <a:pt x="657" y="96"/>
                </a:lnTo>
                <a:lnTo>
                  <a:pt x="656" y="86"/>
                </a:lnTo>
                <a:lnTo>
                  <a:pt x="653" y="75"/>
                </a:lnTo>
                <a:lnTo>
                  <a:pt x="648" y="64"/>
                </a:lnTo>
                <a:lnTo>
                  <a:pt x="642" y="56"/>
                </a:lnTo>
                <a:lnTo>
                  <a:pt x="634" y="47"/>
                </a:lnTo>
                <a:lnTo>
                  <a:pt x="625" y="40"/>
                </a:lnTo>
                <a:lnTo>
                  <a:pt x="615" y="32"/>
                </a:lnTo>
                <a:lnTo>
                  <a:pt x="604" y="26"/>
                </a:lnTo>
                <a:lnTo>
                  <a:pt x="593" y="21"/>
                </a:lnTo>
                <a:lnTo>
                  <a:pt x="580" y="15"/>
                </a:lnTo>
                <a:lnTo>
                  <a:pt x="566" y="12"/>
                </a:lnTo>
                <a:lnTo>
                  <a:pt x="552" y="8"/>
                </a:lnTo>
                <a:lnTo>
                  <a:pt x="538" y="6"/>
                </a:lnTo>
                <a:lnTo>
                  <a:pt x="523" y="2"/>
                </a:lnTo>
                <a:lnTo>
                  <a:pt x="508" y="1"/>
                </a:lnTo>
                <a:lnTo>
                  <a:pt x="493" y="0"/>
                </a:lnTo>
                <a:lnTo>
                  <a:pt x="478" y="0"/>
                </a:lnTo>
                <a:lnTo>
                  <a:pt x="455" y="0"/>
                </a:lnTo>
                <a:lnTo>
                  <a:pt x="432" y="3"/>
                </a:lnTo>
                <a:lnTo>
                  <a:pt x="409" y="7"/>
                </a:lnTo>
                <a:lnTo>
                  <a:pt x="388" y="12"/>
                </a:lnTo>
                <a:lnTo>
                  <a:pt x="378" y="16"/>
                </a:lnTo>
                <a:lnTo>
                  <a:pt x="368" y="19"/>
                </a:lnTo>
                <a:lnTo>
                  <a:pt x="359" y="25"/>
                </a:lnTo>
                <a:lnTo>
                  <a:pt x="351" y="29"/>
                </a:lnTo>
                <a:lnTo>
                  <a:pt x="344" y="36"/>
                </a:lnTo>
                <a:lnTo>
                  <a:pt x="337" y="41"/>
                </a:lnTo>
                <a:lnTo>
                  <a:pt x="331" y="48"/>
                </a:lnTo>
                <a:lnTo>
                  <a:pt x="327" y="55"/>
                </a:lnTo>
                <a:lnTo>
                  <a:pt x="319" y="56"/>
                </a:lnTo>
                <a:lnTo>
                  <a:pt x="312" y="58"/>
                </a:lnTo>
                <a:lnTo>
                  <a:pt x="304" y="60"/>
                </a:lnTo>
                <a:lnTo>
                  <a:pt x="298" y="63"/>
                </a:lnTo>
                <a:lnTo>
                  <a:pt x="291" y="67"/>
                </a:lnTo>
                <a:lnTo>
                  <a:pt x="286" y="71"/>
                </a:lnTo>
                <a:lnTo>
                  <a:pt x="281" y="76"/>
                </a:lnTo>
                <a:lnTo>
                  <a:pt x="275" y="82"/>
                </a:lnTo>
                <a:lnTo>
                  <a:pt x="270" y="90"/>
                </a:lnTo>
                <a:lnTo>
                  <a:pt x="267" y="99"/>
                </a:lnTo>
                <a:lnTo>
                  <a:pt x="263" y="110"/>
                </a:lnTo>
                <a:lnTo>
                  <a:pt x="261" y="119"/>
                </a:lnTo>
                <a:lnTo>
                  <a:pt x="260" y="130"/>
                </a:lnTo>
                <a:lnTo>
                  <a:pt x="260" y="141"/>
                </a:lnTo>
                <a:lnTo>
                  <a:pt x="260" y="152"/>
                </a:lnTo>
                <a:lnTo>
                  <a:pt x="261" y="163"/>
                </a:lnTo>
                <a:lnTo>
                  <a:pt x="264" y="186"/>
                </a:lnTo>
                <a:lnTo>
                  <a:pt x="270" y="207"/>
                </a:lnTo>
                <a:lnTo>
                  <a:pt x="275" y="226"/>
                </a:lnTo>
                <a:lnTo>
                  <a:pt x="281" y="244"/>
                </a:lnTo>
                <a:lnTo>
                  <a:pt x="282" y="249"/>
                </a:lnTo>
                <a:lnTo>
                  <a:pt x="283" y="252"/>
                </a:lnTo>
                <a:lnTo>
                  <a:pt x="276" y="260"/>
                </a:lnTo>
                <a:lnTo>
                  <a:pt x="271" y="268"/>
                </a:lnTo>
                <a:lnTo>
                  <a:pt x="267" y="277"/>
                </a:lnTo>
                <a:lnTo>
                  <a:pt x="264" y="287"/>
                </a:lnTo>
                <a:lnTo>
                  <a:pt x="263" y="297"/>
                </a:lnTo>
                <a:lnTo>
                  <a:pt x="262" y="308"/>
                </a:lnTo>
                <a:lnTo>
                  <a:pt x="263" y="319"/>
                </a:lnTo>
                <a:lnTo>
                  <a:pt x="266" y="328"/>
                </a:lnTo>
                <a:lnTo>
                  <a:pt x="269" y="340"/>
                </a:lnTo>
                <a:lnTo>
                  <a:pt x="273" y="350"/>
                </a:lnTo>
                <a:lnTo>
                  <a:pt x="278" y="358"/>
                </a:lnTo>
                <a:lnTo>
                  <a:pt x="285" y="364"/>
                </a:lnTo>
                <a:lnTo>
                  <a:pt x="286" y="375"/>
                </a:lnTo>
                <a:lnTo>
                  <a:pt x="287" y="385"/>
                </a:lnTo>
                <a:lnTo>
                  <a:pt x="289" y="396"/>
                </a:lnTo>
                <a:lnTo>
                  <a:pt x="291" y="404"/>
                </a:lnTo>
                <a:lnTo>
                  <a:pt x="298" y="421"/>
                </a:lnTo>
                <a:lnTo>
                  <a:pt x="304" y="437"/>
                </a:lnTo>
                <a:lnTo>
                  <a:pt x="312" y="448"/>
                </a:lnTo>
                <a:lnTo>
                  <a:pt x="319" y="459"/>
                </a:lnTo>
                <a:lnTo>
                  <a:pt x="326" y="467"/>
                </a:lnTo>
                <a:lnTo>
                  <a:pt x="331" y="473"/>
                </a:lnTo>
                <a:lnTo>
                  <a:pt x="331" y="576"/>
                </a:lnTo>
                <a:lnTo>
                  <a:pt x="317" y="581"/>
                </a:lnTo>
                <a:lnTo>
                  <a:pt x="303" y="587"/>
                </a:lnTo>
                <a:lnTo>
                  <a:pt x="290" y="591"/>
                </a:lnTo>
                <a:lnTo>
                  <a:pt x="277" y="596"/>
                </a:lnTo>
                <a:lnTo>
                  <a:pt x="233" y="612"/>
                </a:lnTo>
                <a:lnTo>
                  <a:pt x="193" y="627"/>
                </a:lnTo>
                <a:lnTo>
                  <a:pt x="155" y="642"/>
                </a:lnTo>
                <a:lnTo>
                  <a:pt x="123" y="658"/>
                </a:lnTo>
                <a:lnTo>
                  <a:pt x="108" y="666"/>
                </a:lnTo>
                <a:lnTo>
                  <a:pt x="94" y="673"/>
                </a:lnTo>
                <a:lnTo>
                  <a:pt x="82" y="682"/>
                </a:lnTo>
                <a:lnTo>
                  <a:pt x="70" y="690"/>
                </a:lnTo>
                <a:lnTo>
                  <a:pt x="61" y="698"/>
                </a:lnTo>
                <a:lnTo>
                  <a:pt x="52" y="708"/>
                </a:lnTo>
                <a:lnTo>
                  <a:pt x="46" y="716"/>
                </a:lnTo>
                <a:lnTo>
                  <a:pt x="39" y="727"/>
                </a:lnTo>
                <a:lnTo>
                  <a:pt x="33" y="741"/>
                </a:lnTo>
                <a:lnTo>
                  <a:pt x="26" y="756"/>
                </a:lnTo>
                <a:lnTo>
                  <a:pt x="21" y="770"/>
                </a:lnTo>
                <a:lnTo>
                  <a:pt x="17" y="784"/>
                </a:lnTo>
                <a:lnTo>
                  <a:pt x="10" y="811"/>
                </a:lnTo>
                <a:lnTo>
                  <a:pt x="5" y="835"/>
                </a:lnTo>
                <a:lnTo>
                  <a:pt x="3" y="856"/>
                </a:lnTo>
                <a:lnTo>
                  <a:pt x="1" y="872"/>
                </a:lnTo>
                <a:lnTo>
                  <a:pt x="1" y="882"/>
                </a:lnTo>
                <a:lnTo>
                  <a:pt x="0" y="887"/>
                </a:lnTo>
                <a:lnTo>
                  <a:pt x="1" y="890"/>
                </a:lnTo>
                <a:lnTo>
                  <a:pt x="2" y="893"/>
                </a:lnTo>
                <a:lnTo>
                  <a:pt x="3" y="895"/>
                </a:lnTo>
                <a:lnTo>
                  <a:pt x="5" y="898"/>
                </a:lnTo>
                <a:lnTo>
                  <a:pt x="7" y="900"/>
                </a:lnTo>
                <a:lnTo>
                  <a:pt x="9" y="901"/>
                </a:lnTo>
                <a:lnTo>
                  <a:pt x="12" y="902"/>
                </a:lnTo>
                <a:lnTo>
                  <a:pt x="15" y="902"/>
                </a:lnTo>
                <a:lnTo>
                  <a:pt x="887" y="902"/>
                </a:lnTo>
                <a:lnTo>
                  <a:pt x="891" y="902"/>
                </a:lnTo>
                <a:lnTo>
                  <a:pt x="894" y="901"/>
                </a:lnTo>
                <a:lnTo>
                  <a:pt x="896" y="900"/>
                </a:lnTo>
                <a:lnTo>
                  <a:pt x="898" y="898"/>
                </a:lnTo>
                <a:lnTo>
                  <a:pt x="900" y="895"/>
                </a:lnTo>
                <a:lnTo>
                  <a:pt x="901" y="893"/>
                </a:lnTo>
                <a:lnTo>
                  <a:pt x="902" y="890"/>
                </a:lnTo>
                <a:lnTo>
                  <a:pt x="902" y="887"/>
                </a:lnTo>
                <a:lnTo>
                  <a:pt x="902" y="882"/>
                </a:lnTo>
                <a:lnTo>
                  <a:pt x="901" y="872"/>
                </a:lnTo>
                <a:lnTo>
                  <a:pt x="900" y="856"/>
                </a:lnTo>
                <a:lnTo>
                  <a:pt x="897" y="835"/>
                </a:lnTo>
                <a:lnTo>
                  <a:pt x="893" y="811"/>
                </a:lnTo>
                <a:lnTo>
                  <a:pt x="885" y="784"/>
                </a:lnTo>
                <a:lnTo>
                  <a:pt x="881" y="770"/>
                </a:lnTo>
                <a:lnTo>
                  <a:pt x="876" y="756"/>
                </a:lnTo>
                <a:lnTo>
                  <a:pt x="870" y="741"/>
                </a:lnTo>
                <a:lnTo>
                  <a:pt x="863" y="727"/>
                </a:lnTo>
                <a:close/>
              </a:path>
            </a:pathLst>
          </a:custGeom>
          <a:solidFill>
            <a:srgbClr val="E2583D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4" name="Freeform 57"/>
          <p:cNvSpPr>
            <a:spLocks noEditPoints="1"/>
          </p:cNvSpPr>
          <p:nvPr/>
        </p:nvSpPr>
        <p:spPr bwMode="auto">
          <a:xfrm>
            <a:off x="5348801" y="3883505"/>
            <a:ext cx="728486" cy="728488"/>
          </a:xfrm>
          <a:custGeom>
            <a:avLst/>
            <a:gdLst>
              <a:gd name="T0" fmla="*/ 58 w 902"/>
              <a:gd name="T1" fmla="*/ 760 h 902"/>
              <a:gd name="T2" fmla="*/ 105 w 902"/>
              <a:gd name="T3" fmla="*/ 702 h 902"/>
              <a:gd name="T4" fmla="*/ 247 w 902"/>
              <a:gd name="T5" fmla="*/ 639 h 902"/>
              <a:gd name="T6" fmla="*/ 356 w 902"/>
              <a:gd name="T7" fmla="*/ 598 h 902"/>
              <a:gd name="T8" fmla="*/ 360 w 902"/>
              <a:gd name="T9" fmla="*/ 459 h 902"/>
              <a:gd name="T10" fmla="*/ 328 w 902"/>
              <a:gd name="T11" fmla="*/ 415 h 902"/>
              <a:gd name="T12" fmla="*/ 315 w 902"/>
              <a:gd name="T13" fmla="*/ 354 h 902"/>
              <a:gd name="T14" fmla="*/ 296 w 902"/>
              <a:gd name="T15" fmla="*/ 324 h 902"/>
              <a:gd name="T16" fmla="*/ 297 w 902"/>
              <a:gd name="T17" fmla="*/ 284 h 902"/>
              <a:gd name="T18" fmla="*/ 313 w 902"/>
              <a:gd name="T19" fmla="*/ 267 h 902"/>
              <a:gd name="T20" fmla="*/ 300 w 902"/>
              <a:gd name="T21" fmla="*/ 205 h 902"/>
              <a:gd name="T22" fmla="*/ 293 w 902"/>
              <a:gd name="T23" fmla="*/ 113 h 902"/>
              <a:gd name="T24" fmla="*/ 315 w 902"/>
              <a:gd name="T25" fmla="*/ 88 h 902"/>
              <a:gd name="T26" fmla="*/ 352 w 902"/>
              <a:gd name="T27" fmla="*/ 73 h 902"/>
              <a:gd name="T28" fmla="*/ 377 w 902"/>
              <a:gd name="T29" fmla="*/ 48 h 902"/>
              <a:gd name="T30" fmla="*/ 478 w 902"/>
              <a:gd name="T31" fmla="*/ 30 h 902"/>
              <a:gd name="T32" fmla="*/ 574 w 902"/>
              <a:gd name="T33" fmla="*/ 45 h 902"/>
              <a:gd name="T34" fmla="*/ 620 w 902"/>
              <a:gd name="T35" fmla="*/ 77 h 902"/>
              <a:gd name="T36" fmla="*/ 627 w 902"/>
              <a:gd name="T37" fmla="*/ 127 h 902"/>
              <a:gd name="T38" fmla="*/ 590 w 902"/>
              <a:gd name="T39" fmla="*/ 250 h 902"/>
              <a:gd name="T40" fmla="*/ 596 w 902"/>
              <a:gd name="T41" fmla="*/ 272 h 902"/>
              <a:gd name="T42" fmla="*/ 610 w 902"/>
              <a:gd name="T43" fmla="*/ 298 h 902"/>
              <a:gd name="T44" fmla="*/ 600 w 902"/>
              <a:gd name="T45" fmla="*/ 339 h 902"/>
              <a:gd name="T46" fmla="*/ 586 w 902"/>
              <a:gd name="T47" fmla="*/ 379 h 902"/>
              <a:gd name="T48" fmla="*/ 546 w 902"/>
              <a:gd name="T49" fmla="*/ 461 h 902"/>
              <a:gd name="T50" fmla="*/ 542 w 902"/>
              <a:gd name="T51" fmla="*/ 591 h 902"/>
              <a:gd name="T52" fmla="*/ 600 w 902"/>
              <a:gd name="T53" fmla="*/ 619 h 902"/>
              <a:gd name="T54" fmla="*/ 774 w 902"/>
              <a:gd name="T55" fmla="*/ 688 h 902"/>
              <a:gd name="T56" fmla="*/ 832 w 902"/>
              <a:gd name="T57" fmla="*/ 732 h 902"/>
              <a:gd name="T58" fmla="*/ 869 w 902"/>
              <a:gd name="T59" fmla="*/ 848 h 902"/>
              <a:gd name="T60" fmla="*/ 841 w 902"/>
              <a:gd name="T61" fmla="*/ 698 h 902"/>
              <a:gd name="T62" fmla="*/ 747 w 902"/>
              <a:gd name="T63" fmla="*/ 642 h 902"/>
              <a:gd name="T64" fmla="*/ 585 w 902"/>
              <a:gd name="T65" fmla="*/ 581 h 902"/>
              <a:gd name="T66" fmla="*/ 598 w 902"/>
              <a:gd name="T67" fmla="*/ 440 h 902"/>
              <a:gd name="T68" fmla="*/ 618 w 902"/>
              <a:gd name="T69" fmla="*/ 364 h 902"/>
              <a:gd name="T70" fmla="*/ 640 w 902"/>
              <a:gd name="T71" fmla="*/ 308 h 902"/>
              <a:gd name="T72" fmla="*/ 620 w 902"/>
              <a:gd name="T73" fmla="*/ 253 h 902"/>
              <a:gd name="T74" fmla="*/ 649 w 902"/>
              <a:gd name="T75" fmla="*/ 170 h 902"/>
              <a:gd name="T76" fmla="*/ 656 w 902"/>
              <a:gd name="T77" fmla="*/ 86 h 902"/>
              <a:gd name="T78" fmla="*/ 615 w 902"/>
              <a:gd name="T79" fmla="*/ 32 h 902"/>
              <a:gd name="T80" fmla="*/ 538 w 902"/>
              <a:gd name="T81" fmla="*/ 6 h 902"/>
              <a:gd name="T82" fmla="*/ 432 w 902"/>
              <a:gd name="T83" fmla="*/ 3 h 902"/>
              <a:gd name="T84" fmla="*/ 351 w 902"/>
              <a:gd name="T85" fmla="*/ 29 h 902"/>
              <a:gd name="T86" fmla="*/ 312 w 902"/>
              <a:gd name="T87" fmla="*/ 58 h 902"/>
              <a:gd name="T88" fmla="*/ 275 w 902"/>
              <a:gd name="T89" fmla="*/ 82 h 902"/>
              <a:gd name="T90" fmla="*/ 260 w 902"/>
              <a:gd name="T91" fmla="*/ 141 h 902"/>
              <a:gd name="T92" fmla="*/ 281 w 902"/>
              <a:gd name="T93" fmla="*/ 244 h 902"/>
              <a:gd name="T94" fmla="*/ 264 w 902"/>
              <a:gd name="T95" fmla="*/ 287 h 902"/>
              <a:gd name="T96" fmla="*/ 273 w 902"/>
              <a:gd name="T97" fmla="*/ 350 h 902"/>
              <a:gd name="T98" fmla="*/ 291 w 902"/>
              <a:gd name="T99" fmla="*/ 404 h 902"/>
              <a:gd name="T100" fmla="*/ 331 w 902"/>
              <a:gd name="T101" fmla="*/ 473 h 902"/>
              <a:gd name="T102" fmla="*/ 233 w 902"/>
              <a:gd name="T103" fmla="*/ 612 h 902"/>
              <a:gd name="T104" fmla="*/ 82 w 902"/>
              <a:gd name="T105" fmla="*/ 682 h 902"/>
              <a:gd name="T106" fmla="*/ 33 w 902"/>
              <a:gd name="T107" fmla="*/ 741 h 902"/>
              <a:gd name="T108" fmla="*/ 3 w 902"/>
              <a:gd name="T109" fmla="*/ 856 h 902"/>
              <a:gd name="T110" fmla="*/ 3 w 902"/>
              <a:gd name="T111" fmla="*/ 895 h 902"/>
              <a:gd name="T112" fmla="*/ 887 w 902"/>
              <a:gd name="T113" fmla="*/ 902 h 902"/>
              <a:gd name="T114" fmla="*/ 901 w 902"/>
              <a:gd name="T115" fmla="*/ 893 h 902"/>
              <a:gd name="T116" fmla="*/ 897 w 902"/>
              <a:gd name="T117" fmla="*/ 835 h 902"/>
              <a:gd name="T118" fmla="*/ 863 w 902"/>
              <a:gd name="T119" fmla="*/ 727 h 9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902" h="902">
                <a:moveTo>
                  <a:pt x="31" y="872"/>
                </a:moveTo>
                <a:lnTo>
                  <a:pt x="34" y="848"/>
                </a:lnTo>
                <a:lnTo>
                  <a:pt x="39" y="816"/>
                </a:lnTo>
                <a:lnTo>
                  <a:pt x="45" y="798"/>
                </a:lnTo>
                <a:lnTo>
                  <a:pt x="50" y="780"/>
                </a:lnTo>
                <a:lnTo>
                  <a:pt x="58" y="760"/>
                </a:lnTo>
                <a:lnTo>
                  <a:pt x="66" y="740"/>
                </a:lnTo>
                <a:lnTo>
                  <a:pt x="71" y="732"/>
                </a:lnTo>
                <a:lnTo>
                  <a:pt x="78" y="725"/>
                </a:lnTo>
                <a:lnTo>
                  <a:pt x="85" y="717"/>
                </a:lnTo>
                <a:lnTo>
                  <a:pt x="94" y="710"/>
                </a:lnTo>
                <a:lnTo>
                  <a:pt x="105" y="702"/>
                </a:lnTo>
                <a:lnTo>
                  <a:pt x="117" y="695"/>
                </a:lnTo>
                <a:lnTo>
                  <a:pt x="129" y="688"/>
                </a:lnTo>
                <a:lnTo>
                  <a:pt x="143" y="681"/>
                </a:lnTo>
                <a:lnTo>
                  <a:pt x="174" y="667"/>
                </a:lnTo>
                <a:lnTo>
                  <a:pt x="209" y="653"/>
                </a:lnTo>
                <a:lnTo>
                  <a:pt x="247" y="639"/>
                </a:lnTo>
                <a:lnTo>
                  <a:pt x="287" y="624"/>
                </a:lnTo>
                <a:lnTo>
                  <a:pt x="303" y="619"/>
                </a:lnTo>
                <a:lnTo>
                  <a:pt x="319" y="612"/>
                </a:lnTo>
                <a:lnTo>
                  <a:pt x="335" y="607"/>
                </a:lnTo>
                <a:lnTo>
                  <a:pt x="351" y="601"/>
                </a:lnTo>
                <a:lnTo>
                  <a:pt x="356" y="598"/>
                </a:lnTo>
                <a:lnTo>
                  <a:pt x="359" y="595"/>
                </a:lnTo>
                <a:lnTo>
                  <a:pt x="360" y="591"/>
                </a:lnTo>
                <a:lnTo>
                  <a:pt x="361" y="587"/>
                </a:lnTo>
                <a:lnTo>
                  <a:pt x="361" y="467"/>
                </a:lnTo>
                <a:lnTo>
                  <a:pt x="361" y="462"/>
                </a:lnTo>
                <a:lnTo>
                  <a:pt x="360" y="459"/>
                </a:lnTo>
                <a:lnTo>
                  <a:pt x="358" y="457"/>
                </a:lnTo>
                <a:lnTo>
                  <a:pt x="356" y="455"/>
                </a:lnTo>
                <a:lnTo>
                  <a:pt x="349" y="448"/>
                </a:lnTo>
                <a:lnTo>
                  <a:pt x="335" y="429"/>
                </a:lnTo>
                <a:lnTo>
                  <a:pt x="331" y="423"/>
                </a:lnTo>
                <a:lnTo>
                  <a:pt x="328" y="415"/>
                </a:lnTo>
                <a:lnTo>
                  <a:pt x="325" y="408"/>
                </a:lnTo>
                <a:lnTo>
                  <a:pt x="321" y="398"/>
                </a:lnTo>
                <a:lnTo>
                  <a:pt x="318" y="388"/>
                </a:lnTo>
                <a:lnTo>
                  <a:pt x="316" y="378"/>
                </a:lnTo>
                <a:lnTo>
                  <a:pt x="315" y="367"/>
                </a:lnTo>
                <a:lnTo>
                  <a:pt x="315" y="354"/>
                </a:lnTo>
                <a:lnTo>
                  <a:pt x="314" y="349"/>
                </a:lnTo>
                <a:lnTo>
                  <a:pt x="312" y="344"/>
                </a:lnTo>
                <a:lnTo>
                  <a:pt x="307" y="341"/>
                </a:lnTo>
                <a:lnTo>
                  <a:pt x="302" y="339"/>
                </a:lnTo>
                <a:lnTo>
                  <a:pt x="299" y="334"/>
                </a:lnTo>
                <a:lnTo>
                  <a:pt x="296" y="324"/>
                </a:lnTo>
                <a:lnTo>
                  <a:pt x="294" y="319"/>
                </a:lnTo>
                <a:lnTo>
                  <a:pt x="293" y="311"/>
                </a:lnTo>
                <a:lnTo>
                  <a:pt x="292" y="305"/>
                </a:lnTo>
                <a:lnTo>
                  <a:pt x="293" y="298"/>
                </a:lnTo>
                <a:lnTo>
                  <a:pt x="294" y="291"/>
                </a:lnTo>
                <a:lnTo>
                  <a:pt x="297" y="284"/>
                </a:lnTo>
                <a:lnTo>
                  <a:pt x="298" y="280"/>
                </a:lnTo>
                <a:lnTo>
                  <a:pt x="300" y="278"/>
                </a:lnTo>
                <a:lnTo>
                  <a:pt x="303" y="275"/>
                </a:lnTo>
                <a:lnTo>
                  <a:pt x="306" y="272"/>
                </a:lnTo>
                <a:lnTo>
                  <a:pt x="309" y="270"/>
                </a:lnTo>
                <a:lnTo>
                  <a:pt x="313" y="267"/>
                </a:lnTo>
                <a:lnTo>
                  <a:pt x="314" y="264"/>
                </a:lnTo>
                <a:lnTo>
                  <a:pt x="315" y="260"/>
                </a:lnTo>
                <a:lnTo>
                  <a:pt x="314" y="251"/>
                </a:lnTo>
                <a:lnTo>
                  <a:pt x="308" y="235"/>
                </a:lnTo>
                <a:lnTo>
                  <a:pt x="305" y="222"/>
                </a:lnTo>
                <a:lnTo>
                  <a:pt x="300" y="205"/>
                </a:lnTo>
                <a:lnTo>
                  <a:pt x="296" y="187"/>
                </a:lnTo>
                <a:lnTo>
                  <a:pt x="292" y="167"/>
                </a:lnTo>
                <a:lnTo>
                  <a:pt x="290" y="148"/>
                </a:lnTo>
                <a:lnTo>
                  <a:pt x="290" y="130"/>
                </a:lnTo>
                <a:lnTo>
                  <a:pt x="291" y="121"/>
                </a:lnTo>
                <a:lnTo>
                  <a:pt x="293" y="113"/>
                </a:lnTo>
                <a:lnTo>
                  <a:pt x="296" y="106"/>
                </a:lnTo>
                <a:lnTo>
                  <a:pt x="300" y="100"/>
                </a:lnTo>
                <a:lnTo>
                  <a:pt x="303" y="97"/>
                </a:lnTo>
                <a:lnTo>
                  <a:pt x="306" y="93"/>
                </a:lnTo>
                <a:lnTo>
                  <a:pt x="311" y="90"/>
                </a:lnTo>
                <a:lnTo>
                  <a:pt x="315" y="88"/>
                </a:lnTo>
                <a:lnTo>
                  <a:pt x="326" y="86"/>
                </a:lnTo>
                <a:lnTo>
                  <a:pt x="337" y="85"/>
                </a:lnTo>
                <a:lnTo>
                  <a:pt x="343" y="84"/>
                </a:lnTo>
                <a:lnTo>
                  <a:pt x="347" y="82"/>
                </a:lnTo>
                <a:lnTo>
                  <a:pt x="350" y="78"/>
                </a:lnTo>
                <a:lnTo>
                  <a:pt x="352" y="73"/>
                </a:lnTo>
                <a:lnTo>
                  <a:pt x="353" y="69"/>
                </a:lnTo>
                <a:lnTo>
                  <a:pt x="357" y="64"/>
                </a:lnTo>
                <a:lnTo>
                  <a:pt x="360" y="60"/>
                </a:lnTo>
                <a:lnTo>
                  <a:pt x="365" y="56"/>
                </a:lnTo>
                <a:lnTo>
                  <a:pt x="371" y="53"/>
                </a:lnTo>
                <a:lnTo>
                  <a:pt x="377" y="48"/>
                </a:lnTo>
                <a:lnTo>
                  <a:pt x="385" y="45"/>
                </a:lnTo>
                <a:lnTo>
                  <a:pt x="393" y="42"/>
                </a:lnTo>
                <a:lnTo>
                  <a:pt x="410" y="38"/>
                </a:lnTo>
                <a:lnTo>
                  <a:pt x="431" y="33"/>
                </a:lnTo>
                <a:lnTo>
                  <a:pt x="453" y="31"/>
                </a:lnTo>
                <a:lnTo>
                  <a:pt x="478" y="30"/>
                </a:lnTo>
                <a:lnTo>
                  <a:pt x="502" y="31"/>
                </a:lnTo>
                <a:lnTo>
                  <a:pt x="528" y="34"/>
                </a:lnTo>
                <a:lnTo>
                  <a:pt x="540" y="37"/>
                </a:lnTo>
                <a:lnTo>
                  <a:pt x="552" y="39"/>
                </a:lnTo>
                <a:lnTo>
                  <a:pt x="564" y="42"/>
                </a:lnTo>
                <a:lnTo>
                  <a:pt x="574" y="45"/>
                </a:lnTo>
                <a:lnTo>
                  <a:pt x="584" y="49"/>
                </a:lnTo>
                <a:lnTo>
                  <a:pt x="594" y="54"/>
                </a:lnTo>
                <a:lnTo>
                  <a:pt x="602" y="59"/>
                </a:lnTo>
                <a:lnTo>
                  <a:pt x="609" y="64"/>
                </a:lnTo>
                <a:lnTo>
                  <a:pt x="615" y="71"/>
                </a:lnTo>
                <a:lnTo>
                  <a:pt x="620" y="77"/>
                </a:lnTo>
                <a:lnTo>
                  <a:pt x="624" y="84"/>
                </a:lnTo>
                <a:lnTo>
                  <a:pt x="626" y="91"/>
                </a:lnTo>
                <a:lnTo>
                  <a:pt x="628" y="100"/>
                </a:lnTo>
                <a:lnTo>
                  <a:pt x="628" y="108"/>
                </a:lnTo>
                <a:lnTo>
                  <a:pt x="628" y="118"/>
                </a:lnTo>
                <a:lnTo>
                  <a:pt x="627" y="127"/>
                </a:lnTo>
                <a:lnTo>
                  <a:pt x="625" y="146"/>
                </a:lnTo>
                <a:lnTo>
                  <a:pt x="619" y="165"/>
                </a:lnTo>
                <a:lnTo>
                  <a:pt x="609" y="201"/>
                </a:lnTo>
                <a:lnTo>
                  <a:pt x="597" y="231"/>
                </a:lnTo>
                <a:lnTo>
                  <a:pt x="593" y="241"/>
                </a:lnTo>
                <a:lnTo>
                  <a:pt x="590" y="250"/>
                </a:lnTo>
                <a:lnTo>
                  <a:pt x="588" y="255"/>
                </a:lnTo>
                <a:lnTo>
                  <a:pt x="588" y="260"/>
                </a:lnTo>
                <a:lnTo>
                  <a:pt x="588" y="264"/>
                </a:lnTo>
                <a:lnTo>
                  <a:pt x="590" y="267"/>
                </a:lnTo>
                <a:lnTo>
                  <a:pt x="593" y="270"/>
                </a:lnTo>
                <a:lnTo>
                  <a:pt x="596" y="272"/>
                </a:lnTo>
                <a:lnTo>
                  <a:pt x="600" y="275"/>
                </a:lnTo>
                <a:lnTo>
                  <a:pt x="602" y="278"/>
                </a:lnTo>
                <a:lnTo>
                  <a:pt x="604" y="280"/>
                </a:lnTo>
                <a:lnTo>
                  <a:pt x="606" y="284"/>
                </a:lnTo>
                <a:lnTo>
                  <a:pt x="609" y="291"/>
                </a:lnTo>
                <a:lnTo>
                  <a:pt x="610" y="298"/>
                </a:lnTo>
                <a:lnTo>
                  <a:pt x="610" y="305"/>
                </a:lnTo>
                <a:lnTo>
                  <a:pt x="610" y="311"/>
                </a:lnTo>
                <a:lnTo>
                  <a:pt x="609" y="318"/>
                </a:lnTo>
                <a:lnTo>
                  <a:pt x="608" y="324"/>
                </a:lnTo>
                <a:lnTo>
                  <a:pt x="603" y="334"/>
                </a:lnTo>
                <a:lnTo>
                  <a:pt x="600" y="339"/>
                </a:lnTo>
                <a:lnTo>
                  <a:pt x="596" y="341"/>
                </a:lnTo>
                <a:lnTo>
                  <a:pt x="591" y="344"/>
                </a:lnTo>
                <a:lnTo>
                  <a:pt x="589" y="349"/>
                </a:lnTo>
                <a:lnTo>
                  <a:pt x="588" y="354"/>
                </a:lnTo>
                <a:lnTo>
                  <a:pt x="587" y="367"/>
                </a:lnTo>
                <a:lnTo>
                  <a:pt x="586" y="379"/>
                </a:lnTo>
                <a:lnTo>
                  <a:pt x="584" y="389"/>
                </a:lnTo>
                <a:lnTo>
                  <a:pt x="582" y="399"/>
                </a:lnTo>
                <a:lnTo>
                  <a:pt x="575" y="418"/>
                </a:lnTo>
                <a:lnTo>
                  <a:pt x="567" y="433"/>
                </a:lnTo>
                <a:lnTo>
                  <a:pt x="553" y="455"/>
                </a:lnTo>
                <a:lnTo>
                  <a:pt x="546" y="461"/>
                </a:lnTo>
                <a:lnTo>
                  <a:pt x="544" y="464"/>
                </a:lnTo>
                <a:lnTo>
                  <a:pt x="543" y="467"/>
                </a:lnTo>
                <a:lnTo>
                  <a:pt x="542" y="470"/>
                </a:lnTo>
                <a:lnTo>
                  <a:pt x="541" y="473"/>
                </a:lnTo>
                <a:lnTo>
                  <a:pt x="541" y="587"/>
                </a:lnTo>
                <a:lnTo>
                  <a:pt x="542" y="591"/>
                </a:lnTo>
                <a:lnTo>
                  <a:pt x="544" y="595"/>
                </a:lnTo>
                <a:lnTo>
                  <a:pt x="548" y="598"/>
                </a:lnTo>
                <a:lnTo>
                  <a:pt x="552" y="601"/>
                </a:lnTo>
                <a:lnTo>
                  <a:pt x="568" y="607"/>
                </a:lnTo>
                <a:lnTo>
                  <a:pt x="584" y="612"/>
                </a:lnTo>
                <a:lnTo>
                  <a:pt x="600" y="619"/>
                </a:lnTo>
                <a:lnTo>
                  <a:pt x="615" y="624"/>
                </a:lnTo>
                <a:lnTo>
                  <a:pt x="656" y="639"/>
                </a:lnTo>
                <a:lnTo>
                  <a:pt x="693" y="653"/>
                </a:lnTo>
                <a:lnTo>
                  <a:pt x="729" y="667"/>
                </a:lnTo>
                <a:lnTo>
                  <a:pt x="760" y="681"/>
                </a:lnTo>
                <a:lnTo>
                  <a:pt x="774" y="688"/>
                </a:lnTo>
                <a:lnTo>
                  <a:pt x="787" y="695"/>
                </a:lnTo>
                <a:lnTo>
                  <a:pt x="797" y="702"/>
                </a:lnTo>
                <a:lnTo>
                  <a:pt x="808" y="710"/>
                </a:lnTo>
                <a:lnTo>
                  <a:pt x="818" y="717"/>
                </a:lnTo>
                <a:lnTo>
                  <a:pt x="825" y="725"/>
                </a:lnTo>
                <a:lnTo>
                  <a:pt x="832" y="732"/>
                </a:lnTo>
                <a:lnTo>
                  <a:pt x="836" y="740"/>
                </a:lnTo>
                <a:lnTo>
                  <a:pt x="846" y="759"/>
                </a:lnTo>
                <a:lnTo>
                  <a:pt x="852" y="780"/>
                </a:lnTo>
                <a:lnTo>
                  <a:pt x="858" y="798"/>
                </a:lnTo>
                <a:lnTo>
                  <a:pt x="863" y="816"/>
                </a:lnTo>
                <a:lnTo>
                  <a:pt x="869" y="848"/>
                </a:lnTo>
                <a:lnTo>
                  <a:pt x="871" y="872"/>
                </a:lnTo>
                <a:lnTo>
                  <a:pt x="31" y="872"/>
                </a:lnTo>
                <a:close/>
                <a:moveTo>
                  <a:pt x="863" y="727"/>
                </a:moveTo>
                <a:lnTo>
                  <a:pt x="857" y="716"/>
                </a:lnTo>
                <a:lnTo>
                  <a:pt x="850" y="708"/>
                </a:lnTo>
                <a:lnTo>
                  <a:pt x="841" y="698"/>
                </a:lnTo>
                <a:lnTo>
                  <a:pt x="832" y="690"/>
                </a:lnTo>
                <a:lnTo>
                  <a:pt x="821" y="682"/>
                </a:lnTo>
                <a:lnTo>
                  <a:pt x="808" y="673"/>
                </a:lnTo>
                <a:lnTo>
                  <a:pt x="795" y="666"/>
                </a:lnTo>
                <a:lnTo>
                  <a:pt x="780" y="657"/>
                </a:lnTo>
                <a:lnTo>
                  <a:pt x="747" y="642"/>
                </a:lnTo>
                <a:lnTo>
                  <a:pt x="710" y="627"/>
                </a:lnTo>
                <a:lnTo>
                  <a:pt x="670" y="612"/>
                </a:lnTo>
                <a:lnTo>
                  <a:pt x="626" y="596"/>
                </a:lnTo>
                <a:lnTo>
                  <a:pt x="613" y="591"/>
                </a:lnTo>
                <a:lnTo>
                  <a:pt x="599" y="587"/>
                </a:lnTo>
                <a:lnTo>
                  <a:pt x="585" y="581"/>
                </a:lnTo>
                <a:lnTo>
                  <a:pt x="571" y="576"/>
                </a:lnTo>
                <a:lnTo>
                  <a:pt x="571" y="478"/>
                </a:lnTo>
                <a:lnTo>
                  <a:pt x="578" y="473"/>
                </a:lnTo>
                <a:lnTo>
                  <a:pt x="584" y="464"/>
                </a:lnTo>
                <a:lnTo>
                  <a:pt x="590" y="453"/>
                </a:lnTo>
                <a:lnTo>
                  <a:pt x="598" y="440"/>
                </a:lnTo>
                <a:lnTo>
                  <a:pt x="605" y="424"/>
                </a:lnTo>
                <a:lnTo>
                  <a:pt x="611" y="406"/>
                </a:lnTo>
                <a:lnTo>
                  <a:pt x="614" y="397"/>
                </a:lnTo>
                <a:lnTo>
                  <a:pt x="615" y="386"/>
                </a:lnTo>
                <a:lnTo>
                  <a:pt x="617" y="375"/>
                </a:lnTo>
                <a:lnTo>
                  <a:pt x="618" y="364"/>
                </a:lnTo>
                <a:lnTo>
                  <a:pt x="624" y="358"/>
                </a:lnTo>
                <a:lnTo>
                  <a:pt x="629" y="350"/>
                </a:lnTo>
                <a:lnTo>
                  <a:pt x="633" y="340"/>
                </a:lnTo>
                <a:lnTo>
                  <a:pt x="638" y="328"/>
                </a:lnTo>
                <a:lnTo>
                  <a:pt x="639" y="319"/>
                </a:lnTo>
                <a:lnTo>
                  <a:pt x="640" y="308"/>
                </a:lnTo>
                <a:lnTo>
                  <a:pt x="640" y="297"/>
                </a:lnTo>
                <a:lnTo>
                  <a:pt x="639" y="287"/>
                </a:lnTo>
                <a:lnTo>
                  <a:pt x="635" y="278"/>
                </a:lnTo>
                <a:lnTo>
                  <a:pt x="632" y="268"/>
                </a:lnTo>
                <a:lnTo>
                  <a:pt x="627" y="261"/>
                </a:lnTo>
                <a:lnTo>
                  <a:pt x="620" y="253"/>
                </a:lnTo>
                <a:lnTo>
                  <a:pt x="623" y="248"/>
                </a:lnTo>
                <a:lnTo>
                  <a:pt x="625" y="242"/>
                </a:lnTo>
                <a:lnTo>
                  <a:pt x="631" y="227"/>
                </a:lnTo>
                <a:lnTo>
                  <a:pt x="638" y="209"/>
                </a:lnTo>
                <a:lnTo>
                  <a:pt x="644" y="190"/>
                </a:lnTo>
                <a:lnTo>
                  <a:pt x="649" y="170"/>
                </a:lnTo>
                <a:lnTo>
                  <a:pt x="655" y="148"/>
                </a:lnTo>
                <a:lnTo>
                  <a:pt x="657" y="127"/>
                </a:lnTo>
                <a:lnTo>
                  <a:pt x="658" y="116"/>
                </a:lnTo>
                <a:lnTo>
                  <a:pt x="658" y="106"/>
                </a:lnTo>
                <a:lnTo>
                  <a:pt x="657" y="96"/>
                </a:lnTo>
                <a:lnTo>
                  <a:pt x="656" y="86"/>
                </a:lnTo>
                <a:lnTo>
                  <a:pt x="653" y="75"/>
                </a:lnTo>
                <a:lnTo>
                  <a:pt x="648" y="64"/>
                </a:lnTo>
                <a:lnTo>
                  <a:pt x="642" y="56"/>
                </a:lnTo>
                <a:lnTo>
                  <a:pt x="634" y="47"/>
                </a:lnTo>
                <a:lnTo>
                  <a:pt x="625" y="40"/>
                </a:lnTo>
                <a:lnTo>
                  <a:pt x="615" y="32"/>
                </a:lnTo>
                <a:lnTo>
                  <a:pt x="604" y="26"/>
                </a:lnTo>
                <a:lnTo>
                  <a:pt x="593" y="21"/>
                </a:lnTo>
                <a:lnTo>
                  <a:pt x="580" y="15"/>
                </a:lnTo>
                <a:lnTo>
                  <a:pt x="566" y="12"/>
                </a:lnTo>
                <a:lnTo>
                  <a:pt x="552" y="8"/>
                </a:lnTo>
                <a:lnTo>
                  <a:pt x="538" y="6"/>
                </a:lnTo>
                <a:lnTo>
                  <a:pt x="523" y="2"/>
                </a:lnTo>
                <a:lnTo>
                  <a:pt x="508" y="1"/>
                </a:lnTo>
                <a:lnTo>
                  <a:pt x="493" y="0"/>
                </a:lnTo>
                <a:lnTo>
                  <a:pt x="478" y="0"/>
                </a:lnTo>
                <a:lnTo>
                  <a:pt x="455" y="0"/>
                </a:lnTo>
                <a:lnTo>
                  <a:pt x="432" y="3"/>
                </a:lnTo>
                <a:lnTo>
                  <a:pt x="409" y="7"/>
                </a:lnTo>
                <a:lnTo>
                  <a:pt x="388" y="12"/>
                </a:lnTo>
                <a:lnTo>
                  <a:pt x="378" y="16"/>
                </a:lnTo>
                <a:lnTo>
                  <a:pt x="368" y="19"/>
                </a:lnTo>
                <a:lnTo>
                  <a:pt x="359" y="25"/>
                </a:lnTo>
                <a:lnTo>
                  <a:pt x="351" y="29"/>
                </a:lnTo>
                <a:lnTo>
                  <a:pt x="344" y="36"/>
                </a:lnTo>
                <a:lnTo>
                  <a:pt x="337" y="41"/>
                </a:lnTo>
                <a:lnTo>
                  <a:pt x="331" y="48"/>
                </a:lnTo>
                <a:lnTo>
                  <a:pt x="327" y="55"/>
                </a:lnTo>
                <a:lnTo>
                  <a:pt x="319" y="56"/>
                </a:lnTo>
                <a:lnTo>
                  <a:pt x="312" y="58"/>
                </a:lnTo>
                <a:lnTo>
                  <a:pt x="304" y="60"/>
                </a:lnTo>
                <a:lnTo>
                  <a:pt x="298" y="63"/>
                </a:lnTo>
                <a:lnTo>
                  <a:pt x="291" y="67"/>
                </a:lnTo>
                <a:lnTo>
                  <a:pt x="286" y="71"/>
                </a:lnTo>
                <a:lnTo>
                  <a:pt x="281" y="76"/>
                </a:lnTo>
                <a:lnTo>
                  <a:pt x="275" y="82"/>
                </a:lnTo>
                <a:lnTo>
                  <a:pt x="270" y="90"/>
                </a:lnTo>
                <a:lnTo>
                  <a:pt x="267" y="99"/>
                </a:lnTo>
                <a:lnTo>
                  <a:pt x="263" y="110"/>
                </a:lnTo>
                <a:lnTo>
                  <a:pt x="261" y="119"/>
                </a:lnTo>
                <a:lnTo>
                  <a:pt x="260" y="130"/>
                </a:lnTo>
                <a:lnTo>
                  <a:pt x="260" y="141"/>
                </a:lnTo>
                <a:lnTo>
                  <a:pt x="260" y="152"/>
                </a:lnTo>
                <a:lnTo>
                  <a:pt x="261" y="163"/>
                </a:lnTo>
                <a:lnTo>
                  <a:pt x="264" y="186"/>
                </a:lnTo>
                <a:lnTo>
                  <a:pt x="270" y="207"/>
                </a:lnTo>
                <a:lnTo>
                  <a:pt x="275" y="226"/>
                </a:lnTo>
                <a:lnTo>
                  <a:pt x="281" y="244"/>
                </a:lnTo>
                <a:lnTo>
                  <a:pt x="282" y="249"/>
                </a:lnTo>
                <a:lnTo>
                  <a:pt x="283" y="252"/>
                </a:lnTo>
                <a:lnTo>
                  <a:pt x="276" y="260"/>
                </a:lnTo>
                <a:lnTo>
                  <a:pt x="271" y="268"/>
                </a:lnTo>
                <a:lnTo>
                  <a:pt x="267" y="277"/>
                </a:lnTo>
                <a:lnTo>
                  <a:pt x="264" y="287"/>
                </a:lnTo>
                <a:lnTo>
                  <a:pt x="263" y="297"/>
                </a:lnTo>
                <a:lnTo>
                  <a:pt x="262" y="308"/>
                </a:lnTo>
                <a:lnTo>
                  <a:pt x="263" y="319"/>
                </a:lnTo>
                <a:lnTo>
                  <a:pt x="266" y="328"/>
                </a:lnTo>
                <a:lnTo>
                  <a:pt x="269" y="340"/>
                </a:lnTo>
                <a:lnTo>
                  <a:pt x="273" y="350"/>
                </a:lnTo>
                <a:lnTo>
                  <a:pt x="278" y="358"/>
                </a:lnTo>
                <a:lnTo>
                  <a:pt x="285" y="364"/>
                </a:lnTo>
                <a:lnTo>
                  <a:pt x="286" y="375"/>
                </a:lnTo>
                <a:lnTo>
                  <a:pt x="287" y="385"/>
                </a:lnTo>
                <a:lnTo>
                  <a:pt x="289" y="396"/>
                </a:lnTo>
                <a:lnTo>
                  <a:pt x="291" y="404"/>
                </a:lnTo>
                <a:lnTo>
                  <a:pt x="298" y="421"/>
                </a:lnTo>
                <a:lnTo>
                  <a:pt x="304" y="437"/>
                </a:lnTo>
                <a:lnTo>
                  <a:pt x="312" y="448"/>
                </a:lnTo>
                <a:lnTo>
                  <a:pt x="319" y="459"/>
                </a:lnTo>
                <a:lnTo>
                  <a:pt x="326" y="467"/>
                </a:lnTo>
                <a:lnTo>
                  <a:pt x="331" y="473"/>
                </a:lnTo>
                <a:lnTo>
                  <a:pt x="331" y="576"/>
                </a:lnTo>
                <a:lnTo>
                  <a:pt x="317" y="581"/>
                </a:lnTo>
                <a:lnTo>
                  <a:pt x="303" y="587"/>
                </a:lnTo>
                <a:lnTo>
                  <a:pt x="290" y="591"/>
                </a:lnTo>
                <a:lnTo>
                  <a:pt x="277" y="596"/>
                </a:lnTo>
                <a:lnTo>
                  <a:pt x="233" y="612"/>
                </a:lnTo>
                <a:lnTo>
                  <a:pt x="193" y="627"/>
                </a:lnTo>
                <a:lnTo>
                  <a:pt x="155" y="642"/>
                </a:lnTo>
                <a:lnTo>
                  <a:pt x="123" y="658"/>
                </a:lnTo>
                <a:lnTo>
                  <a:pt x="108" y="666"/>
                </a:lnTo>
                <a:lnTo>
                  <a:pt x="94" y="673"/>
                </a:lnTo>
                <a:lnTo>
                  <a:pt x="82" y="682"/>
                </a:lnTo>
                <a:lnTo>
                  <a:pt x="70" y="690"/>
                </a:lnTo>
                <a:lnTo>
                  <a:pt x="61" y="698"/>
                </a:lnTo>
                <a:lnTo>
                  <a:pt x="52" y="708"/>
                </a:lnTo>
                <a:lnTo>
                  <a:pt x="46" y="716"/>
                </a:lnTo>
                <a:lnTo>
                  <a:pt x="39" y="727"/>
                </a:lnTo>
                <a:lnTo>
                  <a:pt x="33" y="741"/>
                </a:lnTo>
                <a:lnTo>
                  <a:pt x="26" y="756"/>
                </a:lnTo>
                <a:lnTo>
                  <a:pt x="21" y="770"/>
                </a:lnTo>
                <a:lnTo>
                  <a:pt x="17" y="784"/>
                </a:lnTo>
                <a:lnTo>
                  <a:pt x="10" y="811"/>
                </a:lnTo>
                <a:lnTo>
                  <a:pt x="5" y="835"/>
                </a:lnTo>
                <a:lnTo>
                  <a:pt x="3" y="856"/>
                </a:lnTo>
                <a:lnTo>
                  <a:pt x="1" y="872"/>
                </a:lnTo>
                <a:lnTo>
                  <a:pt x="1" y="882"/>
                </a:lnTo>
                <a:lnTo>
                  <a:pt x="0" y="887"/>
                </a:lnTo>
                <a:lnTo>
                  <a:pt x="1" y="890"/>
                </a:lnTo>
                <a:lnTo>
                  <a:pt x="2" y="893"/>
                </a:lnTo>
                <a:lnTo>
                  <a:pt x="3" y="895"/>
                </a:lnTo>
                <a:lnTo>
                  <a:pt x="5" y="898"/>
                </a:lnTo>
                <a:lnTo>
                  <a:pt x="7" y="900"/>
                </a:lnTo>
                <a:lnTo>
                  <a:pt x="9" y="901"/>
                </a:lnTo>
                <a:lnTo>
                  <a:pt x="12" y="902"/>
                </a:lnTo>
                <a:lnTo>
                  <a:pt x="15" y="902"/>
                </a:lnTo>
                <a:lnTo>
                  <a:pt x="887" y="902"/>
                </a:lnTo>
                <a:lnTo>
                  <a:pt x="891" y="902"/>
                </a:lnTo>
                <a:lnTo>
                  <a:pt x="894" y="901"/>
                </a:lnTo>
                <a:lnTo>
                  <a:pt x="896" y="900"/>
                </a:lnTo>
                <a:lnTo>
                  <a:pt x="898" y="898"/>
                </a:lnTo>
                <a:lnTo>
                  <a:pt x="900" y="895"/>
                </a:lnTo>
                <a:lnTo>
                  <a:pt x="901" y="893"/>
                </a:lnTo>
                <a:lnTo>
                  <a:pt x="902" y="890"/>
                </a:lnTo>
                <a:lnTo>
                  <a:pt x="902" y="887"/>
                </a:lnTo>
                <a:lnTo>
                  <a:pt x="902" y="882"/>
                </a:lnTo>
                <a:lnTo>
                  <a:pt x="901" y="872"/>
                </a:lnTo>
                <a:lnTo>
                  <a:pt x="900" y="856"/>
                </a:lnTo>
                <a:lnTo>
                  <a:pt x="897" y="835"/>
                </a:lnTo>
                <a:lnTo>
                  <a:pt x="893" y="811"/>
                </a:lnTo>
                <a:lnTo>
                  <a:pt x="885" y="784"/>
                </a:lnTo>
                <a:lnTo>
                  <a:pt x="881" y="770"/>
                </a:lnTo>
                <a:lnTo>
                  <a:pt x="876" y="756"/>
                </a:lnTo>
                <a:lnTo>
                  <a:pt x="870" y="741"/>
                </a:lnTo>
                <a:lnTo>
                  <a:pt x="863" y="727"/>
                </a:lnTo>
                <a:close/>
              </a:path>
            </a:pathLst>
          </a:custGeom>
          <a:solidFill>
            <a:srgbClr val="E2583D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5" name="Freeform 57"/>
          <p:cNvSpPr>
            <a:spLocks noEditPoints="1"/>
          </p:cNvSpPr>
          <p:nvPr/>
        </p:nvSpPr>
        <p:spPr bwMode="auto">
          <a:xfrm>
            <a:off x="6114706" y="3883505"/>
            <a:ext cx="728486" cy="728488"/>
          </a:xfrm>
          <a:custGeom>
            <a:avLst/>
            <a:gdLst>
              <a:gd name="T0" fmla="*/ 58 w 902"/>
              <a:gd name="T1" fmla="*/ 760 h 902"/>
              <a:gd name="T2" fmla="*/ 105 w 902"/>
              <a:gd name="T3" fmla="*/ 702 h 902"/>
              <a:gd name="T4" fmla="*/ 247 w 902"/>
              <a:gd name="T5" fmla="*/ 639 h 902"/>
              <a:gd name="T6" fmla="*/ 356 w 902"/>
              <a:gd name="T7" fmla="*/ 598 h 902"/>
              <a:gd name="T8" fmla="*/ 360 w 902"/>
              <a:gd name="T9" fmla="*/ 459 h 902"/>
              <a:gd name="T10" fmla="*/ 328 w 902"/>
              <a:gd name="T11" fmla="*/ 415 h 902"/>
              <a:gd name="T12" fmla="*/ 315 w 902"/>
              <a:gd name="T13" fmla="*/ 354 h 902"/>
              <a:gd name="T14" fmla="*/ 296 w 902"/>
              <a:gd name="T15" fmla="*/ 324 h 902"/>
              <a:gd name="T16" fmla="*/ 297 w 902"/>
              <a:gd name="T17" fmla="*/ 284 h 902"/>
              <a:gd name="T18" fmla="*/ 313 w 902"/>
              <a:gd name="T19" fmla="*/ 267 h 902"/>
              <a:gd name="T20" fmla="*/ 300 w 902"/>
              <a:gd name="T21" fmla="*/ 205 h 902"/>
              <a:gd name="T22" fmla="*/ 293 w 902"/>
              <a:gd name="T23" fmla="*/ 113 h 902"/>
              <a:gd name="T24" fmla="*/ 315 w 902"/>
              <a:gd name="T25" fmla="*/ 88 h 902"/>
              <a:gd name="T26" fmla="*/ 352 w 902"/>
              <a:gd name="T27" fmla="*/ 73 h 902"/>
              <a:gd name="T28" fmla="*/ 377 w 902"/>
              <a:gd name="T29" fmla="*/ 48 h 902"/>
              <a:gd name="T30" fmla="*/ 478 w 902"/>
              <a:gd name="T31" fmla="*/ 30 h 902"/>
              <a:gd name="T32" fmla="*/ 574 w 902"/>
              <a:gd name="T33" fmla="*/ 45 h 902"/>
              <a:gd name="T34" fmla="*/ 620 w 902"/>
              <a:gd name="T35" fmla="*/ 77 h 902"/>
              <a:gd name="T36" fmla="*/ 627 w 902"/>
              <a:gd name="T37" fmla="*/ 127 h 902"/>
              <a:gd name="T38" fmla="*/ 590 w 902"/>
              <a:gd name="T39" fmla="*/ 250 h 902"/>
              <a:gd name="T40" fmla="*/ 596 w 902"/>
              <a:gd name="T41" fmla="*/ 272 h 902"/>
              <a:gd name="T42" fmla="*/ 610 w 902"/>
              <a:gd name="T43" fmla="*/ 298 h 902"/>
              <a:gd name="T44" fmla="*/ 600 w 902"/>
              <a:gd name="T45" fmla="*/ 339 h 902"/>
              <a:gd name="T46" fmla="*/ 586 w 902"/>
              <a:gd name="T47" fmla="*/ 379 h 902"/>
              <a:gd name="T48" fmla="*/ 546 w 902"/>
              <a:gd name="T49" fmla="*/ 461 h 902"/>
              <a:gd name="T50" fmla="*/ 542 w 902"/>
              <a:gd name="T51" fmla="*/ 591 h 902"/>
              <a:gd name="T52" fmla="*/ 600 w 902"/>
              <a:gd name="T53" fmla="*/ 619 h 902"/>
              <a:gd name="T54" fmla="*/ 774 w 902"/>
              <a:gd name="T55" fmla="*/ 688 h 902"/>
              <a:gd name="T56" fmla="*/ 832 w 902"/>
              <a:gd name="T57" fmla="*/ 732 h 902"/>
              <a:gd name="T58" fmla="*/ 869 w 902"/>
              <a:gd name="T59" fmla="*/ 848 h 902"/>
              <a:gd name="T60" fmla="*/ 841 w 902"/>
              <a:gd name="T61" fmla="*/ 698 h 902"/>
              <a:gd name="T62" fmla="*/ 747 w 902"/>
              <a:gd name="T63" fmla="*/ 642 h 902"/>
              <a:gd name="T64" fmla="*/ 585 w 902"/>
              <a:gd name="T65" fmla="*/ 581 h 902"/>
              <a:gd name="T66" fmla="*/ 598 w 902"/>
              <a:gd name="T67" fmla="*/ 440 h 902"/>
              <a:gd name="T68" fmla="*/ 618 w 902"/>
              <a:gd name="T69" fmla="*/ 364 h 902"/>
              <a:gd name="T70" fmla="*/ 640 w 902"/>
              <a:gd name="T71" fmla="*/ 308 h 902"/>
              <a:gd name="T72" fmla="*/ 620 w 902"/>
              <a:gd name="T73" fmla="*/ 253 h 902"/>
              <a:gd name="T74" fmla="*/ 649 w 902"/>
              <a:gd name="T75" fmla="*/ 170 h 902"/>
              <a:gd name="T76" fmla="*/ 656 w 902"/>
              <a:gd name="T77" fmla="*/ 86 h 902"/>
              <a:gd name="T78" fmla="*/ 615 w 902"/>
              <a:gd name="T79" fmla="*/ 32 h 902"/>
              <a:gd name="T80" fmla="*/ 538 w 902"/>
              <a:gd name="T81" fmla="*/ 6 h 902"/>
              <a:gd name="T82" fmla="*/ 432 w 902"/>
              <a:gd name="T83" fmla="*/ 3 h 902"/>
              <a:gd name="T84" fmla="*/ 351 w 902"/>
              <a:gd name="T85" fmla="*/ 29 h 902"/>
              <a:gd name="T86" fmla="*/ 312 w 902"/>
              <a:gd name="T87" fmla="*/ 58 h 902"/>
              <a:gd name="T88" fmla="*/ 275 w 902"/>
              <a:gd name="T89" fmla="*/ 82 h 902"/>
              <a:gd name="T90" fmla="*/ 260 w 902"/>
              <a:gd name="T91" fmla="*/ 141 h 902"/>
              <a:gd name="T92" fmla="*/ 281 w 902"/>
              <a:gd name="T93" fmla="*/ 244 h 902"/>
              <a:gd name="T94" fmla="*/ 264 w 902"/>
              <a:gd name="T95" fmla="*/ 287 h 902"/>
              <a:gd name="T96" fmla="*/ 273 w 902"/>
              <a:gd name="T97" fmla="*/ 350 h 902"/>
              <a:gd name="T98" fmla="*/ 291 w 902"/>
              <a:gd name="T99" fmla="*/ 404 h 902"/>
              <a:gd name="T100" fmla="*/ 331 w 902"/>
              <a:gd name="T101" fmla="*/ 473 h 902"/>
              <a:gd name="T102" fmla="*/ 233 w 902"/>
              <a:gd name="T103" fmla="*/ 612 h 902"/>
              <a:gd name="T104" fmla="*/ 82 w 902"/>
              <a:gd name="T105" fmla="*/ 682 h 902"/>
              <a:gd name="T106" fmla="*/ 33 w 902"/>
              <a:gd name="T107" fmla="*/ 741 h 902"/>
              <a:gd name="T108" fmla="*/ 3 w 902"/>
              <a:gd name="T109" fmla="*/ 856 h 902"/>
              <a:gd name="T110" fmla="*/ 3 w 902"/>
              <a:gd name="T111" fmla="*/ 895 h 902"/>
              <a:gd name="T112" fmla="*/ 887 w 902"/>
              <a:gd name="T113" fmla="*/ 902 h 902"/>
              <a:gd name="T114" fmla="*/ 901 w 902"/>
              <a:gd name="T115" fmla="*/ 893 h 902"/>
              <a:gd name="T116" fmla="*/ 897 w 902"/>
              <a:gd name="T117" fmla="*/ 835 h 902"/>
              <a:gd name="T118" fmla="*/ 863 w 902"/>
              <a:gd name="T119" fmla="*/ 727 h 9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902" h="902">
                <a:moveTo>
                  <a:pt x="31" y="872"/>
                </a:moveTo>
                <a:lnTo>
                  <a:pt x="34" y="848"/>
                </a:lnTo>
                <a:lnTo>
                  <a:pt x="39" y="816"/>
                </a:lnTo>
                <a:lnTo>
                  <a:pt x="45" y="798"/>
                </a:lnTo>
                <a:lnTo>
                  <a:pt x="50" y="780"/>
                </a:lnTo>
                <a:lnTo>
                  <a:pt x="58" y="760"/>
                </a:lnTo>
                <a:lnTo>
                  <a:pt x="66" y="740"/>
                </a:lnTo>
                <a:lnTo>
                  <a:pt x="71" y="732"/>
                </a:lnTo>
                <a:lnTo>
                  <a:pt x="78" y="725"/>
                </a:lnTo>
                <a:lnTo>
                  <a:pt x="85" y="717"/>
                </a:lnTo>
                <a:lnTo>
                  <a:pt x="94" y="710"/>
                </a:lnTo>
                <a:lnTo>
                  <a:pt x="105" y="702"/>
                </a:lnTo>
                <a:lnTo>
                  <a:pt x="117" y="695"/>
                </a:lnTo>
                <a:lnTo>
                  <a:pt x="129" y="688"/>
                </a:lnTo>
                <a:lnTo>
                  <a:pt x="143" y="681"/>
                </a:lnTo>
                <a:lnTo>
                  <a:pt x="174" y="667"/>
                </a:lnTo>
                <a:lnTo>
                  <a:pt x="209" y="653"/>
                </a:lnTo>
                <a:lnTo>
                  <a:pt x="247" y="639"/>
                </a:lnTo>
                <a:lnTo>
                  <a:pt x="287" y="624"/>
                </a:lnTo>
                <a:lnTo>
                  <a:pt x="303" y="619"/>
                </a:lnTo>
                <a:lnTo>
                  <a:pt x="319" y="612"/>
                </a:lnTo>
                <a:lnTo>
                  <a:pt x="335" y="607"/>
                </a:lnTo>
                <a:lnTo>
                  <a:pt x="351" y="601"/>
                </a:lnTo>
                <a:lnTo>
                  <a:pt x="356" y="598"/>
                </a:lnTo>
                <a:lnTo>
                  <a:pt x="359" y="595"/>
                </a:lnTo>
                <a:lnTo>
                  <a:pt x="360" y="591"/>
                </a:lnTo>
                <a:lnTo>
                  <a:pt x="361" y="587"/>
                </a:lnTo>
                <a:lnTo>
                  <a:pt x="361" y="467"/>
                </a:lnTo>
                <a:lnTo>
                  <a:pt x="361" y="462"/>
                </a:lnTo>
                <a:lnTo>
                  <a:pt x="360" y="459"/>
                </a:lnTo>
                <a:lnTo>
                  <a:pt x="358" y="457"/>
                </a:lnTo>
                <a:lnTo>
                  <a:pt x="356" y="455"/>
                </a:lnTo>
                <a:lnTo>
                  <a:pt x="349" y="448"/>
                </a:lnTo>
                <a:lnTo>
                  <a:pt x="335" y="429"/>
                </a:lnTo>
                <a:lnTo>
                  <a:pt x="331" y="423"/>
                </a:lnTo>
                <a:lnTo>
                  <a:pt x="328" y="415"/>
                </a:lnTo>
                <a:lnTo>
                  <a:pt x="325" y="408"/>
                </a:lnTo>
                <a:lnTo>
                  <a:pt x="321" y="398"/>
                </a:lnTo>
                <a:lnTo>
                  <a:pt x="318" y="388"/>
                </a:lnTo>
                <a:lnTo>
                  <a:pt x="316" y="378"/>
                </a:lnTo>
                <a:lnTo>
                  <a:pt x="315" y="367"/>
                </a:lnTo>
                <a:lnTo>
                  <a:pt x="315" y="354"/>
                </a:lnTo>
                <a:lnTo>
                  <a:pt x="314" y="349"/>
                </a:lnTo>
                <a:lnTo>
                  <a:pt x="312" y="344"/>
                </a:lnTo>
                <a:lnTo>
                  <a:pt x="307" y="341"/>
                </a:lnTo>
                <a:lnTo>
                  <a:pt x="302" y="339"/>
                </a:lnTo>
                <a:lnTo>
                  <a:pt x="299" y="334"/>
                </a:lnTo>
                <a:lnTo>
                  <a:pt x="296" y="324"/>
                </a:lnTo>
                <a:lnTo>
                  <a:pt x="294" y="319"/>
                </a:lnTo>
                <a:lnTo>
                  <a:pt x="293" y="311"/>
                </a:lnTo>
                <a:lnTo>
                  <a:pt x="292" y="305"/>
                </a:lnTo>
                <a:lnTo>
                  <a:pt x="293" y="298"/>
                </a:lnTo>
                <a:lnTo>
                  <a:pt x="294" y="291"/>
                </a:lnTo>
                <a:lnTo>
                  <a:pt x="297" y="284"/>
                </a:lnTo>
                <a:lnTo>
                  <a:pt x="298" y="280"/>
                </a:lnTo>
                <a:lnTo>
                  <a:pt x="300" y="278"/>
                </a:lnTo>
                <a:lnTo>
                  <a:pt x="303" y="275"/>
                </a:lnTo>
                <a:lnTo>
                  <a:pt x="306" y="272"/>
                </a:lnTo>
                <a:lnTo>
                  <a:pt x="309" y="270"/>
                </a:lnTo>
                <a:lnTo>
                  <a:pt x="313" y="267"/>
                </a:lnTo>
                <a:lnTo>
                  <a:pt x="314" y="264"/>
                </a:lnTo>
                <a:lnTo>
                  <a:pt x="315" y="260"/>
                </a:lnTo>
                <a:lnTo>
                  <a:pt x="314" y="251"/>
                </a:lnTo>
                <a:lnTo>
                  <a:pt x="308" y="235"/>
                </a:lnTo>
                <a:lnTo>
                  <a:pt x="305" y="222"/>
                </a:lnTo>
                <a:lnTo>
                  <a:pt x="300" y="205"/>
                </a:lnTo>
                <a:lnTo>
                  <a:pt x="296" y="187"/>
                </a:lnTo>
                <a:lnTo>
                  <a:pt x="292" y="167"/>
                </a:lnTo>
                <a:lnTo>
                  <a:pt x="290" y="148"/>
                </a:lnTo>
                <a:lnTo>
                  <a:pt x="290" y="130"/>
                </a:lnTo>
                <a:lnTo>
                  <a:pt x="291" y="121"/>
                </a:lnTo>
                <a:lnTo>
                  <a:pt x="293" y="113"/>
                </a:lnTo>
                <a:lnTo>
                  <a:pt x="296" y="106"/>
                </a:lnTo>
                <a:lnTo>
                  <a:pt x="300" y="100"/>
                </a:lnTo>
                <a:lnTo>
                  <a:pt x="303" y="97"/>
                </a:lnTo>
                <a:lnTo>
                  <a:pt x="306" y="93"/>
                </a:lnTo>
                <a:lnTo>
                  <a:pt x="311" y="90"/>
                </a:lnTo>
                <a:lnTo>
                  <a:pt x="315" y="88"/>
                </a:lnTo>
                <a:lnTo>
                  <a:pt x="326" y="86"/>
                </a:lnTo>
                <a:lnTo>
                  <a:pt x="337" y="85"/>
                </a:lnTo>
                <a:lnTo>
                  <a:pt x="343" y="84"/>
                </a:lnTo>
                <a:lnTo>
                  <a:pt x="347" y="82"/>
                </a:lnTo>
                <a:lnTo>
                  <a:pt x="350" y="78"/>
                </a:lnTo>
                <a:lnTo>
                  <a:pt x="352" y="73"/>
                </a:lnTo>
                <a:lnTo>
                  <a:pt x="353" y="69"/>
                </a:lnTo>
                <a:lnTo>
                  <a:pt x="357" y="64"/>
                </a:lnTo>
                <a:lnTo>
                  <a:pt x="360" y="60"/>
                </a:lnTo>
                <a:lnTo>
                  <a:pt x="365" y="56"/>
                </a:lnTo>
                <a:lnTo>
                  <a:pt x="371" y="53"/>
                </a:lnTo>
                <a:lnTo>
                  <a:pt x="377" y="48"/>
                </a:lnTo>
                <a:lnTo>
                  <a:pt x="385" y="45"/>
                </a:lnTo>
                <a:lnTo>
                  <a:pt x="393" y="42"/>
                </a:lnTo>
                <a:lnTo>
                  <a:pt x="410" y="38"/>
                </a:lnTo>
                <a:lnTo>
                  <a:pt x="431" y="33"/>
                </a:lnTo>
                <a:lnTo>
                  <a:pt x="453" y="31"/>
                </a:lnTo>
                <a:lnTo>
                  <a:pt x="478" y="30"/>
                </a:lnTo>
                <a:lnTo>
                  <a:pt x="502" y="31"/>
                </a:lnTo>
                <a:lnTo>
                  <a:pt x="528" y="34"/>
                </a:lnTo>
                <a:lnTo>
                  <a:pt x="540" y="37"/>
                </a:lnTo>
                <a:lnTo>
                  <a:pt x="552" y="39"/>
                </a:lnTo>
                <a:lnTo>
                  <a:pt x="564" y="42"/>
                </a:lnTo>
                <a:lnTo>
                  <a:pt x="574" y="45"/>
                </a:lnTo>
                <a:lnTo>
                  <a:pt x="584" y="49"/>
                </a:lnTo>
                <a:lnTo>
                  <a:pt x="594" y="54"/>
                </a:lnTo>
                <a:lnTo>
                  <a:pt x="602" y="59"/>
                </a:lnTo>
                <a:lnTo>
                  <a:pt x="609" y="64"/>
                </a:lnTo>
                <a:lnTo>
                  <a:pt x="615" y="71"/>
                </a:lnTo>
                <a:lnTo>
                  <a:pt x="620" y="77"/>
                </a:lnTo>
                <a:lnTo>
                  <a:pt x="624" y="84"/>
                </a:lnTo>
                <a:lnTo>
                  <a:pt x="626" y="91"/>
                </a:lnTo>
                <a:lnTo>
                  <a:pt x="628" y="100"/>
                </a:lnTo>
                <a:lnTo>
                  <a:pt x="628" y="108"/>
                </a:lnTo>
                <a:lnTo>
                  <a:pt x="628" y="118"/>
                </a:lnTo>
                <a:lnTo>
                  <a:pt x="627" y="127"/>
                </a:lnTo>
                <a:lnTo>
                  <a:pt x="625" y="146"/>
                </a:lnTo>
                <a:lnTo>
                  <a:pt x="619" y="165"/>
                </a:lnTo>
                <a:lnTo>
                  <a:pt x="609" y="201"/>
                </a:lnTo>
                <a:lnTo>
                  <a:pt x="597" y="231"/>
                </a:lnTo>
                <a:lnTo>
                  <a:pt x="593" y="241"/>
                </a:lnTo>
                <a:lnTo>
                  <a:pt x="590" y="250"/>
                </a:lnTo>
                <a:lnTo>
                  <a:pt x="588" y="255"/>
                </a:lnTo>
                <a:lnTo>
                  <a:pt x="588" y="260"/>
                </a:lnTo>
                <a:lnTo>
                  <a:pt x="588" y="264"/>
                </a:lnTo>
                <a:lnTo>
                  <a:pt x="590" y="267"/>
                </a:lnTo>
                <a:lnTo>
                  <a:pt x="593" y="270"/>
                </a:lnTo>
                <a:lnTo>
                  <a:pt x="596" y="272"/>
                </a:lnTo>
                <a:lnTo>
                  <a:pt x="600" y="275"/>
                </a:lnTo>
                <a:lnTo>
                  <a:pt x="602" y="278"/>
                </a:lnTo>
                <a:lnTo>
                  <a:pt x="604" y="280"/>
                </a:lnTo>
                <a:lnTo>
                  <a:pt x="606" y="284"/>
                </a:lnTo>
                <a:lnTo>
                  <a:pt x="609" y="291"/>
                </a:lnTo>
                <a:lnTo>
                  <a:pt x="610" y="298"/>
                </a:lnTo>
                <a:lnTo>
                  <a:pt x="610" y="305"/>
                </a:lnTo>
                <a:lnTo>
                  <a:pt x="610" y="311"/>
                </a:lnTo>
                <a:lnTo>
                  <a:pt x="609" y="318"/>
                </a:lnTo>
                <a:lnTo>
                  <a:pt x="608" y="324"/>
                </a:lnTo>
                <a:lnTo>
                  <a:pt x="603" y="334"/>
                </a:lnTo>
                <a:lnTo>
                  <a:pt x="600" y="339"/>
                </a:lnTo>
                <a:lnTo>
                  <a:pt x="596" y="341"/>
                </a:lnTo>
                <a:lnTo>
                  <a:pt x="591" y="344"/>
                </a:lnTo>
                <a:lnTo>
                  <a:pt x="589" y="349"/>
                </a:lnTo>
                <a:lnTo>
                  <a:pt x="588" y="354"/>
                </a:lnTo>
                <a:lnTo>
                  <a:pt x="587" y="367"/>
                </a:lnTo>
                <a:lnTo>
                  <a:pt x="586" y="379"/>
                </a:lnTo>
                <a:lnTo>
                  <a:pt x="584" y="389"/>
                </a:lnTo>
                <a:lnTo>
                  <a:pt x="582" y="399"/>
                </a:lnTo>
                <a:lnTo>
                  <a:pt x="575" y="418"/>
                </a:lnTo>
                <a:lnTo>
                  <a:pt x="567" y="433"/>
                </a:lnTo>
                <a:lnTo>
                  <a:pt x="553" y="455"/>
                </a:lnTo>
                <a:lnTo>
                  <a:pt x="546" y="461"/>
                </a:lnTo>
                <a:lnTo>
                  <a:pt x="544" y="464"/>
                </a:lnTo>
                <a:lnTo>
                  <a:pt x="543" y="467"/>
                </a:lnTo>
                <a:lnTo>
                  <a:pt x="542" y="470"/>
                </a:lnTo>
                <a:lnTo>
                  <a:pt x="541" y="473"/>
                </a:lnTo>
                <a:lnTo>
                  <a:pt x="541" y="587"/>
                </a:lnTo>
                <a:lnTo>
                  <a:pt x="542" y="591"/>
                </a:lnTo>
                <a:lnTo>
                  <a:pt x="544" y="595"/>
                </a:lnTo>
                <a:lnTo>
                  <a:pt x="548" y="598"/>
                </a:lnTo>
                <a:lnTo>
                  <a:pt x="552" y="601"/>
                </a:lnTo>
                <a:lnTo>
                  <a:pt x="568" y="607"/>
                </a:lnTo>
                <a:lnTo>
                  <a:pt x="584" y="612"/>
                </a:lnTo>
                <a:lnTo>
                  <a:pt x="600" y="619"/>
                </a:lnTo>
                <a:lnTo>
                  <a:pt x="615" y="624"/>
                </a:lnTo>
                <a:lnTo>
                  <a:pt x="656" y="639"/>
                </a:lnTo>
                <a:lnTo>
                  <a:pt x="693" y="653"/>
                </a:lnTo>
                <a:lnTo>
                  <a:pt x="729" y="667"/>
                </a:lnTo>
                <a:lnTo>
                  <a:pt x="760" y="681"/>
                </a:lnTo>
                <a:lnTo>
                  <a:pt x="774" y="688"/>
                </a:lnTo>
                <a:lnTo>
                  <a:pt x="787" y="695"/>
                </a:lnTo>
                <a:lnTo>
                  <a:pt x="797" y="702"/>
                </a:lnTo>
                <a:lnTo>
                  <a:pt x="808" y="710"/>
                </a:lnTo>
                <a:lnTo>
                  <a:pt x="818" y="717"/>
                </a:lnTo>
                <a:lnTo>
                  <a:pt x="825" y="725"/>
                </a:lnTo>
                <a:lnTo>
                  <a:pt x="832" y="732"/>
                </a:lnTo>
                <a:lnTo>
                  <a:pt x="836" y="740"/>
                </a:lnTo>
                <a:lnTo>
                  <a:pt x="846" y="759"/>
                </a:lnTo>
                <a:lnTo>
                  <a:pt x="852" y="780"/>
                </a:lnTo>
                <a:lnTo>
                  <a:pt x="858" y="798"/>
                </a:lnTo>
                <a:lnTo>
                  <a:pt x="863" y="816"/>
                </a:lnTo>
                <a:lnTo>
                  <a:pt x="869" y="848"/>
                </a:lnTo>
                <a:lnTo>
                  <a:pt x="871" y="872"/>
                </a:lnTo>
                <a:lnTo>
                  <a:pt x="31" y="872"/>
                </a:lnTo>
                <a:close/>
                <a:moveTo>
                  <a:pt x="863" y="727"/>
                </a:moveTo>
                <a:lnTo>
                  <a:pt x="857" y="716"/>
                </a:lnTo>
                <a:lnTo>
                  <a:pt x="850" y="708"/>
                </a:lnTo>
                <a:lnTo>
                  <a:pt x="841" y="698"/>
                </a:lnTo>
                <a:lnTo>
                  <a:pt x="832" y="690"/>
                </a:lnTo>
                <a:lnTo>
                  <a:pt x="821" y="682"/>
                </a:lnTo>
                <a:lnTo>
                  <a:pt x="808" y="673"/>
                </a:lnTo>
                <a:lnTo>
                  <a:pt x="795" y="666"/>
                </a:lnTo>
                <a:lnTo>
                  <a:pt x="780" y="657"/>
                </a:lnTo>
                <a:lnTo>
                  <a:pt x="747" y="642"/>
                </a:lnTo>
                <a:lnTo>
                  <a:pt x="710" y="627"/>
                </a:lnTo>
                <a:lnTo>
                  <a:pt x="670" y="612"/>
                </a:lnTo>
                <a:lnTo>
                  <a:pt x="626" y="596"/>
                </a:lnTo>
                <a:lnTo>
                  <a:pt x="613" y="591"/>
                </a:lnTo>
                <a:lnTo>
                  <a:pt x="599" y="587"/>
                </a:lnTo>
                <a:lnTo>
                  <a:pt x="585" y="581"/>
                </a:lnTo>
                <a:lnTo>
                  <a:pt x="571" y="576"/>
                </a:lnTo>
                <a:lnTo>
                  <a:pt x="571" y="478"/>
                </a:lnTo>
                <a:lnTo>
                  <a:pt x="578" y="473"/>
                </a:lnTo>
                <a:lnTo>
                  <a:pt x="584" y="464"/>
                </a:lnTo>
                <a:lnTo>
                  <a:pt x="590" y="453"/>
                </a:lnTo>
                <a:lnTo>
                  <a:pt x="598" y="440"/>
                </a:lnTo>
                <a:lnTo>
                  <a:pt x="605" y="424"/>
                </a:lnTo>
                <a:lnTo>
                  <a:pt x="611" y="406"/>
                </a:lnTo>
                <a:lnTo>
                  <a:pt x="614" y="397"/>
                </a:lnTo>
                <a:lnTo>
                  <a:pt x="615" y="386"/>
                </a:lnTo>
                <a:lnTo>
                  <a:pt x="617" y="375"/>
                </a:lnTo>
                <a:lnTo>
                  <a:pt x="618" y="364"/>
                </a:lnTo>
                <a:lnTo>
                  <a:pt x="624" y="358"/>
                </a:lnTo>
                <a:lnTo>
                  <a:pt x="629" y="350"/>
                </a:lnTo>
                <a:lnTo>
                  <a:pt x="633" y="340"/>
                </a:lnTo>
                <a:lnTo>
                  <a:pt x="638" y="328"/>
                </a:lnTo>
                <a:lnTo>
                  <a:pt x="639" y="319"/>
                </a:lnTo>
                <a:lnTo>
                  <a:pt x="640" y="308"/>
                </a:lnTo>
                <a:lnTo>
                  <a:pt x="640" y="297"/>
                </a:lnTo>
                <a:lnTo>
                  <a:pt x="639" y="287"/>
                </a:lnTo>
                <a:lnTo>
                  <a:pt x="635" y="278"/>
                </a:lnTo>
                <a:lnTo>
                  <a:pt x="632" y="268"/>
                </a:lnTo>
                <a:lnTo>
                  <a:pt x="627" y="261"/>
                </a:lnTo>
                <a:lnTo>
                  <a:pt x="620" y="253"/>
                </a:lnTo>
                <a:lnTo>
                  <a:pt x="623" y="248"/>
                </a:lnTo>
                <a:lnTo>
                  <a:pt x="625" y="242"/>
                </a:lnTo>
                <a:lnTo>
                  <a:pt x="631" y="227"/>
                </a:lnTo>
                <a:lnTo>
                  <a:pt x="638" y="209"/>
                </a:lnTo>
                <a:lnTo>
                  <a:pt x="644" y="190"/>
                </a:lnTo>
                <a:lnTo>
                  <a:pt x="649" y="170"/>
                </a:lnTo>
                <a:lnTo>
                  <a:pt x="655" y="148"/>
                </a:lnTo>
                <a:lnTo>
                  <a:pt x="657" y="127"/>
                </a:lnTo>
                <a:lnTo>
                  <a:pt x="658" y="116"/>
                </a:lnTo>
                <a:lnTo>
                  <a:pt x="658" y="106"/>
                </a:lnTo>
                <a:lnTo>
                  <a:pt x="657" y="96"/>
                </a:lnTo>
                <a:lnTo>
                  <a:pt x="656" y="86"/>
                </a:lnTo>
                <a:lnTo>
                  <a:pt x="653" y="75"/>
                </a:lnTo>
                <a:lnTo>
                  <a:pt x="648" y="64"/>
                </a:lnTo>
                <a:lnTo>
                  <a:pt x="642" y="56"/>
                </a:lnTo>
                <a:lnTo>
                  <a:pt x="634" y="47"/>
                </a:lnTo>
                <a:lnTo>
                  <a:pt x="625" y="40"/>
                </a:lnTo>
                <a:lnTo>
                  <a:pt x="615" y="32"/>
                </a:lnTo>
                <a:lnTo>
                  <a:pt x="604" y="26"/>
                </a:lnTo>
                <a:lnTo>
                  <a:pt x="593" y="21"/>
                </a:lnTo>
                <a:lnTo>
                  <a:pt x="580" y="15"/>
                </a:lnTo>
                <a:lnTo>
                  <a:pt x="566" y="12"/>
                </a:lnTo>
                <a:lnTo>
                  <a:pt x="552" y="8"/>
                </a:lnTo>
                <a:lnTo>
                  <a:pt x="538" y="6"/>
                </a:lnTo>
                <a:lnTo>
                  <a:pt x="523" y="2"/>
                </a:lnTo>
                <a:lnTo>
                  <a:pt x="508" y="1"/>
                </a:lnTo>
                <a:lnTo>
                  <a:pt x="493" y="0"/>
                </a:lnTo>
                <a:lnTo>
                  <a:pt x="478" y="0"/>
                </a:lnTo>
                <a:lnTo>
                  <a:pt x="455" y="0"/>
                </a:lnTo>
                <a:lnTo>
                  <a:pt x="432" y="3"/>
                </a:lnTo>
                <a:lnTo>
                  <a:pt x="409" y="7"/>
                </a:lnTo>
                <a:lnTo>
                  <a:pt x="388" y="12"/>
                </a:lnTo>
                <a:lnTo>
                  <a:pt x="378" y="16"/>
                </a:lnTo>
                <a:lnTo>
                  <a:pt x="368" y="19"/>
                </a:lnTo>
                <a:lnTo>
                  <a:pt x="359" y="25"/>
                </a:lnTo>
                <a:lnTo>
                  <a:pt x="351" y="29"/>
                </a:lnTo>
                <a:lnTo>
                  <a:pt x="344" y="36"/>
                </a:lnTo>
                <a:lnTo>
                  <a:pt x="337" y="41"/>
                </a:lnTo>
                <a:lnTo>
                  <a:pt x="331" y="48"/>
                </a:lnTo>
                <a:lnTo>
                  <a:pt x="327" y="55"/>
                </a:lnTo>
                <a:lnTo>
                  <a:pt x="319" y="56"/>
                </a:lnTo>
                <a:lnTo>
                  <a:pt x="312" y="58"/>
                </a:lnTo>
                <a:lnTo>
                  <a:pt x="304" y="60"/>
                </a:lnTo>
                <a:lnTo>
                  <a:pt x="298" y="63"/>
                </a:lnTo>
                <a:lnTo>
                  <a:pt x="291" y="67"/>
                </a:lnTo>
                <a:lnTo>
                  <a:pt x="286" y="71"/>
                </a:lnTo>
                <a:lnTo>
                  <a:pt x="281" y="76"/>
                </a:lnTo>
                <a:lnTo>
                  <a:pt x="275" y="82"/>
                </a:lnTo>
                <a:lnTo>
                  <a:pt x="270" y="90"/>
                </a:lnTo>
                <a:lnTo>
                  <a:pt x="267" y="99"/>
                </a:lnTo>
                <a:lnTo>
                  <a:pt x="263" y="110"/>
                </a:lnTo>
                <a:lnTo>
                  <a:pt x="261" y="119"/>
                </a:lnTo>
                <a:lnTo>
                  <a:pt x="260" y="130"/>
                </a:lnTo>
                <a:lnTo>
                  <a:pt x="260" y="141"/>
                </a:lnTo>
                <a:lnTo>
                  <a:pt x="260" y="152"/>
                </a:lnTo>
                <a:lnTo>
                  <a:pt x="261" y="163"/>
                </a:lnTo>
                <a:lnTo>
                  <a:pt x="264" y="186"/>
                </a:lnTo>
                <a:lnTo>
                  <a:pt x="270" y="207"/>
                </a:lnTo>
                <a:lnTo>
                  <a:pt x="275" y="226"/>
                </a:lnTo>
                <a:lnTo>
                  <a:pt x="281" y="244"/>
                </a:lnTo>
                <a:lnTo>
                  <a:pt x="282" y="249"/>
                </a:lnTo>
                <a:lnTo>
                  <a:pt x="283" y="252"/>
                </a:lnTo>
                <a:lnTo>
                  <a:pt x="276" y="260"/>
                </a:lnTo>
                <a:lnTo>
                  <a:pt x="271" y="268"/>
                </a:lnTo>
                <a:lnTo>
                  <a:pt x="267" y="277"/>
                </a:lnTo>
                <a:lnTo>
                  <a:pt x="264" y="287"/>
                </a:lnTo>
                <a:lnTo>
                  <a:pt x="263" y="297"/>
                </a:lnTo>
                <a:lnTo>
                  <a:pt x="262" y="308"/>
                </a:lnTo>
                <a:lnTo>
                  <a:pt x="263" y="319"/>
                </a:lnTo>
                <a:lnTo>
                  <a:pt x="266" y="328"/>
                </a:lnTo>
                <a:lnTo>
                  <a:pt x="269" y="340"/>
                </a:lnTo>
                <a:lnTo>
                  <a:pt x="273" y="350"/>
                </a:lnTo>
                <a:lnTo>
                  <a:pt x="278" y="358"/>
                </a:lnTo>
                <a:lnTo>
                  <a:pt x="285" y="364"/>
                </a:lnTo>
                <a:lnTo>
                  <a:pt x="286" y="375"/>
                </a:lnTo>
                <a:lnTo>
                  <a:pt x="287" y="385"/>
                </a:lnTo>
                <a:lnTo>
                  <a:pt x="289" y="396"/>
                </a:lnTo>
                <a:lnTo>
                  <a:pt x="291" y="404"/>
                </a:lnTo>
                <a:lnTo>
                  <a:pt x="298" y="421"/>
                </a:lnTo>
                <a:lnTo>
                  <a:pt x="304" y="437"/>
                </a:lnTo>
                <a:lnTo>
                  <a:pt x="312" y="448"/>
                </a:lnTo>
                <a:lnTo>
                  <a:pt x="319" y="459"/>
                </a:lnTo>
                <a:lnTo>
                  <a:pt x="326" y="467"/>
                </a:lnTo>
                <a:lnTo>
                  <a:pt x="331" y="473"/>
                </a:lnTo>
                <a:lnTo>
                  <a:pt x="331" y="576"/>
                </a:lnTo>
                <a:lnTo>
                  <a:pt x="317" y="581"/>
                </a:lnTo>
                <a:lnTo>
                  <a:pt x="303" y="587"/>
                </a:lnTo>
                <a:lnTo>
                  <a:pt x="290" y="591"/>
                </a:lnTo>
                <a:lnTo>
                  <a:pt x="277" y="596"/>
                </a:lnTo>
                <a:lnTo>
                  <a:pt x="233" y="612"/>
                </a:lnTo>
                <a:lnTo>
                  <a:pt x="193" y="627"/>
                </a:lnTo>
                <a:lnTo>
                  <a:pt x="155" y="642"/>
                </a:lnTo>
                <a:lnTo>
                  <a:pt x="123" y="658"/>
                </a:lnTo>
                <a:lnTo>
                  <a:pt x="108" y="666"/>
                </a:lnTo>
                <a:lnTo>
                  <a:pt x="94" y="673"/>
                </a:lnTo>
                <a:lnTo>
                  <a:pt x="82" y="682"/>
                </a:lnTo>
                <a:lnTo>
                  <a:pt x="70" y="690"/>
                </a:lnTo>
                <a:lnTo>
                  <a:pt x="61" y="698"/>
                </a:lnTo>
                <a:lnTo>
                  <a:pt x="52" y="708"/>
                </a:lnTo>
                <a:lnTo>
                  <a:pt x="46" y="716"/>
                </a:lnTo>
                <a:lnTo>
                  <a:pt x="39" y="727"/>
                </a:lnTo>
                <a:lnTo>
                  <a:pt x="33" y="741"/>
                </a:lnTo>
                <a:lnTo>
                  <a:pt x="26" y="756"/>
                </a:lnTo>
                <a:lnTo>
                  <a:pt x="21" y="770"/>
                </a:lnTo>
                <a:lnTo>
                  <a:pt x="17" y="784"/>
                </a:lnTo>
                <a:lnTo>
                  <a:pt x="10" y="811"/>
                </a:lnTo>
                <a:lnTo>
                  <a:pt x="5" y="835"/>
                </a:lnTo>
                <a:lnTo>
                  <a:pt x="3" y="856"/>
                </a:lnTo>
                <a:lnTo>
                  <a:pt x="1" y="872"/>
                </a:lnTo>
                <a:lnTo>
                  <a:pt x="1" y="882"/>
                </a:lnTo>
                <a:lnTo>
                  <a:pt x="0" y="887"/>
                </a:lnTo>
                <a:lnTo>
                  <a:pt x="1" y="890"/>
                </a:lnTo>
                <a:lnTo>
                  <a:pt x="2" y="893"/>
                </a:lnTo>
                <a:lnTo>
                  <a:pt x="3" y="895"/>
                </a:lnTo>
                <a:lnTo>
                  <a:pt x="5" y="898"/>
                </a:lnTo>
                <a:lnTo>
                  <a:pt x="7" y="900"/>
                </a:lnTo>
                <a:lnTo>
                  <a:pt x="9" y="901"/>
                </a:lnTo>
                <a:lnTo>
                  <a:pt x="12" y="902"/>
                </a:lnTo>
                <a:lnTo>
                  <a:pt x="15" y="902"/>
                </a:lnTo>
                <a:lnTo>
                  <a:pt x="887" y="902"/>
                </a:lnTo>
                <a:lnTo>
                  <a:pt x="891" y="902"/>
                </a:lnTo>
                <a:lnTo>
                  <a:pt x="894" y="901"/>
                </a:lnTo>
                <a:lnTo>
                  <a:pt x="896" y="900"/>
                </a:lnTo>
                <a:lnTo>
                  <a:pt x="898" y="898"/>
                </a:lnTo>
                <a:lnTo>
                  <a:pt x="900" y="895"/>
                </a:lnTo>
                <a:lnTo>
                  <a:pt x="901" y="893"/>
                </a:lnTo>
                <a:lnTo>
                  <a:pt x="902" y="890"/>
                </a:lnTo>
                <a:lnTo>
                  <a:pt x="902" y="887"/>
                </a:lnTo>
                <a:lnTo>
                  <a:pt x="902" y="882"/>
                </a:lnTo>
                <a:lnTo>
                  <a:pt x="901" y="872"/>
                </a:lnTo>
                <a:lnTo>
                  <a:pt x="900" y="856"/>
                </a:lnTo>
                <a:lnTo>
                  <a:pt x="897" y="835"/>
                </a:lnTo>
                <a:lnTo>
                  <a:pt x="893" y="811"/>
                </a:lnTo>
                <a:lnTo>
                  <a:pt x="885" y="784"/>
                </a:lnTo>
                <a:lnTo>
                  <a:pt x="881" y="770"/>
                </a:lnTo>
                <a:lnTo>
                  <a:pt x="876" y="756"/>
                </a:lnTo>
                <a:lnTo>
                  <a:pt x="870" y="741"/>
                </a:lnTo>
                <a:lnTo>
                  <a:pt x="863" y="727"/>
                </a:lnTo>
                <a:close/>
              </a:path>
            </a:pathLst>
          </a:custGeom>
          <a:solidFill>
            <a:srgbClr val="E2583D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6" name="Freeform 57"/>
          <p:cNvSpPr>
            <a:spLocks noEditPoints="1"/>
          </p:cNvSpPr>
          <p:nvPr/>
        </p:nvSpPr>
        <p:spPr bwMode="auto">
          <a:xfrm>
            <a:off x="6880611" y="3883505"/>
            <a:ext cx="728486" cy="728488"/>
          </a:xfrm>
          <a:custGeom>
            <a:avLst/>
            <a:gdLst>
              <a:gd name="T0" fmla="*/ 58 w 902"/>
              <a:gd name="T1" fmla="*/ 760 h 902"/>
              <a:gd name="T2" fmla="*/ 105 w 902"/>
              <a:gd name="T3" fmla="*/ 702 h 902"/>
              <a:gd name="T4" fmla="*/ 247 w 902"/>
              <a:gd name="T5" fmla="*/ 639 h 902"/>
              <a:gd name="T6" fmla="*/ 356 w 902"/>
              <a:gd name="T7" fmla="*/ 598 h 902"/>
              <a:gd name="T8" fmla="*/ 360 w 902"/>
              <a:gd name="T9" fmla="*/ 459 h 902"/>
              <a:gd name="T10" fmla="*/ 328 w 902"/>
              <a:gd name="T11" fmla="*/ 415 h 902"/>
              <a:gd name="T12" fmla="*/ 315 w 902"/>
              <a:gd name="T13" fmla="*/ 354 h 902"/>
              <a:gd name="T14" fmla="*/ 296 w 902"/>
              <a:gd name="T15" fmla="*/ 324 h 902"/>
              <a:gd name="T16" fmla="*/ 297 w 902"/>
              <a:gd name="T17" fmla="*/ 284 h 902"/>
              <a:gd name="T18" fmla="*/ 313 w 902"/>
              <a:gd name="T19" fmla="*/ 267 h 902"/>
              <a:gd name="T20" fmla="*/ 300 w 902"/>
              <a:gd name="T21" fmla="*/ 205 h 902"/>
              <a:gd name="T22" fmla="*/ 293 w 902"/>
              <a:gd name="T23" fmla="*/ 113 h 902"/>
              <a:gd name="T24" fmla="*/ 315 w 902"/>
              <a:gd name="T25" fmla="*/ 88 h 902"/>
              <a:gd name="T26" fmla="*/ 352 w 902"/>
              <a:gd name="T27" fmla="*/ 73 h 902"/>
              <a:gd name="T28" fmla="*/ 377 w 902"/>
              <a:gd name="T29" fmla="*/ 48 h 902"/>
              <a:gd name="T30" fmla="*/ 478 w 902"/>
              <a:gd name="T31" fmla="*/ 30 h 902"/>
              <a:gd name="T32" fmla="*/ 574 w 902"/>
              <a:gd name="T33" fmla="*/ 45 h 902"/>
              <a:gd name="T34" fmla="*/ 620 w 902"/>
              <a:gd name="T35" fmla="*/ 77 h 902"/>
              <a:gd name="T36" fmla="*/ 627 w 902"/>
              <a:gd name="T37" fmla="*/ 127 h 902"/>
              <a:gd name="T38" fmla="*/ 590 w 902"/>
              <a:gd name="T39" fmla="*/ 250 h 902"/>
              <a:gd name="T40" fmla="*/ 596 w 902"/>
              <a:gd name="T41" fmla="*/ 272 h 902"/>
              <a:gd name="T42" fmla="*/ 610 w 902"/>
              <a:gd name="T43" fmla="*/ 298 h 902"/>
              <a:gd name="T44" fmla="*/ 600 w 902"/>
              <a:gd name="T45" fmla="*/ 339 h 902"/>
              <a:gd name="T46" fmla="*/ 586 w 902"/>
              <a:gd name="T47" fmla="*/ 379 h 902"/>
              <a:gd name="T48" fmla="*/ 546 w 902"/>
              <a:gd name="T49" fmla="*/ 461 h 902"/>
              <a:gd name="T50" fmla="*/ 542 w 902"/>
              <a:gd name="T51" fmla="*/ 591 h 902"/>
              <a:gd name="T52" fmla="*/ 600 w 902"/>
              <a:gd name="T53" fmla="*/ 619 h 902"/>
              <a:gd name="T54" fmla="*/ 774 w 902"/>
              <a:gd name="T55" fmla="*/ 688 h 902"/>
              <a:gd name="T56" fmla="*/ 832 w 902"/>
              <a:gd name="T57" fmla="*/ 732 h 902"/>
              <a:gd name="T58" fmla="*/ 869 w 902"/>
              <a:gd name="T59" fmla="*/ 848 h 902"/>
              <a:gd name="T60" fmla="*/ 841 w 902"/>
              <a:gd name="T61" fmla="*/ 698 h 902"/>
              <a:gd name="T62" fmla="*/ 747 w 902"/>
              <a:gd name="T63" fmla="*/ 642 h 902"/>
              <a:gd name="T64" fmla="*/ 585 w 902"/>
              <a:gd name="T65" fmla="*/ 581 h 902"/>
              <a:gd name="T66" fmla="*/ 598 w 902"/>
              <a:gd name="T67" fmla="*/ 440 h 902"/>
              <a:gd name="T68" fmla="*/ 618 w 902"/>
              <a:gd name="T69" fmla="*/ 364 h 902"/>
              <a:gd name="T70" fmla="*/ 640 w 902"/>
              <a:gd name="T71" fmla="*/ 308 h 902"/>
              <a:gd name="T72" fmla="*/ 620 w 902"/>
              <a:gd name="T73" fmla="*/ 253 h 902"/>
              <a:gd name="T74" fmla="*/ 649 w 902"/>
              <a:gd name="T75" fmla="*/ 170 h 902"/>
              <a:gd name="T76" fmla="*/ 656 w 902"/>
              <a:gd name="T77" fmla="*/ 86 h 902"/>
              <a:gd name="T78" fmla="*/ 615 w 902"/>
              <a:gd name="T79" fmla="*/ 32 h 902"/>
              <a:gd name="T80" fmla="*/ 538 w 902"/>
              <a:gd name="T81" fmla="*/ 6 h 902"/>
              <a:gd name="T82" fmla="*/ 432 w 902"/>
              <a:gd name="T83" fmla="*/ 3 h 902"/>
              <a:gd name="T84" fmla="*/ 351 w 902"/>
              <a:gd name="T85" fmla="*/ 29 h 902"/>
              <a:gd name="T86" fmla="*/ 312 w 902"/>
              <a:gd name="T87" fmla="*/ 58 h 902"/>
              <a:gd name="T88" fmla="*/ 275 w 902"/>
              <a:gd name="T89" fmla="*/ 82 h 902"/>
              <a:gd name="T90" fmla="*/ 260 w 902"/>
              <a:gd name="T91" fmla="*/ 141 h 902"/>
              <a:gd name="T92" fmla="*/ 281 w 902"/>
              <a:gd name="T93" fmla="*/ 244 h 902"/>
              <a:gd name="T94" fmla="*/ 264 w 902"/>
              <a:gd name="T95" fmla="*/ 287 h 902"/>
              <a:gd name="T96" fmla="*/ 273 w 902"/>
              <a:gd name="T97" fmla="*/ 350 h 902"/>
              <a:gd name="T98" fmla="*/ 291 w 902"/>
              <a:gd name="T99" fmla="*/ 404 h 902"/>
              <a:gd name="T100" fmla="*/ 331 w 902"/>
              <a:gd name="T101" fmla="*/ 473 h 902"/>
              <a:gd name="T102" fmla="*/ 233 w 902"/>
              <a:gd name="T103" fmla="*/ 612 h 902"/>
              <a:gd name="T104" fmla="*/ 82 w 902"/>
              <a:gd name="T105" fmla="*/ 682 h 902"/>
              <a:gd name="T106" fmla="*/ 33 w 902"/>
              <a:gd name="T107" fmla="*/ 741 h 902"/>
              <a:gd name="T108" fmla="*/ 3 w 902"/>
              <a:gd name="T109" fmla="*/ 856 h 902"/>
              <a:gd name="T110" fmla="*/ 3 w 902"/>
              <a:gd name="T111" fmla="*/ 895 h 902"/>
              <a:gd name="T112" fmla="*/ 887 w 902"/>
              <a:gd name="T113" fmla="*/ 902 h 902"/>
              <a:gd name="T114" fmla="*/ 901 w 902"/>
              <a:gd name="T115" fmla="*/ 893 h 902"/>
              <a:gd name="T116" fmla="*/ 897 w 902"/>
              <a:gd name="T117" fmla="*/ 835 h 902"/>
              <a:gd name="T118" fmla="*/ 863 w 902"/>
              <a:gd name="T119" fmla="*/ 727 h 9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902" h="902">
                <a:moveTo>
                  <a:pt x="31" y="872"/>
                </a:moveTo>
                <a:lnTo>
                  <a:pt x="34" y="848"/>
                </a:lnTo>
                <a:lnTo>
                  <a:pt x="39" y="816"/>
                </a:lnTo>
                <a:lnTo>
                  <a:pt x="45" y="798"/>
                </a:lnTo>
                <a:lnTo>
                  <a:pt x="50" y="780"/>
                </a:lnTo>
                <a:lnTo>
                  <a:pt x="58" y="760"/>
                </a:lnTo>
                <a:lnTo>
                  <a:pt x="66" y="740"/>
                </a:lnTo>
                <a:lnTo>
                  <a:pt x="71" y="732"/>
                </a:lnTo>
                <a:lnTo>
                  <a:pt x="78" y="725"/>
                </a:lnTo>
                <a:lnTo>
                  <a:pt x="85" y="717"/>
                </a:lnTo>
                <a:lnTo>
                  <a:pt x="94" y="710"/>
                </a:lnTo>
                <a:lnTo>
                  <a:pt x="105" y="702"/>
                </a:lnTo>
                <a:lnTo>
                  <a:pt x="117" y="695"/>
                </a:lnTo>
                <a:lnTo>
                  <a:pt x="129" y="688"/>
                </a:lnTo>
                <a:lnTo>
                  <a:pt x="143" y="681"/>
                </a:lnTo>
                <a:lnTo>
                  <a:pt x="174" y="667"/>
                </a:lnTo>
                <a:lnTo>
                  <a:pt x="209" y="653"/>
                </a:lnTo>
                <a:lnTo>
                  <a:pt x="247" y="639"/>
                </a:lnTo>
                <a:lnTo>
                  <a:pt x="287" y="624"/>
                </a:lnTo>
                <a:lnTo>
                  <a:pt x="303" y="619"/>
                </a:lnTo>
                <a:lnTo>
                  <a:pt x="319" y="612"/>
                </a:lnTo>
                <a:lnTo>
                  <a:pt x="335" y="607"/>
                </a:lnTo>
                <a:lnTo>
                  <a:pt x="351" y="601"/>
                </a:lnTo>
                <a:lnTo>
                  <a:pt x="356" y="598"/>
                </a:lnTo>
                <a:lnTo>
                  <a:pt x="359" y="595"/>
                </a:lnTo>
                <a:lnTo>
                  <a:pt x="360" y="591"/>
                </a:lnTo>
                <a:lnTo>
                  <a:pt x="361" y="587"/>
                </a:lnTo>
                <a:lnTo>
                  <a:pt x="361" y="467"/>
                </a:lnTo>
                <a:lnTo>
                  <a:pt x="361" y="462"/>
                </a:lnTo>
                <a:lnTo>
                  <a:pt x="360" y="459"/>
                </a:lnTo>
                <a:lnTo>
                  <a:pt x="358" y="457"/>
                </a:lnTo>
                <a:lnTo>
                  <a:pt x="356" y="455"/>
                </a:lnTo>
                <a:lnTo>
                  <a:pt x="349" y="448"/>
                </a:lnTo>
                <a:lnTo>
                  <a:pt x="335" y="429"/>
                </a:lnTo>
                <a:lnTo>
                  <a:pt x="331" y="423"/>
                </a:lnTo>
                <a:lnTo>
                  <a:pt x="328" y="415"/>
                </a:lnTo>
                <a:lnTo>
                  <a:pt x="325" y="408"/>
                </a:lnTo>
                <a:lnTo>
                  <a:pt x="321" y="398"/>
                </a:lnTo>
                <a:lnTo>
                  <a:pt x="318" y="388"/>
                </a:lnTo>
                <a:lnTo>
                  <a:pt x="316" y="378"/>
                </a:lnTo>
                <a:lnTo>
                  <a:pt x="315" y="367"/>
                </a:lnTo>
                <a:lnTo>
                  <a:pt x="315" y="354"/>
                </a:lnTo>
                <a:lnTo>
                  <a:pt x="314" y="349"/>
                </a:lnTo>
                <a:lnTo>
                  <a:pt x="312" y="344"/>
                </a:lnTo>
                <a:lnTo>
                  <a:pt x="307" y="341"/>
                </a:lnTo>
                <a:lnTo>
                  <a:pt x="302" y="339"/>
                </a:lnTo>
                <a:lnTo>
                  <a:pt x="299" y="334"/>
                </a:lnTo>
                <a:lnTo>
                  <a:pt x="296" y="324"/>
                </a:lnTo>
                <a:lnTo>
                  <a:pt x="294" y="319"/>
                </a:lnTo>
                <a:lnTo>
                  <a:pt x="293" y="311"/>
                </a:lnTo>
                <a:lnTo>
                  <a:pt x="292" y="305"/>
                </a:lnTo>
                <a:lnTo>
                  <a:pt x="293" y="298"/>
                </a:lnTo>
                <a:lnTo>
                  <a:pt x="294" y="291"/>
                </a:lnTo>
                <a:lnTo>
                  <a:pt x="297" y="284"/>
                </a:lnTo>
                <a:lnTo>
                  <a:pt x="298" y="280"/>
                </a:lnTo>
                <a:lnTo>
                  <a:pt x="300" y="278"/>
                </a:lnTo>
                <a:lnTo>
                  <a:pt x="303" y="275"/>
                </a:lnTo>
                <a:lnTo>
                  <a:pt x="306" y="272"/>
                </a:lnTo>
                <a:lnTo>
                  <a:pt x="309" y="270"/>
                </a:lnTo>
                <a:lnTo>
                  <a:pt x="313" y="267"/>
                </a:lnTo>
                <a:lnTo>
                  <a:pt x="314" y="264"/>
                </a:lnTo>
                <a:lnTo>
                  <a:pt x="315" y="260"/>
                </a:lnTo>
                <a:lnTo>
                  <a:pt x="314" y="251"/>
                </a:lnTo>
                <a:lnTo>
                  <a:pt x="308" y="235"/>
                </a:lnTo>
                <a:lnTo>
                  <a:pt x="305" y="222"/>
                </a:lnTo>
                <a:lnTo>
                  <a:pt x="300" y="205"/>
                </a:lnTo>
                <a:lnTo>
                  <a:pt x="296" y="187"/>
                </a:lnTo>
                <a:lnTo>
                  <a:pt x="292" y="167"/>
                </a:lnTo>
                <a:lnTo>
                  <a:pt x="290" y="148"/>
                </a:lnTo>
                <a:lnTo>
                  <a:pt x="290" y="130"/>
                </a:lnTo>
                <a:lnTo>
                  <a:pt x="291" y="121"/>
                </a:lnTo>
                <a:lnTo>
                  <a:pt x="293" y="113"/>
                </a:lnTo>
                <a:lnTo>
                  <a:pt x="296" y="106"/>
                </a:lnTo>
                <a:lnTo>
                  <a:pt x="300" y="100"/>
                </a:lnTo>
                <a:lnTo>
                  <a:pt x="303" y="97"/>
                </a:lnTo>
                <a:lnTo>
                  <a:pt x="306" y="93"/>
                </a:lnTo>
                <a:lnTo>
                  <a:pt x="311" y="90"/>
                </a:lnTo>
                <a:lnTo>
                  <a:pt x="315" y="88"/>
                </a:lnTo>
                <a:lnTo>
                  <a:pt x="326" y="86"/>
                </a:lnTo>
                <a:lnTo>
                  <a:pt x="337" y="85"/>
                </a:lnTo>
                <a:lnTo>
                  <a:pt x="343" y="84"/>
                </a:lnTo>
                <a:lnTo>
                  <a:pt x="347" y="82"/>
                </a:lnTo>
                <a:lnTo>
                  <a:pt x="350" y="78"/>
                </a:lnTo>
                <a:lnTo>
                  <a:pt x="352" y="73"/>
                </a:lnTo>
                <a:lnTo>
                  <a:pt x="353" y="69"/>
                </a:lnTo>
                <a:lnTo>
                  <a:pt x="357" y="64"/>
                </a:lnTo>
                <a:lnTo>
                  <a:pt x="360" y="60"/>
                </a:lnTo>
                <a:lnTo>
                  <a:pt x="365" y="56"/>
                </a:lnTo>
                <a:lnTo>
                  <a:pt x="371" y="53"/>
                </a:lnTo>
                <a:lnTo>
                  <a:pt x="377" y="48"/>
                </a:lnTo>
                <a:lnTo>
                  <a:pt x="385" y="45"/>
                </a:lnTo>
                <a:lnTo>
                  <a:pt x="393" y="42"/>
                </a:lnTo>
                <a:lnTo>
                  <a:pt x="410" y="38"/>
                </a:lnTo>
                <a:lnTo>
                  <a:pt x="431" y="33"/>
                </a:lnTo>
                <a:lnTo>
                  <a:pt x="453" y="31"/>
                </a:lnTo>
                <a:lnTo>
                  <a:pt x="478" y="30"/>
                </a:lnTo>
                <a:lnTo>
                  <a:pt x="502" y="31"/>
                </a:lnTo>
                <a:lnTo>
                  <a:pt x="528" y="34"/>
                </a:lnTo>
                <a:lnTo>
                  <a:pt x="540" y="37"/>
                </a:lnTo>
                <a:lnTo>
                  <a:pt x="552" y="39"/>
                </a:lnTo>
                <a:lnTo>
                  <a:pt x="564" y="42"/>
                </a:lnTo>
                <a:lnTo>
                  <a:pt x="574" y="45"/>
                </a:lnTo>
                <a:lnTo>
                  <a:pt x="584" y="49"/>
                </a:lnTo>
                <a:lnTo>
                  <a:pt x="594" y="54"/>
                </a:lnTo>
                <a:lnTo>
                  <a:pt x="602" y="59"/>
                </a:lnTo>
                <a:lnTo>
                  <a:pt x="609" y="64"/>
                </a:lnTo>
                <a:lnTo>
                  <a:pt x="615" y="71"/>
                </a:lnTo>
                <a:lnTo>
                  <a:pt x="620" y="77"/>
                </a:lnTo>
                <a:lnTo>
                  <a:pt x="624" y="84"/>
                </a:lnTo>
                <a:lnTo>
                  <a:pt x="626" y="91"/>
                </a:lnTo>
                <a:lnTo>
                  <a:pt x="628" y="100"/>
                </a:lnTo>
                <a:lnTo>
                  <a:pt x="628" y="108"/>
                </a:lnTo>
                <a:lnTo>
                  <a:pt x="628" y="118"/>
                </a:lnTo>
                <a:lnTo>
                  <a:pt x="627" y="127"/>
                </a:lnTo>
                <a:lnTo>
                  <a:pt x="625" y="146"/>
                </a:lnTo>
                <a:lnTo>
                  <a:pt x="619" y="165"/>
                </a:lnTo>
                <a:lnTo>
                  <a:pt x="609" y="201"/>
                </a:lnTo>
                <a:lnTo>
                  <a:pt x="597" y="231"/>
                </a:lnTo>
                <a:lnTo>
                  <a:pt x="593" y="241"/>
                </a:lnTo>
                <a:lnTo>
                  <a:pt x="590" y="250"/>
                </a:lnTo>
                <a:lnTo>
                  <a:pt x="588" y="255"/>
                </a:lnTo>
                <a:lnTo>
                  <a:pt x="588" y="260"/>
                </a:lnTo>
                <a:lnTo>
                  <a:pt x="588" y="264"/>
                </a:lnTo>
                <a:lnTo>
                  <a:pt x="590" y="267"/>
                </a:lnTo>
                <a:lnTo>
                  <a:pt x="593" y="270"/>
                </a:lnTo>
                <a:lnTo>
                  <a:pt x="596" y="272"/>
                </a:lnTo>
                <a:lnTo>
                  <a:pt x="600" y="275"/>
                </a:lnTo>
                <a:lnTo>
                  <a:pt x="602" y="278"/>
                </a:lnTo>
                <a:lnTo>
                  <a:pt x="604" y="280"/>
                </a:lnTo>
                <a:lnTo>
                  <a:pt x="606" y="284"/>
                </a:lnTo>
                <a:lnTo>
                  <a:pt x="609" y="291"/>
                </a:lnTo>
                <a:lnTo>
                  <a:pt x="610" y="298"/>
                </a:lnTo>
                <a:lnTo>
                  <a:pt x="610" y="305"/>
                </a:lnTo>
                <a:lnTo>
                  <a:pt x="610" y="311"/>
                </a:lnTo>
                <a:lnTo>
                  <a:pt x="609" y="318"/>
                </a:lnTo>
                <a:lnTo>
                  <a:pt x="608" y="324"/>
                </a:lnTo>
                <a:lnTo>
                  <a:pt x="603" y="334"/>
                </a:lnTo>
                <a:lnTo>
                  <a:pt x="600" y="339"/>
                </a:lnTo>
                <a:lnTo>
                  <a:pt x="596" y="341"/>
                </a:lnTo>
                <a:lnTo>
                  <a:pt x="591" y="344"/>
                </a:lnTo>
                <a:lnTo>
                  <a:pt x="589" y="349"/>
                </a:lnTo>
                <a:lnTo>
                  <a:pt x="588" y="354"/>
                </a:lnTo>
                <a:lnTo>
                  <a:pt x="587" y="367"/>
                </a:lnTo>
                <a:lnTo>
                  <a:pt x="586" y="379"/>
                </a:lnTo>
                <a:lnTo>
                  <a:pt x="584" y="389"/>
                </a:lnTo>
                <a:lnTo>
                  <a:pt x="582" y="399"/>
                </a:lnTo>
                <a:lnTo>
                  <a:pt x="575" y="418"/>
                </a:lnTo>
                <a:lnTo>
                  <a:pt x="567" y="433"/>
                </a:lnTo>
                <a:lnTo>
                  <a:pt x="553" y="455"/>
                </a:lnTo>
                <a:lnTo>
                  <a:pt x="546" y="461"/>
                </a:lnTo>
                <a:lnTo>
                  <a:pt x="544" y="464"/>
                </a:lnTo>
                <a:lnTo>
                  <a:pt x="543" y="467"/>
                </a:lnTo>
                <a:lnTo>
                  <a:pt x="542" y="470"/>
                </a:lnTo>
                <a:lnTo>
                  <a:pt x="541" y="473"/>
                </a:lnTo>
                <a:lnTo>
                  <a:pt x="541" y="587"/>
                </a:lnTo>
                <a:lnTo>
                  <a:pt x="542" y="591"/>
                </a:lnTo>
                <a:lnTo>
                  <a:pt x="544" y="595"/>
                </a:lnTo>
                <a:lnTo>
                  <a:pt x="548" y="598"/>
                </a:lnTo>
                <a:lnTo>
                  <a:pt x="552" y="601"/>
                </a:lnTo>
                <a:lnTo>
                  <a:pt x="568" y="607"/>
                </a:lnTo>
                <a:lnTo>
                  <a:pt x="584" y="612"/>
                </a:lnTo>
                <a:lnTo>
                  <a:pt x="600" y="619"/>
                </a:lnTo>
                <a:lnTo>
                  <a:pt x="615" y="624"/>
                </a:lnTo>
                <a:lnTo>
                  <a:pt x="656" y="639"/>
                </a:lnTo>
                <a:lnTo>
                  <a:pt x="693" y="653"/>
                </a:lnTo>
                <a:lnTo>
                  <a:pt x="729" y="667"/>
                </a:lnTo>
                <a:lnTo>
                  <a:pt x="760" y="681"/>
                </a:lnTo>
                <a:lnTo>
                  <a:pt x="774" y="688"/>
                </a:lnTo>
                <a:lnTo>
                  <a:pt x="787" y="695"/>
                </a:lnTo>
                <a:lnTo>
                  <a:pt x="797" y="702"/>
                </a:lnTo>
                <a:lnTo>
                  <a:pt x="808" y="710"/>
                </a:lnTo>
                <a:lnTo>
                  <a:pt x="818" y="717"/>
                </a:lnTo>
                <a:lnTo>
                  <a:pt x="825" y="725"/>
                </a:lnTo>
                <a:lnTo>
                  <a:pt x="832" y="732"/>
                </a:lnTo>
                <a:lnTo>
                  <a:pt x="836" y="740"/>
                </a:lnTo>
                <a:lnTo>
                  <a:pt x="846" y="759"/>
                </a:lnTo>
                <a:lnTo>
                  <a:pt x="852" y="780"/>
                </a:lnTo>
                <a:lnTo>
                  <a:pt x="858" y="798"/>
                </a:lnTo>
                <a:lnTo>
                  <a:pt x="863" y="816"/>
                </a:lnTo>
                <a:lnTo>
                  <a:pt x="869" y="848"/>
                </a:lnTo>
                <a:lnTo>
                  <a:pt x="871" y="872"/>
                </a:lnTo>
                <a:lnTo>
                  <a:pt x="31" y="872"/>
                </a:lnTo>
                <a:close/>
                <a:moveTo>
                  <a:pt x="863" y="727"/>
                </a:moveTo>
                <a:lnTo>
                  <a:pt x="857" y="716"/>
                </a:lnTo>
                <a:lnTo>
                  <a:pt x="850" y="708"/>
                </a:lnTo>
                <a:lnTo>
                  <a:pt x="841" y="698"/>
                </a:lnTo>
                <a:lnTo>
                  <a:pt x="832" y="690"/>
                </a:lnTo>
                <a:lnTo>
                  <a:pt x="821" y="682"/>
                </a:lnTo>
                <a:lnTo>
                  <a:pt x="808" y="673"/>
                </a:lnTo>
                <a:lnTo>
                  <a:pt x="795" y="666"/>
                </a:lnTo>
                <a:lnTo>
                  <a:pt x="780" y="657"/>
                </a:lnTo>
                <a:lnTo>
                  <a:pt x="747" y="642"/>
                </a:lnTo>
                <a:lnTo>
                  <a:pt x="710" y="627"/>
                </a:lnTo>
                <a:lnTo>
                  <a:pt x="670" y="612"/>
                </a:lnTo>
                <a:lnTo>
                  <a:pt x="626" y="596"/>
                </a:lnTo>
                <a:lnTo>
                  <a:pt x="613" y="591"/>
                </a:lnTo>
                <a:lnTo>
                  <a:pt x="599" y="587"/>
                </a:lnTo>
                <a:lnTo>
                  <a:pt x="585" y="581"/>
                </a:lnTo>
                <a:lnTo>
                  <a:pt x="571" y="576"/>
                </a:lnTo>
                <a:lnTo>
                  <a:pt x="571" y="478"/>
                </a:lnTo>
                <a:lnTo>
                  <a:pt x="578" y="473"/>
                </a:lnTo>
                <a:lnTo>
                  <a:pt x="584" y="464"/>
                </a:lnTo>
                <a:lnTo>
                  <a:pt x="590" y="453"/>
                </a:lnTo>
                <a:lnTo>
                  <a:pt x="598" y="440"/>
                </a:lnTo>
                <a:lnTo>
                  <a:pt x="605" y="424"/>
                </a:lnTo>
                <a:lnTo>
                  <a:pt x="611" y="406"/>
                </a:lnTo>
                <a:lnTo>
                  <a:pt x="614" y="397"/>
                </a:lnTo>
                <a:lnTo>
                  <a:pt x="615" y="386"/>
                </a:lnTo>
                <a:lnTo>
                  <a:pt x="617" y="375"/>
                </a:lnTo>
                <a:lnTo>
                  <a:pt x="618" y="364"/>
                </a:lnTo>
                <a:lnTo>
                  <a:pt x="624" y="358"/>
                </a:lnTo>
                <a:lnTo>
                  <a:pt x="629" y="350"/>
                </a:lnTo>
                <a:lnTo>
                  <a:pt x="633" y="340"/>
                </a:lnTo>
                <a:lnTo>
                  <a:pt x="638" y="328"/>
                </a:lnTo>
                <a:lnTo>
                  <a:pt x="639" y="319"/>
                </a:lnTo>
                <a:lnTo>
                  <a:pt x="640" y="308"/>
                </a:lnTo>
                <a:lnTo>
                  <a:pt x="640" y="297"/>
                </a:lnTo>
                <a:lnTo>
                  <a:pt x="639" y="287"/>
                </a:lnTo>
                <a:lnTo>
                  <a:pt x="635" y="278"/>
                </a:lnTo>
                <a:lnTo>
                  <a:pt x="632" y="268"/>
                </a:lnTo>
                <a:lnTo>
                  <a:pt x="627" y="261"/>
                </a:lnTo>
                <a:lnTo>
                  <a:pt x="620" y="253"/>
                </a:lnTo>
                <a:lnTo>
                  <a:pt x="623" y="248"/>
                </a:lnTo>
                <a:lnTo>
                  <a:pt x="625" y="242"/>
                </a:lnTo>
                <a:lnTo>
                  <a:pt x="631" y="227"/>
                </a:lnTo>
                <a:lnTo>
                  <a:pt x="638" y="209"/>
                </a:lnTo>
                <a:lnTo>
                  <a:pt x="644" y="190"/>
                </a:lnTo>
                <a:lnTo>
                  <a:pt x="649" y="170"/>
                </a:lnTo>
                <a:lnTo>
                  <a:pt x="655" y="148"/>
                </a:lnTo>
                <a:lnTo>
                  <a:pt x="657" y="127"/>
                </a:lnTo>
                <a:lnTo>
                  <a:pt x="658" y="116"/>
                </a:lnTo>
                <a:lnTo>
                  <a:pt x="658" y="106"/>
                </a:lnTo>
                <a:lnTo>
                  <a:pt x="657" y="96"/>
                </a:lnTo>
                <a:lnTo>
                  <a:pt x="656" y="86"/>
                </a:lnTo>
                <a:lnTo>
                  <a:pt x="653" y="75"/>
                </a:lnTo>
                <a:lnTo>
                  <a:pt x="648" y="64"/>
                </a:lnTo>
                <a:lnTo>
                  <a:pt x="642" y="56"/>
                </a:lnTo>
                <a:lnTo>
                  <a:pt x="634" y="47"/>
                </a:lnTo>
                <a:lnTo>
                  <a:pt x="625" y="40"/>
                </a:lnTo>
                <a:lnTo>
                  <a:pt x="615" y="32"/>
                </a:lnTo>
                <a:lnTo>
                  <a:pt x="604" y="26"/>
                </a:lnTo>
                <a:lnTo>
                  <a:pt x="593" y="21"/>
                </a:lnTo>
                <a:lnTo>
                  <a:pt x="580" y="15"/>
                </a:lnTo>
                <a:lnTo>
                  <a:pt x="566" y="12"/>
                </a:lnTo>
                <a:lnTo>
                  <a:pt x="552" y="8"/>
                </a:lnTo>
                <a:lnTo>
                  <a:pt x="538" y="6"/>
                </a:lnTo>
                <a:lnTo>
                  <a:pt x="523" y="2"/>
                </a:lnTo>
                <a:lnTo>
                  <a:pt x="508" y="1"/>
                </a:lnTo>
                <a:lnTo>
                  <a:pt x="493" y="0"/>
                </a:lnTo>
                <a:lnTo>
                  <a:pt x="478" y="0"/>
                </a:lnTo>
                <a:lnTo>
                  <a:pt x="455" y="0"/>
                </a:lnTo>
                <a:lnTo>
                  <a:pt x="432" y="3"/>
                </a:lnTo>
                <a:lnTo>
                  <a:pt x="409" y="7"/>
                </a:lnTo>
                <a:lnTo>
                  <a:pt x="388" y="12"/>
                </a:lnTo>
                <a:lnTo>
                  <a:pt x="378" y="16"/>
                </a:lnTo>
                <a:lnTo>
                  <a:pt x="368" y="19"/>
                </a:lnTo>
                <a:lnTo>
                  <a:pt x="359" y="25"/>
                </a:lnTo>
                <a:lnTo>
                  <a:pt x="351" y="29"/>
                </a:lnTo>
                <a:lnTo>
                  <a:pt x="344" y="36"/>
                </a:lnTo>
                <a:lnTo>
                  <a:pt x="337" y="41"/>
                </a:lnTo>
                <a:lnTo>
                  <a:pt x="331" y="48"/>
                </a:lnTo>
                <a:lnTo>
                  <a:pt x="327" y="55"/>
                </a:lnTo>
                <a:lnTo>
                  <a:pt x="319" y="56"/>
                </a:lnTo>
                <a:lnTo>
                  <a:pt x="312" y="58"/>
                </a:lnTo>
                <a:lnTo>
                  <a:pt x="304" y="60"/>
                </a:lnTo>
                <a:lnTo>
                  <a:pt x="298" y="63"/>
                </a:lnTo>
                <a:lnTo>
                  <a:pt x="291" y="67"/>
                </a:lnTo>
                <a:lnTo>
                  <a:pt x="286" y="71"/>
                </a:lnTo>
                <a:lnTo>
                  <a:pt x="281" y="76"/>
                </a:lnTo>
                <a:lnTo>
                  <a:pt x="275" y="82"/>
                </a:lnTo>
                <a:lnTo>
                  <a:pt x="270" y="90"/>
                </a:lnTo>
                <a:lnTo>
                  <a:pt x="267" y="99"/>
                </a:lnTo>
                <a:lnTo>
                  <a:pt x="263" y="110"/>
                </a:lnTo>
                <a:lnTo>
                  <a:pt x="261" y="119"/>
                </a:lnTo>
                <a:lnTo>
                  <a:pt x="260" y="130"/>
                </a:lnTo>
                <a:lnTo>
                  <a:pt x="260" y="141"/>
                </a:lnTo>
                <a:lnTo>
                  <a:pt x="260" y="152"/>
                </a:lnTo>
                <a:lnTo>
                  <a:pt x="261" y="163"/>
                </a:lnTo>
                <a:lnTo>
                  <a:pt x="264" y="186"/>
                </a:lnTo>
                <a:lnTo>
                  <a:pt x="270" y="207"/>
                </a:lnTo>
                <a:lnTo>
                  <a:pt x="275" y="226"/>
                </a:lnTo>
                <a:lnTo>
                  <a:pt x="281" y="244"/>
                </a:lnTo>
                <a:lnTo>
                  <a:pt x="282" y="249"/>
                </a:lnTo>
                <a:lnTo>
                  <a:pt x="283" y="252"/>
                </a:lnTo>
                <a:lnTo>
                  <a:pt x="276" y="260"/>
                </a:lnTo>
                <a:lnTo>
                  <a:pt x="271" y="268"/>
                </a:lnTo>
                <a:lnTo>
                  <a:pt x="267" y="277"/>
                </a:lnTo>
                <a:lnTo>
                  <a:pt x="264" y="287"/>
                </a:lnTo>
                <a:lnTo>
                  <a:pt x="263" y="297"/>
                </a:lnTo>
                <a:lnTo>
                  <a:pt x="262" y="308"/>
                </a:lnTo>
                <a:lnTo>
                  <a:pt x="263" y="319"/>
                </a:lnTo>
                <a:lnTo>
                  <a:pt x="266" y="328"/>
                </a:lnTo>
                <a:lnTo>
                  <a:pt x="269" y="340"/>
                </a:lnTo>
                <a:lnTo>
                  <a:pt x="273" y="350"/>
                </a:lnTo>
                <a:lnTo>
                  <a:pt x="278" y="358"/>
                </a:lnTo>
                <a:lnTo>
                  <a:pt x="285" y="364"/>
                </a:lnTo>
                <a:lnTo>
                  <a:pt x="286" y="375"/>
                </a:lnTo>
                <a:lnTo>
                  <a:pt x="287" y="385"/>
                </a:lnTo>
                <a:lnTo>
                  <a:pt x="289" y="396"/>
                </a:lnTo>
                <a:lnTo>
                  <a:pt x="291" y="404"/>
                </a:lnTo>
                <a:lnTo>
                  <a:pt x="298" y="421"/>
                </a:lnTo>
                <a:lnTo>
                  <a:pt x="304" y="437"/>
                </a:lnTo>
                <a:lnTo>
                  <a:pt x="312" y="448"/>
                </a:lnTo>
                <a:lnTo>
                  <a:pt x="319" y="459"/>
                </a:lnTo>
                <a:lnTo>
                  <a:pt x="326" y="467"/>
                </a:lnTo>
                <a:lnTo>
                  <a:pt x="331" y="473"/>
                </a:lnTo>
                <a:lnTo>
                  <a:pt x="331" y="576"/>
                </a:lnTo>
                <a:lnTo>
                  <a:pt x="317" y="581"/>
                </a:lnTo>
                <a:lnTo>
                  <a:pt x="303" y="587"/>
                </a:lnTo>
                <a:lnTo>
                  <a:pt x="290" y="591"/>
                </a:lnTo>
                <a:lnTo>
                  <a:pt x="277" y="596"/>
                </a:lnTo>
                <a:lnTo>
                  <a:pt x="233" y="612"/>
                </a:lnTo>
                <a:lnTo>
                  <a:pt x="193" y="627"/>
                </a:lnTo>
                <a:lnTo>
                  <a:pt x="155" y="642"/>
                </a:lnTo>
                <a:lnTo>
                  <a:pt x="123" y="658"/>
                </a:lnTo>
                <a:lnTo>
                  <a:pt x="108" y="666"/>
                </a:lnTo>
                <a:lnTo>
                  <a:pt x="94" y="673"/>
                </a:lnTo>
                <a:lnTo>
                  <a:pt x="82" y="682"/>
                </a:lnTo>
                <a:lnTo>
                  <a:pt x="70" y="690"/>
                </a:lnTo>
                <a:lnTo>
                  <a:pt x="61" y="698"/>
                </a:lnTo>
                <a:lnTo>
                  <a:pt x="52" y="708"/>
                </a:lnTo>
                <a:lnTo>
                  <a:pt x="46" y="716"/>
                </a:lnTo>
                <a:lnTo>
                  <a:pt x="39" y="727"/>
                </a:lnTo>
                <a:lnTo>
                  <a:pt x="33" y="741"/>
                </a:lnTo>
                <a:lnTo>
                  <a:pt x="26" y="756"/>
                </a:lnTo>
                <a:lnTo>
                  <a:pt x="21" y="770"/>
                </a:lnTo>
                <a:lnTo>
                  <a:pt x="17" y="784"/>
                </a:lnTo>
                <a:lnTo>
                  <a:pt x="10" y="811"/>
                </a:lnTo>
                <a:lnTo>
                  <a:pt x="5" y="835"/>
                </a:lnTo>
                <a:lnTo>
                  <a:pt x="3" y="856"/>
                </a:lnTo>
                <a:lnTo>
                  <a:pt x="1" y="872"/>
                </a:lnTo>
                <a:lnTo>
                  <a:pt x="1" y="882"/>
                </a:lnTo>
                <a:lnTo>
                  <a:pt x="0" y="887"/>
                </a:lnTo>
                <a:lnTo>
                  <a:pt x="1" y="890"/>
                </a:lnTo>
                <a:lnTo>
                  <a:pt x="2" y="893"/>
                </a:lnTo>
                <a:lnTo>
                  <a:pt x="3" y="895"/>
                </a:lnTo>
                <a:lnTo>
                  <a:pt x="5" y="898"/>
                </a:lnTo>
                <a:lnTo>
                  <a:pt x="7" y="900"/>
                </a:lnTo>
                <a:lnTo>
                  <a:pt x="9" y="901"/>
                </a:lnTo>
                <a:lnTo>
                  <a:pt x="12" y="902"/>
                </a:lnTo>
                <a:lnTo>
                  <a:pt x="15" y="902"/>
                </a:lnTo>
                <a:lnTo>
                  <a:pt x="887" y="902"/>
                </a:lnTo>
                <a:lnTo>
                  <a:pt x="891" y="902"/>
                </a:lnTo>
                <a:lnTo>
                  <a:pt x="894" y="901"/>
                </a:lnTo>
                <a:lnTo>
                  <a:pt x="896" y="900"/>
                </a:lnTo>
                <a:lnTo>
                  <a:pt x="898" y="898"/>
                </a:lnTo>
                <a:lnTo>
                  <a:pt x="900" y="895"/>
                </a:lnTo>
                <a:lnTo>
                  <a:pt x="901" y="893"/>
                </a:lnTo>
                <a:lnTo>
                  <a:pt x="902" y="890"/>
                </a:lnTo>
                <a:lnTo>
                  <a:pt x="902" y="887"/>
                </a:lnTo>
                <a:lnTo>
                  <a:pt x="902" y="882"/>
                </a:lnTo>
                <a:lnTo>
                  <a:pt x="901" y="872"/>
                </a:lnTo>
                <a:lnTo>
                  <a:pt x="900" y="856"/>
                </a:lnTo>
                <a:lnTo>
                  <a:pt x="897" y="835"/>
                </a:lnTo>
                <a:lnTo>
                  <a:pt x="893" y="811"/>
                </a:lnTo>
                <a:lnTo>
                  <a:pt x="885" y="784"/>
                </a:lnTo>
                <a:lnTo>
                  <a:pt x="881" y="770"/>
                </a:lnTo>
                <a:lnTo>
                  <a:pt x="876" y="756"/>
                </a:lnTo>
                <a:lnTo>
                  <a:pt x="870" y="741"/>
                </a:lnTo>
                <a:lnTo>
                  <a:pt x="863" y="727"/>
                </a:lnTo>
                <a:close/>
              </a:path>
            </a:pathLst>
          </a:custGeom>
          <a:solidFill>
            <a:srgbClr val="AFABAB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7" name="Freeform 57"/>
          <p:cNvSpPr>
            <a:spLocks noEditPoints="1"/>
          </p:cNvSpPr>
          <p:nvPr/>
        </p:nvSpPr>
        <p:spPr bwMode="auto">
          <a:xfrm>
            <a:off x="7646519" y="3883505"/>
            <a:ext cx="728486" cy="728488"/>
          </a:xfrm>
          <a:custGeom>
            <a:avLst/>
            <a:gdLst>
              <a:gd name="T0" fmla="*/ 58 w 902"/>
              <a:gd name="T1" fmla="*/ 760 h 902"/>
              <a:gd name="T2" fmla="*/ 105 w 902"/>
              <a:gd name="T3" fmla="*/ 702 h 902"/>
              <a:gd name="T4" fmla="*/ 247 w 902"/>
              <a:gd name="T5" fmla="*/ 639 h 902"/>
              <a:gd name="T6" fmla="*/ 356 w 902"/>
              <a:gd name="T7" fmla="*/ 598 h 902"/>
              <a:gd name="T8" fmla="*/ 360 w 902"/>
              <a:gd name="T9" fmla="*/ 459 h 902"/>
              <a:gd name="T10" fmla="*/ 328 w 902"/>
              <a:gd name="T11" fmla="*/ 415 h 902"/>
              <a:gd name="T12" fmla="*/ 315 w 902"/>
              <a:gd name="T13" fmla="*/ 354 h 902"/>
              <a:gd name="T14" fmla="*/ 296 w 902"/>
              <a:gd name="T15" fmla="*/ 324 h 902"/>
              <a:gd name="T16" fmla="*/ 297 w 902"/>
              <a:gd name="T17" fmla="*/ 284 h 902"/>
              <a:gd name="T18" fmla="*/ 313 w 902"/>
              <a:gd name="T19" fmla="*/ 267 h 902"/>
              <a:gd name="T20" fmla="*/ 300 w 902"/>
              <a:gd name="T21" fmla="*/ 205 h 902"/>
              <a:gd name="T22" fmla="*/ 293 w 902"/>
              <a:gd name="T23" fmla="*/ 113 h 902"/>
              <a:gd name="T24" fmla="*/ 315 w 902"/>
              <a:gd name="T25" fmla="*/ 88 h 902"/>
              <a:gd name="T26" fmla="*/ 352 w 902"/>
              <a:gd name="T27" fmla="*/ 73 h 902"/>
              <a:gd name="T28" fmla="*/ 377 w 902"/>
              <a:gd name="T29" fmla="*/ 48 h 902"/>
              <a:gd name="T30" fmla="*/ 478 w 902"/>
              <a:gd name="T31" fmla="*/ 30 h 902"/>
              <a:gd name="T32" fmla="*/ 574 w 902"/>
              <a:gd name="T33" fmla="*/ 45 h 902"/>
              <a:gd name="T34" fmla="*/ 620 w 902"/>
              <a:gd name="T35" fmla="*/ 77 h 902"/>
              <a:gd name="T36" fmla="*/ 627 w 902"/>
              <a:gd name="T37" fmla="*/ 127 h 902"/>
              <a:gd name="T38" fmla="*/ 590 w 902"/>
              <a:gd name="T39" fmla="*/ 250 h 902"/>
              <a:gd name="T40" fmla="*/ 596 w 902"/>
              <a:gd name="T41" fmla="*/ 272 h 902"/>
              <a:gd name="T42" fmla="*/ 610 w 902"/>
              <a:gd name="T43" fmla="*/ 298 h 902"/>
              <a:gd name="T44" fmla="*/ 600 w 902"/>
              <a:gd name="T45" fmla="*/ 339 h 902"/>
              <a:gd name="T46" fmla="*/ 586 w 902"/>
              <a:gd name="T47" fmla="*/ 379 h 902"/>
              <a:gd name="T48" fmla="*/ 546 w 902"/>
              <a:gd name="T49" fmla="*/ 461 h 902"/>
              <a:gd name="T50" fmla="*/ 542 w 902"/>
              <a:gd name="T51" fmla="*/ 591 h 902"/>
              <a:gd name="T52" fmla="*/ 600 w 902"/>
              <a:gd name="T53" fmla="*/ 619 h 902"/>
              <a:gd name="T54" fmla="*/ 774 w 902"/>
              <a:gd name="T55" fmla="*/ 688 h 902"/>
              <a:gd name="T56" fmla="*/ 832 w 902"/>
              <a:gd name="T57" fmla="*/ 732 h 902"/>
              <a:gd name="T58" fmla="*/ 869 w 902"/>
              <a:gd name="T59" fmla="*/ 848 h 902"/>
              <a:gd name="T60" fmla="*/ 841 w 902"/>
              <a:gd name="T61" fmla="*/ 698 h 902"/>
              <a:gd name="T62" fmla="*/ 747 w 902"/>
              <a:gd name="T63" fmla="*/ 642 h 902"/>
              <a:gd name="T64" fmla="*/ 585 w 902"/>
              <a:gd name="T65" fmla="*/ 581 h 902"/>
              <a:gd name="T66" fmla="*/ 598 w 902"/>
              <a:gd name="T67" fmla="*/ 440 h 902"/>
              <a:gd name="T68" fmla="*/ 618 w 902"/>
              <a:gd name="T69" fmla="*/ 364 h 902"/>
              <a:gd name="T70" fmla="*/ 640 w 902"/>
              <a:gd name="T71" fmla="*/ 308 h 902"/>
              <a:gd name="T72" fmla="*/ 620 w 902"/>
              <a:gd name="T73" fmla="*/ 253 h 902"/>
              <a:gd name="T74" fmla="*/ 649 w 902"/>
              <a:gd name="T75" fmla="*/ 170 h 902"/>
              <a:gd name="T76" fmla="*/ 656 w 902"/>
              <a:gd name="T77" fmla="*/ 86 h 902"/>
              <a:gd name="T78" fmla="*/ 615 w 902"/>
              <a:gd name="T79" fmla="*/ 32 h 902"/>
              <a:gd name="T80" fmla="*/ 538 w 902"/>
              <a:gd name="T81" fmla="*/ 6 h 902"/>
              <a:gd name="T82" fmla="*/ 432 w 902"/>
              <a:gd name="T83" fmla="*/ 3 h 902"/>
              <a:gd name="T84" fmla="*/ 351 w 902"/>
              <a:gd name="T85" fmla="*/ 29 h 902"/>
              <a:gd name="T86" fmla="*/ 312 w 902"/>
              <a:gd name="T87" fmla="*/ 58 h 902"/>
              <a:gd name="T88" fmla="*/ 275 w 902"/>
              <a:gd name="T89" fmla="*/ 82 h 902"/>
              <a:gd name="T90" fmla="*/ 260 w 902"/>
              <a:gd name="T91" fmla="*/ 141 h 902"/>
              <a:gd name="T92" fmla="*/ 281 w 902"/>
              <a:gd name="T93" fmla="*/ 244 h 902"/>
              <a:gd name="T94" fmla="*/ 264 w 902"/>
              <a:gd name="T95" fmla="*/ 287 h 902"/>
              <a:gd name="T96" fmla="*/ 273 w 902"/>
              <a:gd name="T97" fmla="*/ 350 h 902"/>
              <a:gd name="T98" fmla="*/ 291 w 902"/>
              <a:gd name="T99" fmla="*/ 404 h 902"/>
              <a:gd name="T100" fmla="*/ 331 w 902"/>
              <a:gd name="T101" fmla="*/ 473 h 902"/>
              <a:gd name="T102" fmla="*/ 233 w 902"/>
              <a:gd name="T103" fmla="*/ 612 h 902"/>
              <a:gd name="T104" fmla="*/ 82 w 902"/>
              <a:gd name="T105" fmla="*/ 682 h 902"/>
              <a:gd name="T106" fmla="*/ 33 w 902"/>
              <a:gd name="T107" fmla="*/ 741 h 902"/>
              <a:gd name="T108" fmla="*/ 3 w 902"/>
              <a:gd name="T109" fmla="*/ 856 h 902"/>
              <a:gd name="T110" fmla="*/ 3 w 902"/>
              <a:gd name="T111" fmla="*/ 895 h 902"/>
              <a:gd name="T112" fmla="*/ 887 w 902"/>
              <a:gd name="T113" fmla="*/ 902 h 902"/>
              <a:gd name="T114" fmla="*/ 901 w 902"/>
              <a:gd name="T115" fmla="*/ 893 h 902"/>
              <a:gd name="T116" fmla="*/ 897 w 902"/>
              <a:gd name="T117" fmla="*/ 835 h 902"/>
              <a:gd name="T118" fmla="*/ 863 w 902"/>
              <a:gd name="T119" fmla="*/ 727 h 9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902" h="902">
                <a:moveTo>
                  <a:pt x="31" y="872"/>
                </a:moveTo>
                <a:lnTo>
                  <a:pt x="34" y="848"/>
                </a:lnTo>
                <a:lnTo>
                  <a:pt x="39" y="816"/>
                </a:lnTo>
                <a:lnTo>
                  <a:pt x="45" y="798"/>
                </a:lnTo>
                <a:lnTo>
                  <a:pt x="50" y="780"/>
                </a:lnTo>
                <a:lnTo>
                  <a:pt x="58" y="760"/>
                </a:lnTo>
                <a:lnTo>
                  <a:pt x="66" y="740"/>
                </a:lnTo>
                <a:lnTo>
                  <a:pt x="71" y="732"/>
                </a:lnTo>
                <a:lnTo>
                  <a:pt x="78" y="725"/>
                </a:lnTo>
                <a:lnTo>
                  <a:pt x="85" y="717"/>
                </a:lnTo>
                <a:lnTo>
                  <a:pt x="94" y="710"/>
                </a:lnTo>
                <a:lnTo>
                  <a:pt x="105" y="702"/>
                </a:lnTo>
                <a:lnTo>
                  <a:pt x="117" y="695"/>
                </a:lnTo>
                <a:lnTo>
                  <a:pt x="129" y="688"/>
                </a:lnTo>
                <a:lnTo>
                  <a:pt x="143" y="681"/>
                </a:lnTo>
                <a:lnTo>
                  <a:pt x="174" y="667"/>
                </a:lnTo>
                <a:lnTo>
                  <a:pt x="209" y="653"/>
                </a:lnTo>
                <a:lnTo>
                  <a:pt x="247" y="639"/>
                </a:lnTo>
                <a:lnTo>
                  <a:pt x="287" y="624"/>
                </a:lnTo>
                <a:lnTo>
                  <a:pt x="303" y="619"/>
                </a:lnTo>
                <a:lnTo>
                  <a:pt x="319" y="612"/>
                </a:lnTo>
                <a:lnTo>
                  <a:pt x="335" y="607"/>
                </a:lnTo>
                <a:lnTo>
                  <a:pt x="351" y="601"/>
                </a:lnTo>
                <a:lnTo>
                  <a:pt x="356" y="598"/>
                </a:lnTo>
                <a:lnTo>
                  <a:pt x="359" y="595"/>
                </a:lnTo>
                <a:lnTo>
                  <a:pt x="360" y="591"/>
                </a:lnTo>
                <a:lnTo>
                  <a:pt x="361" y="587"/>
                </a:lnTo>
                <a:lnTo>
                  <a:pt x="361" y="467"/>
                </a:lnTo>
                <a:lnTo>
                  <a:pt x="361" y="462"/>
                </a:lnTo>
                <a:lnTo>
                  <a:pt x="360" y="459"/>
                </a:lnTo>
                <a:lnTo>
                  <a:pt x="358" y="457"/>
                </a:lnTo>
                <a:lnTo>
                  <a:pt x="356" y="455"/>
                </a:lnTo>
                <a:lnTo>
                  <a:pt x="349" y="448"/>
                </a:lnTo>
                <a:lnTo>
                  <a:pt x="335" y="429"/>
                </a:lnTo>
                <a:lnTo>
                  <a:pt x="331" y="423"/>
                </a:lnTo>
                <a:lnTo>
                  <a:pt x="328" y="415"/>
                </a:lnTo>
                <a:lnTo>
                  <a:pt x="325" y="408"/>
                </a:lnTo>
                <a:lnTo>
                  <a:pt x="321" y="398"/>
                </a:lnTo>
                <a:lnTo>
                  <a:pt x="318" y="388"/>
                </a:lnTo>
                <a:lnTo>
                  <a:pt x="316" y="378"/>
                </a:lnTo>
                <a:lnTo>
                  <a:pt x="315" y="367"/>
                </a:lnTo>
                <a:lnTo>
                  <a:pt x="315" y="354"/>
                </a:lnTo>
                <a:lnTo>
                  <a:pt x="314" y="349"/>
                </a:lnTo>
                <a:lnTo>
                  <a:pt x="312" y="344"/>
                </a:lnTo>
                <a:lnTo>
                  <a:pt x="307" y="341"/>
                </a:lnTo>
                <a:lnTo>
                  <a:pt x="302" y="339"/>
                </a:lnTo>
                <a:lnTo>
                  <a:pt x="299" y="334"/>
                </a:lnTo>
                <a:lnTo>
                  <a:pt x="296" y="324"/>
                </a:lnTo>
                <a:lnTo>
                  <a:pt x="294" y="319"/>
                </a:lnTo>
                <a:lnTo>
                  <a:pt x="293" y="311"/>
                </a:lnTo>
                <a:lnTo>
                  <a:pt x="292" y="305"/>
                </a:lnTo>
                <a:lnTo>
                  <a:pt x="293" y="298"/>
                </a:lnTo>
                <a:lnTo>
                  <a:pt x="294" y="291"/>
                </a:lnTo>
                <a:lnTo>
                  <a:pt x="297" y="284"/>
                </a:lnTo>
                <a:lnTo>
                  <a:pt x="298" y="280"/>
                </a:lnTo>
                <a:lnTo>
                  <a:pt x="300" y="278"/>
                </a:lnTo>
                <a:lnTo>
                  <a:pt x="303" y="275"/>
                </a:lnTo>
                <a:lnTo>
                  <a:pt x="306" y="272"/>
                </a:lnTo>
                <a:lnTo>
                  <a:pt x="309" y="270"/>
                </a:lnTo>
                <a:lnTo>
                  <a:pt x="313" y="267"/>
                </a:lnTo>
                <a:lnTo>
                  <a:pt x="314" y="264"/>
                </a:lnTo>
                <a:lnTo>
                  <a:pt x="315" y="260"/>
                </a:lnTo>
                <a:lnTo>
                  <a:pt x="314" y="251"/>
                </a:lnTo>
                <a:lnTo>
                  <a:pt x="308" y="235"/>
                </a:lnTo>
                <a:lnTo>
                  <a:pt x="305" y="222"/>
                </a:lnTo>
                <a:lnTo>
                  <a:pt x="300" y="205"/>
                </a:lnTo>
                <a:lnTo>
                  <a:pt x="296" y="187"/>
                </a:lnTo>
                <a:lnTo>
                  <a:pt x="292" y="167"/>
                </a:lnTo>
                <a:lnTo>
                  <a:pt x="290" y="148"/>
                </a:lnTo>
                <a:lnTo>
                  <a:pt x="290" y="130"/>
                </a:lnTo>
                <a:lnTo>
                  <a:pt x="291" y="121"/>
                </a:lnTo>
                <a:lnTo>
                  <a:pt x="293" y="113"/>
                </a:lnTo>
                <a:lnTo>
                  <a:pt x="296" y="106"/>
                </a:lnTo>
                <a:lnTo>
                  <a:pt x="300" y="100"/>
                </a:lnTo>
                <a:lnTo>
                  <a:pt x="303" y="97"/>
                </a:lnTo>
                <a:lnTo>
                  <a:pt x="306" y="93"/>
                </a:lnTo>
                <a:lnTo>
                  <a:pt x="311" y="90"/>
                </a:lnTo>
                <a:lnTo>
                  <a:pt x="315" y="88"/>
                </a:lnTo>
                <a:lnTo>
                  <a:pt x="326" y="86"/>
                </a:lnTo>
                <a:lnTo>
                  <a:pt x="337" y="85"/>
                </a:lnTo>
                <a:lnTo>
                  <a:pt x="343" y="84"/>
                </a:lnTo>
                <a:lnTo>
                  <a:pt x="347" y="82"/>
                </a:lnTo>
                <a:lnTo>
                  <a:pt x="350" y="78"/>
                </a:lnTo>
                <a:lnTo>
                  <a:pt x="352" y="73"/>
                </a:lnTo>
                <a:lnTo>
                  <a:pt x="353" y="69"/>
                </a:lnTo>
                <a:lnTo>
                  <a:pt x="357" y="64"/>
                </a:lnTo>
                <a:lnTo>
                  <a:pt x="360" y="60"/>
                </a:lnTo>
                <a:lnTo>
                  <a:pt x="365" y="56"/>
                </a:lnTo>
                <a:lnTo>
                  <a:pt x="371" y="53"/>
                </a:lnTo>
                <a:lnTo>
                  <a:pt x="377" y="48"/>
                </a:lnTo>
                <a:lnTo>
                  <a:pt x="385" y="45"/>
                </a:lnTo>
                <a:lnTo>
                  <a:pt x="393" y="42"/>
                </a:lnTo>
                <a:lnTo>
                  <a:pt x="410" y="38"/>
                </a:lnTo>
                <a:lnTo>
                  <a:pt x="431" y="33"/>
                </a:lnTo>
                <a:lnTo>
                  <a:pt x="453" y="31"/>
                </a:lnTo>
                <a:lnTo>
                  <a:pt x="478" y="30"/>
                </a:lnTo>
                <a:lnTo>
                  <a:pt x="502" y="31"/>
                </a:lnTo>
                <a:lnTo>
                  <a:pt x="528" y="34"/>
                </a:lnTo>
                <a:lnTo>
                  <a:pt x="540" y="37"/>
                </a:lnTo>
                <a:lnTo>
                  <a:pt x="552" y="39"/>
                </a:lnTo>
                <a:lnTo>
                  <a:pt x="564" y="42"/>
                </a:lnTo>
                <a:lnTo>
                  <a:pt x="574" y="45"/>
                </a:lnTo>
                <a:lnTo>
                  <a:pt x="584" y="49"/>
                </a:lnTo>
                <a:lnTo>
                  <a:pt x="594" y="54"/>
                </a:lnTo>
                <a:lnTo>
                  <a:pt x="602" y="59"/>
                </a:lnTo>
                <a:lnTo>
                  <a:pt x="609" y="64"/>
                </a:lnTo>
                <a:lnTo>
                  <a:pt x="615" y="71"/>
                </a:lnTo>
                <a:lnTo>
                  <a:pt x="620" y="77"/>
                </a:lnTo>
                <a:lnTo>
                  <a:pt x="624" y="84"/>
                </a:lnTo>
                <a:lnTo>
                  <a:pt x="626" y="91"/>
                </a:lnTo>
                <a:lnTo>
                  <a:pt x="628" y="100"/>
                </a:lnTo>
                <a:lnTo>
                  <a:pt x="628" y="108"/>
                </a:lnTo>
                <a:lnTo>
                  <a:pt x="628" y="118"/>
                </a:lnTo>
                <a:lnTo>
                  <a:pt x="627" y="127"/>
                </a:lnTo>
                <a:lnTo>
                  <a:pt x="625" y="146"/>
                </a:lnTo>
                <a:lnTo>
                  <a:pt x="619" y="165"/>
                </a:lnTo>
                <a:lnTo>
                  <a:pt x="609" y="201"/>
                </a:lnTo>
                <a:lnTo>
                  <a:pt x="597" y="231"/>
                </a:lnTo>
                <a:lnTo>
                  <a:pt x="593" y="241"/>
                </a:lnTo>
                <a:lnTo>
                  <a:pt x="590" y="250"/>
                </a:lnTo>
                <a:lnTo>
                  <a:pt x="588" y="255"/>
                </a:lnTo>
                <a:lnTo>
                  <a:pt x="588" y="260"/>
                </a:lnTo>
                <a:lnTo>
                  <a:pt x="588" y="264"/>
                </a:lnTo>
                <a:lnTo>
                  <a:pt x="590" y="267"/>
                </a:lnTo>
                <a:lnTo>
                  <a:pt x="593" y="270"/>
                </a:lnTo>
                <a:lnTo>
                  <a:pt x="596" y="272"/>
                </a:lnTo>
                <a:lnTo>
                  <a:pt x="600" y="275"/>
                </a:lnTo>
                <a:lnTo>
                  <a:pt x="602" y="278"/>
                </a:lnTo>
                <a:lnTo>
                  <a:pt x="604" y="280"/>
                </a:lnTo>
                <a:lnTo>
                  <a:pt x="606" y="284"/>
                </a:lnTo>
                <a:lnTo>
                  <a:pt x="609" y="291"/>
                </a:lnTo>
                <a:lnTo>
                  <a:pt x="610" y="298"/>
                </a:lnTo>
                <a:lnTo>
                  <a:pt x="610" y="305"/>
                </a:lnTo>
                <a:lnTo>
                  <a:pt x="610" y="311"/>
                </a:lnTo>
                <a:lnTo>
                  <a:pt x="609" y="318"/>
                </a:lnTo>
                <a:lnTo>
                  <a:pt x="608" y="324"/>
                </a:lnTo>
                <a:lnTo>
                  <a:pt x="603" y="334"/>
                </a:lnTo>
                <a:lnTo>
                  <a:pt x="600" y="339"/>
                </a:lnTo>
                <a:lnTo>
                  <a:pt x="596" y="341"/>
                </a:lnTo>
                <a:lnTo>
                  <a:pt x="591" y="344"/>
                </a:lnTo>
                <a:lnTo>
                  <a:pt x="589" y="349"/>
                </a:lnTo>
                <a:lnTo>
                  <a:pt x="588" y="354"/>
                </a:lnTo>
                <a:lnTo>
                  <a:pt x="587" y="367"/>
                </a:lnTo>
                <a:lnTo>
                  <a:pt x="586" y="379"/>
                </a:lnTo>
                <a:lnTo>
                  <a:pt x="584" y="389"/>
                </a:lnTo>
                <a:lnTo>
                  <a:pt x="582" y="399"/>
                </a:lnTo>
                <a:lnTo>
                  <a:pt x="575" y="418"/>
                </a:lnTo>
                <a:lnTo>
                  <a:pt x="567" y="433"/>
                </a:lnTo>
                <a:lnTo>
                  <a:pt x="553" y="455"/>
                </a:lnTo>
                <a:lnTo>
                  <a:pt x="546" y="461"/>
                </a:lnTo>
                <a:lnTo>
                  <a:pt x="544" y="464"/>
                </a:lnTo>
                <a:lnTo>
                  <a:pt x="543" y="467"/>
                </a:lnTo>
                <a:lnTo>
                  <a:pt x="542" y="470"/>
                </a:lnTo>
                <a:lnTo>
                  <a:pt x="541" y="473"/>
                </a:lnTo>
                <a:lnTo>
                  <a:pt x="541" y="587"/>
                </a:lnTo>
                <a:lnTo>
                  <a:pt x="542" y="591"/>
                </a:lnTo>
                <a:lnTo>
                  <a:pt x="544" y="595"/>
                </a:lnTo>
                <a:lnTo>
                  <a:pt x="548" y="598"/>
                </a:lnTo>
                <a:lnTo>
                  <a:pt x="552" y="601"/>
                </a:lnTo>
                <a:lnTo>
                  <a:pt x="568" y="607"/>
                </a:lnTo>
                <a:lnTo>
                  <a:pt x="584" y="612"/>
                </a:lnTo>
                <a:lnTo>
                  <a:pt x="600" y="619"/>
                </a:lnTo>
                <a:lnTo>
                  <a:pt x="615" y="624"/>
                </a:lnTo>
                <a:lnTo>
                  <a:pt x="656" y="639"/>
                </a:lnTo>
                <a:lnTo>
                  <a:pt x="693" y="653"/>
                </a:lnTo>
                <a:lnTo>
                  <a:pt x="729" y="667"/>
                </a:lnTo>
                <a:lnTo>
                  <a:pt x="760" y="681"/>
                </a:lnTo>
                <a:lnTo>
                  <a:pt x="774" y="688"/>
                </a:lnTo>
                <a:lnTo>
                  <a:pt x="787" y="695"/>
                </a:lnTo>
                <a:lnTo>
                  <a:pt x="797" y="702"/>
                </a:lnTo>
                <a:lnTo>
                  <a:pt x="808" y="710"/>
                </a:lnTo>
                <a:lnTo>
                  <a:pt x="818" y="717"/>
                </a:lnTo>
                <a:lnTo>
                  <a:pt x="825" y="725"/>
                </a:lnTo>
                <a:lnTo>
                  <a:pt x="832" y="732"/>
                </a:lnTo>
                <a:lnTo>
                  <a:pt x="836" y="740"/>
                </a:lnTo>
                <a:lnTo>
                  <a:pt x="846" y="759"/>
                </a:lnTo>
                <a:lnTo>
                  <a:pt x="852" y="780"/>
                </a:lnTo>
                <a:lnTo>
                  <a:pt x="858" y="798"/>
                </a:lnTo>
                <a:lnTo>
                  <a:pt x="863" y="816"/>
                </a:lnTo>
                <a:lnTo>
                  <a:pt x="869" y="848"/>
                </a:lnTo>
                <a:lnTo>
                  <a:pt x="871" y="872"/>
                </a:lnTo>
                <a:lnTo>
                  <a:pt x="31" y="872"/>
                </a:lnTo>
                <a:close/>
                <a:moveTo>
                  <a:pt x="863" y="727"/>
                </a:moveTo>
                <a:lnTo>
                  <a:pt x="857" y="716"/>
                </a:lnTo>
                <a:lnTo>
                  <a:pt x="850" y="708"/>
                </a:lnTo>
                <a:lnTo>
                  <a:pt x="841" y="698"/>
                </a:lnTo>
                <a:lnTo>
                  <a:pt x="832" y="690"/>
                </a:lnTo>
                <a:lnTo>
                  <a:pt x="821" y="682"/>
                </a:lnTo>
                <a:lnTo>
                  <a:pt x="808" y="673"/>
                </a:lnTo>
                <a:lnTo>
                  <a:pt x="795" y="666"/>
                </a:lnTo>
                <a:lnTo>
                  <a:pt x="780" y="657"/>
                </a:lnTo>
                <a:lnTo>
                  <a:pt x="747" y="642"/>
                </a:lnTo>
                <a:lnTo>
                  <a:pt x="710" y="627"/>
                </a:lnTo>
                <a:lnTo>
                  <a:pt x="670" y="612"/>
                </a:lnTo>
                <a:lnTo>
                  <a:pt x="626" y="596"/>
                </a:lnTo>
                <a:lnTo>
                  <a:pt x="613" y="591"/>
                </a:lnTo>
                <a:lnTo>
                  <a:pt x="599" y="587"/>
                </a:lnTo>
                <a:lnTo>
                  <a:pt x="585" y="581"/>
                </a:lnTo>
                <a:lnTo>
                  <a:pt x="571" y="576"/>
                </a:lnTo>
                <a:lnTo>
                  <a:pt x="571" y="478"/>
                </a:lnTo>
                <a:lnTo>
                  <a:pt x="578" y="473"/>
                </a:lnTo>
                <a:lnTo>
                  <a:pt x="584" y="464"/>
                </a:lnTo>
                <a:lnTo>
                  <a:pt x="590" y="453"/>
                </a:lnTo>
                <a:lnTo>
                  <a:pt x="598" y="440"/>
                </a:lnTo>
                <a:lnTo>
                  <a:pt x="605" y="424"/>
                </a:lnTo>
                <a:lnTo>
                  <a:pt x="611" y="406"/>
                </a:lnTo>
                <a:lnTo>
                  <a:pt x="614" y="397"/>
                </a:lnTo>
                <a:lnTo>
                  <a:pt x="615" y="386"/>
                </a:lnTo>
                <a:lnTo>
                  <a:pt x="617" y="375"/>
                </a:lnTo>
                <a:lnTo>
                  <a:pt x="618" y="364"/>
                </a:lnTo>
                <a:lnTo>
                  <a:pt x="624" y="358"/>
                </a:lnTo>
                <a:lnTo>
                  <a:pt x="629" y="350"/>
                </a:lnTo>
                <a:lnTo>
                  <a:pt x="633" y="340"/>
                </a:lnTo>
                <a:lnTo>
                  <a:pt x="638" y="328"/>
                </a:lnTo>
                <a:lnTo>
                  <a:pt x="639" y="319"/>
                </a:lnTo>
                <a:lnTo>
                  <a:pt x="640" y="308"/>
                </a:lnTo>
                <a:lnTo>
                  <a:pt x="640" y="297"/>
                </a:lnTo>
                <a:lnTo>
                  <a:pt x="639" y="287"/>
                </a:lnTo>
                <a:lnTo>
                  <a:pt x="635" y="278"/>
                </a:lnTo>
                <a:lnTo>
                  <a:pt x="632" y="268"/>
                </a:lnTo>
                <a:lnTo>
                  <a:pt x="627" y="261"/>
                </a:lnTo>
                <a:lnTo>
                  <a:pt x="620" y="253"/>
                </a:lnTo>
                <a:lnTo>
                  <a:pt x="623" y="248"/>
                </a:lnTo>
                <a:lnTo>
                  <a:pt x="625" y="242"/>
                </a:lnTo>
                <a:lnTo>
                  <a:pt x="631" y="227"/>
                </a:lnTo>
                <a:lnTo>
                  <a:pt x="638" y="209"/>
                </a:lnTo>
                <a:lnTo>
                  <a:pt x="644" y="190"/>
                </a:lnTo>
                <a:lnTo>
                  <a:pt x="649" y="170"/>
                </a:lnTo>
                <a:lnTo>
                  <a:pt x="655" y="148"/>
                </a:lnTo>
                <a:lnTo>
                  <a:pt x="657" y="127"/>
                </a:lnTo>
                <a:lnTo>
                  <a:pt x="658" y="116"/>
                </a:lnTo>
                <a:lnTo>
                  <a:pt x="658" y="106"/>
                </a:lnTo>
                <a:lnTo>
                  <a:pt x="657" y="96"/>
                </a:lnTo>
                <a:lnTo>
                  <a:pt x="656" y="86"/>
                </a:lnTo>
                <a:lnTo>
                  <a:pt x="653" y="75"/>
                </a:lnTo>
                <a:lnTo>
                  <a:pt x="648" y="64"/>
                </a:lnTo>
                <a:lnTo>
                  <a:pt x="642" y="56"/>
                </a:lnTo>
                <a:lnTo>
                  <a:pt x="634" y="47"/>
                </a:lnTo>
                <a:lnTo>
                  <a:pt x="625" y="40"/>
                </a:lnTo>
                <a:lnTo>
                  <a:pt x="615" y="32"/>
                </a:lnTo>
                <a:lnTo>
                  <a:pt x="604" y="26"/>
                </a:lnTo>
                <a:lnTo>
                  <a:pt x="593" y="21"/>
                </a:lnTo>
                <a:lnTo>
                  <a:pt x="580" y="15"/>
                </a:lnTo>
                <a:lnTo>
                  <a:pt x="566" y="12"/>
                </a:lnTo>
                <a:lnTo>
                  <a:pt x="552" y="8"/>
                </a:lnTo>
                <a:lnTo>
                  <a:pt x="538" y="6"/>
                </a:lnTo>
                <a:lnTo>
                  <a:pt x="523" y="2"/>
                </a:lnTo>
                <a:lnTo>
                  <a:pt x="508" y="1"/>
                </a:lnTo>
                <a:lnTo>
                  <a:pt x="493" y="0"/>
                </a:lnTo>
                <a:lnTo>
                  <a:pt x="478" y="0"/>
                </a:lnTo>
                <a:lnTo>
                  <a:pt x="455" y="0"/>
                </a:lnTo>
                <a:lnTo>
                  <a:pt x="432" y="3"/>
                </a:lnTo>
                <a:lnTo>
                  <a:pt x="409" y="7"/>
                </a:lnTo>
                <a:lnTo>
                  <a:pt x="388" y="12"/>
                </a:lnTo>
                <a:lnTo>
                  <a:pt x="378" y="16"/>
                </a:lnTo>
                <a:lnTo>
                  <a:pt x="368" y="19"/>
                </a:lnTo>
                <a:lnTo>
                  <a:pt x="359" y="25"/>
                </a:lnTo>
                <a:lnTo>
                  <a:pt x="351" y="29"/>
                </a:lnTo>
                <a:lnTo>
                  <a:pt x="344" y="36"/>
                </a:lnTo>
                <a:lnTo>
                  <a:pt x="337" y="41"/>
                </a:lnTo>
                <a:lnTo>
                  <a:pt x="331" y="48"/>
                </a:lnTo>
                <a:lnTo>
                  <a:pt x="327" y="55"/>
                </a:lnTo>
                <a:lnTo>
                  <a:pt x="319" y="56"/>
                </a:lnTo>
                <a:lnTo>
                  <a:pt x="312" y="58"/>
                </a:lnTo>
                <a:lnTo>
                  <a:pt x="304" y="60"/>
                </a:lnTo>
                <a:lnTo>
                  <a:pt x="298" y="63"/>
                </a:lnTo>
                <a:lnTo>
                  <a:pt x="291" y="67"/>
                </a:lnTo>
                <a:lnTo>
                  <a:pt x="286" y="71"/>
                </a:lnTo>
                <a:lnTo>
                  <a:pt x="281" y="76"/>
                </a:lnTo>
                <a:lnTo>
                  <a:pt x="275" y="82"/>
                </a:lnTo>
                <a:lnTo>
                  <a:pt x="270" y="90"/>
                </a:lnTo>
                <a:lnTo>
                  <a:pt x="267" y="99"/>
                </a:lnTo>
                <a:lnTo>
                  <a:pt x="263" y="110"/>
                </a:lnTo>
                <a:lnTo>
                  <a:pt x="261" y="119"/>
                </a:lnTo>
                <a:lnTo>
                  <a:pt x="260" y="130"/>
                </a:lnTo>
                <a:lnTo>
                  <a:pt x="260" y="141"/>
                </a:lnTo>
                <a:lnTo>
                  <a:pt x="260" y="152"/>
                </a:lnTo>
                <a:lnTo>
                  <a:pt x="261" y="163"/>
                </a:lnTo>
                <a:lnTo>
                  <a:pt x="264" y="186"/>
                </a:lnTo>
                <a:lnTo>
                  <a:pt x="270" y="207"/>
                </a:lnTo>
                <a:lnTo>
                  <a:pt x="275" y="226"/>
                </a:lnTo>
                <a:lnTo>
                  <a:pt x="281" y="244"/>
                </a:lnTo>
                <a:lnTo>
                  <a:pt x="282" y="249"/>
                </a:lnTo>
                <a:lnTo>
                  <a:pt x="283" y="252"/>
                </a:lnTo>
                <a:lnTo>
                  <a:pt x="276" y="260"/>
                </a:lnTo>
                <a:lnTo>
                  <a:pt x="271" y="268"/>
                </a:lnTo>
                <a:lnTo>
                  <a:pt x="267" y="277"/>
                </a:lnTo>
                <a:lnTo>
                  <a:pt x="264" y="287"/>
                </a:lnTo>
                <a:lnTo>
                  <a:pt x="263" y="297"/>
                </a:lnTo>
                <a:lnTo>
                  <a:pt x="262" y="308"/>
                </a:lnTo>
                <a:lnTo>
                  <a:pt x="263" y="319"/>
                </a:lnTo>
                <a:lnTo>
                  <a:pt x="266" y="328"/>
                </a:lnTo>
                <a:lnTo>
                  <a:pt x="269" y="340"/>
                </a:lnTo>
                <a:lnTo>
                  <a:pt x="273" y="350"/>
                </a:lnTo>
                <a:lnTo>
                  <a:pt x="278" y="358"/>
                </a:lnTo>
                <a:lnTo>
                  <a:pt x="285" y="364"/>
                </a:lnTo>
                <a:lnTo>
                  <a:pt x="286" y="375"/>
                </a:lnTo>
                <a:lnTo>
                  <a:pt x="287" y="385"/>
                </a:lnTo>
                <a:lnTo>
                  <a:pt x="289" y="396"/>
                </a:lnTo>
                <a:lnTo>
                  <a:pt x="291" y="404"/>
                </a:lnTo>
                <a:lnTo>
                  <a:pt x="298" y="421"/>
                </a:lnTo>
                <a:lnTo>
                  <a:pt x="304" y="437"/>
                </a:lnTo>
                <a:lnTo>
                  <a:pt x="312" y="448"/>
                </a:lnTo>
                <a:lnTo>
                  <a:pt x="319" y="459"/>
                </a:lnTo>
                <a:lnTo>
                  <a:pt x="326" y="467"/>
                </a:lnTo>
                <a:lnTo>
                  <a:pt x="331" y="473"/>
                </a:lnTo>
                <a:lnTo>
                  <a:pt x="331" y="576"/>
                </a:lnTo>
                <a:lnTo>
                  <a:pt x="317" y="581"/>
                </a:lnTo>
                <a:lnTo>
                  <a:pt x="303" y="587"/>
                </a:lnTo>
                <a:lnTo>
                  <a:pt x="290" y="591"/>
                </a:lnTo>
                <a:lnTo>
                  <a:pt x="277" y="596"/>
                </a:lnTo>
                <a:lnTo>
                  <a:pt x="233" y="612"/>
                </a:lnTo>
                <a:lnTo>
                  <a:pt x="193" y="627"/>
                </a:lnTo>
                <a:lnTo>
                  <a:pt x="155" y="642"/>
                </a:lnTo>
                <a:lnTo>
                  <a:pt x="123" y="658"/>
                </a:lnTo>
                <a:lnTo>
                  <a:pt x="108" y="666"/>
                </a:lnTo>
                <a:lnTo>
                  <a:pt x="94" y="673"/>
                </a:lnTo>
                <a:lnTo>
                  <a:pt x="82" y="682"/>
                </a:lnTo>
                <a:lnTo>
                  <a:pt x="70" y="690"/>
                </a:lnTo>
                <a:lnTo>
                  <a:pt x="61" y="698"/>
                </a:lnTo>
                <a:lnTo>
                  <a:pt x="52" y="708"/>
                </a:lnTo>
                <a:lnTo>
                  <a:pt x="46" y="716"/>
                </a:lnTo>
                <a:lnTo>
                  <a:pt x="39" y="727"/>
                </a:lnTo>
                <a:lnTo>
                  <a:pt x="33" y="741"/>
                </a:lnTo>
                <a:lnTo>
                  <a:pt x="26" y="756"/>
                </a:lnTo>
                <a:lnTo>
                  <a:pt x="21" y="770"/>
                </a:lnTo>
                <a:lnTo>
                  <a:pt x="17" y="784"/>
                </a:lnTo>
                <a:lnTo>
                  <a:pt x="10" y="811"/>
                </a:lnTo>
                <a:lnTo>
                  <a:pt x="5" y="835"/>
                </a:lnTo>
                <a:lnTo>
                  <a:pt x="3" y="856"/>
                </a:lnTo>
                <a:lnTo>
                  <a:pt x="1" y="872"/>
                </a:lnTo>
                <a:lnTo>
                  <a:pt x="1" y="882"/>
                </a:lnTo>
                <a:lnTo>
                  <a:pt x="0" y="887"/>
                </a:lnTo>
                <a:lnTo>
                  <a:pt x="1" y="890"/>
                </a:lnTo>
                <a:lnTo>
                  <a:pt x="2" y="893"/>
                </a:lnTo>
                <a:lnTo>
                  <a:pt x="3" y="895"/>
                </a:lnTo>
                <a:lnTo>
                  <a:pt x="5" y="898"/>
                </a:lnTo>
                <a:lnTo>
                  <a:pt x="7" y="900"/>
                </a:lnTo>
                <a:lnTo>
                  <a:pt x="9" y="901"/>
                </a:lnTo>
                <a:lnTo>
                  <a:pt x="12" y="902"/>
                </a:lnTo>
                <a:lnTo>
                  <a:pt x="15" y="902"/>
                </a:lnTo>
                <a:lnTo>
                  <a:pt x="887" y="902"/>
                </a:lnTo>
                <a:lnTo>
                  <a:pt x="891" y="902"/>
                </a:lnTo>
                <a:lnTo>
                  <a:pt x="894" y="901"/>
                </a:lnTo>
                <a:lnTo>
                  <a:pt x="896" y="900"/>
                </a:lnTo>
                <a:lnTo>
                  <a:pt x="898" y="898"/>
                </a:lnTo>
                <a:lnTo>
                  <a:pt x="900" y="895"/>
                </a:lnTo>
                <a:lnTo>
                  <a:pt x="901" y="893"/>
                </a:lnTo>
                <a:lnTo>
                  <a:pt x="902" y="890"/>
                </a:lnTo>
                <a:lnTo>
                  <a:pt x="902" y="887"/>
                </a:lnTo>
                <a:lnTo>
                  <a:pt x="902" y="882"/>
                </a:lnTo>
                <a:lnTo>
                  <a:pt x="901" y="872"/>
                </a:lnTo>
                <a:lnTo>
                  <a:pt x="900" y="856"/>
                </a:lnTo>
                <a:lnTo>
                  <a:pt x="897" y="835"/>
                </a:lnTo>
                <a:lnTo>
                  <a:pt x="893" y="811"/>
                </a:lnTo>
                <a:lnTo>
                  <a:pt x="885" y="784"/>
                </a:lnTo>
                <a:lnTo>
                  <a:pt x="881" y="770"/>
                </a:lnTo>
                <a:lnTo>
                  <a:pt x="876" y="756"/>
                </a:lnTo>
                <a:lnTo>
                  <a:pt x="870" y="741"/>
                </a:lnTo>
                <a:lnTo>
                  <a:pt x="863" y="727"/>
                </a:lnTo>
                <a:close/>
              </a:path>
            </a:pathLst>
          </a:custGeom>
          <a:solidFill>
            <a:srgbClr val="AFABAB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8" name="Freeform 57"/>
          <p:cNvSpPr>
            <a:spLocks noEditPoints="1"/>
          </p:cNvSpPr>
          <p:nvPr/>
        </p:nvSpPr>
        <p:spPr bwMode="auto">
          <a:xfrm>
            <a:off x="8412424" y="3883505"/>
            <a:ext cx="728486" cy="728488"/>
          </a:xfrm>
          <a:custGeom>
            <a:avLst/>
            <a:gdLst>
              <a:gd name="T0" fmla="*/ 58 w 902"/>
              <a:gd name="T1" fmla="*/ 760 h 902"/>
              <a:gd name="T2" fmla="*/ 105 w 902"/>
              <a:gd name="T3" fmla="*/ 702 h 902"/>
              <a:gd name="T4" fmla="*/ 247 w 902"/>
              <a:gd name="T5" fmla="*/ 639 h 902"/>
              <a:gd name="T6" fmla="*/ 356 w 902"/>
              <a:gd name="T7" fmla="*/ 598 h 902"/>
              <a:gd name="T8" fmla="*/ 360 w 902"/>
              <a:gd name="T9" fmla="*/ 459 h 902"/>
              <a:gd name="T10" fmla="*/ 328 w 902"/>
              <a:gd name="T11" fmla="*/ 415 h 902"/>
              <a:gd name="T12" fmla="*/ 315 w 902"/>
              <a:gd name="T13" fmla="*/ 354 h 902"/>
              <a:gd name="T14" fmla="*/ 296 w 902"/>
              <a:gd name="T15" fmla="*/ 324 h 902"/>
              <a:gd name="T16" fmla="*/ 297 w 902"/>
              <a:gd name="T17" fmla="*/ 284 h 902"/>
              <a:gd name="T18" fmla="*/ 313 w 902"/>
              <a:gd name="T19" fmla="*/ 267 h 902"/>
              <a:gd name="T20" fmla="*/ 300 w 902"/>
              <a:gd name="T21" fmla="*/ 205 h 902"/>
              <a:gd name="T22" fmla="*/ 293 w 902"/>
              <a:gd name="T23" fmla="*/ 113 h 902"/>
              <a:gd name="T24" fmla="*/ 315 w 902"/>
              <a:gd name="T25" fmla="*/ 88 h 902"/>
              <a:gd name="T26" fmla="*/ 352 w 902"/>
              <a:gd name="T27" fmla="*/ 73 h 902"/>
              <a:gd name="T28" fmla="*/ 377 w 902"/>
              <a:gd name="T29" fmla="*/ 48 h 902"/>
              <a:gd name="T30" fmla="*/ 478 w 902"/>
              <a:gd name="T31" fmla="*/ 30 h 902"/>
              <a:gd name="T32" fmla="*/ 574 w 902"/>
              <a:gd name="T33" fmla="*/ 45 h 902"/>
              <a:gd name="T34" fmla="*/ 620 w 902"/>
              <a:gd name="T35" fmla="*/ 77 h 902"/>
              <a:gd name="T36" fmla="*/ 627 w 902"/>
              <a:gd name="T37" fmla="*/ 127 h 902"/>
              <a:gd name="T38" fmla="*/ 590 w 902"/>
              <a:gd name="T39" fmla="*/ 250 h 902"/>
              <a:gd name="T40" fmla="*/ 596 w 902"/>
              <a:gd name="T41" fmla="*/ 272 h 902"/>
              <a:gd name="T42" fmla="*/ 610 w 902"/>
              <a:gd name="T43" fmla="*/ 298 h 902"/>
              <a:gd name="T44" fmla="*/ 600 w 902"/>
              <a:gd name="T45" fmla="*/ 339 h 902"/>
              <a:gd name="T46" fmla="*/ 586 w 902"/>
              <a:gd name="T47" fmla="*/ 379 h 902"/>
              <a:gd name="T48" fmla="*/ 546 w 902"/>
              <a:gd name="T49" fmla="*/ 461 h 902"/>
              <a:gd name="T50" fmla="*/ 542 w 902"/>
              <a:gd name="T51" fmla="*/ 591 h 902"/>
              <a:gd name="T52" fmla="*/ 600 w 902"/>
              <a:gd name="T53" fmla="*/ 619 h 902"/>
              <a:gd name="T54" fmla="*/ 774 w 902"/>
              <a:gd name="T55" fmla="*/ 688 h 902"/>
              <a:gd name="T56" fmla="*/ 832 w 902"/>
              <a:gd name="T57" fmla="*/ 732 h 902"/>
              <a:gd name="T58" fmla="*/ 869 w 902"/>
              <a:gd name="T59" fmla="*/ 848 h 902"/>
              <a:gd name="T60" fmla="*/ 841 w 902"/>
              <a:gd name="T61" fmla="*/ 698 h 902"/>
              <a:gd name="T62" fmla="*/ 747 w 902"/>
              <a:gd name="T63" fmla="*/ 642 h 902"/>
              <a:gd name="T64" fmla="*/ 585 w 902"/>
              <a:gd name="T65" fmla="*/ 581 h 902"/>
              <a:gd name="T66" fmla="*/ 598 w 902"/>
              <a:gd name="T67" fmla="*/ 440 h 902"/>
              <a:gd name="T68" fmla="*/ 618 w 902"/>
              <a:gd name="T69" fmla="*/ 364 h 902"/>
              <a:gd name="T70" fmla="*/ 640 w 902"/>
              <a:gd name="T71" fmla="*/ 308 h 902"/>
              <a:gd name="T72" fmla="*/ 620 w 902"/>
              <a:gd name="T73" fmla="*/ 253 h 902"/>
              <a:gd name="T74" fmla="*/ 649 w 902"/>
              <a:gd name="T75" fmla="*/ 170 h 902"/>
              <a:gd name="T76" fmla="*/ 656 w 902"/>
              <a:gd name="T77" fmla="*/ 86 h 902"/>
              <a:gd name="T78" fmla="*/ 615 w 902"/>
              <a:gd name="T79" fmla="*/ 32 h 902"/>
              <a:gd name="T80" fmla="*/ 538 w 902"/>
              <a:gd name="T81" fmla="*/ 6 h 902"/>
              <a:gd name="T82" fmla="*/ 432 w 902"/>
              <a:gd name="T83" fmla="*/ 3 h 902"/>
              <a:gd name="T84" fmla="*/ 351 w 902"/>
              <a:gd name="T85" fmla="*/ 29 h 902"/>
              <a:gd name="T86" fmla="*/ 312 w 902"/>
              <a:gd name="T87" fmla="*/ 58 h 902"/>
              <a:gd name="T88" fmla="*/ 275 w 902"/>
              <a:gd name="T89" fmla="*/ 82 h 902"/>
              <a:gd name="T90" fmla="*/ 260 w 902"/>
              <a:gd name="T91" fmla="*/ 141 h 902"/>
              <a:gd name="T92" fmla="*/ 281 w 902"/>
              <a:gd name="T93" fmla="*/ 244 h 902"/>
              <a:gd name="T94" fmla="*/ 264 w 902"/>
              <a:gd name="T95" fmla="*/ 287 h 902"/>
              <a:gd name="T96" fmla="*/ 273 w 902"/>
              <a:gd name="T97" fmla="*/ 350 h 902"/>
              <a:gd name="T98" fmla="*/ 291 w 902"/>
              <a:gd name="T99" fmla="*/ 404 h 902"/>
              <a:gd name="T100" fmla="*/ 331 w 902"/>
              <a:gd name="T101" fmla="*/ 473 h 902"/>
              <a:gd name="T102" fmla="*/ 233 w 902"/>
              <a:gd name="T103" fmla="*/ 612 h 902"/>
              <a:gd name="T104" fmla="*/ 82 w 902"/>
              <a:gd name="T105" fmla="*/ 682 h 902"/>
              <a:gd name="T106" fmla="*/ 33 w 902"/>
              <a:gd name="T107" fmla="*/ 741 h 902"/>
              <a:gd name="T108" fmla="*/ 3 w 902"/>
              <a:gd name="T109" fmla="*/ 856 h 902"/>
              <a:gd name="T110" fmla="*/ 3 w 902"/>
              <a:gd name="T111" fmla="*/ 895 h 902"/>
              <a:gd name="T112" fmla="*/ 887 w 902"/>
              <a:gd name="T113" fmla="*/ 902 h 902"/>
              <a:gd name="T114" fmla="*/ 901 w 902"/>
              <a:gd name="T115" fmla="*/ 893 h 902"/>
              <a:gd name="T116" fmla="*/ 897 w 902"/>
              <a:gd name="T117" fmla="*/ 835 h 902"/>
              <a:gd name="T118" fmla="*/ 863 w 902"/>
              <a:gd name="T119" fmla="*/ 727 h 9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902" h="902">
                <a:moveTo>
                  <a:pt x="31" y="872"/>
                </a:moveTo>
                <a:lnTo>
                  <a:pt x="34" y="848"/>
                </a:lnTo>
                <a:lnTo>
                  <a:pt x="39" y="816"/>
                </a:lnTo>
                <a:lnTo>
                  <a:pt x="45" y="798"/>
                </a:lnTo>
                <a:lnTo>
                  <a:pt x="50" y="780"/>
                </a:lnTo>
                <a:lnTo>
                  <a:pt x="58" y="760"/>
                </a:lnTo>
                <a:lnTo>
                  <a:pt x="66" y="740"/>
                </a:lnTo>
                <a:lnTo>
                  <a:pt x="71" y="732"/>
                </a:lnTo>
                <a:lnTo>
                  <a:pt x="78" y="725"/>
                </a:lnTo>
                <a:lnTo>
                  <a:pt x="85" y="717"/>
                </a:lnTo>
                <a:lnTo>
                  <a:pt x="94" y="710"/>
                </a:lnTo>
                <a:lnTo>
                  <a:pt x="105" y="702"/>
                </a:lnTo>
                <a:lnTo>
                  <a:pt x="117" y="695"/>
                </a:lnTo>
                <a:lnTo>
                  <a:pt x="129" y="688"/>
                </a:lnTo>
                <a:lnTo>
                  <a:pt x="143" y="681"/>
                </a:lnTo>
                <a:lnTo>
                  <a:pt x="174" y="667"/>
                </a:lnTo>
                <a:lnTo>
                  <a:pt x="209" y="653"/>
                </a:lnTo>
                <a:lnTo>
                  <a:pt x="247" y="639"/>
                </a:lnTo>
                <a:lnTo>
                  <a:pt x="287" y="624"/>
                </a:lnTo>
                <a:lnTo>
                  <a:pt x="303" y="619"/>
                </a:lnTo>
                <a:lnTo>
                  <a:pt x="319" y="612"/>
                </a:lnTo>
                <a:lnTo>
                  <a:pt x="335" y="607"/>
                </a:lnTo>
                <a:lnTo>
                  <a:pt x="351" y="601"/>
                </a:lnTo>
                <a:lnTo>
                  <a:pt x="356" y="598"/>
                </a:lnTo>
                <a:lnTo>
                  <a:pt x="359" y="595"/>
                </a:lnTo>
                <a:lnTo>
                  <a:pt x="360" y="591"/>
                </a:lnTo>
                <a:lnTo>
                  <a:pt x="361" y="587"/>
                </a:lnTo>
                <a:lnTo>
                  <a:pt x="361" y="467"/>
                </a:lnTo>
                <a:lnTo>
                  <a:pt x="361" y="462"/>
                </a:lnTo>
                <a:lnTo>
                  <a:pt x="360" y="459"/>
                </a:lnTo>
                <a:lnTo>
                  <a:pt x="358" y="457"/>
                </a:lnTo>
                <a:lnTo>
                  <a:pt x="356" y="455"/>
                </a:lnTo>
                <a:lnTo>
                  <a:pt x="349" y="448"/>
                </a:lnTo>
                <a:lnTo>
                  <a:pt x="335" y="429"/>
                </a:lnTo>
                <a:lnTo>
                  <a:pt x="331" y="423"/>
                </a:lnTo>
                <a:lnTo>
                  <a:pt x="328" y="415"/>
                </a:lnTo>
                <a:lnTo>
                  <a:pt x="325" y="408"/>
                </a:lnTo>
                <a:lnTo>
                  <a:pt x="321" y="398"/>
                </a:lnTo>
                <a:lnTo>
                  <a:pt x="318" y="388"/>
                </a:lnTo>
                <a:lnTo>
                  <a:pt x="316" y="378"/>
                </a:lnTo>
                <a:lnTo>
                  <a:pt x="315" y="367"/>
                </a:lnTo>
                <a:lnTo>
                  <a:pt x="315" y="354"/>
                </a:lnTo>
                <a:lnTo>
                  <a:pt x="314" y="349"/>
                </a:lnTo>
                <a:lnTo>
                  <a:pt x="312" y="344"/>
                </a:lnTo>
                <a:lnTo>
                  <a:pt x="307" y="341"/>
                </a:lnTo>
                <a:lnTo>
                  <a:pt x="302" y="339"/>
                </a:lnTo>
                <a:lnTo>
                  <a:pt x="299" y="334"/>
                </a:lnTo>
                <a:lnTo>
                  <a:pt x="296" y="324"/>
                </a:lnTo>
                <a:lnTo>
                  <a:pt x="294" y="319"/>
                </a:lnTo>
                <a:lnTo>
                  <a:pt x="293" y="311"/>
                </a:lnTo>
                <a:lnTo>
                  <a:pt x="292" y="305"/>
                </a:lnTo>
                <a:lnTo>
                  <a:pt x="293" y="298"/>
                </a:lnTo>
                <a:lnTo>
                  <a:pt x="294" y="291"/>
                </a:lnTo>
                <a:lnTo>
                  <a:pt x="297" y="284"/>
                </a:lnTo>
                <a:lnTo>
                  <a:pt x="298" y="280"/>
                </a:lnTo>
                <a:lnTo>
                  <a:pt x="300" y="278"/>
                </a:lnTo>
                <a:lnTo>
                  <a:pt x="303" y="275"/>
                </a:lnTo>
                <a:lnTo>
                  <a:pt x="306" y="272"/>
                </a:lnTo>
                <a:lnTo>
                  <a:pt x="309" y="270"/>
                </a:lnTo>
                <a:lnTo>
                  <a:pt x="313" y="267"/>
                </a:lnTo>
                <a:lnTo>
                  <a:pt x="314" y="264"/>
                </a:lnTo>
                <a:lnTo>
                  <a:pt x="315" y="260"/>
                </a:lnTo>
                <a:lnTo>
                  <a:pt x="314" y="251"/>
                </a:lnTo>
                <a:lnTo>
                  <a:pt x="308" y="235"/>
                </a:lnTo>
                <a:lnTo>
                  <a:pt x="305" y="222"/>
                </a:lnTo>
                <a:lnTo>
                  <a:pt x="300" y="205"/>
                </a:lnTo>
                <a:lnTo>
                  <a:pt x="296" y="187"/>
                </a:lnTo>
                <a:lnTo>
                  <a:pt x="292" y="167"/>
                </a:lnTo>
                <a:lnTo>
                  <a:pt x="290" y="148"/>
                </a:lnTo>
                <a:lnTo>
                  <a:pt x="290" y="130"/>
                </a:lnTo>
                <a:lnTo>
                  <a:pt x="291" y="121"/>
                </a:lnTo>
                <a:lnTo>
                  <a:pt x="293" y="113"/>
                </a:lnTo>
                <a:lnTo>
                  <a:pt x="296" y="106"/>
                </a:lnTo>
                <a:lnTo>
                  <a:pt x="300" y="100"/>
                </a:lnTo>
                <a:lnTo>
                  <a:pt x="303" y="97"/>
                </a:lnTo>
                <a:lnTo>
                  <a:pt x="306" y="93"/>
                </a:lnTo>
                <a:lnTo>
                  <a:pt x="311" y="90"/>
                </a:lnTo>
                <a:lnTo>
                  <a:pt x="315" y="88"/>
                </a:lnTo>
                <a:lnTo>
                  <a:pt x="326" y="86"/>
                </a:lnTo>
                <a:lnTo>
                  <a:pt x="337" y="85"/>
                </a:lnTo>
                <a:lnTo>
                  <a:pt x="343" y="84"/>
                </a:lnTo>
                <a:lnTo>
                  <a:pt x="347" y="82"/>
                </a:lnTo>
                <a:lnTo>
                  <a:pt x="350" y="78"/>
                </a:lnTo>
                <a:lnTo>
                  <a:pt x="352" y="73"/>
                </a:lnTo>
                <a:lnTo>
                  <a:pt x="353" y="69"/>
                </a:lnTo>
                <a:lnTo>
                  <a:pt x="357" y="64"/>
                </a:lnTo>
                <a:lnTo>
                  <a:pt x="360" y="60"/>
                </a:lnTo>
                <a:lnTo>
                  <a:pt x="365" y="56"/>
                </a:lnTo>
                <a:lnTo>
                  <a:pt x="371" y="53"/>
                </a:lnTo>
                <a:lnTo>
                  <a:pt x="377" y="48"/>
                </a:lnTo>
                <a:lnTo>
                  <a:pt x="385" y="45"/>
                </a:lnTo>
                <a:lnTo>
                  <a:pt x="393" y="42"/>
                </a:lnTo>
                <a:lnTo>
                  <a:pt x="410" y="38"/>
                </a:lnTo>
                <a:lnTo>
                  <a:pt x="431" y="33"/>
                </a:lnTo>
                <a:lnTo>
                  <a:pt x="453" y="31"/>
                </a:lnTo>
                <a:lnTo>
                  <a:pt x="478" y="30"/>
                </a:lnTo>
                <a:lnTo>
                  <a:pt x="502" y="31"/>
                </a:lnTo>
                <a:lnTo>
                  <a:pt x="528" y="34"/>
                </a:lnTo>
                <a:lnTo>
                  <a:pt x="540" y="37"/>
                </a:lnTo>
                <a:lnTo>
                  <a:pt x="552" y="39"/>
                </a:lnTo>
                <a:lnTo>
                  <a:pt x="564" y="42"/>
                </a:lnTo>
                <a:lnTo>
                  <a:pt x="574" y="45"/>
                </a:lnTo>
                <a:lnTo>
                  <a:pt x="584" y="49"/>
                </a:lnTo>
                <a:lnTo>
                  <a:pt x="594" y="54"/>
                </a:lnTo>
                <a:lnTo>
                  <a:pt x="602" y="59"/>
                </a:lnTo>
                <a:lnTo>
                  <a:pt x="609" y="64"/>
                </a:lnTo>
                <a:lnTo>
                  <a:pt x="615" y="71"/>
                </a:lnTo>
                <a:lnTo>
                  <a:pt x="620" y="77"/>
                </a:lnTo>
                <a:lnTo>
                  <a:pt x="624" y="84"/>
                </a:lnTo>
                <a:lnTo>
                  <a:pt x="626" y="91"/>
                </a:lnTo>
                <a:lnTo>
                  <a:pt x="628" y="100"/>
                </a:lnTo>
                <a:lnTo>
                  <a:pt x="628" y="108"/>
                </a:lnTo>
                <a:lnTo>
                  <a:pt x="628" y="118"/>
                </a:lnTo>
                <a:lnTo>
                  <a:pt x="627" y="127"/>
                </a:lnTo>
                <a:lnTo>
                  <a:pt x="625" y="146"/>
                </a:lnTo>
                <a:lnTo>
                  <a:pt x="619" y="165"/>
                </a:lnTo>
                <a:lnTo>
                  <a:pt x="609" y="201"/>
                </a:lnTo>
                <a:lnTo>
                  <a:pt x="597" y="231"/>
                </a:lnTo>
                <a:lnTo>
                  <a:pt x="593" y="241"/>
                </a:lnTo>
                <a:lnTo>
                  <a:pt x="590" y="250"/>
                </a:lnTo>
                <a:lnTo>
                  <a:pt x="588" y="255"/>
                </a:lnTo>
                <a:lnTo>
                  <a:pt x="588" y="260"/>
                </a:lnTo>
                <a:lnTo>
                  <a:pt x="588" y="264"/>
                </a:lnTo>
                <a:lnTo>
                  <a:pt x="590" y="267"/>
                </a:lnTo>
                <a:lnTo>
                  <a:pt x="593" y="270"/>
                </a:lnTo>
                <a:lnTo>
                  <a:pt x="596" y="272"/>
                </a:lnTo>
                <a:lnTo>
                  <a:pt x="600" y="275"/>
                </a:lnTo>
                <a:lnTo>
                  <a:pt x="602" y="278"/>
                </a:lnTo>
                <a:lnTo>
                  <a:pt x="604" y="280"/>
                </a:lnTo>
                <a:lnTo>
                  <a:pt x="606" y="284"/>
                </a:lnTo>
                <a:lnTo>
                  <a:pt x="609" y="291"/>
                </a:lnTo>
                <a:lnTo>
                  <a:pt x="610" y="298"/>
                </a:lnTo>
                <a:lnTo>
                  <a:pt x="610" y="305"/>
                </a:lnTo>
                <a:lnTo>
                  <a:pt x="610" y="311"/>
                </a:lnTo>
                <a:lnTo>
                  <a:pt x="609" y="318"/>
                </a:lnTo>
                <a:lnTo>
                  <a:pt x="608" y="324"/>
                </a:lnTo>
                <a:lnTo>
                  <a:pt x="603" y="334"/>
                </a:lnTo>
                <a:lnTo>
                  <a:pt x="600" y="339"/>
                </a:lnTo>
                <a:lnTo>
                  <a:pt x="596" y="341"/>
                </a:lnTo>
                <a:lnTo>
                  <a:pt x="591" y="344"/>
                </a:lnTo>
                <a:lnTo>
                  <a:pt x="589" y="349"/>
                </a:lnTo>
                <a:lnTo>
                  <a:pt x="588" y="354"/>
                </a:lnTo>
                <a:lnTo>
                  <a:pt x="587" y="367"/>
                </a:lnTo>
                <a:lnTo>
                  <a:pt x="586" y="379"/>
                </a:lnTo>
                <a:lnTo>
                  <a:pt x="584" y="389"/>
                </a:lnTo>
                <a:lnTo>
                  <a:pt x="582" y="399"/>
                </a:lnTo>
                <a:lnTo>
                  <a:pt x="575" y="418"/>
                </a:lnTo>
                <a:lnTo>
                  <a:pt x="567" y="433"/>
                </a:lnTo>
                <a:lnTo>
                  <a:pt x="553" y="455"/>
                </a:lnTo>
                <a:lnTo>
                  <a:pt x="546" y="461"/>
                </a:lnTo>
                <a:lnTo>
                  <a:pt x="544" y="464"/>
                </a:lnTo>
                <a:lnTo>
                  <a:pt x="543" y="467"/>
                </a:lnTo>
                <a:lnTo>
                  <a:pt x="542" y="470"/>
                </a:lnTo>
                <a:lnTo>
                  <a:pt x="541" y="473"/>
                </a:lnTo>
                <a:lnTo>
                  <a:pt x="541" y="587"/>
                </a:lnTo>
                <a:lnTo>
                  <a:pt x="542" y="591"/>
                </a:lnTo>
                <a:lnTo>
                  <a:pt x="544" y="595"/>
                </a:lnTo>
                <a:lnTo>
                  <a:pt x="548" y="598"/>
                </a:lnTo>
                <a:lnTo>
                  <a:pt x="552" y="601"/>
                </a:lnTo>
                <a:lnTo>
                  <a:pt x="568" y="607"/>
                </a:lnTo>
                <a:lnTo>
                  <a:pt x="584" y="612"/>
                </a:lnTo>
                <a:lnTo>
                  <a:pt x="600" y="619"/>
                </a:lnTo>
                <a:lnTo>
                  <a:pt x="615" y="624"/>
                </a:lnTo>
                <a:lnTo>
                  <a:pt x="656" y="639"/>
                </a:lnTo>
                <a:lnTo>
                  <a:pt x="693" y="653"/>
                </a:lnTo>
                <a:lnTo>
                  <a:pt x="729" y="667"/>
                </a:lnTo>
                <a:lnTo>
                  <a:pt x="760" y="681"/>
                </a:lnTo>
                <a:lnTo>
                  <a:pt x="774" y="688"/>
                </a:lnTo>
                <a:lnTo>
                  <a:pt x="787" y="695"/>
                </a:lnTo>
                <a:lnTo>
                  <a:pt x="797" y="702"/>
                </a:lnTo>
                <a:lnTo>
                  <a:pt x="808" y="710"/>
                </a:lnTo>
                <a:lnTo>
                  <a:pt x="818" y="717"/>
                </a:lnTo>
                <a:lnTo>
                  <a:pt x="825" y="725"/>
                </a:lnTo>
                <a:lnTo>
                  <a:pt x="832" y="732"/>
                </a:lnTo>
                <a:lnTo>
                  <a:pt x="836" y="740"/>
                </a:lnTo>
                <a:lnTo>
                  <a:pt x="846" y="759"/>
                </a:lnTo>
                <a:lnTo>
                  <a:pt x="852" y="780"/>
                </a:lnTo>
                <a:lnTo>
                  <a:pt x="858" y="798"/>
                </a:lnTo>
                <a:lnTo>
                  <a:pt x="863" y="816"/>
                </a:lnTo>
                <a:lnTo>
                  <a:pt x="869" y="848"/>
                </a:lnTo>
                <a:lnTo>
                  <a:pt x="871" y="872"/>
                </a:lnTo>
                <a:lnTo>
                  <a:pt x="31" y="872"/>
                </a:lnTo>
                <a:close/>
                <a:moveTo>
                  <a:pt x="863" y="727"/>
                </a:moveTo>
                <a:lnTo>
                  <a:pt x="857" y="716"/>
                </a:lnTo>
                <a:lnTo>
                  <a:pt x="850" y="708"/>
                </a:lnTo>
                <a:lnTo>
                  <a:pt x="841" y="698"/>
                </a:lnTo>
                <a:lnTo>
                  <a:pt x="832" y="690"/>
                </a:lnTo>
                <a:lnTo>
                  <a:pt x="821" y="682"/>
                </a:lnTo>
                <a:lnTo>
                  <a:pt x="808" y="673"/>
                </a:lnTo>
                <a:lnTo>
                  <a:pt x="795" y="666"/>
                </a:lnTo>
                <a:lnTo>
                  <a:pt x="780" y="657"/>
                </a:lnTo>
                <a:lnTo>
                  <a:pt x="747" y="642"/>
                </a:lnTo>
                <a:lnTo>
                  <a:pt x="710" y="627"/>
                </a:lnTo>
                <a:lnTo>
                  <a:pt x="670" y="612"/>
                </a:lnTo>
                <a:lnTo>
                  <a:pt x="626" y="596"/>
                </a:lnTo>
                <a:lnTo>
                  <a:pt x="613" y="591"/>
                </a:lnTo>
                <a:lnTo>
                  <a:pt x="599" y="587"/>
                </a:lnTo>
                <a:lnTo>
                  <a:pt x="585" y="581"/>
                </a:lnTo>
                <a:lnTo>
                  <a:pt x="571" y="576"/>
                </a:lnTo>
                <a:lnTo>
                  <a:pt x="571" y="478"/>
                </a:lnTo>
                <a:lnTo>
                  <a:pt x="578" y="473"/>
                </a:lnTo>
                <a:lnTo>
                  <a:pt x="584" y="464"/>
                </a:lnTo>
                <a:lnTo>
                  <a:pt x="590" y="453"/>
                </a:lnTo>
                <a:lnTo>
                  <a:pt x="598" y="440"/>
                </a:lnTo>
                <a:lnTo>
                  <a:pt x="605" y="424"/>
                </a:lnTo>
                <a:lnTo>
                  <a:pt x="611" y="406"/>
                </a:lnTo>
                <a:lnTo>
                  <a:pt x="614" y="397"/>
                </a:lnTo>
                <a:lnTo>
                  <a:pt x="615" y="386"/>
                </a:lnTo>
                <a:lnTo>
                  <a:pt x="617" y="375"/>
                </a:lnTo>
                <a:lnTo>
                  <a:pt x="618" y="364"/>
                </a:lnTo>
                <a:lnTo>
                  <a:pt x="624" y="358"/>
                </a:lnTo>
                <a:lnTo>
                  <a:pt x="629" y="350"/>
                </a:lnTo>
                <a:lnTo>
                  <a:pt x="633" y="340"/>
                </a:lnTo>
                <a:lnTo>
                  <a:pt x="638" y="328"/>
                </a:lnTo>
                <a:lnTo>
                  <a:pt x="639" y="319"/>
                </a:lnTo>
                <a:lnTo>
                  <a:pt x="640" y="308"/>
                </a:lnTo>
                <a:lnTo>
                  <a:pt x="640" y="297"/>
                </a:lnTo>
                <a:lnTo>
                  <a:pt x="639" y="287"/>
                </a:lnTo>
                <a:lnTo>
                  <a:pt x="635" y="278"/>
                </a:lnTo>
                <a:lnTo>
                  <a:pt x="632" y="268"/>
                </a:lnTo>
                <a:lnTo>
                  <a:pt x="627" y="261"/>
                </a:lnTo>
                <a:lnTo>
                  <a:pt x="620" y="253"/>
                </a:lnTo>
                <a:lnTo>
                  <a:pt x="623" y="248"/>
                </a:lnTo>
                <a:lnTo>
                  <a:pt x="625" y="242"/>
                </a:lnTo>
                <a:lnTo>
                  <a:pt x="631" y="227"/>
                </a:lnTo>
                <a:lnTo>
                  <a:pt x="638" y="209"/>
                </a:lnTo>
                <a:lnTo>
                  <a:pt x="644" y="190"/>
                </a:lnTo>
                <a:lnTo>
                  <a:pt x="649" y="170"/>
                </a:lnTo>
                <a:lnTo>
                  <a:pt x="655" y="148"/>
                </a:lnTo>
                <a:lnTo>
                  <a:pt x="657" y="127"/>
                </a:lnTo>
                <a:lnTo>
                  <a:pt x="658" y="116"/>
                </a:lnTo>
                <a:lnTo>
                  <a:pt x="658" y="106"/>
                </a:lnTo>
                <a:lnTo>
                  <a:pt x="657" y="96"/>
                </a:lnTo>
                <a:lnTo>
                  <a:pt x="656" y="86"/>
                </a:lnTo>
                <a:lnTo>
                  <a:pt x="653" y="75"/>
                </a:lnTo>
                <a:lnTo>
                  <a:pt x="648" y="64"/>
                </a:lnTo>
                <a:lnTo>
                  <a:pt x="642" y="56"/>
                </a:lnTo>
                <a:lnTo>
                  <a:pt x="634" y="47"/>
                </a:lnTo>
                <a:lnTo>
                  <a:pt x="625" y="40"/>
                </a:lnTo>
                <a:lnTo>
                  <a:pt x="615" y="32"/>
                </a:lnTo>
                <a:lnTo>
                  <a:pt x="604" y="26"/>
                </a:lnTo>
                <a:lnTo>
                  <a:pt x="593" y="21"/>
                </a:lnTo>
                <a:lnTo>
                  <a:pt x="580" y="15"/>
                </a:lnTo>
                <a:lnTo>
                  <a:pt x="566" y="12"/>
                </a:lnTo>
                <a:lnTo>
                  <a:pt x="552" y="8"/>
                </a:lnTo>
                <a:lnTo>
                  <a:pt x="538" y="6"/>
                </a:lnTo>
                <a:lnTo>
                  <a:pt x="523" y="2"/>
                </a:lnTo>
                <a:lnTo>
                  <a:pt x="508" y="1"/>
                </a:lnTo>
                <a:lnTo>
                  <a:pt x="493" y="0"/>
                </a:lnTo>
                <a:lnTo>
                  <a:pt x="478" y="0"/>
                </a:lnTo>
                <a:lnTo>
                  <a:pt x="455" y="0"/>
                </a:lnTo>
                <a:lnTo>
                  <a:pt x="432" y="3"/>
                </a:lnTo>
                <a:lnTo>
                  <a:pt x="409" y="7"/>
                </a:lnTo>
                <a:lnTo>
                  <a:pt x="388" y="12"/>
                </a:lnTo>
                <a:lnTo>
                  <a:pt x="378" y="16"/>
                </a:lnTo>
                <a:lnTo>
                  <a:pt x="368" y="19"/>
                </a:lnTo>
                <a:lnTo>
                  <a:pt x="359" y="25"/>
                </a:lnTo>
                <a:lnTo>
                  <a:pt x="351" y="29"/>
                </a:lnTo>
                <a:lnTo>
                  <a:pt x="344" y="36"/>
                </a:lnTo>
                <a:lnTo>
                  <a:pt x="337" y="41"/>
                </a:lnTo>
                <a:lnTo>
                  <a:pt x="331" y="48"/>
                </a:lnTo>
                <a:lnTo>
                  <a:pt x="327" y="55"/>
                </a:lnTo>
                <a:lnTo>
                  <a:pt x="319" y="56"/>
                </a:lnTo>
                <a:lnTo>
                  <a:pt x="312" y="58"/>
                </a:lnTo>
                <a:lnTo>
                  <a:pt x="304" y="60"/>
                </a:lnTo>
                <a:lnTo>
                  <a:pt x="298" y="63"/>
                </a:lnTo>
                <a:lnTo>
                  <a:pt x="291" y="67"/>
                </a:lnTo>
                <a:lnTo>
                  <a:pt x="286" y="71"/>
                </a:lnTo>
                <a:lnTo>
                  <a:pt x="281" y="76"/>
                </a:lnTo>
                <a:lnTo>
                  <a:pt x="275" y="82"/>
                </a:lnTo>
                <a:lnTo>
                  <a:pt x="270" y="90"/>
                </a:lnTo>
                <a:lnTo>
                  <a:pt x="267" y="99"/>
                </a:lnTo>
                <a:lnTo>
                  <a:pt x="263" y="110"/>
                </a:lnTo>
                <a:lnTo>
                  <a:pt x="261" y="119"/>
                </a:lnTo>
                <a:lnTo>
                  <a:pt x="260" y="130"/>
                </a:lnTo>
                <a:lnTo>
                  <a:pt x="260" y="141"/>
                </a:lnTo>
                <a:lnTo>
                  <a:pt x="260" y="152"/>
                </a:lnTo>
                <a:lnTo>
                  <a:pt x="261" y="163"/>
                </a:lnTo>
                <a:lnTo>
                  <a:pt x="264" y="186"/>
                </a:lnTo>
                <a:lnTo>
                  <a:pt x="270" y="207"/>
                </a:lnTo>
                <a:lnTo>
                  <a:pt x="275" y="226"/>
                </a:lnTo>
                <a:lnTo>
                  <a:pt x="281" y="244"/>
                </a:lnTo>
                <a:lnTo>
                  <a:pt x="282" y="249"/>
                </a:lnTo>
                <a:lnTo>
                  <a:pt x="283" y="252"/>
                </a:lnTo>
                <a:lnTo>
                  <a:pt x="276" y="260"/>
                </a:lnTo>
                <a:lnTo>
                  <a:pt x="271" y="268"/>
                </a:lnTo>
                <a:lnTo>
                  <a:pt x="267" y="277"/>
                </a:lnTo>
                <a:lnTo>
                  <a:pt x="264" y="287"/>
                </a:lnTo>
                <a:lnTo>
                  <a:pt x="263" y="297"/>
                </a:lnTo>
                <a:lnTo>
                  <a:pt x="262" y="308"/>
                </a:lnTo>
                <a:lnTo>
                  <a:pt x="263" y="319"/>
                </a:lnTo>
                <a:lnTo>
                  <a:pt x="266" y="328"/>
                </a:lnTo>
                <a:lnTo>
                  <a:pt x="269" y="340"/>
                </a:lnTo>
                <a:lnTo>
                  <a:pt x="273" y="350"/>
                </a:lnTo>
                <a:lnTo>
                  <a:pt x="278" y="358"/>
                </a:lnTo>
                <a:lnTo>
                  <a:pt x="285" y="364"/>
                </a:lnTo>
                <a:lnTo>
                  <a:pt x="286" y="375"/>
                </a:lnTo>
                <a:lnTo>
                  <a:pt x="287" y="385"/>
                </a:lnTo>
                <a:lnTo>
                  <a:pt x="289" y="396"/>
                </a:lnTo>
                <a:lnTo>
                  <a:pt x="291" y="404"/>
                </a:lnTo>
                <a:lnTo>
                  <a:pt x="298" y="421"/>
                </a:lnTo>
                <a:lnTo>
                  <a:pt x="304" y="437"/>
                </a:lnTo>
                <a:lnTo>
                  <a:pt x="312" y="448"/>
                </a:lnTo>
                <a:lnTo>
                  <a:pt x="319" y="459"/>
                </a:lnTo>
                <a:lnTo>
                  <a:pt x="326" y="467"/>
                </a:lnTo>
                <a:lnTo>
                  <a:pt x="331" y="473"/>
                </a:lnTo>
                <a:lnTo>
                  <a:pt x="331" y="576"/>
                </a:lnTo>
                <a:lnTo>
                  <a:pt x="317" y="581"/>
                </a:lnTo>
                <a:lnTo>
                  <a:pt x="303" y="587"/>
                </a:lnTo>
                <a:lnTo>
                  <a:pt x="290" y="591"/>
                </a:lnTo>
                <a:lnTo>
                  <a:pt x="277" y="596"/>
                </a:lnTo>
                <a:lnTo>
                  <a:pt x="233" y="612"/>
                </a:lnTo>
                <a:lnTo>
                  <a:pt x="193" y="627"/>
                </a:lnTo>
                <a:lnTo>
                  <a:pt x="155" y="642"/>
                </a:lnTo>
                <a:lnTo>
                  <a:pt x="123" y="658"/>
                </a:lnTo>
                <a:lnTo>
                  <a:pt x="108" y="666"/>
                </a:lnTo>
                <a:lnTo>
                  <a:pt x="94" y="673"/>
                </a:lnTo>
                <a:lnTo>
                  <a:pt x="82" y="682"/>
                </a:lnTo>
                <a:lnTo>
                  <a:pt x="70" y="690"/>
                </a:lnTo>
                <a:lnTo>
                  <a:pt x="61" y="698"/>
                </a:lnTo>
                <a:lnTo>
                  <a:pt x="52" y="708"/>
                </a:lnTo>
                <a:lnTo>
                  <a:pt x="46" y="716"/>
                </a:lnTo>
                <a:lnTo>
                  <a:pt x="39" y="727"/>
                </a:lnTo>
                <a:lnTo>
                  <a:pt x="33" y="741"/>
                </a:lnTo>
                <a:lnTo>
                  <a:pt x="26" y="756"/>
                </a:lnTo>
                <a:lnTo>
                  <a:pt x="21" y="770"/>
                </a:lnTo>
                <a:lnTo>
                  <a:pt x="17" y="784"/>
                </a:lnTo>
                <a:lnTo>
                  <a:pt x="10" y="811"/>
                </a:lnTo>
                <a:lnTo>
                  <a:pt x="5" y="835"/>
                </a:lnTo>
                <a:lnTo>
                  <a:pt x="3" y="856"/>
                </a:lnTo>
                <a:lnTo>
                  <a:pt x="1" y="872"/>
                </a:lnTo>
                <a:lnTo>
                  <a:pt x="1" y="882"/>
                </a:lnTo>
                <a:lnTo>
                  <a:pt x="0" y="887"/>
                </a:lnTo>
                <a:lnTo>
                  <a:pt x="1" y="890"/>
                </a:lnTo>
                <a:lnTo>
                  <a:pt x="2" y="893"/>
                </a:lnTo>
                <a:lnTo>
                  <a:pt x="3" y="895"/>
                </a:lnTo>
                <a:lnTo>
                  <a:pt x="5" y="898"/>
                </a:lnTo>
                <a:lnTo>
                  <a:pt x="7" y="900"/>
                </a:lnTo>
                <a:lnTo>
                  <a:pt x="9" y="901"/>
                </a:lnTo>
                <a:lnTo>
                  <a:pt x="12" y="902"/>
                </a:lnTo>
                <a:lnTo>
                  <a:pt x="15" y="902"/>
                </a:lnTo>
                <a:lnTo>
                  <a:pt x="887" y="902"/>
                </a:lnTo>
                <a:lnTo>
                  <a:pt x="891" y="902"/>
                </a:lnTo>
                <a:lnTo>
                  <a:pt x="894" y="901"/>
                </a:lnTo>
                <a:lnTo>
                  <a:pt x="896" y="900"/>
                </a:lnTo>
                <a:lnTo>
                  <a:pt x="898" y="898"/>
                </a:lnTo>
                <a:lnTo>
                  <a:pt x="900" y="895"/>
                </a:lnTo>
                <a:lnTo>
                  <a:pt x="901" y="893"/>
                </a:lnTo>
                <a:lnTo>
                  <a:pt x="902" y="890"/>
                </a:lnTo>
                <a:lnTo>
                  <a:pt x="902" y="887"/>
                </a:lnTo>
                <a:lnTo>
                  <a:pt x="902" y="882"/>
                </a:lnTo>
                <a:lnTo>
                  <a:pt x="901" y="872"/>
                </a:lnTo>
                <a:lnTo>
                  <a:pt x="900" y="856"/>
                </a:lnTo>
                <a:lnTo>
                  <a:pt x="897" y="835"/>
                </a:lnTo>
                <a:lnTo>
                  <a:pt x="893" y="811"/>
                </a:lnTo>
                <a:lnTo>
                  <a:pt x="885" y="784"/>
                </a:lnTo>
                <a:lnTo>
                  <a:pt x="881" y="770"/>
                </a:lnTo>
                <a:lnTo>
                  <a:pt x="876" y="756"/>
                </a:lnTo>
                <a:lnTo>
                  <a:pt x="870" y="741"/>
                </a:lnTo>
                <a:lnTo>
                  <a:pt x="863" y="727"/>
                </a:lnTo>
                <a:close/>
              </a:path>
            </a:pathLst>
          </a:custGeom>
          <a:solidFill>
            <a:srgbClr val="AFABAB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9" name="Freeform 58"/>
          <p:cNvSpPr>
            <a:spLocks noEditPoints="1"/>
          </p:cNvSpPr>
          <p:nvPr/>
        </p:nvSpPr>
        <p:spPr bwMode="auto">
          <a:xfrm>
            <a:off x="9178336" y="3883505"/>
            <a:ext cx="728486" cy="728488"/>
          </a:xfrm>
          <a:custGeom>
            <a:avLst/>
            <a:gdLst>
              <a:gd name="T0" fmla="*/ 58 w 902"/>
              <a:gd name="T1" fmla="*/ 760 h 902"/>
              <a:gd name="T2" fmla="*/ 105 w 902"/>
              <a:gd name="T3" fmla="*/ 702 h 902"/>
              <a:gd name="T4" fmla="*/ 247 w 902"/>
              <a:gd name="T5" fmla="*/ 639 h 902"/>
              <a:gd name="T6" fmla="*/ 356 w 902"/>
              <a:gd name="T7" fmla="*/ 598 h 902"/>
              <a:gd name="T8" fmla="*/ 360 w 902"/>
              <a:gd name="T9" fmla="*/ 459 h 902"/>
              <a:gd name="T10" fmla="*/ 328 w 902"/>
              <a:gd name="T11" fmla="*/ 415 h 902"/>
              <a:gd name="T12" fmla="*/ 315 w 902"/>
              <a:gd name="T13" fmla="*/ 354 h 902"/>
              <a:gd name="T14" fmla="*/ 296 w 902"/>
              <a:gd name="T15" fmla="*/ 324 h 902"/>
              <a:gd name="T16" fmla="*/ 297 w 902"/>
              <a:gd name="T17" fmla="*/ 284 h 902"/>
              <a:gd name="T18" fmla="*/ 313 w 902"/>
              <a:gd name="T19" fmla="*/ 267 h 902"/>
              <a:gd name="T20" fmla="*/ 300 w 902"/>
              <a:gd name="T21" fmla="*/ 205 h 902"/>
              <a:gd name="T22" fmla="*/ 293 w 902"/>
              <a:gd name="T23" fmla="*/ 113 h 902"/>
              <a:gd name="T24" fmla="*/ 315 w 902"/>
              <a:gd name="T25" fmla="*/ 88 h 902"/>
              <a:gd name="T26" fmla="*/ 352 w 902"/>
              <a:gd name="T27" fmla="*/ 73 h 902"/>
              <a:gd name="T28" fmla="*/ 377 w 902"/>
              <a:gd name="T29" fmla="*/ 48 h 902"/>
              <a:gd name="T30" fmla="*/ 478 w 902"/>
              <a:gd name="T31" fmla="*/ 30 h 902"/>
              <a:gd name="T32" fmla="*/ 574 w 902"/>
              <a:gd name="T33" fmla="*/ 45 h 902"/>
              <a:gd name="T34" fmla="*/ 620 w 902"/>
              <a:gd name="T35" fmla="*/ 77 h 902"/>
              <a:gd name="T36" fmla="*/ 627 w 902"/>
              <a:gd name="T37" fmla="*/ 127 h 902"/>
              <a:gd name="T38" fmla="*/ 590 w 902"/>
              <a:gd name="T39" fmla="*/ 250 h 902"/>
              <a:gd name="T40" fmla="*/ 596 w 902"/>
              <a:gd name="T41" fmla="*/ 272 h 902"/>
              <a:gd name="T42" fmla="*/ 610 w 902"/>
              <a:gd name="T43" fmla="*/ 298 h 902"/>
              <a:gd name="T44" fmla="*/ 600 w 902"/>
              <a:gd name="T45" fmla="*/ 339 h 902"/>
              <a:gd name="T46" fmla="*/ 586 w 902"/>
              <a:gd name="T47" fmla="*/ 379 h 902"/>
              <a:gd name="T48" fmla="*/ 546 w 902"/>
              <a:gd name="T49" fmla="*/ 461 h 902"/>
              <a:gd name="T50" fmla="*/ 542 w 902"/>
              <a:gd name="T51" fmla="*/ 591 h 902"/>
              <a:gd name="T52" fmla="*/ 600 w 902"/>
              <a:gd name="T53" fmla="*/ 619 h 902"/>
              <a:gd name="T54" fmla="*/ 774 w 902"/>
              <a:gd name="T55" fmla="*/ 688 h 902"/>
              <a:gd name="T56" fmla="*/ 832 w 902"/>
              <a:gd name="T57" fmla="*/ 732 h 902"/>
              <a:gd name="T58" fmla="*/ 869 w 902"/>
              <a:gd name="T59" fmla="*/ 848 h 902"/>
              <a:gd name="T60" fmla="*/ 841 w 902"/>
              <a:gd name="T61" fmla="*/ 698 h 902"/>
              <a:gd name="T62" fmla="*/ 747 w 902"/>
              <a:gd name="T63" fmla="*/ 642 h 902"/>
              <a:gd name="T64" fmla="*/ 585 w 902"/>
              <a:gd name="T65" fmla="*/ 581 h 902"/>
              <a:gd name="T66" fmla="*/ 598 w 902"/>
              <a:gd name="T67" fmla="*/ 440 h 902"/>
              <a:gd name="T68" fmla="*/ 618 w 902"/>
              <a:gd name="T69" fmla="*/ 364 h 902"/>
              <a:gd name="T70" fmla="*/ 640 w 902"/>
              <a:gd name="T71" fmla="*/ 308 h 902"/>
              <a:gd name="T72" fmla="*/ 620 w 902"/>
              <a:gd name="T73" fmla="*/ 253 h 902"/>
              <a:gd name="T74" fmla="*/ 649 w 902"/>
              <a:gd name="T75" fmla="*/ 170 h 902"/>
              <a:gd name="T76" fmla="*/ 656 w 902"/>
              <a:gd name="T77" fmla="*/ 86 h 902"/>
              <a:gd name="T78" fmla="*/ 615 w 902"/>
              <a:gd name="T79" fmla="*/ 32 h 902"/>
              <a:gd name="T80" fmla="*/ 538 w 902"/>
              <a:gd name="T81" fmla="*/ 6 h 902"/>
              <a:gd name="T82" fmla="*/ 432 w 902"/>
              <a:gd name="T83" fmla="*/ 3 h 902"/>
              <a:gd name="T84" fmla="*/ 351 w 902"/>
              <a:gd name="T85" fmla="*/ 29 h 902"/>
              <a:gd name="T86" fmla="*/ 312 w 902"/>
              <a:gd name="T87" fmla="*/ 58 h 902"/>
              <a:gd name="T88" fmla="*/ 275 w 902"/>
              <a:gd name="T89" fmla="*/ 82 h 902"/>
              <a:gd name="T90" fmla="*/ 260 w 902"/>
              <a:gd name="T91" fmla="*/ 141 h 902"/>
              <a:gd name="T92" fmla="*/ 281 w 902"/>
              <a:gd name="T93" fmla="*/ 244 h 902"/>
              <a:gd name="T94" fmla="*/ 264 w 902"/>
              <a:gd name="T95" fmla="*/ 287 h 902"/>
              <a:gd name="T96" fmla="*/ 273 w 902"/>
              <a:gd name="T97" fmla="*/ 350 h 902"/>
              <a:gd name="T98" fmla="*/ 291 w 902"/>
              <a:gd name="T99" fmla="*/ 404 h 902"/>
              <a:gd name="T100" fmla="*/ 331 w 902"/>
              <a:gd name="T101" fmla="*/ 473 h 902"/>
              <a:gd name="T102" fmla="*/ 233 w 902"/>
              <a:gd name="T103" fmla="*/ 612 h 902"/>
              <a:gd name="T104" fmla="*/ 82 w 902"/>
              <a:gd name="T105" fmla="*/ 682 h 902"/>
              <a:gd name="T106" fmla="*/ 33 w 902"/>
              <a:gd name="T107" fmla="*/ 741 h 902"/>
              <a:gd name="T108" fmla="*/ 3 w 902"/>
              <a:gd name="T109" fmla="*/ 856 h 902"/>
              <a:gd name="T110" fmla="*/ 3 w 902"/>
              <a:gd name="T111" fmla="*/ 895 h 902"/>
              <a:gd name="T112" fmla="*/ 887 w 902"/>
              <a:gd name="T113" fmla="*/ 902 h 902"/>
              <a:gd name="T114" fmla="*/ 901 w 902"/>
              <a:gd name="T115" fmla="*/ 893 h 902"/>
              <a:gd name="T116" fmla="*/ 897 w 902"/>
              <a:gd name="T117" fmla="*/ 835 h 902"/>
              <a:gd name="T118" fmla="*/ 863 w 902"/>
              <a:gd name="T119" fmla="*/ 727 h 9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902" h="902">
                <a:moveTo>
                  <a:pt x="31" y="872"/>
                </a:moveTo>
                <a:lnTo>
                  <a:pt x="34" y="848"/>
                </a:lnTo>
                <a:lnTo>
                  <a:pt x="39" y="816"/>
                </a:lnTo>
                <a:lnTo>
                  <a:pt x="45" y="798"/>
                </a:lnTo>
                <a:lnTo>
                  <a:pt x="50" y="780"/>
                </a:lnTo>
                <a:lnTo>
                  <a:pt x="58" y="760"/>
                </a:lnTo>
                <a:lnTo>
                  <a:pt x="66" y="740"/>
                </a:lnTo>
                <a:lnTo>
                  <a:pt x="71" y="732"/>
                </a:lnTo>
                <a:lnTo>
                  <a:pt x="78" y="725"/>
                </a:lnTo>
                <a:lnTo>
                  <a:pt x="85" y="717"/>
                </a:lnTo>
                <a:lnTo>
                  <a:pt x="94" y="710"/>
                </a:lnTo>
                <a:lnTo>
                  <a:pt x="105" y="702"/>
                </a:lnTo>
                <a:lnTo>
                  <a:pt x="117" y="695"/>
                </a:lnTo>
                <a:lnTo>
                  <a:pt x="129" y="688"/>
                </a:lnTo>
                <a:lnTo>
                  <a:pt x="143" y="681"/>
                </a:lnTo>
                <a:lnTo>
                  <a:pt x="174" y="667"/>
                </a:lnTo>
                <a:lnTo>
                  <a:pt x="209" y="653"/>
                </a:lnTo>
                <a:lnTo>
                  <a:pt x="247" y="639"/>
                </a:lnTo>
                <a:lnTo>
                  <a:pt x="287" y="624"/>
                </a:lnTo>
                <a:lnTo>
                  <a:pt x="303" y="619"/>
                </a:lnTo>
                <a:lnTo>
                  <a:pt x="319" y="612"/>
                </a:lnTo>
                <a:lnTo>
                  <a:pt x="335" y="607"/>
                </a:lnTo>
                <a:lnTo>
                  <a:pt x="351" y="601"/>
                </a:lnTo>
                <a:lnTo>
                  <a:pt x="356" y="598"/>
                </a:lnTo>
                <a:lnTo>
                  <a:pt x="359" y="595"/>
                </a:lnTo>
                <a:lnTo>
                  <a:pt x="360" y="591"/>
                </a:lnTo>
                <a:lnTo>
                  <a:pt x="361" y="587"/>
                </a:lnTo>
                <a:lnTo>
                  <a:pt x="361" y="467"/>
                </a:lnTo>
                <a:lnTo>
                  <a:pt x="361" y="462"/>
                </a:lnTo>
                <a:lnTo>
                  <a:pt x="360" y="459"/>
                </a:lnTo>
                <a:lnTo>
                  <a:pt x="358" y="457"/>
                </a:lnTo>
                <a:lnTo>
                  <a:pt x="356" y="455"/>
                </a:lnTo>
                <a:lnTo>
                  <a:pt x="349" y="448"/>
                </a:lnTo>
                <a:lnTo>
                  <a:pt x="335" y="429"/>
                </a:lnTo>
                <a:lnTo>
                  <a:pt x="331" y="423"/>
                </a:lnTo>
                <a:lnTo>
                  <a:pt x="328" y="415"/>
                </a:lnTo>
                <a:lnTo>
                  <a:pt x="325" y="408"/>
                </a:lnTo>
                <a:lnTo>
                  <a:pt x="321" y="398"/>
                </a:lnTo>
                <a:lnTo>
                  <a:pt x="318" y="388"/>
                </a:lnTo>
                <a:lnTo>
                  <a:pt x="316" y="378"/>
                </a:lnTo>
                <a:lnTo>
                  <a:pt x="315" y="367"/>
                </a:lnTo>
                <a:lnTo>
                  <a:pt x="315" y="354"/>
                </a:lnTo>
                <a:lnTo>
                  <a:pt x="314" y="349"/>
                </a:lnTo>
                <a:lnTo>
                  <a:pt x="312" y="344"/>
                </a:lnTo>
                <a:lnTo>
                  <a:pt x="307" y="341"/>
                </a:lnTo>
                <a:lnTo>
                  <a:pt x="302" y="339"/>
                </a:lnTo>
                <a:lnTo>
                  <a:pt x="299" y="334"/>
                </a:lnTo>
                <a:lnTo>
                  <a:pt x="296" y="324"/>
                </a:lnTo>
                <a:lnTo>
                  <a:pt x="294" y="319"/>
                </a:lnTo>
                <a:lnTo>
                  <a:pt x="293" y="311"/>
                </a:lnTo>
                <a:lnTo>
                  <a:pt x="292" y="305"/>
                </a:lnTo>
                <a:lnTo>
                  <a:pt x="293" y="298"/>
                </a:lnTo>
                <a:lnTo>
                  <a:pt x="294" y="291"/>
                </a:lnTo>
                <a:lnTo>
                  <a:pt x="297" y="284"/>
                </a:lnTo>
                <a:lnTo>
                  <a:pt x="298" y="280"/>
                </a:lnTo>
                <a:lnTo>
                  <a:pt x="300" y="278"/>
                </a:lnTo>
                <a:lnTo>
                  <a:pt x="303" y="275"/>
                </a:lnTo>
                <a:lnTo>
                  <a:pt x="306" y="272"/>
                </a:lnTo>
                <a:lnTo>
                  <a:pt x="309" y="270"/>
                </a:lnTo>
                <a:lnTo>
                  <a:pt x="313" y="267"/>
                </a:lnTo>
                <a:lnTo>
                  <a:pt x="314" y="264"/>
                </a:lnTo>
                <a:lnTo>
                  <a:pt x="315" y="260"/>
                </a:lnTo>
                <a:lnTo>
                  <a:pt x="314" y="251"/>
                </a:lnTo>
                <a:lnTo>
                  <a:pt x="308" y="235"/>
                </a:lnTo>
                <a:lnTo>
                  <a:pt x="305" y="222"/>
                </a:lnTo>
                <a:lnTo>
                  <a:pt x="300" y="205"/>
                </a:lnTo>
                <a:lnTo>
                  <a:pt x="296" y="187"/>
                </a:lnTo>
                <a:lnTo>
                  <a:pt x="292" y="167"/>
                </a:lnTo>
                <a:lnTo>
                  <a:pt x="290" y="148"/>
                </a:lnTo>
                <a:lnTo>
                  <a:pt x="290" y="130"/>
                </a:lnTo>
                <a:lnTo>
                  <a:pt x="291" y="121"/>
                </a:lnTo>
                <a:lnTo>
                  <a:pt x="293" y="113"/>
                </a:lnTo>
                <a:lnTo>
                  <a:pt x="296" y="106"/>
                </a:lnTo>
                <a:lnTo>
                  <a:pt x="300" y="100"/>
                </a:lnTo>
                <a:lnTo>
                  <a:pt x="303" y="97"/>
                </a:lnTo>
                <a:lnTo>
                  <a:pt x="306" y="93"/>
                </a:lnTo>
                <a:lnTo>
                  <a:pt x="311" y="90"/>
                </a:lnTo>
                <a:lnTo>
                  <a:pt x="315" y="88"/>
                </a:lnTo>
                <a:lnTo>
                  <a:pt x="326" y="86"/>
                </a:lnTo>
                <a:lnTo>
                  <a:pt x="337" y="85"/>
                </a:lnTo>
                <a:lnTo>
                  <a:pt x="343" y="84"/>
                </a:lnTo>
                <a:lnTo>
                  <a:pt x="347" y="82"/>
                </a:lnTo>
                <a:lnTo>
                  <a:pt x="350" y="78"/>
                </a:lnTo>
                <a:lnTo>
                  <a:pt x="352" y="73"/>
                </a:lnTo>
                <a:lnTo>
                  <a:pt x="353" y="69"/>
                </a:lnTo>
                <a:lnTo>
                  <a:pt x="357" y="64"/>
                </a:lnTo>
                <a:lnTo>
                  <a:pt x="360" y="60"/>
                </a:lnTo>
                <a:lnTo>
                  <a:pt x="365" y="56"/>
                </a:lnTo>
                <a:lnTo>
                  <a:pt x="371" y="53"/>
                </a:lnTo>
                <a:lnTo>
                  <a:pt x="377" y="48"/>
                </a:lnTo>
                <a:lnTo>
                  <a:pt x="385" y="45"/>
                </a:lnTo>
                <a:lnTo>
                  <a:pt x="393" y="42"/>
                </a:lnTo>
                <a:lnTo>
                  <a:pt x="410" y="38"/>
                </a:lnTo>
                <a:lnTo>
                  <a:pt x="431" y="33"/>
                </a:lnTo>
                <a:lnTo>
                  <a:pt x="453" y="31"/>
                </a:lnTo>
                <a:lnTo>
                  <a:pt x="478" y="30"/>
                </a:lnTo>
                <a:lnTo>
                  <a:pt x="502" y="31"/>
                </a:lnTo>
                <a:lnTo>
                  <a:pt x="528" y="34"/>
                </a:lnTo>
                <a:lnTo>
                  <a:pt x="540" y="37"/>
                </a:lnTo>
                <a:lnTo>
                  <a:pt x="552" y="39"/>
                </a:lnTo>
                <a:lnTo>
                  <a:pt x="564" y="42"/>
                </a:lnTo>
                <a:lnTo>
                  <a:pt x="574" y="45"/>
                </a:lnTo>
                <a:lnTo>
                  <a:pt x="584" y="49"/>
                </a:lnTo>
                <a:lnTo>
                  <a:pt x="594" y="54"/>
                </a:lnTo>
                <a:lnTo>
                  <a:pt x="602" y="59"/>
                </a:lnTo>
                <a:lnTo>
                  <a:pt x="609" y="64"/>
                </a:lnTo>
                <a:lnTo>
                  <a:pt x="615" y="71"/>
                </a:lnTo>
                <a:lnTo>
                  <a:pt x="620" y="77"/>
                </a:lnTo>
                <a:lnTo>
                  <a:pt x="624" y="84"/>
                </a:lnTo>
                <a:lnTo>
                  <a:pt x="626" y="91"/>
                </a:lnTo>
                <a:lnTo>
                  <a:pt x="628" y="100"/>
                </a:lnTo>
                <a:lnTo>
                  <a:pt x="628" y="108"/>
                </a:lnTo>
                <a:lnTo>
                  <a:pt x="628" y="118"/>
                </a:lnTo>
                <a:lnTo>
                  <a:pt x="627" y="127"/>
                </a:lnTo>
                <a:lnTo>
                  <a:pt x="625" y="146"/>
                </a:lnTo>
                <a:lnTo>
                  <a:pt x="619" y="165"/>
                </a:lnTo>
                <a:lnTo>
                  <a:pt x="609" y="201"/>
                </a:lnTo>
                <a:lnTo>
                  <a:pt x="597" y="231"/>
                </a:lnTo>
                <a:lnTo>
                  <a:pt x="593" y="241"/>
                </a:lnTo>
                <a:lnTo>
                  <a:pt x="590" y="250"/>
                </a:lnTo>
                <a:lnTo>
                  <a:pt x="588" y="255"/>
                </a:lnTo>
                <a:lnTo>
                  <a:pt x="588" y="260"/>
                </a:lnTo>
                <a:lnTo>
                  <a:pt x="588" y="264"/>
                </a:lnTo>
                <a:lnTo>
                  <a:pt x="590" y="267"/>
                </a:lnTo>
                <a:lnTo>
                  <a:pt x="593" y="270"/>
                </a:lnTo>
                <a:lnTo>
                  <a:pt x="596" y="272"/>
                </a:lnTo>
                <a:lnTo>
                  <a:pt x="600" y="275"/>
                </a:lnTo>
                <a:lnTo>
                  <a:pt x="602" y="278"/>
                </a:lnTo>
                <a:lnTo>
                  <a:pt x="604" y="280"/>
                </a:lnTo>
                <a:lnTo>
                  <a:pt x="606" y="284"/>
                </a:lnTo>
                <a:lnTo>
                  <a:pt x="609" y="291"/>
                </a:lnTo>
                <a:lnTo>
                  <a:pt x="610" y="298"/>
                </a:lnTo>
                <a:lnTo>
                  <a:pt x="610" y="305"/>
                </a:lnTo>
                <a:lnTo>
                  <a:pt x="610" y="311"/>
                </a:lnTo>
                <a:lnTo>
                  <a:pt x="609" y="318"/>
                </a:lnTo>
                <a:lnTo>
                  <a:pt x="608" y="324"/>
                </a:lnTo>
                <a:lnTo>
                  <a:pt x="603" y="334"/>
                </a:lnTo>
                <a:lnTo>
                  <a:pt x="600" y="339"/>
                </a:lnTo>
                <a:lnTo>
                  <a:pt x="596" y="341"/>
                </a:lnTo>
                <a:lnTo>
                  <a:pt x="591" y="344"/>
                </a:lnTo>
                <a:lnTo>
                  <a:pt x="589" y="349"/>
                </a:lnTo>
                <a:lnTo>
                  <a:pt x="588" y="354"/>
                </a:lnTo>
                <a:lnTo>
                  <a:pt x="587" y="367"/>
                </a:lnTo>
                <a:lnTo>
                  <a:pt x="586" y="379"/>
                </a:lnTo>
                <a:lnTo>
                  <a:pt x="584" y="389"/>
                </a:lnTo>
                <a:lnTo>
                  <a:pt x="582" y="399"/>
                </a:lnTo>
                <a:lnTo>
                  <a:pt x="575" y="418"/>
                </a:lnTo>
                <a:lnTo>
                  <a:pt x="567" y="433"/>
                </a:lnTo>
                <a:lnTo>
                  <a:pt x="553" y="455"/>
                </a:lnTo>
                <a:lnTo>
                  <a:pt x="546" y="461"/>
                </a:lnTo>
                <a:lnTo>
                  <a:pt x="544" y="464"/>
                </a:lnTo>
                <a:lnTo>
                  <a:pt x="543" y="467"/>
                </a:lnTo>
                <a:lnTo>
                  <a:pt x="542" y="470"/>
                </a:lnTo>
                <a:lnTo>
                  <a:pt x="541" y="473"/>
                </a:lnTo>
                <a:lnTo>
                  <a:pt x="541" y="587"/>
                </a:lnTo>
                <a:lnTo>
                  <a:pt x="542" y="591"/>
                </a:lnTo>
                <a:lnTo>
                  <a:pt x="544" y="595"/>
                </a:lnTo>
                <a:lnTo>
                  <a:pt x="548" y="598"/>
                </a:lnTo>
                <a:lnTo>
                  <a:pt x="552" y="601"/>
                </a:lnTo>
                <a:lnTo>
                  <a:pt x="568" y="607"/>
                </a:lnTo>
                <a:lnTo>
                  <a:pt x="584" y="612"/>
                </a:lnTo>
                <a:lnTo>
                  <a:pt x="600" y="619"/>
                </a:lnTo>
                <a:lnTo>
                  <a:pt x="615" y="624"/>
                </a:lnTo>
                <a:lnTo>
                  <a:pt x="656" y="639"/>
                </a:lnTo>
                <a:lnTo>
                  <a:pt x="693" y="653"/>
                </a:lnTo>
                <a:lnTo>
                  <a:pt x="729" y="667"/>
                </a:lnTo>
                <a:lnTo>
                  <a:pt x="760" y="681"/>
                </a:lnTo>
                <a:lnTo>
                  <a:pt x="774" y="688"/>
                </a:lnTo>
                <a:lnTo>
                  <a:pt x="787" y="695"/>
                </a:lnTo>
                <a:lnTo>
                  <a:pt x="797" y="702"/>
                </a:lnTo>
                <a:lnTo>
                  <a:pt x="808" y="710"/>
                </a:lnTo>
                <a:lnTo>
                  <a:pt x="818" y="717"/>
                </a:lnTo>
                <a:lnTo>
                  <a:pt x="825" y="725"/>
                </a:lnTo>
                <a:lnTo>
                  <a:pt x="832" y="732"/>
                </a:lnTo>
                <a:lnTo>
                  <a:pt x="836" y="740"/>
                </a:lnTo>
                <a:lnTo>
                  <a:pt x="846" y="759"/>
                </a:lnTo>
                <a:lnTo>
                  <a:pt x="852" y="780"/>
                </a:lnTo>
                <a:lnTo>
                  <a:pt x="858" y="798"/>
                </a:lnTo>
                <a:lnTo>
                  <a:pt x="863" y="816"/>
                </a:lnTo>
                <a:lnTo>
                  <a:pt x="869" y="848"/>
                </a:lnTo>
                <a:lnTo>
                  <a:pt x="871" y="872"/>
                </a:lnTo>
                <a:lnTo>
                  <a:pt x="31" y="872"/>
                </a:lnTo>
                <a:close/>
                <a:moveTo>
                  <a:pt x="863" y="727"/>
                </a:moveTo>
                <a:lnTo>
                  <a:pt x="857" y="716"/>
                </a:lnTo>
                <a:lnTo>
                  <a:pt x="850" y="708"/>
                </a:lnTo>
                <a:lnTo>
                  <a:pt x="841" y="698"/>
                </a:lnTo>
                <a:lnTo>
                  <a:pt x="832" y="690"/>
                </a:lnTo>
                <a:lnTo>
                  <a:pt x="821" y="682"/>
                </a:lnTo>
                <a:lnTo>
                  <a:pt x="808" y="673"/>
                </a:lnTo>
                <a:lnTo>
                  <a:pt x="795" y="666"/>
                </a:lnTo>
                <a:lnTo>
                  <a:pt x="780" y="657"/>
                </a:lnTo>
                <a:lnTo>
                  <a:pt x="747" y="642"/>
                </a:lnTo>
                <a:lnTo>
                  <a:pt x="710" y="627"/>
                </a:lnTo>
                <a:lnTo>
                  <a:pt x="670" y="612"/>
                </a:lnTo>
                <a:lnTo>
                  <a:pt x="626" y="596"/>
                </a:lnTo>
                <a:lnTo>
                  <a:pt x="613" y="591"/>
                </a:lnTo>
                <a:lnTo>
                  <a:pt x="599" y="587"/>
                </a:lnTo>
                <a:lnTo>
                  <a:pt x="585" y="581"/>
                </a:lnTo>
                <a:lnTo>
                  <a:pt x="571" y="576"/>
                </a:lnTo>
                <a:lnTo>
                  <a:pt x="571" y="478"/>
                </a:lnTo>
                <a:lnTo>
                  <a:pt x="578" y="473"/>
                </a:lnTo>
                <a:lnTo>
                  <a:pt x="584" y="464"/>
                </a:lnTo>
                <a:lnTo>
                  <a:pt x="590" y="453"/>
                </a:lnTo>
                <a:lnTo>
                  <a:pt x="598" y="440"/>
                </a:lnTo>
                <a:lnTo>
                  <a:pt x="605" y="424"/>
                </a:lnTo>
                <a:lnTo>
                  <a:pt x="611" y="406"/>
                </a:lnTo>
                <a:lnTo>
                  <a:pt x="614" y="397"/>
                </a:lnTo>
                <a:lnTo>
                  <a:pt x="615" y="386"/>
                </a:lnTo>
                <a:lnTo>
                  <a:pt x="617" y="375"/>
                </a:lnTo>
                <a:lnTo>
                  <a:pt x="618" y="364"/>
                </a:lnTo>
                <a:lnTo>
                  <a:pt x="624" y="358"/>
                </a:lnTo>
                <a:lnTo>
                  <a:pt x="629" y="350"/>
                </a:lnTo>
                <a:lnTo>
                  <a:pt x="633" y="340"/>
                </a:lnTo>
                <a:lnTo>
                  <a:pt x="638" y="328"/>
                </a:lnTo>
                <a:lnTo>
                  <a:pt x="639" y="319"/>
                </a:lnTo>
                <a:lnTo>
                  <a:pt x="640" y="308"/>
                </a:lnTo>
                <a:lnTo>
                  <a:pt x="640" y="297"/>
                </a:lnTo>
                <a:lnTo>
                  <a:pt x="639" y="287"/>
                </a:lnTo>
                <a:lnTo>
                  <a:pt x="635" y="278"/>
                </a:lnTo>
                <a:lnTo>
                  <a:pt x="632" y="268"/>
                </a:lnTo>
                <a:lnTo>
                  <a:pt x="627" y="261"/>
                </a:lnTo>
                <a:lnTo>
                  <a:pt x="620" y="253"/>
                </a:lnTo>
                <a:lnTo>
                  <a:pt x="623" y="248"/>
                </a:lnTo>
                <a:lnTo>
                  <a:pt x="625" y="242"/>
                </a:lnTo>
                <a:lnTo>
                  <a:pt x="631" y="227"/>
                </a:lnTo>
                <a:lnTo>
                  <a:pt x="638" y="209"/>
                </a:lnTo>
                <a:lnTo>
                  <a:pt x="644" y="190"/>
                </a:lnTo>
                <a:lnTo>
                  <a:pt x="649" y="170"/>
                </a:lnTo>
                <a:lnTo>
                  <a:pt x="655" y="148"/>
                </a:lnTo>
                <a:lnTo>
                  <a:pt x="657" y="127"/>
                </a:lnTo>
                <a:lnTo>
                  <a:pt x="658" y="116"/>
                </a:lnTo>
                <a:lnTo>
                  <a:pt x="658" y="106"/>
                </a:lnTo>
                <a:lnTo>
                  <a:pt x="657" y="96"/>
                </a:lnTo>
                <a:lnTo>
                  <a:pt x="656" y="86"/>
                </a:lnTo>
                <a:lnTo>
                  <a:pt x="653" y="75"/>
                </a:lnTo>
                <a:lnTo>
                  <a:pt x="648" y="64"/>
                </a:lnTo>
                <a:lnTo>
                  <a:pt x="642" y="56"/>
                </a:lnTo>
                <a:lnTo>
                  <a:pt x="634" y="47"/>
                </a:lnTo>
                <a:lnTo>
                  <a:pt x="625" y="40"/>
                </a:lnTo>
                <a:lnTo>
                  <a:pt x="615" y="32"/>
                </a:lnTo>
                <a:lnTo>
                  <a:pt x="604" y="26"/>
                </a:lnTo>
                <a:lnTo>
                  <a:pt x="593" y="21"/>
                </a:lnTo>
                <a:lnTo>
                  <a:pt x="580" y="15"/>
                </a:lnTo>
                <a:lnTo>
                  <a:pt x="566" y="12"/>
                </a:lnTo>
                <a:lnTo>
                  <a:pt x="552" y="8"/>
                </a:lnTo>
                <a:lnTo>
                  <a:pt x="538" y="6"/>
                </a:lnTo>
                <a:lnTo>
                  <a:pt x="523" y="2"/>
                </a:lnTo>
                <a:lnTo>
                  <a:pt x="508" y="1"/>
                </a:lnTo>
                <a:lnTo>
                  <a:pt x="493" y="0"/>
                </a:lnTo>
                <a:lnTo>
                  <a:pt x="478" y="0"/>
                </a:lnTo>
                <a:lnTo>
                  <a:pt x="455" y="0"/>
                </a:lnTo>
                <a:lnTo>
                  <a:pt x="432" y="3"/>
                </a:lnTo>
                <a:lnTo>
                  <a:pt x="409" y="7"/>
                </a:lnTo>
                <a:lnTo>
                  <a:pt x="388" y="12"/>
                </a:lnTo>
                <a:lnTo>
                  <a:pt x="378" y="16"/>
                </a:lnTo>
                <a:lnTo>
                  <a:pt x="368" y="19"/>
                </a:lnTo>
                <a:lnTo>
                  <a:pt x="359" y="25"/>
                </a:lnTo>
                <a:lnTo>
                  <a:pt x="351" y="29"/>
                </a:lnTo>
                <a:lnTo>
                  <a:pt x="344" y="36"/>
                </a:lnTo>
                <a:lnTo>
                  <a:pt x="337" y="41"/>
                </a:lnTo>
                <a:lnTo>
                  <a:pt x="331" y="48"/>
                </a:lnTo>
                <a:lnTo>
                  <a:pt x="327" y="55"/>
                </a:lnTo>
                <a:lnTo>
                  <a:pt x="319" y="56"/>
                </a:lnTo>
                <a:lnTo>
                  <a:pt x="312" y="58"/>
                </a:lnTo>
                <a:lnTo>
                  <a:pt x="304" y="60"/>
                </a:lnTo>
                <a:lnTo>
                  <a:pt x="298" y="63"/>
                </a:lnTo>
                <a:lnTo>
                  <a:pt x="291" y="67"/>
                </a:lnTo>
                <a:lnTo>
                  <a:pt x="286" y="71"/>
                </a:lnTo>
                <a:lnTo>
                  <a:pt x="281" y="76"/>
                </a:lnTo>
                <a:lnTo>
                  <a:pt x="275" y="82"/>
                </a:lnTo>
                <a:lnTo>
                  <a:pt x="270" y="90"/>
                </a:lnTo>
                <a:lnTo>
                  <a:pt x="267" y="99"/>
                </a:lnTo>
                <a:lnTo>
                  <a:pt x="263" y="110"/>
                </a:lnTo>
                <a:lnTo>
                  <a:pt x="261" y="119"/>
                </a:lnTo>
                <a:lnTo>
                  <a:pt x="260" y="130"/>
                </a:lnTo>
                <a:lnTo>
                  <a:pt x="260" y="141"/>
                </a:lnTo>
                <a:lnTo>
                  <a:pt x="260" y="152"/>
                </a:lnTo>
                <a:lnTo>
                  <a:pt x="261" y="163"/>
                </a:lnTo>
                <a:lnTo>
                  <a:pt x="264" y="186"/>
                </a:lnTo>
                <a:lnTo>
                  <a:pt x="270" y="207"/>
                </a:lnTo>
                <a:lnTo>
                  <a:pt x="275" y="226"/>
                </a:lnTo>
                <a:lnTo>
                  <a:pt x="281" y="244"/>
                </a:lnTo>
                <a:lnTo>
                  <a:pt x="282" y="249"/>
                </a:lnTo>
                <a:lnTo>
                  <a:pt x="283" y="252"/>
                </a:lnTo>
                <a:lnTo>
                  <a:pt x="276" y="260"/>
                </a:lnTo>
                <a:lnTo>
                  <a:pt x="271" y="268"/>
                </a:lnTo>
                <a:lnTo>
                  <a:pt x="267" y="277"/>
                </a:lnTo>
                <a:lnTo>
                  <a:pt x="264" y="287"/>
                </a:lnTo>
                <a:lnTo>
                  <a:pt x="263" y="297"/>
                </a:lnTo>
                <a:lnTo>
                  <a:pt x="262" y="308"/>
                </a:lnTo>
                <a:lnTo>
                  <a:pt x="263" y="319"/>
                </a:lnTo>
                <a:lnTo>
                  <a:pt x="266" y="328"/>
                </a:lnTo>
                <a:lnTo>
                  <a:pt x="269" y="340"/>
                </a:lnTo>
                <a:lnTo>
                  <a:pt x="273" y="350"/>
                </a:lnTo>
                <a:lnTo>
                  <a:pt x="278" y="358"/>
                </a:lnTo>
                <a:lnTo>
                  <a:pt x="285" y="364"/>
                </a:lnTo>
                <a:lnTo>
                  <a:pt x="286" y="375"/>
                </a:lnTo>
                <a:lnTo>
                  <a:pt x="287" y="385"/>
                </a:lnTo>
                <a:lnTo>
                  <a:pt x="289" y="396"/>
                </a:lnTo>
                <a:lnTo>
                  <a:pt x="291" y="404"/>
                </a:lnTo>
                <a:lnTo>
                  <a:pt x="298" y="421"/>
                </a:lnTo>
                <a:lnTo>
                  <a:pt x="304" y="437"/>
                </a:lnTo>
                <a:lnTo>
                  <a:pt x="312" y="448"/>
                </a:lnTo>
                <a:lnTo>
                  <a:pt x="319" y="459"/>
                </a:lnTo>
                <a:lnTo>
                  <a:pt x="326" y="467"/>
                </a:lnTo>
                <a:lnTo>
                  <a:pt x="331" y="473"/>
                </a:lnTo>
                <a:lnTo>
                  <a:pt x="331" y="576"/>
                </a:lnTo>
                <a:lnTo>
                  <a:pt x="317" y="581"/>
                </a:lnTo>
                <a:lnTo>
                  <a:pt x="303" y="587"/>
                </a:lnTo>
                <a:lnTo>
                  <a:pt x="290" y="591"/>
                </a:lnTo>
                <a:lnTo>
                  <a:pt x="277" y="596"/>
                </a:lnTo>
                <a:lnTo>
                  <a:pt x="233" y="612"/>
                </a:lnTo>
                <a:lnTo>
                  <a:pt x="193" y="627"/>
                </a:lnTo>
                <a:lnTo>
                  <a:pt x="155" y="642"/>
                </a:lnTo>
                <a:lnTo>
                  <a:pt x="123" y="658"/>
                </a:lnTo>
                <a:lnTo>
                  <a:pt x="108" y="666"/>
                </a:lnTo>
                <a:lnTo>
                  <a:pt x="94" y="673"/>
                </a:lnTo>
                <a:lnTo>
                  <a:pt x="82" y="682"/>
                </a:lnTo>
                <a:lnTo>
                  <a:pt x="70" y="690"/>
                </a:lnTo>
                <a:lnTo>
                  <a:pt x="61" y="698"/>
                </a:lnTo>
                <a:lnTo>
                  <a:pt x="52" y="708"/>
                </a:lnTo>
                <a:lnTo>
                  <a:pt x="46" y="716"/>
                </a:lnTo>
                <a:lnTo>
                  <a:pt x="39" y="727"/>
                </a:lnTo>
                <a:lnTo>
                  <a:pt x="33" y="741"/>
                </a:lnTo>
                <a:lnTo>
                  <a:pt x="26" y="756"/>
                </a:lnTo>
                <a:lnTo>
                  <a:pt x="21" y="770"/>
                </a:lnTo>
                <a:lnTo>
                  <a:pt x="17" y="784"/>
                </a:lnTo>
                <a:lnTo>
                  <a:pt x="10" y="811"/>
                </a:lnTo>
                <a:lnTo>
                  <a:pt x="5" y="835"/>
                </a:lnTo>
                <a:lnTo>
                  <a:pt x="3" y="856"/>
                </a:lnTo>
                <a:lnTo>
                  <a:pt x="1" y="872"/>
                </a:lnTo>
                <a:lnTo>
                  <a:pt x="1" y="882"/>
                </a:lnTo>
                <a:lnTo>
                  <a:pt x="0" y="887"/>
                </a:lnTo>
                <a:lnTo>
                  <a:pt x="1" y="890"/>
                </a:lnTo>
                <a:lnTo>
                  <a:pt x="2" y="893"/>
                </a:lnTo>
                <a:lnTo>
                  <a:pt x="3" y="895"/>
                </a:lnTo>
                <a:lnTo>
                  <a:pt x="5" y="898"/>
                </a:lnTo>
                <a:lnTo>
                  <a:pt x="7" y="900"/>
                </a:lnTo>
                <a:lnTo>
                  <a:pt x="9" y="901"/>
                </a:lnTo>
                <a:lnTo>
                  <a:pt x="12" y="902"/>
                </a:lnTo>
                <a:lnTo>
                  <a:pt x="15" y="902"/>
                </a:lnTo>
                <a:lnTo>
                  <a:pt x="887" y="902"/>
                </a:lnTo>
                <a:lnTo>
                  <a:pt x="891" y="902"/>
                </a:lnTo>
                <a:lnTo>
                  <a:pt x="894" y="901"/>
                </a:lnTo>
                <a:lnTo>
                  <a:pt x="896" y="900"/>
                </a:lnTo>
                <a:lnTo>
                  <a:pt x="898" y="898"/>
                </a:lnTo>
                <a:lnTo>
                  <a:pt x="900" y="895"/>
                </a:lnTo>
                <a:lnTo>
                  <a:pt x="901" y="893"/>
                </a:lnTo>
                <a:lnTo>
                  <a:pt x="902" y="890"/>
                </a:lnTo>
                <a:lnTo>
                  <a:pt x="902" y="887"/>
                </a:lnTo>
                <a:lnTo>
                  <a:pt x="902" y="882"/>
                </a:lnTo>
                <a:lnTo>
                  <a:pt x="901" y="872"/>
                </a:lnTo>
                <a:lnTo>
                  <a:pt x="900" y="856"/>
                </a:lnTo>
                <a:lnTo>
                  <a:pt x="897" y="835"/>
                </a:lnTo>
                <a:lnTo>
                  <a:pt x="893" y="811"/>
                </a:lnTo>
                <a:lnTo>
                  <a:pt x="885" y="784"/>
                </a:lnTo>
                <a:lnTo>
                  <a:pt x="881" y="770"/>
                </a:lnTo>
                <a:lnTo>
                  <a:pt x="876" y="756"/>
                </a:lnTo>
                <a:lnTo>
                  <a:pt x="870" y="741"/>
                </a:lnTo>
                <a:lnTo>
                  <a:pt x="863" y="727"/>
                </a:lnTo>
                <a:close/>
              </a:path>
            </a:pathLst>
          </a:custGeom>
          <a:solidFill>
            <a:srgbClr val="AFABAB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8" name="Rectangle 47"/>
          <p:cNvSpPr/>
          <p:nvPr/>
        </p:nvSpPr>
        <p:spPr>
          <a:xfrm>
            <a:off x="2285177" y="4675349"/>
            <a:ext cx="4558015" cy="261704"/>
          </a:xfrm>
          <a:prstGeom prst="rect">
            <a:avLst/>
          </a:prstGeom>
          <a:solidFill>
            <a:srgbClr val="E258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9" name="Rectangle 48"/>
          <p:cNvSpPr/>
          <p:nvPr/>
        </p:nvSpPr>
        <p:spPr>
          <a:xfrm>
            <a:off x="6837013" y="4675349"/>
            <a:ext cx="3069810" cy="261704"/>
          </a:xfrm>
          <a:prstGeom prst="rect">
            <a:avLst/>
          </a:prstGeom>
          <a:solidFill>
            <a:srgbClr val="AFABAB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pSp>
        <p:nvGrpSpPr>
          <p:cNvPr id="44" name="Group 43"/>
          <p:cNvGrpSpPr/>
          <p:nvPr/>
        </p:nvGrpSpPr>
        <p:grpSpPr>
          <a:xfrm>
            <a:off x="3362978" y="5222127"/>
            <a:ext cx="5466044" cy="923330"/>
            <a:chOff x="1947156" y="5280861"/>
            <a:chExt cx="5466044" cy="923330"/>
          </a:xfrm>
        </p:grpSpPr>
        <p:sp>
          <p:nvSpPr>
            <p:cNvPr id="45" name="TextBox 44"/>
            <p:cNvSpPr txBox="1"/>
            <p:nvPr/>
          </p:nvSpPr>
          <p:spPr>
            <a:xfrm>
              <a:off x="1947156" y="5280861"/>
              <a:ext cx="1431769" cy="9233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0" b="1" i="0" u="none" strike="noStrike" kern="1200" cap="none" spc="0" normalizeH="0" baseline="0" noProof="0" dirty="0">
                  <a:ln>
                    <a:noFill/>
                  </a:ln>
                  <a:solidFill>
                    <a:srgbClr val="E2583D"/>
                  </a:solidFill>
                  <a:effectLst/>
                  <a:uLnTx/>
                  <a:uFillTx/>
                  <a:ea typeface="+mn-ea"/>
                  <a:cs typeface="+mn-cs"/>
                </a:rPr>
                <a:t>60%</a:t>
              </a:r>
              <a:endParaRPr kumimoji="0" lang="en-US" sz="6000" b="0" i="0" u="none" strike="noStrike" kern="1200" cap="none" spc="0" normalizeH="0" baseline="0" noProof="0" dirty="0">
                <a:ln>
                  <a:noFill/>
                </a:ln>
                <a:solidFill>
                  <a:srgbClr val="E2583D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46" name="TextBox 45"/>
            <p:cNvSpPr txBox="1"/>
            <p:nvPr/>
          </p:nvSpPr>
          <p:spPr>
            <a:xfrm>
              <a:off x="3567938" y="5511694"/>
              <a:ext cx="3845262" cy="461665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Lorem</a:t>
              </a: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 </a:t>
              </a:r>
              <a:r>
                <a:rPr kumimoji="0" lang="en-US" sz="10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Ipsum</a:t>
              </a: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 is simply dummy text of the printing and typesetting industry. </a:t>
              </a:r>
              <a:r>
                <a:rPr kumimoji="0" lang="en-US" sz="10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Lorem</a:t>
              </a: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 </a:t>
              </a:r>
              <a:r>
                <a:rPr kumimoji="0" lang="en-US" sz="10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Ipsum</a:t>
              </a: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 has been the industry's standard dummy text ever since the 1500s.</a:t>
              </a:r>
            </a:p>
          </p:txBody>
        </p:sp>
      </p:grpSp>
      <p:sp>
        <p:nvSpPr>
          <p:cNvPr id="61" name="Rectangle 60"/>
          <p:cNvSpPr/>
          <p:nvPr/>
        </p:nvSpPr>
        <p:spPr>
          <a:xfrm>
            <a:off x="12344400" y="0"/>
            <a:ext cx="469900" cy="469900"/>
          </a:xfrm>
          <a:prstGeom prst="rect">
            <a:avLst/>
          </a:pr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Rectangle 61"/>
          <p:cNvSpPr/>
          <p:nvPr/>
        </p:nvSpPr>
        <p:spPr>
          <a:xfrm>
            <a:off x="12344400" y="649557"/>
            <a:ext cx="469900" cy="469900"/>
          </a:xfrm>
          <a:prstGeom prst="rect">
            <a:avLst/>
          </a:prstGeom>
          <a:solidFill>
            <a:srgbClr val="AFAB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Rectangle 62"/>
          <p:cNvSpPr/>
          <p:nvPr/>
        </p:nvSpPr>
        <p:spPr>
          <a:xfrm>
            <a:off x="12344400" y="1299114"/>
            <a:ext cx="469900" cy="469900"/>
          </a:xfrm>
          <a:prstGeom prst="rect">
            <a:avLst/>
          </a:prstGeom>
          <a:solidFill>
            <a:srgbClr val="7671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Rectangle 63"/>
          <p:cNvSpPr/>
          <p:nvPr/>
        </p:nvSpPr>
        <p:spPr>
          <a:xfrm>
            <a:off x="12966699" y="0"/>
            <a:ext cx="469900" cy="469900"/>
          </a:xfrm>
          <a:prstGeom prst="rect">
            <a:avLst/>
          </a:prstGeom>
          <a:solidFill>
            <a:srgbClr val="E878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" name="Rectangle 64"/>
          <p:cNvSpPr/>
          <p:nvPr/>
        </p:nvSpPr>
        <p:spPr>
          <a:xfrm>
            <a:off x="12966699" y="649557"/>
            <a:ext cx="469900" cy="469900"/>
          </a:xfrm>
          <a:prstGeom prst="rect">
            <a:avLst/>
          </a:prstGeom>
          <a:solidFill>
            <a:srgbClr val="E258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Rectangle 65"/>
          <p:cNvSpPr/>
          <p:nvPr/>
        </p:nvSpPr>
        <p:spPr>
          <a:xfrm>
            <a:off x="12966699" y="1299114"/>
            <a:ext cx="469900" cy="469900"/>
          </a:xfrm>
          <a:prstGeom prst="rect">
            <a:avLst/>
          </a:prstGeom>
          <a:solidFill>
            <a:srgbClr val="D63E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/>
          <p:cNvSpPr/>
          <p:nvPr/>
        </p:nvSpPr>
        <p:spPr>
          <a:xfrm>
            <a:off x="13588998" y="0"/>
            <a:ext cx="469900" cy="469900"/>
          </a:xfrm>
          <a:prstGeom prst="rect">
            <a:avLst/>
          </a:prstGeom>
          <a:solidFill>
            <a:srgbClr val="8EDC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/>
          <p:cNvSpPr/>
          <p:nvPr/>
        </p:nvSpPr>
        <p:spPr>
          <a:xfrm>
            <a:off x="13588998" y="649557"/>
            <a:ext cx="469900" cy="469900"/>
          </a:xfrm>
          <a:prstGeom prst="rect">
            <a:avLst/>
          </a:prstGeom>
          <a:solidFill>
            <a:srgbClr val="78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9" name="Rectangle 68"/>
          <p:cNvSpPr/>
          <p:nvPr/>
        </p:nvSpPr>
        <p:spPr>
          <a:xfrm>
            <a:off x="13588998" y="1299114"/>
            <a:ext cx="469900" cy="469900"/>
          </a:xfrm>
          <a:prstGeom prst="rect">
            <a:avLst/>
          </a:prstGeom>
          <a:solidFill>
            <a:srgbClr val="4CC7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Rectangle 69"/>
          <p:cNvSpPr/>
          <p:nvPr/>
        </p:nvSpPr>
        <p:spPr>
          <a:xfrm>
            <a:off x="14211297" y="0"/>
            <a:ext cx="469900" cy="469900"/>
          </a:xfrm>
          <a:prstGeom prst="rect">
            <a:avLst/>
          </a:prstGeom>
          <a:solidFill>
            <a:srgbClr val="5553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1" name="Rectangle 70"/>
          <p:cNvSpPr/>
          <p:nvPr/>
        </p:nvSpPr>
        <p:spPr>
          <a:xfrm>
            <a:off x="14211297" y="649557"/>
            <a:ext cx="469900" cy="469900"/>
          </a:xfrm>
          <a:prstGeom prst="rect">
            <a:avLst/>
          </a:prstGeom>
          <a:solidFill>
            <a:srgbClr val="3B39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2" name="Rectangle 71"/>
          <p:cNvSpPr/>
          <p:nvPr/>
        </p:nvSpPr>
        <p:spPr>
          <a:xfrm>
            <a:off x="14211297" y="1299114"/>
            <a:ext cx="469900" cy="469900"/>
          </a:xfrm>
          <a:prstGeom prst="rect">
            <a:avLst/>
          </a:prstGeom>
          <a:solidFill>
            <a:srgbClr val="2523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135284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Placeholder 13"/>
          <p:cNvPicPr>
            <a:picLocks noGrp="1" noChangeAspect="1"/>
          </p:cNvPicPr>
          <p:nvPr>
            <p:ph type="pic" sz="quarter" idx="17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157" r="23157"/>
          <a:stretch>
            <a:fillRect/>
          </a:stretch>
        </p:blipFill>
        <p:spPr/>
      </p:pic>
      <p:sp>
        <p:nvSpPr>
          <p:cNvPr id="253" name="Parallelogram 252"/>
          <p:cNvSpPr/>
          <p:nvPr/>
        </p:nvSpPr>
        <p:spPr>
          <a:xfrm>
            <a:off x="6160067" y="4038208"/>
            <a:ext cx="1929329" cy="552449"/>
          </a:xfrm>
          <a:prstGeom prst="parallelogram">
            <a:avLst>
              <a:gd name="adj" fmla="val 13362"/>
            </a:avLst>
          </a:prstGeom>
          <a:solidFill>
            <a:srgbClr val="78D2D2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Placeholder 12"/>
          <p:cNvPicPr>
            <a:picLocks noGrp="1" noChangeAspect="1"/>
          </p:cNvPicPr>
          <p:nvPr>
            <p:ph type="pic" sz="quarter" idx="16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208" r="23208"/>
          <a:stretch>
            <a:fillRect/>
          </a:stretch>
        </p:blipFill>
        <p:spPr>
          <a:xfrm>
            <a:off x="3789363" y="1808163"/>
            <a:ext cx="2236787" cy="2782887"/>
          </a:xfrm>
        </p:spPr>
      </p:pic>
      <p:sp>
        <p:nvSpPr>
          <p:cNvPr id="252" name="Parallelogram 251"/>
          <p:cNvSpPr/>
          <p:nvPr/>
        </p:nvSpPr>
        <p:spPr>
          <a:xfrm>
            <a:off x="3783703" y="4038208"/>
            <a:ext cx="1929329" cy="552449"/>
          </a:xfrm>
          <a:prstGeom prst="parallelogram">
            <a:avLst>
              <a:gd name="adj" fmla="val 13362"/>
            </a:avLst>
          </a:prstGeom>
          <a:solidFill>
            <a:srgbClr val="AFABAB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Placeholder 10"/>
          <p:cNvPicPr>
            <a:picLocks noGrp="1" noChangeAspect="1"/>
          </p:cNvPicPr>
          <p:nvPr>
            <p:ph type="pic" sz="quarter" idx="15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386" r="27386"/>
          <a:stretch>
            <a:fillRect/>
          </a:stretch>
        </p:blipFill>
        <p:spPr>
          <a:xfrm>
            <a:off x="1414463" y="1808163"/>
            <a:ext cx="2236787" cy="2782887"/>
          </a:xfrm>
        </p:spPr>
      </p:pic>
      <p:sp>
        <p:nvSpPr>
          <p:cNvPr id="12" name="Parallelogram 11"/>
          <p:cNvSpPr/>
          <p:nvPr/>
        </p:nvSpPr>
        <p:spPr>
          <a:xfrm>
            <a:off x="1413945" y="4038208"/>
            <a:ext cx="1929329" cy="552449"/>
          </a:xfrm>
          <a:prstGeom prst="parallelogram">
            <a:avLst>
              <a:gd name="adj" fmla="val 13362"/>
            </a:avLst>
          </a:prstGeom>
          <a:solidFill>
            <a:schemeClr val="accent2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3" name="Rectangle 102"/>
          <p:cNvSpPr/>
          <p:nvPr/>
        </p:nvSpPr>
        <p:spPr>
          <a:xfrm>
            <a:off x="12344400" y="0"/>
            <a:ext cx="469900" cy="469900"/>
          </a:xfrm>
          <a:prstGeom prst="rect">
            <a:avLst/>
          </a:pr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4" name="Rectangle 103"/>
          <p:cNvSpPr/>
          <p:nvPr/>
        </p:nvSpPr>
        <p:spPr>
          <a:xfrm>
            <a:off x="12344400" y="649557"/>
            <a:ext cx="469900" cy="469900"/>
          </a:xfrm>
          <a:prstGeom prst="rect">
            <a:avLst/>
          </a:prstGeom>
          <a:solidFill>
            <a:srgbClr val="AFAB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5" name="Rectangle 104"/>
          <p:cNvSpPr/>
          <p:nvPr/>
        </p:nvSpPr>
        <p:spPr>
          <a:xfrm>
            <a:off x="12344400" y="1299114"/>
            <a:ext cx="469900" cy="469900"/>
          </a:xfrm>
          <a:prstGeom prst="rect">
            <a:avLst/>
          </a:prstGeom>
          <a:solidFill>
            <a:srgbClr val="7671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7" name="Rectangle 106"/>
          <p:cNvSpPr/>
          <p:nvPr/>
        </p:nvSpPr>
        <p:spPr>
          <a:xfrm>
            <a:off x="12966699" y="0"/>
            <a:ext cx="469900" cy="469900"/>
          </a:xfrm>
          <a:prstGeom prst="rect">
            <a:avLst/>
          </a:prstGeom>
          <a:solidFill>
            <a:srgbClr val="E878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8" name="Rectangle 107"/>
          <p:cNvSpPr/>
          <p:nvPr/>
        </p:nvSpPr>
        <p:spPr>
          <a:xfrm>
            <a:off x="12966699" y="649557"/>
            <a:ext cx="469900" cy="469900"/>
          </a:xfrm>
          <a:prstGeom prst="rect">
            <a:avLst/>
          </a:prstGeom>
          <a:solidFill>
            <a:srgbClr val="E258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9" name="Rectangle 108"/>
          <p:cNvSpPr/>
          <p:nvPr/>
        </p:nvSpPr>
        <p:spPr>
          <a:xfrm>
            <a:off x="12966699" y="1299114"/>
            <a:ext cx="469900" cy="469900"/>
          </a:xfrm>
          <a:prstGeom prst="rect">
            <a:avLst/>
          </a:prstGeom>
          <a:solidFill>
            <a:srgbClr val="D63E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0" name="Rectangle 109"/>
          <p:cNvSpPr/>
          <p:nvPr/>
        </p:nvSpPr>
        <p:spPr>
          <a:xfrm>
            <a:off x="13588998" y="0"/>
            <a:ext cx="469900" cy="469900"/>
          </a:xfrm>
          <a:prstGeom prst="rect">
            <a:avLst/>
          </a:prstGeom>
          <a:solidFill>
            <a:srgbClr val="8EDC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1" name="Rectangle 110"/>
          <p:cNvSpPr/>
          <p:nvPr/>
        </p:nvSpPr>
        <p:spPr>
          <a:xfrm>
            <a:off x="13588998" y="649557"/>
            <a:ext cx="469900" cy="469900"/>
          </a:xfrm>
          <a:prstGeom prst="rect">
            <a:avLst/>
          </a:prstGeom>
          <a:solidFill>
            <a:srgbClr val="78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2" name="Rectangle 111"/>
          <p:cNvSpPr/>
          <p:nvPr/>
        </p:nvSpPr>
        <p:spPr>
          <a:xfrm>
            <a:off x="13588998" y="1299114"/>
            <a:ext cx="469900" cy="469900"/>
          </a:xfrm>
          <a:prstGeom prst="rect">
            <a:avLst/>
          </a:prstGeom>
          <a:solidFill>
            <a:srgbClr val="4CC7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3" name="Rectangle 112"/>
          <p:cNvSpPr/>
          <p:nvPr/>
        </p:nvSpPr>
        <p:spPr>
          <a:xfrm>
            <a:off x="14211297" y="0"/>
            <a:ext cx="469900" cy="469900"/>
          </a:xfrm>
          <a:prstGeom prst="rect">
            <a:avLst/>
          </a:prstGeom>
          <a:solidFill>
            <a:srgbClr val="5553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4" name="Rectangle 113"/>
          <p:cNvSpPr/>
          <p:nvPr/>
        </p:nvSpPr>
        <p:spPr>
          <a:xfrm>
            <a:off x="14211297" y="649557"/>
            <a:ext cx="469900" cy="469900"/>
          </a:xfrm>
          <a:prstGeom prst="rect">
            <a:avLst/>
          </a:prstGeom>
          <a:solidFill>
            <a:srgbClr val="3B39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5" name="Rectangle 114"/>
          <p:cNvSpPr/>
          <p:nvPr/>
        </p:nvSpPr>
        <p:spPr>
          <a:xfrm>
            <a:off x="14211297" y="1299114"/>
            <a:ext cx="469900" cy="469900"/>
          </a:xfrm>
          <a:prstGeom prst="rect">
            <a:avLst/>
          </a:prstGeom>
          <a:solidFill>
            <a:srgbClr val="2523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Placeholder 14"/>
          <p:cNvPicPr>
            <a:picLocks noGrp="1" noChangeAspect="1"/>
          </p:cNvPicPr>
          <p:nvPr>
            <p:ph type="pic" sz="quarter" idx="18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208" r="23208"/>
          <a:stretch>
            <a:fillRect/>
          </a:stretch>
        </p:blipFill>
        <p:spPr/>
      </p:pic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Lorem Ipsum is simply dummy text of the printing and typesetting industry. Lorem Ipsum has been the industry's standard dummy text ever since the 1500s, when an unknown printer took a galley of type and scrambled it to make a type specimen book. </a:t>
            </a:r>
          </a:p>
        </p:txBody>
      </p:sp>
      <p:sp>
        <p:nvSpPr>
          <p:cNvPr id="120" name="Text Placeholder 119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3200" dirty="0"/>
              <a:t>PowerPoint Presentation</a:t>
            </a:r>
          </a:p>
        </p:txBody>
      </p:sp>
      <p:sp>
        <p:nvSpPr>
          <p:cNvPr id="116" name="Date Placeholder 11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E1B330-CB56-448E-9C70-830A2B9C05C8}" type="datetime1">
              <a:rPr lang="en-US" smtClean="0"/>
              <a:t>11/15/2018</a:t>
            </a:fld>
            <a:endParaRPr lang="en-US"/>
          </a:p>
        </p:txBody>
      </p:sp>
      <p:sp>
        <p:nvSpPr>
          <p:cNvPr id="117" name="Slide Number Placeholder 1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06E70-9524-410D-AE9B-78D656EAA14D}" type="slidenum">
              <a:rPr lang="en-US" smtClean="0"/>
              <a:pPr/>
              <a:t>24</a:t>
            </a:fld>
            <a:endParaRPr lang="en-US"/>
          </a:p>
        </p:txBody>
      </p:sp>
      <p:grpSp>
        <p:nvGrpSpPr>
          <p:cNvPr id="19" name="Group 18"/>
          <p:cNvGrpSpPr/>
          <p:nvPr/>
        </p:nvGrpSpPr>
        <p:grpSpPr>
          <a:xfrm>
            <a:off x="1490679" y="4766398"/>
            <a:ext cx="1699539" cy="1300455"/>
            <a:chOff x="1998327" y="4766398"/>
            <a:chExt cx="1699539" cy="1300455"/>
          </a:xfrm>
        </p:grpSpPr>
        <p:sp>
          <p:nvSpPr>
            <p:cNvPr id="157" name="TextBox 156"/>
            <p:cNvSpPr txBox="1"/>
            <p:nvPr/>
          </p:nvSpPr>
          <p:spPr>
            <a:xfrm>
              <a:off x="1998327" y="5297412"/>
              <a:ext cx="1699539" cy="769441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LOREM IPSUM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is simply dummy text of the printing and typesetting industry.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Lorem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Ipsum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 has been the industry's standard dummy</a:t>
              </a:r>
            </a:p>
          </p:txBody>
        </p:sp>
        <p:grpSp>
          <p:nvGrpSpPr>
            <p:cNvPr id="158" name="Group 157"/>
            <p:cNvGrpSpPr/>
            <p:nvPr/>
          </p:nvGrpSpPr>
          <p:grpSpPr>
            <a:xfrm>
              <a:off x="2734889" y="4766398"/>
              <a:ext cx="211256" cy="403278"/>
              <a:chOff x="3628442" y="4608099"/>
              <a:chExt cx="211256" cy="403278"/>
            </a:xfrm>
          </p:grpSpPr>
          <p:sp>
            <p:nvSpPr>
              <p:cNvPr id="159" name="Freeform 5"/>
              <p:cNvSpPr>
                <a:spLocks/>
              </p:cNvSpPr>
              <p:nvPr/>
            </p:nvSpPr>
            <p:spPr bwMode="auto">
              <a:xfrm>
                <a:off x="3661158" y="4888733"/>
                <a:ext cx="135303" cy="122644"/>
              </a:xfrm>
              <a:custGeom>
                <a:avLst/>
                <a:gdLst>
                  <a:gd name="T0" fmla="*/ 0 w 823"/>
                  <a:gd name="T1" fmla="*/ 0 h 746"/>
                  <a:gd name="T2" fmla="*/ 427 w 823"/>
                  <a:gd name="T3" fmla="*/ 211 h 746"/>
                  <a:gd name="T4" fmla="*/ 823 w 823"/>
                  <a:gd name="T5" fmla="*/ 0 h 746"/>
                  <a:gd name="T6" fmla="*/ 410 w 823"/>
                  <a:gd name="T7" fmla="*/ 746 h 746"/>
                  <a:gd name="T8" fmla="*/ 0 w 823"/>
                  <a:gd name="T9" fmla="*/ 0 h 7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3" h="746">
                    <a:moveTo>
                      <a:pt x="0" y="0"/>
                    </a:moveTo>
                    <a:lnTo>
                      <a:pt x="427" y="211"/>
                    </a:lnTo>
                    <a:lnTo>
                      <a:pt x="823" y="0"/>
                    </a:lnTo>
                    <a:lnTo>
                      <a:pt x="410" y="74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2583D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160" name="Oval 7"/>
              <p:cNvSpPr>
                <a:spLocks noChangeArrowheads="1"/>
              </p:cNvSpPr>
              <p:nvPr/>
            </p:nvSpPr>
            <p:spPr bwMode="auto">
              <a:xfrm>
                <a:off x="3628442" y="4608099"/>
                <a:ext cx="211256" cy="210928"/>
              </a:xfrm>
              <a:prstGeom prst="ellipse">
                <a:avLst/>
              </a:prstGeom>
              <a:solidFill>
                <a:schemeClr val="bg1"/>
              </a:solidFill>
              <a:ln w="15875" cap="flat">
                <a:noFill/>
                <a:prstDash val="solid"/>
                <a:miter lim="800000"/>
                <a:headEnd/>
                <a:tailEnd/>
              </a:ln>
              <a:effectLst>
                <a:outerShdw blurRad="25400" dist="254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161" name="Oval 6"/>
              <p:cNvSpPr>
                <a:spLocks noChangeArrowheads="1"/>
              </p:cNvSpPr>
              <p:nvPr/>
            </p:nvSpPr>
            <p:spPr bwMode="auto">
              <a:xfrm>
                <a:off x="3706862" y="4686355"/>
                <a:ext cx="54581" cy="54417"/>
              </a:xfrm>
              <a:prstGeom prst="ellipse">
                <a:avLst/>
              </a:prstGeom>
              <a:solidFill>
                <a:srgbClr val="E2583D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8" name="Group 17"/>
          <p:cNvGrpSpPr/>
          <p:nvPr/>
        </p:nvGrpSpPr>
        <p:grpSpPr>
          <a:xfrm>
            <a:off x="3900410" y="4766398"/>
            <a:ext cx="1699539" cy="1300455"/>
            <a:chOff x="4079197" y="4766398"/>
            <a:chExt cx="1699539" cy="1300455"/>
          </a:xfrm>
        </p:grpSpPr>
        <p:sp>
          <p:nvSpPr>
            <p:cNvPr id="164" name="TextBox 163"/>
            <p:cNvSpPr txBox="1"/>
            <p:nvPr/>
          </p:nvSpPr>
          <p:spPr>
            <a:xfrm>
              <a:off x="4079197" y="5297412"/>
              <a:ext cx="1699539" cy="769441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LOREM IPSUM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is simply dummy text of the printing and typesetting industry.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Lorem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Ipsum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 has been the industry's standard dummy</a:t>
              </a:r>
            </a:p>
          </p:txBody>
        </p:sp>
        <p:grpSp>
          <p:nvGrpSpPr>
            <p:cNvPr id="165" name="Group 164"/>
            <p:cNvGrpSpPr/>
            <p:nvPr/>
          </p:nvGrpSpPr>
          <p:grpSpPr>
            <a:xfrm>
              <a:off x="4815759" y="4766398"/>
              <a:ext cx="211256" cy="403278"/>
              <a:chOff x="3628442" y="4608099"/>
              <a:chExt cx="211256" cy="403278"/>
            </a:xfrm>
          </p:grpSpPr>
          <p:sp>
            <p:nvSpPr>
              <p:cNvPr id="166" name="Freeform 5"/>
              <p:cNvSpPr>
                <a:spLocks/>
              </p:cNvSpPr>
              <p:nvPr/>
            </p:nvSpPr>
            <p:spPr bwMode="auto">
              <a:xfrm>
                <a:off x="3661158" y="4888733"/>
                <a:ext cx="135303" cy="122644"/>
              </a:xfrm>
              <a:custGeom>
                <a:avLst/>
                <a:gdLst>
                  <a:gd name="T0" fmla="*/ 0 w 823"/>
                  <a:gd name="T1" fmla="*/ 0 h 746"/>
                  <a:gd name="T2" fmla="*/ 427 w 823"/>
                  <a:gd name="T3" fmla="*/ 211 h 746"/>
                  <a:gd name="T4" fmla="*/ 823 w 823"/>
                  <a:gd name="T5" fmla="*/ 0 h 746"/>
                  <a:gd name="T6" fmla="*/ 410 w 823"/>
                  <a:gd name="T7" fmla="*/ 746 h 746"/>
                  <a:gd name="T8" fmla="*/ 0 w 823"/>
                  <a:gd name="T9" fmla="*/ 0 h 7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3" h="746">
                    <a:moveTo>
                      <a:pt x="0" y="0"/>
                    </a:moveTo>
                    <a:lnTo>
                      <a:pt x="427" y="211"/>
                    </a:lnTo>
                    <a:lnTo>
                      <a:pt x="823" y="0"/>
                    </a:lnTo>
                    <a:lnTo>
                      <a:pt x="410" y="74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FABAB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167" name="Oval 7"/>
              <p:cNvSpPr>
                <a:spLocks noChangeArrowheads="1"/>
              </p:cNvSpPr>
              <p:nvPr/>
            </p:nvSpPr>
            <p:spPr bwMode="auto">
              <a:xfrm>
                <a:off x="3628442" y="4608099"/>
                <a:ext cx="211256" cy="210928"/>
              </a:xfrm>
              <a:prstGeom prst="ellipse">
                <a:avLst/>
              </a:prstGeom>
              <a:solidFill>
                <a:schemeClr val="bg1"/>
              </a:solidFill>
              <a:ln w="15875" cap="flat">
                <a:noFill/>
                <a:prstDash val="solid"/>
                <a:miter lim="800000"/>
                <a:headEnd/>
                <a:tailEnd/>
              </a:ln>
              <a:effectLst>
                <a:outerShdw blurRad="25400" dist="254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168" name="Oval 6"/>
              <p:cNvSpPr>
                <a:spLocks noChangeArrowheads="1"/>
              </p:cNvSpPr>
              <p:nvPr/>
            </p:nvSpPr>
            <p:spPr bwMode="auto">
              <a:xfrm>
                <a:off x="3706862" y="4686355"/>
                <a:ext cx="54581" cy="54417"/>
              </a:xfrm>
              <a:prstGeom prst="ellipse">
                <a:avLst/>
              </a:prstGeom>
              <a:solidFill>
                <a:srgbClr val="AFABAB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6" name="Group 15"/>
          <p:cNvGrpSpPr/>
          <p:nvPr/>
        </p:nvGrpSpPr>
        <p:grpSpPr>
          <a:xfrm>
            <a:off x="6277294" y="4766398"/>
            <a:ext cx="1699539" cy="1300455"/>
            <a:chOff x="6350064" y="4766398"/>
            <a:chExt cx="1699539" cy="1300455"/>
          </a:xfrm>
        </p:grpSpPr>
        <p:sp>
          <p:nvSpPr>
            <p:cNvPr id="171" name="TextBox 170"/>
            <p:cNvSpPr txBox="1"/>
            <p:nvPr/>
          </p:nvSpPr>
          <p:spPr>
            <a:xfrm>
              <a:off x="6350064" y="5297412"/>
              <a:ext cx="1699539" cy="769441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LOREM IPSUM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is simply dummy text of the printing and typesetting industry.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Lorem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Ipsum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 has been the industry's standard dummy</a:t>
              </a:r>
            </a:p>
          </p:txBody>
        </p:sp>
        <p:grpSp>
          <p:nvGrpSpPr>
            <p:cNvPr id="172" name="Group 171"/>
            <p:cNvGrpSpPr/>
            <p:nvPr/>
          </p:nvGrpSpPr>
          <p:grpSpPr>
            <a:xfrm>
              <a:off x="7086626" y="4766398"/>
              <a:ext cx="211256" cy="403278"/>
              <a:chOff x="3628442" y="4608099"/>
              <a:chExt cx="211256" cy="403278"/>
            </a:xfrm>
          </p:grpSpPr>
          <p:sp>
            <p:nvSpPr>
              <p:cNvPr id="173" name="Freeform 5"/>
              <p:cNvSpPr>
                <a:spLocks/>
              </p:cNvSpPr>
              <p:nvPr/>
            </p:nvSpPr>
            <p:spPr bwMode="auto">
              <a:xfrm>
                <a:off x="3661158" y="4888733"/>
                <a:ext cx="135303" cy="122644"/>
              </a:xfrm>
              <a:custGeom>
                <a:avLst/>
                <a:gdLst>
                  <a:gd name="T0" fmla="*/ 0 w 823"/>
                  <a:gd name="T1" fmla="*/ 0 h 746"/>
                  <a:gd name="T2" fmla="*/ 427 w 823"/>
                  <a:gd name="T3" fmla="*/ 211 h 746"/>
                  <a:gd name="T4" fmla="*/ 823 w 823"/>
                  <a:gd name="T5" fmla="*/ 0 h 746"/>
                  <a:gd name="T6" fmla="*/ 410 w 823"/>
                  <a:gd name="T7" fmla="*/ 746 h 746"/>
                  <a:gd name="T8" fmla="*/ 0 w 823"/>
                  <a:gd name="T9" fmla="*/ 0 h 7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3" h="746">
                    <a:moveTo>
                      <a:pt x="0" y="0"/>
                    </a:moveTo>
                    <a:lnTo>
                      <a:pt x="427" y="211"/>
                    </a:lnTo>
                    <a:lnTo>
                      <a:pt x="823" y="0"/>
                    </a:lnTo>
                    <a:lnTo>
                      <a:pt x="410" y="74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78D2D2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174" name="Oval 7"/>
              <p:cNvSpPr>
                <a:spLocks noChangeArrowheads="1"/>
              </p:cNvSpPr>
              <p:nvPr/>
            </p:nvSpPr>
            <p:spPr bwMode="auto">
              <a:xfrm>
                <a:off x="3628442" y="4608099"/>
                <a:ext cx="211256" cy="210928"/>
              </a:xfrm>
              <a:prstGeom prst="ellipse">
                <a:avLst/>
              </a:prstGeom>
              <a:solidFill>
                <a:schemeClr val="bg1"/>
              </a:solidFill>
              <a:ln w="15875" cap="flat">
                <a:noFill/>
                <a:prstDash val="solid"/>
                <a:miter lim="800000"/>
                <a:headEnd/>
                <a:tailEnd/>
              </a:ln>
              <a:effectLst>
                <a:outerShdw blurRad="25400" dist="254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175" name="Oval 6"/>
              <p:cNvSpPr>
                <a:spLocks noChangeArrowheads="1"/>
              </p:cNvSpPr>
              <p:nvPr/>
            </p:nvSpPr>
            <p:spPr bwMode="auto">
              <a:xfrm>
                <a:off x="3706862" y="4686355"/>
                <a:ext cx="54581" cy="54417"/>
              </a:xfrm>
              <a:prstGeom prst="ellipse">
                <a:avLst/>
              </a:prstGeom>
              <a:solidFill>
                <a:srgbClr val="78D2D2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</p:grpSp>
      </p:grpSp>
      <p:sp>
        <p:nvSpPr>
          <p:cNvPr id="177" name="Freeform 176"/>
          <p:cNvSpPr/>
          <p:nvPr/>
        </p:nvSpPr>
        <p:spPr>
          <a:xfrm>
            <a:off x="8540741" y="4038208"/>
            <a:ext cx="1921829" cy="552450"/>
          </a:xfrm>
          <a:custGeom>
            <a:avLst/>
            <a:gdLst>
              <a:gd name="connsiteX0" fmla="*/ 57214 w 1653859"/>
              <a:gd name="connsiteY0" fmla="*/ 0 h 552450"/>
              <a:gd name="connsiteX1" fmla="*/ 1653859 w 1653859"/>
              <a:gd name="connsiteY1" fmla="*/ 0 h 552450"/>
              <a:gd name="connsiteX2" fmla="*/ 1596645 w 1653859"/>
              <a:gd name="connsiteY2" fmla="*/ 552450 h 552450"/>
              <a:gd name="connsiteX3" fmla="*/ 0 w 1653859"/>
              <a:gd name="connsiteY3" fmla="*/ 552450 h 552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53859" h="552450">
                <a:moveTo>
                  <a:pt x="57214" y="0"/>
                </a:moveTo>
                <a:lnTo>
                  <a:pt x="1653859" y="0"/>
                </a:lnTo>
                <a:lnTo>
                  <a:pt x="1596645" y="552450"/>
                </a:lnTo>
                <a:lnTo>
                  <a:pt x="0" y="552450"/>
                </a:lnTo>
                <a:close/>
              </a:path>
            </a:pathLst>
          </a:custGeom>
          <a:solidFill>
            <a:srgbClr val="3B3939">
              <a:alpha val="8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pSp>
        <p:nvGrpSpPr>
          <p:cNvPr id="17" name="Group 16"/>
          <p:cNvGrpSpPr/>
          <p:nvPr/>
        </p:nvGrpSpPr>
        <p:grpSpPr>
          <a:xfrm>
            <a:off x="8665562" y="4766398"/>
            <a:ext cx="1699539" cy="1300455"/>
            <a:chOff x="8678078" y="4766398"/>
            <a:chExt cx="1699539" cy="1300455"/>
          </a:xfrm>
        </p:grpSpPr>
        <p:sp>
          <p:nvSpPr>
            <p:cNvPr id="178" name="TextBox 177"/>
            <p:cNvSpPr txBox="1"/>
            <p:nvPr/>
          </p:nvSpPr>
          <p:spPr>
            <a:xfrm>
              <a:off x="8678078" y="5297412"/>
              <a:ext cx="1699539" cy="769441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LOREM IPSUM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is simply dummy text of the printing and typesetting industry.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Lorem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Ipsum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 has been the industry's standard dummy</a:t>
              </a:r>
            </a:p>
          </p:txBody>
        </p:sp>
        <p:grpSp>
          <p:nvGrpSpPr>
            <p:cNvPr id="179" name="Group 178"/>
            <p:cNvGrpSpPr/>
            <p:nvPr/>
          </p:nvGrpSpPr>
          <p:grpSpPr>
            <a:xfrm>
              <a:off x="9414640" y="4766398"/>
              <a:ext cx="211256" cy="403278"/>
              <a:chOff x="3628442" y="4608099"/>
              <a:chExt cx="211256" cy="403278"/>
            </a:xfrm>
          </p:grpSpPr>
          <p:sp>
            <p:nvSpPr>
              <p:cNvPr id="180" name="Freeform 5"/>
              <p:cNvSpPr>
                <a:spLocks/>
              </p:cNvSpPr>
              <p:nvPr/>
            </p:nvSpPr>
            <p:spPr bwMode="auto">
              <a:xfrm>
                <a:off x="3661158" y="4888733"/>
                <a:ext cx="135303" cy="122644"/>
              </a:xfrm>
              <a:custGeom>
                <a:avLst/>
                <a:gdLst>
                  <a:gd name="T0" fmla="*/ 0 w 823"/>
                  <a:gd name="T1" fmla="*/ 0 h 746"/>
                  <a:gd name="T2" fmla="*/ 427 w 823"/>
                  <a:gd name="T3" fmla="*/ 211 h 746"/>
                  <a:gd name="T4" fmla="*/ 823 w 823"/>
                  <a:gd name="T5" fmla="*/ 0 h 746"/>
                  <a:gd name="T6" fmla="*/ 410 w 823"/>
                  <a:gd name="T7" fmla="*/ 746 h 746"/>
                  <a:gd name="T8" fmla="*/ 0 w 823"/>
                  <a:gd name="T9" fmla="*/ 0 h 7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3" h="746">
                    <a:moveTo>
                      <a:pt x="0" y="0"/>
                    </a:moveTo>
                    <a:lnTo>
                      <a:pt x="427" y="211"/>
                    </a:lnTo>
                    <a:lnTo>
                      <a:pt x="823" y="0"/>
                    </a:lnTo>
                    <a:lnTo>
                      <a:pt x="410" y="74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3B3939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181" name="Oval 7"/>
              <p:cNvSpPr>
                <a:spLocks noChangeArrowheads="1"/>
              </p:cNvSpPr>
              <p:nvPr/>
            </p:nvSpPr>
            <p:spPr bwMode="auto">
              <a:xfrm>
                <a:off x="3628442" y="4608099"/>
                <a:ext cx="211256" cy="210928"/>
              </a:xfrm>
              <a:prstGeom prst="ellipse">
                <a:avLst/>
              </a:prstGeom>
              <a:solidFill>
                <a:schemeClr val="bg1"/>
              </a:solidFill>
              <a:ln w="15875" cap="flat">
                <a:noFill/>
                <a:prstDash val="solid"/>
                <a:miter lim="800000"/>
                <a:headEnd/>
                <a:tailEnd/>
              </a:ln>
              <a:effectLst>
                <a:outerShdw blurRad="25400" dist="254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213" name="Oval 6"/>
              <p:cNvSpPr>
                <a:spLocks noChangeArrowheads="1"/>
              </p:cNvSpPr>
              <p:nvPr/>
            </p:nvSpPr>
            <p:spPr bwMode="auto">
              <a:xfrm>
                <a:off x="3706862" y="4686355"/>
                <a:ext cx="54581" cy="54417"/>
              </a:xfrm>
              <a:prstGeom prst="ellipse">
                <a:avLst/>
              </a:prstGeom>
              <a:solidFill>
                <a:srgbClr val="3B3939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215" name="Group 214"/>
          <p:cNvGrpSpPr>
            <a:grpSpLocks noChangeAspect="1"/>
          </p:cNvGrpSpPr>
          <p:nvPr/>
        </p:nvGrpSpPr>
        <p:grpSpPr>
          <a:xfrm>
            <a:off x="2249135" y="4188433"/>
            <a:ext cx="259010" cy="252000"/>
            <a:chOff x="-320676" y="1414463"/>
            <a:chExt cx="1173164" cy="1141413"/>
          </a:xfrm>
          <a:solidFill>
            <a:schemeClr val="bg1"/>
          </a:solidFill>
          <a:effectLst>
            <a:outerShdw blurRad="25400" dist="254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216" name="Freeform 5"/>
            <p:cNvSpPr>
              <a:spLocks/>
            </p:cNvSpPr>
            <p:nvPr/>
          </p:nvSpPr>
          <p:spPr bwMode="auto">
            <a:xfrm>
              <a:off x="-222250" y="1804988"/>
              <a:ext cx="685801" cy="682625"/>
            </a:xfrm>
            <a:custGeom>
              <a:avLst/>
              <a:gdLst>
                <a:gd name="T0" fmla="*/ 8 w 181"/>
                <a:gd name="T1" fmla="*/ 180 h 180"/>
                <a:gd name="T2" fmla="*/ 3 w 181"/>
                <a:gd name="T3" fmla="*/ 178 h 180"/>
                <a:gd name="T4" fmla="*/ 3 w 181"/>
                <a:gd name="T5" fmla="*/ 168 h 180"/>
                <a:gd name="T6" fmla="*/ 169 w 181"/>
                <a:gd name="T7" fmla="*/ 3 h 180"/>
                <a:gd name="T8" fmla="*/ 178 w 181"/>
                <a:gd name="T9" fmla="*/ 3 h 180"/>
                <a:gd name="T10" fmla="*/ 178 w 181"/>
                <a:gd name="T11" fmla="*/ 12 h 180"/>
                <a:gd name="T12" fmla="*/ 13 w 181"/>
                <a:gd name="T13" fmla="*/ 178 h 180"/>
                <a:gd name="T14" fmla="*/ 8 w 181"/>
                <a:gd name="T15" fmla="*/ 18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1" h="180">
                  <a:moveTo>
                    <a:pt x="8" y="180"/>
                  </a:moveTo>
                  <a:cubicBezTo>
                    <a:pt x="6" y="180"/>
                    <a:pt x="4" y="179"/>
                    <a:pt x="3" y="178"/>
                  </a:cubicBezTo>
                  <a:cubicBezTo>
                    <a:pt x="0" y="175"/>
                    <a:pt x="0" y="171"/>
                    <a:pt x="3" y="168"/>
                  </a:cubicBezTo>
                  <a:cubicBezTo>
                    <a:pt x="169" y="3"/>
                    <a:pt x="169" y="3"/>
                    <a:pt x="169" y="3"/>
                  </a:cubicBezTo>
                  <a:cubicBezTo>
                    <a:pt x="171" y="0"/>
                    <a:pt x="176" y="0"/>
                    <a:pt x="178" y="3"/>
                  </a:cubicBezTo>
                  <a:cubicBezTo>
                    <a:pt x="181" y="5"/>
                    <a:pt x="181" y="10"/>
                    <a:pt x="178" y="12"/>
                  </a:cubicBezTo>
                  <a:cubicBezTo>
                    <a:pt x="13" y="178"/>
                    <a:pt x="13" y="178"/>
                    <a:pt x="13" y="178"/>
                  </a:cubicBezTo>
                  <a:cubicBezTo>
                    <a:pt x="12" y="179"/>
                    <a:pt x="10" y="180"/>
                    <a:pt x="8" y="1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17" name="Freeform 6"/>
            <p:cNvSpPr>
              <a:spLocks noEditPoints="1"/>
            </p:cNvSpPr>
            <p:nvPr/>
          </p:nvSpPr>
          <p:spPr bwMode="auto">
            <a:xfrm>
              <a:off x="-320676" y="1414463"/>
              <a:ext cx="1173164" cy="1141413"/>
            </a:xfrm>
            <a:custGeom>
              <a:avLst/>
              <a:gdLst>
                <a:gd name="T0" fmla="*/ 131 w 310"/>
                <a:gd name="T1" fmla="*/ 301 h 301"/>
                <a:gd name="T2" fmla="*/ 42 w 310"/>
                <a:gd name="T3" fmla="*/ 270 h 301"/>
                <a:gd name="T4" fmla="*/ 40 w 310"/>
                <a:gd name="T5" fmla="*/ 268 h 301"/>
                <a:gd name="T6" fmla="*/ 19 w 310"/>
                <a:gd name="T7" fmla="*/ 134 h 301"/>
                <a:gd name="T8" fmla="*/ 302 w 310"/>
                <a:gd name="T9" fmla="*/ 0 h 301"/>
                <a:gd name="T10" fmla="*/ 308 w 310"/>
                <a:gd name="T11" fmla="*/ 2 h 301"/>
                <a:gd name="T12" fmla="*/ 310 w 310"/>
                <a:gd name="T13" fmla="*/ 8 h 301"/>
                <a:gd name="T14" fmla="*/ 131 w 310"/>
                <a:gd name="T15" fmla="*/ 301 h 301"/>
                <a:gd name="T16" fmla="*/ 51 w 310"/>
                <a:gd name="T17" fmla="*/ 259 h 301"/>
                <a:gd name="T18" fmla="*/ 131 w 310"/>
                <a:gd name="T19" fmla="*/ 288 h 301"/>
                <a:gd name="T20" fmla="*/ 295 w 310"/>
                <a:gd name="T21" fmla="*/ 15 h 301"/>
                <a:gd name="T22" fmla="*/ 31 w 310"/>
                <a:gd name="T23" fmla="*/ 140 h 301"/>
                <a:gd name="T24" fmla="*/ 51 w 310"/>
                <a:gd name="T25" fmla="*/ 259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10" h="301">
                  <a:moveTo>
                    <a:pt x="131" y="301"/>
                  </a:moveTo>
                  <a:cubicBezTo>
                    <a:pt x="103" y="301"/>
                    <a:pt x="73" y="291"/>
                    <a:pt x="42" y="270"/>
                  </a:cubicBezTo>
                  <a:cubicBezTo>
                    <a:pt x="41" y="270"/>
                    <a:pt x="40" y="269"/>
                    <a:pt x="40" y="268"/>
                  </a:cubicBezTo>
                  <a:cubicBezTo>
                    <a:pt x="7" y="219"/>
                    <a:pt x="0" y="174"/>
                    <a:pt x="19" y="134"/>
                  </a:cubicBezTo>
                  <a:cubicBezTo>
                    <a:pt x="69" y="27"/>
                    <a:pt x="293" y="1"/>
                    <a:pt x="302" y="0"/>
                  </a:cubicBezTo>
                  <a:cubicBezTo>
                    <a:pt x="304" y="0"/>
                    <a:pt x="306" y="1"/>
                    <a:pt x="308" y="2"/>
                  </a:cubicBezTo>
                  <a:cubicBezTo>
                    <a:pt x="309" y="3"/>
                    <a:pt x="310" y="6"/>
                    <a:pt x="310" y="8"/>
                  </a:cubicBezTo>
                  <a:cubicBezTo>
                    <a:pt x="309" y="20"/>
                    <a:pt x="276" y="301"/>
                    <a:pt x="131" y="301"/>
                  </a:cubicBezTo>
                  <a:close/>
                  <a:moveTo>
                    <a:pt x="51" y="259"/>
                  </a:moveTo>
                  <a:cubicBezTo>
                    <a:pt x="79" y="278"/>
                    <a:pt x="106" y="288"/>
                    <a:pt x="131" y="288"/>
                  </a:cubicBezTo>
                  <a:cubicBezTo>
                    <a:pt x="250" y="288"/>
                    <a:pt x="288" y="62"/>
                    <a:pt x="295" y="15"/>
                  </a:cubicBezTo>
                  <a:cubicBezTo>
                    <a:pt x="253" y="21"/>
                    <a:pt x="73" y="51"/>
                    <a:pt x="31" y="140"/>
                  </a:cubicBezTo>
                  <a:cubicBezTo>
                    <a:pt x="15" y="175"/>
                    <a:pt x="22" y="215"/>
                    <a:pt x="51" y="2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18" name="Freeform 7"/>
            <p:cNvSpPr>
              <a:spLocks/>
            </p:cNvSpPr>
            <p:nvPr/>
          </p:nvSpPr>
          <p:spPr bwMode="auto">
            <a:xfrm>
              <a:off x="-11113" y="1963738"/>
              <a:ext cx="314325" cy="314325"/>
            </a:xfrm>
            <a:custGeom>
              <a:avLst/>
              <a:gdLst>
                <a:gd name="T0" fmla="*/ 76 w 83"/>
                <a:gd name="T1" fmla="*/ 83 h 83"/>
                <a:gd name="T2" fmla="*/ 7 w 83"/>
                <a:gd name="T3" fmla="*/ 83 h 83"/>
                <a:gd name="T4" fmla="*/ 0 w 83"/>
                <a:gd name="T5" fmla="*/ 76 h 83"/>
                <a:gd name="T6" fmla="*/ 0 w 83"/>
                <a:gd name="T7" fmla="*/ 7 h 83"/>
                <a:gd name="T8" fmla="*/ 7 w 83"/>
                <a:gd name="T9" fmla="*/ 0 h 83"/>
                <a:gd name="T10" fmla="*/ 14 w 83"/>
                <a:gd name="T11" fmla="*/ 7 h 83"/>
                <a:gd name="T12" fmla="*/ 14 w 83"/>
                <a:gd name="T13" fmla="*/ 69 h 83"/>
                <a:gd name="T14" fmla="*/ 76 w 83"/>
                <a:gd name="T15" fmla="*/ 69 h 83"/>
                <a:gd name="T16" fmla="*/ 83 w 83"/>
                <a:gd name="T17" fmla="*/ 76 h 83"/>
                <a:gd name="T18" fmla="*/ 76 w 83"/>
                <a:gd name="T19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3" h="83">
                  <a:moveTo>
                    <a:pt x="76" y="83"/>
                  </a:moveTo>
                  <a:cubicBezTo>
                    <a:pt x="7" y="83"/>
                    <a:pt x="7" y="83"/>
                    <a:pt x="7" y="83"/>
                  </a:cubicBezTo>
                  <a:cubicBezTo>
                    <a:pt x="3" y="83"/>
                    <a:pt x="0" y="80"/>
                    <a:pt x="0" y="7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cubicBezTo>
                    <a:pt x="11" y="0"/>
                    <a:pt x="14" y="3"/>
                    <a:pt x="14" y="7"/>
                  </a:cubicBezTo>
                  <a:cubicBezTo>
                    <a:pt x="14" y="69"/>
                    <a:pt x="14" y="69"/>
                    <a:pt x="14" y="69"/>
                  </a:cubicBezTo>
                  <a:cubicBezTo>
                    <a:pt x="76" y="69"/>
                    <a:pt x="76" y="69"/>
                    <a:pt x="76" y="69"/>
                  </a:cubicBezTo>
                  <a:cubicBezTo>
                    <a:pt x="80" y="69"/>
                    <a:pt x="83" y="72"/>
                    <a:pt x="83" y="76"/>
                  </a:cubicBezTo>
                  <a:cubicBezTo>
                    <a:pt x="83" y="80"/>
                    <a:pt x="80" y="83"/>
                    <a:pt x="76" y="8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19" name="Freeform 8"/>
            <p:cNvSpPr>
              <a:spLocks/>
            </p:cNvSpPr>
            <p:nvPr/>
          </p:nvSpPr>
          <p:spPr bwMode="auto">
            <a:xfrm>
              <a:off x="198437" y="1831976"/>
              <a:ext cx="238125" cy="238125"/>
            </a:xfrm>
            <a:custGeom>
              <a:avLst/>
              <a:gdLst>
                <a:gd name="T0" fmla="*/ 56 w 63"/>
                <a:gd name="T1" fmla="*/ 63 h 63"/>
                <a:gd name="T2" fmla="*/ 7 w 63"/>
                <a:gd name="T3" fmla="*/ 63 h 63"/>
                <a:gd name="T4" fmla="*/ 0 w 63"/>
                <a:gd name="T5" fmla="*/ 56 h 63"/>
                <a:gd name="T6" fmla="*/ 0 w 63"/>
                <a:gd name="T7" fmla="*/ 7 h 63"/>
                <a:gd name="T8" fmla="*/ 7 w 63"/>
                <a:gd name="T9" fmla="*/ 0 h 63"/>
                <a:gd name="T10" fmla="*/ 14 w 63"/>
                <a:gd name="T11" fmla="*/ 7 h 63"/>
                <a:gd name="T12" fmla="*/ 14 w 63"/>
                <a:gd name="T13" fmla="*/ 49 h 63"/>
                <a:gd name="T14" fmla="*/ 56 w 63"/>
                <a:gd name="T15" fmla="*/ 49 h 63"/>
                <a:gd name="T16" fmla="*/ 63 w 63"/>
                <a:gd name="T17" fmla="*/ 56 h 63"/>
                <a:gd name="T18" fmla="*/ 56 w 63"/>
                <a:gd name="T1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3" h="63">
                  <a:moveTo>
                    <a:pt x="56" y="63"/>
                  </a:moveTo>
                  <a:cubicBezTo>
                    <a:pt x="7" y="63"/>
                    <a:pt x="7" y="63"/>
                    <a:pt x="7" y="63"/>
                  </a:cubicBezTo>
                  <a:cubicBezTo>
                    <a:pt x="4" y="63"/>
                    <a:pt x="0" y="59"/>
                    <a:pt x="0" y="5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4" y="0"/>
                    <a:pt x="7" y="0"/>
                  </a:cubicBezTo>
                  <a:cubicBezTo>
                    <a:pt x="11" y="0"/>
                    <a:pt x="14" y="3"/>
                    <a:pt x="14" y="7"/>
                  </a:cubicBezTo>
                  <a:cubicBezTo>
                    <a:pt x="14" y="49"/>
                    <a:pt x="14" y="49"/>
                    <a:pt x="14" y="49"/>
                  </a:cubicBezTo>
                  <a:cubicBezTo>
                    <a:pt x="56" y="49"/>
                    <a:pt x="56" y="49"/>
                    <a:pt x="56" y="49"/>
                  </a:cubicBezTo>
                  <a:cubicBezTo>
                    <a:pt x="60" y="49"/>
                    <a:pt x="63" y="52"/>
                    <a:pt x="63" y="56"/>
                  </a:cubicBezTo>
                  <a:cubicBezTo>
                    <a:pt x="63" y="59"/>
                    <a:pt x="60" y="63"/>
                    <a:pt x="56" y="6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20" name="Freeform 9"/>
            <p:cNvSpPr>
              <a:spLocks/>
            </p:cNvSpPr>
            <p:nvPr/>
          </p:nvSpPr>
          <p:spPr bwMode="auto">
            <a:xfrm>
              <a:off x="409575" y="1728788"/>
              <a:ext cx="128588" cy="128588"/>
            </a:xfrm>
            <a:custGeom>
              <a:avLst/>
              <a:gdLst>
                <a:gd name="T0" fmla="*/ 27 w 34"/>
                <a:gd name="T1" fmla="*/ 34 h 34"/>
                <a:gd name="T2" fmla="*/ 7 w 34"/>
                <a:gd name="T3" fmla="*/ 34 h 34"/>
                <a:gd name="T4" fmla="*/ 0 w 34"/>
                <a:gd name="T5" fmla="*/ 27 h 34"/>
                <a:gd name="T6" fmla="*/ 0 w 34"/>
                <a:gd name="T7" fmla="*/ 7 h 34"/>
                <a:gd name="T8" fmla="*/ 7 w 34"/>
                <a:gd name="T9" fmla="*/ 0 h 34"/>
                <a:gd name="T10" fmla="*/ 13 w 34"/>
                <a:gd name="T11" fmla="*/ 7 h 34"/>
                <a:gd name="T12" fmla="*/ 13 w 34"/>
                <a:gd name="T13" fmla="*/ 20 h 34"/>
                <a:gd name="T14" fmla="*/ 27 w 34"/>
                <a:gd name="T15" fmla="*/ 20 h 34"/>
                <a:gd name="T16" fmla="*/ 34 w 34"/>
                <a:gd name="T17" fmla="*/ 27 h 34"/>
                <a:gd name="T18" fmla="*/ 27 w 34"/>
                <a:gd name="T1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34">
                  <a:moveTo>
                    <a:pt x="27" y="34"/>
                  </a:moveTo>
                  <a:cubicBezTo>
                    <a:pt x="7" y="34"/>
                    <a:pt x="7" y="34"/>
                    <a:pt x="7" y="34"/>
                  </a:cubicBezTo>
                  <a:cubicBezTo>
                    <a:pt x="3" y="34"/>
                    <a:pt x="0" y="31"/>
                    <a:pt x="0" y="2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cubicBezTo>
                    <a:pt x="10" y="0"/>
                    <a:pt x="13" y="3"/>
                    <a:pt x="13" y="7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27" y="20"/>
                    <a:pt x="27" y="20"/>
                    <a:pt x="27" y="20"/>
                  </a:cubicBezTo>
                  <a:cubicBezTo>
                    <a:pt x="31" y="20"/>
                    <a:pt x="34" y="24"/>
                    <a:pt x="34" y="27"/>
                  </a:cubicBezTo>
                  <a:cubicBezTo>
                    <a:pt x="34" y="31"/>
                    <a:pt x="31" y="34"/>
                    <a:pt x="27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grpSp>
        <p:nvGrpSpPr>
          <p:cNvPr id="221" name="Group 220"/>
          <p:cNvGrpSpPr/>
          <p:nvPr/>
        </p:nvGrpSpPr>
        <p:grpSpPr>
          <a:xfrm>
            <a:off x="2234574" y="4126315"/>
            <a:ext cx="288132" cy="376237"/>
            <a:chOff x="1177620" y="4126315"/>
            <a:chExt cx="288132" cy="376237"/>
          </a:xfrm>
        </p:grpSpPr>
        <p:cxnSp>
          <p:nvCxnSpPr>
            <p:cNvPr id="222" name="Straight Connector 221"/>
            <p:cNvCxnSpPr/>
            <p:nvPr/>
          </p:nvCxnSpPr>
          <p:spPr>
            <a:xfrm>
              <a:off x="1177620" y="4126315"/>
              <a:ext cx="288132" cy="0"/>
            </a:xfrm>
            <a:prstGeom prst="line">
              <a:avLst/>
            </a:prstGeom>
            <a:ln w="31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3" name="Straight Connector 222"/>
            <p:cNvCxnSpPr/>
            <p:nvPr/>
          </p:nvCxnSpPr>
          <p:spPr>
            <a:xfrm>
              <a:off x="1177620" y="4502552"/>
              <a:ext cx="288132" cy="0"/>
            </a:xfrm>
            <a:prstGeom prst="line">
              <a:avLst/>
            </a:prstGeom>
            <a:ln w="31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5" name="Group 224"/>
          <p:cNvGrpSpPr>
            <a:grpSpLocks noChangeAspect="1"/>
          </p:cNvGrpSpPr>
          <p:nvPr/>
        </p:nvGrpSpPr>
        <p:grpSpPr>
          <a:xfrm>
            <a:off x="4673185" y="4188433"/>
            <a:ext cx="150364" cy="252000"/>
            <a:chOff x="1508125" y="1925638"/>
            <a:chExt cx="171450" cy="287338"/>
          </a:xfrm>
          <a:solidFill>
            <a:schemeClr val="bg1"/>
          </a:solidFill>
          <a:effectLst>
            <a:outerShdw blurRad="25400" dist="254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230" name="Freeform 85"/>
            <p:cNvSpPr>
              <a:spLocks noEditPoints="1"/>
            </p:cNvSpPr>
            <p:nvPr/>
          </p:nvSpPr>
          <p:spPr bwMode="auto">
            <a:xfrm>
              <a:off x="1508125" y="1965325"/>
              <a:ext cx="66675" cy="247650"/>
            </a:xfrm>
            <a:custGeom>
              <a:avLst/>
              <a:gdLst>
                <a:gd name="T0" fmla="*/ 104 w 211"/>
                <a:gd name="T1" fmla="*/ 752 h 783"/>
                <a:gd name="T2" fmla="*/ 90 w 211"/>
                <a:gd name="T3" fmla="*/ 749 h 783"/>
                <a:gd name="T4" fmla="*/ 69 w 211"/>
                <a:gd name="T5" fmla="*/ 742 h 783"/>
                <a:gd name="T6" fmla="*/ 52 w 211"/>
                <a:gd name="T7" fmla="*/ 730 h 783"/>
                <a:gd name="T8" fmla="*/ 42 w 211"/>
                <a:gd name="T9" fmla="*/ 720 h 783"/>
                <a:gd name="T10" fmla="*/ 35 w 211"/>
                <a:gd name="T11" fmla="*/ 709 h 783"/>
                <a:gd name="T12" fmla="*/ 32 w 211"/>
                <a:gd name="T13" fmla="*/ 698 h 783"/>
                <a:gd name="T14" fmla="*/ 30 w 211"/>
                <a:gd name="T15" fmla="*/ 662 h 783"/>
                <a:gd name="T16" fmla="*/ 181 w 211"/>
                <a:gd name="T17" fmla="*/ 692 h 783"/>
                <a:gd name="T18" fmla="*/ 180 w 211"/>
                <a:gd name="T19" fmla="*/ 704 h 783"/>
                <a:gd name="T20" fmla="*/ 175 w 211"/>
                <a:gd name="T21" fmla="*/ 716 h 783"/>
                <a:gd name="T22" fmla="*/ 167 w 211"/>
                <a:gd name="T23" fmla="*/ 726 h 783"/>
                <a:gd name="T24" fmla="*/ 158 w 211"/>
                <a:gd name="T25" fmla="*/ 735 h 783"/>
                <a:gd name="T26" fmla="*/ 135 w 211"/>
                <a:gd name="T27" fmla="*/ 748 h 783"/>
                <a:gd name="T28" fmla="*/ 123 w 211"/>
                <a:gd name="T29" fmla="*/ 751 h 783"/>
                <a:gd name="T30" fmla="*/ 110 w 211"/>
                <a:gd name="T31" fmla="*/ 752 h 783"/>
                <a:gd name="T32" fmla="*/ 172 w 211"/>
                <a:gd name="T33" fmla="*/ 179 h 783"/>
                <a:gd name="T34" fmla="*/ 106 w 211"/>
                <a:gd name="T35" fmla="*/ 47 h 783"/>
                <a:gd name="T36" fmla="*/ 181 w 211"/>
                <a:gd name="T37" fmla="*/ 602 h 783"/>
                <a:gd name="T38" fmla="*/ 30 w 211"/>
                <a:gd name="T39" fmla="*/ 632 h 783"/>
                <a:gd name="T40" fmla="*/ 181 w 211"/>
                <a:gd name="T41" fmla="*/ 209 h 783"/>
                <a:gd name="T42" fmla="*/ 121 w 211"/>
                <a:gd name="T43" fmla="*/ 572 h 783"/>
                <a:gd name="T44" fmla="*/ 181 w 211"/>
                <a:gd name="T45" fmla="*/ 209 h 783"/>
                <a:gd name="T46" fmla="*/ 91 w 211"/>
                <a:gd name="T47" fmla="*/ 572 h 783"/>
                <a:gd name="T48" fmla="*/ 30 w 211"/>
                <a:gd name="T49" fmla="*/ 209 h 783"/>
                <a:gd name="T50" fmla="*/ 210 w 211"/>
                <a:gd name="T51" fmla="*/ 188 h 783"/>
                <a:gd name="T52" fmla="*/ 118 w 211"/>
                <a:gd name="T53" fmla="*/ 4 h 783"/>
                <a:gd name="T54" fmla="*/ 110 w 211"/>
                <a:gd name="T55" fmla="*/ 0 h 783"/>
                <a:gd name="T56" fmla="*/ 103 w 211"/>
                <a:gd name="T57" fmla="*/ 0 h 783"/>
                <a:gd name="T58" fmla="*/ 95 w 211"/>
                <a:gd name="T59" fmla="*/ 4 h 783"/>
                <a:gd name="T60" fmla="*/ 3 w 211"/>
                <a:gd name="T61" fmla="*/ 188 h 783"/>
                <a:gd name="T62" fmla="*/ 3 w 211"/>
                <a:gd name="T63" fmla="*/ 188 h 783"/>
                <a:gd name="T64" fmla="*/ 0 w 211"/>
                <a:gd name="T65" fmla="*/ 194 h 783"/>
                <a:gd name="T66" fmla="*/ 1 w 211"/>
                <a:gd name="T67" fmla="*/ 702 h 783"/>
                <a:gd name="T68" fmla="*/ 7 w 211"/>
                <a:gd name="T69" fmla="*/ 719 h 783"/>
                <a:gd name="T70" fmla="*/ 15 w 211"/>
                <a:gd name="T71" fmla="*/ 735 h 783"/>
                <a:gd name="T72" fmla="*/ 28 w 211"/>
                <a:gd name="T73" fmla="*/ 750 h 783"/>
                <a:gd name="T74" fmla="*/ 44 w 211"/>
                <a:gd name="T75" fmla="*/ 762 h 783"/>
                <a:gd name="T76" fmla="*/ 62 w 211"/>
                <a:gd name="T77" fmla="*/ 772 h 783"/>
                <a:gd name="T78" fmla="*/ 81 w 211"/>
                <a:gd name="T79" fmla="*/ 778 h 783"/>
                <a:gd name="T80" fmla="*/ 100 w 211"/>
                <a:gd name="T81" fmla="*/ 783 h 783"/>
                <a:gd name="T82" fmla="*/ 119 w 211"/>
                <a:gd name="T83" fmla="*/ 783 h 783"/>
                <a:gd name="T84" fmla="*/ 137 w 211"/>
                <a:gd name="T85" fmla="*/ 778 h 783"/>
                <a:gd name="T86" fmla="*/ 155 w 211"/>
                <a:gd name="T87" fmla="*/ 772 h 783"/>
                <a:gd name="T88" fmla="*/ 171 w 211"/>
                <a:gd name="T89" fmla="*/ 762 h 783"/>
                <a:gd name="T90" fmla="*/ 185 w 211"/>
                <a:gd name="T91" fmla="*/ 750 h 783"/>
                <a:gd name="T92" fmla="*/ 197 w 211"/>
                <a:gd name="T93" fmla="*/ 736 h 783"/>
                <a:gd name="T94" fmla="*/ 207 w 211"/>
                <a:gd name="T95" fmla="*/ 720 h 783"/>
                <a:gd name="T96" fmla="*/ 211 w 211"/>
                <a:gd name="T97" fmla="*/ 702 h 783"/>
                <a:gd name="T98" fmla="*/ 211 w 211"/>
                <a:gd name="T99" fmla="*/ 194 h 783"/>
                <a:gd name="T100" fmla="*/ 210 w 211"/>
                <a:gd name="T101" fmla="*/ 188 h 783"/>
                <a:gd name="T102" fmla="*/ 210 w 211"/>
                <a:gd name="T103" fmla="*/ 188 h 7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11" h="783">
                  <a:moveTo>
                    <a:pt x="110" y="752"/>
                  </a:moveTo>
                  <a:lnTo>
                    <a:pt x="104" y="752"/>
                  </a:lnTo>
                  <a:lnTo>
                    <a:pt x="96" y="751"/>
                  </a:lnTo>
                  <a:lnTo>
                    <a:pt x="90" y="749"/>
                  </a:lnTo>
                  <a:lnTo>
                    <a:pt x="83" y="747"/>
                  </a:lnTo>
                  <a:lnTo>
                    <a:pt x="69" y="742"/>
                  </a:lnTo>
                  <a:lnTo>
                    <a:pt x="57" y="734"/>
                  </a:lnTo>
                  <a:lnTo>
                    <a:pt x="52" y="730"/>
                  </a:lnTo>
                  <a:lnTo>
                    <a:pt x="47" y="726"/>
                  </a:lnTo>
                  <a:lnTo>
                    <a:pt x="42" y="720"/>
                  </a:lnTo>
                  <a:lnTo>
                    <a:pt x="38" y="715"/>
                  </a:lnTo>
                  <a:lnTo>
                    <a:pt x="35" y="709"/>
                  </a:lnTo>
                  <a:lnTo>
                    <a:pt x="33" y="704"/>
                  </a:lnTo>
                  <a:lnTo>
                    <a:pt x="32" y="698"/>
                  </a:lnTo>
                  <a:lnTo>
                    <a:pt x="30" y="692"/>
                  </a:lnTo>
                  <a:lnTo>
                    <a:pt x="30" y="662"/>
                  </a:lnTo>
                  <a:lnTo>
                    <a:pt x="181" y="662"/>
                  </a:lnTo>
                  <a:lnTo>
                    <a:pt x="181" y="692"/>
                  </a:lnTo>
                  <a:lnTo>
                    <a:pt x="181" y="699"/>
                  </a:lnTo>
                  <a:lnTo>
                    <a:pt x="180" y="704"/>
                  </a:lnTo>
                  <a:lnTo>
                    <a:pt x="178" y="711"/>
                  </a:lnTo>
                  <a:lnTo>
                    <a:pt x="175" y="716"/>
                  </a:lnTo>
                  <a:lnTo>
                    <a:pt x="171" y="721"/>
                  </a:lnTo>
                  <a:lnTo>
                    <a:pt x="167" y="726"/>
                  </a:lnTo>
                  <a:lnTo>
                    <a:pt x="163" y="731"/>
                  </a:lnTo>
                  <a:lnTo>
                    <a:pt x="158" y="735"/>
                  </a:lnTo>
                  <a:lnTo>
                    <a:pt x="147" y="743"/>
                  </a:lnTo>
                  <a:lnTo>
                    <a:pt x="135" y="748"/>
                  </a:lnTo>
                  <a:lnTo>
                    <a:pt x="128" y="750"/>
                  </a:lnTo>
                  <a:lnTo>
                    <a:pt x="123" y="751"/>
                  </a:lnTo>
                  <a:lnTo>
                    <a:pt x="117" y="752"/>
                  </a:lnTo>
                  <a:lnTo>
                    <a:pt x="110" y="752"/>
                  </a:lnTo>
                  <a:close/>
                  <a:moveTo>
                    <a:pt x="106" y="47"/>
                  </a:moveTo>
                  <a:lnTo>
                    <a:pt x="172" y="179"/>
                  </a:lnTo>
                  <a:lnTo>
                    <a:pt x="40" y="179"/>
                  </a:lnTo>
                  <a:lnTo>
                    <a:pt x="106" y="47"/>
                  </a:lnTo>
                  <a:close/>
                  <a:moveTo>
                    <a:pt x="30" y="602"/>
                  </a:moveTo>
                  <a:lnTo>
                    <a:pt x="181" y="602"/>
                  </a:lnTo>
                  <a:lnTo>
                    <a:pt x="181" y="632"/>
                  </a:lnTo>
                  <a:lnTo>
                    <a:pt x="30" y="632"/>
                  </a:lnTo>
                  <a:lnTo>
                    <a:pt x="30" y="602"/>
                  </a:lnTo>
                  <a:close/>
                  <a:moveTo>
                    <a:pt x="181" y="209"/>
                  </a:moveTo>
                  <a:lnTo>
                    <a:pt x="181" y="572"/>
                  </a:lnTo>
                  <a:lnTo>
                    <a:pt x="121" y="572"/>
                  </a:lnTo>
                  <a:lnTo>
                    <a:pt x="121" y="209"/>
                  </a:lnTo>
                  <a:lnTo>
                    <a:pt x="181" y="209"/>
                  </a:lnTo>
                  <a:close/>
                  <a:moveTo>
                    <a:pt x="91" y="209"/>
                  </a:moveTo>
                  <a:lnTo>
                    <a:pt x="91" y="572"/>
                  </a:lnTo>
                  <a:lnTo>
                    <a:pt x="30" y="572"/>
                  </a:lnTo>
                  <a:lnTo>
                    <a:pt x="30" y="209"/>
                  </a:lnTo>
                  <a:lnTo>
                    <a:pt x="91" y="209"/>
                  </a:lnTo>
                  <a:close/>
                  <a:moveTo>
                    <a:pt x="210" y="188"/>
                  </a:moveTo>
                  <a:lnTo>
                    <a:pt x="120" y="7"/>
                  </a:lnTo>
                  <a:lnTo>
                    <a:pt x="118" y="4"/>
                  </a:lnTo>
                  <a:lnTo>
                    <a:pt x="114" y="1"/>
                  </a:lnTo>
                  <a:lnTo>
                    <a:pt x="110" y="0"/>
                  </a:lnTo>
                  <a:lnTo>
                    <a:pt x="106" y="0"/>
                  </a:lnTo>
                  <a:lnTo>
                    <a:pt x="103" y="0"/>
                  </a:lnTo>
                  <a:lnTo>
                    <a:pt x="98" y="1"/>
                  </a:lnTo>
                  <a:lnTo>
                    <a:pt x="95" y="4"/>
                  </a:lnTo>
                  <a:lnTo>
                    <a:pt x="93" y="7"/>
                  </a:lnTo>
                  <a:lnTo>
                    <a:pt x="3" y="188"/>
                  </a:lnTo>
                  <a:lnTo>
                    <a:pt x="3" y="188"/>
                  </a:lnTo>
                  <a:lnTo>
                    <a:pt x="3" y="188"/>
                  </a:lnTo>
                  <a:lnTo>
                    <a:pt x="1" y="191"/>
                  </a:lnTo>
                  <a:lnTo>
                    <a:pt x="0" y="194"/>
                  </a:lnTo>
                  <a:lnTo>
                    <a:pt x="0" y="692"/>
                  </a:lnTo>
                  <a:lnTo>
                    <a:pt x="1" y="702"/>
                  </a:lnTo>
                  <a:lnTo>
                    <a:pt x="4" y="711"/>
                  </a:lnTo>
                  <a:lnTo>
                    <a:pt x="7" y="719"/>
                  </a:lnTo>
                  <a:lnTo>
                    <a:pt x="10" y="728"/>
                  </a:lnTo>
                  <a:lnTo>
                    <a:pt x="15" y="735"/>
                  </a:lnTo>
                  <a:lnTo>
                    <a:pt x="22" y="743"/>
                  </a:lnTo>
                  <a:lnTo>
                    <a:pt x="28" y="750"/>
                  </a:lnTo>
                  <a:lnTo>
                    <a:pt x="36" y="757"/>
                  </a:lnTo>
                  <a:lnTo>
                    <a:pt x="44" y="762"/>
                  </a:lnTo>
                  <a:lnTo>
                    <a:pt x="53" y="768"/>
                  </a:lnTo>
                  <a:lnTo>
                    <a:pt x="62" y="772"/>
                  </a:lnTo>
                  <a:lnTo>
                    <a:pt x="71" y="776"/>
                  </a:lnTo>
                  <a:lnTo>
                    <a:pt x="81" y="778"/>
                  </a:lnTo>
                  <a:lnTo>
                    <a:pt x="91" y="780"/>
                  </a:lnTo>
                  <a:lnTo>
                    <a:pt x="100" y="783"/>
                  </a:lnTo>
                  <a:lnTo>
                    <a:pt x="110" y="783"/>
                  </a:lnTo>
                  <a:lnTo>
                    <a:pt x="119" y="783"/>
                  </a:lnTo>
                  <a:lnTo>
                    <a:pt x="128" y="780"/>
                  </a:lnTo>
                  <a:lnTo>
                    <a:pt x="137" y="778"/>
                  </a:lnTo>
                  <a:lnTo>
                    <a:pt x="147" y="776"/>
                  </a:lnTo>
                  <a:lnTo>
                    <a:pt x="155" y="772"/>
                  </a:lnTo>
                  <a:lnTo>
                    <a:pt x="163" y="768"/>
                  </a:lnTo>
                  <a:lnTo>
                    <a:pt x="171" y="762"/>
                  </a:lnTo>
                  <a:lnTo>
                    <a:pt x="179" y="757"/>
                  </a:lnTo>
                  <a:lnTo>
                    <a:pt x="185" y="750"/>
                  </a:lnTo>
                  <a:lnTo>
                    <a:pt x="192" y="744"/>
                  </a:lnTo>
                  <a:lnTo>
                    <a:pt x="197" y="736"/>
                  </a:lnTo>
                  <a:lnTo>
                    <a:pt x="203" y="728"/>
                  </a:lnTo>
                  <a:lnTo>
                    <a:pt x="207" y="720"/>
                  </a:lnTo>
                  <a:lnTo>
                    <a:pt x="209" y="711"/>
                  </a:lnTo>
                  <a:lnTo>
                    <a:pt x="211" y="702"/>
                  </a:lnTo>
                  <a:lnTo>
                    <a:pt x="211" y="692"/>
                  </a:lnTo>
                  <a:lnTo>
                    <a:pt x="211" y="194"/>
                  </a:lnTo>
                  <a:lnTo>
                    <a:pt x="211" y="191"/>
                  </a:lnTo>
                  <a:lnTo>
                    <a:pt x="210" y="188"/>
                  </a:lnTo>
                  <a:lnTo>
                    <a:pt x="210" y="188"/>
                  </a:lnTo>
                  <a:lnTo>
                    <a:pt x="210" y="18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31" name="Freeform 86"/>
            <p:cNvSpPr>
              <a:spLocks noEditPoints="1"/>
            </p:cNvSpPr>
            <p:nvPr/>
          </p:nvSpPr>
          <p:spPr bwMode="auto">
            <a:xfrm>
              <a:off x="1593850" y="1925638"/>
              <a:ext cx="85725" cy="287338"/>
            </a:xfrm>
            <a:custGeom>
              <a:avLst/>
              <a:gdLst>
                <a:gd name="T0" fmla="*/ 32 w 273"/>
                <a:gd name="T1" fmla="*/ 754 h 905"/>
                <a:gd name="T2" fmla="*/ 112 w 273"/>
                <a:gd name="T3" fmla="*/ 753 h 905"/>
                <a:gd name="T4" fmla="*/ 119 w 273"/>
                <a:gd name="T5" fmla="*/ 748 h 905"/>
                <a:gd name="T6" fmla="*/ 122 w 273"/>
                <a:gd name="T7" fmla="*/ 739 h 905"/>
                <a:gd name="T8" fmla="*/ 119 w 273"/>
                <a:gd name="T9" fmla="*/ 730 h 905"/>
                <a:gd name="T10" fmla="*/ 112 w 273"/>
                <a:gd name="T11" fmla="*/ 725 h 905"/>
                <a:gd name="T12" fmla="*/ 32 w 273"/>
                <a:gd name="T13" fmla="*/ 724 h 905"/>
                <a:gd name="T14" fmla="*/ 109 w 273"/>
                <a:gd name="T15" fmla="*/ 602 h 905"/>
                <a:gd name="T16" fmla="*/ 118 w 273"/>
                <a:gd name="T17" fmla="*/ 599 h 905"/>
                <a:gd name="T18" fmla="*/ 121 w 273"/>
                <a:gd name="T19" fmla="*/ 591 h 905"/>
                <a:gd name="T20" fmla="*/ 121 w 273"/>
                <a:gd name="T21" fmla="*/ 582 h 905"/>
                <a:gd name="T22" fmla="*/ 114 w 273"/>
                <a:gd name="T23" fmla="*/ 576 h 905"/>
                <a:gd name="T24" fmla="*/ 107 w 273"/>
                <a:gd name="T25" fmla="*/ 573 h 905"/>
                <a:gd name="T26" fmla="*/ 107 w 273"/>
                <a:gd name="T27" fmla="*/ 452 h 905"/>
                <a:gd name="T28" fmla="*/ 114 w 273"/>
                <a:gd name="T29" fmla="*/ 450 h 905"/>
                <a:gd name="T30" fmla="*/ 121 w 273"/>
                <a:gd name="T31" fmla="*/ 443 h 905"/>
                <a:gd name="T32" fmla="*/ 121 w 273"/>
                <a:gd name="T33" fmla="*/ 435 h 905"/>
                <a:gd name="T34" fmla="*/ 118 w 273"/>
                <a:gd name="T35" fmla="*/ 427 h 905"/>
                <a:gd name="T36" fmla="*/ 109 w 273"/>
                <a:gd name="T37" fmla="*/ 423 h 905"/>
                <a:gd name="T38" fmla="*/ 32 w 273"/>
                <a:gd name="T39" fmla="*/ 301 h 905"/>
                <a:gd name="T40" fmla="*/ 112 w 273"/>
                <a:gd name="T41" fmla="*/ 300 h 905"/>
                <a:gd name="T42" fmla="*/ 119 w 273"/>
                <a:gd name="T43" fmla="*/ 295 h 905"/>
                <a:gd name="T44" fmla="*/ 122 w 273"/>
                <a:gd name="T45" fmla="*/ 286 h 905"/>
                <a:gd name="T46" fmla="*/ 119 w 273"/>
                <a:gd name="T47" fmla="*/ 278 h 905"/>
                <a:gd name="T48" fmla="*/ 112 w 273"/>
                <a:gd name="T49" fmla="*/ 272 h 905"/>
                <a:gd name="T50" fmla="*/ 32 w 273"/>
                <a:gd name="T51" fmla="*/ 271 h 905"/>
                <a:gd name="T52" fmla="*/ 109 w 273"/>
                <a:gd name="T53" fmla="*/ 151 h 905"/>
                <a:gd name="T54" fmla="*/ 118 w 273"/>
                <a:gd name="T55" fmla="*/ 147 h 905"/>
                <a:gd name="T56" fmla="*/ 121 w 273"/>
                <a:gd name="T57" fmla="*/ 139 h 905"/>
                <a:gd name="T58" fmla="*/ 121 w 273"/>
                <a:gd name="T59" fmla="*/ 130 h 905"/>
                <a:gd name="T60" fmla="*/ 114 w 273"/>
                <a:gd name="T61" fmla="*/ 123 h 905"/>
                <a:gd name="T62" fmla="*/ 107 w 273"/>
                <a:gd name="T63" fmla="*/ 121 h 905"/>
                <a:gd name="T64" fmla="*/ 242 w 273"/>
                <a:gd name="T65" fmla="*/ 30 h 905"/>
                <a:gd name="T66" fmla="*/ 17 w 273"/>
                <a:gd name="T67" fmla="*/ 0 h 905"/>
                <a:gd name="T68" fmla="*/ 8 w 273"/>
                <a:gd name="T69" fmla="*/ 2 h 905"/>
                <a:gd name="T70" fmla="*/ 3 w 273"/>
                <a:gd name="T71" fmla="*/ 9 h 905"/>
                <a:gd name="T72" fmla="*/ 1 w 273"/>
                <a:gd name="T73" fmla="*/ 890 h 905"/>
                <a:gd name="T74" fmla="*/ 4 w 273"/>
                <a:gd name="T75" fmla="*/ 898 h 905"/>
                <a:gd name="T76" fmla="*/ 10 w 273"/>
                <a:gd name="T77" fmla="*/ 904 h 905"/>
                <a:gd name="T78" fmla="*/ 257 w 273"/>
                <a:gd name="T79" fmla="*/ 905 h 905"/>
                <a:gd name="T80" fmla="*/ 266 w 273"/>
                <a:gd name="T81" fmla="*/ 902 h 905"/>
                <a:gd name="T82" fmla="*/ 271 w 273"/>
                <a:gd name="T83" fmla="*/ 895 h 905"/>
                <a:gd name="T84" fmla="*/ 273 w 273"/>
                <a:gd name="T85" fmla="*/ 15 h 905"/>
                <a:gd name="T86" fmla="*/ 269 w 273"/>
                <a:gd name="T87" fmla="*/ 7 h 905"/>
                <a:gd name="T88" fmla="*/ 263 w 273"/>
                <a:gd name="T89" fmla="*/ 1 h 905"/>
                <a:gd name="T90" fmla="*/ 257 w 273"/>
                <a:gd name="T91" fmla="*/ 0 h 9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73" h="905">
                  <a:moveTo>
                    <a:pt x="242" y="874"/>
                  </a:moveTo>
                  <a:lnTo>
                    <a:pt x="32" y="874"/>
                  </a:lnTo>
                  <a:lnTo>
                    <a:pt x="32" y="754"/>
                  </a:lnTo>
                  <a:lnTo>
                    <a:pt x="107" y="754"/>
                  </a:lnTo>
                  <a:lnTo>
                    <a:pt x="109" y="754"/>
                  </a:lnTo>
                  <a:lnTo>
                    <a:pt x="112" y="753"/>
                  </a:lnTo>
                  <a:lnTo>
                    <a:pt x="114" y="751"/>
                  </a:lnTo>
                  <a:lnTo>
                    <a:pt x="118" y="750"/>
                  </a:lnTo>
                  <a:lnTo>
                    <a:pt x="119" y="748"/>
                  </a:lnTo>
                  <a:lnTo>
                    <a:pt x="121" y="744"/>
                  </a:lnTo>
                  <a:lnTo>
                    <a:pt x="121" y="742"/>
                  </a:lnTo>
                  <a:lnTo>
                    <a:pt x="122" y="739"/>
                  </a:lnTo>
                  <a:lnTo>
                    <a:pt x="121" y="736"/>
                  </a:lnTo>
                  <a:lnTo>
                    <a:pt x="121" y="733"/>
                  </a:lnTo>
                  <a:lnTo>
                    <a:pt x="119" y="730"/>
                  </a:lnTo>
                  <a:lnTo>
                    <a:pt x="118" y="728"/>
                  </a:lnTo>
                  <a:lnTo>
                    <a:pt x="114" y="726"/>
                  </a:lnTo>
                  <a:lnTo>
                    <a:pt x="112" y="725"/>
                  </a:lnTo>
                  <a:lnTo>
                    <a:pt x="109" y="724"/>
                  </a:lnTo>
                  <a:lnTo>
                    <a:pt x="107" y="724"/>
                  </a:lnTo>
                  <a:lnTo>
                    <a:pt x="32" y="724"/>
                  </a:lnTo>
                  <a:lnTo>
                    <a:pt x="32" y="604"/>
                  </a:lnTo>
                  <a:lnTo>
                    <a:pt x="107" y="604"/>
                  </a:lnTo>
                  <a:lnTo>
                    <a:pt x="109" y="602"/>
                  </a:lnTo>
                  <a:lnTo>
                    <a:pt x="112" y="602"/>
                  </a:lnTo>
                  <a:lnTo>
                    <a:pt x="114" y="600"/>
                  </a:lnTo>
                  <a:lnTo>
                    <a:pt x="118" y="599"/>
                  </a:lnTo>
                  <a:lnTo>
                    <a:pt x="119" y="596"/>
                  </a:lnTo>
                  <a:lnTo>
                    <a:pt x="121" y="594"/>
                  </a:lnTo>
                  <a:lnTo>
                    <a:pt x="121" y="591"/>
                  </a:lnTo>
                  <a:lnTo>
                    <a:pt x="122" y="588"/>
                  </a:lnTo>
                  <a:lnTo>
                    <a:pt x="121" y="585"/>
                  </a:lnTo>
                  <a:lnTo>
                    <a:pt x="121" y="582"/>
                  </a:lnTo>
                  <a:lnTo>
                    <a:pt x="119" y="580"/>
                  </a:lnTo>
                  <a:lnTo>
                    <a:pt x="118" y="578"/>
                  </a:lnTo>
                  <a:lnTo>
                    <a:pt x="114" y="576"/>
                  </a:lnTo>
                  <a:lnTo>
                    <a:pt x="112" y="574"/>
                  </a:lnTo>
                  <a:lnTo>
                    <a:pt x="109" y="573"/>
                  </a:lnTo>
                  <a:lnTo>
                    <a:pt x="107" y="573"/>
                  </a:lnTo>
                  <a:lnTo>
                    <a:pt x="32" y="573"/>
                  </a:lnTo>
                  <a:lnTo>
                    <a:pt x="32" y="452"/>
                  </a:lnTo>
                  <a:lnTo>
                    <a:pt x="107" y="452"/>
                  </a:lnTo>
                  <a:lnTo>
                    <a:pt x="109" y="452"/>
                  </a:lnTo>
                  <a:lnTo>
                    <a:pt x="112" y="451"/>
                  </a:lnTo>
                  <a:lnTo>
                    <a:pt x="114" y="450"/>
                  </a:lnTo>
                  <a:lnTo>
                    <a:pt x="118" y="448"/>
                  </a:lnTo>
                  <a:lnTo>
                    <a:pt x="119" y="445"/>
                  </a:lnTo>
                  <a:lnTo>
                    <a:pt x="121" y="443"/>
                  </a:lnTo>
                  <a:lnTo>
                    <a:pt x="121" y="440"/>
                  </a:lnTo>
                  <a:lnTo>
                    <a:pt x="122" y="437"/>
                  </a:lnTo>
                  <a:lnTo>
                    <a:pt x="121" y="435"/>
                  </a:lnTo>
                  <a:lnTo>
                    <a:pt x="121" y="431"/>
                  </a:lnTo>
                  <a:lnTo>
                    <a:pt x="119" y="429"/>
                  </a:lnTo>
                  <a:lnTo>
                    <a:pt x="118" y="427"/>
                  </a:lnTo>
                  <a:lnTo>
                    <a:pt x="114" y="425"/>
                  </a:lnTo>
                  <a:lnTo>
                    <a:pt x="112" y="424"/>
                  </a:lnTo>
                  <a:lnTo>
                    <a:pt x="109" y="423"/>
                  </a:lnTo>
                  <a:lnTo>
                    <a:pt x="107" y="422"/>
                  </a:lnTo>
                  <a:lnTo>
                    <a:pt x="32" y="422"/>
                  </a:lnTo>
                  <a:lnTo>
                    <a:pt x="32" y="301"/>
                  </a:lnTo>
                  <a:lnTo>
                    <a:pt x="107" y="301"/>
                  </a:lnTo>
                  <a:lnTo>
                    <a:pt x="109" y="301"/>
                  </a:lnTo>
                  <a:lnTo>
                    <a:pt x="112" y="300"/>
                  </a:lnTo>
                  <a:lnTo>
                    <a:pt x="114" y="299"/>
                  </a:lnTo>
                  <a:lnTo>
                    <a:pt x="118" y="297"/>
                  </a:lnTo>
                  <a:lnTo>
                    <a:pt x="119" y="295"/>
                  </a:lnTo>
                  <a:lnTo>
                    <a:pt x="121" y="293"/>
                  </a:lnTo>
                  <a:lnTo>
                    <a:pt x="121" y="290"/>
                  </a:lnTo>
                  <a:lnTo>
                    <a:pt x="122" y="286"/>
                  </a:lnTo>
                  <a:lnTo>
                    <a:pt x="121" y="283"/>
                  </a:lnTo>
                  <a:lnTo>
                    <a:pt x="121" y="281"/>
                  </a:lnTo>
                  <a:lnTo>
                    <a:pt x="119" y="278"/>
                  </a:lnTo>
                  <a:lnTo>
                    <a:pt x="118" y="276"/>
                  </a:lnTo>
                  <a:lnTo>
                    <a:pt x="114" y="274"/>
                  </a:lnTo>
                  <a:lnTo>
                    <a:pt x="112" y="272"/>
                  </a:lnTo>
                  <a:lnTo>
                    <a:pt x="109" y="272"/>
                  </a:lnTo>
                  <a:lnTo>
                    <a:pt x="107" y="271"/>
                  </a:lnTo>
                  <a:lnTo>
                    <a:pt x="32" y="271"/>
                  </a:lnTo>
                  <a:lnTo>
                    <a:pt x="32" y="151"/>
                  </a:lnTo>
                  <a:lnTo>
                    <a:pt x="107" y="151"/>
                  </a:lnTo>
                  <a:lnTo>
                    <a:pt x="109" y="151"/>
                  </a:lnTo>
                  <a:lnTo>
                    <a:pt x="112" y="150"/>
                  </a:lnTo>
                  <a:lnTo>
                    <a:pt x="114" y="149"/>
                  </a:lnTo>
                  <a:lnTo>
                    <a:pt x="118" y="147"/>
                  </a:lnTo>
                  <a:lnTo>
                    <a:pt x="119" y="144"/>
                  </a:lnTo>
                  <a:lnTo>
                    <a:pt x="121" y="141"/>
                  </a:lnTo>
                  <a:lnTo>
                    <a:pt x="121" y="139"/>
                  </a:lnTo>
                  <a:lnTo>
                    <a:pt x="122" y="136"/>
                  </a:lnTo>
                  <a:lnTo>
                    <a:pt x="121" y="133"/>
                  </a:lnTo>
                  <a:lnTo>
                    <a:pt x="121" y="130"/>
                  </a:lnTo>
                  <a:lnTo>
                    <a:pt x="119" y="127"/>
                  </a:lnTo>
                  <a:lnTo>
                    <a:pt x="118" y="125"/>
                  </a:lnTo>
                  <a:lnTo>
                    <a:pt x="114" y="123"/>
                  </a:lnTo>
                  <a:lnTo>
                    <a:pt x="112" y="122"/>
                  </a:lnTo>
                  <a:lnTo>
                    <a:pt x="109" y="121"/>
                  </a:lnTo>
                  <a:lnTo>
                    <a:pt x="107" y="121"/>
                  </a:lnTo>
                  <a:lnTo>
                    <a:pt x="32" y="121"/>
                  </a:lnTo>
                  <a:lnTo>
                    <a:pt x="32" y="30"/>
                  </a:lnTo>
                  <a:lnTo>
                    <a:pt x="242" y="30"/>
                  </a:lnTo>
                  <a:lnTo>
                    <a:pt x="242" y="874"/>
                  </a:lnTo>
                  <a:close/>
                  <a:moveTo>
                    <a:pt x="257" y="0"/>
                  </a:moveTo>
                  <a:lnTo>
                    <a:pt x="17" y="0"/>
                  </a:lnTo>
                  <a:lnTo>
                    <a:pt x="13" y="0"/>
                  </a:lnTo>
                  <a:lnTo>
                    <a:pt x="10" y="1"/>
                  </a:lnTo>
                  <a:lnTo>
                    <a:pt x="8" y="2"/>
                  </a:lnTo>
                  <a:lnTo>
                    <a:pt x="6" y="5"/>
                  </a:lnTo>
                  <a:lnTo>
                    <a:pt x="4" y="7"/>
                  </a:lnTo>
                  <a:lnTo>
                    <a:pt x="3" y="9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1" y="890"/>
                  </a:lnTo>
                  <a:lnTo>
                    <a:pt x="1" y="893"/>
                  </a:lnTo>
                  <a:lnTo>
                    <a:pt x="3" y="895"/>
                  </a:lnTo>
                  <a:lnTo>
                    <a:pt x="4" y="898"/>
                  </a:lnTo>
                  <a:lnTo>
                    <a:pt x="6" y="900"/>
                  </a:lnTo>
                  <a:lnTo>
                    <a:pt x="8" y="902"/>
                  </a:lnTo>
                  <a:lnTo>
                    <a:pt x="10" y="904"/>
                  </a:lnTo>
                  <a:lnTo>
                    <a:pt x="13" y="905"/>
                  </a:lnTo>
                  <a:lnTo>
                    <a:pt x="17" y="905"/>
                  </a:lnTo>
                  <a:lnTo>
                    <a:pt x="257" y="905"/>
                  </a:lnTo>
                  <a:lnTo>
                    <a:pt x="261" y="905"/>
                  </a:lnTo>
                  <a:lnTo>
                    <a:pt x="263" y="904"/>
                  </a:lnTo>
                  <a:lnTo>
                    <a:pt x="266" y="902"/>
                  </a:lnTo>
                  <a:lnTo>
                    <a:pt x="268" y="900"/>
                  </a:lnTo>
                  <a:lnTo>
                    <a:pt x="269" y="898"/>
                  </a:lnTo>
                  <a:lnTo>
                    <a:pt x="271" y="895"/>
                  </a:lnTo>
                  <a:lnTo>
                    <a:pt x="273" y="893"/>
                  </a:lnTo>
                  <a:lnTo>
                    <a:pt x="273" y="890"/>
                  </a:lnTo>
                  <a:lnTo>
                    <a:pt x="273" y="15"/>
                  </a:lnTo>
                  <a:lnTo>
                    <a:pt x="273" y="12"/>
                  </a:lnTo>
                  <a:lnTo>
                    <a:pt x="271" y="9"/>
                  </a:lnTo>
                  <a:lnTo>
                    <a:pt x="269" y="7"/>
                  </a:lnTo>
                  <a:lnTo>
                    <a:pt x="268" y="5"/>
                  </a:lnTo>
                  <a:lnTo>
                    <a:pt x="266" y="2"/>
                  </a:lnTo>
                  <a:lnTo>
                    <a:pt x="263" y="1"/>
                  </a:lnTo>
                  <a:lnTo>
                    <a:pt x="261" y="0"/>
                  </a:lnTo>
                  <a:lnTo>
                    <a:pt x="257" y="0"/>
                  </a:lnTo>
                  <a:lnTo>
                    <a:pt x="2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grpSp>
        <p:nvGrpSpPr>
          <p:cNvPr id="226" name="Group 225"/>
          <p:cNvGrpSpPr/>
          <p:nvPr/>
        </p:nvGrpSpPr>
        <p:grpSpPr>
          <a:xfrm>
            <a:off x="4604301" y="4126315"/>
            <a:ext cx="288132" cy="376237"/>
            <a:chOff x="1177620" y="4126315"/>
            <a:chExt cx="288132" cy="376237"/>
          </a:xfrm>
          <a:solidFill>
            <a:schemeClr val="bg1"/>
          </a:solidFill>
        </p:grpSpPr>
        <p:cxnSp>
          <p:nvCxnSpPr>
            <p:cNvPr id="227" name="Straight Connector 226"/>
            <p:cNvCxnSpPr/>
            <p:nvPr/>
          </p:nvCxnSpPr>
          <p:spPr>
            <a:xfrm>
              <a:off x="1177620" y="4126315"/>
              <a:ext cx="288132" cy="0"/>
            </a:xfrm>
            <a:prstGeom prst="line">
              <a:avLst/>
            </a:prstGeom>
            <a:grpFill/>
            <a:ln w="31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9" name="Straight Connector 228"/>
            <p:cNvCxnSpPr/>
            <p:nvPr/>
          </p:nvCxnSpPr>
          <p:spPr>
            <a:xfrm>
              <a:off x="1177620" y="4502552"/>
              <a:ext cx="288132" cy="0"/>
            </a:xfrm>
            <a:prstGeom prst="line">
              <a:avLst/>
            </a:prstGeom>
            <a:grpFill/>
            <a:ln w="31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33" name="Group 232"/>
          <p:cNvGrpSpPr/>
          <p:nvPr/>
        </p:nvGrpSpPr>
        <p:grpSpPr>
          <a:xfrm>
            <a:off x="6982252" y="4126315"/>
            <a:ext cx="288132" cy="376237"/>
            <a:chOff x="1177620" y="4126315"/>
            <a:chExt cx="288132" cy="376237"/>
          </a:xfrm>
          <a:solidFill>
            <a:schemeClr val="bg1"/>
          </a:solidFill>
        </p:grpSpPr>
        <p:cxnSp>
          <p:nvCxnSpPr>
            <p:cNvPr id="240" name="Straight Connector 239"/>
            <p:cNvCxnSpPr/>
            <p:nvPr/>
          </p:nvCxnSpPr>
          <p:spPr>
            <a:xfrm>
              <a:off x="1177620" y="4126315"/>
              <a:ext cx="288132" cy="0"/>
            </a:xfrm>
            <a:prstGeom prst="line">
              <a:avLst/>
            </a:prstGeom>
            <a:grpFill/>
            <a:ln w="31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1" name="Straight Connector 240"/>
            <p:cNvCxnSpPr/>
            <p:nvPr/>
          </p:nvCxnSpPr>
          <p:spPr>
            <a:xfrm>
              <a:off x="1177620" y="4502552"/>
              <a:ext cx="288132" cy="0"/>
            </a:xfrm>
            <a:prstGeom prst="line">
              <a:avLst/>
            </a:prstGeom>
            <a:grpFill/>
            <a:ln w="31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34" name="Group 233"/>
          <p:cNvGrpSpPr>
            <a:grpSpLocks noChangeAspect="1"/>
          </p:cNvGrpSpPr>
          <p:nvPr/>
        </p:nvGrpSpPr>
        <p:grpSpPr>
          <a:xfrm>
            <a:off x="6991372" y="4188433"/>
            <a:ext cx="269893" cy="252000"/>
            <a:chOff x="4906963" y="792163"/>
            <a:chExt cx="287338" cy="268288"/>
          </a:xfrm>
          <a:solidFill>
            <a:schemeClr val="bg1"/>
          </a:solidFill>
          <a:effectLst>
            <a:outerShdw blurRad="25400" dist="254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235" name="Freeform 59"/>
            <p:cNvSpPr>
              <a:spLocks noEditPoints="1"/>
            </p:cNvSpPr>
            <p:nvPr/>
          </p:nvSpPr>
          <p:spPr bwMode="auto">
            <a:xfrm>
              <a:off x="4906963" y="792163"/>
              <a:ext cx="287338" cy="268288"/>
            </a:xfrm>
            <a:custGeom>
              <a:avLst/>
              <a:gdLst>
                <a:gd name="T0" fmla="*/ 677 w 905"/>
                <a:gd name="T1" fmla="*/ 807 h 845"/>
                <a:gd name="T2" fmla="*/ 561 w 905"/>
                <a:gd name="T3" fmla="*/ 807 h 845"/>
                <a:gd name="T4" fmla="*/ 313 w 905"/>
                <a:gd name="T5" fmla="*/ 593 h 845"/>
                <a:gd name="T6" fmla="*/ 273 w 905"/>
                <a:gd name="T7" fmla="*/ 565 h 845"/>
                <a:gd name="T8" fmla="*/ 231 w 905"/>
                <a:gd name="T9" fmla="*/ 577 h 845"/>
                <a:gd name="T10" fmla="*/ 217 w 905"/>
                <a:gd name="T11" fmla="*/ 608 h 845"/>
                <a:gd name="T12" fmla="*/ 226 w 905"/>
                <a:gd name="T13" fmla="*/ 646 h 845"/>
                <a:gd name="T14" fmla="*/ 254 w 905"/>
                <a:gd name="T15" fmla="*/ 684 h 845"/>
                <a:gd name="T16" fmla="*/ 265 w 905"/>
                <a:gd name="T17" fmla="*/ 716 h 845"/>
                <a:gd name="T18" fmla="*/ 254 w 905"/>
                <a:gd name="T19" fmla="*/ 748 h 845"/>
                <a:gd name="T20" fmla="*/ 227 w 905"/>
                <a:gd name="T21" fmla="*/ 771 h 845"/>
                <a:gd name="T22" fmla="*/ 193 w 905"/>
                <a:gd name="T23" fmla="*/ 774 h 845"/>
                <a:gd name="T24" fmla="*/ 161 w 905"/>
                <a:gd name="T25" fmla="*/ 758 h 845"/>
                <a:gd name="T26" fmla="*/ 86 w 905"/>
                <a:gd name="T27" fmla="*/ 657 h 845"/>
                <a:gd name="T28" fmla="*/ 42 w 905"/>
                <a:gd name="T29" fmla="*/ 537 h 845"/>
                <a:gd name="T30" fmla="*/ 31 w 905"/>
                <a:gd name="T31" fmla="*/ 408 h 845"/>
                <a:gd name="T32" fmla="*/ 58 w 905"/>
                <a:gd name="T33" fmla="*/ 284 h 845"/>
                <a:gd name="T34" fmla="*/ 120 w 905"/>
                <a:gd name="T35" fmla="*/ 177 h 845"/>
                <a:gd name="T36" fmla="*/ 208 w 905"/>
                <a:gd name="T37" fmla="*/ 97 h 845"/>
                <a:gd name="T38" fmla="*/ 313 w 905"/>
                <a:gd name="T39" fmla="*/ 47 h 845"/>
                <a:gd name="T40" fmla="*/ 430 w 905"/>
                <a:gd name="T41" fmla="*/ 30 h 845"/>
                <a:gd name="T42" fmla="*/ 558 w 905"/>
                <a:gd name="T43" fmla="*/ 49 h 845"/>
                <a:gd name="T44" fmla="*/ 676 w 905"/>
                <a:gd name="T45" fmla="*/ 105 h 845"/>
                <a:gd name="T46" fmla="*/ 773 w 905"/>
                <a:gd name="T47" fmla="*/ 195 h 845"/>
                <a:gd name="T48" fmla="*/ 840 w 905"/>
                <a:gd name="T49" fmla="*/ 303 h 845"/>
                <a:gd name="T50" fmla="*/ 871 w 905"/>
                <a:gd name="T51" fmla="*/ 423 h 845"/>
                <a:gd name="T52" fmla="*/ 869 w 905"/>
                <a:gd name="T53" fmla="*/ 543 h 845"/>
                <a:gd name="T54" fmla="*/ 832 w 905"/>
                <a:gd name="T55" fmla="*/ 658 h 845"/>
                <a:gd name="T56" fmla="*/ 758 w 905"/>
                <a:gd name="T57" fmla="*/ 758 h 845"/>
                <a:gd name="T58" fmla="*/ 673 w 905"/>
                <a:gd name="T59" fmla="*/ 68 h 845"/>
                <a:gd name="T60" fmla="*/ 545 w 905"/>
                <a:gd name="T61" fmla="*/ 14 h 845"/>
                <a:gd name="T62" fmla="*/ 409 w 905"/>
                <a:gd name="T63" fmla="*/ 0 h 845"/>
                <a:gd name="T64" fmla="*/ 284 w 905"/>
                <a:gd name="T65" fmla="*/ 25 h 845"/>
                <a:gd name="T66" fmla="*/ 173 w 905"/>
                <a:gd name="T67" fmla="*/ 84 h 845"/>
                <a:gd name="T68" fmla="*/ 82 w 905"/>
                <a:gd name="T69" fmla="*/ 176 h 845"/>
                <a:gd name="T70" fmla="*/ 23 w 905"/>
                <a:gd name="T71" fmla="*/ 295 h 845"/>
                <a:gd name="T72" fmla="*/ 0 w 905"/>
                <a:gd name="T73" fmla="*/ 429 h 845"/>
                <a:gd name="T74" fmla="*/ 17 w 905"/>
                <a:gd name="T75" fmla="*/ 566 h 845"/>
                <a:gd name="T76" fmla="*/ 71 w 905"/>
                <a:gd name="T77" fmla="*/ 690 h 845"/>
                <a:gd name="T78" fmla="*/ 147 w 905"/>
                <a:gd name="T79" fmla="*/ 786 h 845"/>
                <a:gd name="T80" fmla="*/ 195 w 905"/>
                <a:gd name="T81" fmla="*/ 805 h 845"/>
                <a:gd name="T82" fmla="*/ 246 w 905"/>
                <a:gd name="T83" fmla="*/ 796 h 845"/>
                <a:gd name="T84" fmla="*/ 284 w 905"/>
                <a:gd name="T85" fmla="*/ 758 h 845"/>
                <a:gd name="T86" fmla="*/ 294 w 905"/>
                <a:gd name="T87" fmla="*/ 708 h 845"/>
                <a:gd name="T88" fmla="*/ 273 w 905"/>
                <a:gd name="T89" fmla="*/ 659 h 845"/>
                <a:gd name="T90" fmla="*/ 248 w 905"/>
                <a:gd name="T91" fmla="*/ 614 h 845"/>
                <a:gd name="T92" fmla="*/ 265 w 905"/>
                <a:gd name="T93" fmla="*/ 594 h 845"/>
                <a:gd name="T94" fmla="*/ 473 w 905"/>
                <a:gd name="T95" fmla="*/ 795 h 845"/>
                <a:gd name="T96" fmla="*/ 530 w 905"/>
                <a:gd name="T97" fmla="*/ 828 h 845"/>
                <a:gd name="T98" fmla="*/ 596 w 905"/>
                <a:gd name="T99" fmla="*/ 844 h 845"/>
                <a:gd name="T100" fmla="*/ 664 w 905"/>
                <a:gd name="T101" fmla="*/ 841 h 845"/>
                <a:gd name="T102" fmla="*/ 727 w 905"/>
                <a:gd name="T103" fmla="*/ 819 h 845"/>
                <a:gd name="T104" fmla="*/ 780 w 905"/>
                <a:gd name="T105" fmla="*/ 780 h 845"/>
                <a:gd name="T106" fmla="*/ 858 w 905"/>
                <a:gd name="T107" fmla="*/ 672 h 845"/>
                <a:gd name="T108" fmla="*/ 898 w 905"/>
                <a:gd name="T109" fmla="*/ 550 h 845"/>
                <a:gd name="T110" fmla="*/ 901 w 905"/>
                <a:gd name="T111" fmla="*/ 419 h 845"/>
                <a:gd name="T112" fmla="*/ 868 w 905"/>
                <a:gd name="T113" fmla="*/ 291 h 845"/>
                <a:gd name="T114" fmla="*/ 797 w 905"/>
                <a:gd name="T115" fmla="*/ 175 h 8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905" h="845">
                  <a:moveTo>
                    <a:pt x="758" y="758"/>
                  </a:moveTo>
                  <a:lnTo>
                    <a:pt x="744" y="771"/>
                  </a:lnTo>
                  <a:lnTo>
                    <a:pt x="729" y="783"/>
                  </a:lnTo>
                  <a:lnTo>
                    <a:pt x="712" y="793"/>
                  </a:lnTo>
                  <a:lnTo>
                    <a:pt x="695" y="800"/>
                  </a:lnTo>
                  <a:lnTo>
                    <a:pt x="677" y="807"/>
                  </a:lnTo>
                  <a:lnTo>
                    <a:pt x="658" y="811"/>
                  </a:lnTo>
                  <a:lnTo>
                    <a:pt x="639" y="814"/>
                  </a:lnTo>
                  <a:lnTo>
                    <a:pt x="619" y="815"/>
                  </a:lnTo>
                  <a:lnTo>
                    <a:pt x="599" y="814"/>
                  </a:lnTo>
                  <a:lnTo>
                    <a:pt x="580" y="811"/>
                  </a:lnTo>
                  <a:lnTo>
                    <a:pt x="561" y="807"/>
                  </a:lnTo>
                  <a:lnTo>
                    <a:pt x="542" y="800"/>
                  </a:lnTo>
                  <a:lnTo>
                    <a:pt x="525" y="793"/>
                  </a:lnTo>
                  <a:lnTo>
                    <a:pt x="509" y="783"/>
                  </a:lnTo>
                  <a:lnTo>
                    <a:pt x="493" y="771"/>
                  </a:lnTo>
                  <a:lnTo>
                    <a:pt x="479" y="758"/>
                  </a:lnTo>
                  <a:lnTo>
                    <a:pt x="313" y="593"/>
                  </a:lnTo>
                  <a:lnTo>
                    <a:pt x="306" y="585"/>
                  </a:lnTo>
                  <a:lnTo>
                    <a:pt x="298" y="580"/>
                  </a:lnTo>
                  <a:lnTo>
                    <a:pt x="292" y="574"/>
                  </a:lnTo>
                  <a:lnTo>
                    <a:pt x="285" y="570"/>
                  </a:lnTo>
                  <a:lnTo>
                    <a:pt x="279" y="567"/>
                  </a:lnTo>
                  <a:lnTo>
                    <a:pt x="273" y="565"/>
                  </a:lnTo>
                  <a:lnTo>
                    <a:pt x="267" y="563"/>
                  </a:lnTo>
                  <a:lnTo>
                    <a:pt x="261" y="563"/>
                  </a:lnTo>
                  <a:lnTo>
                    <a:pt x="254" y="563"/>
                  </a:lnTo>
                  <a:lnTo>
                    <a:pt x="245" y="567"/>
                  </a:lnTo>
                  <a:lnTo>
                    <a:pt x="239" y="571"/>
                  </a:lnTo>
                  <a:lnTo>
                    <a:pt x="231" y="577"/>
                  </a:lnTo>
                  <a:lnTo>
                    <a:pt x="227" y="582"/>
                  </a:lnTo>
                  <a:lnTo>
                    <a:pt x="225" y="586"/>
                  </a:lnTo>
                  <a:lnTo>
                    <a:pt x="222" y="590"/>
                  </a:lnTo>
                  <a:lnTo>
                    <a:pt x="220" y="596"/>
                  </a:lnTo>
                  <a:lnTo>
                    <a:pt x="218" y="601"/>
                  </a:lnTo>
                  <a:lnTo>
                    <a:pt x="217" y="608"/>
                  </a:lnTo>
                  <a:lnTo>
                    <a:pt x="217" y="613"/>
                  </a:lnTo>
                  <a:lnTo>
                    <a:pt x="217" y="619"/>
                  </a:lnTo>
                  <a:lnTo>
                    <a:pt x="218" y="626"/>
                  </a:lnTo>
                  <a:lnTo>
                    <a:pt x="220" y="632"/>
                  </a:lnTo>
                  <a:lnTo>
                    <a:pt x="223" y="640"/>
                  </a:lnTo>
                  <a:lnTo>
                    <a:pt x="226" y="646"/>
                  </a:lnTo>
                  <a:lnTo>
                    <a:pt x="229" y="653"/>
                  </a:lnTo>
                  <a:lnTo>
                    <a:pt x="235" y="660"/>
                  </a:lnTo>
                  <a:lnTo>
                    <a:pt x="240" y="667"/>
                  </a:lnTo>
                  <a:lnTo>
                    <a:pt x="246" y="674"/>
                  </a:lnTo>
                  <a:lnTo>
                    <a:pt x="251" y="679"/>
                  </a:lnTo>
                  <a:lnTo>
                    <a:pt x="254" y="684"/>
                  </a:lnTo>
                  <a:lnTo>
                    <a:pt x="257" y="688"/>
                  </a:lnTo>
                  <a:lnTo>
                    <a:pt x="259" y="694"/>
                  </a:lnTo>
                  <a:lnTo>
                    <a:pt x="261" y="699"/>
                  </a:lnTo>
                  <a:lnTo>
                    <a:pt x="263" y="705"/>
                  </a:lnTo>
                  <a:lnTo>
                    <a:pt x="264" y="711"/>
                  </a:lnTo>
                  <a:lnTo>
                    <a:pt x="265" y="716"/>
                  </a:lnTo>
                  <a:lnTo>
                    <a:pt x="264" y="722"/>
                  </a:lnTo>
                  <a:lnTo>
                    <a:pt x="263" y="727"/>
                  </a:lnTo>
                  <a:lnTo>
                    <a:pt x="261" y="733"/>
                  </a:lnTo>
                  <a:lnTo>
                    <a:pt x="259" y="739"/>
                  </a:lnTo>
                  <a:lnTo>
                    <a:pt x="257" y="744"/>
                  </a:lnTo>
                  <a:lnTo>
                    <a:pt x="254" y="748"/>
                  </a:lnTo>
                  <a:lnTo>
                    <a:pt x="251" y="754"/>
                  </a:lnTo>
                  <a:lnTo>
                    <a:pt x="246" y="758"/>
                  </a:lnTo>
                  <a:lnTo>
                    <a:pt x="242" y="762"/>
                  </a:lnTo>
                  <a:lnTo>
                    <a:pt x="237" y="766"/>
                  </a:lnTo>
                  <a:lnTo>
                    <a:pt x="231" y="769"/>
                  </a:lnTo>
                  <a:lnTo>
                    <a:pt x="227" y="771"/>
                  </a:lnTo>
                  <a:lnTo>
                    <a:pt x="221" y="773"/>
                  </a:lnTo>
                  <a:lnTo>
                    <a:pt x="215" y="774"/>
                  </a:lnTo>
                  <a:lnTo>
                    <a:pt x="210" y="775"/>
                  </a:lnTo>
                  <a:lnTo>
                    <a:pt x="204" y="775"/>
                  </a:lnTo>
                  <a:lnTo>
                    <a:pt x="198" y="775"/>
                  </a:lnTo>
                  <a:lnTo>
                    <a:pt x="193" y="774"/>
                  </a:lnTo>
                  <a:lnTo>
                    <a:pt x="187" y="773"/>
                  </a:lnTo>
                  <a:lnTo>
                    <a:pt x="182" y="771"/>
                  </a:lnTo>
                  <a:lnTo>
                    <a:pt x="177" y="769"/>
                  </a:lnTo>
                  <a:lnTo>
                    <a:pt x="171" y="766"/>
                  </a:lnTo>
                  <a:lnTo>
                    <a:pt x="167" y="762"/>
                  </a:lnTo>
                  <a:lnTo>
                    <a:pt x="161" y="758"/>
                  </a:lnTo>
                  <a:lnTo>
                    <a:pt x="147" y="743"/>
                  </a:lnTo>
                  <a:lnTo>
                    <a:pt x="134" y="727"/>
                  </a:lnTo>
                  <a:lnTo>
                    <a:pt x="121" y="710"/>
                  </a:lnTo>
                  <a:lnTo>
                    <a:pt x="109" y="693"/>
                  </a:lnTo>
                  <a:lnTo>
                    <a:pt x="97" y="675"/>
                  </a:lnTo>
                  <a:lnTo>
                    <a:pt x="86" y="657"/>
                  </a:lnTo>
                  <a:lnTo>
                    <a:pt x="76" y="638"/>
                  </a:lnTo>
                  <a:lnTo>
                    <a:pt x="68" y="618"/>
                  </a:lnTo>
                  <a:lnTo>
                    <a:pt x="60" y="599"/>
                  </a:lnTo>
                  <a:lnTo>
                    <a:pt x="53" y="579"/>
                  </a:lnTo>
                  <a:lnTo>
                    <a:pt x="46" y="558"/>
                  </a:lnTo>
                  <a:lnTo>
                    <a:pt x="42" y="537"/>
                  </a:lnTo>
                  <a:lnTo>
                    <a:pt x="38" y="516"/>
                  </a:lnTo>
                  <a:lnTo>
                    <a:pt x="35" y="495"/>
                  </a:lnTo>
                  <a:lnTo>
                    <a:pt x="32" y="473"/>
                  </a:lnTo>
                  <a:lnTo>
                    <a:pt x="30" y="452"/>
                  </a:lnTo>
                  <a:lnTo>
                    <a:pt x="30" y="430"/>
                  </a:lnTo>
                  <a:lnTo>
                    <a:pt x="31" y="408"/>
                  </a:lnTo>
                  <a:lnTo>
                    <a:pt x="33" y="386"/>
                  </a:lnTo>
                  <a:lnTo>
                    <a:pt x="37" y="366"/>
                  </a:lnTo>
                  <a:lnTo>
                    <a:pt x="40" y="344"/>
                  </a:lnTo>
                  <a:lnTo>
                    <a:pt x="45" y="324"/>
                  </a:lnTo>
                  <a:lnTo>
                    <a:pt x="51" y="304"/>
                  </a:lnTo>
                  <a:lnTo>
                    <a:pt x="58" y="284"/>
                  </a:lnTo>
                  <a:lnTo>
                    <a:pt x="66" y="265"/>
                  </a:lnTo>
                  <a:lnTo>
                    <a:pt x="74" y="246"/>
                  </a:lnTo>
                  <a:lnTo>
                    <a:pt x="84" y="228"/>
                  </a:lnTo>
                  <a:lnTo>
                    <a:pt x="95" y="211"/>
                  </a:lnTo>
                  <a:lnTo>
                    <a:pt x="107" y="194"/>
                  </a:lnTo>
                  <a:lnTo>
                    <a:pt x="120" y="177"/>
                  </a:lnTo>
                  <a:lnTo>
                    <a:pt x="132" y="161"/>
                  </a:lnTo>
                  <a:lnTo>
                    <a:pt x="146" y="146"/>
                  </a:lnTo>
                  <a:lnTo>
                    <a:pt x="161" y="132"/>
                  </a:lnTo>
                  <a:lnTo>
                    <a:pt x="177" y="119"/>
                  </a:lnTo>
                  <a:lnTo>
                    <a:pt x="192" y="108"/>
                  </a:lnTo>
                  <a:lnTo>
                    <a:pt x="208" y="97"/>
                  </a:lnTo>
                  <a:lnTo>
                    <a:pt x="224" y="86"/>
                  </a:lnTo>
                  <a:lnTo>
                    <a:pt x="241" y="76"/>
                  </a:lnTo>
                  <a:lnTo>
                    <a:pt x="258" y="68"/>
                  </a:lnTo>
                  <a:lnTo>
                    <a:pt x="277" y="60"/>
                  </a:lnTo>
                  <a:lnTo>
                    <a:pt x="295" y="53"/>
                  </a:lnTo>
                  <a:lnTo>
                    <a:pt x="313" y="47"/>
                  </a:lnTo>
                  <a:lnTo>
                    <a:pt x="332" y="42"/>
                  </a:lnTo>
                  <a:lnTo>
                    <a:pt x="352" y="38"/>
                  </a:lnTo>
                  <a:lnTo>
                    <a:pt x="371" y="34"/>
                  </a:lnTo>
                  <a:lnTo>
                    <a:pt x="391" y="32"/>
                  </a:lnTo>
                  <a:lnTo>
                    <a:pt x="410" y="30"/>
                  </a:lnTo>
                  <a:lnTo>
                    <a:pt x="430" y="30"/>
                  </a:lnTo>
                  <a:lnTo>
                    <a:pt x="452" y="30"/>
                  </a:lnTo>
                  <a:lnTo>
                    <a:pt x="473" y="32"/>
                  </a:lnTo>
                  <a:lnTo>
                    <a:pt x="495" y="34"/>
                  </a:lnTo>
                  <a:lnTo>
                    <a:pt x="516" y="39"/>
                  </a:lnTo>
                  <a:lnTo>
                    <a:pt x="538" y="44"/>
                  </a:lnTo>
                  <a:lnTo>
                    <a:pt x="558" y="49"/>
                  </a:lnTo>
                  <a:lnTo>
                    <a:pt x="579" y="57"/>
                  </a:lnTo>
                  <a:lnTo>
                    <a:pt x="599" y="65"/>
                  </a:lnTo>
                  <a:lnTo>
                    <a:pt x="619" y="73"/>
                  </a:lnTo>
                  <a:lnTo>
                    <a:pt x="638" y="83"/>
                  </a:lnTo>
                  <a:lnTo>
                    <a:pt x="657" y="94"/>
                  </a:lnTo>
                  <a:lnTo>
                    <a:pt x="676" y="105"/>
                  </a:lnTo>
                  <a:lnTo>
                    <a:pt x="694" y="118"/>
                  </a:lnTo>
                  <a:lnTo>
                    <a:pt x="711" y="132"/>
                  </a:lnTo>
                  <a:lnTo>
                    <a:pt x="728" y="146"/>
                  </a:lnTo>
                  <a:lnTo>
                    <a:pt x="743" y="161"/>
                  </a:lnTo>
                  <a:lnTo>
                    <a:pt x="760" y="177"/>
                  </a:lnTo>
                  <a:lnTo>
                    <a:pt x="773" y="195"/>
                  </a:lnTo>
                  <a:lnTo>
                    <a:pt x="787" y="212"/>
                  </a:lnTo>
                  <a:lnTo>
                    <a:pt x="799" y="229"/>
                  </a:lnTo>
                  <a:lnTo>
                    <a:pt x="811" y="247"/>
                  </a:lnTo>
                  <a:lnTo>
                    <a:pt x="822" y="266"/>
                  </a:lnTo>
                  <a:lnTo>
                    <a:pt x="832" y="284"/>
                  </a:lnTo>
                  <a:lnTo>
                    <a:pt x="840" y="303"/>
                  </a:lnTo>
                  <a:lnTo>
                    <a:pt x="848" y="323"/>
                  </a:lnTo>
                  <a:lnTo>
                    <a:pt x="854" y="342"/>
                  </a:lnTo>
                  <a:lnTo>
                    <a:pt x="861" y="362"/>
                  </a:lnTo>
                  <a:lnTo>
                    <a:pt x="865" y="382"/>
                  </a:lnTo>
                  <a:lnTo>
                    <a:pt x="869" y="402"/>
                  </a:lnTo>
                  <a:lnTo>
                    <a:pt x="871" y="423"/>
                  </a:lnTo>
                  <a:lnTo>
                    <a:pt x="874" y="443"/>
                  </a:lnTo>
                  <a:lnTo>
                    <a:pt x="875" y="462"/>
                  </a:lnTo>
                  <a:lnTo>
                    <a:pt x="875" y="483"/>
                  </a:lnTo>
                  <a:lnTo>
                    <a:pt x="874" y="503"/>
                  </a:lnTo>
                  <a:lnTo>
                    <a:pt x="872" y="524"/>
                  </a:lnTo>
                  <a:lnTo>
                    <a:pt x="869" y="543"/>
                  </a:lnTo>
                  <a:lnTo>
                    <a:pt x="865" y="563"/>
                  </a:lnTo>
                  <a:lnTo>
                    <a:pt x="861" y="583"/>
                  </a:lnTo>
                  <a:lnTo>
                    <a:pt x="855" y="602"/>
                  </a:lnTo>
                  <a:lnTo>
                    <a:pt x="848" y="620"/>
                  </a:lnTo>
                  <a:lnTo>
                    <a:pt x="840" y="640"/>
                  </a:lnTo>
                  <a:lnTo>
                    <a:pt x="832" y="658"/>
                  </a:lnTo>
                  <a:lnTo>
                    <a:pt x="822" y="676"/>
                  </a:lnTo>
                  <a:lnTo>
                    <a:pt x="811" y="694"/>
                  </a:lnTo>
                  <a:lnTo>
                    <a:pt x="799" y="711"/>
                  </a:lnTo>
                  <a:lnTo>
                    <a:pt x="787" y="727"/>
                  </a:lnTo>
                  <a:lnTo>
                    <a:pt x="773" y="743"/>
                  </a:lnTo>
                  <a:lnTo>
                    <a:pt x="758" y="758"/>
                  </a:lnTo>
                  <a:close/>
                  <a:moveTo>
                    <a:pt x="765" y="140"/>
                  </a:moveTo>
                  <a:lnTo>
                    <a:pt x="748" y="124"/>
                  </a:lnTo>
                  <a:lnTo>
                    <a:pt x="730" y="109"/>
                  </a:lnTo>
                  <a:lnTo>
                    <a:pt x="712" y="94"/>
                  </a:lnTo>
                  <a:lnTo>
                    <a:pt x="693" y="81"/>
                  </a:lnTo>
                  <a:lnTo>
                    <a:pt x="673" y="68"/>
                  </a:lnTo>
                  <a:lnTo>
                    <a:pt x="653" y="57"/>
                  </a:lnTo>
                  <a:lnTo>
                    <a:pt x="632" y="46"/>
                  </a:lnTo>
                  <a:lnTo>
                    <a:pt x="611" y="37"/>
                  </a:lnTo>
                  <a:lnTo>
                    <a:pt x="590" y="28"/>
                  </a:lnTo>
                  <a:lnTo>
                    <a:pt x="567" y="20"/>
                  </a:lnTo>
                  <a:lnTo>
                    <a:pt x="545" y="14"/>
                  </a:lnTo>
                  <a:lnTo>
                    <a:pt x="523" y="10"/>
                  </a:lnTo>
                  <a:lnTo>
                    <a:pt x="499" y="5"/>
                  </a:lnTo>
                  <a:lnTo>
                    <a:pt x="477" y="2"/>
                  </a:lnTo>
                  <a:lnTo>
                    <a:pt x="454" y="0"/>
                  </a:lnTo>
                  <a:lnTo>
                    <a:pt x="430" y="0"/>
                  </a:lnTo>
                  <a:lnTo>
                    <a:pt x="409" y="0"/>
                  </a:lnTo>
                  <a:lnTo>
                    <a:pt x="387" y="2"/>
                  </a:lnTo>
                  <a:lnTo>
                    <a:pt x="366" y="4"/>
                  </a:lnTo>
                  <a:lnTo>
                    <a:pt x="345" y="8"/>
                  </a:lnTo>
                  <a:lnTo>
                    <a:pt x="325" y="13"/>
                  </a:lnTo>
                  <a:lnTo>
                    <a:pt x="305" y="18"/>
                  </a:lnTo>
                  <a:lnTo>
                    <a:pt x="284" y="25"/>
                  </a:lnTo>
                  <a:lnTo>
                    <a:pt x="265" y="32"/>
                  </a:lnTo>
                  <a:lnTo>
                    <a:pt x="245" y="41"/>
                  </a:lnTo>
                  <a:lnTo>
                    <a:pt x="227" y="49"/>
                  </a:lnTo>
                  <a:lnTo>
                    <a:pt x="209" y="60"/>
                  </a:lnTo>
                  <a:lnTo>
                    <a:pt x="191" y="71"/>
                  </a:lnTo>
                  <a:lnTo>
                    <a:pt x="173" y="84"/>
                  </a:lnTo>
                  <a:lnTo>
                    <a:pt x="157" y="97"/>
                  </a:lnTo>
                  <a:lnTo>
                    <a:pt x="141" y="111"/>
                  </a:lnTo>
                  <a:lnTo>
                    <a:pt x="126" y="125"/>
                  </a:lnTo>
                  <a:lnTo>
                    <a:pt x="110" y="141"/>
                  </a:lnTo>
                  <a:lnTo>
                    <a:pt x="96" y="158"/>
                  </a:lnTo>
                  <a:lnTo>
                    <a:pt x="82" y="176"/>
                  </a:lnTo>
                  <a:lnTo>
                    <a:pt x="70" y="195"/>
                  </a:lnTo>
                  <a:lnTo>
                    <a:pt x="58" y="213"/>
                  </a:lnTo>
                  <a:lnTo>
                    <a:pt x="47" y="232"/>
                  </a:lnTo>
                  <a:lnTo>
                    <a:pt x="38" y="253"/>
                  </a:lnTo>
                  <a:lnTo>
                    <a:pt x="30" y="273"/>
                  </a:lnTo>
                  <a:lnTo>
                    <a:pt x="23" y="295"/>
                  </a:lnTo>
                  <a:lnTo>
                    <a:pt x="16" y="316"/>
                  </a:lnTo>
                  <a:lnTo>
                    <a:pt x="11" y="338"/>
                  </a:lnTo>
                  <a:lnTo>
                    <a:pt x="7" y="360"/>
                  </a:lnTo>
                  <a:lnTo>
                    <a:pt x="3" y="383"/>
                  </a:lnTo>
                  <a:lnTo>
                    <a:pt x="1" y="405"/>
                  </a:lnTo>
                  <a:lnTo>
                    <a:pt x="0" y="429"/>
                  </a:lnTo>
                  <a:lnTo>
                    <a:pt x="0" y="453"/>
                  </a:lnTo>
                  <a:lnTo>
                    <a:pt x="2" y="475"/>
                  </a:lnTo>
                  <a:lnTo>
                    <a:pt x="4" y="499"/>
                  </a:lnTo>
                  <a:lnTo>
                    <a:pt x="8" y="522"/>
                  </a:lnTo>
                  <a:lnTo>
                    <a:pt x="12" y="544"/>
                  </a:lnTo>
                  <a:lnTo>
                    <a:pt x="17" y="566"/>
                  </a:lnTo>
                  <a:lnTo>
                    <a:pt x="24" y="587"/>
                  </a:lnTo>
                  <a:lnTo>
                    <a:pt x="31" y="609"/>
                  </a:lnTo>
                  <a:lnTo>
                    <a:pt x="40" y="630"/>
                  </a:lnTo>
                  <a:lnTo>
                    <a:pt x="50" y="651"/>
                  </a:lnTo>
                  <a:lnTo>
                    <a:pt x="60" y="671"/>
                  </a:lnTo>
                  <a:lnTo>
                    <a:pt x="71" y="690"/>
                  </a:lnTo>
                  <a:lnTo>
                    <a:pt x="84" y="710"/>
                  </a:lnTo>
                  <a:lnTo>
                    <a:pt x="97" y="728"/>
                  </a:lnTo>
                  <a:lnTo>
                    <a:pt x="111" y="746"/>
                  </a:lnTo>
                  <a:lnTo>
                    <a:pt x="125" y="763"/>
                  </a:lnTo>
                  <a:lnTo>
                    <a:pt x="141" y="780"/>
                  </a:lnTo>
                  <a:lnTo>
                    <a:pt x="147" y="786"/>
                  </a:lnTo>
                  <a:lnTo>
                    <a:pt x="155" y="791"/>
                  </a:lnTo>
                  <a:lnTo>
                    <a:pt x="163" y="796"/>
                  </a:lnTo>
                  <a:lnTo>
                    <a:pt x="170" y="799"/>
                  </a:lnTo>
                  <a:lnTo>
                    <a:pt x="179" y="802"/>
                  </a:lnTo>
                  <a:lnTo>
                    <a:pt x="186" y="804"/>
                  </a:lnTo>
                  <a:lnTo>
                    <a:pt x="195" y="805"/>
                  </a:lnTo>
                  <a:lnTo>
                    <a:pt x="204" y="807"/>
                  </a:lnTo>
                  <a:lnTo>
                    <a:pt x="213" y="805"/>
                  </a:lnTo>
                  <a:lnTo>
                    <a:pt x="222" y="804"/>
                  </a:lnTo>
                  <a:lnTo>
                    <a:pt x="230" y="802"/>
                  </a:lnTo>
                  <a:lnTo>
                    <a:pt x="238" y="799"/>
                  </a:lnTo>
                  <a:lnTo>
                    <a:pt x="246" y="796"/>
                  </a:lnTo>
                  <a:lnTo>
                    <a:pt x="254" y="791"/>
                  </a:lnTo>
                  <a:lnTo>
                    <a:pt x="260" y="786"/>
                  </a:lnTo>
                  <a:lnTo>
                    <a:pt x="268" y="780"/>
                  </a:lnTo>
                  <a:lnTo>
                    <a:pt x="273" y="773"/>
                  </a:lnTo>
                  <a:lnTo>
                    <a:pt x="279" y="766"/>
                  </a:lnTo>
                  <a:lnTo>
                    <a:pt x="284" y="758"/>
                  </a:lnTo>
                  <a:lnTo>
                    <a:pt x="287" y="750"/>
                  </a:lnTo>
                  <a:lnTo>
                    <a:pt x="291" y="742"/>
                  </a:lnTo>
                  <a:lnTo>
                    <a:pt x="293" y="733"/>
                  </a:lnTo>
                  <a:lnTo>
                    <a:pt x="294" y="725"/>
                  </a:lnTo>
                  <a:lnTo>
                    <a:pt x="294" y="716"/>
                  </a:lnTo>
                  <a:lnTo>
                    <a:pt x="294" y="708"/>
                  </a:lnTo>
                  <a:lnTo>
                    <a:pt x="293" y="699"/>
                  </a:lnTo>
                  <a:lnTo>
                    <a:pt x="291" y="690"/>
                  </a:lnTo>
                  <a:lnTo>
                    <a:pt x="287" y="683"/>
                  </a:lnTo>
                  <a:lnTo>
                    <a:pt x="284" y="674"/>
                  </a:lnTo>
                  <a:lnTo>
                    <a:pt x="279" y="667"/>
                  </a:lnTo>
                  <a:lnTo>
                    <a:pt x="273" y="659"/>
                  </a:lnTo>
                  <a:lnTo>
                    <a:pt x="268" y="653"/>
                  </a:lnTo>
                  <a:lnTo>
                    <a:pt x="260" y="644"/>
                  </a:lnTo>
                  <a:lnTo>
                    <a:pt x="254" y="636"/>
                  </a:lnTo>
                  <a:lnTo>
                    <a:pt x="251" y="628"/>
                  </a:lnTo>
                  <a:lnTo>
                    <a:pt x="248" y="620"/>
                  </a:lnTo>
                  <a:lnTo>
                    <a:pt x="248" y="614"/>
                  </a:lnTo>
                  <a:lnTo>
                    <a:pt x="248" y="608"/>
                  </a:lnTo>
                  <a:lnTo>
                    <a:pt x="250" y="603"/>
                  </a:lnTo>
                  <a:lnTo>
                    <a:pt x="253" y="599"/>
                  </a:lnTo>
                  <a:lnTo>
                    <a:pt x="258" y="594"/>
                  </a:lnTo>
                  <a:lnTo>
                    <a:pt x="261" y="594"/>
                  </a:lnTo>
                  <a:lnTo>
                    <a:pt x="265" y="594"/>
                  </a:lnTo>
                  <a:lnTo>
                    <a:pt x="271" y="597"/>
                  </a:lnTo>
                  <a:lnTo>
                    <a:pt x="280" y="603"/>
                  </a:lnTo>
                  <a:lnTo>
                    <a:pt x="292" y="614"/>
                  </a:lnTo>
                  <a:lnTo>
                    <a:pt x="457" y="780"/>
                  </a:lnTo>
                  <a:lnTo>
                    <a:pt x="466" y="787"/>
                  </a:lnTo>
                  <a:lnTo>
                    <a:pt x="473" y="795"/>
                  </a:lnTo>
                  <a:lnTo>
                    <a:pt x="483" y="801"/>
                  </a:lnTo>
                  <a:lnTo>
                    <a:pt x="492" y="808"/>
                  </a:lnTo>
                  <a:lnTo>
                    <a:pt x="501" y="814"/>
                  </a:lnTo>
                  <a:lnTo>
                    <a:pt x="511" y="819"/>
                  </a:lnTo>
                  <a:lnTo>
                    <a:pt x="521" y="824"/>
                  </a:lnTo>
                  <a:lnTo>
                    <a:pt x="530" y="828"/>
                  </a:lnTo>
                  <a:lnTo>
                    <a:pt x="541" y="832"/>
                  </a:lnTo>
                  <a:lnTo>
                    <a:pt x="552" y="836"/>
                  </a:lnTo>
                  <a:lnTo>
                    <a:pt x="563" y="839"/>
                  </a:lnTo>
                  <a:lnTo>
                    <a:pt x="573" y="841"/>
                  </a:lnTo>
                  <a:lnTo>
                    <a:pt x="584" y="843"/>
                  </a:lnTo>
                  <a:lnTo>
                    <a:pt x="596" y="844"/>
                  </a:lnTo>
                  <a:lnTo>
                    <a:pt x="607" y="845"/>
                  </a:lnTo>
                  <a:lnTo>
                    <a:pt x="619" y="845"/>
                  </a:lnTo>
                  <a:lnTo>
                    <a:pt x="630" y="845"/>
                  </a:lnTo>
                  <a:lnTo>
                    <a:pt x="642" y="844"/>
                  </a:lnTo>
                  <a:lnTo>
                    <a:pt x="653" y="843"/>
                  </a:lnTo>
                  <a:lnTo>
                    <a:pt x="664" y="841"/>
                  </a:lnTo>
                  <a:lnTo>
                    <a:pt x="676" y="839"/>
                  </a:lnTo>
                  <a:lnTo>
                    <a:pt x="686" y="836"/>
                  </a:lnTo>
                  <a:lnTo>
                    <a:pt x="696" y="832"/>
                  </a:lnTo>
                  <a:lnTo>
                    <a:pt x="707" y="828"/>
                  </a:lnTo>
                  <a:lnTo>
                    <a:pt x="718" y="824"/>
                  </a:lnTo>
                  <a:lnTo>
                    <a:pt x="727" y="819"/>
                  </a:lnTo>
                  <a:lnTo>
                    <a:pt x="737" y="814"/>
                  </a:lnTo>
                  <a:lnTo>
                    <a:pt x="746" y="808"/>
                  </a:lnTo>
                  <a:lnTo>
                    <a:pt x="755" y="801"/>
                  </a:lnTo>
                  <a:lnTo>
                    <a:pt x="764" y="795"/>
                  </a:lnTo>
                  <a:lnTo>
                    <a:pt x="772" y="787"/>
                  </a:lnTo>
                  <a:lnTo>
                    <a:pt x="780" y="780"/>
                  </a:lnTo>
                  <a:lnTo>
                    <a:pt x="796" y="763"/>
                  </a:lnTo>
                  <a:lnTo>
                    <a:pt x="810" y="746"/>
                  </a:lnTo>
                  <a:lnTo>
                    <a:pt x="824" y="728"/>
                  </a:lnTo>
                  <a:lnTo>
                    <a:pt x="837" y="710"/>
                  </a:lnTo>
                  <a:lnTo>
                    <a:pt x="848" y="691"/>
                  </a:lnTo>
                  <a:lnTo>
                    <a:pt x="858" y="672"/>
                  </a:lnTo>
                  <a:lnTo>
                    <a:pt x="868" y="653"/>
                  </a:lnTo>
                  <a:lnTo>
                    <a:pt x="876" y="632"/>
                  </a:lnTo>
                  <a:lnTo>
                    <a:pt x="883" y="612"/>
                  </a:lnTo>
                  <a:lnTo>
                    <a:pt x="890" y="591"/>
                  </a:lnTo>
                  <a:lnTo>
                    <a:pt x="895" y="570"/>
                  </a:lnTo>
                  <a:lnTo>
                    <a:pt x="898" y="550"/>
                  </a:lnTo>
                  <a:lnTo>
                    <a:pt x="901" y="528"/>
                  </a:lnTo>
                  <a:lnTo>
                    <a:pt x="904" y="506"/>
                  </a:lnTo>
                  <a:lnTo>
                    <a:pt x="905" y="485"/>
                  </a:lnTo>
                  <a:lnTo>
                    <a:pt x="905" y="462"/>
                  </a:lnTo>
                  <a:lnTo>
                    <a:pt x="904" y="441"/>
                  </a:lnTo>
                  <a:lnTo>
                    <a:pt x="901" y="419"/>
                  </a:lnTo>
                  <a:lnTo>
                    <a:pt x="898" y="398"/>
                  </a:lnTo>
                  <a:lnTo>
                    <a:pt x="895" y="376"/>
                  </a:lnTo>
                  <a:lnTo>
                    <a:pt x="890" y="355"/>
                  </a:lnTo>
                  <a:lnTo>
                    <a:pt x="883" y="333"/>
                  </a:lnTo>
                  <a:lnTo>
                    <a:pt x="876" y="313"/>
                  </a:lnTo>
                  <a:lnTo>
                    <a:pt x="868" y="291"/>
                  </a:lnTo>
                  <a:lnTo>
                    <a:pt x="858" y="271"/>
                  </a:lnTo>
                  <a:lnTo>
                    <a:pt x="849" y="252"/>
                  </a:lnTo>
                  <a:lnTo>
                    <a:pt x="837" y="231"/>
                  </a:lnTo>
                  <a:lnTo>
                    <a:pt x="825" y="212"/>
                  </a:lnTo>
                  <a:lnTo>
                    <a:pt x="811" y="194"/>
                  </a:lnTo>
                  <a:lnTo>
                    <a:pt x="797" y="175"/>
                  </a:lnTo>
                  <a:lnTo>
                    <a:pt x="782" y="157"/>
                  </a:lnTo>
                  <a:lnTo>
                    <a:pt x="765" y="140"/>
                  </a:lnTo>
                  <a:lnTo>
                    <a:pt x="765" y="1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36" name="Freeform 60"/>
            <p:cNvSpPr>
              <a:spLocks noEditPoints="1"/>
            </p:cNvSpPr>
            <p:nvPr/>
          </p:nvSpPr>
          <p:spPr bwMode="auto">
            <a:xfrm>
              <a:off x="5078413" y="852488"/>
              <a:ext cx="47625" cy="47625"/>
            </a:xfrm>
            <a:custGeom>
              <a:avLst/>
              <a:gdLst>
                <a:gd name="T0" fmla="*/ 51 w 151"/>
                <a:gd name="T1" fmla="*/ 38 h 151"/>
                <a:gd name="T2" fmla="*/ 67 w 151"/>
                <a:gd name="T3" fmla="*/ 30 h 151"/>
                <a:gd name="T4" fmla="*/ 84 w 151"/>
                <a:gd name="T5" fmla="*/ 30 h 151"/>
                <a:gd name="T6" fmla="*/ 100 w 151"/>
                <a:gd name="T7" fmla="*/ 38 h 151"/>
                <a:gd name="T8" fmla="*/ 113 w 151"/>
                <a:gd name="T9" fmla="*/ 50 h 151"/>
                <a:gd name="T10" fmla="*/ 119 w 151"/>
                <a:gd name="T11" fmla="*/ 66 h 151"/>
                <a:gd name="T12" fmla="*/ 119 w 151"/>
                <a:gd name="T13" fmla="*/ 84 h 151"/>
                <a:gd name="T14" fmla="*/ 113 w 151"/>
                <a:gd name="T15" fmla="*/ 100 h 151"/>
                <a:gd name="T16" fmla="*/ 100 w 151"/>
                <a:gd name="T17" fmla="*/ 113 h 151"/>
                <a:gd name="T18" fmla="*/ 84 w 151"/>
                <a:gd name="T19" fmla="*/ 119 h 151"/>
                <a:gd name="T20" fmla="*/ 67 w 151"/>
                <a:gd name="T21" fmla="*/ 119 h 151"/>
                <a:gd name="T22" fmla="*/ 51 w 151"/>
                <a:gd name="T23" fmla="*/ 113 h 151"/>
                <a:gd name="T24" fmla="*/ 38 w 151"/>
                <a:gd name="T25" fmla="*/ 100 h 151"/>
                <a:gd name="T26" fmla="*/ 31 w 151"/>
                <a:gd name="T27" fmla="*/ 84 h 151"/>
                <a:gd name="T28" fmla="*/ 31 w 151"/>
                <a:gd name="T29" fmla="*/ 66 h 151"/>
                <a:gd name="T30" fmla="*/ 38 w 151"/>
                <a:gd name="T31" fmla="*/ 50 h 151"/>
                <a:gd name="T32" fmla="*/ 43 w 151"/>
                <a:gd name="T33" fmla="*/ 43 h 151"/>
                <a:gd name="T34" fmla="*/ 83 w 151"/>
                <a:gd name="T35" fmla="*/ 150 h 151"/>
                <a:gd name="T36" fmla="*/ 97 w 151"/>
                <a:gd name="T37" fmla="*/ 148 h 151"/>
                <a:gd name="T38" fmla="*/ 111 w 151"/>
                <a:gd name="T39" fmla="*/ 141 h 151"/>
                <a:gd name="T40" fmla="*/ 123 w 151"/>
                <a:gd name="T41" fmla="*/ 134 h 151"/>
                <a:gd name="T42" fmla="*/ 133 w 151"/>
                <a:gd name="T43" fmla="*/ 123 h 151"/>
                <a:gd name="T44" fmla="*/ 142 w 151"/>
                <a:gd name="T45" fmla="*/ 111 h 151"/>
                <a:gd name="T46" fmla="*/ 147 w 151"/>
                <a:gd name="T47" fmla="*/ 97 h 151"/>
                <a:gd name="T48" fmla="*/ 151 w 151"/>
                <a:gd name="T49" fmla="*/ 83 h 151"/>
                <a:gd name="T50" fmla="*/ 151 w 151"/>
                <a:gd name="T51" fmla="*/ 68 h 151"/>
                <a:gd name="T52" fmla="*/ 147 w 151"/>
                <a:gd name="T53" fmla="*/ 53 h 151"/>
                <a:gd name="T54" fmla="*/ 142 w 151"/>
                <a:gd name="T55" fmla="*/ 40 h 151"/>
                <a:gd name="T56" fmla="*/ 133 w 151"/>
                <a:gd name="T57" fmla="*/ 27 h 151"/>
                <a:gd name="T58" fmla="*/ 123 w 151"/>
                <a:gd name="T59" fmla="*/ 16 h 151"/>
                <a:gd name="T60" fmla="*/ 111 w 151"/>
                <a:gd name="T61" fmla="*/ 9 h 151"/>
                <a:gd name="T62" fmla="*/ 97 w 151"/>
                <a:gd name="T63" fmla="*/ 4 h 151"/>
                <a:gd name="T64" fmla="*/ 83 w 151"/>
                <a:gd name="T65" fmla="*/ 0 h 151"/>
                <a:gd name="T66" fmla="*/ 68 w 151"/>
                <a:gd name="T67" fmla="*/ 0 h 151"/>
                <a:gd name="T68" fmla="*/ 54 w 151"/>
                <a:gd name="T69" fmla="*/ 2 h 151"/>
                <a:gd name="T70" fmla="*/ 40 w 151"/>
                <a:gd name="T71" fmla="*/ 9 h 151"/>
                <a:gd name="T72" fmla="*/ 28 w 151"/>
                <a:gd name="T73" fmla="*/ 16 h 151"/>
                <a:gd name="T74" fmla="*/ 17 w 151"/>
                <a:gd name="T75" fmla="*/ 27 h 151"/>
                <a:gd name="T76" fmla="*/ 9 w 151"/>
                <a:gd name="T77" fmla="*/ 40 h 151"/>
                <a:gd name="T78" fmla="*/ 3 w 151"/>
                <a:gd name="T79" fmla="*/ 53 h 151"/>
                <a:gd name="T80" fmla="*/ 0 w 151"/>
                <a:gd name="T81" fmla="*/ 68 h 151"/>
                <a:gd name="T82" fmla="*/ 0 w 151"/>
                <a:gd name="T83" fmla="*/ 82 h 151"/>
                <a:gd name="T84" fmla="*/ 3 w 151"/>
                <a:gd name="T85" fmla="*/ 97 h 151"/>
                <a:gd name="T86" fmla="*/ 9 w 151"/>
                <a:gd name="T87" fmla="*/ 111 h 151"/>
                <a:gd name="T88" fmla="*/ 17 w 151"/>
                <a:gd name="T89" fmla="*/ 123 h 151"/>
                <a:gd name="T90" fmla="*/ 28 w 151"/>
                <a:gd name="T91" fmla="*/ 134 h 151"/>
                <a:gd name="T92" fmla="*/ 40 w 151"/>
                <a:gd name="T93" fmla="*/ 142 h 151"/>
                <a:gd name="T94" fmla="*/ 54 w 151"/>
                <a:gd name="T95" fmla="*/ 148 h 151"/>
                <a:gd name="T96" fmla="*/ 68 w 151"/>
                <a:gd name="T97" fmla="*/ 150 h 151"/>
                <a:gd name="T98" fmla="*/ 75 w 151"/>
                <a:gd name="T99" fmla="*/ 15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51" h="151">
                  <a:moveTo>
                    <a:pt x="43" y="43"/>
                  </a:moveTo>
                  <a:lnTo>
                    <a:pt x="51" y="38"/>
                  </a:lnTo>
                  <a:lnTo>
                    <a:pt x="58" y="34"/>
                  </a:lnTo>
                  <a:lnTo>
                    <a:pt x="67" y="30"/>
                  </a:lnTo>
                  <a:lnTo>
                    <a:pt x="75" y="30"/>
                  </a:lnTo>
                  <a:lnTo>
                    <a:pt x="84" y="30"/>
                  </a:lnTo>
                  <a:lnTo>
                    <a:pt x="93" y="34"/>
                  </a:lnTo>
                  <a:lnTo>
                    <a:pt x="100" y="38"/>
                  </a:lnTo>
                  <a:lnTo>
                    <a:pt x="108" y="43"/>
                  </a:lnTo>
                  <a:lnTo>
                    <a:pt x="113" y="50"/>
                  </a:lnTo>
                  <a:lnTo>
                    <a:pt x="117" y="57"/>
                  </a:lnTo>
                  <a:lnTo>
                    <a:pt x="119" y="66"/>
                  </a:lnTo>
                  <a:lnTo>
                    <a:pt x="120" y="76"/>
                  </a:lnTo>
                  <a:lnTo>
                    <a:pt x="119" y="84"/>
                  </a:lnTo>
                  <a:lnTo>
                    <a:pt x="117" y="93"/>
                  </a:lnTo>
                  <a:lnTo>
                    <a:pt x="113" y="100"/>
                  </a:lnTo>
                  <a:lnTo>
                    <a:pt x="108" y="107"/>
                  </a:lnTo>
                  <a:lnTo>
                    <a:pt x="100" y="113"/>
                  </a:lnTo>
                  <a:lnTo>
                    <a:pt x="93" y="116"/>
                  </a:lnTo>
                  <a:lnTo>
                    <a:pt x="84" y="119"/>
                  </a:lnTo>
                  <a:lnTo>
                    <a:pt x="75" y="120"/>
                  </a:lnTo>
                  <a:lnTo>
                    <a:pt x="67" y="119"/>
                  </a:lnTo>
                  <a:lnTo>
                    <a:pt x="58" y="116"/>
                  </a:lnTo>
                  <a:lnTo>
                    <a:pt x="51" y="113"/>
                  </a:lnTo>
                  <a:lnTo>
                    <a:pt x="43" y="107"/>
                  </a:lnTo>
                  <a:lnTo>
                    <a:pt x="38" y="100"/>
                  </a:lnTo>
                  <a:lnTo>
                    <a:pt x="33" y="93"/>
                  </a:lnTo>
                  <a:lnTo>
                    <a:pt x="31" y="84"/>
                  </a:lnTo>
                  <a:lnTo>
                    <a:pt x="30" y="76"/>
                  </a:lnTo>
                  <a:lnTo>
                    <a:pt x="31" y="66"/>
                  </a:lnTo>
                  <a:lnTo>
                    <a:pt x="33" y="57"/>
                  </a:lnTo>
                  <a:lnTo>
                    <a:pt x="38" y="50"/>
                  </a:lnTo>
                  <a:lnTo>
                    <a:pt x="43" y="43"/>
                  </a:lnTo>
                  <a:lnTo>
                    <a:pt x="43" y="43"/>
                  </a:lnTo>
                  <a:close/>
                  <a:moveTo>
                    <a:pt x="75" y="151"/>
                  </a:moveTo>
                  <a:lnTo>
                    <a:pt x="83" y="150"/>
                  </a:lnTo>
                  <a:lnTo>
                    <a:pt x="90" y="149"/>
                  </a:lnTo>
                  <a:lnTo>
                    <a:pt x="97" y="148"/>
                  </a:lnTo>
                  <a:lnTo>
                    <a:pt x="104" y="144"/>
                  </a:lnTo>
                  <a:lnTo>
                    <a:pt x="111" y="141"/>
                  </a:lnTo>
                  <a:lnTo>
                    <a:pt x="117" y="138"/>
                  </a:lnTo>
                  <a:lnTo>
                    <a:pt x="123" y="134"/>
                  </a:lnTo>
                  <a:lnTo>
                    <a:pt x="128" y="128"/>
                  </a:lnTo>
                  <a:lnTo>
                    <a:pt x="133" y="123"/>
                  </a:lnTo>
                  <a:lnTo>
                    <a:pt x="138" y="116"/>
                  </a:lnTo>
                  <a:lnTo>
                    <a:pt x="142" y="111"/>
                  </a:lnTo>
                  <a:lnTo>
                    <a:pt x="145" y="104"/>
                  </a:lnTo>
                  <a:lnTo>
                    <a:pt x="147" y="97"/>
                  </a:lnTo>
                  <a:lnTo>
                    <a:pt x="150" y="90"/>
                  </a:lnTo>
                  <a:lnTo>
                    <a:pt x="151" y="83"/>
                  </a:lnTo>
                  <a:lnTo>
                    <a:pt x="151" y="76"/>
                  </a:lnTo>
                  <a:lnTo>
                    <a:pt x="151" y="68"/>
                  </a:lnTo>
                  <a:lnTo>
                    <a:pt x="150" y="60"/>
                  </a:lnTo>
                  <a:lnTo>
                    <a:pt x="147" y="53"/>
                  </a:lnTo>
                  <a:lnTo>
                    <a:pt x="145" y="47"/>
                  </a:lnTo>
                  <a:lnTo>
                    <a:pt x="142" y="40"/>
                  </a:lnTo>
                  <a:lnTo>
                    <a:pt x="138" y="34"/>
                  </a:lnTo>
                  <a:lnTo>
                    <a:pt x="133" y="27"/>
                  </a:lnTo>
                  <a:lnTo>
                    <a:pt x="128" y="22"/>
                  </a:lnTo>
                  <a:lnTo>
                    <a:pt x="123" y="16"/>
                  </a:lnTo>
                  <a:lnTo>
                    <a:pt x="117" y="12"/>
                  </a:lnTo>
                  <a:lnTo>
                    <a:pt x="111" y="9"/>
                  </a:lnTo>
                  <a:lnTo>
                    <a:pt x="104" y="6"/>
                  </a:lnTo>
                  <a:lnTo>
                    <a:pt x="97" y="4"/>
                  </a:lnTo>
                  <a:lnTo>
                    <a:pt x="90" y="1"/>
                  </a:lnTo>
                  <a:lnTo>
                    <a:pt x="83" y="0"/>
                  </a:lnTo>
                  <a:lnTo>
                    <a:pt x="75" y="0"/>
                  </a:lnTo>
                  <a:lnTo>
                    <a:pt x="68" y="0"/>
                  </a:lnTo>
                  <a:lnTo>
                    <a:pt x="60" y="1"/>
                  </a:lnTo>
                  <a:lnTo>
                    <a:pt x="54" y="2"/>
                  </a:lnTo>
                  <a:lnTo>
                    <a:pt x="46" y="6"/>
                  </a:lnTo>
                  <a:lnTo>
                    <a:pt x="40" y="9"/>
                  </a:lnTo>
                  <a:lnTo>
                    <a:pt x="33" y="12"/>
                  </a:lnTo>
                  <a:lnTo>
                    <a:pt x="28" y="16"/>
                  </a:lnTo>
                  <a:lnTo>
                    <a:pt x="22" y="22"/>
                  </a:lnTo>
                  <a:lnTo>
                    <a:pt x="17" y="27"/>
                  </a:lnTo>
                  <a:lnTo>
                    <a:pt x="13" y="34"/>
                  </a:lnTo>
                  <a:lnTo>
                    <a:pt x="9" y="40"/>
                  </a:lnTo>
                  <a:lnTo>
                    <a:pt x="5" y="47"/>
                  </a:lnTo>
                  <a:lnTo>
                    <a:pt x="3" y="53"/>
                  </a:lnTo>
                  <a:lnTo>
                    <a:pt x="1" y="60"/>
                  </a:lnTo>
                  <a:lnTo>
                    <a:pt x="0" y="68"/>
                  </a:lnTo>
                  <a:lnTo>
                    <a:pt x="0" y="74"/>
                  </a:lnTo>
                  <a:lnTo>
                    <a:pt x="0" y="82"/>
                  </a:lnTo>
                  <a:lnTo>
                    <a:pt x="1" y="90"/>
                  </a:lnTo>
                  <a:lnTo>
                    <a:pt x="3" y="97"/>
                  </a:lnTo>
                  <a:lnTo>
                    <a:pt x="5" y="104"/>
                  </a:lnTo>
                  <a:lnTo>
                    <a:pt x="9" y="111"/>
                  </a:lnTo>
                  <a:lnTo>
                    <a:pt x="13" y="116"/>
                  </a:lnTo>
                  <a:lnTo>
                    <a:pt x="17" y="123"/>
                  </a:lnTo>
                  <a:lnTo>
                    <a:pt x="22" y="128"/>
                  </a:lnTo>
                  <a:lnTo>
                    <a:pt x="28" y="134"/>
                  </a:lnTo>
                  <a:lnTo>
                    <a:pt x="33" y="138"/>
                  </a:lnTo>
                  <a:lnTo>
                    <a:pt x="40" y="142"/>
                  </a:lnTo>
                  <a:lnTo>
                    <a:pt x="46" y="144"/>
                  </a:lnTo>
                  <a:lnTo>
                    <a:pt x="54" y="148"/>
                  </a:lnTo>
                  <a:lnTo>
                    <a:pt x="60" y="149"/>
                  </a:lnTo>
                  <a:lnTo>
                    <a:pt x="68" y="150"/>
                  </a:lnTo>
                  <a:lnTo>
                    <a:pt x="75" y="151"/>
                  </a:lnTo>
                  <a:lnTo>
                    <a:pt x="75" y="1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37" name="Freeform 61"/>
            <p:cNvSpPr>
              <a:spLocks noEditPoints="1"/>
            </p:cNvSpPr>
            <p:nvPr/>
          </p:nvSpPr>
          <p:spPr bwMode="auto">
            <a:xfrm>
              <a:off x="5116513" y="915988"/>
              <a:ext cx="38100" cy="38100"/>
            </a:xfrm>
            <a:custGeom>
              <a:avLst/>
              <a:gdLst>
                <a:gd name="T0" fmla="*/ 78 w 122"/>
                <a:gd name="T1" fmla="*/ 84 h 120"/>
                <a:gd name="T2" fmla="*/ 67 w 122"/>
                <a:gd name="T3" fmla="*/ 89 h 120"/>
                <a:gd name="T4" fmla="*/ 55 w 122"/>
                <a:gd name="T5" fmla="*/ 89 h 120"/>
                <a:gd name="T6" fmla="*/ 45 w 122"/>
                <a:gd name="T7" fmla="*/ 84 h 120"/>
                <a:gd name="T8" fmla="*/ 36 w 122"/>
                <a:gd name="T9" fmla="*/ 76 h 120"/>
                <a:gd name="T10" fmla="*/ 32 w 122"/>
                <a:gd name="T11" fmla="*/ 65 h 120"/>
                <a:gd name="T12" fmla="*/ 32 w 122"/>
                <a:gd name="T13" fmla="*/ 53 h 120"/>
                <a:gd name="T14" fmla="*/ 36 w 122"/>
                <a:gd name="T15" fmla="*/ 43 h 120"/>
                <a:gd name="T16" fmla="*/ 45 w 122"/>
                <a:gd name="T17" fmla="*/ 34 h 120"/>
                <a:gd name="T18" fmla="*/ 55 w 122"/>
                <a:gd name="T19" fmla="*/ 30 h 120"/>
                <a:gd name="T20" fmla="*/ 67 w 122"/>
                <a:gd name="T21" fmla="*/ 30 h 120"/>
                <a:gd name="T22" fmla="*/ 78 w 122"/>
                <a:gd name="T23" fmla="*/ 34 h 120"/>
                <a:gd name="T24" fmla="*/ 86 w 122"/>
                <a:gd name="T25" fmla="*/ 43 h 120"/>
                <a:gd name="T26" fmla="*/ 91 w 122"/>
                <a:gd name="T27" fmla="*/ 53 h 120"/>
                <a:gd name="T28" fmla="*/ 91 w 122"/>
                <a:gd name="T29" fmla="*/ 65 h 120"/>
                <a:gd name="T30" fmla="*/ 86 w 122"/>
                <a:gd name="T31" fmla="*/ 76 h 120"/>
                <a:gd name="T32" fmla="*/ 82 w 122"/>
                <a:gd name="T33" fmla="*/ 80 h 120"/>
                <a:gd name="T34" fmla="*/ 99 w 122"/>
                <a:gd name="T35" fmla="*/ 12 h 120"/>
                <a:gd name="T36" fmla="*/ 90 w 122"/>
                <a:gd name="T37" fmla="*/ 6 h 120"/>
                <a:gd name="T38" fmla="*/ 79 w 122"/>
                <a:gd name="T39" fmla="*/ 2 h 120"/>
                <a:gd name="T40" fmla="*/ 67 w 122"/>
                <a:gd name="T41" fmla="*/ 0 h 120"/>
                <a:gd name="T42" fmla="*/ 55 w 122"/>
                <a:gd name="T43" fmla="*/ 0 h 120"/>
                <a:gd name="T44" fmla="*/ 43 w 122"/>
                <a:gd name="T45" fmla="*/ 2 h 120"/>
                <a:gd name="T46" fmla="*/ 33 w 122"/>
                <a:gd name="T47" fmla="*/ 6 h 120"/>
                <a:gd name="T48" fmla="*/ 23 w 122"/>
                <a:gd name="T49" fmla="*/ 12 h 120"/>
                <a:gd name="T50" fmla="*/ 14 w 122"/>
                <a:gd name="T51" fmla="*/ 21 h 120"/>
                <a:gd name="T52" fmla="*/ 8 w 122"/>
                <a:gd name="T53" fmla="*/ 31 h 120"/>
                <a:gd name="T54" fmla="*/ 4 w 122"/>
                <a:gd name="T55" fmla="*/ 43 h 120"/>
                <a:gd name="T56" fmla="*/ 1 w 122"/>
                <a:gd name="T57" fmla="*/ 53 h 120"/>
                <a:gd name="T58" fmla="*/ 1 w 122"/>
                <a:gd name="T59" fmla="*/ 65 h 120"/>
                <a:gd name="T60" fmla="*/ 4 w 122"/>
                <a:gd name="T61" fmla="*/ 77 h 120"/>
                <a:gd name="T62" fmla="*/ 8 w 122"/>
                <a:gd name="T63" fmla="*/ 88 h 120"/>
                <a:gd name="T64" fmla="*/ 14 w 122"/>
                <a:gd name="T65" fmla="*/ 97 h 120"/>
                <a:gd name="T66" fmla="*/ 23 w 122"/>
                <a:gd name="T67" fmla="*/ 106 h 120"/>
                <a:gd name="T68" fmla="*/ 33 w 122"/>
                <a:gd name="T69" fmla="*/ 112 h 120"/>
                <a:gd name="T70" fmla="*/ 43 w 122"/>
                <a:gd name="T71" fmla="*/ 117 h 120"/>
                <a:gd name="T72" fmla="*/ 55 w 122"/>
                <a:gd name="T73" fmla="*/ 119 h 120"/>
                <a:gd name="T74" fmla="*/ 67 w 122"/>
                <a:gd name="T75" fmla="*/ 119 h 120"/>
                <a:gd name="T76" fmla="*/ 79 w 122"/>
                <a:gd name="T77" fmla="*/ 117 h 120"/>
                <a:gd name="T78" fmla="*/ 90 w 122"/>
                <a:gd name="T79" fmla="*/ 112 h 120"/>
                <a:gd name="T80" fmla="*/ 99 w 122"/>
                <a:gd name="T81" fmla="*/ 106 h 120"/>
                <a:gd name="T82" fmla="*/ 108 w 122"/>
                <a:gd name="T83" fmla="*/ 97 h 120"/>
                <a:gd name="T84" fmla="*/ 114 w 122"/>
                <a:gd name="T85" fmla="*/ 88 h 120"/>
                <a:gd name="T86" fmla="*/ 119 w 122"/>
                <a:gd name="T87" fmla="*/ 77 h 120"/>
                <a:gd name="T88" fmla="*/ 121 w 122"/>
                <a:gd name="T89" fmla="*/ 65 h 120"/>
                <a:gd name="T90" fmla="*/ 121 w 122"/>
                <a:gd name="T91" fmla="*/ 53 h 120"/>
                <a:gd name="T92" fmla="*/ 119 w 122"/>
                <a:gd name="T93" fmla="*/ 43 h 120"/>
                <a:gd name="T94" fmla="*/ 114 w 122"/>
                <a:gd name="T95" fmla="*/ 31 h 120"/>
                <a:gd name="T96" fmla="*/ 108 w 122"/>
                <a:gd name="T97" fmla="*/ 21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22" h="120">
                  <a:moveTo>
                    <a:pt x="82" y="80"/>
                  </a:moveTo>
                  <a:lnTo>
                    <a:pt x="78" y="84"/>
                  </a:lnTo>
                  <a:lnTo>
                    <a:pt x="72" y="87"/>
                  </a:lnTo>
                  <a:lnTo>
                    <a:pt x="67" y="89"/>
                  </a:lnTo>
                  <a:lnTo>
                    <a:pt x="61" y="89"/>
                  </a:lnTo>
                  <a:lnTo>
                    <a:pt x="55" y="89"/>
                  </a:lnTo>
                  <a:lnTo>
                    <a:pt x="50" y="87"/>
                  </a:lnTo>
                  <a:lnTo>
                    <a:pt x="45" y="84"/>
                  </a:lnTo>
                  <a:lnTo>
                    <a:pt x="40" y="80"/>
                  </a:lnTo>
                  <a:lnTo>
                    <a:pt x="36" y="76"/>
                  </a:lnTo>
                  <a:lnTo>
                    <a:pt x="34" y="70"/>
                  </a:lnTo>
                  <a:lnTo>
                    <a:pt x="32" y="65"/>
                  </a:lnTo>
                  <a:lnTo>
                    <a:pt x="31" y="59"/>
                  </a:lnTo>
                  <a:lnTo>
                    <a:pt x="32" y="53"/>
                  </a:lnTo>
                  <a:lnTo>
                    <a:pt x="34" y="48"/>
                  </a:lnTo>
                  <a:lnTo>
                    <a:pt x="36" y="43"/>
                  </a:lnTo>
                  <a:lnTo>
                    <a:pt x="40" y="38"/>
                  </a:lnTo>
                  <a:lnTo>
                    <a:pt x="45" y="34"/>
                  </a:lnTo>
                  <a:lnTo>
                    <a:pt x="50" y="32"/>
                  </a:lnTo>
                  <a:lnTo>
                    <a:pt x="55" y="30"/>
                  </a:lnTo>
                  <a:lnTo>
                    <a:pt x="61" y="30"/>
                  </a:lnTo>
                  <a:lnTo>
                    <a:pt x="67" y="30"/>
                  </a:lnTo>
                  <a:lnTo>
                    <a:pt x="72" y="32"/>
                  </a:lnTo>
                  <a:lnTo>
                    <a:pt x="78" y="34"/>
                  </a:lnTo>
                  <a:lnTo>
                    <a:pt x="82" y="38"/>
                  </a:lnTo>
                  <a:lnTo>
                    <a:pt x="86" y="43"/>
                  </a:lnTo>
                  <a:lnTo>
                    <a:pt x="90" y="48"/>
                  </a:lnTo>
                  <a:lnTo>
                    <a:pt x="91" y="53"/>
                  </a:lnTo>
                  <a:lnTo>
                    <a:pt x="92" y="60"/>
                  </a:lnTo>
                  <a:lnTo>
                    <a:pt x="91" y="65"/>
                  </a:lnTo>
                  <a:lnTo>
                    <a:pt x="90" y="70"/>
                  </a:lnTo>
                  <a:lnTo>
                    <a:pt x="86" y="76"/>
                  </a:lnTo>
                  <a:lnTo>
                    <a:pt x="82" y="80"/>
                  </a:lnTo>
                  <a:lnTo>
                    <a:pt x="82" y="80"/>
                  </a:lnTo>
                  <a:close/>
                  <a:moveTo>
                    <a:pt x="104" y="17"/>
                  </a:moveTo>
                  <a:lnTo>
                    <a:pt x="99" y="12"/>
                  </a:lnTo>
                  <a:lnTo>
                    <a:pt x="95" y="9"/>
                  </a:lnTo>
                  <a:lnTo>
                    <a:pt x="90" y="6"/>
                  </a:lnTo>
                  <a:lnTo>
                    <a:pt x="84" y="4"/>
                  </a:lnTo>
                  <a:lnTo>
                    <a:pt x="79" y="2"/>
                  </a:lnTo>
                  <a:lnTo>
                    <a:pt x="72" y="1"/>
                  </a:lnTo>
                  <a:lnTo>
                    <a:pt x="67" y="0"/>
                  </a:lnTo>
                  <a:lnTo>
                    <a:pt x="61" y="0"/>
                  </a:lnTo>
                  <a:lnTo>
                    <a:pt x="55" y="0"/>
                  </a:lnTo>
                  <a:lnTo>
                    <a:pt x="50" y="1"/>
                  </a:lnTo>
                  <a:lnTo>
                    <a:pt x="43" y="2"/>
                  </a:lnTo>
                  <a:lnTo>
                    <a:pt x="38" y="4"/>
                  </a:lnTo>
                  <a:lnTo>
                    <a:pt x="33" y="6"/>
                  </a:lnTo>
                  <a:lnTo>
                    <a:pt x="27" y="9"/>
                  </a:lnTo>
                  <a:lnTo>
                    <a:pt x="23" y="12"/>
                  </a:lnTo>
                  <a:lnTo>
                    <a:pt x="19" y="17"/>
                  </a:lnTo>
                  <a:lnTo>
                    <a:pt x="14" y="21"/>
                  </a:lnTo>
                  <a:lnTo>
                    <a:pt x="11" y="26"/>
                  </a:lnTo>
                  <a:lnTo>
                    <a:pt x="8" y="31"/>
                  </a:lnTo>
                  <a:lnTo>
                    <a:pt x="5" y="36"/>
                  </a:lnTo>
                  <a:lnTo>
                    <a:pt x="4" y="43"/>
                  </a:lnTo>
                  <a:lnTo>
                    <a:pt x="1" y="48"/>
                  </a:lnTo>
                  <a:lnTo>
                    <a:pt x="1" y="53"/>
                  </a:lnTo>
                  <a:lnTo>
                    <a:pt x="0" y="60"/>
                  </a:lnTo>
                  <a:lnTo>
                    <a:pt x="1" y="65"/>
                  </a:lnTo>
                  <a:lnTo>
                    <a:pt x="1" y="70"/>
                  </a:lnTo>
                  <a:lnTo>
                    <a:pt x="4" y="77"/>
                  </a:lnTo>
                  <a:lnTo>
                    <a:pt x="5" y="82"/>
                  </a:lnTo>
                  <a:lnTo>
                    <a:pt x="8" y="88"/>
                  </a:lnTo>
                  <a:lnTo>
                    <a:pt x="11" y="92"/>
                  </a:lnTo>
                  <a:lnTo>
                    <a:pt x="14" y="97"/>
                  </a:lnTo>
                  <a:lnTo>
                    <a:pt x="19" y="102"/>
                  </a:lnTo>
                  <a:lnTo>
                    <a:pt x="23" y="106"/>
                  </a:lnTo>
                  <a:lnTo>
                    <a:pt x="27" y="109"/>
                  </a:lnTo>
                  <a:lnTo>
                    <a:pt x="33" y="112"/>
                  </a:lnTo>
                  <a:lnTo>
                    <a:pt x="38" y="115"/>
                  </a:lnTo>
                  <a:lnTo>
                    <a:pt x="43" y="117"/>
                  </a:lnTo>
                  <a:lnTo>
                    <a:pt x="49" y="119"/>
                  </a:lnTo>
                  <a:lnTo>
                    <a:pt x="55" y="119"/>
                  </a:lnTo>
                  <a:lnTo>
                    <a:pt x="61" y="120"/>
                  </a:lnTo>
                  <a:lnTo>
                    <a:pt x="67" y="119"/>
                  </a:lnTo>
                  <a:lnTo>
                    <a:pt x="72" y="119"/>
                  </a:lnTo>
                  <a:lnTo>
                    <a:pt x="79" y="117"/>
                  </a:lnTo>
                  <a:lnTo>
                    <a:pt x="84" y="115"/>
                  </a:lnTo>
                  <a:lnTo>
                    <a:pt x="90" y="112"/>
                  </a:lnTo>
                  <a:lnTo>
                    <a:pt x="95" y="109"/>
                  </a:lnTo>
                  <a:lnTo>
                    <a:pt x="99" y="106"/>
                  </a:lnTo>
                  <a:lnTo>
                    <a:pt x="104" y="102"/>
                  </a:lnTo>
                  <a:lnTo>
                    <a:pt x="108" y="97"/>
                  </a:lnTo>
                  <a:lnTo>
                    <a:pt x="111" y="92"/>
                  </a:lnTo>
                  <a:lnTo>
                    <a:pt x="114" y="88"/>
                  </a:lnTo>
                  <a:lnTo>
                    <a:pt x="117" y="82"/>
                  </a:lnTo>
                  <a:lnTo>
                    <a:pt x="119" y="77"/>
                  </a:lnTo>
                  <a:lnTo>
                    <a:pt x="121" y="70"/>
                  </a:lnTo>
                  <a:lnTo>
                    <a:pt x="121" y="65"/>
                  </a:lnTo>
                  <a:lnTo>
                    <a:pt x="122" y="60"/>
                  </a:lnTo>
                  <a:lnTo>
                    <a:pt x="121" y="53"/>
                  </a:lnTo>
                  <a:lnTo>
                    <a:pt x="121" y="48"/>
                  </a:lnTo>
                  <a:lnTo>
                    <a:pt x="119" y="43"/>
                  </a:lnTo>
                  <a:lnTo>
                    <a:pt x="117" y="36"/>
                  </a:lnTo>
                  <a:lnTo>
                    <a:pt x="114" y="31"/>
                  </a:lnTo>
                  <a:lnTo>
                    <a:pt x="111" y="26"/>
                  </a:lnTo>
                  <a:lnTo>
                    <a:pt x="108" y="21"/>
                  </a:lnTo>
                  <a:lnTo>
                    <a:pt x="104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38" name="Freeform 62"/>
            <p:cNvSpPr>
              <a:spLocks noEditPoints="1"/>
            </p:cNvSpPr>
            <p:nvPr/>
          </p:nvSpPr>
          <p:spPr bwMode="auto">
            <a:xfrm>
              <a:off x="5073650" y="966788"/>
              <a:ext cx="57150" cy="57150"/>
            </a:xfrm>
            <a:custGeom>
              <a:avLst/>
              <a:gdLst>
                <a:gd name="T0" fmla="*/ 124 w 181"/>
                <a:gd name="T1" fmla="*/ 140 h 181"/>
                <a:gd name="T2" fmla="*/ 108 w 181"/>
                <a:gd name="T3" fmla="*/ 148 h 181"/>
                <a:gd name="T4" fmla="*/ 90 w 181"/>
                <a:gd name="T5" fmla="*/ 151 h 181"/>
                <a:gd name="T6" fmla="*/ 73 w 181"/>
                <a:gd name="T7" fmla="*/ 148 h 181"/>
                <a:gd name="T8" fmla="*/ 57 w 181"/>
                <a:gd name="T9" fmla="*/ 140 h 181"/>
                <a:gd name="T10" fmla="*/ 44 w 181"/>
                <a:gd name="T11" fmla="*/ 129 h 181"/>
                <a:gd name="T12" fmla="*/ 34 w 181"/>
                <a:gd name="T13" fmla="*/ 113 h 181"/>
                <a:gd name="T14" fmla="*/ 30 w 181"/>
                <a:gd name="T15" fmla="*/ 96 h 181"/>
                <a:gd name="T16" fmla="*/ 31 w 181"/>
                <a:gd name="T17" fmla="*/ 79 h 181"/>
                <a:gd name="T18" fmla="*/ 37 w 181"/>
                <a:gd name="T19" fmla="*/ 62 h 181"/>
                <a:gd name="T20" fmla="*/ 47 w 181"/>
                <a:gd name="T21" fmla="*/ 48 h 181"/>
                <a:gd name="T22" fmla="*/ 62 w 181"/>
                <a:gd name="T23" fmla="*/ 37 h 181"/>
                <a:gd name="T24" fmla="*/ 78 w 181"/>
                <a:gd name="T25" fmla="*/ 32 h 181"/>
                <a:gd name="T26" fmla="*/ 97 w 181"/>
                <a:gd name="T27" fmla="*/ 31 h 181"/>
                <a:gd name="T28" fmla="*/ 113 w 181"/>
                <a:gd name="T29" fmla="*/ 35 h 181"/>
                <a:gd name="T30" fmla="*/ 129 w 181"/>
                <a:gd name="T31" fmla="*/ 44 h 181"/>
                <a:gd name="T32" fmla="*/ 141 w 181"/>
                <a:gd name="T33" fmla="*/ 56 h 181"/>
                <a:gd name="T34" fmla="*/ 148 w 181"/>
                <a:gd name="T35" fmla="*/ 73 h 181"/>
                <a:gd name="T36" fmla="*/ 151 w 181"/>
                <a:gd name="T37" fmla="*/ 91 h 181"/>
                <a:gd name="T38" fmla="*/ 148 w 181"/>
                <a:gd name="T39" fmla="*/ 108 h 181"/>
                <a:gd name="T40" fmla="*/ 141 w 181"/>
                <a:gd name="T41" fmla="*/ 124 h 181"/>
                <a:gd name="T42" fmla="*/ 90 w 181"/>
                <a:gd name="T43" fmla="*/ 0 h 181"/>
                <a:gd name="T44" fmla="*/ 63 w 181"/>
                <a:gd name="T45" fmla="*/ 4 h 181"/>
                <a:gd name="T46" fmla="*/ 40 w 181"/>
                <a:gd name="T47" fmla="*/ 16 h 181"/>
                <a:gd name="T48" fmla="*/ 20 w 181"/>
                <a:gd name="T49" fmla="*/ 33 h 181"/>
                <a:gd name="T50" fmla="*/ 6 w 181"/>
                <a:gd name="T51" fmla="*/ 55 h 181"/>
                <a:gd name="T52" fmla="*/ 0 w 181"/>
                <a:gd name="T53" fmla="*/ 81 h 181"/>
                <a:gd name="T54" fmla="*/ 1 w 181"/>
                <a:gd name="T55" fmla="*/ 108 h 181"/>
                <a:gd name="T56" fmla="*/ 11 w 181"/>
                <a:gd name="T57" fmla="*/ 133 h 181"/>
                <a:gd name="T58" fmla="*/ 27 w 181"/>
                <a:gd name="T59" fmla="*/ 154 h 181"/>
                <a:gd name="T60" fmla="*/ 47 w 181"/>
                <a:gd name="T61" fmla="*/ 170 h 181"/>
                <a:gd name="T62" fmla="*/ 72 w 181"/>
                <a:gd name="T63" fmla="*/ 179 h 181"/>
                <a:gd name="T64" fmla="*/ 99 w 181"/>
                <a:gd name="T65" fmla="*/ 180 h 181"/>
                <a:gd name="T66" fmla="*/ 125 w 181"/>
                <a:gd name="T67" fmla="*/ 174 h 181"/>
                <a:gd name="T68" fmla="*/ 147 w 181"/>
                <a:gd name="T69" fmla="*/ 161 h 181"/>
                <a:gd name="T70" fmla="*/ 166 w 181"/>
                <a:gd name="T71" fmla="*/ 140 h 181"/>
                <a:gd name="T72" fmla="*/ 176 w 181"/>
                <a:gd name="T73" fmla="*/ 117 h 181"/>
                <a:gd name="T74" fmla="*/ 181 w 181"/>
                <a:gd name="T75" fmla="*/ 91 h 181"/>
                <a:gd name="T76" fmla="*/ 176 w 181"/>
                <a:gd name="T77" fmla="*/ 64 h 181"/>
                <a:gd name="T78" fmla="*/ 166 w 181"/>
                <a:gd name="T79" fmla="*/ 40 h 181"/>
                <a:gd name="T80" fmla="*/ 147 w 181"/>
                <a:gd name="T81" fmla="*/ 20 h 181"/>
                <a:gd name="T82" fmla="*/ 125 w 181"/>
                <a:gd name="T83" fmla="*/ 7 h 181"/>
                <a:gd name="T84" fmla="*/ 99 w 181"/>
                <a:gd name="T85" fmla="*/ 1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81" h="181">
                  <a:moveTo>
                    <a:pt x="133" y="133"/>
                  </a:moveTo>
                  <a:lnTo>
                    <a:pt x="129" y="137"/>
                  </a:lnTo>
                  <a:lnTo>
                    <a:pt x="124" y="140"/>
                  </a:lnTo>
                  <a:lnTo>
                    <a:pt x="118" y="144"/>
                  </a:lnTo>
                  <a:lnTo>
                    <a:pt x="113" y="146"/>
                  </a:lnTo>
                  <a:lnTo>
                    <a:pt x="108" y="148"/>
                  </a:lnTo>
                  <a:lnTo>
                    <a:pt x="102" y="150"/>
                  </a:lnTo>
                  <a:lnTo>
                    <a:pt x="97" y="150"/>
                  </a:lnTo>
                  <a:lnTo>
                    <a:pt x="90" y="151"/>
                  </a:lnTo>
                  <a:lnTo>
                    <a:pt x="84" y="150"/>
                  </a:lnTo>
                  <a:lnTo>
                    <a:pt x="78" y="150"/>
                  </a:lnTo>
                  <a:lnTo>
                    <a:pt x="73" y="148"/>
                  </a:lnTo>
                  <a:lnTo>
                    <a:pt x="67" y="146"/>
                  </a:lnTo>
                  <a:lnTo>
                    <a:pt x="62" y="144"/>
                  </a:lnTo>
                  <a:lnTo>
                    <a:pt x="57" y="140"/>
                  </a:lnTo>
                  <a:lnTo>
                    <a:pt x="52" y="137"/>
                  </a:lnTo>
                  <a:lnTo>
                    <a:pt x="47" y="133"/>
                  </a:lnTo>
                  <a:lnTo>
                    <a:pt x="44" y="129"/>
                  </a:lnTo>
                  <a:lnTo>
                    <a:pt x="40" y="124"/>
                  </a:lnTo>
                  <a:lnTo>
                    <a:pt x="37" y="119"/>
                  </a:lnTo>
                  <a:lnTo>
                    <a:pt x="34" y="113"/>
                  </a:lnTo>
                  <a:lnTo>
                    <a:pt x="32" y="108"/>
                  </a:lnTo>
                  <a:lnTo>
                    <a:pt x="31" y="103"/>
                  </a:lnTo>
                  <a:lnTo>
                    <a:pt x="30" y="96"/>
                  </a:lnTo>
                  <a:lnTo>
                    <a:pt x="30" y="91"/>
                  </a:lnTo>
                  <a:lnTo>
                    <a:pt x="30" y="84"/>
                  </a:lnTo>
                  <a:lnTo>
                    <a:pt x="31" y="79"/>
                  </a:lnTo>
                  <a:lnTo>
                    <a:pt x="32" y="73"/>
                  </a:lnTo>
                  <a:lnTo>
                    <a:pt x="34" y="67"/>
                  </a:lnTo>
                  <a:lnTo>
                    <a:pt x="37" y="62"/>
                  </a:lnTo>
                  <a:lnTo>
                    <a:pt x="40" y="56"/>
                  </a:lnTo>
                  <a:lnTo>
                    <a:pt x="44" y="52"/>
                  </a:lnTo>
                  <a:lnTo>
                    <a:pt x="47" y="48"/>
                  </a:lnTo>
                  <a:lnTo>
                    <a:pt x="52" y="44"/>
                  </a:lnTo>
                  <a:lnTo>
                    <a:pt x="57" y="40"/>
                  </a:lnTo>
                  <a:lnTo>
                    <a:pt x="62" y="37"/>
                  </a:lnTo>
                  <a:lnTo>
                    <a:pt x="67" y="35"/>
                  </a:lnTo>
                  <a:lnTo>
                    <a:pt x="73" y="33"/>
                  </a:lnTo>
                  <a:lnTo>
                    <a:pt x="78" y="32"/>
                  </a:lnTo>
                  <a:lnTo>
                    <a:pt x="84" y="31"/>
                  </a:lnTo>
                  <a:lnTo>
                    <a:pt x="90" y="31"/>
                  </a:lnTo>
                  <a:lnTo>
                    <a:pt x="97" y="31"/>
                  </a:lnTo>
                  <a:lnTo>
                    <a:pt x="102" y="32"/>
                  </a:lnTo>
                  <a:lnTo>
                    <a:pt x="108" y="33"/>
                  </a:lnTo>
                  <a:lnTo>
                    <a:pt x="113" y="35"/>
                  </a:lnTo>
                  <a:lnTo>
                    <a:pt x="118" y="37"/>
                  </a:lnTo>
                  <a:lnTo>
                    <a:pt x="124" y="40"/>
                  </a:lnTo>
                  <a:lnTo>
                    <a:pt x="129" y="44"/>
                  </a:lnTo>
                  <a:lnTo>
                    <a:pt x="133" y="48"/>
                  </a:lnTo>
                  <a:lnTo>
                    <a:pt x="137" y="52"/>
                  </a:lnTo>
                  <a:lnTo>
                    <a:pt x="141" y="56"/>
                  </a:lnTo>
                  <a:lnTo>
                    <a:pt x="143" y="62"/>
                  </a:lnTo>
                  <a:lnTo>
                    <a:pt x="146" y="67"/>
                  </a:lnTo>
                  <a:lnTo>
                    <a:pt x="148" y="73"/>
                  </a:lnTo>
                  <a:lnTo>
                    <a:pt x="149" y="79"/>
                  </a:lnTo>
                  <a:lnTo>
                    <a:pt x="151" y="84"/>
                  </a:lnTo>
                  <a:lnTo>
                    <a:pt x="151" y="91"/>
                  </a:lnTo>
                  <a:lnTo>
                    <a:pt x="151" y="96"/>
                  </a:lnTo>
                  <a:lnTo>
                    <a:pt x="149" y="103"/>
                  </a:lnTo>
                  <a:lnTo>
                    <a:pt x="148" y="108"/>
                  </a:lnTo>
                  <a:lnTo>
                    <a:pt x="146" y="113"/>
                  </a:lnTo>
                  <a:lnTo>
                    <a:pt x="143" y="119"/>
                  </a:lnTo>
                  <a:lnTo>
                    <a:pt x="141" y="124"/>
                  </a:lnTo>
                  <a:lnTo>
                    <a:pt x="137" y="129"/>
                  </a:lnTo>
                  <a:lnTo>
                    <a:pt x="133" y="133"/>
                  </a:lnTo>
                  <a:close/>
                  <a:moveTo>
                    <a:pt x="90" y="0"/>
                  </a:moveTo>
                  <a:lnTo>
                    <a:pt x="82" y="1"/>
                  </a:lnTo>
                  <a:lnTo>
                    <a:pt x="72" y="2"/>
                  </a:lnTo>
                  <a:lnTo>
                    <a:pt x="63" y="4"/>
                  </a:lnTo>
                  <a:lnTo>
                    <a:pt x="56" y="7"/>
                  </a:lnTo>
                  <a:lnTo>
                    <a:pt x="47" y="10"/>
                  </a:lnTo>
                  <a:lnTo>
                    <a:pt x="40" y="16"/>
                  </a:lnTo>
                  <a:lnTo>
                    <a:pt x="33" y="20"/>
                  </a:lnTo>
                  <a:lnTo>
                    <a:pt x="27" y="26"/>
                  </a:lnTo>
                  <a:lnTo>
                    <a:pt x="20" y="33"/>
                  </a:lnTo>
                  <a:lnTo>
                    <a:pt x="15" y="40"/>
                  </a:lnTo>
                  <a:lnTo>
                    <a:pt x="11" y="48"/>
                  </a:lnTo>
                  <a:lnTo>
                    <a:pt x="6" y="55"/>
                  </a:lnTo>
                  <a:lnTo>
                    <a:pt x="3" y="64"/>
                  </a:lnTo>
                  <a:lnTo>
                    <a:pt x="1" y="73"/>
                  </a:lnTo>
                  <a:lnTo>
                    <a:pt x="0" y="81"/>
                  </a:lnTo>
                  <a:lnTo>
                    <a:pt x="0" y="91"/>
                  </a:lnTo>
                  <a:lnTo>
                    <a:pt x="0" y="100"/>
                  </a:lnTo>
                  <a:lnTo>
                    <a:pt x="1" y="108"/>
                  </a:lnTo>
                  <a:lnTo>
                    <a:pt x="3" y="117"/>
                  </a:lnTo>
                  <a:lnTo>
                    <a:pt x="6" y="125"/>
                  </a:lnTo>
                  <a:lnTo>
                    <a:pt x="11" y="133"/>
                  </a:lnTo>
                  <a:lnTo>
                    <a:pt x="15" y="140"/>
                  </a:lnTo>
                  <a:lnTo>
                    <a:pt x="20" y="148"/>
                  </a:lnTo>
                  <a:lnTo>
                    <a:pt x="27" y="154"/>
                  </a:lnTo>
                  <a:lnTo>
                    <a:pt x="33" y="161"/>
                  </a:lnTo>
                  <a:lnTo>
                    <a:pt x="40" y="166"/>
                  </a:lnTo>
                  <a:lnTo>
                    <a:pt x="47" y="170"/>
                  </a:lnTo>
                  <a:lnTo>
                    <a:pt x="56" y="174"/>
                  </a:lnTo>
                  <a:lnTo>
                    <a:pt x="63" y="177"/>
                  </a:lnTo>
                  <a:lnTo>
                    <a:pt x="72" y="179"/>
                  </a:lnTo>
                  <a:lnTo>
                    <a:pt x="82" y="180"/>
                  </a:lnTo>
                  <a:lnTo>
                    <a:pt x="90" y="181"/>
                  </a:lnTo>
                  <a:lnTo>
                    <a:pt x="99" y="180"/>
                  </a:lnTo>
                  <a:lnTo>
                    <a:pt x="109" y="179"/>
                  </a:lnTo>
                  <a:lnTo>
                    <a:pt x="116" y="177"/>
                  </a:lnTo>
                  <a:lnTo>
                    <a:pt x="125" y="174"/>
                  </a:lnTo>
                  <a:lnTo>
                    <a:pt x="133" y="170"/>
                  </a:lnTo>
                  <a:lnTo>
                    <a:pt x="141" y="166"/>
                  </a:lnTo>
                  <a:lnTo>
                    <a:pt x="147" y="161"/>
                  </a:lnTo>
                  <a:lnTo>
                    <a:pt x="154" y="154"/>
                  </a:lnTo>
                  <a:lnTo>
                    <a:pt x="160" y="148"/>
                  </a:lnTo>
                  <a:lnTo>
                    <a:pt x="166" y="140"/>
                  </a:lnTo>
                  <a:lnTo>
                    <a:pt x="170" y="133"/>
                  </a:lnTo>
                  <a:lnTo>
                    <a:pt x="174" y="125"/>
                  </a:lnTo>
                  <a:lnTo>
                    <a:pt x="176" y="117"/>
                  </a:lnTo>
                  <a:lnTo>
                    <a:pt x="179" y="108"/>
                  </a:lnTo>
                  <a:lnTo>
                    <a:pt x="181" y="100"/>
                  </a:lnTo>
                  <a:lnTo>
                    <a:pt x="181" y="91"/>
                  </a:lnTo>
                  <a:lnTo>
                    <a:pt x="181" y="81"/>
                  </a:lnTo>
                  <a:lnTo>
                    <a:pt x="179" y="73"/>
                  </a:lnTo>
                  <a:lnTo>
                    <a:pt x="176" y="64"/>
                  </a:lnTo>
                  <a:lnTo>
                    <a:pt x="174" y="55"/>
                  </a:lnTo>
                  <a:lnTo>
                    <a:pt x="170" y="48"/>
                  </a:lnTo>
                  <a:lnTo>
                    <a:pt x="166" y="40"/>
                  </a:lnTo>
                  <a:lnTo>
                    <a:pt x="160" y="33"/>
                  </a:lnTo>
                  <a:lnTo>
                    <a:pt x="154" y="26"/>
                  </a:lnTo>
                  <a:lnTo>
                    <a:pt x="147" y="20"/>
                  </a:lnTo>
                  <a:lnTo>
                    <a:pt x="141" y="16"/>
                  </a:lnTo>
                  <a:lnTo>
                    <a:pt x="133" y="10"/>
                  </a:lnTo>
                  <a:lnTo>
                    <a:pt x="125" y="7"/>
                  </a:lnTo>
                  <a:lnTo>
                    <a:pt x="116" y="4"/>
                  </a:lnTo>
                  <a:lnTo>
                    <a:pt x="109" y="2"/>
                  </a:lnTo>
                  <a:lnTo>
                    <a:pt x="99" y="1"/>
                  </a:lnTo>
                  <a:lnTo>
                    <a:pt x="90" y="0"/>
                  </a:lnTo>
                  <a:lnTo>
                    <a:pt x="9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39" name="Freeform 63"/>
            <p:cNvSpPr>
              <a:spLocks noEditPoints="1"/>
            </p:cNvSpPr>
            <p:nvPr/>
          </p:nvSpPr>
          <p:spPr bwMode="auto">
            <a:xfrm>
              <a:off x="5002213" y="838200"/>
              <a:ext cx="49213" cy="49213"/>
            </a:xfrm>
            <a:custGeom>
              <a:avLst/>
              <a:gdLst>
                <a:gd name="T0" fmla="*/ 100 w 151"/>
                <a:gd name="T1" fmla="*/ 113 h 151"/>
                <a:gd name="T2" fmla="*/ 84 w 151"/>
                <a:gd name="T3" fmla="*/ 120 h 151"/>
                <a:gd name="T4" fmla="*/ 67 w 151"/>
                <a:gd name="T5" fmla="*/ 120 h 151"/>
                <a:gd name="T6" fmla="*/ 51 w 151"/>
                <a:gd name="T7" fmla="*/ 113 h 151"/>
                <a:gd name="T8" fmla="*/ 38 w 151"/>
                <a:gd name="T9" fmla="*/ 100 h 151"/>
                <a:gd name="T10" fmla="*/ 32 w 151"/>
                <a:gd name="T11" fmla="*/ 84 h 151"/>
                <a:gd name="T12" fmla="*/ 32 w 151"/>
                <a:gd name="T13" fmla="*/ 67 h 151"/>
                <a:gd name="T14" fmla="*/ 38 w 151"/>
                <a:gd name="T15" fmla="*/ 51 h 151"/>
                <a:gd name="T16" fmla="*/ 51 w 151"/>
                <a:gd name="T17" fmla="*/ 38 h 151"/>
                <a:gd name="T18" fmla="*/ 67 w 151"/>
                <a:gd name="T19" fmla="*/ 32 h 151"/>
                <a:gd name="T20" fmla="*/ 84 w 151"/>
                <a:gd name="T21" fmla="*/ 32 h 151"/>
                <a:gd name="T22" fmla="*/ 100 w 151"/>
                <a:gd name="T23" fmla="*/ 38 h 151"/>
                <a:gd name="T24" fmla="*/ 113 w 151"/>
                <a:gd name="T25" fmla="*/ 51 h 151"/>
                <a:gd name="T26" fmla="*/ 120 w 151"/>
                <a:gd name="T27" fmla="*/ 67 h 151"/>
                <a:gd name="T28" fmla="*/ 120 w 151"/>
                <a:gd name="T29" fmla="*/ 84 h 151"/>
                <a:gd name="T30" fmla="*/ 113 w 151"/>
                <a:gd name="T31" fmla="*/ 100 h 151"/>
                <a:gd name="T32" fmla="*/ 76 w 151"/>
                <a:gd name="T33" fmla="*/ 0 h 151"/>
                <a:gd name="T34" fmla="*/ 61 w 151"/>
                <a:gd name="T35" fmla="*/ 1 h 151"/>
                <a:gd name="T36" fmla="*/ 47 w 151"/>
                <a:gd name="T37" fmla="*/ 6 h 151"/>
                <a:gd name="T38" fmla="*/ 34 w 151"/>
                <a:gd name="T39" fmla="*/ 13 h 151"/>
                <a:gd name="T40" fmla="*/ 22 w 151"/>
                <a:gd name="T41" fmla="*/ 22 h 151"/>
                <a:gd name="T42" fmla="*/ 13 w 151"/>
                <a:gd name="T43" fmla="*/ 34 h 151"/>
                <a:gd name="T44" fmla="*/ 6 w 151"/>
                <a:gd name="T45" fmla="*/ 47 h 151"/>
                <a:gd name="T46" fmla="*/ 1 w 151"/>
                <a:gd name="T47" fmla="*/ 61 h 151"/>
                <a:gd name="T48" fmla="*/ 0 w 151"/>
                <a:gd name="T49" fmla="*/ 76 h 151"/>
                <a:gd name="T50" fmla="*/ 1 w 151"/>
                <a:gd name="T51" fmla="*/ 91 h 151"/>
                <a:gd name="T52" fmla="*/ 6 w 151"/>
                <a:gd name="T53" fmla="*/ 105 h 151"/>
                <a:gd name="T54" fmla="*/ 13 w 151"/>
                <a:gd name="T55" fmla="*/ 118 h 151"/>
                <a:gd name="T56" fmla="*/ 22 w 151"/>
                <a:gd name="T57" fmla="*/ 129 h 151"/>
                <a:gd name="T58" fmla="*/ 34 w 151"/>
                <a:gd name="T59" fmla="*/ 138 h 151"/>
                <a:gd name="T60" fmla="*/ 47 w 151"/>
                <a:gd name="T61" fmla="*/ 146 h 151"/>
                <a:gd name="T62" fmla="*/ 61 w 151"/>
                <a:gd name="T63" fmla="*/ 150 h 151"/>
                <a:gd name="T64" fmla="*/ 76 w 151"/>
                <a:gd name="T65" fmla="*/ 151 h 151"/>
                <a:gd name="T66" fmla="*/ 91 w 151"/>
                <a:gd name="T67" fmla="*/ 150 h 151"/>
                <a:gd name="T68" fmla="*/ 105 w 151"/>
                <a:gd name="T69" fmla="*/ 146 h 151"/>
                <a:gd name="T70" fmla="*/ 118 w 151"/>
                <a:gd name="T71" fmla="*/ 138 h 151"/>
                <a:gd name="T72" fmla="*/ 128 w 151"/>
                <a:gd name="T73" fmla="*/ 129 h 151"/>
                <a:gd name="T74" fmla="*/ 138 w 151"/>
                <a:gd name="T75" fmla="*/ 118 h 151"/>
                <a:gd name="T76" fmla="*/ 146 w 151"/>
                <a:gd name="T77" fmla="*/ 105 h 151"/>
                <a:gd name="T78" fmla="*/ 150 w 151"/>
                <a:gd name="T79" fmla="*/ 91 h 151"/>
                <a:gd name="T80" fmla="*/ 151 w 151"/>
                <a:gd name="T81" fmla="*/ 76 h 151"/>
                <a:gd name="T82" fmla="*/ 150 w 151"/>
                <a:gd name="T83" fmla="*/ 61 h 151"/>
                <a:gd name="T84" fmla="*/ 146 w 151"/>
                <a:gd name="T85" fmla="*/ 47 h 151"/>
                <a:gd name="T86" fmla="*/ 138 w 151"/>
                <a:gd name="T87" fmla="*/ 34 h 151"/>
                <a:gd name="T88" fmla="*/ 128 w 151"/>
                <a:gd name="T89" fmla="*/ 23 h 151"/>
                <a:gd name="T90" fmla="*/ 118 w 151"/>
                <a:gd name="T91" fmla="*/ 13 h 151"/>
                <a:gd name="T92" fmla="*/ 105 w 151"/>
                <a:gd name="T93" fmla="*/ 6 h 151"/>
                <a:gd name="T94" fmla="*/ 91 w 151"/>
                <a:gd name="T95" fmla="*/ 1 h 151"/>
                <a:gd name="T96" fmla="*/ 76 w 151"/>
                <a:gd name="T97" fmla="*/ 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51" h="151">
                  <a:moveTo>
                    <a:pt x="108" y="108"/>
                  </a:moveTo>
                  <a:lnTo>
                    <a:pt x="100" y="113"/>
                  </a:lnTo>
                  <a:lnTo>
                    <a:pt x="93" y="118"/>
                  </a:lnTo>
                  <a:lnTo>
                    <a:pt x="84" y="120"/>
                  </a:lnTo>
                  <a:lnTo>
                    <a:pt x="76" y="121"/>
                  </a:lnTo>
                  <a:lnTo>
                    <a:pt x="67" y="120"/>
                  </a:lnTo>
                  <a:lnTo>
                    <a:pt x="58" y="118"/>
                  </a:lnTo>
                  <a:lnTo>
                    <a:pt x="51" y="113"/>
                  </a:lnTo>
                  <a:lnTo>
                    <a:pt x="43" y="108"/>
                  </a:lnTo>
                  <a:lnTo>
                    <a:pt x="38" y="100"/>
                  </a:lnTo>
                  <a:lnTo>
                    <a:pt x="34" y="93"/>
                  </a:lnTo>
                  <a:lnTo>
                    <a:pt x="32" y="84"/>
                  </a:lnTo>
                  <a:lnTo>
                    <a:pt x="30" y="76"/>
                  </a:lnTo>
                  <a:lnTo>
                    <a:pt x="32" y="67"/>
                  </a:lnTo>
                  <a:lnTo>
                    <a:pt x="34" y="58"/>
                  </a:lnTo>
                  <a:lnTo>
                    <a:pt x="38" y="51"/>
                  </a:lnTo>
                  <a:lnTo>
                    <a:pt x="43" y="43"/>
                  </a:lnTo>
                  <a:lnTo>
                    <a:pt x="51" y="38"/>
                  </a:lnTo>
                  <a:lnTo>
                    <a:pt x="58" y="34"/>
                  </a:lnTo>
                  <a:lnTo>
                    <a:pt x="67" y="32"/>
                  </a:lnTo>
                  <a:lnTo>
                    <a:pt x="76" y="31"/>
                  </a:lnTo>
                  <a:lnTo>
                    <a:pt x="84" y="32"/>
                  </a:lnTo>
                  <a:lnTo>
                    <a:pt x="93" y="34"/>
                  </a:lnTo>
                  <a:lnTo>
                    <a:pt x="100" y="38"/>
                  </a:lnTo>
                  <a:lnTo>
                    <a:pt x="108" y="43"/>
                  </a:lnTo>
                  <a:lnTo>
                    <a:pt x="113" y="51"/>
                  </a:lnTo>
                  <a:lnTo>
                    <a:pt x="118" y="58"/>
                  </a:lnTo>
                  <a:lnTo>
                    <a:pt x="120" y="67"/>
                  </a:lnTo>
                  <a:lnTo>
                    <a:pt x="121" y="76"/>
                  </a:lnTo>
                  <a:lnTo>
                    <a:pt x="120" y="84"/>
                  </a:lnTo>
                  <a:lnTo>
                    <a:pt x="118" y="93"/>
                  </a:lnTo>
                  <a:lnTo>
                    <a:pt x="113" y="100"/>
                  </a:lnTo>
                  <a:lnTo>
                    <a:pt x="108" y="108"/>
                  </a:lnTo>
                  <a:close/>
                  <a:moveTo>
                    <a:pt x="76" y="0"/>
                  </a:moveTo>
                  <a:lnTo>
                    <a:pt x="68" y="0"/>
                  </a:lnTo>
                  <a:lnTo>
                    <a:pt x="61" y="1"/>
                  </a:lnTo>
                  <a:lnTo>
                    <a:pt x="53" y="4"/>
                  </a:lnTo>
                  <a:lnTo>
                    <a:pt x="47" y="6"/>
                  </a:lnTo>
                  <a:lnTo>
                    <a:pt x="40" y="9"/>
                  </a:lnTo>
                  <a:lnTo>
                    <a:pt x="34" y="13"/>
                  </a:lnTo>
                  <a:lnTo>
                    <a:pt x="27" y="18"/>
                  </a:lnTo>
                  <a:lnTo>
                    <a:pt x="22" y="22"/>
                  </a:lnTo>
                  <a:lnTo>
                    <a:pt x="18" y="28"/>
                  </a:lnTo>
                  <a:lnTo>
                    <a:pt x="13" y="34"/>
                  </a:lnTo>
                  <a:lnTo>
                    <a:pt x="9" y="40"/>
                  </a:lnTo>
                  <a:lnTo>
                    <a:pt x="6" y="47"/>
                  </a:lnTo>
                  <a:lnTo>
                    <a:pt x="4" y="54"/>
                  </a:lnTo>
                  <a:lnTo>
                    <a:pt x="1" y="61"/>
                  </a:lnTo>
                  <a:lnTo>
                    <a:pt x="0" y="68"/>
                  </a:lnTo>
                  <a:lnTo>
                    <a:pt x="0" y="76"/>
                  </a:lnTo>
                  <a:lnTo>
                    <a:pt x="0" y="83"/>
                  </a:lnTo>
                  <a:lnTo>
                    <a:pt x="1" y="91"/>
                  </a:lnTo>
                  <a:lnTo>
                    <a:pt x="4" y="97"/>
                  </a:lnTo>
                  <a:lnTo>
                    <a:pt x="6" y="105"/>
                  </a:lnTo>
                  <a:lnTo>
                    <a:pt x="9" y="111"/>
                  </a:lnTo>
                  <a:lnTo>
                    <a:pt x="13" y="118"/>
                  </a:lnTo>
                  <a:lnTo>
                    <a:pt x="18" y="123"/>
                  </a:lnTo>
                  <a:lnTo>
                    <a:pt x="22" y="129"/>
                  </a:lnTo>
                  <a:lnTo>
                    <a:pt x="27" y="134"/>
                  </a:lnTo>
                  <a:lnTo>
                    <a:pt x="34" y="138"/>
                  </a:lnTo>
                  <a:lnTo>
                    <a:pt x="40" y="142"/>
                  </a:lnTo>
                  <a:lnTo>
                    <a:pt x="47" y="146"/>
                  </a:lnTo>
                  <a:lnTo>
                    <a:pt x="53" y="148"/>
                  </a:lnTo>
                  <a:lnTo>
                    <a:pt x="61" y="150"/>
                  </a:lnTo>
                  <a:lnTo>
                    <a:pt x="68" y="151"/>
                  </a:lnTo>
                  <a:lnTo>
                    <a:pt x="76" y="151"/>
                  </a:lnTo>
                  <a:lnTo>
                    <a:pt x="83" y="151"/>
                  </a:lnTo>
                  <a:lnTo>
                    <a:pt x="91" y="150"/>
                  </a:lnTo>
                  <a:lnTo>
                    <a:pt x="97" y="148"/>
                  </a:lnTo>
                  <a:lnTo>
                    <a:pt x="105" y="146"/>
                  </a:lnTo>
                  <a:lnTo>
                    <a:pt x="111" y="142"/>
                  </a:lnTo>
                  <a:lnTo>
                    <a:pt x="118" y="138"/>
                  </a:lnTo>
                  <a:lnTo>
                    <a:pt x="123" y="134"/>
                  </a:lnTo>
                  <a:lnTo>
                    <a:pt x="128" y="129"/>
                  </a:lnTo>
                  <a:lnTo>
                    <a:pt x="134" y="123"/>
                  </a:lnTo>
                  <a:lnTo>
                    <a:pt x="138" y="118"/>
                  </a:lnTo>
                  <a:lnTo>
                    <a:pt x="142" y="111"/>
                  </a:lnTo>
                  <a:lnTo>
                    <a:pt x="146" y="105"/>
                  </a:lnTo>
                  <a:lnTo>
                    <a:pt x="148" y="98"/>
                  </a:lnTo>
                  <a:lnTo>
                    <a:pt x="150" y="91"/>
                  </a:lnTo>
                  <a:lnTo>
                    <a:pt x="151" y="83"/>
                  </a:lnTo>
                  <a:lnTo>
                    <a:pt x="151" y="76"/>
                  </a:lnTo>
                  <a:lnTo>
                    <a:pt x="151" y="68"/>
                  </a:lnTo>
                  <a:lnTo>
                    <a:pt x="150" y="61"/>
                  </a:lnTo>
                  <a:lnTo>
                    <a:pt x="148" y="54"/>
                  </a:lnTo>
                  <a:lnTo>
                    <a:pt x="146" y="47"/>
                  </a:lnTo>
                  <a:lnTo>
                    <a:pt x="142" y="40"/>
                  </a:lnTo>
                  <a:lnTo>
                    <a:pt x="138" y="34"/>
                  </a:lnTo>
                  <a:lnTo>
                    <a:pt x="134" y="28"/>
                  </a:lnTo>
                  <a:lnTo>
                    <a:pt x="128" y="23"/>
                  </a:lnTo>
                  <a:lnTo>
                    <a:pt x="123" y="18"/>
                  </a:lnTo>
                  <a:lnTo>
                    <a:pt x="118" y="13"/>
                  </a:lnTo>
                  <a:lnTo>
                    <a:pt x="111" y="9"/>
                  </a:lnTo>
                  <a:lnTo>
                    <a:pt x="105" y="6"/>
                  </a:lnTo>
                  <a:lnTo>
                    <a:pt x="97" y="4"/>
                  </a:lnTo>
                  <a:lnTo>
                    <a:pt x="91" y="1"/>
                  </a:lnTo>
                  <a:lnTo>
                    <a:pt x="83" y="0"/>
                  </a:lnTo>
                  <a:lnTo>
                    <a:pt x="76" y="0"/>
                  </a:lnTo>
                  <a:lnTo>
                    <a:pt x="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grpSp>
        <p:nvGrpSpPr>
          <p:cNvPr id="243" name="Group 242"/>
          <p:cNvGrpSpPr/>
          <p:nvPr/>
        </p:nvGrpSpPr>
        <p:grpSpPr>
          <a:xfrm>
            <a:off x="9371266" y="4126315"/>
            <a:ext cx="288132" cy="376237"/>
            <a:chOff x="1177620" y="4126315"/>
            <a:chExt cx="288132" cy="376237"/>
          </a:xfrm>
          <a:solidFill>
            <a:schemeClr val="bg1"/>
          </a:solidFill>
        </p:grpSpPr>
        <p:cxnSp>
          <p:nvCxnSpPr>
            <p:cNvPr id="247" name="Straight Connector 246"/>
            <p:cNvCxnSpPr/>
            <p:nvPr/>
          </p:nvCxnSpPr>
          <p:spPr>
            <a:xfrm>
              <a:off x="1177620" y="4126315"/>
              <a:ext cx="288132" cy="0"/>
            </a:xfrm>
            <a:prstGeom prst="line">
              <a:avLst/>
            </a:prstGeom>
            <a:grpFill/>
            <a:ln w="31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8" name="Straight Connector 247"/>
            <p:cNvCxnSpPr/>
            <p:nvPr/>
          </p:nvCxnSpPr>
          <p:spPr>
            <a:xfrm>
              <a:off x="1177620" y="4502552"/>
              <a:ext cx="288132" cy="0"/>
            </a:xfrm>
            <a:prstGeom prst="line">
              <a:avLst/>
            </a:prstGeom>
            <a:grpFill/>
            <a:ln w="31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4" name="Group 243"/>
          <p:cNvGrpSpPr>
            <a:grpSpLocks noChangeAspect="1"/>
          </p:cNvGrpSpPr>
          <p:nvPr/>
        </p:nvGrpSpPr>
        <p:grpSpPr>
          <a:xfrm>
            <a:off x="9389332" y="4188433"/>
            <a:ext cx="252000" cy="252000"/>
            <a:chOff x="5510213" y="777875"/>
            <a:chExt cx="239713" cy="287338"/>
          </a:xfrm>
          <a:solidFill>
            <a:schemeClr val="bg1"/>
          </a:solidFill>
          <a:effectLst>
            <a:outerShdw blurRad="25400" dist="254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245" name="Freeform 9"/>
            <p:cNvSpPr>
              <a:spLocks noEditPoints="1"/>
            </p:cNvSpPr>
            <p:nvPr/>
          </p:nvSpPr>
          <p:spPr bwMode="auto">
            <a:xfrm>
              <a:off x="5510213" y="777875"/>
              <a:ext cx="239713" cy="287338"/>
            </a:xfrm>
            <a:custGeom>
              <a:avLst/>
              <a:gdLst>
                <a:gd name="T0" fmla="*/ 31 w 754"/>
                <a:gd name="T1" fmla="*/ 443 h 904"/>
                <a:gd name="T2" fmla="*/ 63 w 754"/>
                <a:gd name="T3" fmla="*/ 396 h 904"/>
                <a:gd name="T4" fmla="*/ 284 w 754"/>
                <a:gd name="T5" fmla="*/ 390 h 904"/>
                <a:gd name="T6" fmla="*/ 314 w 754"/>
                <a:gd name="T7" fmla="*/ 370 h 904"/>
                <a:gd name="T8" fmla="*/ 319 w 754"/>
                <a:gd name="T9" fmla="*/ 324 h 904"/>
                <a:gd name="T10" fmla="*/ 301 w 754"/>
                <a:gd name="T11" fmla="*/ 241 h 904"/>
                <a:gd name="T12" fmla="*/ 310 w 754"/>
                <a:gd name="T13" fmla="*/ 69 h 904"/>
                <a:gd name="T14" fmla="*/ 340 w 754"/>
                <a:gd name="T15" fmla="*/ 39 h 904"/>
                <a:gd name="T16" fmla="*/ 386 w 754"/>
                <a:gd name="T17" fmla="*/ 30 h 904"/>
                <a:gd name="T18" fmla="*/ 428 w 754"/>
                <a:gd name="T19" fmla="*/ 48 h 904"/>
                <a:gd name="T20" fmla="*/ 454 w 754"/>
                <a:gd name="T21" fmla="*/ 86 h 904"/>
                <a:gd name="T22" fmla="*/ 449 w 754"/>
                <a:gd name="T23" fmla="*/ 276 h 904"/>
                <a:gd name="T24" fmla="*/ 432 w 754"/>
                <a:gd name="T25" fmla="*/ 340 h 904"/>
                <a:gd name="T26" fmla="*/ 447 w 754"/>
                <a:gd name="T27" fmla="*/ 379 h 904"/>
                <a:gd name="T28" fmla="*/ 483 w 754"/>
                <a:gd name="T29" fmla="*/ 391 h 904"/>
                <a:gd name="T30" fmla="*/ 702 w 754"/>
                <a:gd name="T31" fmla="*/ 404 h 904"/>
                <a:gd name="T32" fmla="*/ 724 w 754"/>
                <a:gd name="T33" fmla="*/ 573 h 904"/>
                <a:gd name="T34" fmla="*/ 630 w 754"/>
                <a:gd name="T35" fmla="*/ 685 h 904"/>
                <a:gd name="T36" fmla="*/ 615 w 754"/>
                <a:gd name="T37" fmla="*/ 678 h 904"/>
                <a:gd name="T38" fmla="*/ 603 w 754"/>
                <a:gd name="T39" fmla="*/ 690 h 904"/>
                <a:gd name="T40" fmla="*/ 542 w 754"/>
                <a:gd name="T41" fmla="*/ 732 h 904"/>
                <a:gd name="T42" fmla="*/ 528 w 754"/>
                <a:gd name="T43" fmla="*/ 724 h 904"/>
                <a:gd name="T44" fmla="*/ 514 w 754"/>
                <a:gd name="T45" fmla="*/ 732 h 904"/>
                <a:gd name="T46" fmla="*/ 452 w 754"/>
                <a:gd name="T47" fmla="*/ 796 h 904"/>
                <a:gd name="T48" fmla="*/ 440 w 754"/>
                <a:gd name="T49" fmla="*/ 784 h 904"/>
                <a:gd name="T50" fmla="*/ 425 w 754"/>
                <a:gd name="T51" fmla="*/ 790 h 904"/>
                <a:gd name="T52" fmla="*/ 241 w 754"/>
                <a:gd name="T53" fmla="*/ 739 h 904"/>
                <a:gd name="T54" fmla="*/ 219 w 754"/>
                <a:gd name="T55" fmla="*/ 725 h 904"/>
                <a:gd name="T56" fmla="*/ 694 w 754"/>
                <a:gd name="T57" fmla="*/ 603 h 904"/>
                <a:gd name="T58" fmla="*/ 467 w 754"/>
                <a:gd name="T59" fmla="*/ 356 h 904"/>
                <a:gd name="T60" fmla="*/ 474 w 754"/>
                <a:gd name="T61" fmla="*/ 301 h 904"/>
                <a:gd name="T62" fmla="*/ 485 w 754"/>
                <a:gd name="T63" fmla="*/ 88 h 904"/>
                <a:gd name="T64" fmla="*/ 455 w 754"/>
                <a:gd name="T65" fmla="*/ 32 h 904"/>
                <a:gd name="T66" fmla="*/ 400 w 754"/>
                <a:gd name="T67" fmla="*/ 2 h 904"/>
                <a:gd name="T68" fmla="*/ 335 w 754"/>
                <a:gd name="T69" fmla="*/ 7 h 904"/>
                <a:gd name="T70" fmla="*/ 289 w 754"/>
                <a:gd name="T71" fmla="*/ 45 h 904"/>
                <a:gd name="T72" fmla="*/ 271 w 754"/>
                <a:gd name="T73" fmla="*/ 105 h 904"/>
                <a:gd name="T74" fmla="*/ 289 w 754"/>
                <a:gd name="T75" fmla="*/ 330 h 904"/>
                <a:gd name="T76" fmla="*/ 278 w 754"/>
                <a:gd name="T77" fmla="*/ 361 h 904"/>
                <a:gd name="T78" fmla="*/ 46 w 754"/>
                <a:gd name="T79" fmla="*/ 370 h 904"/>
                <a:gd name="T80" fmla="*/ 13 w 754"/>
                <a:gd name="T81" fmla="*/ 406 h 904"/>
                <a:gd name="T82" fmla="*/ 0 w 754"/>
                <a:gd name="T83" fmla="*/ 453 h 904"/>
                <a:gd name="T84" fmla="*/ 6 w 754"/>
                <a:gd name="T85" fmla="*/ 600 h 904"/>
                <a:gd name="T86" fmla="*/ 30 w 754"/>
                <a:gd name="T87" fmla="*/ 892 h 904"/>
                <a:gd name="T88" fmla="*/ 42 w 754"/>
                <a:gd name="T89" fmla="*/ 904 h 904"/>
                <a:gd name="T90" fmla="*/ 164 w 754"/>
                <a:gd name="T91" fmla="*/ 896 h 904"/>
                <a:gd name="T92" fmla="*/ 215 w 754"/>
                <a:gd name="T93" fmla="*/ 900 h 904"/>
                <a:gd name="T94" fmla="*/ 712 w 754"/>
                <a:gd name="T95" fmla="*/ 904 h 904"/>
                <a:gd name="T96" fmla="*/ 724 w 754"/>
                <a:gd name="T97" fmla="*/ 892 h 904"/>
                <a:gd name="T98" fmla="*/ 747 w 754"/>
                <a:gd name="T99" fmla="*/ 600 h 904"/>
                <a:gd name="T100" fmla="*/ 754 w 754"/>
                <a:gd name="T101" fmla="*/ 451 h 904"/>
                <a:gd name="T102" fmla="*/ 741 w 754"/>
                <a:gd name="T103" fmla="*/ 406 h 904"/>
                <a:gd name="T104" fmla="*/ 706 w 754"/>
                <a:gd name="T105" fmla="*/ 370 h 9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754" h="904">
                  <a:moveTo>
                    <a:pt x="724" y="573"/>
                  </a:moveTo>
                  <a:lnTo>
                    <a:pt x="709" y="573"/>
                  </a:lnTo>
                  <a:lnTo>
                    <a:pt x="45" y="573"/>
                  </a:lnTo>
                  <a:lnTo>
                    <a:pt x="30" y="573"/>
                  </a:lnTo>
                  <a:lnTo>
                    <a:pt x="30" y="451"/>
                  </a:lnTo>
                  <a:lnTo>
                    <a:pt x="31" y="443"/>
                  </a:lnTo>
                  <a:lnTo>
                    <a:pt x="34" y="432"/>
                  </a:lnTo>
                  <a:lnTo>
                    <a:pt x="38" y="422"/>
                  </a:lnTo>
                  <a:lnTo>
                    <a:pt x="45" y="413"/>
                  </a:lnTo>
                  <a:lnTo>
                    <a:pt x="51" y="404"/>
                  </a:lnTo>
                  <a:lnTo>
                    <a:pt x="59" y="398"/>
                  </a:lnTo>
                  <a:lnTo>
                    <a:pt x="63" y="396"/>
                  </a:lnTo>
                  <a:lnTo>
                    <a:pt x="66" y="393"/>
                  </a:lnTo>
                  <a:lnTo>
                    <a:pt x="71" y="392"/>
                  </a:lnTo>
                  <a:lnTo>
                    <a:pt x="75" y="391"/>
                  </a:lnTo>
                  <a:lnTo>
                    <a:pt x="271" y="391"/>
                  </a:lnTo>
                  <a:lnTo>
                    <a:pt x="277" y="391"/>
                  </a:lnTo>
                  <a:lnTo>
                    <a:pt x="284" y="390"/>
                  </a:lnTo>
                  <a:lnTo>
                    <a:pt x="290" y="389"/>
                  </a:lnTo>
                  <a:lnTo>
                    <a:pt x="296" y="386"/>
                  </a:lnTo>
                  <a:lnTo>
                    <a:pt x="301" y="383"/>
                  </a:lnTo>
                  <a:lnTo>
                    <a:pt x="305" y="379"/>
                  </a:lnTo>
                  <a:lnTo>
                    <a:pt x="310" y="375"/>
                  </a:lnTo>
                  <a:lnTo>
                    <a:pt x="314" y="370"/>
                  </a:lnTo>
                  <a:lnTo>
                    <a:pt x="317" y="363"/>
                  </a:lnTo>
                  <a:lnTo>
                    <a:pt x="319" y="356"/>
                  </a:lnTo>
                  <a:lnTo>
                    <a:pt x="320" y="348"/>
                  </a:lnTo>
                  <a:lnTo>
                    <a:pt x="320" y="340"/>
                  </a:lnTo>
                  <a:lnTo>
                    <a:pt x="320" y="332"/>
                  </a:lnTo>
                  <a:lnTo>
                    <a:pt x="319" y="324"/>
                  </a:lnTo>
                  <a:lnTo>
                    <a:pt x="317" y="317"/>
                  </a:lnTo>
                  <a:lnTo>
                    <a:pt x="315" y="311"/>
                  </a:lnTo>
                  <a:lnTo>
                    <a:pt x="308" y="292"/>
                  </a:lnTo>
                  <a:lnTo>
                    <a:pt x="304" y="276"/>
                  </a:lnTo>
                  <a:lnTo>
                    <a:pt x="302" y="260"/>
                  </a:lnTo>
                  <a:lnTo>
                    <a:pt x="301" y="241"/>
                  </a:lnTo>
                  <a:lnTo>
                    <a:pt x="301" y="105"/>
                  </a:lnTo>
                  <a:lnTo>
                    <a:pt x="302" y="98"/>
                  </a:lnTo>
                  <a:lnTo>
                    <a:pt x="303" y="89"/>
                  </a:lnTo>
                  <a:lnTo>
                    <a:pt x="304" y="82"/>
                  </a:lnTo>
                  <a:lnTo>
                    <a:pt x="307" y="75"/>
                  </a:lnTo>
                  <a:lnTo>
                    <a:pt x="310" y="69"/>
                  </a:lnTo>
                  <a:lnTo>
                    <a:pt x="314" y="62"/>
                  </a:lnTo>
                  <a:lnTo>
                    <a:pt x="318" y="57"/>
                  </a:lnTo>
                  <a:lnTo>
                    <a:pt x="322" y="51"/>
                  </a:lnTo>
                  <a:lnTo>
                    <a:pt x="328" y="46"/>
                  </a:lnTo>
                  <a:lnTo>
                    <a:pt x="334" y="42"/>
                  </a:lnTo>
                  <a:lnTo>
                    <a:pt x="340" y="39"/>
                  </a:lnTo>
                  <a:lnTo>
                    <a:pt x="347" y="35"/>
                  </a:lnTo>
                  <a:lnTo>
                    <a:pt x="354" y="33"/>
                  </a:lnTo>
                  <a:lnTo>
                    <a:pt x="361" y="31"/>
                  </a:lnTo>
                  <a:lnTo>
                    <a:pt x="369" y="30"/>
                  </a:lnTo>
                  <a:lnTo>
                    <a:pt x="377" y="30"/>
                  </a:lnTo>
                  <a:lnTo>
                    <a:pt x="386" y="30"/>
                  </a:lnTo>
                  <a:lnTo>
                    <a:pt x="393" y="31"/>
                  </a:lnTo>
                  <a:lnTo>
                    <a:pt x="401" y="33"/>
                  </a:lnTo>
                  <a:lnTo>
                    <a:pt x="408" y="36"/>
                  </a:lnTo>
                  <a:lnTo>
                    <a:pt x="415" y="40"/>
                  </a:lnTo>
                  <a:lnTo>
                    <a:pt x="422" y="44"/>
                  </a:lnTo>
                  <a:lnTo>
                    <a:pt x="428" y="48"/>
                  </a:lnTo>
                  <a:lnTo>
                    <a:pt x="434" y="54"/>
                  </a:lnTo>
                  <a:lnTo>
                    <a:pt x="439" y="59"/>
                  </a:lnTo>
                  <a:lnTo>
                    <a:pt x="444" y="65"/>
                  </a:lnTo>
                  <a:lnTo>
                    <a:pt x="447" y="72"/>
                  </a:lnTo>
                  <a:lnTo>
                    <a:pt x="452" y="78"/>
                  </a:lnTo>
                  <a:lnTo>
                    <a:pt x="454" y="86"/>
                  </a:lnTo>
                  <a:lnTo>
                    <a:pt x="456" y="93"/>
                  </a:lnTo>
                  <a:lnTo>
                    <a:pt x="457" y="101"/>
                  </a:lnTo>
                  <a:lnTo>
                    <a:pt x="457" y="110"/>
                  </a:lnTo>
                  <a:lnTo>
                    <a:pt x="453" y="241"/>
                  </a:lnTo>
                  <a:lnTo>
                    <a:pt x="452" y="260"/>
                  </a:lnTo>
                  <a:lnTo>
                    <a:pt x="449" y="276"/>
                  </a:lnTo>
                  <a:lnTo>
                    <a:pt x="445" y="292"/>
                  </a:lnTo>
                  <a:lnTo>
                    <a:pt x="438" y="311"/>
                  </a:lnTo>
                  <a:lnTo>
                    <a:pt x="436" y="317"/>
                  </a:lnTo>
                  <a:lnTo>
                    <a:pt x="434" y="324"/>
                  </a:lnTo>
                  <a:lnTo>
                    <a:pt x="433" y="332"/>
                  </a:lnTo>
                  <a:lnTo>
                    <a:pt x="432" y="340"/>
                  </a:lnTo>
                  <a:lnTo>
                    <a:pt x="433" y="348"/>
                  </a:lnTo>
                  <a:lnTo>
                    <a:pt x="434" y="356"/>
                  </a:lnTo>
                  <a:lnTo>
                    <a:pt x="436" y="363"/>
                  </a:lnTo>
                  <a:lnTo>
                    <a:pt x="440" y="370"/>
                  </a:lnTo>
                  <a:lnTo>
                    <a:pt x="443" y="375"/>
                  </a:lnTo>
                  <a:lnTo>
                    <a:pt x="447" y="379"/>
                  </a:lnTo>
                  <a:lnTo>
                    <a:pt x="453" y="383"/>
                  </a:lnTo>
                  <a:lnTo>
                    <a:pt x="458" y="386"/>
                  </a:lnTo>
                  <a:lnTo>
                    <a:pt x="463" y="389"/>
                  </a:lnTo>
                  <a:lnTo>
                    <a:pt x="469" y="390"/>
                  </a:lnTo>
                  <a:lnTo>
                    <a:pt x="475" y="391"/>
                  </a:lnTo>
                  <a:lnTo>
                    <a:pt x="483" y="391"/>
                  </a:lnTo>
                  <a:lnTo>
                    <a:pt x="678" y="391"/>
                  </a:lnTo>
                  <a:lnTo>
                    <a:pt x="683" y="392"/>
                  </a:lnTo>
                  <a:lnTo>
                    <a:pt x="686" y="393"/>
                  </a:lnTo>
                  <a:lnTo>
                    <a:pt x="690" y="396"/>
                  </a:lnTo>
                  <a:lnTo>
                    <a:pt x="695" y="398"/>
                  </a:lnTo>
                  <a:lnTo>
                    <a:pt x="702" y="404"/>
                  </a:lnTo>
                  <a:lnTo>
                    <a:pt x="709" y="413"/>
                  </a:lnTo>
                  <a:lnTo>
                    <a:pt x="715" y="422"/>
                  </a:lnTo>
                  <a:lnTo>
                    <a:pt x="719" y="432"/>
                  </a:lnTo>
                  <a:lnTo>
                    <a:pt x="723" y="443"/>
                  </a:lnTo>
                  <a:lnTo>
                    <a:pt x="724" y="453"/>
                  </a:lnTo>
                  <a:lnTo>
                    <a:pt x="724" y="573"/>
                  </a:lnTo>
                  <a:close/>
                  <a:moveTo>
                    <a:pt x="694" y="874"/>
                  </a:moveTo>
                  <a:lnTo>
                    <a:pt x="633" y="874"/>
                  </a:lnTo>
                  <a:lnTo>
                    <a:pt x="633" y="693"/>
                  </a:lnTo>
                  <a:lnTo>
                    <a:pt x="632" y="690"/>
                  </a:lnTo>
                  <a:lnTo>
                    <a:pt x="632" y="687"/>
                  </a:lnTo>
                  <a:lnTo>
                    <a:pt x="630" y="685"/>
                  </a:lnTo>
                  <a:lnTo>
                    <a:pt x="629" y="683"/>
                  </a:lnTo>
                  <a:lnTo>
                    <a:pt x="627" y="681"/>
                  </a:lnTo>
                  <a:lnTo>
                    <a:pt x="624" y="679"/>
                  </a:lnTo>
                  <a:lnTo>
                    <a:pt x="621" y="678"/>
                  </a:lnTo>
                  <a:lnTo>
                    <a:pt x="618" y="678"/>
                  </a:lnTo>
                  <a:lnTo>
                    <a:pt x="615" y="678"/>
                  </a:lnTo>
                  <a:lnTo>
                    <a:pt x="612" y="679"/>
                  </a:lnTo>
                  <a:lnTo>
                    <a:pt x="610" y="681"/>
                  </a:lnTo>
                  <a:lnTo>
                    <a:pt x="607" y="683"/>
                  </a:lnTo>
                  <a:lnTo>
                    <a:pt x="605" y="685"/>
                  </a:lnTo>
                  <a:lnTo>
                    <a:pt x="604" y="687"/>
                  </a:lnTo>
                  <a:lnTo>
                    <a:pt x="603" y="690"/>
                  </a:lnTo>
                  <a:lnTo>
                    <a:pt x="603" y="693"/>
                  </a:lnTo>
                  <a:lnTo>
                    <a:pt x="603" y="874"/>
                  </a:lnTo>
                  <a:lnTo>
                    <a:pt x="543" y="874"/>
                  </a:lnTo>
                  <a:lnTo>
                    <a:pt x="543" y="739"/>
                  </a:lnTo>
                  <a:lnTo>
                    <a:pt x="542" y="735"/>
                  </a:lnTo>
                  <a:lnTo>
                    <a:pt x="542" y="732"/>
                  </a:lnTo>
                  <a:lnTo>
                    <a:pt x="540" y="730"/>
                  </a:lnTo>
                  <a:lnTo>
                    <a:pt x="539" y="728"/>
                  </a:lnTo>
                  <a:lnTo>
                    <a:pt x="535" y="726"/>
                  </a:lnTo>
                  <a:lnTo>
                    <a:pt x="533" y="725"/>
                  </a:lnTo>
                  <a:lnTo>
                    <a:pt x="530" y="724"/>
                  </a:lnTo>
                  <a:lnTo>
                    <a:pt x="528" y="724"/>
                  </a:lnTo>
                  <a:lnTo>
                    <a:pt x="525" y="724"/>
                  </a:lnTo>
                  <a:lnTo>
                    <a:pt x="521" y="725"/>
                  </a:lnTo>
                  <a:lnTo>
                    <a:pt x="519" y="726"/>
                  </a:lnTo>
                  <a:lnTo>
                    <a:pt x="517" y="728"/>
                  </a:lnTo>
                  <a:lnTo>
                    <a:pt x="515" y="730"/>
                  </a:lnTo>
                  <a:lnTo>
                    <a:pt x="514" y="732"/>
                  </a:lnTo>
                  <a:lnTo>
                    <a:pt x="513" y="735"/>
                  </a:lnTo>
                  <a:lnTo>
                    <a:pt x="513" y="739"/>
                  </a:lnTo>
                  <a:lnTo>
                    <a:pt x="513" y="874"/>
                  </a:lnTo>
                  <a:lnTo>
                    <a:pt x="453" y="874"/>
                  </a:lnTo>
                  <a:lnTo>
                    <a:pt x="453" y="799"/>
                  </a:lnTo>
                  <a:lnTo>
                    <a:pt x="452" y="796"/>
                  </a:lnTo>
                  <a:lnTo>
                    <a:pt x="450" y="793"/>
                  </a:lnTo>
                  <a:lnTo>
                    <a:pt x="449" y="790"/>
                  </a:lnTo>
                  <a:lnTo>
                    <a:pt x="447" y="788"/>
                  </a:lnTo>
                  <a:lnTo>
                    <a:pt x="445" y="786"/>
                  </a:lnTo>
                  <a:lnTo>
                    <a:pt x="443" y="785"/>
                  </a:lnTo>
                  <a:lnTo>
                    <a:pt x="440" y="784"/>
                  </a:lnTo>
                  <a:lnTo>
                    <a:pt x="436" y="784"/>
                  </a:lnTo>
                  <a:lnTo>
                    <a:pt x="434" y="784"/>
                  </a:lnTo>
                  <a:lnTo>
                    <a:pt x="431" y="785"/>
                  </a:lnTo>
                  <a:lnTo>
                    <a:pt x="429" y="786"/>
                  </a:lnTo>
                  <a:lnTo>
                    <a:pt x="427" y="788"/>
                  </a:lnTo>
                  <a:lnTo>
                    <a:pt x="425" y="790"/>
                  </a:lnTo>
                  <a:lnTo>
                    <a:pt x="424" y="793"/>
                  </a:lnTo>
                  <a:lnTo>
                    <a:pt x="422" y="796"/>
                  </a:lnTo>
                  <a:lnTo>
                    <a:pt x="421" y="799"/>
                  </a:lnTo>
                  <a:lnTo>
                    <a:pt x="421" y="874"/>
                  </a:lnTo>
                  <a:lnTo>
                    <a:pt x="241" y="874"/>
                  </a:lnTo>
                  <a:lnTo>
                    <a:pt x="241" y="739"/>
                  </a:lnTo>
                  <a:lnTo>
                    <a:pt x="240" y="733"/>
                  </a:lnTo>
                  <a:lnTo>
                    <a:pt x="237" y="729"/>
                  </a:lnTo>
                  <a:lnTo>
                    <a:pt x="234" y="726"/>
                  </a:lnTo>
                  <a:lnTo>
                    <a:pt x="229" y="724"/>
                  </a:lnTo>
                  <a:lnTo>
                    <a:pt x="225" y="724"/>
                  </a:lnTo>
                  <a:lnTo>
                    <a:pt x="219" y="725"/>
                  </a:lnTo>
                  <a:lnTo>
                    <a:pt x="215" y="728"/>
                  </a:lnTo>
                  <a:lnTo>
                    <a:pt x="213" y="732"/>
                  </a:lnTo>
                  <a:lnTo>
                    <a:pt x="141" y="874"/>
                  </a:lnTo>
                  <a:lnTo>
                    <a:pt x="60" y="874"/>
                  </a:lnTo>
                  <a:lnTo>
                    <a:pt x="60" y="603"/>
                  </a:lnTo>
                  <a:lnTo>
                    <a:pt x="694" y="603"/>
                  </a:lnTo>
                  <a:lnTo>
                    <a:pt x="694" y="874"/>
                  </a:lnTo>
                  <a:close/>
                  <a:moveTo>
                    <a:pt x="678" y="361"/>
                  </a:moveTo>
                  <a:lnTo>
                    <a:pt x="483" y="361"/>
                  </a:lnTo>
                  <a:lnTo>
                    <a:pt x="475" y="361"/>
                  </a:lnTo>
                  <a:lnTo>
                    <a:pt x="471" y="359"/>
                  </a:lnTo>
                  <a:lnTo>
                    <a:pt x="467" y="356"/>
                  </a:lnTo>
                  <a:lnTo>
                    <a:pt x="464" y="354"/>
                  </a:lnTo>
                  <a:lnTo>
                    <a:pt x="463" y="348"/>
                  </a:lnTo>
                  <a:lnTo>
                    <a:pt x="462" y="340"/>
                  </a:lnTo>
                  <a:lnTo>
                    <a:pt x="463" y="330"/>
                  </a:lnTo>
                  <a:lnTo>
                    <a:pt x="467" y="322"/>
                  </a:lnTo>
                  <a:lnTo>
                    <a:pt x="474" y="301"/>
                  </a:lnTo>
                  <a:lnTo>
                    <a:pt x="478" y="282"/>
                  </a:lnTo>
                  <a:lnTo>
                    <a:pt x="482" y="263"/>
                  </a:lnTo>
                  <a:lnTo>
                    <a:pt x="483" y="242"/>
                  </a:lnTo>
                  <a:lnTo>
                    <a:pt x="487" y="110"/>
                  </a:lnTo>
                  <a:lnTo>
                    <a:pt x="487" y="99"/>
                  </a:lnTo>
                  <a:lnTo>
                    <a:pt x="485" y="88"/>
                  </a:lnTo>
                  <a:lnTo>
                    <a:pt x="483" y="77"/>
                  </a:lnTo>
                  <a:lnTo>
                    <a:pt x="478" y="67"/>
                  </a:lnTo>
                  <a:lnTo>
                    <a:pt x="474" y="58"/>
                  </a:lnTo>
                  <a:lnTo>
                    <a:pt x="469" y="48"/>
                  </a:lnTo>
                  <a:lnTo>
                    <a:pt x="462" y="40"/>
                  </a:lnTo>
                  <a:lnTo>
                    <a:pt x="455" y="32"/>
                  </a:lnTo>
                  <a:lnTo>
                    <a:pt x="447" y="25"/>
                  </a:lnTo>
                  <a:lnTo>
                    <a:pt x="439" y="18"/>
                  </a:lnTo>
                  <a:lnTo>
                    <a:pt x="430" y="13"/>
                  </a:lnTo>
                  <a:lnTo>
                    <a:pt x="420" y="8"/>
                  </a:lnTo>
                  <a:lnTo>
                    <a:pt x="410" y="5"/>
                  </a:lnTo>
                  <a:lnTo>
                    <a:pt x="400" y="2"/>
                  </a:lnTo>
                  <a:lnTo>
                    <a:pt x="388" y="0"/>
                  </a:lnTo>
                  <a:lnTo>
                    <a:pt x="377" y="0"/>
                  </a:lnTo>
                  <a:lnTo>
                    <a:pt x="367" y="0"/>
                  </a:lnTo>
                  <a:lnTo>
                    <a:pt x="356" y="2"/>
                  </a:lnTo>
                  <a:lnTo>
                    <a:pt x="345" y="4"/>
                  </a:lnTo>
                  <a:lnTo>
                    <a:pt x="335" y="7"/>
                  </a:lnTo>
                  <a:lnTo>
                    <a:pt x="326" y="12"/>
                  </a:lnTo>
                  <a:lnTo>
                    <a:pt x="317" y="17"/>
                  </a:lnTo>
                  <a:lnTo>
                    <a:pt x="308" y="24"/>
                  </a:lnTo>
                  <a:lnTo>
                    <a:pt x="302" y="30"/>
                  </a:lnTo>
                  <a:lnTo>
                    <a:pt x="294" y="37"/>
                  </a:lnTo>
                  <a:lnTo>
                    <a:pt x="289" y="45"/>
                  </a:lnTo>
                  <a:lnTo>
                    <a:pt x="284" y="55"/>
                  </a:lnTo>
                  <a:lnTo>
                    <a:pt x="279" y="63"/>
                  </a:lnTo>
                  <a:lnTo>
                    <a:pt x="276" y="73"/>
                  </a:lnTo>
                  <a:lnTo>
                    <a:pt x="273" y="84"/>
                  </a:lnTo>
                  <a:lnTo>
                    <a:pt x="272" y="94"/>
                  </a:lnTo>
                  <a:lnTo>
                    <a:pt x="271" y="105"/>
                  </a:lnTo>
                  <a:lnTo>
                    <a:pt x="271" y="241"/>
                  </a:lnTo>
                  <a:lnTo>
                    <a:pt x="272" y="262"/>
                  </a:lnTo>
                  <a:lnTo>
                    <a:pt x="274" y="282"/>
                  </a:lnTo>
                  <a:lnTo>
                    <a:pt x="279" y="301"/>
                  </a:lnTo>
                  <a:lnTo>
                    <a:pt x="287" y="322"/>
                  </a:lnTo>
                  <a:lnTo>
                    <a:pt x="289" y="330"/>
                  </a:lnTo>
                  <a:lnTo>
                    <a:pt x="290" y="340"/>
                  </a:lnTo>
                  <a:lnTo>
                    <a:pt x="290" y="348"/>
                  </a:lnTo>
                  <a:lnTo>
                    <a:pt x="289" y="354"/>
                  </a:lnTo>
                  <a:lnTo>
                    <a:pt x="286" y="356"/>
                  </a:lnTo>
                  <a:lnTo>
                    <a:pt x="283" y="359"/>
                  </a:lnTo>
                  <a:lnTo>
                    <a:pt x="278" y="361"/>
                  </a:lnTo>
                  <a:lnTo>
                    <a:pt x="271" y="361"/>
                  </a:lnTo>
                  <a:lnTo>
                    <a:pt x="75" y="361"/>
                  </a:lnTo>
                  <a:lnTo>
                    <a:pt x="68" y="362"/>
                  </a:lnTo>
                  <a:lnTo>
                    <a:pt x="60" y="363"/>
                  </a:lnTo>
                  <a:lnTo>
                    <a:pt x="54" y="367"/>
                  </a:lnTo>
                  <a:lnTo>
                    <a:pt x="46" y="370"/>
                  </a:lnTo>
                  <a:lnTo>
                    <a:pt x="40" y="374"/>
                  </a:lnTo>
                  <a:lnTo>
                    <a:pt x="34" y="379"/>
                  </a:lnTo>
                  <a:lnTo>
                    <a:pt x="28" y="386"/>
                  </a:lnTo>
                  <a:lnTo>
                    <a:pt x="22" y="392"/>
                  </a:lnTo>
                  <a:lnTo>
                    <a:pt x="17" y="399"/>
                  </a:lnTo>
                  <a:lnTo>
                    <a:pt x="13" y="406"/>
                  </a:lnTo>
                  <a:lnTo>
                    <a:pt x="9" y="414"/>
                  </a:lnTo>
                  <a:lnTo>
                    <a:pt x="6" y="421"/>
                  </a:lnTo>
                  <a:lnTo>
                    <a:pt x="3" y="429"/>
                  </a:lnTo>
                  <a:lnTo>
                    <a:pt x="1" y="436"/>
                  </a:lnTo>
                  <a:lnTo>
                    <a:pt x="0" y="444"/>
                  </a:lnTo>
                  <a:lnTo>
                    <a:pt x="0" y="453"/>
                  </a:lnTo>
                  <a:lnTo>
                    <a:pt x="0" y="588"/>
                  </a:lnTo>
                  <a:lnTo>
                    <a:pt x="0" y="590"/>
                  </a:lnTo>
                  <a:lnTo>
                    <a:pt x="1" y="593"/>
                  </a:lnTo>
                  <a:lnTo>
                    <a:pt x="2" y="597"/>
                  </a:lnTo>
                  <a:lnTo>
                    <a:pt x="4" y="599"/>
                  </a:lnTo>
                  <a:lnTo>
                    <a:pt x="6" y="600"/>
                  </a:lnTo>
                  <a:lnTo>
                    <a:pt x="8" y="602"/>
                  </a:lnTo>
                  <a:lnTo>
                    <a:pt x="12" y="602"/>
                  </a:lnTo>
                  <a:lnTo>
                    <a:pt x="15" y="603"/>
                  </a:lnTo>
                  <a:lnTo>
                    <a:pt x="30" y="603"/>
                  </a:lnTo>
                  <a:lnTo>
                    <a:pt x="30" y="889"/>
                  </a:lnTo>
                  <a:lnTo>
                    <a:pt x="30" y="892"/>
                  </a:lnTo>
                  <a:lnTo>
                    <a:pt x="31" y="896"/>
                  </a:lnTo>
                  <a:lnTo>
                    <a:pt x="32" y="898"/>
                  </a:lnTo>
                  <a:lnTo>
                    <a:pt x="34" y="900"/>
                  </a:lnTo>
                  <a:lnTo>
                    <a:pt x="36" y="902"/>
                  </a:lnTo>
                  <a:lnTo>
                    <a:pt x="40" y="903"/>
                  </a:lnTo>
                  <a:lnTo>
                    <a:pt x="42" y="904"/>
                  </a:lnTo>
                  <a:lnTo>
                    <a:pt x="45" y="904"/>
                  </a:lnTo>
                  <a:lnTo>
                    <a:pt x="150" y="904"/>
                  </a:lnTo>
                  <a:lnTo>
                    <a:pt x="155" y="904"/>
                  </a:lnTo>
                  <a:lnTo>
                    <a:pt x="158" y="902"/>
                  </a:lnTo>
                  <a:lnTo>
                    <a:pt x="161" y="900"/>
                  </a:lnTo>
                  <a:lnTo>
                    <a:pt x="164" y="896"/>
                  </a:lnTo>
                  <a:lnTo>
                    <a:pt x="211" y="802"/>
                  </a:lnTo>
                  <a:lnTo>
                    <a:pt x="211" y="889"/>
                  </a:lnTo>
                  <a:lnTo>
                    <a:pt x="211" y="892"/>
                  </a:lnTo>
                  <a:lnTo>
                    <a:pt x="212" y="896"/>
                  </a:lnTo>
                  <a:lnTo>
                    <a:pt x="214" y="898"/>
                  </a:lnTo>
                  <a:lnTo>
                    <a:pt x="215" y="900"/>
                  </a:lnTo>
                  <a:lnTo>
                    <a:pt x="217" y="902"/>
                  </a:lnTo>
                  <a:lnTo>
                    <a:pt x="220" y="903"/>
                  </a:lnTo>
                  <a:lnTo>
                    <a:pt x="222" y="904"/>
                  </a:lnTo>
                  <a:lnTo>
                    <a:pt x="226" y="904"/>
                  </a:lnTo>
                  <a:lnTo>
                    <a:pt x="709" y="904"/>
                  </a:lnTo>
                  <a:lnTo>
                    <a:pt x="712" y="904"/>
                  </a:lnTo>
                  <a:lnTo>
                    <a:pt x="714" y="903"/>
                  </a:lnTo>
                  <a:lnTo>
                    <a:pt x="717" y="902"/>
                  </a:lnTo>
                  <a:lnTo>
                    <a:pt x="719" y="900"/>
                  </a:lnTo>
                  <a:lnTo>
                    <a:pt x="720" y="898"/>
                  </a:lnTo>
                  <a:lnTo>
                    <a:pt x="723" y="896"/>
                  </a:lnTo>
                  <a:lnTo>
                    <a:pt x="724" y="892"/>
                  </a:lnTo>
                  <a:lnTo>
                    <a:pt x="724" y="889"/>
                  </a:lnTo>
                  <a:lnTo>
                    <a:pt x="724" y="603"/>
                  </a:lnTo>
                  <a:lnTo>
                    <a:pt x="739" y="603"/>
                  </a:lnTo>
                  <a:lnTo>
                    <a:pt x="742" y="602"/>
                  </a:lnTo>
                  <a:lnTo>
                    <a:pt x="744" y="602"/>
                  </a:lnTo>
                  <a:lnTo>
                    <a:pt x="747" y="600"/>
                  </a:lnTo>
                  <a:lnTo>
                    <a:pt x="749" y="599"/>
                  </a:lnTo>
                  <a:lnTo>
                    <a:pt x="752" y="597"/>
                  </a:lnTo>
                  <a:lnTo>
                    <a:pt x="753" y="593"/>
                  </a:lnTo>
                  <a:lnTo>
                    <a:pt x="754" y="591"/>
                  </a:lnTo>
                  <a:lnTo>
                    <a:pt x="754" y="588"/>
                  </a:lnTo>
                  <a:lnTo>
                    <a:pt x="754" y="451"/>
                  </a:lnTo>
                  <a:lnTo>
                    <a:pt x="754" y="444"/>
                  </a:lnTo>
                  <a:lnTo>
                    <a:pt x="752" y="436"/>
                  </a:lnTo>
                  <a:lnTo>
                    <a:pt x="751" y="429"/>
                  </a:lnTo>
                  <a:lnTo>
                    <a:pt x="747" y="421"/>
                  </a:lnTo>
                  <a:lnTo>
                    <a:pt x="744" y="414"/>
                  </a:lnTo>
                  <a:lnTo>
                    <a:pt x="741" y="406"/>
                  </a:lnTo>
                  <a:lnTo>
                    <a:pt x="735" y="399"/>
                  </a:lnTo>
                  <a:lnTo>
                    <a:pt x="731" y="392"/>
                  </a:lnTo>
                  <a:lnTo>
                    <a:pt x="726" y="386"/>
                  </a:lnTo>
                  <a:lnTo>
                    <a:pt x="719" y="379"/>
                  </a:lnTo>
                  <a:lnTo>
                    <a:pt x="714" y="374"/>
                  </a:lnTo>
                  <a:lnTo>
                    <a:pt x="706" y="370"/>
                  </a:lnTo>
                  <a:lnTo>
                    <a:pt x="700" y="367"/>
                  </a:lnTo>
                  <a:lnTo>
                    <a:pt x="692" y="364"/>
                  </a:lnTo>
                  <a:lnTo>
                    <a:pt x="686" y="362"/>
                  </a:lnTo>
                  <a:lnTo>
                    <a:pt x="678" y="361"/>
                  </a:lnTo>
                  <a:lnTo>
                    <a:pt x="678" y="3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46" name="Freeform 10"/>
            <p:cNvSpPr>
              <a:spLocks noEditPoints="1"/>
            </p:cNvSpPr>
            <p:nvPr/>
          </p:nvSpPr>
          <p:spPr bwMode="auto">
            <a:xfrm>
              <a:off x="5619750" y="801688"/>
              <a:ext cx="22225" cy="22225"/>
            </a:xfrm>
            <a:custGeom>
              <a:avLst/>
              <a:gdLst>
                <a:gd name="T0" fmla="*/ 30 w 69"/>
                <a:gd name="T1" fmla="*/ 34 h 68"/>
                <a:gd name="T2" fmla="*/ 31 w 69"/>
                <a:gd name="T3" fmla="*/ 32 h 68"/>
                <a:gd name="T4" fmla="*/ 31 w 69"/>
                <a:gd name="T5" fmla="*/ 31 h 68"/>
                <a:gd name="T6" fmla="*/ 33 w 69"/>
                <a:gd name="T7" fmla="*/ 30 h 68"/>
                <a:gd name="T8" fmla="*/ 34 w 69"/>
                <a:gd name="T9" fmla="*/ 30 h 68"/>
                <a:gd name="T10" fmla="*/ 35 w 69"/>
                <a:gd name="T11" fmla="*/ 30 h 68"/>
                <a:gd name="T12" fmla="*/ 38 w 69"/>
                <a:gd name="T13" fmla="*/ 31 h 68"/>
                <a:gd name="T14" fmla="*/ 38 w 69"/>
                <a:gd name="T15" fmla="*/ 32 h 68"/>
                <a:gd name="T16" fmla="*/ 39 w 69"/>
                <a:gd name="T17" fmla="*/ 34 h 68"/>
                <a:gd name="T18" fmla="*/ 38 w 69"/>
                <a:gd name="T19" fmla="*/ 36 h 68"/>
                <a:gd name="T20" fmla="*/ 36 w 69"/>
                <a:gd name="T21" fmla="*/ 37 h 68"/>
                <a:gd name="T22" fmla="*/ 35 w 69"/>
                <a:gd name="T23" fmla="*/ 37 h 68"/>
                <a:gd name="T24" fmla="*/ 34 w 69"/>
                <a:gd name="T25" fmla="*/ 37 h 68"/>
                <a:gd name="T26" fmla="*/ 33 w 69"/>
                <a:gd name="T27" fmla="*/ 37 h 68"/>
                <a:gd name="T28" fmla="*/ 31 w 69"/>
                <a:gd name="T29" fmla="*/ 37 h 68"/>
                <a:gd name="T30" fmla="*/ 31 w 69"/>
                <a:gd name="T31" fmla="*/ 36 h 68"/>
                <a:gd name="T32" fmla="*/ 30 w 69"/>
                <a:gd name="T33" fmla="*/ 34 h 68"/>
                <a:gd name="T34" fmla="*/ 34 w 69"/>
                <a:gd name="T35" fmla="*/ 0 h 68"/>
                <a:gd name="T36" fmla="*/ 28 w 69"/>
                <a:gd name="T37" fmla="*/ 0 h 68"/>
                <a:gd name="T38" fmla="*/ 21 w 69"/>
                <a:gd name="T39" fmla="*/ 2 h 68"/>
                <a:gd name="T40" fmla="*/ 15 w 69"/>
                <a:gd name="T41" fmla="*/ 6 h 68"/>
                <a:gd name="T42" fmla="*/ 11 w 69"/>
                <a:gd name="T43" fmla="*/ 10 h 68"/>
                <a:gd name="T44" fmla="*/ 6 w 69"/>
                <a:gd name="T45" fmla="*/ 15 h 68"/>
                <a:gd name="T46" fmla="*/ 3 w 69"/>
                <a:gd name="T47" fmla="*/ 21 h 68"/>
                <a:gd name="T48" fmla="*/ 1 w 69"/>
                <a:gd name="T49" fmla="*/ 27 h 68"/>
                <a:gd name="T50" fmla="*/ 0 w 69"/>
                <a:gd name="T51" fmla="*/ 34 h 68"/>
                <a:gd name="T52" fmla="*/ 1 w 69"/>
                <a:gd name="T53" fmla="*/ 41 h 68"/>
                <a:gd name="T54" fmla="*/ 3 w 69"/>
                <a:gd name="T55" fmla="*/ 48 h 68"/>
                <a:gd name="T56" fmla="*/ 6 w 69"/>
                <a:gd name="T57" fmla="*/ 53 h 68"/>
                <a:gd name="T58" fmla="*/ 11 w 69"/>
                <a:gd name="T59" fmla="*/ 58 h 68"/>
                <a:gd name="T60" fmla="*/ 15 w 69"/>
                <a:gd name="T61" fmla="*/ 63 h 68"/>
                <a:gd name="T62" fmla="*/ 21 w 69"/>
                <a:gd name="T63" fmla="*/ 65 h 68"/>
                <a:gd name="T64" fmla="*/ 28 w 69"/>
                <a:gd name="T65" fmla="*/ 67 h 68"/>
                <a:gd name="T66" fmla="*/ 34 w 69"/>
                <a:gd name="T67" fmla="*/ 68 h 68"/>
                <a:gd name="T68" fmla="*/ 41 w 69"/>
                <a:gd name="T69" fmla="*/ 67 h 68"/>
                <a:gd name="T70" fmla="*/ 47 w 69"/>
                <a:gd name="T71" fmla="*/ 65 h 68"/>
                <a:gd name="T72" fmla="*/ 54 w 69"/>
                <a:gd name="T73" fmla="*/ 63 h 68"/>
                <a:gd name="T74" fmla="*/ 58 w 69"/>
                <a:gd name="T75" fmla="*/ 58 h 68"/>
                <a:gd name="T76" fmla="*/ 62 w 69"/>
                <a:gd name="T77" fmla="*/ 53 h 68"/>
                <a:gd name="T78" fmla="*/ 65 w 69"/>
                <a:gd name="T79" fmla="*/ 48 h 68"/>
                <a:gd name="T80" fmla="*/ 68 w 69"/>
                <a:gd name="T81" fmla="*/ 41 h 68"/>
                <a:gd name="T82" fmla="*/ 69 w 69"/>
                <a:gd name="T83" fmla="*/ 34 h 68"/>
                <a:gd name="T84" fmla="*/ 68 w 69"/>
                <a:gd name="T85" fmla="*/ 27 h 68"/>
                <a:gd name="T86" fmla="*/ 65 w 69"/>
                <a:gd name="T87" fmla="*/ 21 h 68"/>
                <a:gd name="T88" fmla="*/ 62 w 69"/>
                <a:gd name="T89" fmla="*/ 15 h 68"/>
                <a:gd name="T90" fmla="*/ 58 w 69"/>
                <a:gd name="T91" fmla="*/ 10 h 68"/>
                <a:gd name="T92" fmla="*/ 54 w 69"/>
                <a:gd name="T93" fmla="*/ 6 h 68"/>
                <a:gd name="T94" fmla="*/ 47 w 69"/>
                <a:gd name="T95" fmla="*/ 2 h 68"/>
                <a:gd name="T96" fmla="*/ 41 w 69"/>
                <a:gd name="T97" fmla="*/ 0 h 68"/>
                <a:gd name="T98" fmla="*/ 34 w 69"/>
                <a:gd name="T99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69" h="68">
                  <a:moveTo>
                    <a:pt x="30" y="34"/>
                  </a:moveTo>
                  <a:lnTo>
                    <a:pt x="31" y="32"/>
                  </a:lnTo>
                  <a:lnTo>
                    <a:pt x="31" y="31"/>
                  </a:lnTo>
                  <a:lnTo>
                    <a:pt x="33" y="30"/>
                  </a:lnTo>
                  <a:lnTo>
                    <a:pt x="34" y="30"/>
                  </a:lnTo>
                  <a:lnTo>
                    <a:pt x="35" y="30"/>
                  </a:lnTo>
                  <a:lnTo>
                    <a:pt x="38" y="31"/>
                  </a:lnTo>
                  <a:lnTo>
                    <a:pt x="38" y="32"/>
                  </a:lnTo>
                  <a:lnTo>
                    <a:pt x="39" y="34"/>
                  </a:lnTo>
                  <a:lnTo>
                    <a:pt x="38" y="36"/>
                  </a:lnTo>
                  <a:lnTo>
                    <a:pt x="36" y="37"/>
                  </a:lnTo>
                  <a:lnTo>
                    <a:pt x="35" y="37"/>
                  </a:lnTo>
                  <a:lnTo>
                    <a:pt x="34" y="37"/>
                  </a:lnTo>
                  <a:lnTo>
                    <a:pt x="33" y="37"/>
                  </a:lnTo>
                  <a:lnTo>
                    <a:pt x="31" y="37"/>
                  </a:lnTo>
                  <a:lnTo>
                    <a:pt x="31" y="36"/>
                  </a:lnTo>
                  <a:lnTo>
                    <a:pt x="30" y="34"/>
                  </a:lnTo>
                  <a:close/>
                  <a:moveTo>
                    <a:pt x="34" y="0"/>
                  </a:moveTo>
                  <a:lnTo>
                    <a:pt x="28" y="0"/>
                  </a:lnTo>
                  <a:lnTo>
                    <a:pt x="21" y="2"/>
                  </a:lnTo>
                  <a:lnTo>
                    <a:pt x="15" y="6"/>
                  </a:lnTo>
                  <a:lnTo>
                    <a:pt x="11" y="10"/>
                  </a:lnTo>
                  <a:lnTo>
                    <a:pt x="6" y="15"/>
                  </a:lnTo>
                  <a:lnTo>
                    <a:pt x="3" y="21"/>
                  </a:lnTo>
                  <a:lnTo>
                    <a:pt x="1" y="27"/>
                  </a:lnTo>
                  <a:lnTo>
                    <a:pt x="0" y="34"/>
                  </a:lnTo>
                  <a:lnTo>
                    <a:pt x="1" y="41"/>
                  </a:lnTo>
                  <a:lnTo>
                    <a:pt x="3" y="48"/>
                  </a:lnTo>
                  <a:lnTo>
                    <a:pt x="6" y="53"/>
                  </a:lnTo>
                  <a:lnTo>
                    <a:pt x="11" y="58"/>
                  </a:lnTo>
                  <a:lnTo>
                    <a:pt x="15" y="63"/>
                  </a:lnTo>
                  <a:lnTo>
                    <a:pt x="21" y="65"/>
                  </a:lnTo>
                  <a:lnTo>
                    <a:pt x="28" y="67"/>
                  </a:lnTo>
                  <a:lnTo>
                    <a:pt x="34" y="68"/>
                  </a:lnTo>
                  <a:lnTo>
                    <a:pt x="41" y="67"/>
                  </a:lnTo>
                  <a:lnTo>
                    <a:pt x="47" y="65"/>
                  </a:lnTo>
                  <a:lnTo>
                    <a:pt x="54" y="63"/>
                  </a:lnTo>
                  <a:lnTo>
                    <a:pt x="58" y="58"/>
                  </a:lnTo>
                  <a:lnTo>
                    <a:pt x="62" y="53"/>
                  </a:lnTo>
                  <a:lnTo>
                    <a:pt x="65" y="48"/>
                  </a:lnTo>
                  <a:lnTo>
                    <a:pt x="68" y="41"/>
                  </a:lnTo>
                  <a:lnTo>
                    <a:pt x="69" y="34"/>
                  </a:lnTo>
                  <a:lnTo>
                    <a:pt x="68" y="27"/>
                  </a:lnTo>
                  <a:lnTo>
                    <a:pt x="65" y="21"/>
                  </a:lnTo>
                  <a:lnTo>
                    <a:pt x="62" y="15"/>
                  </a:lnTo>
                  <a:lnTo>
                    <a:pt x="58" y="10"/>
                  </a:lnTo>
                  <a:lnTo>
                    <a:pt x="54" y="6"/>
                  </a:lnTo>
                  <a:lnTo>
                    <a:pt x="47" y="2"/>
                  </a:lnTo>
                  <a:lnTo>
                    <a:pt x="41" y="0"/>
                  </a:lnTo>
                  <a:lnTo>
                    <a:pt x="3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5796948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Rectangle 102"/>
          <p:cNvSpPr/>
          <p:nvPr/>
        </p:nvSpPr>
        <p:spPr>
          <a:xfrm>
            <a:off x="12344400" y="0"/>
            <a:ext cx="469900" cy="469900"/>
          </a:xfrm>
          <a:prstGeom prst="rect">
            <a:avLst/>
          </a:pr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4" name="Rectangle 103"/>
          <p:cNvSpPr/>
          <p:nvPr/>
        </p:nvSpPr>
        <p:spPr>
          <a:xfrm>
            <a:off x="12344400" y="649557"/>
            <a:ext cx="469900" cy="469900"/>
          </a:xfrm>
          <a:prstGeom prst="rect">
            <a:avLst/>
          </a:prstGeom>
          <a:solidFill>
            <a:srgbClr val="AFAB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5" name="Rectangle 104"/>
          <p:cNvSpPr/>
          <p:nvPr/>
        </p:nvSpPr>
        <p:spPr>
          <a:xfrm>
            <a:off x="12344400" y="1299114"/>
            <a:ext cx="469900" cy="469900"/>
          </a:xfrm>
          <a:prstGeom prst="rect">
            <a:avLst/>
          </a:prstGeom>
          <a:solidFill>
            <a:srgbClr val="7671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7" name="Rectangle 106"/>
          <p:cNvSpPr/>
          <p:nvPr/>
        </p:nvSpPr>
        <p:spPr>
          <a:xfrm>
            <a:off x="12966699" y="0"/>
            <a:ext cx="469900" cy="469900"/>
          </a:xfrm>
          <a:prstGeom prst="rect">
            <a:avLst/>
          </a:prstGeom>
          <a:solidFill>
            <a:srgbClr val="E878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8" name="Rectangle 107"/>
          <p:cNvSpPr/>
          <p:nvPr/>
        </p:nvSpPr>
        <p:spPr>
          <a:xfrm>
            <a:off x="12966699" y="649557"/>
            <a:ext cx="469900" cy="469900"/>
          </a:xfrm>
          <a:prstGeom prst="rect">
            <a:avLst/>
          </a:prstGeom>
          <a:solidFill>
            <a:srgbClr val="E258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9" name="Rectangle 108"/>
          <p:cNvSpPr/>
          <p:nvPr/>
        </p:nvSpPr>
        <p:spPr>
          <a:xfrm>
            <a:off x="12966699" y="1299114"/>
            <a:ext cx="469900" cy="469900"/>
          </a:xfrm>
          <a:prstGeom prst="rect">
            <a:avLst/>
          </a:prstGeom>
          <a:solidFill>
            <a:srgbClr val="D63E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0" name="Rectangle 109"/>
          <p:cNvSpPr/>
          <p:nvPr/>
        </p:nvSpPr>
        <p:spPr>
          <a:xfrm>
            <a:off x="13588998" y="0"/>
            <a:ext cx="469900" cy="469900"/>
          </a:xfrm>
          <a:prstGeom prst="rect">
            <a:avLst/>
          </a:prstGeom>
          <a:solidFill>
            <a:srgbClr val="8EDC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1" name="Rectangle 110"/>
          <p:cNvSpPr/>
          <p:nvPr/>
        </p:nvSpPr>
        <p:spPr>
          <a:xfrm>
            <a:off x="13588998" y="649557"/>
            <a:ext cx="469900" cy="469900"/>
          </a:xfrm>
          <a:prstGeom prst="rect">
            <a:avLst/>
          </a:prstGeom>
          <a:solidFill>
            <a:srgbClr val="78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2" name="Rectangle 111"/>
          <p:cNvSpPr/>
          <p:nvPr/>
        </p:nvSpPr>
        <p:spPr>
          <a:xfrm>
            <a:off x="13588998" y="1299114"/>
            <a:ext cx="469900" cy="469900"/>
          </a:xfrm>
          <a:prstGeom prst="rect">
            <a:avLst/>
          </a:prstGeom>
          <a:solidFill>
            <a:srgbClr val="4CC7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3" name="Rectangle 112"/>
          <p:cNvSpPr/>
          <p:nvPr/>
        </p:nvSpPr>
        <p:spPr>
          <a:xfrm>
            <a:off x="14211297" y="0"/>
            <a:ext cx="469900" cy="469900"/>
          </a:xfrm>
          <a:prstGeom prst="rect">
            <a:avLst/>
          </a:prstGeom>
          <a:solidFill>
            <a:srgbClr val="5553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4" name="Rectangle 113"/>
          <p:cNvSpPr/>
          <p:nvPr/>
        </p:nvSpPr>
        <p:spPr>
          <a:xfrm>
            <a:off x="14211297" y="649557"/>
            <a:ext cx="469900" cy="469900"/>
          </a:xfrm>
          <a:prstGeom prst="rect">
            <a:avLst/>
          </a:prstGeom>
          <a:solidFill>
            <a:srgbClr val="3B39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5" name="Rectangle 114"/>
          <p:cNvSpPr/>
          <p:nvPr/>
        </p:nvSpPr>
        <p:spPr>
          <a:xfrm>
            <a:off x="14211297" y="1299114"/>
            <a:ext cx="469900" cy="469900"/>
          </a:xfrm>
          <a:prstGeom prst="rect">
            <a:avLst/>
          </a:prstGeom>
          <a:solidFill>
            <a:srgbClr val="2523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Lorem Ipsum is simply dummy text of the printing and typesetting industry. Lorem Ipsum has been the industry's standard dummy text ever since the 1500s, when an unknown printer took a galley of type and scrambled it to make a type specimen book. </a:t>
            </a:r>
          </a:p>
        </p:txBody>
      </p:sp>
      <p:sp>
        <p:nvSpPr>
          <p:cNvPr id="120" name="Text Placeholder 119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3200" dirty="0"/>
              <a:t>PowerPoint Presentation</a:t>
            </a:r>
          </a:p>
        </p:txBody>
      </p:sp>
      <p:sp>
        <p:nvSpPr>
          <p:cNvPr id="116" name="Date Placeholder 11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E1B330-CB56-448E-9C70-830A2B9C05C8}" type="datetime1">
              <a:rPr lang="en-US" smtClean="0"/>
              <a:t>11/15/2018</a:t>
            </a:fld>
            <a:endParaRPr lang="en-US"/>
          </a:p>
        </p:txBody>
      </p:sp>
      <p:sp>
        <p:nvSpPr>
          <p:cNvPr id="117" name="Slide Number Placeholder 1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06E70-9524-410D-AE9B-78D656EAA14D}" type="slidenum">
              <a:rPr lang="en-US" smtClean="0"/>
              <a:pPr/>
              <a:t>25</a:t>
            </a:fld>
            <a:endParaRPr lang="en-US"/>
          </a:p>
        </p:txBody>
      </p:sp>
      <p:grpSp>
        <p:nvGrpSpPr>
          <p:cNvPr id="9" name="Group 8"/>
          <p:cNvGrpSpPr/>
          <p:nvPr/>
        </p:nvGrpSpPr>
        <p:grpSpPr>
          <a:xfrm>
            <a:off x="714084" y="1756371"/>
            <a:ext cx="4307706" cy="4367195"/>
            <a:chOff x="1428167" y="1756371"/>
            <a:chExt cx="4307706" cy="4367195"/>
          </a:xfrm>
        </p:grpSpPr>
        <p:sp>
          <p:nvSpPr>
            <p:cNvPr id="85" name="Freeform 5"/>
            <p:cNvSpPr>
              <a:spLocks/>
            </p:cNvSpPr>
            <p:nvPr/>
          </p:nvSpPr>
          <p:spPr bwMode="auto">
            <a:xfrm>
              <a:off x="1540937" y="3302982"/>
              <a:ext cx="834031" cy="2132788"/>
            </a:xfrm>
            <a:custGeom>
              <a:avLst/>
              <a:gdLst>
                <a:gd name="T0" fmla="*/ 163 w 1142"/>
                <a:gd name="T1" fmla="*/ 737 h 2918"/>
                <a:gd name="T2" fmla="*/ 256 w 1142"/>
                <a:gd name="T3" fmla="*/ 41 h 2918"/>
                <a:gd name="T4" fmla="*/ 209 w 1142"/>
                <a:gd name="T5" fmla="*/ 48 h 2918"/>
                <a:gd name="T6" fmla="*/ 99 w 1142"/>
                <a:gd name="T7" fmla="*/ 0 h 2918"/>
                <a:gd name="T8" fmla="*/ 0 w 1142"/>
                <a:gd name="T9" fmla="*/ 737 h 2918"/>
                <a:gd name="T10" fmla="*/ 1050 w 1142"/>
                <a:gd name="T11" fmla="*/ 2918 h 2918"/>
                <a:gd name="T12" fmla="*/ 1142 w 1142"/>
                <a:gd name="T13" fmla="*/ 2784 h 2918"/>
                <a:gd name="T14" fmla="*/ 163 w 1142"/>
                <a:gd name="T15" fmla="*/ 737 h 29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42" h="2918">
                  <a:moveTo>
                    <a:pt x="163" y="737"/>
                  </a:moveTo>
                  <a:cubicBezTo>
                    <a:pt x="163" y="496"/>
                    <a:pt x="195" y="263"/>
                    <a:pt x="256" y="41"/>
                  </a:cubicBezTo>
                  <a:cubicBezTo>
                    <a:pt x="242" y="46"/>
                    <a:pt x="226" y="48"/>
                    <a:pt x="209" y="48"/>
                  </a:cubicBezTo>
                  <a:cubicBezTo>
                    <a:pt x="165" y="48"/>
                    <a:pt x="126" y="30"/>
                    <a:pt x="99" y="0"/>
                  </a:cubicBezTo>
                  <a:cubicBezTo>
                    <a:pt x="34" y="235"/>
                    <a:pt x="0" y="482"/>
                    <a:pt x="0" y="737"/>
                  </a:cubicBezTo>
                  <a:cubicBezTo>
                    <a:pt x="0" y="1619"/>
                    <a:pt x="410" y="2406"/>
                    <a:pt x="1050" y="2918"/>
                  </a:cubicBezTo>
                  <a:cubicBezTo>
                    <a:pt x="1052" y="2858"/>
                    <a:pt x="1089" y="2806"/>
                    <a:pt x="1142" y="2784"/>
                  </a:cubicBezTo>
                  <a:cubicBezTo>
                    <a:pt x="545" y="2301"/>
                    <a:pt x="163" y="1563"/>
                    <a:pt x="163" y="737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6" name="Freeform 6"/>
            <p:cNvSpPr>
              <a:spLocks/>
            </p:cNvSpPr>
            <p:nvPr/>
          </p:nvSpPr>
          <p:spPr bwMode="auto">
            <a:xfrm>
              <a:off x="4787830" y="3289351"/>
              <a:ext cx="832790" cy="2143941"/>
            </a:xfrm>
            <a:custGeom>
              <a:avLst/>
              <a:gdLst>
                <a:gd name="T0" fmla="*/ 1037 w 1141"/>
                <a:gd name="T1" fmla="*/ 0 h 2933"/>
                <a:gd name="T2" fmla="*/ 912 w 1141"/>
                <a:gd name="T3" fmla="*/ 67 h 2933"/>
                <a:gd name="T4" fmla="*/ 886 w 1141"/>
                <a:gd name="T5" fmla="*/ 65 h 2933"/>
                <a:gd name="T6" fmla="*/ 978 w 1141"/>
                <a:gd name="T7" fmla="*/ 756 h 2933"/>
                <a:gd name="T8" fmla="*/ 0 w 1141"/>
                <a:gd name="T9" fmla="*/ 2801 h 2933"/>
                <a:gd name="T10" fmla="*/ 96 w 1141"/>
                <a:gd name="T11" fmla="*/ 2933 h 2933"/>
                <a:gd name="T12" fmla="*/ 1141 w 1141"/>
                <a:gd name="T13" fmla="*/ 756 h 2933"/>
                <a:gd name="T14" fmla="*/ 1037 w 1141"/>
                <a:gd name="T15" fmla="*/ 0 h 29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41" h="2933">
                  <a:moveTo>
                    <a:pt x="1037" y="0"/>
                  </a:moveTo>
                  <a:cubicBezTo>
                    <a:pt x="1010" y="40"/>
                    <a:pt x="964" y="67"/>
                    <a:pt x="912" y="67"/>
                  </a:cubicBezTo>
                  <a:cubicBezTo>
                    <a:pt x="903" y="67"/>
                    <a:pt x="894" y="67"/>
                    <a:pt x="886" y="65"/>
                  </a:cubicBezTo>
                  <a:cubicBezTo>
                    <a:pt x="946" y="285"/>
                    <a:pt x="978" y="517"/>
                    <a:pt x="978" y="756"/>
                  </a:cubicBezTo>
                  <a:cubicBezTo>
                    <a:pt x="978" y="1581"/>
                    <a:pt x="596" y="2319"/>
                    <a:pt x="0" y="2801"/>
                  </a:cubicBezTo>
                  <a:cubicBezTo>
                    <a:pt x="54" y="2822"/>
                    <a:pt x="93" y="2873"/>
                    <a:pt x="96" y="2933"/>
                  </a:cubicBezTo>
                  <a:cubicBezTo>
                    <a:pt x="733" y="2421"/>
                    <a:pt x="1141" y="1635"/>
                    <a:pt x="1141" y="756"/>
                  </a:cubicBezTo>
                  <a:cubicBezTo>
                    <a:pt x="1141" y="494"/>
                    <a:pt x="1105" y="240"/>
                    <a:pt x="1037" y="0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7" name="Freeform 7"/>
            <p:cNvSpPr>
              <a:spLocks noEditPoints="1"/>
            </p:cNvSpPr>
            <p:nvPr/>
          </p:nvSpPr>
          <p:spPr bwMode="auto">
            <a:xfrm>
              <a:off x="1959811" y="2209945"/>
              <a:ext cx="3241936" cy="3240697"/>
            </a:xfrm>
            <a:custGeom>
              <a:avLst/>
              <a:gdLst>
                <a:gd name="T0" fmla="*/ 2219 w 4437"/>
                <a:gd name="T1" fmla="*/ 4436 h 4436"/>
                <a:gd name="T2" fmla="*/ 0 w 4437"/>
                <a:gd name="T3" fmla="*/ 2218 h 4436"/>
                <a:gd name="T4" fmla="*/ 2219 w 4437"/>
                <a:gd name="T5" fmla="*/ 0 h 4436"/>
                <a:gd name="T6" fmla="*/ 4437 w 4437"/>
                <a:gd name="T7" fmla="*/ 2218 h 4436"/>
                <a:gd name="T8" fmla="*/ 2219 w 4437"/>
                <a:gd name="T9" fmla="*/ 4436 h 4436"/>
                <a:gd name="T10" fmla="*/ 2219 w 4437"/>
                <a:gd name="T11" fmla="*/ 98 h 4436"/>
                <a:gd name="T12" fmla="*/ 98 w 4437"/>
                <a:gd name="T13" fmla="*/ 2218 h 4436"/>
                <a:gd name="T14" fmla="*/ 2219 w 4437"/>
                <a:gd name="T15" fmla="*/ 4338 h 4436"/>
                <a:gd name="T16" fmla="*/ 4339 w 4437"/>
                <a:gd name="T17" fmla="*/ 2218 h 4436"/>
                <a:gd name="T18" fmla="*/ 2219 w 4437"/>
                <a:gd name="T19" fmla="*/ 98 h 44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37" h="4436">
                  <a:moveTo>
                    <a:pt x="2219" y="4436"/>
                  </a:moveTo>
                  <a:cubicBezTo>
                    <a:pt x="995" y="4436"/>
                    <a:pt x="0" y="3441"/>
                    <a:pt x="0" y="2218"/>
                  </a:cubicBezTo>
                  <a:cubicBezTo>
                    <a:pt x="0" y="995"/>
                    <a:pt x="995" y="0"/>
                    <a:pt x="2219" y="0"/>
                  </a:cubicBezTo>
                  <a:cubicBezTo>
                    <a:pt x="3442" y="0"/>
                    <a:pt x="4437" y="995"/>
                    <a:pt x="4437" y="2218"/>
                  </a:cubicBezTo>
                  <a:cubicBezTo>
                    <a:pt x="4437" y="3441"/>
                    <a:pt x="3442" y="4436"/>
                    <a:pt x="2219" y="4436"/>
                  </a:cubicBezTo>
                  <a:close/>
                  <a:moveTo>
                    <a:pt x="2219" y="98"/>
                  </a:moveTo>
                  <a:cubicBezTo>
                    <a:pt x="1049" y="98"/>
                    <a:pt x="98" y="1049"/>
                    <a:pt x="98" y="2218"/>
                  </a:cubicBezTo>
                  <a:cubicBezTo>
                    <a:pt x="98" y="3387"/>
                    <a:pt x="1049" y="4338"/>
                    <a:pt x="2219" y="4338"/>
                  </a:cubicBezTo>
                  <a:cubicBezTo>
                    <a:pt x="3388" y="4338"/>
                    <a:pt x="4339" y="3387"/>
                    <a:pt x="4339" y="2218"/>
                  </a:cubicBezTo>
                  <a:cubicBezTo>
                    <a:pt x="4339" y="1049"/>
                    <a:pt x="3388" y="98"/>
                    <a:pt x="2219" y="98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8" name="Oval 8"/>
            <p:cNvSpPr>
              <a:spLocks noChangeArrowheads="1"/>
            </p:cNvSpPr>
            <p:nvPr/>
          </p:nvSpPr>
          <p:spPr bwMode="auto">
            <a:xfrm>
              <a:off x="5343024" y="3118332"/>
              <a:ext cx="220590" cy="220590"/>
            </a:xfrm>
            <a:prstGeom prst="ellipse">
              <a:avLst/>
            </a:prstGeom>
            <a:solidFill>
              <a:srgbClr val="AFABAB"/>
            </a:solidFill>
            <a:ln>
              <a:solidFill>
                <a:srgbClr val="AFABAB"/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9" name="Oval 9"/>
            <p:cNvSpPr>
              <a:spLocks noChangeArrowheads="1"/>
            </p:cNvSpPr>
            <p:nvPr/>
          </p:nvSpPr>
          <p:spPr bwMode="auto">
            <a:xfrm>
              <a:off x="3481637" y="1756371"/>
              <a:ext cx="219352" cy="219352"/>
            </a:xfrm>
            <a:prstGeom prst="ellipse">
              <a:avLst/>
            </a:prstGeom>
            <a:solidFill>
              <a:srgbClr val="AFABAB"/>
            </a:solidFill>
            <a:ln>
              <a:solidFill>
                <a:srgbClr val="AFABAB"/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0" name="Oval 10"/>
            <p:cNvSpPr>
              <a:spLocks noChangeArrowheads="1"/>
            </p:cNvSpPr>
            <p:nvPr/>
          </p:nvSpPr>
          <p:spPr bwMode="auto">
            <a:xfrm>
              <a:off x="2308047" y="5329192"/>
              <a:ext cx="219352" cy="219352"/>
            </a:xfrm>
            <a:prstGeom prst="ellipse">
              <a:avLst/>
            </a:prstGeom>
            <a:solidFill>
              <a:srgbClr val="AFABAB"/>
            </a:solidFill>
            <a:ln>
              <a:solidFill>
                <a:srgbClr val="AFABAB"/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1" name="Oval 11"/>
            <p:cNvSpPr>
              <a:spLocks noChangeArrowheads="1"/>
            </p:cNvSpPr>
            <p:nvPr/>
          </p:nvSpPr>
          <p:spPr bwMode="auto">
            <a:xfrm>
              <a:off x="1584311" y="3118331"/>
              <a:ext cx="219352" cy="220590"/>
            </a:xfrm>
            <a:prstGeom prst="ellipse">
              <a:avLst/>
            </a:prstGeom>
            <a:solidFill>
              <a:srgbClr val="AFABAB"/>
            </a:solidFill>
            <a:ln>
              <a:solidFill>
                <a:srgbClr val="AFABAB"/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2" name="Oval 12"/>
            <p:cNvSpPr>
              <a:spLocks noChangeArrowheads="1"/>
            </p:cNvSpPr>
            <p:nvPr/>
          </p:nvSpPr>
          <p:spPr bwMode="auto">
            <a:xfrm>
              <a:off x="4637879" y="5329192"/>
              <a:ext cx="219352" cy="219352"/>
            </a:xfrm>
            <a:prstGeom prst="ellipse">
              <a:avLst/>
            </a:prstGeom>
            <a:solidFill>
              <a:srgbClr val="AFABAB"/>
            </a:solidFill>
            <a:ln>
              <a:solidFill>
                <a:srgbClr val="AFABAB"/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3" name="Freeform 13"/>
            <p:cNvSpPr>
              <a:spLocks/>
            </p:cNvSpPr>
            <p:nvPr/>
          </p:nvSpPr>
          <p:spPr bwMode="auto">
            <a:xfrm>
              <a:off x="1672300" y="1803463"/>
              <a:ext cx="1829166" cy="1360721"/>
            </a:xfrm>
            <a:custGeom>
              <a:avLst/>
              <a:gdLst>
                <a:gd name="T0" fmla="*/ 2476 w 2503"/>
                <a:gd name="T1" fmla="*/ 85 h 1863"/>
                <a:gd name="T2" fmla="*/ 2503 w 2503"/>
                <a:gd name="T3" fmla="*/ 0 h 1863"/>
                <a:gd name="T4" fmla="*/ 0 w 2503"/>
                <a:gd name="T5" fmla="*/ 1803 h 1863"/>
                <a:gd name="T6" fmla="*/ 29 w 2503"/>
                <a:gd name="T7" fmla="*/ 1800 h 1863"/>
                <a:gd name="T8" fmla="*/ 152 w 2503"/>
                <a:gd name="T9" fmla="*/ 1863 h 1863"/>
                <a:gd name="T10" fmla="*/ 2498 w 2503"/>
                <a:gd name="T11" fmla="*/ 163 h 1863"/>
                <a:gd name="T12" fmla="*/ 2476 w 2503"/>
                <a:gd name="T13" fmla="*/ 85 h 18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03" h="1863">
                  <a:moveTo>
                    <a:pt x="2476" y="85"/>
                  </a:moveTo>
                  <a:cubicBezTo>
                    <a:pt x="2476" y="53"/>
                    <a:pt x="2486" y="24"/>
                    <a:pt x="2503" y="0"/>
                  </a:cubicBezTo>
                  <a:cubicBezTo>
                    <a:pt x="1358" y="44"/>
                    <a:pt x="387" y="781"/>
                    <a:pt x="0" y="1803"/>
                  </a:cubicBezTo>
                  <a:cubicBezTo>
                    <a:pt x="9" y="1801"/>
                    <a:pt x="19" y="1800"/>
                    <a:pt x="29" y="1800"/>
                  </a:cubicBezTo>
                  <a:cubicBezTo>
                    <a:pt x="80" y="1800"/>
                    <a:pt x="124" y="1825"/>
                    <a:pt x="152" y="1863"/>
                  </a:cubicBezTo>
                  <a:cubicBezTo>
                    <a:pt x="514" y="903"/>
                    <a:pt x="1424" y="209"/>
                    <a:pt x="2498" y="163"/>
                  </a:cubicBezTo>
                  <a:cubicBezTo>
                    <a:pt x="2484" y="140"/>
                    <a:pt x="2476" y="114"/>
                    <a:pt x="2476" y="85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4" name="Freeform 14"/>
            <p:cNvSpPr>
              <a:spLocks/>
            </p:cNvSpPr>
            <p:nvPr/>
          </p:nvSpPr>
          <p:spPr bwMode="auto">
            <a:xfrm>
              <a:off x="3682399" y="1803463"/>
              <a:ext cx="1809337" cy="1348328"/>
            </a:xfrm>
            <a:custGeom>
              <a:avLst/>
              <a:gdLst>
                <a:gd name="T0" fmla="*/ 0 w 2477"/>
                <a:gd name="T1" fmla="*/ 0 h 1845"/>
                <a:gd name="T2" fmla="*/ 26 w 2477"/>
                <a:gd name="T3" fmla="*/ 84 h 1845"/>
                <a:gd name="T4" fmla="*/ 4 w 2477"/>
                <a:gd name="T5" fmla="*/ 163 h 1845"/>
                <a:gd name="T6" fmla="*/ 2316 w 2477"/>
                <a:gd name="T7" fmla="*/ 1845 h 1845"/>
                <a:gd name="T8" fmla="*/ 2425 w 2477"/>
                <a:gd name="T9" fmla="*/ 1799 h 1845"/>
                <a:gd name="T10" fmla="*/ 2477 w 2477"/>
                <a:gd name="T11" fmla="*/ 1809 h 1845"/>
                <a:gd name="T12" fmla="*/ 0 w 2477"/>
                <a:gd name="T13" fmla="*/ 0 h 18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77" h="1845">
                  <a:moveTo>
                    <a:pt x="0" y="0"/>
                  </a:moveTo>
                  <a:cubicBezTo>
                    <a:pt x="17" y="24"/>
                    <a:pt x="26" y="53"/>
                    <a:pt x="26" y="84"/>
                  </a:cubicBezTo>
                  <a:cubicBezTo>
                    <a:pt x="26" y="113"/>
                    <a:pt x="18" y="140"/>
                    <a:pt x="4" y="163"/>
                  </a:cubicBezTo>
                  <a:cubicBezTo>
                    <a:pt x="1060" y="220"/>
                    <a:pt x="1952" y="902"/>
                    <a:pt x="2316" y="1845"/>
                  </a:cubicBezTo>
                  <a:cubicBezTo>
                    <a:pt x="2344" y="1817"/>
                    <a:pt x="2382" y="1799"/>
                    <a:pt x="2425" y="1799"/>
                  </a:cubicBezTo>
                  <a:cubicBezTo>
                    <a:pt x="2443" y="1799"/>
                    <a:pt x="2460" y="1803"/>
                    <a:pt x="2477" y="1809"/>
                  </a:cubicBezTo>
                  <a:cubicBezTo>
                    <a:pt x="2094" y="792"/>
                    <a:pt x="1135" y="56"/>
                    <a:pt x="0" y="0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5" name="Freeform 15"/>
            <p:cNvSpPr>
              <a:spLocks/>
            </p:cNvSpPr>
            <p:nvPr/>
          </p:nvSpPr>
          <p:spPr bwMode="auto">
            <a:xfrm>
              <a:off x="2454281" y="5445684"/>
              <a:ext cx="2255475" cy="437463"/>
            </a:xfrm>
            <a:custGeom>
              <a:avLst/>
              <a:gdLst>
                <a:gd name="T0" fmla="*/ 2990 w 3087"/>
                <a:gd name="T1" fmla="*/ 0 h 598"/>
                <a:gd name="T2" fmla="*/ 1543 w 3087"/>
                <a:gd name="T3" fmla="*/ 435 h 598"/>
                <a:gd name="T4" fmla="*/ 100 w 3087"/>
                <a:gd name="T5" fmla="*/ 3 h 598"/>
                <a:gd name="T6" fmla="*/ 0 w 3087"/>
                <a:gd name="T7" fmla="*/ 133 h 598"/>
                <a:gd name="T8" fmla="*/ 1543 w 3087"/>
                <a:gd name="T9" fmla="*/ 598 h 598"/>
                <a:gd name="T10" fmla="*/ 3087 w 3087"/>
                <a:gd name="T11" fmla="*/ 131 h 598"/>
                <a:gd name="T12" fmla="*/ 2990 w 3087"/>
                <a:gd name="T13" fmla="*/ 0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87" h="598">
                  <a:moveTo>
                    <a:pt x="2990" y="0"/>
                  </a:moveTo>
                  <a:cubicBezTo>
                    <a:pt x="2574" y="275"/>
                    <a:pt x="2077" y="435"/>
                    <a:pt x="1543" y="435"/>
                  </a:cubicBezTo>
                  <a:cubicBezTo>
                    <a:pt x="1010" y="435"/>
                    <a:pt x="515" y="276"/>
                    <a:pt x="100" y="3"/>
                  </a:cubicBezTo>
                  <a:cubicBezTo>
                    <a:pt x="95" y="63"/>
                    <a:pt x="55" y="113"/>
                    <a:pt x="0" y="133"/>
                  </a:cubicBezTo>
                  <a:cubicBezTo>
                    <a:pt x="442" y="427"/>
                    <a:pt x="973" y="598"/>
                    <a:pt x="1543" y="598"/>
                  </a:cubicBezTo>
                  <a:cubicBezTo>
                    <a:pt x="2113" y="598"/>
                    <a:pt x="2644" y="426"/>
                    <a:pt x="3087" y="131"/>
                  </a:cubicBezTo>
                  <a:cubicBezTo>
                    <a:pt x="3033" y="111"/>
                    <a:pt x="2993" y="60"/>
                    <a:pt x="2990" y="0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6" name="Freeform 21"/>
            <p:cNvSpPr>
              <a:spLocks/>
            </p:cNvSpPr>
            <p:nvPr/>
          </p:nvSpPr>
          <p:spPr bwMode="auto">
            <a:xfrm>
              <a:off x="3469245" y="2421860"/>
              <a:ext cx="8675" cy="4957"/>
            </a:xfrm>
            <a:custGeom>
              <a:avLst/>
              <a:gdLst>
                <a:gd name="T0" fmla="*/ 0 w 12"/>
                <a:gd name="T1" fmla="*/ 7 h 7"/>
                <a:gd name="T2" fmla="*/ 12 w 12"/>
                <a:gd name="T3" fmla="*/ 0 h 7"/>
                <a:gd name="T4" fmla="*/ 0 w 12"/>
                <a:gd name="T5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7">
                  <a:moveTo>
                    <a:pt x="0" y="7"/>
                  </a:moveTo>
                  <a:cubicBezTo>
                    <a:pt x="4" y="5"/>
                    <a:pt x="8" y="2"/>
                    <a:pt x="12" y="0"/>
                  </a:cubicBezTo>
                  <a:cubicBezTo>
                    <a:pt x="8" y="2"/>
                    <a:pt x="4" y="5"/>
                    <a:pt x="0" y="7"/>
                  </a:cubicBezTo>
                  <a:close/>
                </a:path>
              </a:pathLst>
            </a:custGeom>
            <a:solidFill>
              <a:srgbClr val="D6DA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7" name="Freeform 22"/>
            <p:cNvSpPr>
              <a:spLocks/>
            </p:cNvSpPr>
            <p:nvPr/>
          </p:nvSpPr>
          <p:spPr bwMode="auto">
            <a:xfrm>
              <a:off x="4976200" y="3444260"/>
              <a:ext cx="0" cy="13632"/>
            </a:xfrm>
            <a:custGeom>
              <a:avLst/>
              <a:gdLst>
                <a:gd name="T0" fmla="*/ 0 h 19"/>
                <a:gd name="T1" fmla="*/ 19 h 19"/>
                <a:gd name="T2" fmla="*/ 0 h 19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9">
                  <a:moveTo>
                    <a:pt x="0" y="0"/>
                  </a:moveTo>
                  <a:cubicBezTo>
                    <a:pt x="0" y="7"/>
                    <a:pt x="0" y="13"/>
                    <a:pt x="0" y="19"/>
                  </a:cubicBezTo>
                  <a:cubicBezTo>
                    <a:pt x="0" y="13"/>
                    <a:pt x="0" y="7"/>
                    <a:pt x="0" y="0"/>
                  </a:cubicBezTo>
                  <a:close/>
                </a:path>
              </a:pathLst>
            </a:custGeom>
            <a:solidFill>
              <a:srgbClr val="1F42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8" name="Freeform 23"/>
            <p:cNvSpPr>
              <a:spLocks/>
            </p:cNvSpPr>
            <p:nvPr/>
          </p:nvSpPr>
          <p:spPr bwMode="auto">
            <a:xfrm>
              <a:off x="3477919" y="2419382"/>
              <a:ext cx="4957" cy="2479"/>
            </a:xfrm>
            <a:custGeom>
              <a:avLst/>
              <a:gdLst>
                <a:gd name="T0" fmla="*/ 0 w 7"/>
                <a:gd name="T1" fmla="*/ 4 h 4"/>
                <a:gd name="T2" fmla="*/ 7 w 7"/>
                <a:gd name="T3" fmla="*/ 0 h 4"/>
                <a:gd name="T4" fmla="*/ 0 w 7"/>
                <a:gd name="T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4">
                  <a:moveTo>
                    <a:pt x="0" y="4"/>
                  </a:moveTo>
                  <a:cubicBezTo>
                    <a:pt x="2" y="3"/>
                    <a:pt x="5" y="2"/>
                    <a:pt x="7" y="0"/>
                  </a:cubicBezTo>
                  <a:cubicBezTo>
                    <a:pt x="5" y="1"/>
                    <a:pt x="2" y="3"/>
                    <a:pt x="0" y="4"/>
                  </a:cubicBezTo>
                  <a:close/>
                </a:path>
              </a:pathLst>
            </a:custGeom>
            <a:solidFill>
              <a:srgbClr val="1F42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9" name="Freeform 24"/>
            <p:cNvSpPr>
              <a:spLocks/>
            </p:cNvSpPr>
            <p:nvPr/>
          </p:nvSpPr>
          <p:spPr bwMode="auto">
            <a:xfrm>
              <a:off x="4976200" y="3440542"/>
              <a:ext cx="0" cy="3718"/>
            </a:xfrm>
            <a:custGeom>
              <a:avLst/>
              <a:gdLst>
                <a:gd name="T0" fmla="*/ 0 h 5"/>
                <a:gd name="T1" fmla="*/ 5 h 5"/>
                <a:gd name="T2" fmla="*/ 0 h 5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5">
                  <a:moveTo>
                    <a:pt x="0" y="0"/>
                  </a:moveTo>
                  <a:cubicBezTo>
                    <a:pt x="0" y="2"/>
                    <a:pt x="0" y="4"/>
                    <a:pt x="0" y="5"/>
                  </a:cubicBezTo>
                  <a:cubicBezTo>
                    <a:pt x="0" y="4"/>
                    <a:pt x="0" y="2"/>
                    <a:pt x="0" y="0"/>
                  </a:cubicBezTo>
                  <a:close/>
                </a:path>
              </a:pathLst>
            </a:custGeom>
            <a:solidFill>
              <a:srgbClr val="1F42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0" name="Freeform 25"/>
            <p:cNvSpPr>
              <a:spLocks/>
            </p:cNvSpPr>
            <p:nvPr/>
          </p:nvSpPr>
          <p:spPr bwMode="auto">
            <a:xfrm>
              <a:off x="2502612" y="2626341"/>
              <a:ext cx="1093039" cy="1018682"/>
            </a:xfrm>
            <a:custGeom>
              <a:avLst/>
              <a:gdLst>
                <a:gd name="T0" fmla="*/ 696 w 1496"/>
                <a:gd name="T1" fmla="*/ 1395 h 1395"/>
                <a:gd name="T2" fmla="*/ 1242 w 1496"/>
                <a:gd name="T3" fmla="*/ 1080 h 1395"/>
                <a:gd name="T4" fmla="*/ 1496 w 1496"/>
                <a:gd name="T5" fmla="*/ 808 h 1395"/>
                <a:gd name="T6" fmla="*/ 1225 w 1496"/>
                <a:gd name="T7" fmla="*/ 296 h 1395"/>
                <a:gd name="T8" fmla="*/ 1168 w 1496"/>
                <a:gd name="T9" fmla="*/ 65 h 1395"/>
                <a:gd name="T10" fmla="*/ 1163 w 1496"/>
                <a:gd name="T11" fmla="*/ 0 h 1395"/>
                <a:gd name="T12" fmla="*/ 130 w 1496"/>
                <a:gd name="T13" fmla="*/ 840 h 1395"/>
                <a:gd name="T14" fmla="*/ 0 w 1496"/>
                <a:gd name="T15" fmla="*/ 832 h 1395"/>
                <a:gd name="T16" fmla="*/ 82 w 1496"/>
                <a:gd name="T17" fmla="*/ 861 h 1395"/>
                <a:gd name="T18" fmla="*/ 696 w 1496"/>
                <a:gd name="T19" fmla="*/ 1395 h 1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96" h="1395">
                  <a:moveTo>
                    <a:pt x="696" y="1395"/>
                  </a:moveTo>
                  <a:cubicBezTo>
                    <a:pt x="895" y="1325"/>
                    <a:pt x="1080" y="1219"/>
                    <a:pt x="1242" y="1080"/>
                  </a:cubicBezTo>
                  <a:cubicBezTo>
                    <a:pt x="1337" y="998"/>
                    <a:pt x="1422" y="907"/>
                    <a:pt x="1496" y="808"/>
                  </a:cubicBezTo>
                  <a:cubicBezTo>
                    <a:pt x="1378" y="655"/>
                    <a:pt x="1286" y="482"/>
                    <a:pt x="1225" y="296"/>
                  </a:cubicBezTo>
                  <a:cubicBezTo>
                    <a:pt x="1201" y="220"/>
                    <a:pt x="1181" y="143"/>
                    <a:pt x="1168" y="65"/>
                  </a:cubicBezTo>
                  <a:cubicBezTo>
                    <a:pt x="1164" y="43"/>
                    <a:pt x="1162" y="21"/>
                    <a:pt x="1163" y="0"/>
                  </a:cubicBezTo>
                  <a:cubicBezTo>
                    <a:pt x="1062" y="490"/>
                    <a:pt x="635" y="840"/>
                    <a:pt x="130" y="840"/>
                  </a:cubicBezTo>
                  <a:cubicBezTo>
                    <a:pt x="86" y="840"/>
                    <a:pt x="43" y="838"/>
                    <a:pt x="0" y="832"/>
                  </a:cubicBezTo>
                  <a:cubicBezTo>
                    <a:pt x="28" y="838"/>
                    <a:pt x="55" y="847"/>
                    <a:pt x="82" y="861"/>
                  </a:cubicBezTo>
                  <a:cubicBezTo>
                    <a:pt x="328" y="987"/>
                    <a:pt x="538" y="1171"/>
                    <a:pt x="696" y="1395"/>
                  </a:cubicBezTo>
                  <a:close/>
                </a:path>
              </a:pathLst>
            </a:custGeom>
            <a:solidFill>
              <a:srgbClr val="E2583D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1" name="Freeform 26"/>
            <p:cNvSpPr>
              <a:spLocks/>
            </p:cNvSpPr>
            <p:nvPr/>
          </p:nvSpPr>
          <p:spPr bwMode="auto">
            <a:xfrm>
              <a:off x="2203947" y="3213755"/>
              <a:ext cx="808005" cy="503144"/>
            </a:xfrm>
            <a:custGeom>
              <a:avLst/>
              <a:gdLst>
                <a:gd name="T0" fmla="*/ 25 w 1106"/>
                <a:gd name="T1" fmla="*/ 303 h 687"/>
                <a:gd name="T2" fmla="*/ 303 w 1106"/>
                <a:gd name="T3" fmla="*/ 671 h 687"/>
                <a:gd name="T4" fmla="*/ 540 w 1106"/>
                <a:gd name="T5" fmla="*/ 687 h 687"/>
                <a:gd name="T6" fmla="*/ 1106 w 1106"/>
                <a:gd name="T7" fmla="*/ 590 h 687"/>
                <a:gd name="T8" fmla="*/ 492 w 1106"/>
                <a:gd name="T9" fmla="*/ 56 h 687"/>
                <a:gd name="T10" fmla="*/ 410 w 1106"/>
                <a:gd name="T11" fmla="*/ 27 h 687"/>
                <a:gd name="T12" fmla="*/ 393 w 1106"/>
                <a:gd name="T13" fmla="*/ 25 h 687"/>
                <a:gd name="T14" fmla="*/ 25 w 1106"/>
                <a:gd name="T15" fmla="*/ 303 h 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06" h="687">
                  <a:moveTo>
                    <a:pt x="25" y="303"/>
                  </a:moveTo>
                  <a:cubicBezTo>
                    <a:pt x="0" y="481"/>
                    <a:pt x="125" y="646"/>
                    <a:pt x="303" y="671"/>
                  </a:cubicBezTo>
                  <a:cubicBezTo>
                    <a:pt x="381" y="682"/>
                    <a:pt x="461" y="687"/>
                    <a:pt x="540" y="687"/>
                  </a:cubicBezTo>
                  <a:cubicBezTo>
                    <a:pt x="734" y="687"/>
                    <a:pt x="926" y="654"/>
                    <a:pt x="1106" y="590"/>
                  </a:cubicBezTo>
                  <a:cubicBezTo>
                    <a:pt x="948" y="366"/>
                    <a:pt x="738" y="182"/>
                    <a:pt x="492" y="56"/>
                  </a:cubicBezTo>
                  <a:cubicBezTo>
                    <a:pt x="465" y="42"/>
                    <a:pt x="438" y="33"/>
                    <a:pt x="410" y="27"/>
                  </a:cubicBezTo>
                  <a:cubicBezTo>
                    <a:pt x="404" y="27"/>
                    <a:pt x="398" y="26"/>
                    <a:pt x="393" y="25"/>
                  </a:cubicBezTo>
                  <a:cubicBezTo>
                    <a:pt x="215" y="0"/>
                    <a:pt x="50" y="125"/>
                    <a:pt x="25" y="303"/>
                  </a:cubicBezTo>
                  <a:close/>
                </a:path>
              </a:pathLst>
            </a:custGeom>
            <a:solidFill>
              <a:srgbClr val="4CC7C4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2" name="Freeform 27"/>
            <p:cNvSpPr>
              <a:spLocks/>
            </p:cNvSpPr>
            <p:nvPr/>
          </p:nvSpPr>
          <p:spPr bwMode="auto">
            <a:xfrm>
              <a:off x="2629018" y="4334057"/>
              <a:ext cx="614679" cy="711343"/>
            </a:xfrm>
            <a:custGeom>
              <a:avLst/>
              <a:gdLst>
                <a:gd name="T0" fmla="*/ 229 w 841"/>
                <a:gd name="T1" fmla="*/ 941 h 974"/>
                <a:gd name="T2" fmla="*/ 371 w 841"/>
                <a:gd name="T3" fmla="*/ 974 h 974"/>
                <a:gd name="T4" fmla="*/ 665 w 841"/>
                <a:gd name="T5" fmla="*/ 790 h 974"/>
                <a:gd name="T6" fmla="*/ 754 w 841"/>
                <a:gd name="T7" fmla="*/ 570 h 974"/>
                <a:gd name="T8" fmla="*/ 836 w 841"/>
                <a:gd name="T9" fmla="*/ 0 h 974"/>
                <a:gd name="T10" fmla="*/ 140 w 841"/>
                <a:gd name="T11" fmla="*/ 419 h 974"/>
                <a:gd name="T12" fmla="*/ 84 w 841"/>
                <a:gd name="T13" fmla="*/ 493 h 974"/>
                <a:gd name="T14" fmla="*/ 79 w 841"/>
                <a:gd name="T15" fmla="*/ 505 h 974"/>
                <a:gd name="T16" fmla="*/ 229 w 841"/>
                <a:gd name="T17" fmla="*/ 941 h 9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41" h="974">
                  <a:moveTo>
                    <a:pt x="229" y="941"/>
                  </a:moveTo>
                  <a:cubicBezTo>
                    <a:pt x="275" y="963"/>
                    <a:pt x="324" y="974"/>
                    <a:pt x="371" y="974"/>
                  </a:cubicBezTo>
                  <a:cubicBezTo>
                    <a:pt x="492" y="974"/>
                    <a:pt x="608" y="906"/>
                    <a:pt x="665" y="790"/>
                  </a:cubicBezTo>
                  <a:cubicBezTo>
                    <a:pt x="699" y="719"/>
                    <a:pt x="729" y="645"/>
                    <a:pt x="754" y="570"/>
                  </a:cubicBezTo>
                  <a:cubicBezTo>
                    <a:pt x="814" y="385"/>
                    <a:pt x="841" y="192"/>
                    <a:pt x="836" y="0"/>
                  </a:cubicBezTo>
                  <a:cubicBezTo>
                    <a:pt x="575" y="81"/>
                    <a:pt x="335" y="224"/>
                    <a:pt x="140" y="419"/>
                  </a:cubicBezTo>
                  <a:cubicBezTo>
                    <a:pt x="117" y="442"/>
                    <a:pt x="99" y="467"/>
                    <a:pt x="84" y="493"/>
                  </a:cubicBezTo>
                  <a:cubicBezTo>
                    <a:pt x="82" y="497"/>
                    <a:pt x="80" y="501"/>
                    <a:pt x="79" y="505"/>
                  </a:cubicBezTo>
                  <a:cubicBezTo>
                    <a:pt x="0" y="667"/>
                    <a:pt x="67" y="862"/>
                    <a:pt x="229" y="941"/>
                  </a:cubicBezTo>
                  <a:close/>
                </a:path>
              </a:pathLst>
            </a:custGeom>
            <a:solidFill>
              <a:srgbClr val="D63E20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6" name="Freeform 28"/>
            <p:cNvSpPr>
              <a:spLocks/>
            </p:cNvSpPr>
            <p:nvPr/>
          </p:nvSpPr>
          <p:spPr bwMode="auto">
            <a:xfrm>
              <a:off x="3963714" y="4329100"/>
              <a:ext cx="609722" cy="706385"/>
            </a:xfrm>
            <a:custGeom>
              <a:avLst/>
              <a:gdLst>
                <a:gd name="T0" fmla="*/ 700 w 834"/>
                <a:gd name="T1" fmla="*/ 407 h 966"/>
                <a:gd name="T2" fmla="*/ 518 w 834"/>
                <a:gd name="T3" fmla="*/ 255 h 966"/>
                <a:gd name="T4" fmla="*/ 2 w 834"/>
                <a:gd name="T5" fmla="*/ 0 h 966"/>
                <a:gd name="T6" fmla="*/ 186 w 834"/>
                <a:gd name="T7" fmla="*/ 787 h 966"/>
                <a:gd name="T8" fmla="*/ 477 w 834"/>
                <a:gd name="T9" fmla="*/ 966 h 966"/>
                <a:gd name="T10" fmla="*/ 624 w 834"/>
                <a:gd name="T11" fmla="*/ 931 h 966"/>
                <a:gd name="T12" fmla="*/ 695 w 834"/>
                <a:gd name="T13" fmla="*/ 881 h 966"/>
                <a:gd name="T14" fmla="*/ 707 w 834"/>
                <a:gd name="T15" fmla="*/ 870 h 966"/>
                <a:gd name="T16" fmla="*/ 711 w 834"/>
                <a:gd name="T17" fmla="*/ 866 h 966"/>
                <a:gd name="T18" fmla="*/ 700 w 834"/>
                <a:gd name="T19" fmla="*/ 407 h 9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34" h="966">
                  <a:moveTo>
                    <a:pt x="700" y="407"/>
                  </a:moveTo>
                  <a:cubicBezTo>
                    <a:pt x="643" y="353"/>
                    <a:pt x="582" y="301"/>
                    <a:pt x="518" y="255"/>
                  </a:cubicBezTo>
                  <a:cubicBezTo>
                    <a:pt x="361" y="140"/>
                    <a:pt x="186" y="55"/>
                    <a:pt x="2" y="0"/>
                  </a:cubicBezTo>
                  <a:cubicBezTo>
                    <a:pt x="0" y="272"/>
                    <a:pt x="62" y="543"/>
                    <a:pt x="186" y="787"/>
                  </a:cubicBezTo>
                  <a:cubicBezTo>
                    <a:pt x="243" y="901"/>
                    <a:pt x="358" y="966"/>
                    <a:pt x="477" y="966"/>
                  </a:cubicBezTo>
                  <a:cubicBezTo>
                    <a:pt x="526" y="966"/>
                    <a:pt x="577" y="955"/>
                    <a:pt x="624" y="931"/>
                  </a:cubicBezTo>
                  <a:cubicBezTo>
                    <a:pt x="650" y="917"/>
                    <a:pt x="674" y="900"/>
                    <a:pt x="695" y="881"/>
                  </a:cubicBezTo>
                  <a:cubicBezTo>
                    <a:pt x="699" y="877"/>
                    <a:pt x="703" y="874"/>
                    <a:pt x="707" y="870"/>
                  </a:cubicBezTo>
                  <a:cubicBezTo>
                    <a:pt x="709" y="868"/>
                    <a:pt x="710" y="867"/>
                    <a:pt x="711" y="866"/>
                  </a:cubicBezTo>
                  <a:cubicBezTo>
                    <a:pt x="834" y="736"/>
                    <a:pt x="829" y="532"/>
                    <a:pt x="700" y="407"/>
                  </a:cubicBezTo>
                  <a:close/>
                </a:path>
              </a:pathLst>
            </a:custGeom>
            <a:solidFill>
              <a:srgbClr val="252323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8" name="Freeform 29"/>
            <p:cNvSpPr>
              <a:spLocks/>
            </p:cNvSpPr>
            <p:nvPr/>
          </p:nvSpPr>
          <p:spPr bwMode="auto">
            <a:xfrm>
              <a:off x="3595651" y="2622622"/>
              <a:ext cx="1073210" cy="1014964"/>
            </a:xfrm>
            <a:custGeom>
              <a:avLst/>
              <a:gdLst>
                <a:gd name="T0" fmla="*/ 0 w 1469"/>
                <a:gd name="T1" fmla="*/ 812 h 1388"/>
                <a:gd name="T2" fmla="*/ 465 w 1469"/>
                <a:gd name="T3" fmla="*/ 1230 h 1388"/>
                <a:gd name="T4" fmla="*/ 804 w 1469"/>
                <a:gd name="T5" fmla="*/ 1388 h 1388"/>
                <a:gd name="T6" fmla="*/ 1210 w 1469"/>
                <a:gd name="T7" fmla="*/ 971 h 1388"/>
                <a:gd name="T8" fmla="*/ 1411 w 1469"/>
                <a:gd name="T9" fmla="*/ 845 h 1388"/>
                <a:gd name="T10" fmla="*/ 1469 w 1469"/>
                <a:gd name="T11" fmla="*/ 821 h 1388"/>
                <a:gd name="T12" fmla="*/ 349 w 1469"/>
                <a:gd name="T13" fmla="*/ 98 h 1388"/>
                <a:gd name="T14" fmla="*/ 323 w 1469"/>
                <a:gd name="T15" fmla="*/ 0 h 1388"/>
                <a:gd name="T16" fmla="*/ 319 w 1469"/>
                <a:gd name="T17" fmla="*/ 62 h 1388"/>
                <a:gd name="T18" fmla="*/ 0 w 1469"/>
                <a:gd name="T19" fmla="*/ 812 h 13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69" h="1388">
                  <a:moveTo>
                    <a:pt x="0" y="812"/>
                  </a:moveTo>
                  <a:cubicBezTo>
                    <a:pt x="127" y="978"/>
                    <a:pt x="284" y="1120"/>
                    <a:pt x="465" y="1230"/>
                  </a:cubicBezTo>
                  <a:cubicBezTo>
                    <a:pt x="573" y="1296"/>
                    <a:pt x="687" y="1348"/>
                    <a:pt x="804" y="1388"/>
                  </a:cubicBezTo>
                  <a:cubicBezTo>
                    <a:pt x="914" y="1228"/>
                    <a:pt x="1050" y="1087"/>
                    <a:pt x="1210" y="971"/>
                  </a:cubicBezTo>
                  <a:cubicBezTo>
                    <a:pt x="1274" y="924"/>
                    <a:pt x="1341" y="882"/>
                    <a:pt x="1411" y="845"/>
                  </a:cubicBezTo>
                  <a:cubicBezTo>
                    <a:pt x="1430" y="835"/>
                    <a:pt x="1450" y="827"/>
                    <a:pt x="1469" y="821"/>
                  </a:cubicBezTo>
                  <a:cubicBezTo>
                    <a:pt x="972" y="877"/>
                    <a:pt x="506" y="579"/>
                    <a:pt x="349" y="98"/>
                  </a:cubicBezTo>
                  <a:cubicBezTo>
                    <a:pt x="339" y="66"/>
                    <a:pt x="330" y="33"/>
                    <a:pt x="323" y="0"/>
                  </a:cubicBezTo>
                  <a:cubicBezTo>
                    <a:pt x="323" y="20"/>
                    <a:pt x="322" y="41"/>
                    <a:pt x="319" y="62"/>
                  </a:cubicBezTo>
                  <a:cubicBezTo>
                    <a:pt x="275" y="335"/>
                    <a:pt x="164" y="593"/>
                    <a:pt x="0" y="812"/>
                  </a:cubicBezTo>
                  <a:close/>
                </a:path>
              </a:pathLst>
            </a:custGeom>
            <a:solidFill>
              <a:srgbClr val="78D2D2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9" name="Freeform 30"/>
            <p:cNvSpPr>
              <a:spLocks/>
            </p:cNvSpPr>
            <p:nvPr/>
          </p:nvSpPr>
          <p:spPr bwMode="auto">
            <a:xfrm>
              <a:off x="3351514" y="2374768"/>
              <a:ext cx="480837" cy="841466"/>
            </a:xfrm>
            <a:custGeom>
              <a:avLst/>
              <a:gdLst>
                <a:gd name="T0" fmla="*/ 63 w 657"/>
                <a:gd name="T1" fmla="*/ 640 h 1152"/>
                <a:gd name="T2" fmla="*/ 334 w 657"/>
                <a:gd name="T3" fmla="*/ 1152 h 1152"/>
                <a:gd name="T4" fmla="*/ 653 w 657"/>
                <a:gd name="T5" fmla="*/ 402 h 1152"/>
                <a:gd name="T6" fmla="*/ 657 w 657"/>
                <a:gd name="T7" fmla="*/ 340 h 1152"/>
                <a:gd name="T8" fmla="*/ 648 w 657"/>
                <a:gd name="T9" fmla="*/ 296 h 1152"/>
                <a:gd name="T10" fmla="*/ 270 w 657"/>
                <a:gd name="T11" fmla="*/ 31 h 1152"/>
                <a:gd name="T12" fmla="*/ 180 w 657"/>
                <a:gd name="T13" fmla="*/ 61 h 1152"/>
                <a:gd name="T14" fmla="*/ 173 w 657"/>
                <a:gd name="T15" fmla="*/ 65 h 1152"/>
                <a:gd name="T16" fmla="*/ 161 w 657"/>
                <a:gd name="T17" fmla="*/ 72 h 1152"/>
                <a:gd name="T18" fmla="*/ 9 w 657"/>
                <a:gd name="T19" fmla="*/ 298 h 1152"/>
                <a:gd name="T20" fmla="*/ 1 w 657"/>
                <a:gd name="T21" fmla="*/ 344 h 1152"/>
                <a:gd name="T22" fmla="*/ 6 w 657"/>
                <a:gd name="T23" fmla="*/ 409 h 1152"/>
                <a:gd name="T24" fmla="*/ 63 w 657"/>
                <a:gd name="T25" fmla="*/ 640 h 1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7" h="1152">
                  <a:moveTo>
                    <a:pt x="63" y="640"/>
                  </a:moveTo>
                  <a:cubicBezTo>
                    <a:pt x="124" y="826"/>
                    <a:pt x="216" y="999"/>
                    <a:pt x="334" y="1152"/>
                  </a:cubicBezTo>
                  <a:cubicBezTo>
                    <a:pt x="498" y="933"/>
                    <a:pt x="609" y="675"/>
                    <a:pt x="653" y="402"/>
                  </a:cubicBezTo>
                  <a:cubicBezTo>
                    <a:pt x="656" y="381"/>
                    <a:pt x="657" y="360"/>
                    <a:pt x="657" y="340"/>
                  </a:cubicBezTo>
                  <a:cubicBezTo>
                    <a:pt x="653" y="325"/>
                    <a:pt x="650" y="310"/>
                    <a:pt x="648" y="296"/>
                  </a:cubicBezTo>
                  <a:cubicBezTo>
                    <a:pt x="616" y="118"/>
                    <a:pt x="447" y="0"/>
                    <a:pt x="270" y="31"/>
                  </a:cubicBezTo>
                  <a:cubicBezTo>
                    <a:pt x="238" y="37"/>
                    <a:pt x="208" y="47"/>
                    <a:pt x="180" y="61"/>
                  </a:cubicBezTo>
                  <a:cubicBezTo>
                    <a:pt x="178" y="63"/>
                    <a:pt x="175" y="64"/>
                    <a:pt x="173" y="65"/>
                  </a:cubicBezTo>
                  <a:cubicBezTo>
                    <a:pt x="169" y="67"/>
                    <a:pt x="165" y="70"/>
                    <a:pt x="161" y="72"/>
                  </a:cubicBezTo>
                  <a:cubicBezTo>
                    <a:pt x="83" y="120"/>
                    <a:pt x="25" y="200"/>
                    <a:pt x="9" y="298"/>
                  </a:cubicBezTo>
                  <a:cubicBezTo>
                    <a:pt x="7" y="314"/>
                    <a:pt x="4" y="329"/>
                    <a:pt x="1" y="344"/>
                  </a:cubicBezTo>
                  <a:cubicBezTo>
                    <a:pt x="0" y="365"/>
                    <a:pt x="2" y="387"/>
                    <a:pt x="6" y="409"/>
                  </a:cubicBezTo>
                  <a:cubicBezTo>
                    <a:pt x="19" y="487"/>
                    <a:pt x="39" y="564"/>
                    <a:pt x="63" y="640"/>
                  </a:cubicBezTo>
                  <a:close/>
                </a:path>
              </a:pathLst>
            </a:custGeom>
            <a:solidFill>
              <a:srgbClr val="D63E20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1" name="Freeform 31"/>
            <p:cNvSpPr>
              <a:spLocks/>
            </p:cNvSpPr>
            <p:nvPr/>
          </p:nvSpPr>
          <p:spPr bwMode="auto">
            <a:xfrm>
              <a:off x="4183065" y="3197645"/>
              <a:ext cx="793134" cy="506863"/>
            </a:xfrm>
            <a:custGeom>
              <a:avLst/>
              <a:gdLst>
                <a:gd name="T0" fmla="*/ 1086 w 1086"/>
                <a:gd name="T1" fmla="*/ 355 h 692"/>
                <a:gd name="T2" fmla="*/ 1086 w 1086"/>
                <a:gd name="T3" fmla="*/ 336 h 692"/>
                <a:gd name="T4" fmla="*/ 1086 w 1086"/>
                <a:gd name="T5" fmla="*/ 331 h 692"/>
                <a:gd name="T6" fmla="*/ 1082 w 1086"/>
                <a:gd name="T7" fmla="*/ 300 h 692"/>
                <a:gd name="T8" fmla="*/ 710 w 1086"/>
                <a:gd name="T9" fmla="*/ 28 h 692"/>
                <a:gd name="T10" fmla="*/ 665 w 1086"/>
                <a:gd name="T11" fmla="*/ 34 h 692"/>
                <a:gd name="T12" fmla="*/ 607 w 1086"/>
                <a:gd name="T13" fmla="*/ 58 h 692"/>
                <a:gd name="T14" fmla="*/ 406 w 1086"/>
                <a:gd name="T15" fmla="*/ 184 h 692"/>
                <a:gd name="T16" fmla="*/ 0 w 1086"/>
                <a:gd name="T17" fmla="*/ 601 h 692"/>
                <a:gd name="T18" fmla="*/ 549 w 1086"/>
                <a:gd name="T19" fmla="*/ 692 h 692"/>
                <a:gd name="T20" fmla="*/ 811 w 1086"/>
                <a:gd name="T21" fmla="*/ 672 h 692"/>
                <a:gd name="T22" fmla="*/ 875 w 1086"/>
                <a:gd name="T23" fmla="*/ 655 h 692"/>
                <a:gd name="T24" fmla="*/ 914 w 1086"/>
                <a:gd name="T25" fmla="*/ 633 h 692"/>
                <a:gd name="T26" fmla="*/ 1086 w 1086"/>
                <a:gd name="T27" fmla="*/ 355 h 6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86" h="692">
                  <a:moveTo>
                    <a:pt x="1086" y="355"/>
                  </a:moveTo>
                  <a:cubicBezTo>
                    <a:pt x="1086" y="349"/>
                    <a:pt x="1086" y="343"/>
                    <a:pt x="1086" y="336"/>
                  </a:cubicBezTo>
                  <a:cubicBezTo>
                    <a:pt x="1086" y="335"/>
                    <a:pt x="1086" y="333"/>
                    <a:pt x="1086" y="331"/>
                  </a:cubicBezTo>
                  <a:cubicBezTo>
                    <a:pt x="1085" y="320"/>
                    <a:pt x="1084" y="310"/>
                    <a:pt x="1082" y="300"/>
                  </a:cubicBezTo>
                  <a:cubicBezTo>
                    <a:pt x="1055" y="122"/>
                    <a:pt x="888" y="0"/>
                    <a:pt x="710" y="28"/>
                  </a:cubicBezTo>
                  <a:cubicBezTo>
                    <a:pt x="695" y="30"/>
                    <a:pt x="680" y="32"/>
                    <a:pt x="665" y="34"/>
                  </a:cubicBezTo>
                  <a:cubicBezTo>
                    <a:pt x="646" y="40"/>
                    <a:pt x="626" y="48"/>
                    <a:pt x="607" y="58"/>
                  </a:cubicBezTo>
                  <a:cubicBezTo>
                    <a:pt x="537" y="95"/>
                    <a:pt x="470" y="137"/>
                    <a:pt x="406" y="184"/>
                  </a:cubicBezTo>
                  <a:cubicBezTo>
                    <a:pt x="246" y="300"/>
                    <a:pt x="110" y="441"/>
                    <a:pt x="0" y="601"/>
                  </a:cubicBezTo>
                  <a:cubicBezTo>
                    <a:pt x="177" y="661"/>
                    <a:pt x="363" y="692"/>
                    <a:pt x="549" y="692"/>
                  </a:cubicBezTo>
                  <a:cubicBezTo>
                    <a:pt x="636" y="692"/>
                    <a:pt x="724" y="686"/>
                    <a:pt x="811" y="672"/>
                  </a:cubicBezTo>
                  <a:cubicBezTo>
                    <a:pt x="833" y="669"/>
                    <a:pt x="854" y="663"/>
                    <a:pt x="875" y="655"/>
                  </a:cubicBezTo>
                  <a:cubicBezTo>
                    <a:pt x="888" y="648"/>
                    <a:pt x="901" y="640"/>
                    <a:pt x="914" y="633"/>
                  </a:cubicBezTo>
                  <a:cubicBezTo>
                    <a:pt x="1021" y="576"/>
                    <a:pt x="1083" y="468"/>
                    <a:pt x="1086" y="355"/>
                  </a:cubicBezTo>
                  <a:close/>
                </a:path>
              </a:pathLst>
            </a:custGeom>
            <a:solidFill>
              <a:srgbClr val="4CC7C4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2" name="Freeform 32"/>
            <p:cNvSpPr>
              <a:spLocks/>
            </p:cNvSpPr>
            <p:nvPr/>
          </p:nvSpPr>
          <p:spPr bwMode="auto">
            <a:xfrm>
              <a:off x="3966193" y="3637586"/>
              <a:ext cx="856338" cy="1084363"/>
            </a:xfrm>
            <a:custGeom>
              <a:avLst/>
              <a:gdLst>
                <a:gd name="T0" fmla="*/ 698 w 1173"/>
                <a:gd name="T1" fmla="*/ 1354 h 1484"/>
                <a:gd name="T2" fmla="*/ 781 w 1173"/>
                <a:gd name="T3" fmla="*/ 1484 h 1484"/>
                <a:gd name="T4" fmla="*/ 765 w 1173"/>
                <a:gd name="T5" fmla="*/ 1439 h 1484"/>
                <a:gd name="T6" fmla="*/ 1087 w 1173"/>
                <a:gd name="T7" fmla="*/ 110 h 1484"/>
                <a:gd name="T8" fmla="*/ 1173 w 1173"/>
                <a:gd name="T9" fmla="*/ 54 h 1484"/>
                <a:gd name="T10" fmla="*/ 1109 w 1173"/>
                <a:gd name="T11" fmla="*/ 71 h 1484"/>
                <a:gd name="T12" fmla="*/ 847 w 1173"/>
                <a:gd name="T13" fmla="*/ 91 h 1484"/>
                <a:gd name="T14" fmla="*/ 298 w 1173"/>
                <a:gd name="T15" fmla="*/ 0 h 1484"/>
                <a:gd name="T16" fmla="*/ 46 w 1173"/>
                <a:gd name="T17" fmla="*/ 570 h 1484"/>
                <a:gd name="T18" fmla="*/ 0 w 1173"/>
                <a:gd name="T19" fmla="*/ 947 h 1484"/>
                <a:gd name="T20" fmla="*/ 516 w 1173"/>
                <a:gd name="T21" fmla="*/ 1202 h 1484"/>
                <a:gd name="T22" fmla="*/ 698 w 1173"/>
                <a:gd name="T23" fmla="*/ 1354 h 14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73" h="1484">
                  <a:moveTo>
                    <a:pt x="698" y="1354"/>
                  </a:moveTo>
                  <a:cubicBezTo>
                    <a:pt x="737" y="1392"/>
                    <a:pt x="764" y="1436"/>
                    <a:pt x="781" y="1484"/>
                  </a:cubicBezTo>
                  <a:cubicBezTo>
                    <a:pt x="781" y="1484"/>
                    <a:pt x="773" y="1456"/>
                    <a:pt x="765" y="1439"/>
                  </a:cubicBezTo>
                  <a:cubicBezTo>
                    <a:pt x="530" y="976"/>
                    <a:pt x="665" y="417"/>
                    <a:pt x="1087" y="110"/>
                  </a:cubicBezTo>
                  <a:cubicBezTo>
                    <a:pt x="1115" y="90"/>
                    <a:pt x="1143" y="72"/>
                    <a:pt x="1173" y="54"/>
                  </a:cubicBezTo>
                  <a:cubicBezTo>
                    <a:pt x="1152" y="62"/>
                    <a:pt x="1131" y="68"/>
                    <a:pt x="1109" y="71"/>
                  </a:cubicBezTo>
                  <a:cubicBezTo>
                    <a:pt x="1022" y="85"/>
                    <a:pt x="934" y="91"/>
                    <a:pt x="847" y="91"/>
                  </a:cubicBezTo>
                  <a:cubicBezTo>
                    <a:pt x="661" y="91"/>
                    <a:pt x="475" y="60"/>
                    <a:pt x="298" y="0"/>
                  </a:cubicBezTo>
                  <a:cubicBezTo>
                    <a:pt x="181" y="172"/>
                    <a:pt x="95" y="365"/>
                    <a:pt x="46" y="570"/>
                  </a:cubicBezTo>
                  <a:cubicBezTo>
                    <a:pt x="17" y="695"/>
                    <a:pt x="2" y="821"/>
                    <a:pt x="0" y="947"/>
                  </a:cubicBezTo>
                  <a:cubicBezTo>
                    <a:pt x="184" y="1002"/>
                    <a:pt x="359" y="1087"/>
                    <a:pt x="516" y="1202"/>
                  </a:cubicBezTo>
                  <a:cubicBezTo>
                    <a:pt x="580" y="1248"/>
                    <a:pt x="641" y="1300"/>
                    <a:pt x="698" y="1354"/>
                  </a:cubicBezTo>
                  <a:close/>
                </a:path>
              </a:pathLst>
            </a:custGeom>
            <a:solidFill>
              <a:srgbClr val="3B3939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3" name="Freeform 33"/>
            <p:cNvSpPr>
              <a:spLocks/>
            </p:cNvSpPr>
            <p:nvPr/>
          </p:nvSpPr>
          <p:spPr bwMode="auto">
            <a:xfrm>
              <a:off x="3025585" y="4268376"/>
              <a:ext cx="1182266" cy="742325"/>
            </a:xfrm>
            <a:custGeom>
              <a:avLst/>
              <a:gdLst>
                <a:gd name="T0" fmla="*/ 1618 w 1618"/>
                <a:gd name="T1" fmla="*/ 1016 h 1016"/>
                <a:gd name="T2" fmla="*/ 1471 w 1618"/>
                <a:gd name="T3" fmla="*/ 870 h 1016"/>
                <a:gd name="T4" fmla="*/ 1287 w 1618"/>
                <a:gd name="T5" fmla="*/ 83 h 1016"/>
                <a:gd name="T6" fmla="*/ 661 w 1618"/>
                <a:gd name="T7" fmla="*/ 18 h 1016"/>
                <a:gd name="T8" fmla="*/ 293 w 1618"/>
                <a:gd name="T9" fmla="*/ 89 h 1016"/>
                <a:gd name="T10" fmla="*/ 211 w 1618"/>
                <a:gd name="T11" fmla="*/ 659 h 1016"/>
                <a:gd name="T12" fmla="*/ 122 w 1618"/>
                <a:gd name="T13" fmla="*/ 879 h 1016"/>
                <a:gd name="T14" fmla="*/ 0 w 1618"/>
                <a:gd name="T15" fmla="*/ 1014 h 1016"/>
                <a:gd name="T16" fmla="*/ 0 w 1618"/>
                <a:gd name="T17" fmla="*/ 1014 h 1016"/>
                <a:gd name="T18" fmla="*/ 57 w 1618"/>
                <a:gd name="T19" fmla="*/ 970 h 1016"/>
                <a:gd name="T20" fmla="*/ 1420 w 1618"/>
                <a:gd name="T21" fmla="*/ 865 h 1016"/>
                <a:gd name="T22" fmla="*/ 1533 w 1618"/>
                <a:gd name="T23" fmla="*/ 960 h 1016"/>
                <a:gd name="T24" fmla="*/ 1618 w 1618"/>
                <a:gd name="T25" fmla="*/ 1016 h 10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18" h="1016">
                  <a:moveTo>
                    <a:pt x="1618" y="1016"/>
                  </a:moveTo>
                  <a:cubicBezTo>
                    <a:pt x="1557" y="985"/>
                    <a:pt x="1504" y="936"/>
                    <a:pt x="1471" y="870"/>
                  </a:cubicBezTo>
                  <a:cubicBezTo>
                    <a:pt x="1347" y="626"/>
                    <a:pt x="1285" y="355"/>
                    <a:pt x="1287" y="83"/>
                  </a:cubicBezTo>
                  <a:cubicBezTo>
                    <a:pt x="1086" y="23"/>
                    <a:pt x="873" y="0"/>
                    <a:pt x="661" y="18"/>
                  </a:cubicBezTo>
                  <a:cubicBezTo>
                    <a:pt x="535" y="28"/>
                    <a:pt x="412" y="52"/>
                    <a:pt x="293" y="89"/>
                  </a:cubicBezTo>
                  <a:cubicBezTo>
                    <a:pt x="298" y="281"/>
                    <a:pt x="271" y="474"/>
                    <a:pt x="211" y="659"/>
                  </a:cubicBezTo>
                  <a:cubicBezTo>
                    <a:pt x="186" y="734"/>
                    <a:pt x="156" y="808"/>
                    <a:pt x="122" y="879"/>
                  </a:cubicBezTo>
                  <a:cubicBezTo>
                    <a:pt x="94" y="937"/>
                    <a:pt x="51" y="982"/>
                    <a:pt x="0" y="1014"/>
                  </a:cubicBezTo>
                  <a:cubicBezTo>
                    <a:pt x="0" y="1014"/>
                    <a:pt x="0" y="1014"/>
                    <a:pt x="0" y="1014"/>
                  </a:cubicBezTo>
                  <a:cubicBezTo>
                    <a:pt x="20" y="1001"/>
                    <a:pt x="39" y="987"/>
                    <a:pt x="57" y="970"/>
                  </a:cubicBezTo>
                  <a:cubicBezTo>
                    <a:pt x="425" y="603"/>
                    <a:pt x="999" y="559"/>
                    <a:pt x="1420" y="865"/>
                  </a:cubicBezTo>
                  <a:cubicBezTo>
                    <a:pt x="1460" y="894"/>
                    <a:pt x="1498" y="926"/>
                    <a:pt x="1533" y="960"/>
                  </a:cubicBezTo>
                  <a:cubicBezTo>
                    <a:pt x="1559" y="985"/>
                    <a:pt x="1588" y="1001"/>
                    <a:pt x="1618" y="1016"/>
                  </a:cubicBezTo>
                  <a:close/>
                </a:path>
              </a:pathLst>
            </a:custGeom>
            <a:solidFill>
              <a:srgbClr val="E2583D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4" name="Freeform 34"/>
            <p:cNvSpPr>
              <a:spLocks/>
            </p:cNvSpPr>
            <p:nvPr/>
          </p:nvSpPr>
          <p:spPr bwMode="auto">
            <a:xfrm>
              <a:off x="2346463" y="3645022"/>
              <a:ext cx="893516" cy="1048425"/>
            </a:xfrm>
            <a:custGeom>
              <a:avLst/>
              <a:gdLst>
                <a:gd name="T0" fmla="*/ 1091 w 1222"/>
                <a:gd name="T1" fmla="*/ 327 h 1435"/>
                <a:gd name="T2" fmla="*/ 910 w 1222"/>
                <a:gd name="T3" fmla="*/ 0 h 1435"/>
                <a:gd name="T4" fmla="*/ 344 w 1222"/>
                <a:gd name="T5" fmla="*/ 97 h 1435"/>
                <a:gd name="T6" fmla="*/ 107 w 1222"/>
                <a:gd name="T7" fmla="*/ 81 h 1435"/>
                <a:gd name="T8" fmla="*/ 2 w 1222"/>
                <a:gd name="T9" fmla="*/ 47 h 1435"/>
                <a:gd name="T10" fmla="*/ 0 w 1222"/>
                <a:gd name="T11" fmla="*/ 47 h 1435"/>
                <a:gd name="T12" fmla="*/ 520 w 1222"/>
                <a:gd name="T13" fmla="*/ 1311 h 1435"/>
                <a:gd name="T14" fmla="*/ 470 w 1222"/>
                <a:gd name="T15" fmla="*/ 1435 h 1435"/>
                <a:gd name="T16" fmla="*/ 526 w 1222"/>
                <a:gd name="T17" fmla="*/ 1361 h 1435"/>
                <a:gd name="T18" fmla="*/ 1222 w 1222"/>
                <a:gd name="T19" fmla="*/ 942 h 1435"/>
                <a:gd name="T20" fmla="*/ 1091 w 1222"/>
                <a:gd name="T21" fmla="*/ 327 h 1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22" h="1435">
                  <a:moveTo>
                    <a:pt x="1091" y="327"/>
                  </a:moveTo>
                  <a:cubicBezTo>
                    <a:pt x="1043" y="211"/>
                    <a:pt x="982" y="101"/>
                    <a:pt x="910" y="0"/>
                  </a:cubicBezTo>
                  <a:cubicBezTo>
                    <a:pt x="730" y="64"/>
                    <a:pt x="538" y="97"/>
                    <a:pt x="344" y="97"/>
                  </a:cubicBezTo>
                  <a:cubicBezTo>
                    <a:pt x="265" y="97"/>
                    <a:pt x="185" y="92"/>
                    <a:pt x="107" y="81"/>
                  </a:cubicBezTo>
                  <a:cubicBezTo>
                    <a:pt x="69" y="76"/>
                    <a:pt x="34" y="64"/>
                    <a:pt x="2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462" y="285"/>
                    <a:pt x="680" y="816"/>
                    <a:pt x="520" y="1311"/>
                  </a:cubicBezTo>
                  <a:cubicBezTo>
                    <a:pt x="506" y="1353"/>
                    <a:pt x="489" y="1395"/>
                    <a:pt x="470" y="1435"/>
                  </a:cubicBezTo>
                  <a:cubicBezTo>
                    <a:pt x="485" y="1409"/>
                    <a:pt x="503" y="1384"/>
                    <a:pt x="526" y="1361"/>
                  </a:cubicBezTo>
                  <a:cubicBezTo>
                    <a:pt x="721" y="1166"/>
                    <a:pt x="961" y="1023"/>
                    <a:pt x="1222" y="942"/>
                  </a:cubicBezTo>
                  <a:cubicBezTo>
                    <a:pt x="1217" y="732"/>
                    <a:pt x="1173" y="523"/>
                    <a:pt x="1091" y="327"/>
                  </a:cubicBezTo>
                  <a:close/>
                </a:path>
              </a:pathLst>
            </a:custGeom>
            <a:solidFill>
              <a:srgbClr val="78D2D2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5" name="Freeform 35"/>
            <p:cNvSpPr>
              <a:spLocks/>
            </p:cNvSpPr>
            <p:nvPr/>
          </p:nvSpPr>
          <p:spPr bwMode="auto">
            <a:xfrm>
              <a:off x="2356378" y="3689636"/>
              <a:ext cx="369303" cy="987700"/>
            </a:xfrm>
            <a:custGeom>
              <a:avLst/>
              <a:gdLst>
                <a:gd name="T0" fmla="*/ 505 w 505"/>
                <a:gd name="T1" fmla="*/ 1250 h 1351"/>
                <a:gd name="T2" fmla="*/ 98 w 505"/>
                <a:gd name="T3" fmla="*/ 192 h 1351"/>
                <a:gd name="T4" fmla="*/ 103 w 505"/>
                <a:gd name="T5" fmla="*/ 56 h 1351"/>
                <a:gd name="T6" fmla="*/ 11 w 505"/>
                <a:gd name="T7" fmla="*/ 0 h 1351"/>
                <a:gd name="T8" fmla="*/ 0 w 505"/>
                <a:gd name="T9" fmla="*/ 192 h 1351"/>
                <a:gd name="T10" fmla="*/ 466 w 505"/>
                <a:gd name="T11" fmla="*/ 1351 h 1351"/>
                <a:gd name="T12" fmla="*/ 505 w 505"/>
                <a:gd name="T13" fmla="*/ 1250 h 1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05" h="1351">
                  <a:moveTo>
                    <a:pt x="505" y="1250"/>
                  </a:moveTo>
                  <a:cubicBezTo>
                    <a:pt x="252" y="970"/>
                    <a:pt x="98" y="599"/>
                    <a:pt x="98" y="192"/>
                  </a:cubicBezTo>
                  <a:cubicBezTo>
                    <a:pt x="98" y="146"/>
                    <a:pt x="100" y="101"/>
                    <a:pt x="103" y="56"/>
                  </a:cubicBezTo>
                  <a:cubicBezTo>
                    <a:pt x="74" y="36"/>
                    <a:pt x="43" y="17"/>
                    <a:pt x="11" y="0"/>
                  </a:cubicBezTo>
                  <a:cubicBezTo>
                    <a:pt x="4" y="63"/>
                    <a:pt x="0" y="127"/>
                    <a:pt x="0" y="192"/>
                  </a:cubicBezTo>
                  <a:cubicBezTo>
                    <a:pt x="0" y="641"/>
                    <a:pt x="178" y="1050"/>
                    <a:pt x="466" y="1351"/>
                  </a:cubicBezTo>
                  <a:cubicBezTo>
                    <a:pt x="481" y="1318"/>
                    <a:pt x="494" y="1284"/>
                    <a:pt x="505" y="1250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6" name="Freeform 36"/>
            <p:cNvSpPr>
              <a:spLocks/>
            </p:cNvSpPr>
            <p:nvPr/>
          </p:nvSpPr>
          <p:spPr bwMode="auto">
            <a:xfrm>
              <a:off x="4473055" y="3692115"/>
              <a:ext cx="332125" cy="944325"/>
            </a:xfrm>
            <a:custGeom>
              <a:avLst/>
              <a:gdLst>
                <a:gd name="T0" fmla="*/ 393 w 455"/>
                <a:gd name="T1" fmla="*/ 35 h 1293"/>
                <a:gd name="T2" fmla="*/ 353 w 455"/>
                <a:gd name="T3" fmla="*/ 66 h 1293"/>
                <a:gd name="T4" fmla="*/ 357 w 455"/>
                <a:gd name="T5" fmla="*/ 189 h 1293"/>
                <a:gd name="T6" fmla="*/ 0 w 455"/>
                <a:gd name="T7" fmla="*/ 1187 h 1293"/>
                <a:gd name="T8" fmla="*/ 39 w 455"/>
                <a:gd name="T9" fmla="*/ 1293 h 1293"/>
                <a:gd name="T10" fmla="*/ 455 w 455"/>
                <a:gd name="T11" fmla="*/ 189 h 1293"/>
                <a:gd name="T12" fmla="*/ 445 w 455"/>
                <a:gd name="T13" fmla="*/ 0 h 1293"/>
                <a:gd name="T14" fmla="*/ 393 w 455"/>
                <a:gd name="T15" fmla="*/ 35 h 1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5" h="1293">
                  <a:moveTo>
                    <a:pt x="393" y="35"/>
                  </a:moveTo>
                  <a:cubicBezTo>
                    <a:pt x="379" y="45"/>
                    <a:pt x="366" y="56"/>
                    <a:pt x="353" y="66"/>
                  </a:cubicBezTo>
                  <a:cubicBezTo>
                    <a:pt x="356" y="107"/>
                    <a:pt x="357" y="148"/>
                    <a:pt x="357" y="189"/>
                  </a:cubicBezTo>
                  <a:cubicBezTo>
                    <a:pt x="357" y="567"/>
                    <a:pt x="223" y="915"/>
                    <a:pt x="0" y="1187"/>
                  </a:cubicBezTo>
                  <a:cubicBezTo>
                    <a:pt x="11" y="1223"/>
                    <a:pt x="24" y="1258"/>
                    <a:pt x="39" y="1293"/>
                  </a:cubicBezTo>
                  <a:cubicBezTo>
                    <a:pt x="298" y="998"/>
                    <a:pt x="455" y="612"/>
                    <a:pt x="455" y="189"/>
                  </a:cubicBezTo>
                  <a:cubicBezTo>
                    <a:pt x="455" y="125"/>
                    <a:pt x="452" y="62"/>
                    <a:pt x="445" y="0"/>
                  </a:cubicBezTo>
                  <a:cubicBezTo>
                    <a:pt x="427" y="12"/>
                    <a:pt x="410" y="23"/>
                    <a:pt x="393" y="35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7" name="Freeform 37"/>
            <p:cNvSpPr>
              <a:spLocks/>
            </p:cNvSpPr>
            <p:nvPr/>
          </p:nvSpPr>
          <p:spPr bwMode="auto">
            <a:xfrm>
              <a:off x="3092506" y="4886773"/>
              <a:ext cx="1014964" cy="168541"/>
            </a:xfrm>
            <a:custGeom>
              <a:avLst/>
              <a:gdLst>
                <a:gd name="T0" fmla="*/ 1328 w 1389"/>
                <a:gd name="T1" fmla="*/ 19 h 230"/>
                <a:gd name="T2" fmla="*/ 1300 w 1389"/>
                <a:gd name="T3" fmla="*/ 0 h 230"/>
                <a:gd name="T4" fmla="*/ 669 w 1389"/>
                <a:gd name="T5" fmla="*/ 132 h 230"/>
                <a:gd name="T6" fmla="*/ 86 w 1389"/>
                <a:gd name="T7" fmla="*/ 20 h 230"/>
                <a:gd name="T8" fmla="*/ 0 w 1389"/>
                <a:gd name="T9" fmla="*/ 90 h 230"/>
                <a:gd name="T10" fmla="*/ 669 w 1389"/>
                <a:gd name="T11" fmla="*/ 230 h 230"/>
                <a:gd name="T12" fmla="*/ 1389 w 1389"/>
                <a:gd name="T13" fmla="*/ 67 h 230"/>
                <a:gd name="T14" fmla="*/ 1328 w 1389"/>
                <a:gd name="T15" fmla="*/ 19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89" h="230">
                  <a:moveTo>
                    <a:pt x="1328" y="19"/>
                  </a:moveTo>
                  <a:cubicBezTo>
                    <a:pt x="1319" y="13"/>
                    <a:pt x="1309" y="6"/>
                    <a:pt x="1300" y="0"/>
                  </a:cubicBezTo>
                  <a:cubicBezTo>
                    <a:pt x="1107" y="85"/>
                    <a:pt x="893" y="132"/>
                    <a:pt x="669" y="132"/>
                  </a:cubicBezTo>
                  <a:cubicBezTo>
                    <a:pt x="463" y="132"/>
                    <a:pt x="266" y="92"/>
                    <a:pt x="86" y="20"/>
                  </a:cubicBezTo>
                  <a:cubicBezTo>
                    <a:pt x="56" y="42"/>
                    <a:pt x="28" y="65"/>
                    <a:pt x="0" y="90"/>
                  </a:cubicBezTo>
                  <a:cubicBezTo>
                    <a:pt x="205" y="180"/>
                    <a:pt x="431" y="230"/>
                    <a:pt x="669" y="230"/>
                  </a:cubicBezTo>
                  <a:cubicBezTo>
                    <a:pt x="926" y="230"/>
                    <a:pt x="1170" y="171"/>
                    <a:pt x="1389" y="67"/>
                  </a:cubicBezTo>
                  <a:cubicBezTo>
                    <a:pt x="1369" y="50"/>
                    <a:pt x="1349" y="34"/>
                    <a:pt x="1328" y="19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8" name="Freeform 38"/>
            <p:cNvSpPr>
              <a:spLocks/>
            </p:cNvSpPr>
            <p:nvPr/>
          </p:nvSpPr>
          <p:spPr bwMode="auto">
            <a:xfrm>
              <a:off x="3833590" y="2632536"/>
              <a:ext cx="811724" cy="596090"/>
            </a:xfrm>
            <a:custGeom>
              <a:avLst/>
              <a:gdLst>
                <a:gd name="T0" fmla="*/ 23 w 1110"/>
                <a:gd name="T1" fmla="*/ 86 h 816"/>
                <a:gd name="T2" fmla="*/ 31 w 1110"/>
                <a:gd name="T3" fmla="*/ 108 h 816"/>
                <a:gd name="T4" fmla="*/ 998 w 1110"/>
                <a:gd name="T5" fmla="*/ 815 h 816"/>
                <a:gd name="T6" fmla="*/ 1110 w 1110"/>
                <a:gd name="T7" fmla="*/ 812 h 816"/>
                <a:gd name="T8" fmla="*/ 0 w 1110"/>
                <a:gd name="T9" fmla="*/ 0 h 816"/>
                <a:gd name="T10" fmla="*/ 23 w 1110"/>
                <a:gd name="T11" fmla="*/ 86 h 8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10" h="816">
                  <a:moveTo>
                    <a:pt x="23" y="86"/>
                  </a:moveTo>
                  <a:cubicBezTo>
                    <a:pt x="26" y="94"/>
                    <a:pt x="28" y="101"/>
                    <a:pt x="31" y="108"/>
                  </a:cubicBezTo>
                  <a:cubicBezTo>
                    <a:pt x="438" y="208"/>
                    <a:pt x="784" y="467"/>
                    <a:pt x="998" y="815"/>
                  </a:cubicBezTo>
                  <a:cubicBezTo>
                    <a:pt x="1035" y="816"/>
                    <a:pt x="1072" y="815"/>
                    <a:pt x="1110" y="812"/>
                  </a:cubicBezTo>
                  <a:cubicBezTo>
                    <a:pt x="876" y="402"/>
                    <a:pt x="475" y="100"/>
                    <a:pt x="0" y="0"/>
                  </a:cubicBezTo>
                  <a:cubicBezTo>
                    <a:pt x="7" y="29"/>
                    <a:pt x="14" y="58"/>
                    <a:pt x="23" y="86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9" name="Freeform 39"/>
            <p:cNvSpPr>
              <a:spLocks/>
            </p:cNvSpPr>
            <p:nvPr/>
          </p:nvSpPr>
          <p:spPr bwMode="auto">
            <a:xfrm>
              <a:off x="2511287" y="2627579"/>
              <a:ext cx="840226" cy="612200"/>
            </a:xfrm>
            <a:custGeom>
              <a:avLst/>
              <a:gdLst>
                <a:gd name="T0" fmla="*/ 110 w 1151"/>
                <a:gd name="T1" fmla="*/ 838 h 838"/>
                <a:gd name="T2" fmla="*/ 1124 w 1151"/>
                <a:gd name="T3" fmla="*/ 105 h 838"/>
                <a:gd name="T4" fmla="*/ 1151 w 1151"/>
                <a:gd name="T5" fmla="*/ 0 h 838"/>
                <a:gd name="T6" fmla="*/ 0 w 1151"/>
                <a:gd name="T7" fmla="*/ 832 h 838"/>
                <a:gd name="T8" fmla="*/ 110 w 1151"/>
                <a:gd name="T9" fmla="*/ 838 h 8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51" h="838">
                  <a:moveTo>
                    <a:pt x="110" y="838"/>
                  </a:moveTo>
                  <a:cubicBezTo>
                    <a:pt x="329" y="471"/>
                    <a:pt x="694" y="200"/>
                    <a:pt x="1124" y="105"/>
                  </a:cubicBezTo>
                  <a:cubicBezTo>
                    <a:pt x="1135" y="71"/>
                    <a:pt x="1144" y="36"/>
                    <a:pt x="1151" y="0"/>
                  </a:cubicBezTo>
                  <a:cubicBezTo>
                    <a:pt x="657" y="94"/>
                    <a:pt x="238" y="406"/>
                    <a:pt x="0" y="832"/>
                  </a:cubicBezTo>
                  <a:cubicBezTo>
                    <a:pt x="37" y="836"/>
                    <a:pt x="73" y="838"/>
                    <a:pt x="110" y="838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0" name="Oval 40"/>
            <p:cNvSpPr>
              <a:spLocks noChangeArrowheads="1"/>
            </p:cNvSpPr>
            <p:nvPr/>
          </p:nvSpPr>
          <p:spPr bwMode="auto">
            <a:xfrm>
              <a:off x="2101088" y="1911280"/>
              <a:ext cx="594851" cy="59485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2" name="Oval 42"/>
            <p:cNvSpPr>
              <a:spLocks noChangeArrowheads="1"/>
            </p:cNvSpPr>
            <p:nvPr/>
          </p:nvSpPr>
          <p:spPr bwMode="auto">
            <a:xfrm>
              <a:off x="3293268" y="5527476"/>
              <a:ext cx="596090" cy="59609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4" name="Oval 44"/>
            <p:cNvSpPr>
              <a:spLocks noChangeArrowheads="1"/>
            </p:cNvSpPr>
            <p:nvPr/>
          </p:nvSpPr>
          <p:spPr bwMode="auto">
            <a:xfrm>
              <a:off x="5139783" y="4154362"/>
              <a:ext cx="596090" cy="59609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6" name="Oval 46"/>
            <p:cNvSpPr>
              <a:spLocks noChangeArrowheads="1"/>
            </p:cNvSpPr>
            <p:nvPr/>
          </p:nvSpPr>
          <p:spPr bwMode="auto">
            <a:xfrm>
              <a:off x="4501559" y="1974483"/>
              <a:ext cx="594851" cy="59485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8" name="Oval 48"/>
            <p:cNvSpPr>
              <a:spLocks noChangeArrowheads="1"/>
            </p:cNvSpPr>
            <p:nvPr/>
          </p:nvSpPr>
          <p:spPr bwMode="auto">
            <a:xfrm>
              <a:off x="1428167" y="4268370"/>
              <a:ext cx="594851" cy="59485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2" name="Freeform 313"/>
            <p:cNvSpPr>
              <a:spLocks noEditPoints="1"/>
            </p:cNvSpPr>
            <p:nvPr/>
          </p:nvSpPr>
          <p:spPr bwMode="auto">
            <a:xfrm>
              <a:off x="2255638" y="2077736"/>
              <a:ext cx="285750" cy="261938"/>
            </a:xfrm>
            <a:custGeom>
              <a:avLst/>
              <a:gdLst>
                <a:gd name="T0" fmla="*/ 140 w 902"/>
                <a:gd name="T1" fmla="*/ 617 h 827"/>
                <a:gd name="T2" fmla="*/ 35 w 902"/>
                <a:gd name="T3" fmla="*/ 68 h 827"/>
                <a:gd name="T4" fmla="*/ 361 w 902"/>
                <a:gd name="T5" fmla="*/ 165 h 827"/>
                <a:gd name="T6" fmla="*/ 541 w 902"/>
                <a:gd name="T7" fmla="*/ 161 h 827"/>
                <a:gd name="T8" fmla="*/ 569 w 902"/>
                <a:gd name="T9" fmla="*/ 794 h 827"/>
                <a:gd name="T10" fmla="*/ 542 w 902"/>
                <a:gd name="T11" fmla="*/ 761 h 827"/>
                <a:gd name="T12" fmla="*/ 555 w 902"/>
                <a:gd name="T13" fmla="*/ 720 h 827"/>
                <a:gd name="T14" fmla="*/ 595 w 902"/>
                <a:gd name="T15" fmla="*/ 708 h 827"/>
                <a:gd name="T16" fmla="*/ 628 w 902"/>
                <a:gd name="T17" fmla="*/ 735 h 827"/>
                <a:gd name="T18" fmla="*/ 623 w 902"/>
                <a:gd name="T19" fmla="*/ 777 h 827"/>
                <a:gd name="T20" fmla="*/ 587 w 902"/>
                <a:gd name="T21" fmla="*/ 797 h 827"/>
                <a:gd name="T22" fmla="*/ 213 w 902"/>
                <a:gd name="T23" fmla="*/ 784 h 827"/>
                <a:gd name="T24" fmla="*/ 172 w 902"/>
                <a:gd name="T25" fmla="*/ 796 h 827"/>
                <a:gd name="T26" fmla="*/ 139 w 902"/>
                <a:gd name="T27" fmla="*/ 769 h 827"/>
                <a:gd name="T28" fmla="*/ 143 w 902"/>
                <a:gd name="T29" fmla="*/ 726 h 827"/>
                <a:gd name="T30" fmla="*/ 180 w 902"/>
                <a:gd name="T31" fmla="*/ 707 h 827"/>
                <a:gd name="T32" fmla="*/ 218 w 902"/>
                <a:gd name="T33" fmla="*/ 726 h 827"/>
                <a:gd name="T34" fmla="*/ 754 w 902"/>
                <a:gd name="T35" fmla="*/ 45 h 827"/>
                <a:gd name="T36" fmla="*/ 693 w 902"/>
                <a:gd name="T37" fmla="*/ 249 h 827"/>
                <a:gd name="T38" fmla="*/ 565 w 902"/>
                <a:gd name="T39" fmla="*/ 102 h 827"/>
                <a:gd name="T40" fmla="*/ 525 w 902"/>
                <a:gd name="T41" fmla="*/ 135 h 827"/>
                <a:gd name="T42" fmla="*/ 335 w 902"/>
                <a:gd name="T43" fmla="*/ 140 h 827"/>
                <a:gd name="T44" fmla="*/ 331 w 902"/>
                <a:gd name="T45" fmla="*/ 255 h 827"/>
                <a:gd name="T46" fmla="*/ 118 w 902"/>
                <a:gd name="T47" fmla="*/ 2 h 827"/>
                <a:gd name="T48" fmla="*/ 103 w 902"/>
                <a:gd name="T49" fmla="*/ 1 h 827"/>
                <a:gd name="T50" fmla="*/ 1 w 902"/>
                <a:gd name="T51" fmla="*/ 55 h 827"/>
                <a:gd name="T52" fmla="*/ 83 w 902"/>
                <a:gd name="T53" fmla="*/ 255 h 827"/>
                <a:gd name="T54" fmla="*/ 2 w 902"/>
                <a:gd name="T55" fmla="*/ 262 h 827"/>
                <a:gd name="T56" fmla="*/ 115 w 902"/>
                <a:gd name="T57" fmla="*/ 636 h 827"/>
                <a:gd name="T58" fmla="*/ 596 w 902"/>
                <a:gd name="T59" fmla="*/ 647 h 827"/>
                <a:gd name="T60" fmla="*/ 158 w 902"/>
                <a:gd name="T61" fmla="*/ 680 h 827"/>
                <a:gd name="T62" fmla="*/ 128 w 902"/>
                <a:gd name="T63" fmla="*/ 698 h 827"/>
                <a:gd name="T64" fmla="*/ 109 w 902"/>
                <a:gd name="T65" fmla="*/ 729 h 827"/>
                <a:gd name="T66" fmla="*/ 106 w 902"/>
                <a:gd name="T67" fmla="*/ 767 h 827"/>
                <a:gd name="T68" fmla="*/ 123 w 902"/>
                <a:gd name="T69" fmla="*/ 799 h 827"/>
                <a:gd name="T70" fmla="*/ 151 w 902"/>
                <a:gd name="T71" fmla="*/ 822 h 827"/>
                <a:gd name="T72" fmla="*/ 188 w 902"/>
                <a:gd name="T73" fmla="*/ 827 h 827"/>
                <a:gd name="T74" fmla="*/ 222 w 902"/>
                <a:gd name="T75" fmla="*/ 814 h 827"/>
                <a:gd name="T76" fmla="*/ 247 w 902"/>
                <a:gd name="T77" fmla="*/ 787 h 827"/>
                <a:gd name="T78" fmla="*/ 255 w 902"/>
                <a:gd name="T79" fmla="*/ 752 h 827"/>
                <a:gd name="T80" fmla="*/ 527 w 902"/>
                <a:gd name="T81" fmla="*/ 707 h 827"/>
                <a:gd name="T82" fmla="*/ 512 w 902"/>
                <a:gd name="T83" fmla="*/ 759 h 827"/>
                <a:gd name="T84" fmla="*/ 524 w 902"/>
                <a:gd name="T85" fmla="*/ 794 h 827"/>
                <a:gd name="T86" fmla="*/ 550 w 902"/>
                <a:gd name="T87" fmla="*/ 818 h 827"/>
                <a:gd name="T88" fmla="*/ 587 w 902"/>
                <a:gd name="T89" fmla="*/ 827 h 827"/>
                <a:gd name="T90" fmla="*/ 622 w 902"/>
                <a:gd name="T91" fmla="*/ 818 h 827"/>
                <a:gd name="T92" fmla="*/ 649 w 902"/>
                <a:gd name="T93" fmla="*/ 794 h 827"/>
                <a:gd name="T94" fmla="*/ 661 w 902"/>
                <a:gd name="T95" fmla="*/ 759 h 827"/>
                <a:gd name="T96" fmla="*/ 650 w 902"/>
                <a:gd name="T97" fmla="*/ 711 h 827"/>
                <a:gd name="T98" fmla="*/ 630 w 902"/>
                <a:gd name="T99" fmla="*/ 638 h 827"/>
                <a:gd name="T100" fmla="*/ 766 w 902"/>
                <a:gd name="T101" fmla="*/ 75 h 827"/>
                <a:gd name="T102" fmla="*/ 898 w 902"/>
                <a:gd name="T103" fmla="*/ 71 h 827"/>
                <a:gd name="T104" fmla="*/ 902 w 902"/>
                <a:gd name="T105" fmla="*/ 57 h 827"/>
                <a:gd name="T106" fmla="*/ 892 w 902"/>
                <a:gd name="T107" fmla="*/ 46 h 8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02" h="827">
                  <a:moveTo>
                    <a:pt x="140" y="617"/>
                  </a:moveTo>
                  <a:lnTo>
                    <a:pt x="36" y="285"/>
                  </a:lnTo>
                  <a:lnTo>
                    <a:pt x="684" y="285"/>
                  </a:lnTo>
                  <a:lnTo>
                    <a:pt x="604" y="617"/>
                  </a:lnTo>
                  <a:lnTo>
                    <a:pt x="140" y="617"/>
                  </a:lnTo>
                  <a:close/>
                  <a:moveTo>
                    <a:pt x="35" y="68"/>
                  </a:moveTo>
                  <a:lnTo>
                    <a:pt x="102" y="36"/>
                  </a:lnTo>
                  <a:lnTo>
                    <a:pt x="202" y="255"/>
                  </a:lnTo>
                  <a:lnTo>
                    <a:pt x="115" y="255"/>
                  </a:lnTo>
                  <a:lnTo>
                    <a:pt x="35" y="68"/>
                  </a:lnTo>
                  <a:close/>
                  <a:moveTo>
                    <a:pt x="361" y="165"/>
                  </a:moveTo>
                  <a:lnTo>
                    <a:pt x="493" y="165"/>
                  </a:lnTo>
                  <a:lnTo>
                    <a:pt x="400" y="255"/>
                  </a:lnTo>
                  <a:lnTo>
                    <a:pt x="361" y="255"/>
                  </a:lnTo>
                  <a:lnTo>
                    <a:pt x="361" y="165"/>
                  </a:lnTo>
                  <a:close/>
                  <a:moveTo>
                    <a:pt x="563" y="140"/>
                  </a:moveTo>
                  <a:lnTo>
                    <a:pt x="660" y="255"/>
                  </a:lnTo>
                  <a:lnTo>
                    <a:pt x="443" y="255"/>
                  </a:lnTo>
                  <a:lnTo>
                    <a:pt x="541" y="161"/>
                  </a:lnTo>
                  <a:lnTo>
                    <a:pt x="541" y="161"/>
                  </a:lnTo>
                  <a:lnTo>
                    <a:pt x="541" y="161"/>
                  </a:lnTo>
                  <a:lnTo>
                    <a:pt x="563" y="140"/>
                  </a:lnTo>
                  <a:close/>
                  <a:moveTo>
                    <a:pt x="587" y="797"/>
                  </a:moveTo>
                  <a:lnTo>
                    <a:pt x="577" y="796"/>
                  </a:lnTo>
                  <a:lnTo>
                    <a:pt x="569" y="794"/>
                  </a:lnTo>
                  <a:lnTo>
                    <a:pt x="561" y="790"/>
                  </a:lnTo>
                  <a:lnTo>
                    <a:pt x="555" y="784"/>
                  </a:lnTo>
                  <a:lnTo>
                    <a:pt x="549" y="777"/>
                  </a:lnTo>
                  <a:lnTo>
                    <a:pt x="545" y="769"/>
                  </a:lnTo>
                  <a:lnTo>
                    <a:pt x="542" y="761"/>
                  </a:lnTo>
                  <a:lnTo>
                    <a:pt x="542" y="752"/>
                  </a:lnTo>
                  <a:lnTo>
                    <a:pt x="542" y="742"/>
                  </a:lnTo>
                  <a:lnTo>
                    <a:pt x="545" y="735"/>
                  </a:lnTo>
                  <a:lnTo>
                    <a:pt x="549" y="726"/>
                  </a:lnTo>
                  <a:lnTo>
                    <a:pt x="555" y="720"/>
                  </a:lnTo>
                  <a:lnTo>
                    <a:pt x="561" y="714"/>
                  </a:lnTo>
                  <a:lnTo>
                    <a:pt x="569" y="710"/>
                  </a:lnTo>
                  <a:lnTo>
                    <a:pt x="577" y="708"/>
                  </a:lnTo>
                  <a:lnTo>
                    <a:pt x="587" y="707"/>
                  </a:lnTo>
                  <a:lnTo>
                    <a:pt x="595" y="708"/>
                  </a:lnTo>
                  <a:lnTo>
                    <a:pt x="604" y="710"/>
                  </a:lnTo>
                  <a:lnTo>
                    <a:pt x="611" y="714"/>
                  </a:lnTo>
                  <a:lnTo>
                    <a:pt x="618" y="720"/>
                  </a:lnTo>
                  <a:lnTo>
                    <a:pt x="623" y="726"/>
                  </a:lnTo>
                  <a:lnTo>
                    <a:pt x="628" y="735"/>
                  </a:lnTo>
                  <a:lnTo>
                    <a:pt x="631" y="742"/>
                  </a:lnTo>
                  <a:lnTo>
                    <a:pt x="632" y="752"/>
                  </a:lnTo>
                  <a:lnTo>
                    <a:pt x="631" y="761"/>
                  </a:lnTo>
                  <a:lnTo>
                    <a:pt x="628" y="769"/>
                  </a:lnTo>
                  <a:lnTo>
                    <a:pt x="623" y="777"/>
                  </a:lnTo>
                  <a:lnTo>
                    <a:pt x="618" y="784"/>
                  </a:lnTo>
                  <a:lnTo>
                    <a:pt x="611" y="790"/>
                  </a:lnTo>
                  <a:lnTo>
                    <a:pt x="604" y="794"/>
                  </a:lnTo>
                  <a:lnTo>
                    <a:pt x="595" y="796"/>
                  </a:lnTo>
                  <a:lnTo>
                    <a:pt x="587" y="797"/>
                  </a:lnTo>
                  <a:close/>
                  <a:moveTo>
                    <a:pt x="225" y="752"/>
                  </a:moveTo>
                  <a:lnTo>
                    <a:pt x="224" y="761"/>
                  </a:lnTo>
                  <a:lnTo>
                    <a:pt x="222" y="769"/>
                  </a:lnTo>
                  <a:lnTo>
                    <a:pt x="218" y="777"/>
                  </a:lnTo>
                  <a:lnTo>
                    <a:pt x="213" y="784"/>
                  </a:lnTo>
                  <a:lnTo>
                    <a:pt x="206" y="790"/>
                  </a:lnTo>
                  <a:lnTo>
                    <a:pt x="198" y="794"/>
                  </a:lnTo>
                  <a:lnTo>
                    <a:pt x="190" y="796"/>
                  </a:lnTo>
                  <a:lnTo>
                    <a:pt x="180" y="797"/>
                  </a:lnTo>
                  <a:lnTo>
                    <a:pt x="172" y="796"/>
                  </a:lnTo>
                  <a:lnTo>
                    <a:pt x="163" y="794"/>
                  </a:lnTo>
                  <a:lnTo>
                    <a:pt x="156" y="790"/>
                  </a:lnTo>
                  <a:lnTo>
                    <a:pt x="148" y="784"/>
                  </a:lnTo>
                  <a:lnTo>
                    <a:pt x="143" y="777"/>
                  </a:lnTo>
                  <a:lnTo>
                    <a:pt x="139" y="769"/>
                  </a:lnTo>
                  <a:lnTo>
                    <a:pt x="136" y="761"/>
                  </a:lnTo>
                  <a:lnTo>
                    <a:pt x="135" y="752"/>
                  </a:lnTo>
                  <a:lnTo>
                    <a:pt x="136" y="742"/>
                  </a:lnTo>
                  <a:lnTo>
                    <a:pt x="139" y="735"/>
                  </a:lnTo>
                  <a:lnTo>
                    <a:pt x="143" y="726"/>
                  </a:lnTo>
                  <a:lnTo>
                    <a:pt x="148" y="720"/>
                  </a:lnTo>
                  <a:lnTo>
                    <a:pt x="156" y="714"/>
                  </a:lnTo>
                  <a:lnTo>
                    <a:pt x="163" y="710"/>
                  </a:lnTo>
                  <a:lnTo>
                    <a:pt x="172" y="708"/>
                  </a:lnTo>
                  <a:lnTo>
                    <a:pt x="180" y="707"/>
                  </a:lnTo>
                  <a:lnTo>
                    <a:pt x="190" y="708"/>
                  </a:lnTo>
                  <a:lnTo>
                    <a:pt x="198" y="710"/>
                  </a:lnTo>
                  <a:lnTo>
                    <a:pt x="206" y="714"/>
                  </a:lnTo>
                  <a:lnTo>
                    <a:pt x="213" y="720"/>
                  </a:lnTo>
                  <a:lnTo>
                    <a:pt x="218" y="726"/>
                  </a:lnTo>
                  <a:lnTo>
                    <a:pt x="222" y="735"/>
                  </a:lnTo>
                  <a:lnTo>
                    <a:pt x="224" y="742"/>
                  </a:lnTo>
                  <a:lnTo>
                    <a:pt x="225" y="752"/>
                  </a:lnTo>
                  <a:close/>
                  <a:moveTo>
                    <a:pt x="887" y="45"/>
                  </a:moveTo>
                  <a:lnTo>
                    <a:pt x="754" y="45"/>
                  </a:lnTo>
                  <a:lnTo>
                    <a:pt x="750" y="46"/>
                  </a:lnTo>
                  <a:lnTo>
                    <a:pt x="745" y="49"/>
                  </a:lnTo>
                  <a:lnTo>
                    <a:pt x="741" y="52"/>
                  </a:lnTo>
                  <a:lnTo>
                    <a:pt x="740" y="57"/>
                  </a:lnTo>
                  <a:lnTo>
                    <a:pt x="693" y="249"/>
                  </a:lnTo>
                  <a:lnTo>
                    <a:pt x="576" y="107"/>
                  </a:lnTo>
                  <a:lnTo>
                    <a:pt x="574" y="105"/>
                  </a:lnTo>
                  <a:lnTo>
                    <a:pt x="572" y="104"/>
                  </a:lnTo>
                  <a:lnTo>
                    <a:pt x="569" y="103"/>
                  </a:lnTo>
                  <a:lnTo>
                    <a:pt x="565" y="102"/>
                  </a:lnTo>
                  <a:lnTo>
                    <a:pt x="562" y="102"/>
                  </a:lnTo>
                  <a:lnTo>
                    <a:pt x="560" y="103"/>
                  </a:lnTo>
                  <a:lnTo>
                    <a:pt x="557" y="104"/>
                  </a:lnTo>
                  <a:lnTo>
                    <a:pt x="555" y="106"/>
                  </a:lnTo>
                  <a:lnTo>
                    <a:pt x="525" y="135"/>
                  </a:lnTo>
                  <a:lnTo>
                    <a:pt x="346" y="135"/>
                  </a:lnTo>
                  <a:lnTo>
                    <a:pt x="342" y="135"/>
                  </a:lnTo>
                  <a:lnTo>
                    <a:pt x="340" y="136"/>
                  </a:lnTo>
                  <a:lnTo>
                    <a:pt x="337" y="139"/>
                  </a:lnTo>
                  <a:lnTo>
                    <a:pt x="335" y="140"/>
                  </a:lnTo>
                  <a:lnTo>
                    <a:pt x="334" y="142"/>
                  </a:lnTo>
                  <a:lnTo>
                    <a:pt x="332" y="145"/>
                  </a:lnTo>
                  <a:lnTo>
                    <a:pt x="332" y="147"/>
                  </a:lnTo>
                  <a:lnTo>
                    <a:pt x="331" y="150"/>
                  </a:lnTo>
                  <a:lnTo>
                    <a:pt x="331" y="255"/>
                  </a:lnTo>
                  <a:lnTo>
                    <a:pt x="235" y="255"/>
                  </a:lnTo>
                  <a:lnTo>
                    <a:pt x="124" y="9"/>
                  </a:lnTo>
                  <a:lnTo>
                    <a:pt x="123" y="7"/>
                  </a:lnTo>
                  <a:lnTo>
                    <a:pt x="120" y="5"/>
                  </a:lnTo>
                  <a:lnTo>
                    <a:pt x="118" y="2"/>
                  </a:lnTo>
                  <a:lnTo>
                    <a:pt x="115" y="1"/>
                  </a:lnTo>
                  <a:lnTo>
                    <a:pt x="112" y="0"/>
                  </a:lnTo>
                  <a:lnTo>
                    <a:pt x="110" y="0"/>
                  </a:lnTo>
                  <a:lnTo>
                    <a:pt x="106" y="0"/>
                  </a:lnTo>
                  <a:lnTo>
                    <a:pt x="103" y="1"/>
                  </a:lnTo>
                  <a:lnTo>
                    <a:pt x="9" y="46"/>
                  </a:lnTo>
                  <a:lnTo>
                    <a:pt x="6" y="49"/>
                  </a:lnTo>
                  <a:lnTo>
                    <a:pt x="4" y="51"/>
                  </a:lnTo>
                  <a:lnTo>
                    <a:pt x="2" y="53"/>
                  </a:lnTo>
                  <a:lnTo>
                    <a:pt x="1" y="55"/>
                  </a:lnTo>
                  <a:lnTo>
                    <a:pt x="0" y="58"/>
                  </a:lnTo>
                  <a:lnTo>
                    <a:pt x="0" y="60"/>
                  </a:lnTo>
                  <a:lnTo>
                    <a:pt x="0" y="64"/>
                  </a:lnTo>
                  <a:lnTo>
                    <a:pt x="1" y="67"/>
                  </a:lnTo>
                  <a:lnTo>
                    <a:pt x="83" y="255"/>
                  </a:lnTo>
                  <a:lnTo>
                    <a:pt x="15" y="255"/>
                  </a:lnTo>
                  <a:lnTo>
                    <a:pt x="12" y="257"/>
                  </a:lnTo>
                  <a:lnTo>
                    <a:pt x="8" y="258"/>
                  </a:lnTo>
                  <a:lnTo>
                    <a:pt x="6" y="260"/>
                  </a:lnTo>
                  <a:lnTo>
                    <a:pt x="2" y="262"/>
                  </a:lnTo>
                  <a:lnTo>
                    <a:pt x="1" y="265"/>
                  </a:lnTo>
                  <a:lnTo>
                    <a:pt x="0" y="268"/>
                  </a:lnTo>
                  <a:lnTo>
                    <a:pt x="0" y="272"/>
                  </a:lnTo>
                  <a:lnTo>
                    <a:pt x="1" y="276"/>
                  </a:lnTo>
                  <a:lnTo>
                    <a:pt x="115" y="636"/>
                  </a:lnTo>
                  <a:lnTo>
                    <a:pt x="117" y="640"/>
                  </a:lnTo>
                  <a:lnTo>
                    <a:pt x="120" y="644"/>
                  </a:lnTo>
                  <a:lnTo>
                    <a:pt x="124" y="646"/>
                  </a:lnTo>
                  <a:lnTo>
                    <a:pt x="129" y="647"/>
                  </a:lnTo>
                  <a:lnTo>
                    <a:pt x="596" y="647"/>
                  </a:lnTo>
                  <a:lnTo>
                    <a:pt x="590" y="677"/>
                  </a:lnTo>
                  <a:lnTo>
                    <a:pt x="180" y="677"/>
                  </a:lnTo>
                  <a:lnTo>
                    <a:pt x="173" y="677"/>
                  </a:lnTo>
                  <a:lnTo>
                    <a:pt x="165" y="678"/>
                  </a:lnTo>
                  <a:lnTo>
                    <a:pt x="158" y="680"/>
                  </a:lnTo>
                  <a:lnTo>
                    <a:pt x="151" y="682"/>
                  </a:lnTo>
                  <a:lnTo>
                    <a:pt x="145" y="685"/>
                  </a:lnTo>
                  <a:lnTo>
                    <a:pt x="139" y="690"/>
                  </a:lnTo>
                  <a:lnTo>
                    <a:pt x="132" y="694"/>
                  </a:lnTo>
                  <a:lnTo>
                    <a:pt x="128" y="698"/>
                  </a:lnTo>
                  <a:lnTo>
                    <a:pt x="123" y="704"/>
                  </a:lnTo>
                  <a:lnTo>
                    <a:pt x="118" y="710"/>
                  </a:lnTo>
                  <a:lnTo>
                    <a:pt x="114" y="717"/>
                  </a:lnTo>
                  <a:lnTo>
                    <a:pt x="111" y="723"/>
                  </a:lnTo>
                  <a:lnTo>
                    <a:pt x="109" y="729"/>
                  </a:lnTo>
                  <a:lnTo>
                    <a:pt x="106" y="737"/>
                  </a:lnTo>
                  <a:lnTo>
                    <a:pt x="105" y="744"/>
                  </a:lnTo>
                  <a:lnTo>
                    <a:pt x="105" y="752"/>
                  </a:lnTo>
                  <a:lnTo>
                    <a:pt x="105" y="759"/>
                  </a:lnTo>
                  <a:lnTo>
                    <a:pt x="106" y="767"/>
                  </a:lnTo>
                  <a:lnTo>
                    <a:pt x="109" y="774"/>
                  </a:lnTo>
                  <a:lnTo>
                    <a:pt x="111" y="781"/>
                  </a:lnTo>
                  <a:lnTo>
                    <a:pt x="114" y="787"/>
                  </a:lnTo>
                  <a:lnTo>
                    <a:pt x="118" y="794"/>
                  </a:lnTo>
                  <a:lnTo>
                    <a:pt x="123" y="799"/>
                  </a:lnTo>
                  <a:lnTo>
                    <a:pt x="128" y="805"/>
                  </a:lnTo>
                  <a:lnTo>
                    <a:pt x="132" y="810"/>
                  </a:lnTo>
                  <a:lnTo>
                    <a:pt x="139" y="814"/>
                  </a:lnTo>
                  <a:lnTo>
                    <a:pt x="145" y="818"/>
                  </a:lnTo>
                  <a:lnTo>
                    <a:pt x="151" y="822"/>
                  </a:lnTo>
                  <a:lnTo>
                    <a:pt x="158" y="824"/>
                  </a:lnTo>
                  <a:lnTo>
                    <a:pt x="165" y="826"/>
                  </a:lnTo>
                  <a:lnTo>
                    <a:pt x="173" y="827"/>
                  </a:lnTo>
                  <a:lnTo>
                    <a:pt x="180" y="827"/>
                  </a:lnTo>
                  <a:lnTo>
                    <a:pt x="188" y="827"/>
                  </a:lnTo>
                  <a:lnTo>
                    <a:pt x="195" y="826"/>
                  </a:lnTo>
                  <a:lnTo>
                    <a:pt x="203" y="824"/>
                  </a:lnTo>
                  <a:lnTo>
                    <a:pt x="209" y="822"/>
                  </a:lnTo>
                  <a:lnTo>
                    <a:pt x="216" y="818"/>
                  </a:lnTo>
                  <a:lnTo>
                    <a:pt x="222" y="814"/>
                  </a:lnTo>
                  <a:lnTo>
                    <a:pt x="229" y="810"/>
                  </a:lnTo>
                  <a:lnTo>
                    <a:pt x="234" y="805"/>
                  </a:lnTo>
                  <a:lnTo>
                    <a:pt x="238" y="799"/>
                  </a:lnTo>
                  <a:lnTo>
                    <a:pt x="243" y="794"/>
                  </a:lnTo>
                  <a:lnTo>
                    <a:pt x="247" y="787"/>
                  </a:lnTo>
                  <a:lnTo>
                    <a:pt x="250" y="781"/>
                  </a:lnTo>
                  <a:lnTo>
                    <a:pt x="252" y="774"/>
                  </a:lnTo>
                  <a:lnTo>
                    <a:pt x="254" y="767"/>
                  </a:lnTo>
                  <a:lnTo>
                    <a:pt x="255" y="759"/>
                  </a:lnTo>
                  <a:lnTo>
                    <a:pt x="255" y="752"/>
                  </a:lnTo>
                  <a:lnTo>
                    <a:pt x="254" y="739"/>
                  </a:lnTo>
                  <a:lnTo>
                    <a:pt x="251" y="727"/>
                  </a:lnTo>
                  <a:lnTo>
                    <a:pt x="247" y="717"/>
                  </a:lnTo>
                  <a:lnTo>
                    <a:pt x="240" y="707"/>
                  </a:lnTo>
                  <a:lnTo>
                    <a:pt x="527" y="707"/>
                  </a:lnTo>
                  <a:lnTo>
                    <a:pt x="520" y="717"/>
                  </a:lnTo>
                  <a:lnTo>
                    <a:pt x="515" y="727"/>
                  </a:lnTo>
                  <a:lnTo>
                    <a:pt x="512" y="739"/>
                  </a:lnTo>
                  <a:lnTo>
                    <a:pt x="511" y="752"/>
                  </a:lnTo>
                  <a:lnTo>
                    <a:pt x="512" y="759"/>
                  </a:lnTo>
                  <a:lnTo>
                    <a:pt x="513" y="767"/>
                  </a:lnTo>
                  <a:lnTo>
                    <a:pt x="515" y="774"/>
                  </a:lnTo>
                  <a:lnTo>
                    <a:pt x="517" y="781"/>
                  </a:lnTo>
                  <a:lnTo>
                    <a:pt x="520" y="787"/>
                  </a:lnTo>
                  <a:lnTo>
                    <a:pt x="524" y="794"/>
                  </a:lnTo>
                  <a:lnTo>
                    <a:pt x="529" y="799"/>
                  </a:lnTo>
                  <a:lnTo>
                    <a:pt x="533" y="805"/>
                  </a:lnTo>
                  <a:lnTo>
                    <a:pt x="539" y="810"/>
                  </a:lnTo>
                  <a:lnTo>
                    <a:pt x="544" y="814"/>
                  </a:lnTo>
                  <a:lnTo>
                    <a:pt x="550" y="818"/>
                  </a:lnTo>
                  <a:lnTo>
                    <a:pt x="557" y="822"/>
                  </a:lnTo>
                  <a:lnTo>
                    <a:pt x="564" y="824"/>
                  </a:lnTo>
                  <a:lnTo>
                    <a:pt x="571" y="826"/>
                  </a:lnTo>
                  <a:lnTo>
                    <a:pt x="578" y="827"/>
                  </a:lnTo>
                  <a:lnTo>
                    <a:pt x="587" y="827"/>
                  </a:lnTo>
                  <a:lnTo>
                    <a:pt x="594" y="827"/>
                  </a:lnTo>
                  <a:lnTo>
                    <a:pt x="602" y="826"/>
                  </a:lnTo>
                  <a:lnTo>
                    <a:pt x="608" y="824"/>
                  </a:lnTo>
                  <a:lnTo>
                    <a:pt x="616" y="822"/>
                  </a:lnTo>
                  <a:lnTo>
                    <a:pt x="622" y="818"/>
                  </a:lnTo>
                  <a:lnTo>
                    <a:pt x="629" y="814"/>
                  </a:lnTo>
                  <a:lnTo>
                    <a:pt x="634" y="810"/>
                  </a:lnTo>
                  <a:lnTo>
                    <a:pt x="639" y="805"/>
                  </a:lnTo>
                  <a:lnTo>
                    <a:pt x="645" y="799"/>
                  </a:lnTo>
                  <a:lnTo>
                    <a:pt x="649" y="794"/>
                  </a:lnTo>
                  <a:lnTo>
                    <a:pt x="652" y="787"/>
                  </a:lnTo>
                  <a:lnTo>
                    <a:pt x="655" y="781"/>
                  </a:lnTo>
                  <a:lnTo>
                    <a:pt x="659" y="774"/>
                  </a:lnTo>
                  <a:lnTo>
                    <a:pt x="660" y="767"/>
                  </a:lnTo>
                  <a:lnTo>
                    <a:pt x="661" y="759"/>
                  </a:lnTo>
                  <a:lnTo>
                    <a:pt x="662" y="752"/>
                  </a:lnTo>
                  <a:lnTo>
                    <a:pt x="661" y="741"/>
                  </a:lnTo>
                  <a:lnTo>
                    <a:pt x="659" y="731"/>
                  </a:lnTo>
                  <a:lnTo>
                    <a:pt x="654" y="721"/>
                  </a:lnTo>
                  <a:lnTo>
                    <a:pt x="650" y="711"/>
                  </a:lnTo>
                  <a:lnTo>
                    <a:pt x="644" y="703"/>
                  </a:lnTo>
                  <a:lnTo>
                    <a:pt x="636" y="696"/>
                  </a:lnTo>
                  <a:lnTo>
                    <a:pt x="628" y="690"/>
                  </a:lnTo>
                  <a:lnTo>
                    <a:pt x="619" y="684"/>
                  </a:lnTo>
                  <a:lnTo>
                    <a:pt x="630" y="638"/>
                  </a:lnTo>
                  <a:lnTo>
                    <a:pt x="631" y="635"/>
                  </a:lnTo>
                  <a:lnTo>
                    <a:pt x="632" y="632"/>
                  </a:lnTo>
                  <a:lnTo>
                    <a:pt x="632" y="632"/>
                  </a:lnTo>
                  <a:lnTo>
                    <a:pt x="632" y="632"/>
                  </a:lnTo>
                  <a:lnTo>
                    <a:pt x="766" y="75"/>
                  </a:lnTo>
                  <a:lnTo>
                    <a:pt x="887" y="75"/>
                  </a:lnTo>
                  <a:lnTo>
                    <a:pt x="890" y="75"/>
                  </a:lnTo>
                  <a:lnTo>
                    <a:pt x="892" y="74"/>
                  </a:lnTo>
                  <a:lnTo>
                    <a:pt x="896" y="73"/>
                  </a:lnTo>
                  <a:lnTo>
                    <a:pt x="898" y="71"/>
                  </a:lnTo>
                  <a:lnTo>
                    <a:pt x="900" y="69"/>
                  </a:lnTo>
                  <a:lnTo>
                    <a:pt x="901" y="67"/>
                  </a:lnTo>
                  <a:lnTo>
                    <a:pt x="902" y="64"/>
                  </a:lnTo>
                  <a:lnTo>
                    <a:pt x="902" y="60"/>
                  </a:lnTo>
                  <a:lnTo>
                    <a:pt x="902" y="57"/>
                  </a:lnTo>
                  <a:lnTo>
                    <a:pt x="901" y="55"/>
                  </a:lnTo>
                  <a:lnTo>
                    <a:pt x="900" y="52"/>
                  </a:lnTo>
                  <a:lnTo>
                    <a:pt x="898" y="50"/>
                  </a:lnTo>
                  <a:lnTo>
                    <a:pt x="896" y="47"/>
                  </a:lnTo>
                  <a:lnTo>
                    <a:pt x="892" y="46"/>
                  </a:lnTo>
                  <a:lnTo>
                    <a:pt x="890" y="45"/>
                  </a:lnTo>
                  <a:lnTo>
                    <a:pt x="887" y="45"/>
                  </a:lnTo>
                  <a:close/>
                </a:path>
              </a:pathLst>
            </a:custGeom>
            <a:solidFill>
              <a:srgbClr val="E2583D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83" name="Group 182"/>
            <p:cNvGrpSpPr/>
            <p:nvPr/>
          </p:nvGrpSpPr>
          <p:grpSpPr>
            <a:xfrm>
              <a:off x="4656109" y="2128239"/>
              <a:ext cx="285750" cy="287338"/>
              <a:chOff x="9882188" y="1925638"/>
              <a:chExt cx="285750" cy="287338"/>
            </a:xfrm>
            <a:solidFill>
              <a:srgbClr val="4CC7C4"/>
            </a:solidFill>
          </p:grpSpPr>
          <p:sp>
            <p:nvSpPr>
              <p:cNvPr id="184" name="Freeform 93"/>
              <p:cNvSpPr>
                <a:spLocks noEditPoints="1"/>
              </p:cNvSpPr>
              <p:nvPr/>
            </p:nvSpPr>
            <p:spPr bwMode="auto">
              <a:xfrm>
                <a:off x="9882188" y="1925638"/>
                <a:ext cx="285750" cy="287338"/>
              </a:xfrm>
              <a:custGeom>
                <a:avLst/>
                <a:gdLst>
                  <a:gd name="T0" fmla="*/ 872 w 902"/>
                  <a:gd name="T1" fmla="*/ 872 h 902"/>
                  <a:gd name="T2" fmla="*/ 30 w 902"/>
                  <a:gd name="T3" fmla="*/ 872 h 902"/>
                  <a:gd name="T4" fmla="*/ 30 w 902"/>
                  <a:gd name="T5" fmla="*/ 30 h 902"/>
                  <a:gd name="T6" fmla="*/ 872 w 902"/>
                  <a:gd name="T7" fmla="*/ 30 h 902"/>
                  <a:gd name="T8" fmla="*/ 872 w 902"/>
                  <a:gd name="T9" fmla="*/ 872 h 902"/>
                  <a:gd name="T10" fmla="*/ 887 w 902"/>
                  <a:gd name="T11" fmla="*/ 0 h 902"/>
                  <a:gd name="T12" fmla="*/ 15 w 902"/>
                  <a:gd name="T13" fmla="*/ 0 h 902"/>
                  <a:gd name="T14" fmla="*/ 12 w 902"/>
                  <a:gd name="T15" fmla="*/ 0 h 902"/>
                  <a:gd name="T16" fmla="*/ 10 w 902"/>
                  <a:gd name="T17" fmla="*/ 2 h 902"/>
                  <a:gd name="T18" fmla="*/ 6 w 902"/>
                  <a:gd name="T19" fmla="*/ 3 h 902"/>
                  <a:gd name="T20" fmla="*/ 4 w 902"/>
                  <a:gd name="T21" fmla="*/ 5 h 902"/>
                  <a:gd name="T22" fmla="*/ 3 w 902"/>
                  <a:gd name="T23" fmla="*/ 7 h 902"/>
                  <a:gd name="T24" fmla="*/ 1 w 902"/>
                  <a:gd name="T25" fmla="*/ 9 h 902"/>
                  <a:gd name="T26" fmla="*/ 1 w 902"/>
                  <a:gd name="T27" fmla="*/ 12 h 902"/>
                  <a:gd name="T28" fmla="*/ 0 w 902"/>
                  <a:gd name="T29" fmla="*/ 15 h 902"/>
                  <a:gd name="T30" fmla="*/ 0 w 902"/>
                  <a:gd name="T31" fmla="*/ 887 h 902"/>
                  <a:gd name="T32" fmla="*/ 1 w 902"/>
                  <a:gd name="T33" fmla="*/ 891 h 902"/>
                  <a:gd name="T34" fmla="*/ 1 w 902"/>
                  <a:gd name="T35" fmla="*/ 893 h 902"/>
                  <a:gd name="T36" fmla="*/ 3 w 902"/>
                  <a:gd name="T37" fmla="*/ 896 h 902"/>
                  <a:gd name="T38" fmla="*/ 4 w 902"/>
                  <a:gd name="T39" fmla="*/ 898 h 902"/>
                  <a:gd name="T40" fmla="*/ 6 w 902"/>
                  <a:gd name="T41" fmla="*/ 900 h 902"/>
                  <a:gd name="T42" fmla="*/ 10 w 902"/>
                  <a:gd name="T43" fmla="*/ 901 h 902"/>
                  <a:gd name="T44" fmla="*/ 12 w 902"/>
                  <a:gd name="T45" fmla="*/ 902 h 902"/>
                  <a:gd name="T46" fmla="*/ 15 w 902"/>
                  <a:gd name="T47" fmla="*/ 902 h 902"/>
                  <a:gd name="T48" fmla="*/ 887 w 902"/>
                  <a:gd name="T49" fmla="*/ 902 h 902"/>
                  <a:gd name="T50" fmla="*/ 890 w 902"/>
                  <a:gd name="T51" fmla="*/ 902 h 902"/>
                  <a:gd name="T52" fmla="*/ 893 w 902"/>
                  <a:gd name="T53" fmla="*/ 901 h 902"/>
                  <a:gd name="T54" fmla="*/ 896 w 902"/>
                  <a:gd name="T55" fmla="*/ 900 h 902"/>
                  <a:gd name="T56" fmla="*/ 898 w 902"/>
                  <a:gd name="T57" fmla="*/ 898 h 902"/>
                  <a:gd name="T58" fmla="*/ 900 w 902"/>
                  <a:gd name="T59" fmla="*/ 896 h 902"/>
                  <a:gd name="T60" fmla="*/ 901 w 902"/>
                  <a:gd name="T61" fmla="*/ 893 h 902"/>
                  <a:gd name="T62" fmla="*/ 902 w 902"/>
                  <a:gd name="T63" fmla="*/ 891 h 902"/>
                  <a:gd name="T64" fmla="*/ 902 w 902"/>
                  <a:gd name="T65" fmla="*/ 887 h 902"/>
                  <a:gd name="T66" fmla="*/ 902 w 902"/>
                  <a:gd name="T67" fmla="*/ 15 h 902"/>
                  <a:gd name="T68" fmla="*/ 902 w 902"/>
                  <a:gd name="T69" fmla="*/ 12 h 902"/>
                  <a:gd name="T70" fmla="*/ 901 w 902"/>
                  <a:gd name="T71" fmla="*/ 9 h 902"/>
                  <a:gd name="T72" fmla="*/ 900 w 902"/>
                  <a:gd name="T73" fmla="*/ 7 h 902"/>
                  <a:gd name="T74" fmla="*/ 898 w 902"/>
                  <a:gd name="T75" fmla="*/ 5 h 902"/>
                  <a:gd name="T76" fmla="*/ 896 w 902"/>
                  <a:gd name="T77" fmla="*/ 3 h 902"/>
                  <a:gd name="T78" fmla="*/ 893 w 902"/>
                  <a:gd name="T79" fmla="*/ 2 h 902"/>
                  <a:gd name="T80" fmla="*/ 890 w 902"/>
                  <a:gd name="T81" fmla="*/ 0 h 902"/>
                  <a:gd name="T82" fmla="*/ 887 w 902"/>
                  <a:gd name="T83" fmla="*/ 0 h 902"/>
                  <a:gd name="T84" fmla="*/ 887 w 902"/>
                  <a:gd name="T85" fmla="*/ 0 h 9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902" h="902">
                    <a:moveTo>
                      <a:pt x="872" y="872"/>
                    </a:moveTo>
                    <a:lnTo>
                      <a:pt x="30" y="872"/>
                    </a:lnTo>
                    <a:lnTo>
                      <a:pt x="30" y="30"/>
                    </a:lnTo>
                    <a:lnTo>
                      <a:pt x="872" y="30"/>
                    </a:lnTo>
                    <a:lnTo>
                      <a:pt x="872" y="872"/>
                    </a:lnTo>
                    <a:close/>
                    <a:moveTo>
                      <a:pt x="887" y="0"/>
                    </a:moveTo>
                    <a:lnTo>
                      <a:pt x="15" y="0"/>
                    </a:lnTo>
                    <a:lnTo>
                      <a:pt x="12" y="0"/>
                    </a:lnTo>
                    <a:lnTo>
                      <a:pt x="10" y="2"/>
                    </a:lnTo>
                    <a:lnTo>
                      <a:pt x="6" y="3"/>
                    </a:lnTo>
                    <a:lnTo>
                      <a:pt x="4" y="5"/>
                    </a:lnTo>
                    <a:lnTo>
                      <a:pt x="3" y="7"/>
                    </a:lnTo>
                    <a:lnTo>
                      <a:pt x="1" y="9"/>
                    </a:lnTo>
                    <a:lnTo>
                      <a:pt x="1" y="12"/>
                    </a:lnTo>
                    <a:lnTo>
                      <a:pt x="0" y="15"/>
                    </a:lnTo>
                    <a:lnTo>
                      <a:pt x="0" y="887"/>
                    </a:lnTo>
                    <a:lnTo>
                      <a:pt x="1" y="891"/>
                    </a:lnTo>
                    <a:lnTo>
                      <a:pt x="1" y="893"/>
                    </a:lnTo>
                    <a:lnTo>
                      <a:pt x="3" y="896"/>
                    </a:lnTo>
                    <a:lnTo>
                      <a:pt x="4" y="898"/>
                    </a:lnTo>
                    <a:lnTo>
                      <a:pt x="6" y="900"/>
                    </a:lnTo>
                    <a:lnTo>
                      <a:pt x="10" y="901"/>
                    </a:lnTo>
                    <a:lnTo>
                      <a:pt x="12" y="902"/>
                    </a:lnTo>
                    <a:lnTo>
                      <a:pt x="15" y="902"/>
                    </a:lnTo>
                    <a:lnTo>
                      <a:pt x="887" y="902"/>
                    </a:lnTo>
                    <a:lnTo>
                      <a:pt x="890" y="902"/>
                    </a:lnTo>
                    <a:lnTo>
                      <a:pt x="893" y="901"/>
                    </a:lnTo>
                    <a:lnTo>
                      <a:pt x="896" y="900"/>
                    </a:lnTo>
                    <a:lnTo>
                      <a:pt x="898" y="898"/>
                    </a:lnTo>
                    <a:lnTo>
                      <a:pt x="900" y="896"/>
                    </a:lnTo>
                    <a:lnTo>
                      <a:pt x="901" y="893"/>
                    </a:lnTo>
                    <a:lnTo>
                      <a:pt x="902" y="891"/>
                    </a:lnTo>
                    <a:lnTo>
                      <a:pt x="902" y="887"/>
                    </a:lnTo>
                    <a:lnTo>
                      <a:pt x="902" y="15"/>
                    </a:lnTo>
                    <a:lnTo>
                      <a:pt x="902" y="12"/>
                    </a:lnTo>
                    <a:lnTo>
                      <a:pt x="901" y="9"/>
                    </a:lnTo>
                    <a:lnTo>
                      <a:pt x="900" y="7"/>
                    </a:lnTo>
                    <a:lnTo>
                      <a:pt x="898" y="5"/>
                    </a:lnTo>
                    <a:lnTo>
                      <a:pt x="896" y="3"/>
                    </a:lnTo>
                    <a:lnTo>
                      <a:pt x="893" y="2"/>
                    </a:lnTo>
                    <a:lnTo>
                      <a:pt x="890" y="0"/>
                    </a:lnTo>
                    <a:lnTo>
                      <a:pt x="887" y="0"/>
                    </a:lnTo>
                    <a:lnTo>
                      <a:pt x="88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5" name="Freeform 94"/>
              <p:cNvSpPr>
                <a:spLocks/>
              </p:cNvSpPr>
              <p:nvPr/>
            </p:nvSpPr>
            <p:spPr bwMode="auto">
              <a:xfrm>
                <a:off x="9920288" y="2165350"/>
                <a:ext cx="209550" cy="9525"/>
              </a:xfrm>
              <a:custGeom>
                <a:avLst/>
                <a:gdLst>
                  <a:gd name="T0" fmla="*/ 15 w 661"/>
                  <a:gd name="T1" fmla="*/ 30 h 30"/>
                  <a:gd name="T2" fmla="*/ 646 w 661"/>
                  <a:gd name="T3" fmla="*/ 30 h 30"/>
                  <a:gd name="T4" fmla="*/ 649 w 661"/>
                  <a:gd name="T5" fmla="*/ 29 h 30"/>
                  <a:gd name="T6" fmla="*/ 652 w 661"/>
                  <a:gd name="T7" fmla="*/ 29 h 30"/>
                  <a:gd name="T8" fmla="*/ 655 w 661"/>
                  <a:gd name="T9" fmla="*/ 27 h 30"/>
                  <a:gd name="T10" fmla="*/ 657 w 661"/>
                  <a:gd name="T11" fmla="*/ 26 h 30"/>
                  <a:gd name="T12" fmla="*/ 659 w 661"/>
                  <a:gd name="T13" fmla="*/ 23 h 30"/>
                  <a:gd name="T14" fmla="*/ 660 w 661"/>
                  <a:gd name="T15" fmla="*/ 21 h 30"/>
                  <a:gd name="T16" fmla="*/ 661 w 661"/>
                  <a:gd name="T17" fmla="*/ 18 h 30"/>
                  <a:gd name="T18" fmla="*/ 661 w 661"/>
                  <a:gd name="T19" fmla="*/ 15 h 30"/>
                  <a:gd name="T20" fmla="*/ 661 w 661"/>
                  <a:gd name="T21" fmla="*/ 12 h 30"/>
                  <a:gd name="T22" fmla="*/ 660 w 661"/>
                  <a:gd name="T23" fmla="*/ 9 h 30"/>
                  <a:gd name="T24" fmla="*/ 659 w 661"/>
                  <a:gd name="T25" fmla="*/ 7 h 30"/>
                  <a:gd name="T26" fmla="*/ 657 w 661"/>
                  <a:gd name="T27" fmla="*/ 5 h 30"/>
                  <a:gd name="T28" fmla="*/ 655 w 661"/>
                  <a:gd name="T29" fmla="*/ 3 h 30"/>
                  <a:gd name="T30" fmla="*/ 652 w 661"/>
                  <a:gd name="T31" fmla="*/ 2 h 30"/>
                  <a:gd name="T32" fmla="*/ 649 w 661"/>
                  <a:gd name="T33" fmla="*/ 0 h 30"/>
                  <a:gd name="T34" fmla="*/ 646 w 661"/>
                  <a:gd name="T35" fmla="*/ 0 h 30"/>
                  <a:gd name="T36" fmla="*/ 15 w 661"/>
                  <a:gd name="T37" fmla="*/ 0 h 30"/>
                  <a:gd name="T38" fmla="*/ 12 w 661"/>
                  <a:gd name="T39" fmla="*/ 0 h 30"/>
                  <a:gd name="T40" fmla="*/ 9 w 661"/>
                  <a:gd name="T41" fmla="*/ 2 h 30"/>
                  <a:gd name="T42" fmla="*/ 6 w 661"/>
                  <a:gd name="T43" fmla="*/ 3 h 30"/>
                  <a:gd name="T44" fmla="*/ 4 w 661"/>
                  <a:gd name="T45" fmla="*/ 5 h 30"/>
                  <a:gd name="T46" fmla="*/ 2 w 661"/>
                  <a:gd name="T47" fmla="*/ 7 h 30"/>
                  <a:gd name="T48" fmla="*/ 1 w 661"/>
                  <a:gd name="T49" fmla="*/ 9 h 30"/>
                  <a:gd name="T50" fmla="*/ 0 w 661"/>
                  <a:gd name="T51" fmla="*/ 12 h 30"/>
                  <a:gd name="T52" fmla="*/ 0 w 661"/>
                  <a:gd name="T53" fmla="*/ 15 h 30"/>
                  <a:gd name="T54" fmla="*/ 0 w 661"/>
                  <a:gd name="T55" fmla="*/ 18 h 30"/>
                  <a:gd name="T56" fmla="*/ 1 w 661"/>
                  <a:gd name="T57" fmla="*/ 21 h 30"/>
                  <a:gd name="T58" fmla="*/ 2 w 661"/>
                  <a:gd name="T59" fmla="*/ 23 h 30"/>
                  <a:gd name="T60" fmla="*/ 4 w 661"/>
                  <a:gd name="T61" fmla="*/ 26 h 30"/>
                  <a:gd name="T62" fmla="*/ 6 w 661"/>
                  <a:gd name="T63" fmla="*/ 27 h 30"/>
                  <a:gd name="T64" fmla="*/ 9 w 661"/>
                  <a:gd name="T65" fmla="*/ 29 h 30"/>
                  <a:gd name="T66" fmla="*/ 12 w 661"/>
                  <a:gd name="T67" fmla="*/ 29 h 30"/>
                  <a:gd name="T68" fmla="*/ 15 w 661"/>
                  <a:gd name="T69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661" h="30">
                    <a:moveTo>
                      <a:pt x="15" y="30"/>
                    </a:moveTo>
                    <a:lnTo>
                      <a:pt x="646" y="30"/>
                    </a:lnTo>
                    <a:lnTo>
                      <a:pt x="649" y="29"/>
                    </a:lnTo>
                    <a:lnTo>
                      <a:pt x="652" y="29"/>
                    </a:lnTo>
                    <a:lnTo>
                      <a:pt x="655" y="27"/>
                    </a:lnTo>
                    <a:lnTo>
                      <a:pt x="657" y="26"/>
                    </a:lnTo>
                    <a:lnTo>
                      <a:pt x="659" y="23"/>
                    </a:lnTo>
                    <a:lnTo>
                      <a:pt x="660" y="21"/>
                    </a:lnTo>
                    <a:lnTo>
                      <a:pt x="661" y="18"/>
                    </a:lnTo>
                    <a:lnTo>
                      <a:pt x="661" y="15"/>
                    </a:lnTo>
                    <a:lnTo>
                      <a:pt x="661" y="12"/>
                    </a:lnTo>
                    <a:lnTo>
                      <a:pt x="660" y="9"/>
                    </a:lnTo>
                    <a:lnTo>
                      <a:pt x="659" y="7"/>
                    </a:lnTo>
                    <a:lnTo>
                      <a:pt x="657" y="5"/>
                    </a:lnTo>
                    <a:lnTo>
                      <a:pt x="655" y="3"/>
                    </a:lnTo>
                    <a:lnTo>
                      <a:pt x="652" y="2"/>
                    </a:lnTo>
                    <a:lnTo>
                      <a:pt x="649" y="0"/>
                    </a:lnTo>
                    <a:lnTo>
                      <a:pt x="646" y="0"/>
                    </a:lnTo>
                    <a:lnTo>
                      <a:pt x="15" y="0"/>
                    </a:lnTo>
                    <a:lnTo>
                      <a:pt x="12" y="0"/>
                    </a:lnTo>
                    <a:lnTo>
                      <a:pt x="9" y="2"/>
                    </a:lnTo>
                    <a:lnTo>
                      <a:pt x="6" y="3"/>
                    </a:lnTo>
                    <a:lnTo>
                      <a:pt x="4" y="5"/>
                    </a:lnTo>
                    <a:lnTo>
                      <a:pt x="2" y="7"/>
                    </a:lnTo>
                    <a:lnTo>
                      <a:pt x="1" y="9"/>
                    </a:lnTo>
                    <a:lnTo>
                      <a:pt x="0" y="12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1"/>
                    </a:lnTo>
                    <a:lnTo>
                      <a:pt x="2" y="23"/>
                    </a:lnTo>
                    <a:lnTo>
                      <a:pt x="4" y="26"/>
                    </a:lnTo>
                    <a:lnTo>
                      <a:pt x="6" y="27"/>
                    </a:lnTo>
                    <a:lnTo>
                      <a:pt x="9" y="29"/>
                    </a:lnTo>
                    <a:lnTo>
                      <a:pt x="12" y="29"/>
                    </a:lnTo>
                    <a:lnTo>
                      <a:pt x="15" y="3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6" name="Freeform 95"/>
              <p:cNvSpPr>
                <a:spLocks/>
              </p:cNvSpPr>
              <p:nvPr/>
            </p:nvSpPr>
            <p:spPr bwMode="auto">
              <a:xfrm>
                <a:off x="9929813" y="1973263"/>
                <a:ext cx="85725" cy="163513"/>
              </a:xfrm>
              <a:custGeom>
                <a:avLst/>
                <a:gdLst>
                  <a:gd name="T0" fmla="*/ 120 w 270"/>
                  <a:gd name="T1" fmla="*/ 52 h 511"/>
                  <a:gd name="T2" fmla="*/ 120 w 270"/>
                  <a:gd name="T3" fmla="*/ 500 h 511"/>
                  <a:gd name="T4" fmla="*/ 122 w 270"/>
                  <a:gd name="T5" fmla="*/ 505 h 511"/>
                  <a:gd name="T6" fmla="*/ 126 w 270"/>
                  <a:gd name="T7" fmla="*/ 509 h 511"/>
                  <a:gd name="T8" fmla="*/ 132 w 270"/>
                  <a:gd name="T9" fmla="*/ 511 h 511"/>
                  <a:gd name="T10" fmla="*/ 138 w 270"/>
                  <a:gd name="T11" fmla="*/ 511 h 511"/>
                  <a:gd name="T12" fmla="*/ 144 w 270"/>
                  <a:gd name="T13" fmla="*/ 509 h 511"/>
                  <a:gd name="T14" fmla="*/ 148 w 270"/>
                  <a:gd name="T15" fmla="*/ 505 h 511"/>
                  <a:gd name="T16" fmla="*/ 150 w 270"/>
                  <a:gd name="T17" fmla="*/ 500 h 511"/>
                  <a:gd name="T18" fmla="*/ 150 w 270"/>
                  <a:gd name="T19" fmla="*/ 52 h 511"/>
                  <a:gd name="T20" fmla="*/ 246 w 270"/>
                  <a:gd name="T21" fmla="*/ 148 h 511"/>
                  <a:gd name="T22" fmla="*/ 253 w 270"/>
                  <a:gd name="T23" fmla="*/ 150 h 511"/>
                  <a:gd name="T24" fmla="*/ 258 w 270"/>
                  <a:gd name="T25" fmla="*/ 150 h 511"/>
                  <a:gd name="T26" fmla="*/ 264 w 270"/>
                  <a:gd name="T27" fmla="*/ 148 h 511"/>
                  <a:gd name="T28" fmla="*/ 268 w 270"/>
                  <a:gd name="T29" fmla="*/ 144 h 511"/>
                  <a:gd name="T30" fmla="*/ 270 w 270"/>
                  <a:gd name="T31" fmla="*/ 139 h 511"/>
                  <a:gd name="T32" fmla="*/ 270 w 270"/>
                  <a:gd name="T33" fmla="*/ 133 h 511"/>
                  <a:gd name="T34" fmla="*/ 268 w 270"/>
                  <a:gd name="T35" fmla="*/ 128 h 511"/>
                  <a:gd name="T36" fmla="*/ 146 w 270"/>
                  <a:gd name="T37" fmla="*/ 5 h 511"/>
                  <a:gd name="T38" fmla="*/ 140 w 270"/>
                  <a:gd name="T39" fmla="*/ 2 h 511"/>
                  <a:gd name="T40" fmla="*/ 135 w 270"/>
                  <a:gd name="T41" fmla="*/ 0 h 511"/>
                  <a:gd name="T42" fmla="*/ 135 w 270"/>
                  <a:gd name="T43" fmla="*/ 0 h 511"/>
                  <a:gd name="T44" fmla="*/ 135 w 270"/>
                  <a:gd name="T45" fmla="*/ 0 h 511"/>
                  <a:gd name="T46" fmla="*/ 130 w 270"/>
                  <a:gd name="T47" fmla="*/ 2 h 511"/>
                  <a:gd name="T48" fmla="*/ 124 w 270"/>
                  <a:gd name="T49" fmla="*/ 5 h 511"/>
                  <a:gd name="T50" fmla="*/ 2 w 270"/>
                  <a:gd name="T51" fmla="*/ 128 h 511"/>
                  <a:gd name="T52" fmla="*/ 0 w 270"/>
                  <a:gd name="T53" fmla="*/ 133 h 511"/>
                  <a:gd name="T54" fmla="*/ 0 w 270"/>
                  <a:gd name="T55" fmla="*/ 139 h 511"/>
                  <a:gd name="T56" fmla="*/ 2 w 270"/>
                  <a:gd name="T57" fmla="*/ 144 h 511"/>
                  <a:gd name="T58" fmla="*/ 6 w 270"/>
                  <a:gd name="T59" fmla="*/ 148 h 511"/>
                  <a:gd name="T60" fmla="*/ 12 w 270"/>
                  <a:gd name="T61" fmla="*/ 150 h 511"/>
                  <a:gd name="T62" fmla="*/ 17 w 270"/>
                  <a:gd name="T63" fmla="*/ 150 h 511"/>
                  <a:gd name="T64" fmla="*/ 23 w 270"/>
                  <a:gd name="T65" fmla="*/ 148 h 5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70" h="511">
                    <a:moveTo>
                      <a:pt x="26" y="146"/>
                    </a:moveTo>
                    <a:lnTo>
                      <a:pt x="120" y="52"/>
                    </a:lnTo>
                    <a:lnTo>
                      <a:pt x="120" y="496"/>
                    </a:lnTo>
                    <a:lnTo>
                      <a:pt x="120" y="500"/>
                    </a:lnTo>
                    <a:lnTo>
                      <a:pt x="121" y="503"/>
                    </a:lnTo>
                    <a:lnTo>
                      <a:pt x="122" y="505"/>
                    </a:lnTo>
                    <a:lnTo>
                      <a:pt x="124" y="507"/>
                    </a:lnTo>
                    <a:lnTo>
                      <a:pt x="126" y="509"/>
                    </a:lnTo>
                    <a:lnTo>
                      <a:pt x="129" y="510"/>
                    </a:lnTo>
                    <a:lnTo>
                      <a:pt x="132" y="511"/>
                    </a:lnTo>
                    <a:lnTo>
                      <a:pt x="135" y="511"/>
                    </a:lnTo>
                    <a:lnTo>
                      <a:pt x="138" y="511"/>
                    </a:lnTo>
                    <a:lnTo>
                      <a:pt x="140" y="510"/>
                    </a:lnTo>
                    <a:lnTo>
                      <a:pt x="144" y="509"/>
                    </a:lnTo>
                    <a:lnTo>
                      <a:pt x="146" y="507"/>
                    </a:lnTo>
                    <a:lnTo>
                      <a:pt x="148" y="505"/>
                    </a:lnTo>
                    <a:lnTo>
                      <a:pt x="149" y="503"/>
                    </a:lnTo>
                    <a:lnTo>
                      <a:pt x="150" y="500"/>
                    </a:lnTo>
                    <a:lnTo>
                      <a:pt x="150" y="496"/>
                    </a:lnTo>
                    <a:lnTo>
                      <a:pt x="150" y="52"/>
                    </a:lnTo>
                    <a:lnTo>
                      <a:pt x="244" y="146"/>
                    </a:lnTo>
                    <a:lnTo>
                      <a:pt x="246" y="148"/>
                    </a:lnTo>
                    <a:lnTo>
                      <a:pt x="250" y="150"/>
                    </a:lnTo>
                    <a:lnTo>
                      <a:pt x="253" y="150"/>
                    </a:lnTo>
                    <a:lnTo>
                      <a:pt x="255" y="151"/>
                    </a:lnTo>
                    <a:lnTo>
                      <a:pt x="258" y="150"/>
                    </a:lnTo>
                    <a:lnTo>
                      <a:pt x="261" y="150"/>
                    </a:lnTo>
                    <a:lnTo>
                      <a:pt x="264" y="148"/>
                    </a:lnTo>
                    <a:lnTo>
                      <a:pt x="266" y="146"/>
                    </a:lnTo>
                    <a:lnTo>
                      <a:pt x="268" y="144"/>
                    </a:lnTo>
                    <a:lnTo>
                      <a:pt x="269" y="142"/>
                    </a:lnTo>
                    <a:lnTo>
                      <a:pt x="270" y="139"/>
                    </a:lnTo>
                    <a:lnTo>
                      <a:pt x="270" y="136"/>
                    </a:lnTo>
                    <a:lnTo>
                      <a:pt x="270" y="133"/>
                    </a:lnTo>
                    <a:lnTo>
                      <a:pt x="269" y="130"/>
                    </a:lnTo>
                    <a:lnTo>
                      <a:pt x="268" y="128"/>
                    </a:lnTo>
                    <a:lnTo>
                      <a:pt x="266" y="126"/>
                    </a:lnTo>
                    <a:lnTo>
                      <a:pt x="146" y="5"/>
                    </a:lnTo>
                    <a:lnTo>
                      <a:pt x="144" y="4"/>
                    </a:lnTo>
                    <a:lnTo>
                      <a:pt x="140" y="2"/>
                    </a:lnTo>
                    <a:lnTo>
                      <a:pt x="138" y="2"/>
                    </a:lnTo>
                    <a:lnTo>
                      <a:pt x="135" y="0"/>
                    </a:lnTo>
                    <a:lnTo>
                      <a:pt x="135" y="0"/>
                    </a:lnTo>
                    <a:lnTo>
                      <a:pt x="135" y="0"/>
                    </a:lnTo>
                    <a:lnTo>
                      <a:pt x="135" y="0"/>
                    </a:lnTo>
                    <a:lnTo>
                      <a:pt x="135" y="0"/>
                    </a:lnTo>
                    <a:lnTo>
                      <a:pt x="132" y="0"/>
                    </a:lnTo>
                    <a:lnTo>
                      <a:pt x="130" y="2"/>
                    </a:lnTo>
                    <a:lnTo>
                      <a:pt x="126" y="4"/>
                    </a:lnTo>
                    <a:lnTo>
                      <a:pt x="124" y="5"/>
                    </a:lnTo>
                    <a:lnTo>
                      <a:pt x="4" y="126"/>
                    </a:lnTo>
                    <a:lnTo>
                      <a:pt x="2" y="128"/>
                    </a:lnTo>
                    <a:lnTo>
                      <a:pt x="1" y="130"/>
                    </a:lnTo>
                    <a:lnTo>
                      <a:pt x="0" y="133"/>
                    </a:lnTo>
                    <a:lnTo>
                      <a:pt x="0" y="136"/>
                    </a:lnTo>
                    <a:lnTo>
                      <a:pt x="0" y="139"/>
                    </a:lnTo>
                    <a:lnTo>
                      <a:pt x="1" y="142"/>
                    </a:lnTo>
                    <a:lnTo>
                      <a:pt x="2" y="144"/>
                    </a:lnTo>
                    <a:lnTo>
                      <a:pt x="4" y="146"/>
                    </a:lnTo>
                    <a:lnTo>
                      <a:pt x="6" y="148"/>
                    </a:lnTo>
                    <a:lnTo>
                      <a:pt x="9" y="150"/>
                    </a:lnTo>
                    <a:lnTo>
                      <a:pt x="12" y="150"/>
                    </a:lnTo>
                    <a:lnTo>
                      <a:pt x="15" y="151"/>
                    </a:lnTo>
                    <a:lnTo>
                      <a:pt x="17" y="150"/>
                    </a:lnTo>
                    <a:lnTo>
                      <a:pt x="20" y="150"/>
                    </a:lnTo>
                    <a:lnTo>
                      <a:pt x="23" y="148"/>
                    </a:lnTo>
                    <a:lnTo>
                      <a:pt x="26" y="14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7" name="Freeform 96"/>
              <p:cNvSpPr>
                <a:spLocks/>
              </p:cNvSpPr>
              <p:nvPr/>
            </p:nvSpPr>
            <p:spPr bwMode="auto">
              <a:xfrm>
                <a:off x="10034588" y="1973263"/>
                <a:ext cx="85725" cy="163513"/>
              </a:xfrm>
              <a:custGeom>
                <a:avLst/>
                <a:gdLst>
                  <a:gd name="T0" fmla="*/ 121 w 271"/>
                  <a:gd name="T1" fmla="*/ 52 h 511"/>
                  <a:gd name="T2" fmla="*/ 121 w 271"/>
                  <a:gd name="T3" fmla="*/ 500 h 511"/>
                  <a:gd name="T4" fmla="*/ 123 w 271"/>
                  <a:gd name="T5" fmla="*/ 505 h 511"/>
                  <a:gd name="T6" fmla="*/ 127 w 271"/>
                  <a:gd name="T7" fmla="*/ 509 h 511"/>
                  <a:gd name="T8" fmla="*/ 133 w 271"/>
                  <a:gd name="T9" fmla="*/ 511 h 511"/>
                  <a:gd name="T10" fmla="*/ 139 w 271"/>
                  <a:gd name="T11" fmla="*/ 511 h 511"/>
                  <a:gd name="T12" fmla="*/ 145 w 271"/>
                  <a:gd name="T13" fmla="*/ 509 h 511"/>
                  <a:gd name="T14" fmla="*/ 148 w 271"/>
                  <a:gd name="T15" fmla="*/ 505 h 511"/>
                  <a:gd name="T16" fmla="*/ 150 w 271"/>
                  <a:gd name="T17" fmla="*/ 500 h 511"/>
                  <a:gd name="T18" fmla="*/ 151 w 271"/>
                  <a:gd name="T19" fmla="*/ 52 h 511"/>
                  <a:gd name="T20" fmla="*/ 247 w 271"/>
                  <a:gd name="T21" fmla="*/ 148 h 511"/>
                  <a:gd name="T22" fmla="*/ 253 w 271"/>
                  <a:gd name="T23" fmla="*/ 150 h 511"/>
                  <a:gd name="T24" fmla="*/ 259 w 271"/>
                  <a:gd name="T25" fmla="*/ 150 h 511"/>
                  <a:gd name="T26" fmla="*/ 265 w 271"/>
                  <a:gd name="T27" fmla="*/ 148 h 511"/>
                  <a:gd name="T28" fmla="*/ 269 w 271"/>
                  <a:gd name="T29" fmla="*/ 144 h 511"/>
                  <a:gd name="T30" fmla="*/ 271 w 271"/>
                  <a:gd name="T31" fmla="*/ 139 h 511"/>
                  <a:gd name="T32" fmla="*/ 271 w 271"/>
                  <a:gd name="T33" fmla="*/ 133 h 511"/>
                  <a:gd name="T34" fmla="*/ 269 w 271"/>
                  <a:gd name="T35" fmla="*/ 128 h 511"/>
                  <a:gd name="T36" fmla="*/ 147 w 271"/>
                  <a:gd name="T37" fmla="*/ 5 h 511"/>
                  <a:gd name="T38" fmla="*/ 141 w 271"/>
                  <a:gd name="T39" fmla="*/ 2 h 511"/>
                  <a:gd name="T40" fmla="*/ 136 w 271"/>
                  <a:gd name="T41" fmla="*/ 0 h 511"/>
                  <a:gd name="T42" fmla="*/ 136 w 271"/>
                  <a:gd name="T43" fmla="*/ 0 h 511"/>
                  <a:gd name="T44" fmla="*/ 136 w 271"/>
                  <a:gd name="T45" fmla="*/ 0 h 511"/>
                  <a:gd name="T46" fmla="*/ 130 w 271"/>
                  <a:gd name="T47" fmla="*/ 2 h 511"/>
                  <a:gd name="T48" fmla="*/ 125 w 271"/>
                  <a:gd name="T49" fmla="*/ 5 h 511"/>
                  <a:gd name="T50" fmla="*/ 3 w 271"/>
                  <a:gd name="T51" fmla="*/ 128 h 511"/>
                  <a:gd name="T52" fmla="*/ 1 w 271"/>
                  <a:gd name="T53" fmla="*/ 133 h 511"/>
                  <a:gd name="T54" fmla="*/ 1 w 271"/>
                  <a:gd name="T55" fmla="*/ 139 h 511"/>
                  <a:gd name="T56" fmla="*/ 3 w 271"/>
                  <a:gd name="T57" fmla="*/ 144 h 511"/>
                  <a:gd name="T58" fmla="*/ 7 w 271"/>
                  <a:gd name="T59" fmla="*/ 148 h 511"/>
                  <a:gd name="T60" fmla="*/ 13 w 271"/>
                  <a:gd name="T61" fmla="*/ 150 h 511"/>
                  <a:gd name="T62" fmla="*/ 18 w 271"/>
                  <a:gd name="T63" fmla="*/ 150 h 511"/>
                  <a:gd name="T64" fmla="*/ 24 w 271"/>
                  <a:gd name="T65" fmla="*/ 148 h 5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71" h="511">
                    <a:moveTo>
                      <a:pt x="26" y="146"/>
                    </a:moveTo>
                    <a:lnTo>
                      <a:pt x="121" y="52"/>
                    </a:lnTo>
                    <a:lnTo>
                      <a:pt x="121" y="496"/>
                    </a:lnTo>
                    <a:lnTo>
                      <a:pt x="121" y="500"/>
                    </a:lnTo>
                    <a:lnTo>
                      <a:pt x="122" y="503"/>
                    </a:lnTo>
                    <a:lnTo>
                      <a:pt x="123" y="505"/>
                    </a:lnTo>
                    <a:lnTo>
                      <a:pt x="125" y="507"/>
                    </a:lnTo>
                    <a:lnTo>
                      <a:pt x="127" y="509"/>
                    </a:lnTo>
                    <a:lnTo>
                      <a:pt x="130" y="510"/>
                    </a:lnTo>
                    <a:lnTo>
                      <a:pt x="133" y="511"/>
                    </a:lnTo>
                    <a:lnTo>
                      <a:pt x="136" y="511"/>
                    </a:lnTo>
                    <a:lnTo>
                      <a:pt x="139" y="511"/>
                    </a:lnTo>
                    <a:lnTo>
                      <a:pt x="141" y="510"/>
                    </a:lnTo>
                    <a:lnTo>
                      <a:pt x="145" y="509"/>
                    </a:lnTo>
                    <a:lnTo>
                      <a:pt x="147" y="507"/>
                    </a:lnTo>
                    <a:lnTo>
                      <a:pt x="148" y="505"/>
                    </a:lnTo>
                    <a:lnTo>
                      <a:pt x="150" y="503"/>
                    </a:lnTo>
                    <a:lnTo>
                      <a:pt x="150" y="500"/>
                    </a:lnTo>
                    <a:lnTo>
                      <a:pt x="151" y="496"/>
                    </a:lnTo>
                    <a:lnTo>
                      <a:pt x="151" y="52"/>
                    </a:lnTo>
                    <a:lnTo>
                      <a:pt x="245" y="146"/>
                    </a:lnTo>
                    <a:lnTo>
                      <a:pt x="247" y="148"/>
                    </a:lnTo>
                    <a:lnTo>
                      <a:pt x="251" y="150"/>
                    </a:lnTo>
                    <a:lnTo>
                      <a:pt x="253" y="150"/>
                    </a:lnTo>
                    <a:lnTo>
                      <a:pt x="256" y="151"/>
                    </a:lnTo>
                    <a:lnTo>
                      <a:pt x="259" y="150"/>
                    </a:lnTo>
                    <a:lnTo>
                      <a:pt x="261" y="150"/>
                    </a:lnTo>
                    <a:lnTo>
                      <a:pt x="265" y="148"/>
                    </a:lnTo>
                    <a:lnTo>
                      <a:pt x="267" y="146"/>
                    </a:lnTo>
                    <a:lnTo>
                      <a:pt x="269" y="144"/>
                    </a:lnTo>
                    <a:lnTo>
                      <a:pt x="270" y="142"/>
                    </a:lnTo>
                    <a:lnTo>
                      <a:pt x="271" y="139"/>
                    </a:lnTo>
                    <a:lnTo>
                      <a:pt x="271" y="136"/>
                    </a:lnTo>
                    <a:lnTo>
                      <a:pt x="271" y="133"/>
                    </a:lnTo>
                    <a:lnTo>
                      <a:pt x="270" y="130"/>
                    </a:lnTo>
                    <a:lnTo>
                      <a:pt x="269" y="128"/>
                    </a:lnTo>
                    <a:lnTo>
                      <a:pt x="267" y="126"/>
                    </a:lnTo>
                    <a:lnTo>
                      <a:pt x="147" y="5"/>
                    </a:lnTo>
                    <a:lnTo>
                      <a:pt x="144" y="4"/>
                    </a:lnTo>
                    <a:lnTo>
                      <a:pt x="141" y="2"/>
                    </a:lnTo>
                    <a:lnTo>
                      <a:pt x="138" y="2"/>
                    </a:lnTo>
                    <a:lnTo>
                      <a:pt x="136" y="0"/>
                    </a:lnTo>
                    <a:lnTo>
                      <a:pt x="136" y="0"/>
                    </a:lnTo>
                    <a:lnTo>
                      <a:pt x="136" y="0"/>
                    </a:lnTo>
                    <a:lnTo>
                      <a:pt x="136" y="0"/>
                    </a:lnTo>
                    <a:lnTo>
                      <a:pt x="136" y="0"/>
                    </a:lnTo>
                    <a:lnTo>
                      <a:pt x="133" y="0"/>
                    </a:lnTo>
                    <a:lnTo>
                      <a:pt x="130" y="2"/>
                    </a:lnTo>
                    <a:lnTo>
                      <a:pt x="127" y="4"/>
                    </a:lnTo>
                    <a:lnTo>
                      <a:pt x="125" y="5"/>
                    </a:lnTo>
                    <a:lnTo>
                      <a:pt x="4" y="126"/>
                    </a:lnTo>
                    <a:lnTo>
                      <a:pt x="3" y="128"/>
                    </a:lnTo>
                    <a:lnTo>
                      <a:pt x="1" y="130"/>
                    </a:lnTo>
                    <a:lnTo>
                      <a:pt x="1" y="133"/>
                    </a:lnTo>
                    <a:lnTo>
                      <a:pt x="0" y="136"/>
                    </a:lnTo>
                    <a:lnTo>
                      <a:pt x="1" y="139"/>
                    </a:lnTo>
                    <a:lnTo>
                      <a:pt x="1" y="142"/>
                    </a:lnTo>
                    <a:lnTo>
                      <a:pt x="3" y="144"/>
                    </a:lnTo>
                    <a:lnTo>
                      <a:pt x="4" y="146"/>
                    </a:lnTo>
                    <a:lnTo>
                      <a:pt x="7" y="148"/>
                    </a:lnTo>
                    <a:lnTo>
                      <a:pt x="10" y="150"/>
                    </a:lnTo>
                    <a:lnTo>
                      <a:pt x="13" y="150"/>
                    </a:lnTo>
                    <a:lnTo>
                      <a:pt x="15" y="151"/>
                    </a:lnTo>
                    <a:lnTo>
                      <a:pt x="18" y="150"/>
                    </a:lnTo>
                    <a:lnTo>
                      <a:pt x="21" y="150"/>
                    </a:lnTo>
                    <a:lnTo>
                      <a:pt x="24" y="148"/>
                    </a:lnTo>
                    <a:lnTo>
                      <a:pt x="26" y="14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88" name="Freeform 146"/>
            <p:cNvSpPr>
              <a:spLocks noEditPoints="1"/>
            </p:cNvSpPr>
            <p:nvPr/>
          </p:nvSpPr>
          <p:spPr bwMode="auto">
            <a:xfrm>
              <a:off x="5329393" y="4309660"/>
              <a:ext cx="209262" cy="285493"/>
            </a:xfrm>
            <a:custGeom>
              <a:avLst/>
              <a:gdLst>
                <a:gd name="T0" fmla="*/ 197 w 561"/>
                <a:gd name="T1" fmla="*/ 636 h 764"/>
                <a:gd name="T2" fmla="*/ 365 w 561"/>
                <a:gd name="T3" fmla="*/ 636 h 764"/>
                <a:gd name="T4" fmla="*/ 89 w 561"/>
                <a:gd name="T5" fmla="*/ 738 h 764"/>
                <a:gd name="T6" fmla="*/ 338 w 561"/>
                <a:gd name="T7" fmla="*/ 403 h 764"/>
                <a:gd name="T8" fmla="*/ 403 w 561"/>
                <a:gd name="T9" fmla="*/ 437 h 764"/>
                <a:gd name="T10" fmla="*/ 449 w 561"/>
                <a:gd name="T11" fmla="*/ 493 h 764"/>
                <a:gd name="T12" fmla="*/ 470 w 561"/>
                <a:gd name="T13" fmla="*/ 566 h 764"/>
                <a:gd name="T14" fmla="*/ 290 w 561"/>
                <a:gd name="T15" fmla="*/ 525 h 764"/>
                <a:gd name="T16" fmla="*/ 272 w 561"/>
                <a:gd name="T17" fmla="*/ 525 h 764"/>
                <a:gd name="T18" fmla="*/ 90 w 561"/>
                <a:gd name="T19" fmla="*/ 566 h 764"/>
                <a:gd name="T20" fmla="*/ 112 w 561"/>
                <a:gd name="T21" fmla="*/ 494 h 764"/>
                <a:gd name="T22" fmla="*/ 158 w 561"/>
                <a:gd name="T23" fmla="*/ 437 h 764"/>
                <a:gd name="T24" fmla="*/ 223 w 561"/>
                <a:gd name="T25" fmla="*/ 403 h 764"/>
                <a:gd name="T26" fmla="*/ 137 w 561"/>
                <a:gd name="T27" fmla="*/ 305 h 764"/>
                <a:gd name="T28" fmla="*/ 379 w 561"/>
                <a:gd name="T29" fmla="*/ 343 h 764"/>
                <a:gd name="T30" fmla="*/ 333 w 561"/>
                <a:gd name="T31" fmla="*/ 362 h 764"/>
                <a:gd name="T32" fmla="*/ 291 w 561"/>
                <a:gd name="T33" fmla="*/ 369 h 764"/>
                <a:gd name="T34" fmla="*/ 249 w 561"/>
                <a:gd name="T35" fmla="*/ 366 h 764"/>
                <a:gd name="T36" fmla="*/ 209 w 561"/>
                <a:gd name="T37" fmla="*/ 356 h 764"/>
                <a:gd name="T38" fmla="*/ 151 w 561"/>
                <a:gd name="T39" fmla="*/ 319 h 764"/>
                <a:gd name="T40" fmla="*/ 471 w 561"/>
                <a:gd name="T41" fmla="*/ 178 h 764"/>
                <a:gd name="T42" fmla="*/ 464 w 561"/>
                <a:gd name="T43" fmla="*/ 232 h 764"/>
                <a:gd name="T44" fmla="*/ 443 w 561"/>
                <a:gd name="T45" fmla="*/ 280 h 764"/>
                <a:gd name="T46" fmla="*/ 101 w 561"/>
                <a:gd name="T47" fmla="*/ 245 h 764"/>
                <a:gd name="T48" fmla="*/ 90 w 561"/>
                <a:gd name="T49" fmla="*/ 192 h 764"/>
                <a:gd name="T50" fmla="*/ 497 w 561"/>
                <a:gd name="T51" fmla="*/ 738 h 764"/>
                <a:gd name="T52" fmla="*/ 491 w 561"/>
                <a:gd name="T53" fmla="*/ 534 h 764"/>
                <a:gd name="T54" fmla="*/ 466 w 561"/>
                <a:gd name="T55" fmla="*/ 472 h 764"/>
                <a:gd name="T56" fmla="*/ 425 w 561"/>
                <a:gd name="T57" fmla="*/ 422 h 764"/>
                <a:gd name="T58" fmla="*/ 370 w 561"/>
                <a:gd name="T59" fmla="*/ 388 h 764"/>
                <a:gd name="T60" fmla="*/ 399 w 561"/>
                <a:gd name="T61" fmla="*/ 360 h 764"/>
                <a:gd name="T62" fmla="*/ 448 w 561"/>
                <a:gd name="T63" fmla="*/ 318 h 764"/>
                <a:gd name="T64" fmla="*/ 481 w 561"/>
                <a:gd name="T65" fmla="*/ 262 h 764"/>
                <a:gd name="T66" fmla="*/ 496 w 561"/>
                <a:gd name="T67" fmla="*/ 196 h 764"/>
                <a:gd name="T68" fmla="*/ 553 w 561"/>
                <a:gd name="T69" fmla="*/ 25 h 764"/>
                <a:gd name="T70" fmla="*/ 559 w 561"/>
                <a:gd name="T71" fmla="*/ 8 h 764"/>
                <a:gd name="T72" fmla="*/ 484 w 561"/>
                <a:gd name="T73" fmla="*/ 0 h 764"/>
                <a:gd name="T74" fmla="*/ 4 w 561"/>
                <a:gd name="T75" fmla="*/ 3 h 764"/>
                <a:gd name="T76" fmla="*/ 4 w 561"/>
                <a:gd name="T77" fmla="*/ 22 h 764"/>
                <a:gd name="T78" fmla="*/ 64 w 561"/>
                <a:gd name="T79" fmla="*/ 178 h 764"/>
                <a:gd name="T80" fmla="*/ 73 w 561"/>
                <a:gd name="T81" fmla="*/ 242 h 764"/>
                <a:gd name="T82" fmla="*/ 99 w 561"/>
                <a:gd name="T83" fmla="*/ 298 h 764"/>
                <a:gd name="T84" fmla="*/ 122 w 561"/>
                <a:gd name="T85" fmla="*/ 328 h 764"/>
                <a:gd name="T86" fmla="*/ 176 w 561"/>
                <a:gd name="T87" fmla="*/ 369 h 764"/>
                <a:gd name="T88" fmla="*/ 176 w 561"/>
                <a:gd name="T89" fmla="*/ 395 h 764"/>
                <a:gd name="T90" fmla="*/ 125 w 561"/>
                <a:gd name="T91" fmla="*/ 435 h 764"/>
                <a:gd name="T92" fmla="*/ 87 w 561"/>
                <a:gd name="T93" fmla="*/ 488 h 764"/>
                <a:gd name="T94" fmla="*/ 67 w 561"/>
                <a:gd name="T95" fmla="*/ 551 h 764"/>
                <a:gd name="T96" fmla="*/ 13 w 561"/>
                <a:gd name="T97" fmla="*/ 738 h 764"/>
                <a:gd name="T98" fmla="*/ 0 w 561"/>
                <a:gd name="T99" fmla="*/ 751 h 764"/>
                <a:gd name="T100" fmla="*/ 13 w 561"/>
                <a:gd name="T101" fmla="*/ 764 h 764"/>
                <a:gd name="T102" fmla="*/ 553 w 561"/>
                <a:gd name="T103" fmla="*/ 763 h 764"/>
                <a:gd name="T104" fmla="*/ 559 w 561"/>
                <a:gd name="T105" fmla="*/ 747 h 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61" h="764">
                  <a:moveTo>
                    <a:pt x="89" y="738"/>
                  </a:moveTo>
                  <a:lnTo>
                    <a:pt x="89" y="637"/>
                  </a:lnTo>
                  <a:lnTo>
                    <a:pt x="191" y="637"/>
                  </a:lnTo>
                  <a:lnTo>
                    <a:pt x="197" y="636"/>
                  </a:lnTo>
                  <a:lnTo>
                    <a:pt x="201" y="633"/>
                  </a:lnTo>
                  <a:lnTo>
                    <a:pt x="280" y="554"/>
                  </a:lnTo>
                  <a:lnTo>
                    <a:pt x="361" y="633"/>
                  </a:lnTo>
                  <a:lnTo>
                    <a:pt x="365" y="636"/>
                  </a:lnTo>
                  <a:lnTo>
                    <a:pt x="369" y="637"/>
                  </a:lnTo>
                  <a:lnTo>
                    <a:pt x="471" y="637"/>
                  </a:lnTo>
                  <a:lnTo>
                    <a:pt x="471" y="738"/>
                  </a:lnTo>
                  <a:lnTo>
                    <a:pt x="89" y="738"/>
                  </a:lnTo>
                  <a:close/>
                  <a:moveTo>
                    <a:pt x="280" y="394"/>
                  </a:moveTo>
                  <a:lnTo>
                    <a:pt x="301" y="395"/>
                  </a:lnTo>
                  <a:lnTo>
                    <a:pt x="320" y="399"/>
                  </a:lnTo>
                  <a:lnTo>
                    <a:pt x="338" y="403"/>
                  </a:lnTo>
                  <a:lnTo>
                    <a:pt x="355" y="409"/>
                  </a:lnTo>
                  <a:lnTo>
                    <a:pt x="373" y="417"/>
                  </a:lnTo>
                  <a:lnTo>
                    <a:pt x="389" y="427"/>
                  </a:lnTo>
                  <a:lnTo>
                    <a:pt x="403" y="437"/>
                  </a:lnTo>
                  <a:lnTo>
                    <a:pt x="417" y="449"/>
                  </a:lnTo>
                  <a:lnTo>
                    <a:pt x="428" y="463"/>
                  </a:lnTo>
                  <a:lnTo>
                    <a:pt x="439" y="478"/>
                  </a:lnTo>
                  <a:lnTo>
                    <a:pt x="449" y="493"/>
                  </a:lnTo>
                  <a:lnTo>
                    <a:pt x="456" y="510"/>
                  </a:lnTo>
                  <a:lnTo>
                    <a:pt x="463" y="527"/>
                  </a:lnTo>
                  <a:lnTo>
                    <a:pt x="467" y="547"/>
                  </a:lnTo>
                  <a:lnTo>
                    <a:pt x="470" y="566"/>
                  </a:lnTo>
                  <a:lnTo>
                    <a:pt x="471" y="585"/>
                  </a:lnTo>
                  <a:lnTo>
                    <a:pt x="471" y="611"/>
                  </a:lnTo>
                  <a:lnTo>
                    <a:pt x="375" y="611"/>
                  </a:lnTo>
                  <a:lnTo>
                    <a:pt x="290" y="525"/>
                  </a:lnTo>
                  <a:lnTo>
                    <a:pt x="286" y="523"/>
                  </a:lnTo>
                  <a:lnTo>
                    <a:pt x="280" y="522"/>
                  </a:lnTo>
                  <a:lnTo>
                    <a:pt x="276" y="523"/>
                  </a:lnTo>
                  <a:lnTo>
                    <a:pt x="272" y="525"/>
                  </a:lnTo>
                  <a:lnTo>
                    <a:pt x="186" y="611"/>
                  </a:lnTo>
                  <a:lnTo>
                    <a:pt x="89" y="611"/>
                  </a:lnTo>
                  <a:lnTo>
                    <a:pt x="89" y="585"/>
                  </a:lnTo>
                  <a:lnTo>
                    <a:pt x="90" y="566"/>
                  </a:lnTo>
                  <a:lnTo>
                    <a:pt x="93" y="547"/>
                  </a:lnTo>
                  <a:lnTo>
                    <a:pt x="98" y="529"/>
                  </a:lnTo>
                  <a:lnTo>
                    <a:pt x="104" y="510"/>
                  </a:lnTo>
                  <a:lnTo>
                    <a:pt x="112" y="494"/>
                  </a:lnTo>
                  <a:lnTo>
                    <a:pt x="121" y="478"/>
                  </a:lnTo>
                  <a:lnTo>
                    <a:pt x="132" y="463"/>
                  </a:lnTo>
                  <a:lnTo>
                    <a:pt x="145" y="450"/>
                  </a:lnTo>
                  <a:lnTo>
                    <a:pt x="158" y="437"/>
                  </a:lnTo>
                  <a:lnTo>
                    <a:pt x="173" y="427"/>
                  </a:lnTo>
                  <a:lnTo>
                    <a:pt x="189" y="417"/>
                  </a:lnTo>
                  <a:lnTo>
                    <a:pt x="205" y="409"/>
                  </a:lnTo>
                  <a:lnTo>
                    <a:pt x="223" y="403"/>
                  </a:lnTo>
                  <a:lnTo>
                    <a:pt x="242" y="399"/>
                  </a:lnTo>
                  <a:lnTo>
                    <a:pt x="261" y="395"/>
                  </a:lnTo>
                  <a:lnTo>
                    <a:pt x="280" y="394"/>
                  </a:lnTo>
                  <a:close/>
                  <a:moveTo>
                    <a:pt x="137" y="305"/>
                  </a:moveTo>
                  <a:lnTo>
                    <a:pt x="424" y="305"/>
                  </a:lnTo>
                  <a:lnTo>
                    <a:pt x="411" y="319"/>
                  </a:lnTo>
                  <a:lnTo>
                    <a:pt x="395" y="332"/>
                  </a:lnTo>
                  <a:lnTo>
                    <a:pt x="379" y="343"/>
                  </a:lnTo>
                  <a:lnTo>
                    <a:pt x="362" y="352"/>
                  </a:lnTo>
                  <a:lnTo>
                    <a:pt x="352" y="356"/>
                  </a:lnTo>
                  <a:lnTo>
                    <a:pt x="343" y="359"/>
                  </a:lnTo>
                  <a:lnTo>
                    <a:pt x="333" y="362"/>
                  </a:lnTo>
                  <a:lnTo>
                    <a:pt x="323" y="364"/>
                  </a:lnTo>
                  <a:lnTo>
                    <a:pt x="312" y="366"/>
                  </a:lnTo>
                  <a:lnTo>
                    <a:pt x="302" y="369"/>
                  </a:lnTo>
                  <a:lnTo>
                    <a:pt x="291" y="369"/>
                  </a:lnTo>
                  <a:lnTo>
                    <a:pt x="280" y="370"/>
                  </a:lnTo>
                  <a:lnTo>
                    <a:pt x="270" y="369"/>
                  </a:lnTo>
                  <a:lnTo>
                    <a:pt x="259" y="369"/>
                  </a:lnTo>
                  <a:lnTo>
                    <a:pt x="249" y="366"/>
                  </a:lnTo>
                  <a:lnTo>
                    <a:pt x="238" y="364"/>
                  </a:lnTo>
                  <a:lnTo>
                    <a:pt x="229" y="362"/>
                  </a:lnTo>
                  <a:lnTo>
                    <a:pt x="219" y="359"/>
                  </a:lnTo>
                  <a:lnTo>
                    <a:pt x="209" y="356"/>
                  </a:lnTo>
                  <a:lnTo>
                    <a:pt x="200" y="352"/>
                  </a:lnTo>
                  <a:lnTo>
                    <a:pt x="183" y="343"/>
                  </a:lnTo>
                  <a:lnTo>
                    <a:pt x="166" y="332"/>
                  </a:lnTo>
                  <a:lnTo>
                    <a:pt x="151" y="319"/>
                  </a:lnTo>
                  <a:lnTo>
                    <a:pt x="137" y="305"/>
                  </a:lnTo>
                  <a:close/>
                  <a:moveTo>
                    <a:pt x="89" y="25"/>
                  </a:moveTo>
                  <a:lnTo>
                    <a:pt x="471" y="25"/>
                  </a:lnTo>
                  <a:lnTo>
                    <a:pt x="471" y="178"/>
                  </a:lnTo>
                  <a:lnTo>
                    <a:pt x="471" y="192"/>
                  </a:lnTo>
                  <a:lnTo>
                    <a:pt x="469" y="206"/>
                  </a:lnTo>
                  <a:lnTo>
                    <a:pt x="467" y="219"/>
                  </a:lnTo>
                  <a:lnTo>
                    <a:pt x="464" y="232"/>
                  </a:lnTo>
                  <a:lnTo>
                    <a:pt x="460" y="245"/>
                  </a:lnTo>
                  <a:lnTo>
                    <a:pt x="455" y="257"/>
                  </a:lnTo>
                  <a:lnTo>
                    <a:pt x="450" y="269"/>
                  </a:lnTo>
                  <a:lnTo>
                    <a:pt x="443" y="280"/>
                  </a:lnTo>
                  <a:lnTo>
                    <a:pt x="118" y="280"/>
                  </a:lnTo>
                  <a:lnTo>
                    <a:pt x="112" y="269"/>
                  </a:lnTo>
                  <a:lnTo>
                    <a:pt x="106" y="257"/>
                  </a:lnTo>
                  <a:lnTo>
                    <a:pt x="101" y="245"/>
                  </a:lnTo>
                  <a:lnTo>
                    <a:pt x="97" y="232"/>
                  </a:lnTo>
                  <a:lnTo>
                    <a:pt x="93" y="219"/>
                  </a:lnTo>
                  <a:lnTo>
                    <a:pt x="91" y="206"/>
                  </a:lnTo>
                  <a:lnTo>
                    <a:pt x="90" y="192"/>
                  </a:lnTo>
                  <a:lnTo>
                    <a:pt x="89" y="178"/>
                  </a:lnTo>
                  <a:lnTo>
                    <a:pt x="89" y="25"/>
                  </a:lnTo>
                  <a:close/>
                  <a:moveTo>
                    <a:pt x="548" y="738"/>
                  </a:moveTo>
                  <a:lnTo>
                    <a:pt x="497" y="738"/>
                  </a:lnTo>
                  <a:lnTo>
                    <a:pt x="497" y="585"/>
                  </a:lnTo>
                  <a:lnTo>
                    <a:pt x="496" y="567"/>
                  </a:lnTo>
                  <a:lnTo>
                    <a:pt x="494" y="550"/>
                  </a:lnTo>
                  <a:lnTo>
                    <a:pt x="491" y="534"/>
                  </a:lnTo>
                  <a:lnTo>
                    <a:pt x="486" y="517"/>
                  </a:lnTo>
                  <a:lnTo>
                    <a:pt x="481" y="502"/>
                  </a:lnTo>
                  <a:lnTo>
                    <a:pt x="474" y="487"/>
                  </a:lnTo>
                  <a:lnTo>
                    <a:pt x="466" y="472"/>
                  </a:lnTo>
                  <a:lnTo>
                    <a:pt x="457" y="459"/>
                  </a:lnTo>
                  <a:lnTo>
                    <a:pt x="448" y="446"/>
                  </a:lnTo>
                  <a:lnTo>
                    <a:pt x="437" y="434"/>
                  </a:lnTo>
                  <a:lnTo>
                    <a:pt x="425" y="422"/>
                  </a:lnTo>
                  <a:lnTo>
                    <a:pt x="412" y="413"/>
                  </a:lnTo>
                  <a:lnTo>
                    <a:pt x="399" y="403"/>
                  </a:lnTo>
                  <a:lnTo>
                    <a:pt x="386" y="395"/>
                  </a:lnTo>
                  <a:lnTo>
                    <a:pt x="370" y="388"/>
                  </a:lnTo>
                  <a:lnTo>
                    <a:pt x="355" y="381"/>
                  </a:lnTo>
                  <a:lnTo>
                    <a:pt x="370" y="376"/>
                  </a:lnTo>
                  <a:lnTo>
                    <a:pt x="386" y="369"/>
                  </a:lnTo>
                  <a:lnTo>
                    <a:pt x="399" y="360"/>
                  </a:lnTo>
                  <a:lnTo>
                    <a:pt x="412" y="351"/>
                  </a:lnTo>
                  <a:lnTo>
                    <a:pt x="425" y="341"/>
                  </a:lnTo>
                  <a:lnTo>
                    <a:pt x="437" y="330"/>
                  </a:lnTo>
                  <a:lnTo>
                    <a:pt x="448" y="318"/>
                  </a:lnTo>
                  <a:lnTo>
                    <a:pt x="457" y="305"/>
                  </a:lnTo>
                  <a:lnTo>
                    <a:pt x="466" y="291"/>
                  </a:lnTo>
                  <a:lnTo>
                    <a:pt x="474" y="277"/>
                  </a:lnTo>
                  <a:lnTo>
                    <a:pt x="481" y="262"/>
                  </a:lnTo>
                  <a:lnTo>
                    <a:pt x="486" y="246"/>
                  </a:lnTo>
                  <a:lnTo>
                    <a:pt x="491" y="230"/>
                  </a:lnTo>
                  <a:lnTo>
                    <a:pt x="494" y="214"/>
                  </a:lnTo>
                  <a:lnTo>
                    <a:pt x="496" y="196"/>
                  </a:lnTo>
                  <a:lnTo>
                    <a:pt x="497" y="178"/>
                  </a:lnTo>
                  <a:lnTo>
                    <a:pt x="497" y="25"/>
                  </a:lnTo>
                  <a:lnTo>
                    <a:pt x="548" y="25"/>
                  </a:lnTo>
                  <a:lnTo>
                    <a:pt x="553" y="25"/>
                  </a:lnTo>
                  <a:lnTo>
                    <a:pt x="557" y="22"/>
                  </a:lnTo>
                  <a:lnTo>
                    <a:pt x="559" y="17"/>
                  </a:lnTo>
                  <a:lnTo>
                    <a:pt x="561" y="13"/>
                  </a:lnTo>
                  <a:lnTo>
                    <a:pt x="559" y="8"/>
                  </a:lnTo>
                  <a:lnTo>
                    <a:pt x="557" y="3"/>
                  </a:lnTo>
                  <a:lnTo>
                    <a:pt x="553" y="1"/>
                  </a:lnTo>
                  <a:lnTo>
                    <a:pt x="548" y="0"/>
                  </a:lnTo>
                  <a:lnTo>
                    <a:pt x="484" y="0"/>
                  </a:lnTo>
                  <a:lnTo>
                    <a:pt x="76" y="0"/>
                  </a:lnTo>
                  <a:lnTo>
                    <a:pt x="13" y="0"/>
                  </a:lnTo>
                  <a:lnTo>
                    <a:pt x="8" y="1"/>
                  </a:lnTo>
                  <a:lnTo>
                    <a:pt x="4" y="3"/>
                  </a:lnTo>
                  <a:lnTo>
                    <a:pt x="1" y="8"/>
                  </a:lnTo>
                  <a:lnTo>
                    <a:pt x="0" y="13"/>
                  </a:lnTo>
                  <a:lnTo>
                    <a:pt x="1" y="17"/>
                  </a:lnTo>
                  <a:lnTo>
                    <a:pt x="4" y="22"/>
                  </a:lnTo>
                  <a:lnTo>
                    <a:pt x="8" y="25"/>
                  </a:lnTo>
                  <a:lnTo>
                    <a:pt x="13" y="25"/>
                  </a:lnTo>
                  <a:lnTo>
                    <a:pt x="64" y="25"/>
                  </a:lnTo>
                  <a:lnTo>
                    <a:pt x="64" y="178"/>
                  </a:lnTo>
                  <a:lnTo>
                    <a:pt x="64" y="195"/>
                  </a:lnTo>
                  <a:lnTo>
                    <a:pt x="67" y="211"/>
                  </a:lnTo>
                  <a:lnTo>
                    <a:pt x="69" y="227"/>
                  </a:lnTo>
                  <a:lnTo>
                    <a:pt x="73" y="242"/>
                  </a:lnTo>
                  <a:lnTo>
                    <a:pt x="78" y="257"/>
                  </a:lnTo>
                  <a:lnTo>
                    <a:pt x="84" y="271"/>
                  </a:lnTo>
                  <a:lnTo>
                    <a:pt x="91" y="285"/>
                  </a:lnTo>
                  <a:lnTo>
                    <a:pt x="99" y="298"/>
                  </a:lnTo>
                  <a:lnTo>
                    <a:pt x="100" y="301"/>
                  </a:lnTo>
                  <a:lnTo>
                    <a:pt x="102" y="303"/>
                  </a:lnTo>
                  <a:lnTo>
                    <a:pt x="112" y="316"/>
                  </a:lnTo>
                  <a:lnTo>
                    <a:pt x="122" y="328"/>
                  </a:lnTo>
                  <a:lnTo>
                    <a:pt x="135" y="340"/>
                  </a:lnTo>
                  <a:lnTo>
                    <a:pt x="147" y="350"/>
                  </a:lnTo>
                  <a:lnTo>
                    <a:pt x="161" y="360"/>
                  </a:lnTo>
                  <a:lnTo>
                    <a:pt x="176" y="369"/>
                  </a:lnTo>
                  <a:lnTo>
                    <a:pt x="191" y="376"/>
                  </a:lnTo>
                  <a:lnTo>
                    <a:pt x="206" y="381"/>
                  </a:lnTo>
                  <a:lnTo>
                    <a:pt x="191" y="388"/>
                  </a:lnTo>
                  <a:lnTo>
                    <a:pt x="176" y="395"/>
                  </a:lnTo>
                  <a:lnTo>
                    <a:pt x="162" y="404"/>
                  </a:lnTo>
                  <a:lnTo>
                    <a:pt x="149" y="414"/>
                  </a:lnTo>
                  <a:lnTo>
                    <a:pt x="136" y="423"/>
                  </a:lnTo>
                  <a:lnTo>
                    <a:pt x="125" y="435"/>
                  </a:lnTo>
                  <a:lnTo>
                    <a:pt x="114" y="447"/>
                  </a:lnTo>
                  <a:lnTo>
                    <a:pt x="104" y="460"/>
                  </a:lnTo>
                  <a:lnTo>
                    <a:pt x="95" y="474"/>
                  </a:lnTo>
                  <a:lnTo>
                    <a:pt x="87" y="488"/>
                  </a:lnTo>
                  <a:lnTo>
                    <a:pt x="81" y="503"/>
                  </a:lnTo>
                  <a:lnTo>
                    <a:pt x="74" y="518"/>
                  </a:lnTo>
                  <a:lnTo>
                    <a:pt x="70" y="534"/>
                  </a:lnTo>
                  <a:lnTo>
                    <a:pt x="67" y="551"/>
                  </a:lnTo>
                  <a:lnTo>
                    <a:pt x="64" y="568"/>
                  </a:lnTo>
                  <a:lnTo>
                    <a:pt x="64" y="585"/>
                  </a:lnTo>
                  <a:lnTo>
                    <a:pt x="64" y="738"/>
                  </a:lnTo>
                  <a:lnTo>
                    <a:pt x="13" y="738"/>
                  </a:lnTo>
                  <a:lnTo>
                    <a:pt x="8" y="739"/>
                  </a:lnTo>
                  <a:lnTo>
                    <a:pt x="4" y="742"/>
                  </a:lnTo>
                  <a:lnTo>
                    <a:pt x="1" y="747"/>
                  </a:lnTo>
                  <a:lnTo>
                    <a:pt x="0" y="751"/>
                  </a:lnTo>
                  <a:lnTo>
                    <a:pt x="1" y="756"/>
                  </a:lnTo>
                  <a:lnTo>
                    <a:pt x="4" y="760"/>
                  </a:lnTo>
                  <a:lnTo>
                    <a:pt x="8" y="763"/>
                  </a:lnTo>
                  <a:lnTo>
                    <a:pt x="13" y="764"/>
                  </a:lnTo>
                  <a:lnTo>
                    <a:pt x="76" y="764"/>
                  </a:lnTo>
                  <a:lnTo>
                    <a:pt x="484" y="764"/>
                  </a:lnTo>
                  <a:lnTo>
                    <a:pt x="548" y="764"/>
                  </a:lnTo>
                  <a:lnTo>
                    <a:pt x="553" y="763"/>
                  </a:lnTo>
                  <a:lnTo>
                    <a:pt x="557" y="760"/>
                  </a:lnTo>
                  <a:lnTo>
                    <a:pt x="559" y="756"/>
                  </a:lnTo>
                  <a:lnTo>
                    <a:pt x="561" y="751"/>
                  </a:lnTo>
                  <a:lnTo>
                    <a:pt x="559" y="747"/>
                  </a:lnTo>
                  <a:lnTo>
                    <a:pt x="557" y="742"/>
                  </a:lnTo>
                  <a:lnTo>
                    <a:pt x="553" y="739"/>
                  </a:lnTo>
                  <a:lnTo>
                    <a:pt x="548" y="738"/>
                  </a:lnTo>
                  <a:close/>
                </a:path>
              </a:pathLst>
            </a:custGeom>
            <a:solidFill>
              <a:srgbClr val="3B3939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89" name="Group 188"/>
            <p:cNvGrpSpPr/>
            <p:nvPr/>
          </p:nvGrpSpPr>
          <p:grpSpPr>
            <a:xfrm>
              <a:off x="3448438" y="5681852"/>
              <a:ext cx="285750" cy="287338"/>
              <a:chOff x="10455275" y="2498725"/>
              <a:chExt cx="285750" cy="287338"/>
            </a:xfrm>
            <a:solidFill>
              <a:srgbClr val="E2583D"/>
            </a:solidFill>
          </p:grpSpPr>
          <p:sp>
            <p:nvSpPr>
              <p:cNvPr id="190" name="Freeform 214"/>
              <p:cNvSpPr>
                <a:spLocks noEditPoints="1"/>
              </p:cNvSpPr>
              <p:nvPr/>
            </p:nvSpPr>
            <p:spPr bwMode="auto">
              <a:xfrm>
                <a:off x="10455275" y="2593975"/>
                <a:ext cx="285750" cy="192088"/>
              </a:xfrm>
              <a:custGeom>
                <a:avLst/>
                <a:gdLst>
                  <a:gd name="T0" fmla="*/ 812 w 903"/>
                  <a:gd name="T1" fmla="*/ 30 h 601"/>
                  <a:gd name="T2" fmla="*/ 512 w 903"/>
                  <a:gd name="T3" fmla="*/ 571 h 601"/>
                  <a:gd name="T4" fmla="*/ 602 w 903"/>
                  <a:gd name="T5" fmla="*/ 571 h 601"/>
                  <a:gd name="T6" fmla="*/ 301 w 903"/>
                  <a:gd name="T7" fmla="*/ 210 h 601"/>
                  <a:gd name="T8" fmla="*/ 301 w 903"/>
                  <a:gd name="T9" fmla="*/ 571 h 601"/>
                  <a:gd name="T10" fmla="*/ 181 w 903"/>
                  <a:gd name="T11" fmla="*/ 421 h 601"/>
                  <a:gd name="T12" fmla="*/ 888 w 903"/>
                  <a:gd name="T13" fmla="*/ 571 h 601"/>
                  <a:gd name="T14" fmla="*/ 842 w 903"/>
                  <a:gd name="T15" fmla="*/ 12 h 601"/>
                  <a:gd name="T16" fmla="*/ 838 w 903"/>
                  <a:gd name="T17" fmla="*/ 5 h 601"/>
                  <a:gd name="T18" fmla="*/ 830 w 903"/>
                  <a:gd name="T19" fmla="*/ 0 h 601"/>
                  <a:gd name="T20" fmla="*/ 704 w 903"/>
                  <a:gd name="T21" fmla="*/ 0 h 601"/>
                  <a:gd name="T22" fmla="*/ 696 w 903"/>
                  <a:gd name="T23" fmla="*/ 5 h 601"/>
                  <a:gd name="T24" fmla="*/ 692 w 903"/>
                  <a:gd name="T25" fmla="*/ 12 h 601"/>
                  <a:gd name="T26" fmla="*/ 632 w 903"/>
                  <a:gd name="T27" fmla="*/ 571 h 601"/>
                  <a:gd name="T28" fmla="*/ 631 w 903"/>
                  <a:gd name="T29" fmla="*/ 280 h 601"/>
                  <a:gd name="T30" fmla="*/ 626 w 903"/>
                  <a:gd name="T31" fmla="*/ 274 h 601"/>
                  <a:gd name="T32" fmla="*/ 617 w 903"/>
                  <a:gd name="T33" fmla="*/ 270 h 601"/>
                  <a:gd name="T34" fmla="*/ 491 w 903"/>
                  <a:gd name="T35" fmla="*/ 271 h 601"/>
                  <a:gd name="T36" fmla="*/ 484 w 903"/>
                  <a:gd name="T37" fmla="*/ 278 h 601"/>
                  <a:gd name="T38" fmla="*/ 482 w 903"/>
                  <a:gd name="T39" fmla="*/ 285 h 601"/>
                  <a:gd name="T40" fmla="*/ 421 w 903"/>
                  <a:gd name="T41" fmla="*/ 195 h 601"/>
                  <a:gd name="T42" fmla="*/ 419 w 903"/>
                  <a:gd name="T43" fmla="*/ 187 h 601"/>
                  <a:gd name="T44" fmla="*/ 412 w 903"/>
                  <a:gd name="T45" fmla="*/ 181 h 601"/>
                  <a:gd name="T46" fmla="*/ 286 w 903"/>
                  <a:gd name="T47" fmla="*/ 180 h 601"/>
                  <a:gd name="T48" fmla="*/ 277 w 903"/>
                  <a:gd name="T49" fmla="*/ 184 h 601"/>
                  <a:gd name="T50" fmla="*/ 272 w 903"/>
                  <a:gd name="T51" fmla="*/ 190 h 601"/>
                  <a:gd name="T52" fmla="*/ 271 w 903"/>
                  <a:gd name="T53" fmla="*/ 571 h 601"/>
                  <a:gd name="T54" fmla="*/ 211 w 903"/>
                  <a:gd name="T55" fmla="*/ 403 h 601"/>
                  <a:gd name="T56" fmla="*/ 207 w 903"/>
                  <a:gd name="T57" fmla="*/ 396 h 601"/>
                  <a:gd name="T58" fmla="*/ 199 w 903"/>
                  <a:gd name="T59" fmla="*/ 391 h 601"/>
                  <a:gd name="T60" fmla="*/ 73 w 903"/>
                  <a:gd name="T61" fmla="*/ 391 h 601"/>
                  <a:gd name="T62" fmla="*/ 65 w 903"/>
                  <a:gd name="T63" fmla="*/ 396 h 601"/>
                  <a:gd name="T64" fmla="*/ 61 w 903"/>
                  <a:gd name="T65" fmla="*/ 403 h 601"/>
                  <a:gd name="T66" fmla="*/ 16 w 903"/>
                  <a:gd name="T67" fmla="*/ 571 h 601"/>
                  <a:gd name="T68" fmla="*/ 7 w 903"/>
                  <a:gd name="T69" fmla="*/ 573 h 601"/>
                  <a:gd name="T70" fmla="*/ 2 w 903"/>
                  <a:gd name="T71" fmla="*/ 581 h 601"/>
                  <a:gd name="T72" fmla="*/ 1 w 903"/>
                  <a:gd name="T73" fmla="*/ 590 h 601"/>
                  <a:gd name="T74" fmla="*/ 5 w 903"/>
                  <a:gd name="T75" fmla="*/ 597 h 601"/>
                  <a:gd name="T76" fmla="*/ 13 w 903"/>
                  <a:gd name="T77" fmla="*/ 601 h 601"/>
                  <a:gd name="T78" fmla="*/ 196 w 903"/>
                  <a:gd name="T79" fmla="*/ 601 h 601"/>
                  <a:gd name="T80" fmla="*/ 497 w 903"/>
                  <a:gd name="T81" fmla="*/ 601 h 601"/>
                  <a:gd name="T82" fmla="*/ 827 w 903"/>
                  <a:gd name="T83" fmla="*/ 601 h 601"/>
                  <a:gd name="T84" fmla="*/ 893 w 903"/>
                  <a:gd name="T85" fmla="*/ 600 h 601"/>
                  <a:gd name="T86" fmla="*/ 900 w 903"/>
                  <a:gd name="T87" fmla="*/ 595 h 601"/>
                  <a:gd name="T88" fmla="*/ 903 w 903"/>
                  <a:gd name="T89" fmla="*/ 586 h 601"/>
                  <a:gd name="T90" fmla="*/ 900 w 903"/>
                  <a:gd name="T91" fmla="*/ 578 h 601"/>
                  <a:gd name="T92" fmla="*/ 893 w 903"/>
                  <a:gd name="T93" fmla="*/ 572 h 6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903" h="601">
                    <a:moveTo>
                      <a:pt x="722" y="571"/>
                    </a:moveTo>
                    <a:lnTo>
                      <a:pt x="722" y="30"/>
                    </a:lnTo>
                    <a:lnTo>
                      <a:pt x="812" y="30"/>
                    </a:lnTo>
                    <a:lnTo>
                      <a:pt x="812" y="571"/>
                    </a:lnTo>
                    <a:lnTo>
                      <a:pt x="722" y="571"/>
                    </a:lnTo>
                    <a:close/>
                    <a:moveTo>
                      <a:pt x="512" y="571"/>
                    </a:moveTo>
                    <a:lnTo>
                      <a:pt x="512" y="300"/>
                    </a:lnTo>
                    <a:lnTo>
                      <a:pt x="602" y="300"/>
                    </a:lnTo>
                    <a:lnTo>
                      <a:pt x="602" y="571"/>
                    </a:lnTo>
                    <a:lnTo>
                      <a:pt x="512" y="571"/>
                    </a:lnTo>
                    <a:close/>
                    <a:moveTo>
                      <a:pt x="301" y="571"/>
                    </a:moveTo>
                    <a:lnTo>
                      <a:pt x="301" y="210"/>
                    </a:lnTo>
                    <a:lnTo>
                      <a:pt x="391" y="210"/>
                    </a:lnTo>
                    <a:lnTo>
                      <a:pt x="391" y="571"/>
                    </a:lnTo>
                    <a:lnTo>
                      <a:pt x="301" y="571"/>
                    </a:lnTo>
                    <a:close/>
                    <a:moveTo>
                      <a:pt x="91" y="571"/>
                    </a:moveTo>
                    <a:lnTo>
                      <a:pt x="91" y="421"/>
                    </a:lnTo>
                    <a:lnTo>
                      <a:pt x="181" y="421"/>
                    </a:lnTo>
                    <a:lnTo>
                      <a:pt x="181" y="571"/>
                    </a:lnTo>
                    <a:lnTo>
                      <a:pt x="91" y="571"/>
                    </a:lnTo>
                    <a:close/>
                    <a:moveTo>
                      <a:pt x="888" y="571"/>
                    </a:moveTo>
                    <a:lnTo>
                      <a:pt x="842" y="571"/>
                    </a:lnTo>
                    <a:lnTo>
                      <a:pt x="842" y="15"/>
                    </a:lnTo>
                    <a:lnTo>
                      <a:pt x="842" y="12"/>
                    </a:lnTo>
                    <a:lnTo>
                      <a:pt x="841" y="9"/>
                    </a:lnTo>
                    <a:lnTo>
                      <a:pt x="840" y="7"/>
                    </a:lnTo>
                    <a:lnTo>
                      <a:pt x="838" y="5"/>
                    </a:lnTo>
                    <a:lnTo>
                      <a:pt x="836" y="3"/>
                    </a:lnTo>
                    <a:lnTo>
                      <a:pt x="833" y="1"/>
                    </a:lnTo>
                    <a:lnTo>
                      <a:pt x="830" y="0"/>
                    </a:lnTo>
                    <a:lnTo>
                      <a:pt x="827" y="0"/>
                    </a:lnTo>
                    <a:lnTo>
                      <a:pt x="707" y="0"/>
                    </a:lnTo>
                    <a:lnTo>
                      <a:pt x="704" y="0"/>
                    </a:lnTo>
                    <a:lnTo>
                      <a:pt x="702" y="1"/>
                    </a:lnTo>
                    <a:lnTo>
                      <a:pt x="698" y="3"/>
                    </a:lnTo>
                    <a:lnTo>
                      <a:pt x="696" y="5"/>
                    </a:lnTo>
                    <a:lnTo>
                      <a:pt x="694" y="7"/>
                    </a:lnTo>
                    <a:lnTo>
                      <a:pt x="693" y="9"/>
                    </a:lnTo>
                    <a:lnTo>
                      <a:pt x="692" y="12"/>
                    </a:lnTo>
                    <a:lnTo>
                      <a:pt x="692" y="15"/>
                    </a:lnTo>
                    <a:lnTo>
                      <a:pt x="692" y="571"/>
                    </a:lnTo>
                    <a:lnTo>
                      <a:pt x="632" y="571"/>
                    </a:lnTo>
                    <a:lnTo>
                      <a:pt x="632" y="285"/>
                    </a:lnTo>
                    <a:lnTo>
                      <a:pt x="632" y="283"/>
                    </a:lnTo>
                    <a:lnTo>
                      <a:pt x="631" y="280"/>
                    </a:lnTo>
                    <a:lnTo>
                      <a:pt x="630" y="278"/>
                    </a:lnTo>
                    <a:lnTo>
                      <a:pt x="628" y="275"/>
                    </a:lnTo>
                    <a:lnTo>
                      <a:pt x="626" y="274"/>
                    </a:lnTo>
                    <a:lnTo>
                      <a:pt x="622" y="271"/>
                    </a:lnTo>
                    <a:lnTo>
                      <a:pt x="620" y="271"/>
                    </a:lnTo>
                    <a:lnTo>
                      <a:pt x="617" y="270"/>
                    </a:lnTo>
                    <a:lnTo>
                      <a:pt x="497" y="270"/>
                    </a:lnTo>
                    <a:lnTo>
                      <a:pt x="494" y="271"/>
                    </a:lnTo>
                    <a:lnTo>
                      <a:pt x="491" y="271"/>
                    </a:lnTo>
                    <a:lnTo>
                      <a:pt x="488" y="274"/>
                    </a:lnTo>
                    <a:lnTo>
                      <a:pt x="486" y="275"/>
                    </a:lnTo>
                    <a:lnTo>
                      <a:pt x="484" y="278"/>
                    </a:lnTo>
                    <a:lnTo>
                      <a:pt x="483" y="280"/>
                    </a:lnTo>
                    <a:lnTo>
                      <a:pt x="482" y="283"/>
                    </a:lnTo>
                    <a:lnTo>
                      <a:pt x="482" y="285"/>
                    </a:lnTo>
                    <a:lnTo>
                      <a:pt x="482" y="571"/>
                    </a:lnTo>
                    <a:lnTo>
                      <a:pt x="421" y="571"/>
                    </a:lnTo>
                    <a:lnTo>
                      <a:pt x="421" y="195"/>
                    </a:lnTo>
                    <a:lnTo>
                      <a:pt x="421" y="192"/>
                    </a:lnTo>
                    <a:lnTo>
                      <a:pt x="420" y="190"/>
                    </a:lnTo>
                    <a:lnTo>
                      <a:pt x="419" y="187"/>
                    </a:lnTo>
                    <a:lnTo>
                      <a:pt x="417" y="185"/>
                    </a:lnTo>
                    <a:lnTo>
                      <a:pt x="415" y="184"/>
                    </a:lnTo>
                    <a:lnTo>
                      <a:pt x="412" y="181"/>
                    </a:lnTo>
                    <a:lnTo>
                      <a:pt x="409" y="180"/>
                    </a:lnTo>
                    <a:lnTo>
                      <a:pt x="406" y="180"/>
                    </a:lnTo>
                    <a:lnTo>
                      <a:pt x="286" y="180"/>
                    </a:lnTo>
                    <a:lnTo>
                      <a:pt x="283" y="180"/>
                    </a:lnTo>
                    <a:lnTo>
                      <a:pt x="281" y="181"/>
                    </a:lnTo>
                    <a:lnTo>
                      <a:pt x="277" y="184"/>
                    </a:lnTo>
                    <a:lnTo>
                      <a:pt x="275" y="185"/>
                    </a:lnTo>
                    <a:lnTo>
                      <a:pt x="274" y="187"/>
                    </a:lnTo>
                    <a:lnTo>
                      <a:pt x="272" y="190"/>
                    </a:lnTo>
                    <a:lnTo>
                      <a:pt x="271" y="192"/>
                    </a:lnTo>
                    <a:lnTo>
                      <a:pt x="271" y="195"/>
                    </a:lnTo>
                    <a:lnTo>
                      <a:pt x="271" y="571"/>
                    </a:lnTo>
                    <a:lnTo>
                      <a:pt x="211" y="571"/>
                    </a:lnTo>
                    <a:lnTo>
                      <a:pt x="211" y="406"/>
                    </a:lnTo>
                    <a:lnTo>
                      <a:pt x="211" y="403"/>
                    </a:lnTo>
                    <a:lnTo>
                      <a:pt x="210" y="400"/>
                    </a:lnTo>
                    <a:lnTo>
                      <a:pt x="209" y="398"/>
                    </a:lnTo>
                    <a:lnTo>
                      <a:pt x="207" y="396"/>
                    </a:lnTo>
                    <a:lnTo>
                      <a:pt x="205" y="394"/>
                    </a:lnTo>
                    <a:lnTo>
                      <a:pt x="201" y="392"/>
                    </a:lnTo>
                    <a:lnTo>
                      <a:pt x="199" y="391"/>
                    </a:lnTo>
                    <a:lnTo>
                      <a:pt x="196" y="391"/>
                    </a:lnTo>
                    <a:lnTo>
                      <a:pt x="76" y="391"/>
                    </a:lnTo>
                    <a:lnTo>
                      <a:pt x="73" y="391"/>
                    </a:lnTo>
                    <a:lnTo>
                      <a:pt x="70" y="392"/>
                    </a:lnTo>
                    <a:lnTo>
                      <a:pt x="67" y="394"/>
                    </a:lnTo>
                    <a:lnTo>
                      <a:pt x="65" y="396"/>
                    </a:lnTo>
                    <a:lnTo>
                      <a:pt x="63" y="398"/>
                    </a:lnTo>
                    <a:lnTo>
                      <a:pt x="62" y="400"/>
                    </a:lnTo>
                    <a:lnTo>
                      <a:pt x="61" y="403"/>
                    </a:lnTo>
                    <a:lnTo>
                      <a:pt x="61" y="406"/>
                    </a:lnTo>
                    <a:lnTo>
                      <a:pt x="61" y="571"/>
                    </a:lnTo>
                    <a:lnTo>
                      <a:pt x="16" y="571"/>
                    </a:lnTo>
                    <a:lnTo>
                      <a:pt x="13" y="571"/>
                    </a:lnTo>
                    <a:lnTo>
                      <a:pt x="10" y="572"/>
                    </a:lnTo>
                    <a:lnTo>
                      <a:pt x="7" y="573"/>
                    </a:lnTo>
                    <a:lnTo>
                      <a:pt x="5" y="576"/>
                    </a:lnTo>
                    <a:lnTo>
                      <a:pt x="3" y="578"/>
                    </a:lnTo>
                    <a:lnTo>
                      <a:pt x="2" y="581"/>
                    </a:lnTo>
                    <a:lnTo>
                      <a:pt x="1" y="583"/>
                    </a:lnTo>
                    <a:lnTo>
                      <a:pt x="0" y="586"/>
                    </a:lnTo>
                    <a:lnTo>
                      <a:pt x="1" y="590"/>
                    </a:lnTo>
                    <a:lnTo>
                      <a:pt x="2" y="593"/>
                    </a:lnTo>
                    <a:lnTo>
                      <a:pt x="3" y="595"/>
                    </a:lnTo>
                    <a:lnTo>
                      <a:pt x="5" y="597"/>
                    </a:lnTo>
                    <a:lnTo>
                      <a:pt x="7" y="599"/>
                    </a:lnTo>
                    <a:lnTo>
                      <a:pt x="10" y="600"/>
                    </a:lnTo>
                    <a:lnTo>
                      <a:pt x="13" y="601"/>
                    </a:lnTo>
                    <a:lnTo>
                      <a:pt x="16" y="601"/>
                    </a:lnTo>
                    <a:lnTo>
                      <a:pt x="76" y="601"/>
                    </a:lnTo>
                    <a:lnTo>
                      <a:pt x="196" y="601"/>
                    </a:lnTo>
                    <a:lnTo>
                      <a:pt x="286" y="601"/>
                    </a:lnTo>
                    <a:lnTo>
                      <a:pt x="406" y="601"/>
                    </a:lnTo>
                    <a:lnTo>
                      <a:pt x="497" y="601"/>
                    </a:lnTo>
                    <a:lnTo>
                      <a:pt x="617" y="601"/>
                    </a:lnTo>
                    <a:lnTo>
                      <a:pt x="707" y="601"/>
                    </a:lnTo>
                    <a:lnTo>
                      <a:pt x="827" y="601"/>
                    </a:lnTo>
                    <a:lnTo>
                      <a:pt x="888" y="601"/>
                    </a:lnTo>
                    <a:lnTo>
                      <a:pt x="890" y="601"/>
                    </a:lnTo>
                    <a:lnTo>
                      <a:pt x="893" y="600"/>
                    </a:lnTo>
                    <a:lnTo>
                      <a:pt x="896" y="599"/>
                    </a:lnTo>
                    <a:lnTo>
                      <a:pt x="898" y="597"/>
                    </a:lnTo>
                    <a:lnTo>
                      <a:pt x="900" y="595"/>
                    </a:lnTo>
                    <a:lnTo>
                      <a:pt x="901" y="593"/>
                    </a:lnTo>
                    <a:lnTo>
                      <a:pt x="902" y="590"/>
                    </a:lnTo>
                    <a:lnTo>
                      <a:pt x="903" y="586"/>
                    </a:lnTo>
                    <a:lnTo>
                      <a:pt x="902" y="583"/>
                    </a:lnTo>
                    <a:lnTo>
                      <a:pt x="901" y="581"/>
                    </a:lnTo>
                    <a:lnTo>
                      <a:pt x="900" y="578"/>
                    </a:lnTo>
                    <a:lnTo>
                      <a:pt x="898" y="576"/>
                    </a:lnTo>
                    <a:lnTo>
                      <a:pt x="896" y="573"/>
                    </a:lnTo>
                    <a:lnTo>
                      <a:pt x="893" y="572"/>
                    </a:lnTo>
                    <a:lnTo>
                      <a:pt x="890" y="571"/>
                    </a:lnTo>
                    <a:lnTo>
                      <a:pt x="888" y="57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1" name="Freeform 215"/>
              <p:cNvSpPr>
                <a:spLocks noEditPoints="1"/>
              </p:cNvSpPr>
              <p:nvPr/>
            </p:nvSpPr>
            <p:spPr bwMode="auto">
              <a:xfrm>
                <a:off x="10474325" y="2498725"/>
                <a:ext cx="252413" cy="157163"/>
              </a:xfrm>
              <a:custGeom>
                <a:avLst/>
                <a:gdLst>
                  <a:gd name="T0" fmla="*/ 83 w 796"/>
                  <a:gd name="T1" fmla="*/ 417 h 496"/>
                  <a:gd name="T2" fmla="*/ 89 w 796"/>
                  <a:gd name="T3" fmla="*/ 431 h 496"/>
                  <a:gd name="T4" fmla="*/ 76 w 796"/>
                  <a:gd name="T5" fmla="*/ 461 h 496"/>
                  <a:gd name="T6" fmla="*/ 43 w 796"/>
                  <a:gd name="T7" fmla="*/ 461 h 496"/>
                  <a:gd name="T8" fmla="*/ 30 w 796"/>
                  <a:gd name="T9" fmla="*/ 430 h 496"/>
                  <a:gd name="T10" fmla="*/ 54 w 796"/>
                  <a:gd name="T11" fmla="*/ 407 h 496"/>
                  <a:gd name="T12" fmla="*/ 302 w 796"/>
                  <a:gd name="T13" fmla="*/ 216 h 496"/>
                  <a:gd name="T14" fmla="*/ 315 w 796"/>
                  <a:gd name="T15" fmla="*/ 247 h 496"/>
                  <a:gd name="T16" fmla="*/ 291 w 796"/>
                  <a:gd name="T17" fmla="*/ 270 h 496"/>
                  <a:gd name="T18" fmla="*/ 260 w 796"/>
                  <a:gd name="T19" fmla="*/ 257 h 496"/>
                  <a:gd name="T20" fmla="*/ 260 w 796"/>
                  <a:gd name="T21" fmla="*/ 224 h 496"/>
                  <a:gd name="T22" fmla="*/ 511 w 796"/>
                  <a:gd name="T23" fmla="*/ 301 h 496"/>
                  <a:gd name="T24" fmla="*/ 530 w 796"/>
                  <a:gd name="T25" fmla="*/ 308 h 496"/>
                  <a:gd name="T26" fmla="*/ 541 w 796"/>
                  <a:gd name="T27" fmla="*/ 331 h 496"/>
                  <a:gd name="T28" fmla="*/ 523 w 796"/>
                  <a:gd name="T29" fmla="*/ 359 h 496"/>
                  <a:gd name="T30" fmla="*/ 490 w 796"/>
                  <a:gd name="T31" fmla="*/ 353 h 496"/>
                  <a:gd name="T32" fmla="*/ 483 w 796"/>
                  <a:gd name="T33" fmla="*/ 320 h 496"/>
                  <a:gd name="T34" fmla="*/ 511 w 796"/>
                  <a:gd name="T35" fmla="*/ 301 h 496"/>
                  <a:gd name="T36" fmla="*/ 757 w 796"/>
                  <a:gd name="T37" fmla="*/ 39 h 496"/>
                  <a:gd name="T38" fmla="*/ 764 w 796"/>
                  <a:gd name="T39" fmla="*/ 72 h 496"/>
                  <a:gd name="T40" fmla="*/ 736 w 796"/>
                  <a:gd name="T41" fmla="*/ 90 h 496"/>
                  <a:gd name="T42" fmla="*/ 708 w 796"/>
                  <a:gd name="T43" fmla="*/ 72 h 496"/>
                  <a:gd name="T44" fmla="*/ 716 w 796"/>
                  <a:gd name="T45" fmla="*/ 39 h 496"/>
                  <a:gd name="T46" fmla="*/ 60 w 796"/>
                  <a:gd name="T47" fmla="*/ 496 h 496"/>
                  <a:gd name="T48" fmla="*/ 93 w 796"/>
                  <a:gd name="T49" fmla="*/ 487 h 496"/>
                  <a:gd name="T50" fmla="*/ 115 w 796"/>
                  <a:gd name="T51" fmla="*/ 460 h 496"/>
                  <a:gd name="T52" fmla="*/ 118 w 796"/>
                  <a:gd name="T53" fmla="*/ 422 h 496"/>
                  <a:gd name="T54" fmla="*/ 276 w 796"/>
                  <a:gd name="T55" fmla="*/ 300 h 496"/>
                  <a:gd name="T56" fmla="*/ 318 w 796"/>
                  <a:gd name="T57" fmla="*/ 291 h 496"/>
                  <a:gd name="T58" fmla="*/ 451 w 796"/>
                  <a:gd name="T59" fmla="*/ 331 h 496"/>
                  <a:gd name="T60" fmla="*/ 461 w 796"/>
                  <a:gd name="T61" fmla="*/ 365 h 496"/>
                  <a:gd name="T62" fmla="*/ 487 w 796"/>
                  <a:gd name="T63" fmla="*/ 387 h 496"/>
                  <a:gd name="T64" fmla="*/ 523 w 796"/>
                  <a:gd name="T65" fmla="*/ 390 h 496"/>
                  <a:gd name="T66" fmla="*/ 554 w 796"/>
                  <a:gd name="T67" fmla="*/ 373 h 496"/>
                  <a:gd name="T68" fmla="*/ 570 w 796"/>
                  <a:gd name="T69" fmla="*/ 343 h 496"/>
                  <a:gd name="T70" fmla="*/ 559 w 796"/>
                  <a:gd name="T71" fmla="*/ 296 h 496"/>
                  <a:gd name="T72" fmla="*/ 742 w 796"/>
                  <a:gd name="T73" fmla="*/ 120 h 496"/>
                  <a:gd name="T74" fmla="*/ 775 w 796"/>
                  <a:gd name="T75" fmla="*/ 106 h 496"/>
                  <a:gd name="T76" fmla="*/ 794 w 796"/>
                  <a:gd name="T77" fmla="*/ 79 h 496"/>
                  <a:gd name="T78" fmla="*/ 794 w 796"/>
                  <a:gd name="T79" fmla="*/ 43 h 496"/>
                  <a:gd name="T80" fmla="*/ 775 w 796"/>
                  <a:gd name="T81" fmla="*/ 14 h 496"/>
                  <a:gd name="T82" fmla="*/ 742 w 796"/>
                  <a:gd name="T83" fmla="*/ 0 h 496"/>
                  <a:gd name="T84" fmla="*/ 708 w 796"/>
                  <a:gd name="T85" fmla="*/ 8 h 496"/>
                  <a:gd name="T86" fmla="*/ 683 w 796"/>
                  <a:gd name="T87" fmla="*/ 31 h 496"/>
                  <a:gd name="T88" fmla="*/ 677 w 796"/>
                  <a:gd name="T89" fmla="*/ 70 h 496"/>
                  <a:gd name="T90" fmla="*/ 524 w 796"/>
                  <a:gd name="T91" fmla="*/ 272 h 496"/>
                  <a:gd name="T92" fmla="*/ 483 w 796"/>
                  <a:gd name="T93" fmla="*/ 278 h 496"/>
                  <a:gd name="T94" fmla="*/ 345 w 796"/>
                  <a:gd name="T95" fmla="*/ 245 h 496"/>
                  <a:gd name="T96" fmla="*/ 339 w 796"/>
                  <a:gd name="T97" fmla="*/ 212 h 496"/>
                  <a:gd name="T98" fmla="*/ 314 w 796"/>
                  <a:gd name="T99" fmla="*/ 188 h 496"/>
                  <a:gd name="T100" fmla="*/ 280 w 796"/>
                  <a:gd name="T101" fmla="*/ 181 h 496"/>
                  <a:gd name="T102" fmla="*/ 247 w 796"/>
                  <a:gd name="T103" fmla="*/ 194 h 496"/>
                  <a:gd name="T104" fmla="*/ 228 w 796"/>
                  <a:gd name="T105" fmla="*/ 223 h 496"/>
                  <a:gd name="T106" fmla="*/ 229 w 796"/>
                  <a:gd name="T107" fmla="*/ 262 h 496"/>
                  <a:gd name="T108" fmla="*/ 60 w 796"/>
                  <a:gd name="T109" fmla="*/ 376 h 496"/>
                  <a:gd name="T110" fmla="*/ 26 w 796"/>
                  <a:gd name="T111" fmla="*/ 387 h 496"/>
                  <a:gd name="T112" fmla="*/ 4 w 796"/>
                  <a:gd name="T113" fmla="*/ 413 h 496"/>
                  <a:gd name="T114" fmla="*/ 1 w 796"/>
                  <a:gd name="T115" fmla="*/ 448 h 496"/>
                  <a:gd name="T116" fmla="*/ 17 w 796"/>
                  <a:gd name="T117" fmla="*/ 479 h 496"/>
                  <a:gd name="T118" fmla="*/ 47 w 796"/>
                  <a:gd name="T119" fmla="*/ 495 h 4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96" h="496">
                    <a:moveTo>
                      <a:pt x="60" y="406"/>
                    </a:moveTo>
                    <a:lnTo>
                      <a:pt x="66" y="407"/>
                    </a:lnTo>
                    <a:lnTo>
                      <a:pt x="73" y="410"/>
                    </a:lnTo>
                    <a:lnTo>
                      <a:pt x="78" y="413"/>
                    </a:lnTo>
                    <a:lnTo>
                      <a:pt x="83" y="417"/>
                    </a:lnTo>
                    <a:lnTo>
                      <a:pt x="83" y="417"/>
                    </a:lnTo>
                    <a:lnTo>
                      <a:pt x="83" y="417"/>
                    </a:lnTo>
                    <a:lnTo>
                      <a:pt x="83" y="417"/>
                    </a:lnTo>
                    <a:lnTo>
                      <a:pt x="83" y="417"/>
                    </a:lnTo>
                    <a:lnTo>
                      <a:pt x="86" y="421"/>
                    </a:lnTo>
                    <a:lnTo>
                      <a:pt x="88" y="426"/>
                    </a:lnTo>
                    <a:lnTo>
                      <a:pt x="89" y="431"/>
                    </a:lnTo>
                    <a:lnTo>
                      <a:pt x="90" y="436"/>
                    </a:lnTo>
                    <a:lnTo>
                      <a:pt x="89" y="443"/>
                    </a:lnTo>
                    <a:lnTo>
                      <a:pt x="88" y="448"/>
                    </a:lnTo>
                    <a:lnTo>
                      <a:pt x="85" y="453"/>
                    </a:lnTo>
                    <a:lnTo>
                      <a:pt x="81" y="458"/>
                    </a:lnTo>
                    <a:lnTo>
                      <a:pt x="76" y="461"/>
                    </a:lnTo>
                    <a:lnTo>
                      <a:pt x="72" y="464"/>
                    </a:lnTo>
                    <a:lnTo>
                      <a:pt x="65" y="466"/>
                    </a:lnTo>
                    <a:lnTo>
                      <a:pt x="60" y="466"/>
                    </a:lnTo>
                    <a:lnTo>
                      <a:pt x="54" y="466"/>
                    </a:lnTo>
                    <a:lnTo>
                      <a:pt x="48" y="464"/>
                    </a:lnTo>
                    <a:lnTo>
                      <a:pt x="43" y="461"/>
                    </a:lnTo>
                    <a:lnTo>
                      <a:pt x="39" y="458"/>
                    </a:lnTo>
                    <a:lnTo>
                      <a:pt x="34" y="453"/>
                    </a:lnTo>
                    <a:lnTo>
                      <a:pt x="32" y="448"/>
                    </a:lnTo>
                    <a:lnTo>
                      <a:pt x="30" y="443"/>
                    </a:lnTo>
                    <a:lnTo>
                      <a:pt x="30" y="436"/>
                    </a:lnTo>
                    <a:lnTo>
                      <a:pt x="30" y="430"/>
                    </a:lnTo>
                    <a:lnTo>
                      <a:pt x="32" y="425"/>
                    </a:lnTo>
                    <a:lnTo>
                      <a:pt x="34" y="419"/>
                    </a:lnTo>
                    <a:lnTo>
                      <a:pt x="39" y="415"/>
                    </a:lnTo>
                    <a:lnTo>
                      <a:pt x="43" y="412"/>
                    </a:lnTo>
                    <a:lnTo>
                      <a:pt x="48" y="409"/>
                    </a:lnTo>
                    <a:lnTo>
                      <a:pt x="54" y="407"/>
                    </a:lnTo>
                    <a:lnTo>
                      <a:pt x="60" y="406"/>
                    </a:lnTo>
                    <a:lnTo>
                      <a:pt x="60" y="406"/>
                    </a:lnTo>
                    <a:close/>
                    <a:moveTo>
                      <a:pt x="285" y="211"/>
                    </a:moveTo>
                    <a:lnTo>
                      <a:pt x="291" y="211"/>
                    </a:lnTo>
                    <a:lnTo>
                      <a:pt x="297" y="214"/>
                    </a:lnTo>
                    <a:lnTo>
                      <a:pt x="302" y="216"/>
                    </a:lnTo>
                    <a:lnTo>
                      <a:pt x="306" y="220"/>
                    </a:lnTo>
                    <a:lnTo>
                      <a:pt x="311" y="224"/>
                    </a:lnTo>
                    <a:lnTo>
                      <a:pt x="313" y="230"/>
                    </a:lnTo>
                    <a:lnTo>
                      <a:pt x="315" y="235"/>
                    </a:lnTo>
                    <a:lnTo>
                      <a:pt x="315" y="241"/>
                    </a:lnTo>
                    <a:lnTo>
                      <a:pt x="315" y="247"/>
                    </a:lnTo>
                    <a:lnTo>
                      <a:pt x="313" y="253"/>
                    </a:lnTo>
                    <a:lnTo>
                      <a:pt x="311" y="257"/>
                    </a:lnTo>
                    <a:lnTo>
                      <a:pt x="306" y="262"/>
                    </a:lnTo>
                    <a:lnTo>
                      <a:pt x="302" y="266"/>
                    </a:lnTo>
                    <a:lnTo>
                      <a:pt x="297" y="268"/>
                    </a:lnTo>
                    <a:lnTo>
                      <a:pt x="291" y="270"/>
                    </a:lnTo>
                    <a:lnTo>
                      <a:pt x="285" y="271"/>
                    </a:lnTo>
                    <a:lnTo>
                      <a:pt x="280" y="270"/>
                    </a:lnTo>
                    <a:lnTo>
                      <a:pt x="273" y="268"/>
                    </a:lnTo>
                    <a:lnTo>
                      <a:pt x="269" y="266"/>
                    </a:lnTo>
                    <a:lnTo>
                      <a:pt x="264" y="262"/>
                    </a:lnTo>
                    <a:lnTo>
                      <a:pt x="260" y="257"/>
                    </a:lnTo>
                    <a:lnTo>
                      <a:pt x="257" y="253"/>
                    </a:lnTo>
                    <a:lnTo>
                      <a:pt x="256" y="247"/>
                    </a:lnTo>
                    <a:lnTo>
                      <a:pt x="255" y="241"/>
                    </a:lnTo>
                    <a:lnTo>
                      <a:pt x="256" y="235"/>
                    </a:lnTo>
                    <a:lnTo>
                      <a:pt x="257" y="230"/>
                    </a:lnTo>
                    <a:lnTo>
                      <a:pt x="260" y="224"/>
                    </a:lnTo>
                    <a:lnTo>
                      <a:pt x="264" y="220"/>
                    </a:lnTo>
                    <a:lnTo>
                      <a:pt x="269" y="216"/>
                    </a:lnTo>
                    <a:lnTo>
                      <a:pt x="273" y="214"/>
                    </a:lnTo>
                    <a:lnTo>
                      <a:pt x="280" y="211"/>
                    </a:lnTo>
                    <a:lnTo>
                      <a:pt x="285" y="211"/>
                    </a:lnTo>
                    <a:close/>
                    <a:moveTo>
                      <a:pt x="511" y="301"/>
                    </a:moveTo>
                    <a:lnTo>
                      <a:pt x="516" y="301"/>
                    </a:lnTo>
                    <a:lnTo>
                      <a:pt x="521" y="302"/>
                    </a:lnTo>
                    <a:lnTo>
                      <a:pt x="526" y="306"/>
                    </a:lnTo>
                    <a:lnTo>
                      <a:pt x="530" y="308"/>
                    </a:lnTo>
                    <a:lnTo>
                      <a:pt x="530" y="308"/>
                    </a:lnTo>
                    <a:lnTo>
                      <a:pt x="530" y="308"/>
                    </a:lnTo>
                    <a:lnTo>
                      <a:pt x="530" y="308"/>
                    </a:lnTo>
                    <a:lnTo>
                      <a:pt x="530" y="308"/>
                    </a:lnTo>
                    <a:lnTo>
                      <a:pt x="535" y="313"/>
                    </a:lnTo>
                    <a:lnTo>
                      <a:pt x="538" y="319"/>
                    </a:lnTo>
                    <a:lnTo>
                      <a:pt x="540" y="325"/>
                    </a:lnTo>
                    <a:lnTo>
                      <a:pt x="541" y="331"/>
                    </a:lnTo>
                    <a:lnTo>
                      <a:pt x="540" y="337"/>
                    </a:lnTo>
                    <a:lnTo>
                      <a:pt x="539" y="343"/>
                    </a:lnTo>
                    <a:lnTo>
                      <a:pt x="536" y="347"/>
                    </a:lnTo>
                    <a:lnTo>
                      <a:pt x="532" y="353"/>
                    </a:lnTo>
                    <a:lnTo>
                      <a:pt x="527" y="356"/>
                    </a:lnTo>
                    <a:lnTo>
                      <a:pt x="523" y="359"/>
                    </a:lnTo>
                    <a:lnTo>
                      <a:pt x="516" y="360"/>
                    </a:lnTo>
                    <a:lnTo>
                      <a:pt x="511" y="361"/>
                    </a:lnTo>
                    <a:lnTo>
                      <a:pt x="505" y="360"/>
                    </a:lnTo>
                    <a:lnTo>
                      <a:pt x="499" y="359"/>
                    </a:lnTo>
                    <a:lnTo>
                      <a:pt x="494" y="356"/>
                    </a:lnTo>
                    <a:lnTo>
                      <a:pt x="490" y="353"/>
                    </a:lnTo>
                    <a:lnTo>
                      <a:pt x="486" y="349"/>
                    </a:lnTo>
                    <a:lnTo>
                      <a:pt x="483" y="343"/>
                    </a:lnTo>
                    <a:lnTo>
                      <a:pt x="481" y="337"/>
                    </a:lnTo>
                    <a:lnTo>
                      <a:pt x="481" y="331"/>
                    </a:lnTo>
                    <a:lnTo>
                      <a:pt x="481" y="325"/>
                    </a:lnTo>
                    <a:lnTo>
                      <a:pt x="483" y="320"/>
                    </a:lnTo>
                    <a:lnTo>
                      <a:pt x="486" y="314"/>
                    </a:lnTo>
                    <a:lnTo>
                      <a:pt x="490" y="310"/>
                    </a:lnTo>
                    <a:lnTo>
                      <a:pt x="494" y="307"/>
                    </a:lnTo>
                    <a:lnTo>
                      <a:pt x="499" y="304"/>
                    </a:lnTo>
                    <a:lnTo>
                      <a:pt x="505" y="301"/>
                    </a:lnTo>
                    <a:lnTo>
                      <a:pt x="511" y="301"/>
                    </a:lnTo>
                    <a:lnTo>
                      <a:pt x="511" y="301"/>
                    </a:lnTo>
                    <a:close/>
                    <a:moveTo>
                      <a:pt x="736" y="30"/>
                    </a:moveTo>
                    <a:lnTo>
                      <a:pt x="742" y="31"/>
                    </a:lnTo>
                    <a:lnTo>
                      <a:pt x="748" y="33"/>
                    </a:lnTo>
                    <a:lnTo>
                      <a:pt x="753" y="36"/>
                    </a:lnTo>
                    <a:lnTo>
                      <a:pt x="757" y="39"/>
                    </a:lnTo>
                    <a:lnTo>
                      <a:pt x="762" y="43"/>
                    </a:lnTo>
                    <a:lnTo>
                      <a:pt x="764" y="49"/>
                    </a:lnTo>
                    <a:lnTo>
                      <a:pt x="766" y="55"/>
                    </a:lnTo>
                    <a:lnTo>
                      <a:pt x="766" y="60"/>
                    </a:lnTo>
                    <a:lnTo>
                      <a:pt x="766" y="67"/>
                    </a:lnTo>
                    <a:lnTo>
                      <a:pt x="764" y="72"/>
                    </a:lnTo>
                    <a:lnTo>
                      <a:pt x="762" y="78"/>
                    </a:lnTo>
                    <a:lnTo>
                      <a:pt x="757" y="82"/>
                    </a:lnTo>
                    <a:lnTo>
                      <a:pt x="753" y="85"/>
                    </a:lnTo>
                    <a:lnTo>
                      <a:pt x="748" y="88"/>
                    </a:lnTo>
                    <a:lnTo>
                      <a:pt x="742" y="90"/>
                    </a:lnTo>
                    <a:lnTo>
                      <a:pt x="736" y="90"/>
                    </a:lnTo>
                    <a:lnTo>
                      <a:pt x="731" y="90"/>
                    </a:lnTo>
                    <a:lnTo>
                      <a:pt x="724" y="88"/>
                    </a:lnTo>
                    <a:lnTo>
                      <a:pt x="720" y="85"/>
                    </a:lnTo>
                    <a:lnTo>
                      <a:pt x="716" y="82"/>
                    </a:lnTo>
                    <a:lnTo>
                      <a:pt x="711" y="78"/>
                    </a:lnTo>
                    <a:lnTo>
                      <a:pt x="708" y="72"/>
                    </a:lnTo>
                    <a:lnTo>
                      <a:pt x="707" y="67"/>
                    </a:lnTo>
                    <a:lnTo>
                      <a:pt x="706" y="60"/>
                    </a:lnTo>
                    <a:lnTo>
                      <a:pt x="707" y="55"/>
                    </a:lnTo>
                    <a:lnTo>
                      <a:pt x="708" y="49"/>
                    </a:lnTo>
                    <a:lnTo>
                      <a:pt x="711" y="43"/>
                    </a:lnTo>
                    <a:lnTo>
                      <a:pt x="716" y="39"/>
                    </a:lnTo>
                    <a:lnTo>
                      <a:pt x="720" y="36"/>
                    </a:lnTo>
                    <a:lnTo>
                      <a:pt x="724" y="33"/>
                    </a:lnTo>
                    <a:lnTo>
                      <a:pt x="731" y="31"/>
                    </a:lnTo>
                    <a:lnTo>
                      <a:pt x="736" y="30"/>
                    </a:lnTo>
                    <a:lnTo>
                      <a:pt x="736" y="30"/>
                    </a:lnTo>
                    <a:close/>
                    <a:moveTo>
                      <a:pt x="60" y="496"/>
                    </a:moveTo>
                    <a:lnTo>
                      <a:pt x="66" y="496"/>
                    </a:lnTo>
                    <a:lnTo>
                      <a:pt x="72" y="495"/>
                    </a:lnTo>
                    <a:lnTo>
                      <a:pt x="77" y="494"/>
                    </a:lnTo>
                    <a:lnTo>
                      <a:pt x="84" y="492"/>
                    </a:lnTo>
                    <a:lnTo>
                      <a:pt x="89" y="489"/>
                    </a:lnTo>
                    <a:lnTo>
                      <a:pt x="93" y="487"/>
                    </a:lnTo>
                    <a:lnTo>
                      <a:pt x="98" y="482"/>
                    </a:lnTo>
                    <a:lnTo>
                      <a:pt x="102" y="479"/>
                    </a:lnTo>
                    <a:lnTo>
                      <a:pt x="106" y="475"/>
                    </a:lnTo>
                    <a:lnTo>
                      <a:pt x="109" y="470"/>
                    </a:lnTo>
                    <a:lnTo>
                      <a:pt x="113" y="465"/>
                    </a:lnTo>
                    <a:lnTo>
                      <a:pt x="115" y="460"/>
                    </a:lnTo>
                    <a:lnTo>
                      <a:pt x="117" y="455"/>
                    </a:lnTo>
                    <a:lnTo>
                      <a:pt x="119" y="448"/>
                    </a:lnTo>
                    <a:lnTo>
                      <a:pt x="120" y="443"/>
                    </a:lnTo>
                    <a:lnTo>
                      <a:pt x="120" y="436"/>
                    </a:lnTo>
                    <a:lnTo>
                      <a:pt x="119" y="429"/>
                    </a:lnTo>
                    <a:lnTo>
                      <a:pt x="118" y="422"/>
                    </a:lnTo>
                    <a:lnTo>
                      <a:pt x="116" y="416"/>
                    </a:lnTo>
                    <a:lnTo>
                      <a:pt x="114" y="410"/>
                    </a:lnTo>
                    <a:lnTo>
                      <a:pt x="251" y="291"/>
                    </a:lnTo>
                    <a:lnTo>
                      <a:pt x="259" y="295"/>
                    </a:lnTo>
                    <a:lnTo>
                      <a:pt x="267" y="298"/>
                    </a:lnTo>
                    <a:lnTo>
                      <a:pt x="276" y="300"/>
                    </a:lnTo>
                    <a:lnTo>
                      <a:pt x="285" y="301"/>
                    </a:lnTo>
                    <a:lnTo>
                      <a:pt x="292" y="300"/>
                    </a:lnTo>
                    <a:lnTo>
                      <a:pt x="300" y="299"/>
                    </a:lnTo>
                    <a:lnTo>
                      <a:pt x="306" y="297"/>
                    </a:lnTo>
                    <a:lnTo>
                      <a:pt x="313" y="294"/>
                    </a:lnTo>
                    <a:lnTo>
                      <a:pt x="318" y="291"/>
                    </a:lnTo>
                    <a:lnTo>
                      <a:pt x="325" y="286"/>
                    </a:lnTo>
                    <a:lnTo>
                      <a:pt x="329" y="282"/>
                    </a:lnTo>
                    <a:lnTo>
                      <a:pt x="333" y="277"/>
                    </a:lnTo>
                    <a:lnTo>
                      <a:pt x="451" y="324"/>
                    </a:lnTo>
                    <a:lnTo>
                      <a:pt x="451" y="327"/>
                    </a:lnTo>
                    <a:lnTo>
                      <a:pt x="451" y="331"/>
                    </a:lnTo>
                    <a:lnTo>
                      <a:pt x="451" y="338"/>
                    </a:lnTo>
                    <a:lnTo>
                      <a:pt x="452" y="343"/>
                    </a:lnTo>
                    <a:lnTo>
                      <a:pt x="453" y="350"/>
                    </a:lnTo>
                    <a:lnTo>
                      <a:pt x="455" y="355"/>
                    </a:lnTo>
                    <a:lnTo>
                      <a:pt x="457" y="360"/>
                    </a:lnTo>
                    <a:lnTo>
                      <a:pt x="461" y="365"/>
                    </a:lnTo>
                    <a:lnTo>
                      <a:pt x="464" y="370"/>
                    </a:lnTo>
                    <a:lnTo>
                      <a:pt x="468" y="374"/>
                    </a:lnTo>
                    <a:lnTo>
                      <a:pt x="472" y="377"/>
                    </a:lnTo>
                    <a:lnTo>
                      <a:pt x="477" y="381"/>
                    </a:lnTo>
                    <a:lnTo>
                      <a:pt x="482" y="384"/>
                    </a:lnTo>
                    <a:lnTo>
                      <a:pt x="487" y="387"/>
                    </a:lnTo>
                    <a:lnTo>
                      <a:pt x="493" y="388"/>
                    </a:lnTo>
                    <a:lnTo>
                      <a:pt x="498" y="390"/>
                    </a:lnTo>
                    <a:lnTo>
                      <a:pt x="505" y="391"/>
                    </a:lnTo>
                    <a:lnTo>
                      <a:pt x="511" y="391"/>
                    </a:lnTo>
                    <a:lnTo>
                      <a:pt x="517" y="391"/>
                    </a:lnTo>
                    <a:lnTo>
                      <a:pt x="523" y="390"/>
                    </a:lnTo>
                    <a:lnTo>
                      <a:pt x="529" y="388"/>
                    </a:lnTo>
                    <a:lnTo>
                      <a:pt x="535" y="387"/>
                    </a:lnTo>
                    <a:lnTo>
                      <a:pt x="540" y="384"/>
                    </a:lnTo>
                    <a:lnTo>
                      <a:pt x="544" y="381"/>
                    </a:lnTo>
                    <a:lnTo>
                      <a:pt x="550" y="377"/>
                    </a:lnTo>
                    <a:lnTo>
                      <a:pt x="554" y="373"/>
                    </a:lnTo>
                    <a:lnTo>
                      <a:pt x="557" y="370"/>
                    </a:lnTo>
                    <a:lnTo>
                      <a:pt x="560" y="365"/>
                    </a:lnTo>
                    <a:lnTo>
                      <a:pt x="564" y="360"/>
                    </a:lnTo>
                    <a:lnTo>
                      <a:pt x="567" y="355"/>
                    </a:lnTo>
                    <a:lnTo>
                      <a:pt x="568" y="350"/>
                    </a:lnTo>
                    <a:lnTo>
                      <a:pt x="570" y="343"/>
                    </a:lnTo>
                    <a:lnTo>
                      <a:pt x="571" y="338"/>
                    </a:lnTo>
                    <a:lnTo>
                      <a:pt x="571" y="331"/>
                    </a:lnTo>
                    <a:lnTo>
                      <a:pt x="570" y="322"/>
                    </a:lnTo>
                    <a:lnTo>
                      <a:pt x="568" y="312"/>
                    </a:lnTo>
                    <a:lnTo>
                      <a:pt x="565" y="304"/>
                    </a:lnTo>
                    <a:lnTo>
                      <a:pt x="559" y="296"/>
                    </a:lnTo>
                    <a:lnTo>
                      <a:pt x="710" y="115"/>
                    </a:lnTo>
                    <a:lnTo>
                      <a:pt x="717" y="117"/>
                    </a:lnTo>
                    <a:lnTo>
                      <a:pt x="723" y="119"/>
                    </a:lnTo>
                    <a:lnTo>
                      <a:pt x="730" y="120"/>
                    </a:lnTo>
                    <a:lnTo>
                      <a:pt x="736" y="120"/>
                    </a:lnTo>
                    <a:lnTo>
                      <a:pt x="742" y="120"/>
                    </a:lnTo>
                    <a:lnTo>
                      <a:pt x="749" y="119"/>
                    </a:lnTo>
                    <a:lnTo>
                      <a:pt x="754" y="118"/>
                    </a:lnTo>
                    <a:lnTo>
                      <a:pt x="760" y="116"/>
                    </a:lnTo>
                    <a:lnTo>
                      <a:pt x="765" y="114"/>
                    </a:lnTo>
                    <a:lnTo>
                      <a:pt x="770" y="111"/>
                    </a:lnTo>
                    <a:lnTo>
                      <a:pt x="775" y="106"/>
                    </a:lnTo>
                    <a:lnTo>
                      <a:pt x="779" y="103"/>
                    </a:lnTo>
                    <a:lnTo>
                      <a:pt x="783" y="99"/>
                    </a:lnTo>
                    <a:lnTo>
                      <a:pt x="786" y="95"/>
                    </a:lnTo>
                    <a:lnTo>
                      <a:pt x="790" y="89"/>
                    </a:lnTo>
                    <a:lnTo>
                      <a:pt x="792" y="84"/>
                    </a:lnTo>
                    <a:lnTo>
                      <a:pt x="794" y="79"/>
                    </a:lnTo>
                    <a:lnTo>
                      <a:pt x="795" y="73"/>
                    </a:lnTo>
                    <a:lnTo>
                      <a:pt x="796" y="67"/>
                    </a:lnTo>
                    <a:lnTo>
                      <a:pt x="796" y="60"/>
                    </a:lnTo>
                    <a:lnTo>
                      <a:pt x="796" y="54"/>
                    </a:lnTo>
                    <a:lnTo>
                      <a:pt x="795" y="49"/>
                    </a:lnTo>
                    <a:lnTo>
                      <a:pt x="794" y="43"/>
                    </a:lnTo>
                    <a:lnTo>
                      <a:pt x="792" y="37"/>
                    </a:lnTo>
                    <a:lnTo>
                      <a:pt x="790" y="31"/>
                    </a:lnTo>
                    <a:lnTo>
                      <a:pt x="786" y="27"/>
                    </a:lnTo>
                    <a:lnTo>
                      <a:pt x="783" y="23"/>
                    </a:lnTo>
                    <a:lnTo>
                      <a:pt x="779" y="19"/>
                    </a:lnTo>
                    <a:lnTo>
                      <a:pt x="775" y="14"/>
                    </a:lnTo>
                    <a:lnTo>
                      <a:pt x="770" y="11"/>
                    </a:lnTo>
                    <a:lnTo>
                      <a:pt x="765" y="8"/>
                    </a:lnTo>
                    <a:lnTo>
                      <a:pt x="760" y="5"/>
                    </a:lnTo>
                    <a:lnTo>
                      <a:pt x="754" y="4"/>
                    </a:lnTo>
                    <a:lnTo>
                      <a:pt x="749" y="1"/>
                    </a:lnTo>
                    <a:lnTo>
                      <a:pt x="742" y="0"/>
                    </a:lnTo>
                    <a:lnTo>
                      <a:pt x="736" y="0"/>
                    </a:lnTo>
                    <a:lnTo>
                      <a:pt x="731" y="0"/>
                    </a:lnTo>
                    <a:lnTo>
                      <a:pt x="724" y="1"/>
                    </a:lnTo>
                    <a:lnTo>
                      <a:pt x="719" y="4"/>
                    </a:lnTo>
                    <a:lnTo>
                      <a:pt x="712" y="5"/>
                    </a:lnTo>
                    <a:lnTo>
                      <a:pt x="708" y="8"/>
                    </a:lnTo>
                    <a:lnTo>
                      <a:pt x="703" y="11"/>
                    </a:lnTo>
                    <a:lnTo>
                      <a:pt x="698" y="14"/>
                    </a:lnTo>
                    <a:lnTo>
                      <a:pt x="694" y="19"/>
                    </a:lnTo>
                    <a:lnTo>
                      <a:pt x="690" y="22"/>
                    </a:lnTo>
                    <a:lnTo>
                      <a:pt x="687" y="27"/>
                    </a:lnTo>
                    <a:lnTo>
                      <a:pt x="683" y="31"/>
                    </a:lnTo>
                    <a:lnTo>
                      <a:pt x="681" y="37"/>
                    </a:lnTo>
                    <a:lnTo>
                      <a:pt x="679" y="43"/>
                    </a:lnTo>
                    <a:lnTo>
                      <a:pt x="677" y="49"/>
                    </a:lnTo>
                    <a:lnTo>
                      <a:pt x="676" y="54"/>
                    </a:lnTo>
                    <a:lnTo>
                      <a:pt x="676" y="60"/>
                    </a:lnTo>
                    <a:lnTo>
                      <a:pt x="677" y="70"/>
                    </a:lnTo>
                    <a:lnTo>
                      <a:pt x="679" y="80"/>
                    </a:lnTo>
                    <a:lnTo>
                      <a:pt x="682" y="88"/>
                    </a:lnTo>
                    <a:lnTo>
                      <a:pt x="688" y="96"/>
                    </a:lnTo>
                    <a:lnTo>
                      <a:pt x="537" y="277"/>
                    </a:lnTo>
                    <a:lnTo>
                      <a:pt x="530" y="275"/>
                    </a:lnTo>
                    <a:lnTo>
                      <a:pt x="524" y="272"/>
                    </a:lnTo>
                    <a:lnTo>
                      <a:pt x="517" y="271"/>
                    </a:lnTo>
                    <a:lnTo>
                      <a:pt x="511" y="271"/>
                    </a:lnTo>
                    <a:lnTo>
                      <a:pt x="504" y="271"/>
                    </a:lnTo>
                    <a:lnTo>
                      <a:pt x="496" y="272"/>
                    </a:lnTo>
                    <a:lnTo>
                      <a:pt x="490" y="275"/>
                    </a:lnTo>
                    <a:lnTo>
                      <a:pt x="483" y="278"/>
                    </a:lnTo>
                    <a:lnTo>
                      <a:pt x="478" y="281"/>
                    </a:lnTo>
                    <a:lnTo>
                      <a:pt x="472" y="285"/>
                    </a:lnTo>
                    <a:lnTo>
                      <a:pt x="467" y="291"/>
                    </a:lnTo>
                    <a:lnTo>
                      <a:pt x="463" y="296"/>
                    </a:lnTo>
                    <a:lnTo>
                      <a:pt x="345" y="249"/>
                    </a:lnTo>
                    <a:lnTo>
                      <a:pt x="345" y="245"/>
                    </a:lnTo>
                    <a:lnTo>
                      <a:pt x="345" y="241"/>
                    </a:lnTo>
                    <a:lnTo>
                      <a:pt x="345" y="235"/>
                    </a:lnTo>
                    <a:lnTo>
                      <a:pt x="344" y="229"/>
                    </a:lnTo>
                    <a:lnTo>
                      <a:pt x="343" y="223"/>
                    </a:lnTo>
                    <a:lnTo>
                      <a:pt x="341" y="218"/>
                    </a:lnTo>
                    <a:lnTo>
                      <a:pt x="339" y="212"/>
                    </a:lnTo>
                    <a:lnTo>
                      <a:pt x="335" y="207"/>
                    </a:lnTo>
                    <a:lnTo>
                      <a:pt x="332" y="203"/>
                    </a:lnTo>
                    <a:lnTo>
                      <a:pt x="328" y="199"/>
                    </a:lnTo>
                    <a:lnTo>
                      <a:pt x="324" y="194"/>
                    </a:lnTo>
                    <a:lnTo>
                      <a:pt x="319" y="191"/>
                    </a:lnTo>
                    <a:lnTo>
                      <a:pt x="314" y="188"/>
                    </a:lnTo>
                    <a:lnTo>
                      <a:pt x="309" y="186"/>
                    </a:lnTo>
                    <a:lnTo>
                      <a:pt x="303" y="184"/>
                    </a:lnTo>
                    <a:lnTo>
                      <a:pt x="298" y="182"/>
                    </a:lnTo>
                    <a:lnTo>
                      <a:pt x="291" y="181"/>
                    </a:lnTo>
                    <a:lnTo>
                      <a:pt x="285" y="180"/>
                    </a:lnTo>
                    <a:lnTo>
                      <a:pt x="280" y="181"/>
                    </a:lnTo>
                    <a:lnTo>
                      <a:pt x="273" y="182"/>
                    </a:lnTo>
                    <a:lnTo>
                      <a:pt x="268" y="184"/>
                    </a:lnTo>
                    <a:lnTo>
                      <a:pt x="261" y="186"/>
                    </a:lnTo>
                    <a:lnTo>
                      <a:pt x="257" y="188"/>
                    </a:lnTo>
                    <a:lnTo>
                      <a:pt x="252" y="191"/>
                    </a:lnTo>
                    <a:lnTo>
                      <a:pt x="247" y="194"/>
                    </a:lnTo>
                    <a:lnTo>
                      <a:pt x="243" y="199"/>
                    </a:lnTo>
                    <a:lnTo>
                      <a:pt x="239" y="203"/>
                    </a:lnTo>
                    <a:lnTo>
                      <a:pt x="236" y="207"/>
                    </a:lnTo>
                    <a:lnTo>
                      <a:pt x="232" y="212"/>
                    </a:lnTo>
                    <a:lnTo>
                      <a:pt x="230" y="218"/>
                    </a:lnTo>
                    <a:lnTo>
                      <a:pt x="228" y="223"/>
                    </a:lnTo>
                    <a:lnTo>
                      <a:pt x="226" y="229"/>
                    </a:lnTo>
                    <a:lnTo>
                      <a:pt x="225" y="235"/>
                    </a:lnTo>
                    <a:lnTo>
                      <a:pt x="225" y="241"/>
                    </a:lnTo>
                    <a:lnTo>
                      <a:pt x="226" y="248"/>
                    </a:lnTo>
                    <a:lnTo>
                      <a:pt x="227" y="255"/>
                    </a:lnTo>
                    <a:lnTo>
                      <a:pt x="229" y="262"/>
                    </a:lnTo>
                    <a:lnTo>
                      <a:pt x="231" y="267"/>
                    </a:lnTo>
                    <a:lnTo>
                      <a:pt x="94" y="387"/>
                    </a:lnTo>
                    <a:lnTo>
                      <a:pt x="86" y="383"/>
                    </a:lnTo>
                    <a:lnTo>
                      <a:pt x="78" y="380"/>
                    </a:lnTo>
                    <a:lnTo>
                      <a:pt x="69" y="377"/>
                    </a:lnTo>
                    <a:lnTo>
                      <a:pt x="60" y="376"/>
                    </a:lnTo>
                    <a:lnTo>
                      <a:pt x="54" y="376"/>
                    </a:lnTo>
                    <a:lnTo>
                      <a:pt x="47" y="377"/>
                    </a:lnTo>
                    <a:lnTo>
                      <a:pt x="42" y="379"/>
                    </a:lnTo>
                    <a:lnTo>
                      <a:pt x="36" y="381"/>
                    </a:lnTo>
                    <a:lnTo>
                      <a:pt x="31" y="384"/>
                    </a:lnTo>
                    <a:lnTo>
                      <a:pt x="26" y="387"/>
                    </a:lnTo>
                    <a:lnTo>
                      <a:pt x="21" y="390"/>
                    </a:lnTo>
                    <a:lnTo>
                      <a:pt x="17" y="394"/>
                    </a:lnTo>
                    <a:lnTo>
                      <a:pt x="13" y="398"/>
                    </a:lnTo>
                    <a:lnTo>
                      <a:pt x="10" y="403"/>
                    </a:lnTo>
                    <a:lnTo>
                      <a:pt x="6" y="407"/>
                    </a:lnTo>
                    <a:lnTo>
                      <a:pt x="4" y="413"/>
                    </a:lnTo>
                    <a:lnTo>
                      <a:pt x="2" y="418"/>
                    </a:lnTo>
                    <a:lnTo>
                      <a:pt x="1" y="425"/>
                    </a:lnTo>
                    <a:lnTo>
                      <a:pt x="0" y="430"/>
                    </a:lnTo>
                    <a:lnTo>
                      <a:pt x="0" y="436"/>
                    </a:lnTo>
                    <a:lnTo>
                      <a:pt x="0" y="443"/>
                    </a:lnTo>
                    <a:lnTo>
                      <a:pt x="1" y="448"/>
                    </a:lnTo>
                    <a:lnTo>
                      <a:pt x="2" y="455"/>
                    </a:lnTo>
                    <a:lnTo>
                      <a:pt x="4" y="460"/>
                    </a:lnTo>
                    <a:lnTo>
                      <a:pt x="6" y="465"/>
                    </a:lnTo>
                    <a:lnTo>
                      <a:pt x="10" y="470"/>
                    </a:lnTo>
                    <a:lnTo>
                      <a:pt x="13" y="475"/>
                    </a:lnTo>
                    <a:lnTo>
                      <a:pt x="17" y="479"/>
                    </a:lnTo>
                    <a:lnTo>
                      <a:pt x="21" y="482"/>
                    </a:lnTo>
                    <a:lnTo>
                      <a:pt x="26" y="487"/>
                    </a:lnTo>
                    <a:lnTo>
                      <a:pt x="31" y="489"/>
                    </a:lnTo>
                    <a:lnTo>
                      <a:pt x="36" y="492"/>
                    </a:lnTo>
                    <a:lnTo>
                      <a:pt x="42" y="494"/>
                    </a:lnTo>
                    <a:lnTo>
                      <a:pt x="47" y="495"/>
                    </a:lnTo>
                    <a:lnTo>
                      <a:pt x="54" y="496"/>
                    </a:lnTo>
                    <a:lnTo>
                      <a:pt x="60" y="49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92" name="Group 191"/>
            <p:cNvGrpSpPr/>
            <p:nvPr/>
          </p:nvGrpSpPr>
          <p:grpSpPr>
            <a:xfrm>
              <a:off x="1583511" y="4423714"/>
              <a:ext cx="284163" cy="284162"/>
              <a:chOff x="11033125" y="1349375"/>
              <a:chExt cx="284163" cy="284162"/>
            </a:xfrm>
            <a:solidFill>
              <a:srgbClr val="4CC7C4"/>
            </a:solidFill>
          </p:grpSpPr>
          <p:sp>
            <p:nvSpPr>
              <p:cNvPr id="193" name="Freeform 331"/>
              <p:cNvSpPr>
                <a:spLocks noEditPoints="1"/>
              </p:cNvSpPr>
              <p:nvPr/>
            </p:nvSpPr>
            <p:spPr bwMode="auto">
              <a:xfrm>
                <a:off x="11133138" y="1385888"/>
                <a:ext cx="84138" cy="77787"/>
              </a:xfrm>
              <a:custGeom>
                <a:avLst/>
                <a:gdLst>
                  <a:gd name="T0" fmla="*/ 167 w 268"/>
                  <a:gd name="T1" fmla="*/ 133 h 246"/>
                  <a:gd name="T2" fmla="*/ 164 w 268"/>
                  <a:gd name="T3" fmla="*/ 142 h 246"/>
                  <a:gd name="T4" fmla="*/ 178 w 268"/>
                  <a:gd name="T5" fmla="*/ 188 h 246"/>
                  <a:gd name="T6" fmla="*/ 139 w 268"/>
                  <a:gd name="T7" fmla="*/ 157 h 246"/>
                  <a:gd name="T8" fmla="*/ 129 w 268"/>
                  <a:gd name="T9" fmla="*/ 157 h 246"/>
                  <a:gd name="T10" fmla="*/ 90 w 268"/>
                  <a:gd name="T11" fmla="*/ 188 h 246"/>
                  <a:gd name="T12" fmla="*/ 105 w 268"/>
                  <a:gd name="T13" fmla="*/ 142 h 246"/>
                  <a:gd name="T14" fmla="*/ 101 w 268"/>
                  <a:gd name="T15" fmla="*/ 133 h 246"/>
                  <a:gd name="T16" fmla="*/ 58 w 268"/>
                  <a:gd name="T17" fmla="*/ 97 h 246"/>
                  <a:gd name="T18" fmla="*/ 109 w 268"/>
                  <a:gd name="T19" fmla="*/ 96 h 246"/>
                  <a:gd name="T20" fmla="*/ 115 w 268"/>
                  <a:gd name="T21" fmla="*/ 91 h 246"/>
                  <a:gd name="T22" fmla="*/ 133 w 268"/>
                  <a:gd name="T23" fmla="*/ 52 h 246"/>
                  <a:gd name="T24" fmla="*/ 153 w 268"/>
                  <a:gd name="T25" fmla="*/ 91 h 246"/>
                  <a:gd name="T26" fmla="*/ 160 w 268"/>
                  <a:gd name="T27" fmla="*/ 96 h 246"/>
                  <a:gd name="T28" fmla="*/ 212 w 268"/>
                  <a:gd name="T29" fmla="*/ 97 h 246"/>
                  <a:gd name="T30" fmla="*/ 254 w 268"/>
                  <a:gd name="T31" fmla="*/ 67 h 246"/>
                  <a:gd name="T32" fmla="*/ 146 w 268"/>
                  <a:gd name="T33" fmla="*/ 9 h 246"/>
                  <a:gd name="T34" fmla="*/ 141 w 268"/>
                  <a:gd name="T35" fmla="*/ 3 h 246"/>
                  <a:gd name="T36" fmla="*/ 132 w 268"/>
                  <a:gd name="T37" fmla="*/ 0 h 246"/>
                  <a:gd name="T38" fmla="*/ 125 w 268"/>
                  <a:gd name="T39" fmla="*/ 3 h 246"/>
                  <a:gd name="T40" fmla="*/ 120 w 268"/>
                  <a:gd name="T41" fmla="*/ 9 h 246"/>
                  <a:gd name="T42" fmla="*/ 15 w 268"/>
                  <a:gd name="T43" fmla="*/ 67 h 246"/>
                  <a:gd name="T44" fmla="*/ 6 w 268"/>
                  <a:gd name="T45" fmla="*/ 69 h 246"/>
                  <a:gd name="T46" fmla="*/ 1 w 268"/>
                  <a:gd name="T47" fmla="*/ 76 h 246"/>
                  <a:gd name="T48" fmla="*/ 0 w 268"/>
                  <a:gd name="T49" fmla="*/ 86 h 246"/>
                  <a:gd name="T50" fmla="*/ 5 w 268"/>
                  <a:gd name="T51" fmla="*/ 93 h 246"/>
                  <a:gd name="T52" fmla="*/ 46 w 268"/>
                  <a:gd name="T53" fmla="*/ 226 h 246"/>
                  <a:gd name="T54" fmla="*/ 46 w 268"/>
                  <a:gd name="T55" fmla="*/ 236 h 246"/>
                  <a:gd name="T56" fmla="*/ 51 w 268"/>
                  <a:gd name="T57" fmla="*/ 243 h 246"/>
                  <a:gd name="T58" fmla="*/ 60 w 268"/>
                  <a:gd name="T59" fmla="*/ 246 h 246"/>
                  <a:gd name="T60" fmla="*/ 69 w 268"/>
                  <a:gd name="T61" fmla="*/ 242 h 246"/>
                  <a:gd name="T62" fmla="*/ 200 w 268"/>
                  <a:gd name="T63" fmla="*/ 242 h 246"/>
                  <a:gd name="T64" fmla="*/ 209 w 268"/>
                  <a:gd name="T65" fmla="*/ 246 h 246"/>
                  <a:gd name="T66" fmla="*/ 218 w 268"/>
                  <a:gd name="T67" fmla="*/ 243 h 246"/>
                  <a:gd name="T68" fmla="*/ 223 w 268"/>
                  <a:gd name="T69" fmla="*/ 236 h 246"/>
                  <a:gd name="T70" fmla="*/ 223 w 268"/>
                  <a:gd name="T71" fmla="*/ 226 h 246"/>
                  <a:gd name="T72" fmla="*/ 263 w 268"/>
                  <a:gd name="T73" fmla="*/ 93 h 246"/>
                  <a:gd name="T74" fmla="*/ 268 w 268"/>
                  <a:gd name="T75" fmla="*/ 86 h 246"/>
                  <a:gd name="T76" fmla="*/ 268 w 268"/>
                  <a:gd name="T77" fmla="*/ 76 h 246"/>
                  <a:gd name="T78" fmla="*/ 263 w 268"/>
                  <a:gd name="T79" fmla="*/ 69 h 246"/>
                  <a:gd name="T80" fmla="*/ 254 w 268"/>
                  <a:gd name="T81" fmla="*/ 67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68" h="246">
                    <a:moveTo>
                      <a:pt x="170" y="130"/>
                    </a:moveTo>
                    <a:lnTo>
                      <a:pt x="167" y="133"/>
                    </a:lnTo>
                    <a:lnTo>
                      <a:pt x="164" y="137"/>
                    </a:lnTo>
                    <a:lnTo>
                      <a:pt x="164" y="142"/>
                    </a:lnTo>
                    <a:lnTo>
                      <a:pt x="164" y="146"/>
                    </a:lnTo>
                    <a:lnTo>
                      <a:pt x="178" y="188"/>
                    </a:lnTo>
                    <a:lnTo>
                      <a:pt x="143" y="160"/>
                    </a:lnTo>
                    <a:lnTo>
                      <a:pt x="139" y="157"/>
                    </a:lnTo>
                    <a:lnTo>
                      <a:pt x="135" y="157"/>
                    </a:lnTo>
                    <a:lnTo>
                      <a:pt x="129" y="157"/>
                    </a:lnTo>
                    <a:lnTo>
                      <a:pt x="125" y="160"/>
                    </a:lnTo>
                    <a:lnTo>
                      <a:pt x="90" y="188"/>
                    </a:lnTo>
                    <a:lnTo>
                      <a:pt x="104" y="146"/>
                    </a:lnTo>
                    <a:lnTo>
                      <a:pt x="105" y="142"/>
                    </a:lnTo>
                    <a:lnTo>
                      <a:pt x="104" y="137"/>
                    </a:lnTo>
                    <a:lnTo>
                      <a:pt x="101" y="133"/>
                    </a:lnTo>
                    <a:lnTo>
                      <a:pt x="98" y="130"/>
                    </a:lnTo>
                    <a:lnTo>
                      <a:pt x="58" y="97"/>
                    </a:lnTo>
                    <a:lnTo>
                      <a:pt x="105" y="97"/>
                    </a:lnTo>
                    <a:lnTo>
                      <a:pt x="109" y="96"/>
                    </a:lnTo>
                    <a:lnTo>
                      <a:pt x="112" y="93"/>
                    </a:lnTo>
                    <a:lnTo>
                      <a:pt x="115" y="91"/>
                    </a:lnTo>
                    <a:lnTo>
                      <a:pt x="118" y="87"/>
                    </a:lnTo>
                    <a:lnTo>
                      <a:pt x="133" y="52"/>
                    </a:lnTo>
                    <a:lnTo>
                      <a:pt x="151" y="88"/>
                    </a:lnTo>
                    <a:lnTo>
                      <a:pt x="153" y="91"/>
                    </a:lnTo>
                    <a:lnTo>
                      <a:pt x="156" y="94"/>
                    </a:lnTo>
                    <a:lnTo>
                      <a:pt x="160" y="96"/>
                    </a:lnTo>
                    <a:lnTo>
                      <a:pt x="164" y="97"/>
                    </a:lnTo>
                    <a:lnTo>
                      <a:pt x="212" y="97"/>
                    </a:lnTo>
                    <a:lnTo>
                      <a:pt x="170" y="130"/>
                    </a:lnTo>
                    <a:close/>
                    <a:moveTo>
                      <a:pt x="254" y="67"/>
                    </a:moveTo>
                    <a:lnTo>
                      <a:pt x="174" y="67"/>
                    </a:lnTo>
                    <a:lnTo>
                      <a:pt x="146" y="9"/>
                    </a:lnTo>
                    <a:lnTo>
                      <a:pt x="144" y="5"/>
                    </a:lnTo>
                    <a:lnTo>
                      <a:pt x="141" y="3"/>
                    </a:lnTo>
                    <a:lnTo>
                      <a:pt x="138" y="0"/>
                    </a:lnTo>
                    <a:lnTo>
                      <a:pt x="132" y="0"/>
                    </a:lnTo>
                    <a:lnTo>
                      <a:pt x="129" y="0"/>
                    </a:lnTo>
                    <a:lnTo>
                      <a:pt x="125" y="3"/>
                    </a:lnTo>
                    <a:lnTo>
                      <a:pt x="122" y="6"/>
                    </a:lnTo>
                    <a:lnTo>
                      <a:pt x="120" y="9"/>
                    </a:lnTo>
                    <a:lnTo>
                      <a:pt x="95" y="67"/>
                    </a:lnTo>
                    <a:lnTo>
                      <a:pt x="15" y="67"/>
                    </a:lnTo>
                    <a:lnTo>
                      <a:pt x="10" y="67"/>
                    </a:lnTo>
                    <a:lnTo>
                      <a:pt x="6" y="69"/>
                    </a:lnTo>
                    <a:lnTo>
                      <a:pt x="3" y="72"/>
                    </a:lnTo>
                    <a:lnTo>
                      <a:pt x="1" y="76"/>
                    </a:lnTo>
                    <a:lnTo>
                      <a:pt x="0" y="81"/>
                    </a:lnTo>
                    <a:lnTo>
                      <a:pt x="0" y="86"/>
                    </a:lnTo>
                    <a:lnTo>
                      <a:pt x="2" y="89"/>
                    </a:lnTo>
                    <a:lnTo>
                      <a:pt x="5" y="93"/>
                    </a:lnTo>
                    <a:lnTo>
                      <a:pt x="71" y="146"/>
                    </a:lnTo>
                    <a:lnTo>
                      <a:pt x="46" y="226"/>
                    </a:lnTo>
                    <a:lnTo>
                      <a:pt x="45" y="231"/>
                    </a:lnTo>
                    <a:lnTo>
                      <a:pt x="46" y="236"/>
                    </a:lnTo>
                    <a:lnTo>
                      <a:pt x="48" y="240"/>
                    </a:lnTo>
                    <a:lnTo>
                      <a:pt x="51" y="243"/>
                    </a:lnTo>
                    <a:lnTo>
                      <a:pt x="55" y="245"/>
                    </a:lnTo>
                    <a:lnTo>
                      <a:pt x="60" y="246"/>
                    </a:lnTo>
                    <a:lnTo>
                      <a:pt x="65" y="245"/>
                    </a:lnTo>
                    <a:lnTo>
                      <a:pt x="69" y="242"/>
                    </a:lnTo>
                    <a:lnTo>
                      <a:pt x="135" y="190"/>
                    </a:lnTo>
                    <a:lnTo>
                      <a:pt x="200" y="242"/>
                    </a:lnTo>
                    <a:lnTo>
                      <a:pt x="204" y="245"/>
                    </a:lnTo>
                    <a:lnTo>
                      <a:pt x="209" y="246"/>
                    </a:lnTo>
                    <a:lnTo>
                      <a:pt x="214" y="245"/>
                    </a:lnTo>
                    <a:lnTo>
                      <a:pt x="218" y="243"/>
                    </a:lnTo>
                    <a:lnTo>
                      <a:pt x="221" y="240"/>
                    </a:lnTo>
                    <a:lnTo>
                      <a:pt x="223" y="236"/>
                    </a:lnTo>
                    <a:lnTo>
                      <a:pt x="224" y="231"/>
                    </a:lnTo>
                    <a:lnTo>
                      <a:pt x="223" y="226"/>
                    </a:lnTo>
                    <a:lnTo>
                      <a:pt x="197" y="146"/>
                    </a:lnTo>
                    <a:lnTo>
                      <a:pt x="263" y="93"/>
                    </a:lnTo>
                    <a:lnTo>
                      <a:pt x="266" y="89"/>
                    </a:lnTo>
                    <a:lnTo>
                      <a:pt x="268" y="86"/>
                    </a:lnTo>
                    <a:lnTo>
                      <a:pt x="268" y="81"/>
                    </a:lnTo>
                    <a:lnTo>
                      <a:pt x="268" y="76"/>
                    </a:lnTo>
                    <a:lnTo>
                      <a:pt x="266" y="72"/>
                    </a:lnTo>
                    <a:lnTo>
                      <a:pt x="263" y="69"/>
                    </a:lnTo>
                    <a:lnTo>
                      <a:pt x="259" y="67"/>
                    </a:lnTo>
                    <a:lnTo>
                      <a:pt x="254" y="67"/>
                    </a:lnTo>
                    <a:lnTo>
                      <a:pt x="254" y="6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4" name="Freeform 332"/>
              <p:cNvSpPr>
                <a:spLocks noEditPoints="1"/>
              </p:cNvSpPr>
              <p:nvPr/>
            </p:nvSpPr>
            <p:spPr bwMode="auto">
              <a:xfrm>
                <a:off x="11033125" y="1349375"/>
                <a:ext cx="284163" cy="284162"/>
              </a:xfrm>
              <a:custGeom>
                <a:avLst/>
                <a:gdLst>
                  <a:gd name="T0" fmla="*/ 794 w 898"/>
                  <a:gd name="T1" fmla="*/ 181 h 897"/>
                  <a:gd name="T2" fmla="*/ 861 w 898"/>
                  <a:gd name="T3" fmla="*/ 209 h 897"/>
                  <a:gd name="T4" fmla="*/ 817 w 898"/>
                  <a:gd name="T5" fmla="*/ 324 h 897"/>
                  <a:gd name="T6" fmla="*/ 756 w 898"/>
                  <a:gd name="T7" fmla="*/ 367 h 897"/>
                  <a:gd name="T8" fmla="*/ 527 w 898"/>
                  <a:gd name="T9" fmla="*/ 521 h 897"/>
                  <a:gd name="T10" fmla="*/ 479 w 898"/>
                  <a:gd name="T11" fmla="*/ 583 h 897"/>
                  <a:gd name="T12" fmla="*/ 476 w 898"/>
                  <a:gd name="T13" fmla="*/ 697 h 897"/>
                  <a:gd name="T14" fmla="*/ 533 w 898"/>
                  <a:gd name="T15" fmla="*/ 793 h 897"/>
                  <a:gd name="T16" fmla="*/ 628 w 898"/>
                  <a:gd name="T17" fmla="*/ 867 h 897"/>
                  <a:gd name="T18" fmla="*/ 354 w 898"/>
                  <a:gd name="T19" fmla="*/ 803 h 897"/>
                  <a:gd name="T20" fmla="*/ 415 w 898"/>
                  <a:gd name="T21" fmla="*/ 720 h 897"/>
                  <a:gd name="T22" fmla="*/ 421 w 898"/>
                  <a:gd name="T23" fmla="*/ 595 h 897"/>
                  <a:gd name="T24" fmla="*/ 379 w 898"/>
                  <a:gd name="T25" fmla="*/ 528 h 897"/>
                  <a:gd name="T26" fmla="*/ 275 w 898"/>
                  <a:gd name="T27" fmla="*/ 460 h 897"/>
                  <a:gd name="T28" fmla="*/ 195 w 898"/>
                  <a:gd name="T29" fmla="*/ 371 h 897"/>
                  <a:gd name="T30" fmla="*/ 151 w 898"/>
                  <a:gd name="T31" fmla="*/ 260 h 897"/>
                  <a:gd name="T32" fmla="*/ 127 w 898"/>
                  <a:gd name="T33" fmla="*/ 91 h 897"/>
                  <a:gd name="T34" fmla="*/ 767 w 898"/>
                  <a:gd name="T35" fmla="*/ 145 h 897"/>
                  <a:gd name="T36" fmla="*/ 737 w 898"/>
                  <a:gd name="T37" fmla="*/ 296 h 897"/>
                  <a:gd name="T38" fmla="*/ 688 w 898"/>
                  <a:gd name="T39" fmla="*/ 393 h 897"/>
                  <a:gd name="T40" fmla="*/ 590 w 898"/>
                  <a:gd name="T41" fmla="*/ 480 h 897"/>
                  <a:gd name="T42" fmla="*/ 54 w 898"/>
                  <a:gd name="T43" fmla="*/ 280 h 897"/>
                  <a:gd name="T44" fmla="*/ 30 w 898"/>
                  <a:gd name="T45" fmla="*/ 116 h 897"/>
                  <a:gd name="T46" fmla="*/ 112 w 898"/>
                  <a:gd name="T47" fmla="*/ 221 h 897"/>
                  <a:gd name="T48" fmla="*/ 140 w 898"/>
                  <a:gd name="T49" fmla="*/ 367 h 897"/>
                  <a:gd name="T50" fmla="*/ 89 w 898"/>
                  <a:gd name="T51" fmla="*/ 336 h 897"/>
                  <a:gd name="T52" fmla="*/ 893 w 898"/>
                  <a:gd name="T53" fmla="*/ 64 h 897"/>
                  <a:gd name="T54" fmla="*/ 803 w 898"/>
                  <a:gd name="T55" fmla="*/ 37 h 897"/>
                  <a:gd name="T56" fmla="*/ 797 w 898"/>
                  <a:gd name="T57" fmla="*/ 2 h 897"/>
                  <a:gd name="T58" fmla="*/ 102 w 898"/>
                  <a:gd name="T59" fmla="*/ 2 h 897"/>
                  <a:gd name="T60" fmla="*/ 96 w 898"/>
                  <a:gd name="T61" fmla="*/ 37 h 897"/>
                  <a:gd name="T62" fmla="*/ 5 w 898"/>
                  <a:gd name="T63" fmla="*/ 64 h 897"/>
                  <a:gd name="T64" fmla="*/ 0 w 898"/>
                  <a:gd name="T65" fmla="*/ 117 h 897"/>
                  <a:gd name="T66" fmla="*/ 15 w 898"/>
                  <a:gd name="T67" fmla="*/ 258 h 897"/>
                  <a:gd name="T68" fmla="*/ 80 w 898"/>
                  <a:gd name="T69" fmla="*/ 368 h 897"/>
                  <a:gd name="T70" fmla="*/ 179 w 898"/>
                  <a:gd name="T71" fmla="*/ 403 h 897"/>
                  <a:gd name="T72" fmla="*/ 293 w 898"/>
                  <a:gd name="T73" fmla="*/ 507 h 897"/>
                  <a:gd name="T74" fmla="*/ 371 w 898"/>
                  <a:gd name="T75" fmla="*/ 564 h 897"/>
                  <a:gd name="T76" fmla="*/ 395 w 898"/>
                  <a:gd name="T77" fmla="*/ 625 h 897"/>
                  <a:gd name="T78" fmla="*/ 374 w 898"/>
                  <a:gd name="T79" fmla="*/ 743 h 897"/>
                  <a:gd name="T80" fmla="*/ 301 w 898"/>
                  <a:gd name="T81" fmla="*/ 789 h 897"/>
                  <a:gd name="T82" fmla="*/ 244 w 898"/>
                  <a:gd name="T83" fmla="*/ 797 h 897"/>
                  <a:gd name="T84" fmla="*/ 241 w 898"/>
                  <a:gd name="T85" fmla="*/ 888 h 897"/>
                  <a:gd name="T86" fmla="*/ 643 w 898"/>
                  <a:gd name="T87" fmla="*/ 897 h 897"/>
                  <a:gd name="T88" fmla="*/ 658 w 898"/>
                  <a:gd name="T89" fmla="*/ 886 h 897"/>
                  <a:gd name="T90" fmla="*/ 652 w 898"/>
                  <a:gd name="T91" fmla="*/ 795 h 897"/>
                  <a:gd name="T92" fmla="*/ 580 w 898"/>
                  <a:gd name="T93" fmla="*/ 783 h 897"/>
                  <a:gd name="T94" fmla="*/ 515 w 898"/>
                  <a:gd name="T95" fmla="*/ 720 h 897"/>
                  <a:gd name="T96" fmla="*/ 502 w 898"/>
                  <a:gd name="T97" fmla="*/ 614 h 897"/>
                  <a:gd name="T98" fmla="*/ 531 w 898"/>
                  <a:gd name="T99" fmla="*/ 556 h 897"/>
                  <a:gd name="T100" fmla="*/ 621 w 898"/>
                  <a:gd name="T101" fmla="*/ 496 h 897"/>
                  <a:gd name="T102" fmla="*/ 734 w 898"/>
                  <a:gd name="T103" fmla="*/ 402 h 897"/>
                  <a:gd name="T104" fmla="*/ 827 w 898"/>
                  <a:gd name="T105" fmla="*/ 357 h 897"/>
                  <a:gd name="T106" fmla="*/ 876 w 898"/>
                  <a:gd name="T107" fmla="*/ 272 h 897"/>
                  <a:gd name="T108" fmla="*/ 898 w 898"/>
                  <a:gd name="T109" fmla="*/ 140 h 8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898" h="897">
                    <a:moveTo>
                      <a:pt x="737" y="371"/>
                    </a:moveTo>
                    <a:lnTo>
                      <a:pt x="749" y="348"/>
                    </a:lnTo>
                    <a:lnTo>
                      <a:pt x="761" y="320"/>
                    </a:lnTo>
                    <a:lnTo>
                      <a:pt x="770" y="290"/>
                    </a:lnTo>
                    <a:lnTo>
                      <a:pt x="779" y="258"/>
                    </a:lnTo>
                    <a:lnTo>
                      <a:pt x="787" y="221"/>
                    </a:lnTo>
                    <a:lnTo>
                      <a:pt x="794" y="181"/>
                    </a:lnTo>
                    <a:lnTo>
                      <a:pt x="798" y="137"/>
                    </a:lnTo>
                    <a:lnTo>
                      <a:pt x="801" y="90"/>
                    </a:lnTo>
                    <a:lnTo>
                      <a:pt x="868" y="90"/>
                    </a:lnTo>
                    <a:lnTo>
                      <a:pt x="868" y="113"/>
                    </a:lnTo>
                    <a:lnTo>
                      <a:pt x="868" y="141"/>
                    </a:lnTo>
                    <a:lnTo>
                      <a:pt x="866" y="174"/>
                    </a:lnTo>
                    <a:lnTo>
                      <a:pt x="861" y="209"/>
                    </a:lnTo>
                    <a:lnTo>
                      <a:pt x="858" y="227"/>
                    </a:lnTo>
                    <a:lnTo>
                      <a:pt x="854" y="244"/>
                    </a:lnTo>
                    <a:lnTo>
                      <a:pt x="848" y="261"/>
                    </a:lnTo>
                    <a:lnTo>
                      <a:pt x="842" y="278"/>
                    </a:lnTo>
                    <a:lnTo>
                      <a:pt x="836" y="294"/>
                    </a:lnTo>
                    <a:lnTo>
                      <a:pt x="827" y="309"/>
                    </a:lnTo>
                    <a:lnTo>
                      <a:pt x="817" y="324"/>
                    </a:lnTo>
                    <a:lnTo>
                      <a:pt x="806" y="337"/>
                    </a:lnTo>
                    <a:lnTo>
                      <a:pt x="798" y="343"/>
                    </a:lnTo>
                    <a:lnTo>
                      <a:pt x="791" y="350"/>
                    </a:lnTo>
                    <a:lnTo>
                      <a:pt x="783" y="355"/>
                    </a:lnTo>
                    <a:lnTo>
                      <a:pt x="775" y="359"/>
                    </a:lnTo>
                    <a:lnTo>
                      <a:pt x="766" y="364"/>
                    </a:lnTo>
                    <a:lnTo>
                      <a:pt x="756" y="367"/>
                    </a:lnTo>
                    <a:lnTo>
                      <a:pt x="747" y="370"/>
                    </a:lnTo>
                    <a:lnTo>
                      <a:pt x="737" y="371"/>
                    </a:lnTo>
                    <a:lnTo>
                      <a:pt x="737" y="371"/>
                    </a:lnTo>
                    <a:close/>
                    <a:moveTo>
                      <a:pt x="574" y="490"/>
                    </a:moveTo>
                    <a:lnTo>
                      <a:pt x="553" y="503"/>
                    </a:lnTo>
                    <a:lnTo>
                      <a:pt x="535" y="514"/>
                    </a:lnTo>
                    <a:lnTo>
                      <a:pt x="527" y="521"/>
                    </a:lnTo>
                    <a:lnTo>
                      <a:pt x="518" y="528"/>
                    </a:lnTo>
                    <a:lnTo>
                      <a:pt x="509" y="536"/>
                    </a:lnTo>
                    <a:lnTo>
                      <a:pt x="502" y="543"/>
                    </a:lnTo>
                    <a:lnTo>
                      <a:pt x="496" y="552"/>
                    </a:lnTo>
                    <a:lnTo>
                      <a:pt x="489" y="561"/>
                    </a:lnTo>
                    <a:lnTo>
                      <a:pt x="484" y="572"/>
                    </a:lnTo>
                    <a:lnTo>
                      <a:pt x="479" y="583"/>
                    </a:lnTo>
                    <a:lnTo>
                      <a:pt x="476" y="595"/>
                    </a:lnTo>
                    <a:lnTo>
                      <a:pt x="473" y="607"/>
                    </a:lnTo>
                    <a:lnTo>
                      <a:pt x="471" y="621"/>
                    </a:lnTo>
                    <a:lnTo>
                      <a:pt x="471" y="637"/>
                    </a:lnTo>
                    <a:lnTo>
                      <a:pt x="472" y="659"/>
                    </a:lnTo>
                    <a:lnTo>
                      <a:pt x="473" y="678"/>
                    </a:lnTo>
                    <a:lnTo>
                      <a:pt x="476" y="697"/>
                    </a:lnTo>
                    <a:lnTo>
                      <a:pt x="481" y="714"/>
                    </a:lnTo>
                    <a:lnTo>
                      <a:pt x="486" y="730"/>
                    </a:lnTo>
                    <a:lnTo>
                      <a:pt x="493" y="745"/>
                    </a:lnTo>
                    <a:lnTo>
                      <a:pt x="501" y="759"/>
                    </a:lnTo>
                    <a:lnTo>
                      <a:pt x="510" y="771"/>
                    </a:lnTo>
                    <a:lnTo>
                      <a:pt x="521" y="783"/>
                    </a:lnTo>
                    <a:lnTo>
                      <a:pt x="533" y="793"/>
                    </a:lnTo>
                    <a:lnTo>
                      <a:pt x="546" y="800"/>
                    </a:lnTo>
                    <a:lnTo>
                      <a:pt x="560" y="807"/>
                    </a:lnTo>
                    <a:lnTo>
                      <a:pt x="576" y="813"/>
                    </a:lnTo>
                    <a:lnTo>
                      <a:pt x="592" y="817"/>
                    </a:lnTo>
                    <a:lnTo>
                      <a:pt x="610" y="820"/>
                    </a:lnTo>
                    <a:lnTo>
                      <a:pt x="628" y="822"/>
                    </a:lnTo>
                    <a:lnTo>
                      <a:pt x="628" y="867"/>
                    </a:lnTo>
                    <a:lnTo>
                      <a:pt x="270" y="867"/>
                    </a:lnTo>
                    <a:lnTo>
                      <a:pt x="270" y="822"/>
                    </a:lnTo>
                    <a:lnTo>
                      <a:pt x="289" y="820"/>
                    </a:lnTo>
                    <a:lnTo>
                      <a:pt x="307" y="818"/>
                    </a:lnTo>
                    <a:lnTo>
                      <a:pt x="324" y="814"/>
                    </a:lnTo>
                    <a:lnTo>
                      <a:pt x="340" y="810"/>
                    </a:lnTo>
                    <a:lnTo>
                      <a:pt x="354" y="803"/>
                    </a:lnTo>
                    <a:lnTo>
                      <a:pt x="366" y="796"/>
                    </a:lnTo>
                    <a:lnTo>
                      <a:pt x="378" y="786"/>
                    </a:lnTo>
                    <a:lnTo>
                      <a:pt x="387" y="775"/>
                    </a:lnTo>
                    <a:lnTo>
                      <a:pt x="396" y="764"/>
                    </a:lnTo>
                    <a:lnTo>
                      <a:pt x="404" y="751"/>
                    </a:lnTo>
                    <a:lnTo>
                      <a:pt x="410" y="736"/>
                    </a:lnTo>
                    <a:lnTo>
                      <a:pt x="415" y="720"/>
                    </a:lnTo>
                    <a:lnTo>
                      <a:pt x="420" y="702"/>
                    </a:lnTo>
                    <a:lnTo>
                      <a:pt x="423" y="681"/>
                    </a:lnTo>
                    <a:lnTo>
                      <a:pt x="425" y="660"/>
                    </a:lnTo>
                    <a:lnTo>
                      <a:pt x="425" y="637"/>
                    </a:lnTo>
                    <a:lnTo>
                      <a:pt x="425" y="621"/>
                    </a:lnTo>
                    <a:lnTo>
                      <a:pt x="423" y="607"/>
                    </a:lnTo>
                    <a:lnTo>
                      <a:pt x="421" y="595"/>
                    </a:lnTo>
                    <a:lnTo>
                      <a:pt x="416" y="583"/>
                    </a:lnTo>
                    <a:lnTo>
                      <a:pt x="412" y="572"/>
                    </a:lnTo>
                    <a:lnTo>
                      <a:pt x="407" y="561"/>
                    </a:lnTo>
                    <a:lnTo>
                      <a:pt x="401" y="553"/>
                    </a:lnTo>
                    <a:lnTo>
                      <a:pt x="394" y="544"/>
                    </a:lnTo>
                    <a:lnTo>
                      <a:pt x="386" y="536"/>
                    </a:lnTo>
                    <a:lnTo>
                      <a:pt x="379" y="528"/>
                    </a:lnTo>
                    <a:lnTo>
                      <a:pt x="370" y="522"/>
                    </a:lnTo>
                    <a:lnTo>
                      <a:pt x="362" y="516"/>
                    </a:lnTo>
                    <a:lnTo>
                      <a:pt x="344" y="503"/>
                    </a:lnTo>
                    <a:lnTo>
                      <a:pt x="324" y="491"/>
                    </a:lnTo>
                    <a:lnTo>
                      <a:pt x="308" y="481"/>
                    </a:lnTo>
                    <a:lnTo>
                      <a:pt x="292" y="472"/>
                    </a:lnTo>
                    <a:lnTo>
                      <a:pt x="275" y="460"/>
                    </a:lnTo>
                    <a:lnTo>
                      <a:pt x="258" y="446"/>
                    </a:lnTo>
                    <a:lnTo>
                      <a:pt x="242" y="431"/>
                    </a:lnTo>
                    <a:lnTo>
                      <a:pt x="226" y="414"/>
                    </a:lnTo>
                    <a:lnTo>
                      <a:pt x="217" y="404"/>
                    </a:lnTo>
                    <a:lnTo>
                      <a:pt x="210" y="394"/>
                    </a:lnTo>
                    <a:lnTo>
                      <a:pt x="202" y="383"/>
                    </a:lnTo>
                    <a:lnTo>
                      <a:pt x="195" y="371"/>
                    </a:lnTo>
                    <a:lnTo>
                      <a:pt x="188" y="358"/>
                    </a:lnTo>
                    <a:lnTo>
                      <a:pt x="181" y="344"/>
                    </a:lnTo>
                    <a:lnTo>
                      <a:pt x="174" y="329"/>
                    </a:lnTo>
                    <a:lnTo>
                      <a:pt x="167" y="313"/>
                    </a:lnTo>
                    <a:lnTo>
                      <a:pt x="162" y="297"/>
                    </a:lnTo>
                    <a:lnTo>
                      <a:pt x="157" y="279"/>
                    </a:lnTo>
                    <a:lnTo>
                      <a:pt x="151" y="260"/>
                    </a:lnTo>
                    <a:lnTo>
                      <a:pt x="146" y="240"/>
                    </a:lnTo>
                    <a:lnTo>
                      <a:pt x="142" y="218"/>
                    </a:lnTo>
                    <a:lnTo>
                      <a:pt x="137" y="196"/>
                    </a:lnTo>
                    <a:lnTo>
                      <a:pt x="134" y="172"/>
                    </a:lnTo>
                    <a:lnTo>
                      <a:pt x="131" y="147"/>
                    </a:lnTo>
                    <a:lnTo>
                      <a:pt x="129" y="120"/>
                    </a:lnTo>
                    <a:lnTo>
                      <a:pt x="127" y="91"/>
                    </a:lnTo>
                    <a:lnTo>
                      <a:pt x="126" y="61"/>
                    </a:lnTo>
                    <a:lnTo>
                      <a:pt x="126" y="30"/>
                    </a:lnTo>
                    <a:lnTo>
                      <a:pt x="774" y="30"/>
                    </a:lnTo>
                    <a:lnTo>
                      <a:pt x="774" y="61"/>
                    </a:lnTo>
                    <a:lnTo>
                      <a:pt x="771" y="91"/>
                    </a:lnTo>
                    <a:lnTo>
                      <a:pt x="770" y="119"/>
                    </a:lnTo>
                    <a:lnTo>
                      <a:pt x="767" y="145"/>
                    </a:lnTo>
                    <a:lnTo>
                      <a:pt x="765" y="171"/>
                    </a:lnTo>
                    <a:lnTo>
                      <a:pt x="761" y="195"/>
                    </a:lnTo>
                    <a:lnTo>
                      <a:pt x="758" y="217"/>
                    </a:lnTo>
                    <a:lnTo>
                      <a:pt x="753" y="239"/>
                    </a:lnTo>
                    <a:lnTo>
                      <a:pt x="748" y="259"/>
                    </a:lnTo>
                    <a:lnTo>
                      <a:pt x="743" y="278"/>
                    </a:lnTo>
                    <a:lnTo>
                      <a:pt x="737" y="296"/>
                    </a:lnTo>
                    <a:lnTo>
                      <a:pt x="731" y="312"/>
                    </a:lnTo>
                    <a:lnTo>
                      <a:pt x="724" y="328"/>
                    </a:lnTo>
                    <a:lnTo>
                      <a:pt x="718" y="343"/>
                    </a:lnTo>
                    <a:lnTo>
                      <a:pt x="710" y="356"/>
                    </a:lnTo>
                    <a:lnTo>
                      <a:pt x="704" y="369"/>
                    </a:lnTo>
                    <a:lnTo>
                      <a:pt x="697" y="382"/>
                    </a:lnTo>
                    <a:lnTo>
                      <a:pt x="688" y="393"/>
                    </a:lnTo>
                    <a:lnTo>
                      <a:pt x="681" y="403"/>
                    </a:lnTo>
                    <a:lnTo>
                      <a:pt x="673" y="413"/>
                    </a:lnTo>
                    <a:lnTo>
                      <a:pt x="656" y="430"/>
                    </a:lnTo>
                    <a:lnTo>
                      <a:pt x="640" y="445"/>
                    </a:lnTo>
                    <a:lnTo>
                      <a:pt x="623" y="459"/>
                    </a:lnTo>
                    <a:lnTo>
                      <a:pt x="606" y="471"/>
                    </a:lnTo>
                    <a:lnTo>
                      <a:pt x="590" y="480"/>
                    </a:lnTo>
                    <a:lnTo>
                      <a:pt x="574" y="490"/>
                    </a:lnTo>
                    <a:lnTo>
                      <a:pt x="574" y="490"/>
                    </a:lnTo>
                    <a:close/>
                    <a:moveTo>
                      <a:pt x="89" y="336"/>
                    </a:moveTo>
                    <a:lnTo>
                      <a:pt x="78" y="324"/>
                    </a:lnTo>
                    <a:lnTo>
                      <a:pt x="69" y="310"/>
                    </a:lnTo>
                    <a:lnTo>
                      <a:pt x="61" y="295"/>
                    </a:lnTo>
                    <a:lnTo>
                      <a:pt x="54" y="280"/>
                    </a:lnTo>
                    <a:lnTo>
                      <a:pt x="49" y="264"/>
                    </a:lnTo>
                    <a:lnTo>
                      <a:pt x="43" y="247"/>
                    </a:lnTo>
                    <a:lnTo>
                      <a:pt x="40" y="230"/>
                    </a:lnTo>
                    <a:lnTo>
                      <a:pt x="37" y="213"/>
                    </a:lnTo>
                    <a:lnTo>
                      <a:pt x="32" y="178"/>
                    </a:lnTo>
                    <a:lnTo>
                      <a:pt x="30" y="145"/>
                    </a:lnTo>
                    <a:lnTo>
                      <a:pt x="30" y="116"/>
                    </a:lnTo>
                    <a:lnTo>
                      <a:pt x="30" y="90"/>
                    </a:lnTo>
                    <a:lnTo>
                      <a:pt x="30" y="90"/>
                    </a:lnTo>
                    <a:lnTo>
                      <a:pt x="30" y="90"/>
                    </a:lnTo>
                    <a:lnTo>
                      <a:pt x="97" y="90"/>
                    </a:lnTo>
                    <a:lnTo>
                      <a:pt x="100" y="137"/>
                    </a:lnTo>
                    <a:lnTo>
                      <a:pt x="105" y="181"/>
                    </a:lnTo>
                    <a:lnTo>
                      <a:pt x="112" y="221"/>
                    </a:lnTo>
                    <a:lnTo>
                      <a:pt x="119" y="258"/>
                    </a:lnTo>
                    <a:lnTo>
                      <a:pt x="128" y="291"/>
                    </a:lnTo>
                    <a:lnTo>
                      <a:pt x="137" y="321"/>
                    </a:lnTo>
                    <a:lnTo>
                      <a:pt x="149" y="348"/>
                    </a:lnTo>
                    <a:lnTo>
                      <a:pt x="161" y="372"/>
                    </a:lnTo>
                    <a:lnTo>
                      <a:pt x="150" y="370"/>
                    </a:lnTo>
                    <a:lnTo>
                      <a:pt x="140" y="367"/>
                    </a:lnTo>
                    <a:lnTo>
                      <a:pt x="131" y="364"/>
                    </a:lnTo>
                    <a:lnTo>
                      <a:pt x="121" y="359"/>
                    </a:lnTo>
                    <a:lnTo>
                      <a:pt x="113" y="355"/>
                    </a:lnTo>
                    <a:lnTo>
                      <a:pt x="105" y="350"/>
                    </a:lnTo>
                    <a:lnTo>
                      <a:pt x="97" y="343"/>
                    </a:lnTo>
                    <a:lnTo>
                      <a:pt x="89" y="336"/>
                    </a:lnTo>
                    <a:lnTo>
                      <a:pt x="89" y="336"/>
                    </a:lnTo>
                    <a:close/>
                    <a:moveTo>
                      <a:pt x="898" y="86"/>
                    </a:moveTo>
                    <a:lnTo>
                      <a:pt x="898" y="80"/>
                    </a:lnTo>
                    <a:lnTo>
                      <a:pt x="898" y="75"/>
                    </a:lnTo>
                    <a:lnTo>
                      <a:pt x="898" y="72"/>
                    </a:lnTo>
                    <a:lnTo>
                      <a:pt x="897" y="70"/>
                    </a:lnTo>
                    <a:lnTo>
                      <a:pt x="895" y="66"/>
                    </a:lnTo>
                    <a:lnTo>
                      <a:pt x="893" y="64"/>
                    </a:lnTo>
                    <a:lnTo>
                      <a:pt x="891" y="62"/>
                    </a:lnTo>
                    <a:lnTo>
                      <a:pt x="889" y="61"/>
                    </a:lnTo>
                    <a:lnTo>
                      <a:pt x="886" y="60"/>
                    </a:lnTo>
                    <a:lnTo>
                      <a:pt x="883" y="60"/>
                    </a:lnTo>
                    <a:lnTo>
                      <a:pt x="802" y="60"/>
                    </a:lnTo>
                    <a:lnTo>
                      <a:pt x="803" y="49"/>
                    </a:lnTo>
                    <a:lnTo>
                      <a:pt x="803" y="37"/>
                    </a:lnTo>
                    <a:lnTo>
                      <a:pt x="803" y="27"/>
                    </a:lnTo>
                    <a:lnTo>
                      <a:pt x="803" y="15"/>
                    </a:lnTo>
                    <a:lnTo>
                      <a:pt x="803" y="12"/>
                    </a:lnTo>
                    <a:lnTo>
                      <a:pt x="802" y="10"/>
                    </a:lnTo>
                    <a:lnTo>
                      <a:pt x="801" y="6"/>
                    </a:lnTo>
                    <a:lnTo>
                      <a:pt x="799" y="4"/>
                    </a:lnTo>
                    <a:lnTo>
                      <a:pt x="797" y="2"/>
                    </a:lnTo>
                    <a:lnTo>
                      <a:pt x="795" y="1"/>
                    </a:lnTo>
                    <a:lnTo>
                      <a:pt x="792" y="0"/>
                    </a:lnTo>
                    <a:lnTo>
                      <a:pt x="789" y="0"/>
                    </a:lnTo>
                    <a:lnTo>
                      <a:pt x="111" y="0"/>
                    </a:lnTo>
                    <a:lnTo>
                      <a:pt x="107" y="0"/>
                    </a:lnTo>
                    <a:lnTo>
                      <a:pt x="104" y="1"/>
                    </a:lnTo>
                    <a:lnTo>
                      <a:pt x="102" y="2"/>
                    </a:lnTo>
                    <a:lnTo>
                      <a:pt x="100" y="4"/>
                    </a:lnTo>
                    <a:lnTo>
                      <a:pt x="98" y="6"/>
                    </a:lnTo>
                    <a:lnTo>
                      <a:pt x="97" y="10"/>
                    </a:lnTo>
                    <a:lnTo>
                      <a:pt x="96" y="12"/>
                    </a:lnTo>
                    <a:lnTo>
                      <a:pt x="96" y="15"/>
                    </a:lnTo>
                    <a:lnTo>
                      <a:pt x="96" y="27"/>
                    </a:lnTo>
                    <a:lnTo>
                      <a:pt x="96" y="37"/>
                    </a:lnTo>
                    <a:lnTo>
                      <a:pt x="96" y="49"/>
                    </a:lnTo>
                    <a:lnTo>
                      <a:pt x="96" y="60"/>
                    </a:lnTo>
                    <a:lnTo>
                      <a:pt x="15" y="60"/>
                    </a:lnTo>
                    <a:lnTo>
                      <a:pt x="12" y="60"/>
                    </a:lnTo>
                    <a:lnTo>
                      <a:pt x="10" y="61"/>
                    </a:lnTo>
                    <a:lnTo>
                      <a:pt x="7" y="62"/>
                    </a:lnTo>
                    <a:lnTo>
                      <a:pt x="5" y="64"/>
                    </a:lnTo>
                    <a:lnTo>
                      <a:pt x="4" y="66"/>
                    </a:lnTo>
                    <a:lnTo>
                      <a:pt x="1" y="70"/>
                    </a:lnTo>
                    <a:lnTo>
                      <a:pt x="1" y="72"/>
                    </a:lnTo>
                    <a:lnTo>
                      <a:pt x="0" y="75"/>
                    </a:lnTo>
                    <a:lnTo>
                      <a:pt x="0" y="82"/>
                    </a:lnTo>
                    <a:lnTo>
                      <a:pt x="0" y="90"/>
                    </a:lnTo>
                    <a:lnTo>
                      <a:pt x="0" y="117"/>
                    </a:lnTo>
                    <a:lnTo>
                      <a:pt x="0" y="149"/>
                    </a:lnTo>
                    <a:lnTo>
                      <a:pt x="1" y="166"/>
                    </a:lnTo>
                    <a:lnTo>
                      <a:pt x="3" y="184"/>
                    </a:lnTo>
                    <a:lnTo>
                      <a:pt x="5" y="202"/>
                    </a:lnTo>
                    <a:lnTo>
                      <a:pt x="8" y="220"/>
                    </a:lnTo>
                    <a:lnTo>
                      <a:pt x="11" y="240"/>
                    </a:lnTo>
                    <a:lnTo>
                      <a:pt x="15" y="258"/>
                    </a:lnTo>
                    <a:lnTo>
                      <a:pt x="21" y="277"/>
                    </a:lnTo>
                    <a:lnTo>
                      <a:pt x="28" y="294"/>
                    </a:lnTo>
                    <a:lnTo>
                      <a:pt x="36" y="311"/>
                    </a:lnTo>
                    <a:lnTo>
                      <a:pt x="45" y="328"/>
                    </a:lnTo>
                    <a:lnTo>
                      <a:pt x="56" y="343"/>
                    </a:lnTo>
                    <a:lnTo>
                      <a:pt x="68" y="357"/>
                    </a:lnTo>
                    <a:lnTo>
                      <a:pt x="80" y="368"/>
                    </a:lnTo>
                    <a:lnTo>
                      <a:pt x="91" y="376"/>
                    </a:lnTo>
                    <a:lnTo>
                      <a:pt x="104" y="384"/>
                    </a:lnTo>
                    <a:lnTo>
                      <a:pt x="118" y="390"/>
                    </a:lnTo>
                    <a:lnTo>
                      <a:pt x="132" y="396"/>
                    </a:lnTo>
                    <a:lnTo>
                      <a:pt x="147" y="400"/>
                    </a:lnTo>
                    <a:lnTo>
                      <a:pt x="163" y="402"/>
                    </a:lnTo>
                    <a:lnTo>
                      <a:pt x="179" y="403"/>
                    </a:lnTo>
                    <a:lnTo>
                      <a:pt x="195" y="425"/>
                    </a:lnTo>
                    <a:lnTo>
                      <a:pt x="211" y="443"/>
                    </a:lnTo>
                    <a:lnTo>
                      <a:pt x="227" y="459"/>
                    </a:lnTo>
                    <a:lnTo>
                      <a:pt x="243" y="473"/>
                    </a:lnTo>
                    <a:lnTo>
                      <a:pt x="260" y="486"/>
                    </a:lnTo>
                    <a:lnTo>
                      <a:pt x="276" y="497"/>
                    </a:lnTo>
                    <a:lnTo>
                      <a:pt x="293" y="507"/>
                    </a:lnTo>
                    <a:lnTo>
                      <a:pt x="308" y="517"/>
                    </a:lnTo>
                    <a:lnTo>
                      <a:pt x="328" y="528"/>
                    </a:lnTo>
                    <a:lnTo>
                      <a:pt x="345" y="539"/>
                    </a:lnTo>
                    <a:lnTo>
                      <a:pt x="352" y="545"/>
                    </a:lnTo>
                    <a:lnTo>
                      <a:pt x="359" y="551"/>
                    </a:lnTo>
                    <a:lnTo>
                      <a:pt x="366" y="557"/>
                    </a:lnTo>
                    <a:lnTo>
                      <a:pt x="371" y="564"/>
                    </a:lnTo>
                    <a:lnTo>
                      <a:pt x="377" y="570"/>
                    </a:lnTo>
                    <a:lnTo>
                      <a:pt x="382" y="578"/>
                    </a:lnTo>
                    <a:lnTo>
                      <a:pt x="385" y="585"/>
                    </a:lnTo>
                    <a:lnTo>
                      <a:pt x="390" y="594"/>
                    </a:lnTo>
                    <a:lnTo>
                      <a:pt x="392" y="603"/>
                    </a:lnTo>
                    <a:lnTo>
                      <a:pt x="394" y="614"/>
                    </a:lnTo>
                    <a:lnTo>
                      <a:pt x="395" y="625"/>
                    </a:lnTo>
                    <a:lnTo>
                      <a:pt x="395" y="636"/>
                    </a:lnTo>
                    <a:lnTo>
                      <a:pt x="395" y="660"/>
                    </a:lnTo>
                    <a:lnTo>
                      <a:pt x="393" y="681"/>
                    </a:lnTo>
                    <a:lnTo>
                      <a:pt x="390" y="699"/>
                    </a:lnTo>
                    <a:lnTo>
                      <a:pt x="385" y="717"/>
                    </a:lnTo>
                    <a:lnTo>
                      <a:pt x="380" y="730"/>
                    </a:lnTo>
                    <a:lnTo>
                      <a:pt x="374" y="743"/>
                    </a:lnTo>
                    <a:lnTo>
                      <a:pt x="366" y="754"/>
                    </a:lnTo>
                    <a:lnTo>
                      <a:pt x="358" y="764"/>
                    </a:lnTo>
                    <a:lnTo>
                      <a:pt x="348" y="771"/>
                    </a:lnTo>
                    <a:lnTo>
                      <a:pt x="338" y="778"/>
                    </a:lnTo>
                    <a:lnTo>
                      <a:pt x="327" y="783"/>
                    </a:lnTo>
                    <a:lnTo>
                      <a:pt x="314" y="786"/>
                    </a:lnTo>
                    <a:lnTo>
                      <a:pt x="301" y="789"/>
                    </a:lnTo>
                    <a:lnTo>
                      <a:pt x="287" y="791"/>
                    </a:lnTo>
                    <a:lnTo>
                      <a:pt x="271" y="793"/>
                    </a:lnTo>
                    <a:lnTo>
                      <a:pt x="255" y="793"/>
                    </a:lnTo>
                    <a:lnTo>
                      <a:pt x="252" y="793"/>
                    </a:lnTo>
                    <a:lnTo>
                      <a:pt x="250" y="794"/>
                    </a:lnTo>
                    <a:lnTo>
                      <a:pt x="246" y="795"/>
                    </a:lnTo>
                    <a:lnTo>
                      <a:pt x="244" y="797"/>
                    </a:lnTo>
                    <a:lnTo>
                      <a:pt x="242" y="799"/>
                    </a:lnTo>
                    <a:lnTo>
                      <a:pt x="241" y="802"/>
                    </a:lnTo>
                    <a:lnTo>
                      <a:pt x="240" y="804"/>
                    </a:lnTo>
                    <a:lnTo>
                      <a:pt x="240" y="807"/>
                    </a:lnTo>
                    <a:lnTo>
                      <a:pt x="240" y="882"/>
                    </a:lnTo>
                    <a:lnTo>
                      <a:pt x="240" y="886"/>
                    </a:lnTo>
                    <a:lnTo>
                      <a:pt x="241" y="888"/>
                    </a:lnTo>
                    <a:lnTo>
                      <a:pt x="242" y="891"/>
                    </a:lnTo>
                    <a:lnTo>
                      <a:pt x="244" y="893"/>
                    </a:lnTo>
                    <a:lnTo>
                      <a:pt x="246" y="894"/>
                    </a:lnTo>
                    <a:lnTo>
                      <a:pt x="250" y="896"/>
                    </a:lnTo>
                    <a:lnTo>
                      <a:pt x="252" y="897"/>
                    </a:lnTo>
                    <a:lnTo>
                      <a:pt x="255" y="897"/>
                    </a:lnTo>
                    <a:lnTo>
                      <a:pt x="643" y="897"/>
                    </a:lnTo>
                    <a:lnTo>
                      <a:pt x="646" y="897"/>
                    </a:lnTo>
                    <a:lnTo>
                      <a:pt x="649" y="896"/>
                    </a:lnTo>
                    <a:lnTo>
                      <a:pt x="652" y="894"/>
                    </a:lnTo>
                    <a:lnTo>
                      <a:pt x="654" y="893"/>
                    </a:lnTo>
                    <a:lnTo>
                      <a:pt x="656" y="891"/>
                    </a:lnTo>
                    <a:lnTo>
                      <a:pt x="657" y="888"/>
                    </a:lnTo>
                    <a:lnTo>
                      <a:pt x="658" y="886"/>
                    </a:lnTo>
                    <a:lnTo>
                      <a:pt x="658" y="882"/>
                    </a:lnTo>
                    <a:lnTo>
                      <a:pt x="658" y="807"/>
                    </a:lnTo>
                    <a:lnTo>
                      <a:pt x="658" y="804"/>
                    </a:lnTo>
                    <a:lnTo>
                      <a:pt x="657" y="802"/>
                    </a:lnTo>
                    <a:lnTo>
                      <a:pt x="656" y="799"/>
                    </a:lnTo>
                    <a:lnTo>
                      <a:pt x="654" y="797"/>
                    </a:lnTo>
                    <a:lnTo>
                      <a:pt x="652" y="795"/>
                    </a:lnTo>
                    <a:lnTo>
                      <a:pt x="649" y="794"/>
                    </a:lnTo>
                    <a:lnTo>
                      <a:pt x="646" y="793"/>
                    </a:lnTo>
                    <a:lnTo>
                      <a:pt x="643" y="793"/>
                    </a:lnTo>
                    <a:lnTo>
                      <a:pt x="626" y="791"/>
                    </a:lnTo>
                    <a:lnTo>
                      <a:pt x="610" y="790"/>
                    </a:lnTo>
                    <a:lnTo>
                      <a:pt x="594" y="787"/>
                    </a:lnTo>
                    <a:lnTo>
                      <a:pt x="580" y="783"/>
                    </a:lnTo>
                    <a:lnTo>
                      <a:pt x="567" y="778"/>
                    </a:lnTo>
                    <a:lnTo>
                      <a:pt x="555" y="771"/>
                    </a:lnTo>
                    <a:lnTo>
                      <a:pt x="545" y="764"/>
                    </a:lnTo>
                    <a:lnTo>
                      <a:pt x="535" y="755"/>
                    </a:lnTo>
                    <a:lnTo>
                      <a:pt x="528" y="744"/>
                    </a:lnTo>
                    <a:lnTo>
                      <a:pt x="520" y="733"/>
                    </a:lnTo>
                    <a:lnTo>
                      <a:pt x="515" y="720"/>
                    </a:lnTo>
                    <a:lnTo>
                      <a:pt x="509" y="706"/>
                    </a:lnTo>
                    <a:lnTo>
                      <a:pt x="505" y="691"/>
                    </a:lnTo>
                    <a:lnTo>
                      <a:pt x="503" y="674"/>
                    </a:lnTo>
                    <a:lnTo>
                      <a:pt x="501" y="657"/>
                    </a:lnTo>
                    <a:lnTo>
                      <a:pt x="501" y="637"/>
                    </a:lnTo>
                    <a:lnTo>
                      <a:pt x="501" y="625"/>
                    </a:lnTo>
                    <a:lnTo>
                      <a:pt x="502" y="614"/>
                    </a:lnTo>
                    <a:lnTo>
                      <a:pt x="504" y="603"/>
                    </a:lnTo>
                    <a:lnTo>
                      <a:pt x="507" y="594"/>
                    </a:lnTo>
                    <a:lnTo>
                      <a:pt x="510" y="585"/>
                    </a:lnTo>
                    <a:lnTo>
                      <a:pt x="515" y="578"/>
                    </a:lnTo>
                    <a:lnTo>
                      <a:pt x="519" y="570"/>
                    </a:lnTo>
                    <a:lnTo>
                      <a:pt x="524" y="563"/>
                    </a:lnTo>
                    <a:lnTo>
                      <a:pt x="531" y="556"/>
                    </a:lnTo>
                    <a:lnTo>
                      <a:pt x="537" y="550"/>
                    </a:lnTo>
                    <a:lnTo>
                      <a:pt x="545" y="544"/>
                    </a:lnTo>
                    <a:lnTo>
                      <a:pt x="552" y="539"/>
                    </a:lnTo>
                    <a:lnTo>
                      <a:pt x="569" y="527"/>
                    </a:lnTo>
                    <a:lnTo>
                      <a:pt x="589" y="516"/>
                    </a:lnTo>
                    <a:lnTo>
                      <a:pt x="605" y="506"/>
                    </a:lnTo>
                    <a:lnTo>
                      <a:pt x="621" y="496"/>
                    </a:lnTo>
                    <a:lnTo>
                      <a:pt x="637" y="484"/>
                    </a:lnTo>
                    <a:lnTo>
                      <a:pt x="654" y="473"/>
                    </a:lnTo>
                    <a:lnTo>
                      <a:pt x="670" y="459"/>
                    </a:lnTo>
                    <a:lnTo>
                      <a:pt x="687" y="443"/>
                    </a:lnTo>
                    <a:lnTo>
                      <a:pt x="703" y="425"/>
                    </a:lnTo>
                    <a:lnTo>
                      <a:pt x="718" y="403"/>
                    </a:lnTo>
                    <a:lnTo>
                      <a:pt x="734" y="402"/>
                    </a:lnTo>
                    <a:lnTo>
                      <a:pt x="750" y="400"/>
                    </a:lnTo>
                    <a:lnTo>
                      <a:pt x="764" y="396"/>
                    </a:lnTo>
                    <a:lnTo>
                      <a:pt x="778" y="390"/>
                    </a:lnTo>
                    <a:lnTo>
                      <a:pt x="792" y="384"/>
                    </a:lnTo>
                    <a:lnTo>
                      <a:pt x="805" y="376"/>
                    </a:lnTo>
                    <a:lnTo>
                      <a:pt x="816" y="368"/>
                    </a:lnTo>
                    <a:lnTo>
                      <a:pt x="827" y="357"/>
                    </a:lnTo>
                    <a:lnTo>
                      <a:pt x="833" y="350"/>
                    </a:lnTo>
                    <a:lnTo>
                      <a:pt x="840" y="342"/>
                    </a:lnTo>
                    <a:lnTo>
                      <a:pt x="846" y="335"/>
                    </a:lnTo>
                    <a:lnTo>
                      <a:pt x="852" y="326"/>
                    </a:lnTo>
                    <a:lnTo>
                      <a:pt x="861" y="309"/>
                    </a:lnTo>
                    <a:lnTo>
                      <a:pt x="869" y="291"/>
                    </a:lnTo>
                    <a:lnTo>
                      <a:pt x="876" y="272"/>
                    </a:lnTo>
                    <a:lnTo>
                      <a:pt x="882" y="252"/>
                    </a:lnTo>
                    <a:lnTo>
                      <a:pt x="887" y="233"/>
                    </a:lnTo>
                    <a:lnTo>
                      <a:pt x="890" y="214"/>
                    </a:lnTo>
                    <a:lnTo>
                      <a:pt x="893" y="195"/>
                    </a:lnTo>
                    <a:lnTo>
                      <a:pt x="895" y="175"/>
                    </a:lnTo>
                    <a:lnTo>
                      <a:pt x="897" y="157"/>
                    </a:lnTo>
                    <a:lnTo>
                      <a:pt x="898" y="140"/>
                    </a:lnTo>
                    <a:lnTo>
                      <a:pt x="898" y="110"/>
                    </a:lnTo>
                    <a:lnTo>
                      <a:pt x="898" y="8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7" name="Rectangle 6"/>
          <p:cNvSpPr/>
          <p:nvPr/>
        </p:nvSpPr>
        <p:spPr>
          <a:xfrm>
            <a:off x="5448592" y="2286727"/>
            <a:ext cx="6743408" cy="877757"/>
          </a:xfrm>
          <a:prstGeom prst="rect">
            <a:avLst/>
          </a:prstGeom>
          <a:solidFill>
            <a:srgbClr val="E2583D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defRPr/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5" name="Rectangle 194"/>
          <p:cNvSpPr/>
          <p:nvPr/>
        </p:nvSpPr>
        <p:spPr>
          <a:xfrm>
            <a:off x="5448592" y="3385433"/>
            <a:ext cx="6743408" cy="877757"/>
          </a:xfrm>
          <a:prstGeom prst="rect">
            <a:avLst/>
          </a:prstGeom>
          <a:solidFill>
            <a:srgbClr val="4CC7C4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6" name="Rectangle 195"/>
          <p:cNvSpPr/>
          <p:nvPr/>
        </p:nvSpPr>
        <p:spPr>
          <a:xfrm>
            <a:off x="5448592" y="4484137"/>
            <a:ext cx="6743408" cy="877757"/>
          </a:xfrm>
          <a:prstGeom prst="rect">
            <a:avLst/>
          </a:prstGeom>
          <a:solidFill>
            <a:srgbClr val="3B3939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5816384" y="2448606"/>
            <a:ext cx="5293739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sz="1000" dirty="0" err="1"/>
              <a:t>Lorem</a:t>
            </a:r>
            <a:r>
              <a:rPr lang="en-US" sz="1000" dirty="0"/>
              <a:t> </a:t>
            </a:r>
            <a:r>
              <a:rPr lang="en-US" sz="1000" dirty="0" err="1"/>
              <a:t>Ipsum</a:t>
            </a:r>
            <a:r>
              <a:rPr lang="en-US" sz="1000" dirty="0"/>
              <a:t> is simply dummy text of the printing and typesetting industry. </a:t>
            </a:r>
            <a:r>
              <a:rPr lang="en-US" sz="1000" dirty="0" err="1"/>
              <a:t>Lorem</a:t>
            </a:r>
            <a:r>
              <a:rPr lang="en-US" sz="1000" dirty="0"/>
              <a:t> </a:t>
            </a:r>
            <a:r>
              <a:rPr lang="en-US" sz="1000" dirty="0" err="1"/>
              <a:t>Ipsum</a:t>
            </a:r>
            <a:r>
              <a:rPr lang="en-US" sz="1000" dirty="0"/>
              <a:t> has been the industry's standard dummy text ever since the 1500s, when an unknown printer took a galley of type and scrambled it to make a type specimen book. </a:t>
            </a:r>
          </a:p>
        </p:txBody>
      </p:sp>
      <p:sp>
        <p:nvSpPr>
          <p:cNvPr id="197" name="Rectangle 196"/>
          <p:cNvSpPr/>
          <p:nvPr/>
        </p:nvSpPr>
        <p:spPr>
          <a:xfrm>
            <a:off x="5816384" y="3556126"/>
            <a:ext cx="5293739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sz="1000" dirty="0" err="1"/>
              <a:t>Lorem</a:t>
            </a:r>
            <a:r>
              <a:rPr lang="en-US" sz="1000" dirty="0"/>
              <a:t> </a:t>
            </a:r>
            <a:r>
              <a:rPr lang="en-US" sz="1000" dirty="0" err="1"/>
              <a:t>Ipsum</a:t>
            </a:r>
            <a:r>
              <a:rPr lang="en-US" sz="1000" dirty="0"/>
              <a:t> is simply dummy text of the printing and typesetting industry. </a:t>
            </a:r>
            <a:r>
              <a:rPr lang="en-US" sz="1000" dirty="0" err="1"/>
              <a:t>Lorem</a:t>
            </a:r>
            <a:r>
              <a:rPr lang="en-US" sz="1000" dirty="0"/>
              <a:t> </a:t>
            </a:r>
            <a:r>
              <a:rPr lang="en-US" sz="1000" dirty="0" err="1"/>
              <a:t>Ipsum</a:t>
            </a:r>
            <a:r>
              <a:rPr lang="en-US" sz="1000" dirty="0"/>
              <a:t> has been the industry's standard dummy text ever since the 1500s, when an unknown printer took a galley of type and scrambled it to make a type specimen book. </a:t>
            </a:r>
          </a:p>
        </p:txBody>
      </p:sp>
      <p:sp>
        <p:nvSpPr>
          <p:cNvPr id="198" name="Rectangle 197"/>
          <p:cNvSpPr/>
          <p:nvPr/>
        </p:nvSpPr>
        <p:spPr>
          <a:xfrm>
            <a:off x="5816384" y="4646016"/>
            <a:ext cx="5293739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sz="1000" dirty="0" err="1"/>
              <a:t>Lorem</a:t>
            </a:r>
            <a:r>
              <a:rPr lang="en-US" sz="1000" dirty="0"/>
              <a:t> </a:t>
            </a:r>
            <a:r>
              <a:rPr lang="en-US" sz="1000" dirty="0" err="1"/>
              <a:t>Ipsum</a:t>
            </a:r>
            <a:r>
              <a:rPr lang="en-US" sz="1000" dirty="0"/>
              <a:t> is simply dummy text of the printing and typesetting industry. </a:t>
            </a:r>
            <a:r>
              <a:rPr lang="en-US" sz="1000" dirty="0" err="1"/>
              <a:t>Lorem</a:t>
            </a:r>
            <a:r>
              <a:rPr lang="en-US" sz="1000" dirty="0"/>
              <a:t> </a:t>
            </a:r>
            <a:r>
              <a:rPr lang="en-US" sz="1000" dirty="0" err="1"/>
              <a:t>Ipsum</a:t>
            </a:r>
            <a:r>
              <a:rPr lang="en-US" sz="1000" dirty="0"/>
              <a:t> has been the industry's standard dummy text ever since the 1500s, when an unknown printer took a galley of type and scrambled it to make a type specimen book. </a:t>
            </a:r>
          </a:p>
        </p:txBody>
      </p:sp>
    </p:spTree>
    <p:extLst>
      <p:ext uri="{BB962C8B-B14F-4D97-AF65-F5344CB8AC3E}">
        <p14:creationId xmlns:p14="http://schemas.microsoft.com/office/powerpoint/2010/main" val="111623306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Rectangle 102"/>
          <p:cNvSpPr/>
          <p:nvPr/>
        </p:nvSpPr>
        <p:spPr>
          <a:xfrm>
            <a:off x="12344400" y="0"/>
            <a:ext cx="469900" cy="469900"/>
          </a:xfrm>
          <a:prstGeom prst="rect">
            <a:avLst/>
          </a:pr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4" name="Rectangle 103"/>
          <p:cNvSpPr/>
          <p:nvPr/>
        </p:nvSpPr>
        <p:spPr>
          <a:xfrm>
            <a:off x="12344400" y="649557"/>
            <a:ext cx="469900" cy="469900"/>
          </a:xfrm>
          <a:prstGeom prst="rect">
            <a:avLst/>
          </a:prstGeom>
          <a:solidFill>
            <a:srgbClr val="AFAB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5" name="Rectangle 104"/>
          <p:cNvSpPr/>
          <p:nvPr/>
        </p:nvSpPr>
        <p:spPr>
          <a:xfrm>
            <a:off x="12344400" y="1299114"/>
            <a:ext cx="469900" cy="469900"/>
          </a:xfrm>
          <a:prstGeom prst="rect">
            <a:avLst/>
          </a:prstGeom>
          <a:solidFill>
            <a:srgbClr val="7671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7" name="Rectangle 106"/>
          <p:cNvSpPr/>
          <p:nvPr/>
        </p:nvSpPr>
        <p:spPr>
          <a:xfrm>
            <a:off x="12966699" y="0"/>
            <a:ext cx="469900" cy="469900"/>
          </a:xfrm>
          <a:prstGeom prst="rect">
            <a:avLst/>
          </a:prstGeom>
          <a:solidFill>
            <a:srgbClr val="E878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8" name="Rectangle 107"/>
          <p:cNvSpPr/>
          <p:nvPr/>
        </p:nvSpPr>
        <p:spPr>
          <a:xfrm>
            <a:off x="12966699" y="649557"/>
            <a:ext cx="469900" cy="469900"/>
          </a:xfrm>
          <a:prstGeom prst="rect">
            <a:avLst/>
          </a:prstGeom>
          <a:solidFill>
            <a:srgbClr val="E258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9" name="Rectangle 108"/>
          <p:cNvSpPr/>
          <p:nvPr/>
        </p:nvSpPr>
        <p:spPr>
          <a:xfrm>
            <a:off x="12966699" y="1299114"/>
            <a:ext cx="469900" cy="469900"/>
          </a:xfrm>
          <a:prstGeom prst="rect">
            <a:avLst/>
          </a:prstGeom>
          <a:solidFill>
            <a:srgbClr val="D63E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0" name="Rectangle 109"/>
          <p:cNvSpPr/>
          <p:nvPr/>
        </p:nvSpPr>
        <p:spPr>
          <a:xfrm>
            <a:off x="13588998" y="0"/>
            <a:ext cx="469900" cy="469900"/>
          </a:xfrm>
          <a:prstGeom prst="rect">
            <a:avLst/>
          </a:prstGeom>
          <a:solidFill>
            <a:srgbClr val="8EDC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1" name="Rectangle 110"/>
          <p:cNvSpPr/>
          <p:nvPr/>
        </p:nvSpPr>
        <p:spPr>
          <a:xfrm>
            <a:off x="13588998" y="649557"/>
            <a:ext cx="469900" cy="469900"/>
          </a:xfrm>
          <a:prstGeom prst="rect">
            <a:avLst/>
          </a:prstGeom>
          <a:solidFill>
            <a:srgbClr val="78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2" name="Rectangle 111"/>
          <p:cNvSpPr/>
          <p:nvPr/>
        </p:nvSpPr>
        <p:spPr>
          <a:xfrm>
            <a:off x="13588998" y="1299114"/>
            <a:ext cx="469900" cy="469900"/>
          </a:xfrm>
          <a:prstGeom prst="rect">
            <a:avLst/>
          </a:prstGeom>
          <a:solidFill>
            <a:srgbClr val="4CC7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3" name="Rectangle 112"/>
          <p:cNvSpPr/>
          <p:nvPr/>
        </p:nvSpPr>
        <p:spPr>
          <a:xfrm>
            <a:off x="14211297" y="0"/>
            <a:ext cx="469900" cy="469900"/>
          </a:xfrm>
          <a:prstGeom prst="rect">
            <a:avLst/>
          </a:prstGeom>
          <a:solidFill>
            <a:srgbClr val="5553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4" name="Rectangle 113"/>
          <p:cNvSpPr/>
          <p:nvPr/>
        </p:nvSpPr>
        <p:spPr>
          <a:xfrm>
            <a:off x="14211297" y="649557"/>
            <a:ext cx="469900" cy="469900"/>
          </a:xfrm>
          <a:prstGeom prst="rect">
            <a:avLst/>
          </a:prstGeom>
          <a:solidFill>
            <a:srgbClr val="3B39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5" name="Rectangle 114"/>
          <p:cNvSpPr/>
          <p:nvPr/>
        </p:nvSpPr>
        <p:spPr>
          <a:xfrm>
            <a:off x="14211297" y="1299114"/>
            <a:ext cx="469900" cy="469900"/>
          </a:xfrm>
          <a:prstGeom prst="rect">
            <a:avLst/>
          </a:prstGeom>
          <a:solidFill>
            <a:srgbClr val="2523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Lorem Ipsum is simply dummy text of the printing and typesetting industry. Lorem Ipsum has been the industry's standard dummy text ever since the 1500s, when an unknown printer took a galley of type and scrambled it to make a type specimen book. </a:t>
            </a:r>
          </a:p>
        </p:txBody>
      </p:sp>
      <p:sp>
        <p:nvSpPr>
          <p:cNvPr id="120" name="Text Placeholder 119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3200" dirty="0"/>
              <a:t>PowerPoint Presentation</a:t>
            </a:r>
          </a:p>
        </p:txBody>
      </p:sp>
      <p:sp>
        <p:nvSpPr>
          <p:cNvPr id="116" name="Date Placeholder 11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E1B330-CB56-448E-9C70-830A2B9C05C8}" type="datetime1">
              <a:rPr lang="en-US" smtClean="0"/>
              <a:t>11/15/2018</a:t>
            </a:fld>
            <a:endParaRPr lang="en-US"/>
          </a:p>
        </p:txBody>
      </p:sp>
      <p:sp>
        <p:nvSpPr>
          <p:cNvPr id="117" name="Slide Number Placeholder 1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06E70-9524-410D-AE9B-78D656EAA14D}" type="slidenum">
              <a:rPr lang="en-US" smtClean="0"/>
              <a:pPr/>
              <a:t>26</a:t>
            </a:fld>
            <a:endParaRPr lang="en-US"/>
          </a:p>
        </p:txBody>
      </p:sp>
      <p:grpSp>
        <p:nvGrpSpPr>
          <p:cNvPr id="4" name="Group 3"/>
          <p:cNvGrpSpPr/>
          <p:nvPr/>
        </p:nvGrpSpPr>
        <p:grpSpPr>
          <a:xfrm>
            <a:off x="9420978" y="2922538"/>
            <a:ext cx="1930323" cy="1779502"/>
            <a:chOff x="9228404" y="3689948"/>
            <a:chExt cx="1930323" cy="1779502"/>
          </a:xfrm>
        </p:grpSpPr>
        <p:sp>
          <p:nvSpPr>
            <p:cNvPr id="247" name="Rounded Rectangle 246"/>
            <p:cNvSpPr/>
            <p:nvPr/>
          </p:nvSpPr>
          <p:spPr>
            <a:xfrm>
              <a:off x="9228404" y="3689948"/>
              <a:ext cx="480704" cy="479869"/>
            </a:xfrm>
            <a:prstGeom prst="roundRect">
              <a:avLst>
                <a:gd name="adj" fmla="val 8500"/>
              </a:avLst>
            </a:prstGeom>
            <a:solidFill>
              <a:srgbClr val="E2583D"/>
            </a:solidFill>
            <a:ln w="19050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48" name="TextBox 247"/>
            <p:cNvSpPr txBox="1"/>
            <p:nvPr/>
          </p:nvSpPr>
          <p:spPr>
            <a:xfrm>
              <a:off x="9314076" y="3802923"/>
              <a:ext cx="309362" cy="253916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+mn-cs"/>
                </a:rPr>
                <a:t>55%</a:t>
              </a:r>
            </a:p>
          </p:txBody>
        </p:sp>
        <p:sp>
          <p:nvSpPr>
            <p:cNvPr id="249" name="TextBox 248"/>
            <p:cNvSpPr txBox="1"/>
            <p:nvPr/>
          </p:nvSpPr>
          <p:spPr>
            <a:xfrm>
              <a:off x="9831914" y="3802924"/>
              <a:ext cx="1326813" cy="253916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just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  <a:t>Lorem Ipsum</a:t>
              </a:r>
            </a:p>
          </p:txBody>
        </p:sp>
        <p:sp>
          <p:nvSpPr>
            <p:cNvPr id="250" name="Rounded Rectangle 249"/>
            <p:cNvSpPr/>
            <p:nvPr/>
          </p:nvSpPr>
          <p:spPr>
            <a:xfrm>
              <a:off x="9228404" y="4298767"/>
              <a:ext cx="480704" cy="479869"/>
            </a:xfrm>
            <a:prstGeom prst="roundRect">
              <a:avLst>
                <a:gd name="adj" fmla="val 8500"/>
              </a:avLst>
            </a:prstGeom>
            <a:solidFill>
              <a:srgbClr val="78D2D2"/>
            </a:solidFill>
            <a:ln w="19050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51" name="TextBox 250"/>
            <p:cNvSpPr txBox="1"/>
            <p:nvPr/>
          </p:nvSpPr>
          <p:spPr>
            <a:xfrm>
              <a:off x="9314076" y="4411742"/>
              <a:ext cx="309362" cy="253916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+mn-cs"/>
                </a:rPr>
                <a:t>65%</a:t>
              </a:r>
            </a:p>
          </p:txBody>
        </p:sp>
        <p:sp>
          <p:nvSpPr>
            <p:cNvPr id="252" name="TextBox 251"/>
            <p:cNvSpPr txBox="1"/>
            <p:nvPr/>
          </p:nvSpPr>
          <p:spPr>
            <a:xfrm>
              <a:off x="9831914" y="4411742"/>
              <a:ext cx="1326813" cy="253916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just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  <a:t>Lorem Ipsum</a:t>
              </a:r>
            </a:p>
          </p:txBody>
        </p:sp>
        <p:sp>
          <p:nvSpPr>
            <p:cNvPr id="253" name="Rounded Rectangle 252"/>
            <p:cNvSpPr/>
            <p:nvPr/>
          </p:nvSpPr>
          <p:spPr>
            <a:xfrm>
              <a:off x="9228404" y="4989581"/>
              <a:ext cx="480704" cy="479869"/>
            </a:xfrm>
            <a:prstGeom prst="roundRect">
              <a:avLst>
                <a:gd name="adj" fmla="val 8500"/>
              </a:avLst>
            </a:prstGeom>
            <a:solidFill>
              <a:srgbClr val="3B3939"/>
            </a:solidFill>
            <a:ln w="19050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54" name="TextBox 253"/>
            <p:cNvSpPr txBox="1"/>
            <p:nvPr/>
          </p:nvSpPr>
          <p:spPr>
            <a:xfrm>
              <a:off x="9314076" y="5102556"/>
              <a:ext cx="309362" cy="253916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+mn-cs"/>
                </a:rPr>
                <a:t>45%</a:t>
              </a:r>
            </a:p>
          </p:txBody>
        </p:sp>
        <p:sp>
          <p:nvSpPr>
            <p:cNvPr id="255" name="TextBox 254"/>
            <p:cNvSpPr txBox="1"/>
            <p:nvPr/>
          </p:nvSpPr>
          <p:spPr>
            <a:xfrm>
              <a:off x="9831914" y="5102560"/>
              <a:ext cx="1326813" cy="253916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just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  <a:t>Lorem Ipsum</a:t>
              </a: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840700" y="1933958"/>
            <a:ext cx="8195128" cy="3756663"/>
            <a:chOff x="817722" y="1933958"/>
            <a:chExt cx="8195128" cy="3756663"/>
          </a:xfrm>
        </p:grpSpPr>
        <p:sp>
          <p:nvSpPr>
            <p:cNvPr id="73" name="Rounded Rectangle 72"/>
            <p:cNvSpPr/>
            <p:nvPr/>
          </p:nvSpPr>
          <p:spPr>
            <a:xfrm>
              <a:off x="817722" y="1933959"/>
              <a:ext cx="1548714" cy="1024957"/>
            </a:xfrm>
            <a:prstGeom prst="roundRect">
              <a:avLst>
                <a:gd name="adj" fmla="val 8500"/>
              </a:avLst>
            </a:prstGeom>
            <a:solidFill>
              <a:srgbClr val="E7E6E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74" name="Rounded Rectangle 73"/>
            <p:cNvSpPr/>
            <p:nvPr/>
          </p:nvSpPr>
          <p:spPr>
            <a:xfrm>
              <a:off x="2455935" y="1933958"/>
              <a:ext cx="2121690" cy="461105"/>
            </a:xfrm>
            <a:prstGeom prst="roundRect">
              <a:avLst>
                <a:gd name="adj" fmla="val 8500"/>
              </a:avLst>
            </a:prstGeom>
            <a:solidFill>
              <a:srgbClr val="E7E6E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75" name="Rounded Rectangle 74"/>
            <p:cNvSpPr/>
            <p:nvPr/>
          </p:nvSpPr>
          <p:spPr>
            <a:xfrm>
              <a:off x="4673546" y="1933958"/>
              <a:ext cx="2121690" cy="461105"/>
            </a:xfrm>
            <a:prstGeom prst="roundRect">
              <a:avLst>
                <a:gd name="adj" fmla="val 8500"/>
              </a:avLst>
            </a:prstGeom>
            <a:solidFill>
              <a:srgbClr val="E7E6E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76" name="Rounded Rectangle 75"/>
            <p:cNvSpPr/>
            <p:nvPr/>
          </p:nvSpPr>
          <p:spPr>
            <a:xfrm>
              <a:off x="6891156" y="1933958"/>
              <a:ext cx="2121691" cy="461105"/>
            </a:xfrm>
            <a:prstGeom prst="roundRect">
              <a:avLst>
                <a:gd name="adj" fmla="val 8500"/>
              </a:avLst>
            </a:prstGeom>
            <a:solidFill>
              <a:srgbClr val="E7E6E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77" name="Rounded Rectangle 76"/>
            <p:cNvSpPr/>
            <p:nvPr/>
          </p:nvSpPr>
          <p:spPr>
            <a:xfrm>
              <a:off x="817722" y="5218237"/>
              <a:ext cx="1566536" cy="472384"/>
            </a:xfrm>
            <a:prstGeom prst="roundRect">
              <a:avLst>
                <a:gd name="adj" fmla="val 8500"/>
              </a:avLst>
            </a:prstGeom>
            <a:solidFill>
              <a:srgbClr val="E7E6E6"/>
            </a:solidFill>
            <a:ln w="31750" cap="rnd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78" name="Rounded Rectangle 77"/>
            <p:cNvSpPr/>
            <p:nvPr/>
          </p:nvSpPr>
          <p:spPr>
            <a:xfrm>
              <a:off x="2455936" y="5210752"/>
              <a:ext cx="480704" cy="479869"/>
            </a:xfrm>
            <a:prstGeom prst="roundRect">
              <a:avLst>
                <a:gd name="adj" fmla="val 8500"/>
              </a:avLst>
            </a:prstGeom>
            <a:solidFill>
              <a:srgbClr val="78D2D2"/>
            </a:solidFill>
            <a:ln w="6350" cap="rnd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79" name="Rounded Rectangle 78"/>
            <p:cNvSpPr/>
            <p:nvPr/>
          </p:nvSpPr>
          <p:spPr>
            <a:xfrm>
              <a:off x="3560702" y="5210752"/>
              <a:ext cx="480704" cy="479869"/>
            </a:xfrm>
            <a:prstGeom prst="roundRect">
              <a:avLst>
                <a:gd name="adj" fmla="val 8500"/>
              </a:avLst>
            </a:prstGeom>
            <a:solidFill>
              <a:srgbClr val="E2583D"/>
            </a:solidFill>
            <a:ln w="6350" cap="rnd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80" name="Rounded Rectangle 79"/>
            <p:cNvSpPr/>
            <p:nvPr/>
          </p:nvSpPr>
          <p:spPr>
            <a:xfrm>
              <a:off x="8532145" y="5210752"/>
              <a:ext cx="480704" cy="479869"/>
            </a:xfrm>
            <a:prstGeom prst="roundRect">
              <a:avLst>
                <a:gd name="adj" fmla="val 8500"/>
              </a:avLst>
            </a:prstGeom>
            <a:solidFill>
              <a:srgbClr val="78D2D2"/>
            </a:solidFill>
            <a:ln w="6350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81" name="Rounded Rectangle 80"/>
            <p:cNvSpPr/>
            <p:nvPr/>
          </p:nvSpPr>
          <p:spPr>
            <a:xfrm>
              <a:off x="817722" y="4670580"/>
              <a:ext cx="1566536" cy="472384"/>
            </a:xfrm>
            <a:prstGeom prst="roundRect">
              <a:avLst>
                <a:gd name="adj" fmla="val 8500"/>
              </a:avLst>
            </a:prstGeom>
            <a:solidFill>
              <a:srgbClr val="E7E6E6"/>
            </a:solidFill>
            <a:ln w="31750" cap="rnd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82" name="Rounded Rectangle 81"/>
            <p:cNvSpPr/>
            <p:nvPr/>
          </p:nvSpPr>
          <p:spPr>
            <a:xfrm>
              <a:off x="3008319" y="4663094"/>
              <a:ext cx="480704" cy="479869"/>
            </a:xfrm>
            <a:prstGeom prst="roundRect">
              <a:avLst>
                <a:gd name="adj" fmla="val 8500"/>
              </a:avLst>
            </a:prstGeom>
            <a:solidFill>
              <a:srgbClr val="78D2D2"/>
            </a:solidFill>
            <a:ln w="6350" cap="rnd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83" name="Rounded Rectangle 82"/>
            <p:cNvSpPr/>
            <p:nvPr/>
          </p:nvSpPr>
          <p:spPr>
            <a:xfrm>
              <a:off x="3560702" y="4663094"/>
              <a:ext cx="480704" cy="479869"/>
            </a:xfrm>
            <a:prstGeom prst="roundRect">
              <a:avLst>
                <a:gd name="adj" fmla="val 8500"/>
              </a:avLst>
            </a:prstGeom>
            <a:solidFill>
              <a:srgbClr val="E2583D"/>
            </a:solidFill>
            <a:ln w="6350" cap="rnd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84" name="Rounded Rectangle 83"/>
            <p:cNvSpPr/>
            <p:nvPr/>
          </p:nvSpPr>
          <p:spPr>
            <a:xfrm>
              <a:off x="5217851" y="4663094"/>
              <a:ext cx="480704" cy="479869"/>
            </a:xfrm>
            <a:prstGeom prst="roundRect">
              <a:avLst>
                <a:gd name="adj" fmla="val 8500"/>
              </a:avLst>
            </a:prstGeom>
            <a:solidFill>
              <a:srgbClr val="3B3939"/>
            </a:solidFill>
            <a:ln w="6350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31" name="Rounded Rectangle 130"/>
            <p:cNvSpPr/>
            <p:nvPr/>
          </p:nvSpPr>
          <p:spPr>
            <a:xfrm>
              <a:off x="7979765" y="4663094"/>
              <a:ext cx="480704" cy="479869"/>
            </a:xfrm>
            <a:prstGeom prst="roundRect">
              <a:avLst>
                <a:gd name="adj" fmla="val 8500"/>
              </a:avLst>
            </a:prstGeom>
            <a:solidFill>
              <a:srgbClr val="78D2D2"/>
            </a:solidFill>
            <a:ln w="6350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33" name="Rounded Rectangle 132"/>
            <p:cNvSpPr/>
            <p:nvPr/>
          </p:nvSpPr>
          <p:spPr>
            <a:xfrm>
              <a:off x="817722" y="4122922"/>
              <a:ext cx="1566536" cy="472384"/>
            </a:xfrm>
            <a:prstGeom prst="roundRect">
              <a:avLst>
                <a:gd name="adj" fmla="val 8500"/>
              </a:avLst>
            </a:prstGeom>
            <a:solidFill>
              <a:srgbClr val="E7E6E6"/>
            </a:solidFill>
            <a:ln w="31750" cap="rnd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35" name="Rounded Rectangle 134"/>
            <p:cNvSpPr/>
            <p:nvPr/>
          </p:nvSpPr>
          <p:spPr>
            <a:xfrm>
              <a:off x="4113085" y="4115437"/>
              <a:ext cx="480704" cy="479869"/>
            </a:xfrm>
            <a:prstGeom prst="roundRect">
              <a:avLst>
                <a:gd name="adj" fmla="val 8500"/>
              </a:avLst>
            </a:prstGeom>
            <a:solidFill>
              <a:srgbClr val="78D2D2"/>
            </a:solidFill>
            <a:ln w="6350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37" name="Rounded Rectangle 136"/>
            <p:cNvSpPr/>
            <p:nvPr/>
          </p:nvSpPr>
          <p:spPr>
            <a:xfrm>
              <a:off x="4665467" y="4115437"/>
              <a:ext cx="480704" cy="479869"/>
            </a:xfrm>
            <a:prstGeom prst="roundRect">
              <a:avLst>
                <a:gd name="adj" fmla="val 8500"/>
              </a:avLst>
            </a:prstGeom>
            <a:solidFill>
              <a:srgbClr val="78D2D2"/>
            </a:solidFill>
            <a:ln w="6350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39" name="Rounded Rectangle 138"/>
            <p:cNvSpPr/>
            <p:nvPr/>
          </p:nvSpPr>
          <p:spPr>
            <a:xfrm>
              <a:off x="6874999" y="4115437"/>
              <a:ext cx="480704" cy="479869"/>
            </a:xfrm>
            <a:prstGeom prst="roundRect">
              <a:avLst>
                <a:gd name="adj" fmla="val 8500"/>
              </a:avLst>
            </a:prstGeom>
            <a:solidFill>
              <a:srgbClr val="E2583D"/>
            </a:solidFill>
            <a:ln w="6350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40" name="Rounded Rectangle 139"/>
            <p:cNvSpPr/>
            <p:nvPr/>
          </p:nvSpPr>
          <p:spPr>
            <a:xfrm>
              <a:off x="8532145" y="4115437"/>
              <a:ext cx="480704" cy="479869"/>
            </a:xfrm>
            <a:prstGeom prst="roundRect">
              <a:avLst>
                <a:gd name="adj" fmla="val 8500"/>
              </a:avLst>
            </a:prstGeom>
            <a:solidFill>
              <a:srgbClr val="78D2D2"/>
            </a:solidFill>
            <a:ln w="6350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41" name="Rounded Rectangle 140"/>
            <p:cNvSpPr/>
            <p:nvPr/>
          </p:nvSpPr>
          <p:spPr>
            <a:xfrm>
              <a:off x="817722" y="3575263"/>
              <a:ext cx="1566536" cy="472384"/>
            </a:xfrm>
            <a:prstGeom prst="roundRect">
              <a:avLst>
                <a:gd name="adj" fmla="val 8500"/>
              </a:avLst>
            </a:prstGeom>
            <a:solidFill>
              <a:srgbClr val="E7E6E6"/>
            </a:solidFill>
            <a:ln w="31750" cap="rnd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42" name="Rounded Rectangle 141"/>
            <p:cNvSpPr/>
            <p:nvPr/>
          </p:nvSpPr>
          <p:spPr>
            <a:xfrm>
              <a:off x="2455936" y="3567778"/>
              <a:ext cx="480704" cy="479869"/>
            </a:xfrm>
            <a:prstGeom prst="roundRect">
              <a:avLst>
                <a:gd name="adj" fmla="val 8500"/>
              </a:avLst>
            </a:prstGeom>
            <a:solidFill>
              <a:srgbClr val="3B3939"/>
            </a:solidFill>
            <a:ln w="6350" cap="rnd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43" name="Rounded Rectangle 142"/>
            <p:cNvSpPr/>
            <p:nvPr/>
          </p:nvSpPr>
          <p:spPr>
            <a:xfrm>
              <a:off x="3560702" y="3567778"/>
              <a:ext cx="480704" cy="479869"/>
            </a:xfrm>
            <a:prstGeom prst="roundRect">
              <a:avLst>
                <a:gd name="adj" fmla="val 8500"/>
              </a:avLst>
            </a:prstGeom>
            <a:solidFill>
              <a:srgbClr val="78D2D2"/>
            </a:solidFill>
            <a:ln w="6350" cap="rnd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44" name="Rounded Rectangle 143"/>
            <p:cNvSpPr/>
            <p:nvPr/>
          </p:nvSpPr>
          <p:spPr>
            <a:xfrm>
              <a:off x="5770233" y="3567778"/>
              <a:ext cx="480704" cy="479869"/>
            </a:xfrm>
            <a:prstGeom prst="roundRect">
              <a:avLst>
                <a:gd name="adj" fmla="val 8500"/>
              </a:avLst>
            </a:prstGeom>
            <a:solidFill>
              <a:srgbClr val="78D2D2"/>
            </a:solidFill>
            <a:ln w="6350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45" name="Rounded Rectangle 144"/>
            <p:cNvSpPr/>
            <p:nvPr/>
          </p:nvSpPr>
          <p:spPr>
            <a:xfrm>
              <a:off x="7427382" y="3567778"/>
              <a:ext cx="480704" cy="479869"/>
            </a:xfrm>
            <a:prstGeom prst="roundRect">
              <a:avLst>
                <a:gd name="adj" fmla="val 8500"/>
              </a:avLst>
            </a:prstGeom>
            <a:solidFill>
              <a:srgbClr val="78D2D2"/>
            </a:solidFill>
            <a:ln w="6350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46" name="Rounded Rectangle 145"/>
            <p:cNvSpPr/>
            <p:nvPr/>
          </p:nvSpPr>
          <p:spPr>
            <a:xfrm>
              <a:off x="817722" y="3027606"/>
              <a:ext cx="1566536" cy="472384"/>
            </a:xfrm>
            <a:prstGeom prst="roundRect">
              <a:avLst>
                <a:gd name="adj" fmla="val 8500"/>
              </a:avLst>
            </a:prstGeom>
            <a:solidFill>
              <a:srgbClr val="E7E6E6"/>
            </a:solidFill>
            <a:ln w="31750" cap="rnd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47" name="Rounded Rectangle 146"/>
            <p:cNvSpPr/>
            <p:nvPr/>
          </p:nvSpPr>
          <p:spPr>
            <a:xfrm>
              <a:off x="3008319" y="3020120"/>
              <a:ext cx="480704" cy="479869"/>
            </a:xfrm>
            <a:prstGeom prst="roundRect">
              <a:avLst>
                <a:gd name="adj" fmla="val 8500"/>
              </a:avLst>
            </a:prstGeom>
            <a:solidFill>
              <a:srgbClr val="3B3939"/>
            </a:solidFill>
            <a:ln w="6350" cap="rnd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48" name="Rounded Rectangle 147"/>
            <p:cNvSpPr/>
            <p:nvPr/>
          </p:nvSpPr>
          <p:spPr>
            <a:xfrm>
              <a:off x="4665467" y="3020120"/>
              <a:ext cx="480704" cy="479869"/>
            </a:xfrm>
            <a:prstGeom prst="roundRect">
              <a:avLst>
                <a:gd name="adj" fmla="val 8500"/>
              </a:avLst>
            </a:prstGeom>
            <a:solidFill>
              <a:srgbClr val="E2583D"/>
            </a:solidFill>
            <a:ln w="6350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49" name="Rounded Rectangle 148"/>
            <p:cNvSpPr/>
            <p:nvPr/>
          </p:nvSpPr>
          <p:spPr>
            <a:xfrm>
              <a:off x="6874999" y="3020120"/>
              <a:ext cx="480704" cy="479869"/>
            </a:xfrm>
            <a:prstGeom prst="roundRect">
              <a:avLst>
                <a:gd name="adj" fmla="val 8500"/>
              </a:avLst>
            </a:prstGeom>
            <a:solidFill>
              <a:srgbClr val="78D2D2"/>
            </a:solidFill>
            <a:ln w="6350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50" name="Rounded Rectangle 149"/>
            <p:cNvSpPr/>
            <p:nvPr/>
          </p:nvSpPr>
          <p:spPr>
            <a:xfrm>
              <a:off x="7427382" y="3020120"/>
              <a:ext cx="480704" cy="479869"/>
            </a:xfrm>
            <a:prstGeom prst="roundRect">
              <a:avLst>
                <a:gd name="adj" fmla="val 8500"/>
              </a:avLst>
            </a:prstGeom>
            <a:solidFill>
              <a:srgbClr val="E2583D"/>
            </a:solidFill>
            <a:ln w="6350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grpSp>
          <p:nvGrpSpPr>
            <p:cNvPr id="151" name="Group 150"/>
            <p:cNvGrpSpPr/>
            <p:nvPr/>
          </p:nvGrpSpPr>
          <p:grpSpPr>
            <a:xfrm>
              <a:off x="2455936" y="3020120"/>
              <a:ext cx="6556913" cy="2670501"/>
              <a:chOff x="2294379" y="3136530"/>
              <a:chExt cx="7056871" cy="2874124"/>
            </a:xfrm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grpSpPr>
          <p:sp>
            <p:nvSpPr>
              <p:cNvPr id="152" name="Rounded Rectangle 151"/>
              <p:cNvSpPr/>
              <p:nvPr/>
            </p:nvSpPr>
            <p:spPr>
              <a:xfrm>
                <a:off x="2888881" y="5494195"/>
                <a:ext cx="517357" cy="516459"/>
              </a:xfrm>
              <a:prstGeom prst="roundRect">
                <a:avLst>
                  <a:gd name="adj" fmla="val 8500"/>
                </a:avLst>
              </a:prstGeom>
              <a:solidFill>
                <a:srgbClr val="FFFFFF"/>
              </a:solidFill>
              <a:ln w="6350" cap="rnd">
                <a:noFill/>
              </a:ln>
              <a:effectLst>
                <a:outerShdw blurRad="25400" dist="254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153" name="Rounded Rectangle 152"/>
              <p:cNvSpPr/>
              <p:nvPr/>
            </p:nvSpPr>
            <p:spPr>
              <a:xfrm>
                <a:off x="4077884" y="5494195"/>
                <a:ext cx="517357" cy="516459"/>
              </a:xfrm>
              <a:prstGeom prst="roundRect">
                <a:avLst>
                  <a:gd name="adj" fmla="val 8500"/>
                </a:avLst>
              </a:prstGeom>
              <a:solidFill>
                <a:srgbClr val="FFFFFF"/>
              </a:solidFill>
              <a:ln w="6350">
                <a:noFill/>
              </a:ln>
              <a:effectLst>
                <a:outerShdw blurRad="25400" dist="254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154" name="Rounded Rectangle 153"/>
              <p:cNvSpPr/>
              <p:nvPr/>
            </p:nvSpPr>
            <p:spPr>
              <a:xfrm>
                <a:off x="4672385" y="5494195"/>
                <a:ext cx="517357" cy="516459"/>
              </a:xfrm>
              <a:prstGeom prst="roundRect">
                <a:avLst>
                  <a:gd name="adj" fmla="val 8500"/>
                </a:avLst>
              </a:prstGeom>
              <a:solidFill>
                <a:srgbClr val="FFFFFF"/>
              </a:solidFill>
              <a:ln w="6350">
                <a:noFill/>
              </a:ln>
              <a:effectLst>
                <a:outerShdw blurRad="25400" dist="254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155" name="Rounded Rectangle 154"/>
              <p:cNvSpPr/>
              <p:nvPr/>
            </p:nvSpPr>
            <p:spPr>
              <a:xfrm>
                <a:off x="5266887" y="5494195"/>
                <a:ext cx="517357" cy="516459"/>
              </a:xfrm>
              <a:prstGeom prst="roundRect">
                <a:avLst>
                  <a:gd name="adj" fmla="val 8500"/>
                </a:avLst>
              </a:prstGeom>
              <a:solidFill>
                <a:srgbClr val="FFFFFF"/>
              </a:solidFill>
              <a:ln w="6350">
                <a:noFill/>
              </a:ln>
              <a:effectLst>
                <a:outerShdw blurRad="25400" dist="254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156" name="Rounded Rectangle 155"/>
              <p:cNvSpPr/>
              <p:nvPr/>
            </p:nvSpPr>
            <p:spPr>
              <a:xfrm>
                <a:off x="5861388" y="5494195"/>
                <a:ext cx="517357" cy="516459"/>
              </a:xfrm>
              <a:prstGeom prst="roundRect">
                <a:avLst>
                  <a:gd name="adj" fmla="val 8500"/>
                </a:avLst>
              </a:prstGeom>
              <a:solidFill>
                <a:srgbClr val="FFFFFF"/>
              </a:solidFill>
              <a:ln w="6350">
                <a:noFill/>
              </a:ln>
              <a:effectLst>
                <a:outerShdw blurRad="25400" dist="254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157" name="Rounded Rectangle 156"/>
              <p:cNvSpPr/>
              <p:nvPr/>
            </p:nvSpPr>
            <p:spPr>
              <a:xfrm>
                <a:off x="6455890" y="5494195"/>
                <a:ext cx="517357" cy="516459"/>
              </a:xfrm>
              <a:prstGeom prst="roundRect">
                <a:avLst>
                  <a:gd name="adj" fmla="val 8500"/>
                </a:avLst>
              </a:prstGeom>
              <a:solidFill>
                <a:srgbClr val="FFFFFF"/>
              </a:solidFill>
              <a:ln w="6350">
                <a:noFill/>
              </a:ln>
              <a:effectLst>
                <a:outerShdw blurRad="25400" dist="254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158" name="Rounded Rectangle 157"/>
              <p:cNvSpPr/>
              <p:nvPr/>
            </p:nvSpPr>
            <p:spPr>
              <a:xfrm>
                <a:off x="7050391" y="5494195"/>
                <a:ext cx="517357" cy="516459"/>
              </a:xfrm>
              <a:prstGeom prst="roundRect">
                <a:avLst>
                  <a:gd name="adj" fmla="val 8500"/>
                </a:avLst>
              </a:prstGeom>
              <a:solidFill>
                <a:srgbClr val="FFFFFF"/>
              </a:solidFill>
              <a:ln w="6350">
                <a:noFill/>
              </a:ln>
              <a:effectLst>
                <a:outerShdw blurRad="25400" dist="254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159" name="Rounded Rectangle 158"/>
              <p:cNvSpPr/>
              <p:nvPr/>
            </p:nvSpPr>
            <p:spPr>
              <a:xfrm>
                <a:off x="7644893" y="5494195"/>
                <a:ext cx="517357" cy="516459"/>
              </a:xfrm>
              <a:prstGeom prst="roundRect">
                <a:avLst>
                  <a:gd name="adj" fmla="val 8500"/>
                </a:avLst>
              </a:prstGeom>
              <a:solidFill>
                <a:srgbClr val="FFFFFF"/>
              </a:solidFill>
              <a:ln w="6350">
                <a:noFill/>
              </a:ln>
              <a:effectLst>
                <a:outerShdw blurRad="25400" dist="254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160" name="Rounded Rectangle 159"/>
              <p:cNvSpPr/>
              <p:nvPr/>
            </p:nvSpPr>
            <p:spPr>
              <a:xfrm>
                <a:off x="8239394" y="5494195"/>
                <a:ext cx="517357" cy="516459"/>
              </a:xfrm>
              <a:prstGeom prst="roundRect">
                <a:avLst>
                  <a:gd name="adj" fmla="val 8500"/>
                </a:avLst>
              </a:prstGeom>
              <a:solidFill>
                <a:srgbClr val="FFFFFF"/>
              </a:solidFill>
              <a:ln w="6350">
                <a:noFill/>
              </a:ln>
              <a:effectLst>
                <a:outerShdw blurRad="25400" dist="254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161" name="Rounded Rectangle 160"/>
              <p:cNvSpPr/>
              <p:nvPr/>
            </p:nvSpPr>
            <p:spPr>
              <a:xfrm>
                <a:off x="2294379" y="4904779"/>
                <a:ext cx="517357" cy="516459"/>
              </a:xfrm>
              <a:prstGeom prst="roundRect">
                <a:avLst>
                  <a:gd name="adj" fmla="val 8500"/>
                </a:avLst>
              </a:prstGeom>
              <a:solidFill>
                <a:srgbClr val="FFFFFF"/>
              </a:solidFill>
              <a:ln w="6350" cap="rnd">
                <a:noFill/>
              </a:ln>
              <a:effectLst>
                <a:outerShdw blurRad="25400" dist="254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162" name="Rounded Rectangle 161"/>
              <p:cNvSpPr/>
              <p:nvPr/>
            </p:nvSpPr>
            <p:spPr>
              <a:xfrm>
                <a:off x="4077884" y="4904779"/>
                <a:ext cx="517357" cy="516459"/>
              </a:xfrm>
              <a:prstGeom prst="roundRect">
                <a:avLst>
                  <a:gd name="adj" fmla="val 8500"/>
                </a:avLst>
              </a:prstGeom>
              <a:solidFill>
                <a:srgbClr val="FFFFFF"/>
              </a:solidFill>
              <a:ln w="6350">
                <a:noFill/>
              </a:ln>
              <a:effectLst>
                <a:outerShdw blurRad="25400" dist="254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163" name="Rounded Rectangle 162"/>
              <p:cNvSpPr/>
              <p:nvPr/>
            </p:nvSpPr>
            <p:spPr>
              <a:xfrm>
                <a:off x="4672385" y="4904779"/>
                <a:ext cx="517357" cy="516459"/>
              </a:xfrm>
              <a:prstGeom prst="roundRect">
                <a:avLst>
                  <a:gd name="adj" fmla="val 8500"/>
                </a:avLst>
              </a:prstGeom>
              <a:solidFill>
                <a:srgbClr val="FFFFFF"/>
              </a:solidFill>
              <a:ln w="6350">
                <a:noFill/>
              </a:ln>
              <a:effectLst>
                <a:outerShdw blurRad="25400" dist="254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164" name="Rounded Rectangle 163"/>
              <p:cNvSpPr/>
              <p:nvPr/>
            </p:nvSpPr>
            <p:spPr>
              <a:xfrm>
                <a:off x="5861388" y="4904779"/>
                <a:ext cx="517357" cy="516459"/>
              </a:xfrm>
              <a:prstGeom prst="roundRect">
                <a:avLst>
                  <a:gd name="adj" fmla="val 8500"/>
                </a:avLst>
              </a:prstGeom>
              <a:solidFill>
                <a:srgbClr val="FFFFFF"/>
              </a:solidFill>
              <a:ln w="6350">
                <a:noFill/>
              </a:ln>
              <a:effectLst>
                <a:outerShdw blurRad="25400" dist="254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165" name="Rounded Rectangle 164"/>
              <p:cNvSpPr/>
              <p:nvPr/>
            </p:nvSpPr>
            <p:spPr>
              <a:xfrm>
                <a:off x="6455890" y="4904779"/>
                <a:ext cx="517357" cy="516459"/>
              </a:xfrm>
              <a:prstGeom prst="roundRect">
                <a:avLst>
                  <a:gd name="adj" fmla="val 8500"/>
                </a:avLst>
              </a:prstGeom>
              <a:solidFill>
                <a:srgbClr val="FFFFFF"/>
              </a:solidFill>
              <a:ln w="6350">
                <a:noFill/>
              </a:ln>
              <a:effectLst>
                <a:outerShdw blurRad="25400" dist="254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166" name="Rounded Rectangle 165"/>
              <p:cNvSpPr/>
              <p:nvPr/>
            </p:nvSpPr>
            <p:spPr>
              <a:xfrm>
                <a:off x="7050391" y="4904779"/>
                <a:ext cx="517357" cy="516459"/>
              </a:xfrm>
              <a:prstGeom prst="roundRect">
                <a:avLst>
                  <a:gd name="adj" fmla="val 8500"/>
                </a:avLst>
              </a:prstGeom>
              <a:solidFill>
                <a:srgbClr val="FFFFFF"/>
              </a:solidFill>
              <a:ln w="6350">
                <a:noFill/>
              </a:ln>
              <a:effectLst>
                <a:outerShdw blurRad="25400" dist="254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167" name="Rounded Rectangle 166"/>
              <p:cNvSpPr/>
              <p:nvPr/>
            </p:nvSpPr>
            <p:spPr>
              <a:xfrm>
                <a:off x="7644893" y="4904779"/>
                <a:ext cx="517357" cy="516459"/>
              </a:xfrm>
              <a:prstGeom prst="roundRect">
                <a:avLst>
                  <a:gd name="adj" fmla="val 8500"/>
                </a:avLst>
              </a:prstGeom>
              <a:solidFill>
                <a:srgbClr val="FFFFFF"/>
              </a:solidFill>
              <a:ln w="6350">
                <a:noFill/>
              </a:ln>
              <a:effectLst>
                <a:outerShdw blurRad="25400" dist="254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168" name="Rounded Rectangle 167"/>
              <p:cNvSpPr/>
              <p:nvPr/>
            </p:nvSpPr>
            <p:spPr>
              <a:xfrm>
                <a:off x="8833893" y="4904779"/>
                <a:ext cx="517357" cy="516459"/>
              </a:xfrm>
              <a:prstGeom prst="roundRect">
                <a:avLst>
                  <a:gd name="adj" fmla="val 8500"/>
                </a:avLst>
              </a:prstGeom>
              <a:solidFill>
                <a:srgbClr val="FFFFFF"/>
              </a:solidFill>
              <a:ln w="6350">
                <a:noFill/>
              </a:ln>
              <a:effectLst>
                <a:outerShdw blurRad="25400" dist="254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169" name="Rounded Rectangle 168"/>
              <p:cNvSpPr/>
              <p:nvPr/>
            </p:nvSpPr>
            <p:spPr>
              <a:xfrm>
                <a:off x="2294379" y="4315363"/>
                <a:ext cx="517357" cy="516459"/>
              </a:xfrm>
              <a:prstGeom prst="roundRect">
                <a:avLst>
                  <a:gd name="adj" fmla="val 8500"/>
                </a:avLst>
              </a:prstGeom>
              <a:solidFill>
                <a:srgbClr val="FFFFFF"/>
              </a:solidFill>
              <a:ln w="6350" cap="rnd">
                <a:noFill/>
              </a:ln>
              <a:effectLst>
                <a:outerShdw blurRad="25400" dist="254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170" name="Rounded Rectangle 169"/>
              <p:cNvSpPr/>
              <p:nvPr/>
            </p:nvSpPr>
            <p:spPr>
              <a:xfrm>
                <a:off x="2888881" y="4315363"/>
                <a:ext cx="517357" cy="516459"/>
              </a:xfrm>
              <a:prstGeom prst="roundRect">
                <a:avLst>
                  <a:gd name="adj" fmla="val 8500"/>
                </a:avLst>
              </a:prstGeom>
              <a:solidFill>
                <a:srgbClr val="FFFFFF"/>
              </a:solidFill>
              <a:ln w="6350" cap="rnd">
                <a:noFill/>
              </a:ln>
              <a:effectLst>
                <a:outerShdw blurRad="25400" dist="254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171" name="Rounded Rectangle 170"/>
              <p:cNvSpPr/>
              <p:nvPr/>
            </p:nvSpPr>
            <p:spPr>
              <a:xfrm>
                <a:off x="3483382" y="4315363"/>
                <a:ext cx="517357" cy="516459"/>
              </a:xfrm>
              <a:prstGeom prst="roundRect">
                <a:avLst>
                  <a:gd name="adj" fmla="val 8500"/>
                </a:avLst>
              </a:prstGeom>
              <a:solidFill>
                <a:srgbClr val="FFFFFF"/>
              </a:solidFill>
              <a:ln w="6350" cap="rnd">
                <a:noFill/>
              </a:ln>
              <a:effectLst>
                <a:outerShdw blurRad="25400" dist="254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172" name="Rounded Rectangle 171"/>
              <p:cNvSpPr/>
              <p:nvPr/>
            </p:nvSpPr>
            <p:spPr>
              <a:xfrm>
                <a:off x="5266887" y="4315363"/>
                <a:ext cx="517357" cy="516459"/>
              </a:xfrm>
              <a:prstGeom prst="roundRect">
                <a:avLst>
                  <a:gd name="adj" fmla="val 8500"/>
                </a:avLst>
              </a:prstGeom>
              <a:solidFill>
                <a:srgbClr val="FFFFFF"/>
              </a:solidFill>
              <a:ln w="6350">
                <a:noFill/>
              </a:ln>
              <a:effectLst>
                <a:outerShdw blurRad="25400" dist="254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173" name="Rounded Rectangle 172"/>
              <p:cNvSpPr/>
              <p:nvPr/>
            </p:nvSpPr>
            <p:spPr>
              <a:xfrm>
                <a:off x="5861388" y="4315363"/>
                <a:ext cx="517357" cy="516459"/>
              </a:xfrm>
              <a:prstGeom prst="roundRect">
                <a:avLst>
                  <a:gd name="adj" fmla="val 8500"/>
                </a:avLst>
              </a:prstGeom>
              <a:solidFill>
                <a:srgbClr val="FFFFFF"/>
              </a:solidFill>
              <a:ln w="6350">
                <a:noFill/>
              </a:ln>
              <a:effectLst>
                <a:outerShdw blurRad="25400" dist="254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174" name="Rounded Rectangle 173"/>
              <p:cNvSpPr/>
              <p:nvPr/>
            </p:nvSpPr>
            <p:spPr>
              <a:xfrm>
                <a:off x="6455890" y="4315363"/>
                <a:ext cx="517357" cy="516459"/>
              </a:xfrm>
              <a:prstGeom prst="roundRect">
                <a:avLst>
                  <a:gd name="adj" fmla="val 8500"/>
                </a:avLst>
              </a:prstGeom>
              <a:solidFill>
                <a:srgbClr val="FFFFFF"/>
              </a:solidFill>
              <a:ln w="6350">
                <a:noFill/>
              </a:ln>
              <a:effectLst>
                <a:outerShdw blurRad="25400" dist="254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175" name="Rounded Rectangle 174"/>
              <p:cNvSpPr/>
              <p:nvPr/>
            </p:nvSpPr>
            <p:spPr>
              <a:xfrm>
                <a:off x="7644893" y="4315363"/>
                <a:ext cx="517357" cy="516459"/>
              </a:xfrm>
              <a:prstGeom prst="roundRect">
                <a:avLst>
                  <a:gd name="adj" fmla="val 8500"/>
                </a:avLst>
              </a:prstGeom>
              <a:solidFill>
                <a:srgbClr val="FFFFFF"/>
              </a:solidFill>
              <a:ln w="6350">
                <a:noFill/>
              </a:ln>
              <a:effectLst>
                <a:outerShdw blurRad="25400" dist="254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176" name="Rounded Rectangle 175"/>
              <p:cNvSpPr/>
              <p:nvPr/>
            </p:nvSpPr>
            <p:spPr>
              <a:xfrm>
                <a:off x="8239394" y="4315363"/>
                <a:ext cx="517357" cy="516459"/>
              </a:xfrm>
              <a:prstGeom prst="roundRect">
                <a:avLst>
                  <a:gd name="adj" fmla="val 8500"/>
                </a:avLst>
              </a:prstGeom>
              <a:solidFill>
                <a:srgbClr val="FFFFFF"/>
              </a:solidFill>
              <a:ln w="6350">
                <a:noFill/>
              </a:ln>
              <a:effectLst>
                <a:outerShdw blurRad="25400" dist="254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177" name="Rounded Rectangle 176"/>
              <p:cNvSpPr/>
              <p:nvPr/>
            </p:nvSpPr>
            <p:spPr>
              <a:xfrm>
                <a:off x="2888881" y="3725946"/>
                <a:ext cx="517357" cy="516459"/>
              </a:xfrm>
              <a:prstGeom prst="roundRect">
                <a:avLst>
                  <a:gd name="adj" fmla="val 8500"/>
                </a:avLst>
              </a:prstGeom>
              <a:solidFill>
                <a:srgbClr val="FFFFFF"/>
              </a:solidFill>
              <a:ln w="6350" cap="rnd">
                <a:noFill/>
              </a:ln>
              <a:effectLst>
                <a:outerShdw blurRad="25400" dist="254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178" name="Rounded Rectangle 177"/>
              <p:cNvSpPr/>
              <p:nvPr/>
            </p:nvSpPr>
            <p:spPr>
              <a:xfrm>
                <a:off x="4077884" y="3725946"/>
                <a:ext cx="517357" cy="516459"/>
              </a:xfrm>
              <a:prstGeom prst="roundRect">
                <a:avLst>
                  <a:gd name="adj" fmla="val 8500"/>
                </a:avLst>
              </a:prstGeom>
              <a:solidFill>
                <a:srgbClr val="FFFFFF"/>
              </a:solidFill>
              <a:ln w="6350">
                <a:noFill/>
              </a:ln>
              <a:effectLst>
                <a:outerShdw blurRad="25400" dist="254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179" name="Rounded Rectangle 178"/>
              <p:cNvSpPr/>
              <p:nvPr/>
            </p:nvSpPr>
            <p:spPr>
              <a:xfrm>
                <a:off x="4672385" y="3725946"/>
                <a:ext cx="517357" cy="516459"/>
              </a:xfrm>
              <a:prstGeom prst="roundRect">
                <a:avLst>
                  <a:gd name="adj" fmla="val 8500"/>
                </a:avLst>
              </a:prstGeom>
              <a:solidFill>
                <a:srgbClr val="FFFFFF"/>
              </a:solidFill>
              <a:ln w="6350">
                <a:noFill/>
              </a:ln>
              <a:effectLst>
                <a:outerShdw blurRad="25400" dist="254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180" name="Rounded Rectangle 179"/>
              <p:cNvSpPr/>
              <p:nvPr/>
            </p:nvSpPr>
            <p:spPr>
              <a:xfrm>
                <a:off x="5266887" y="3725946"/>
                <a:ext cx="517357" cy="516459"/>
              </a:xfrm>
              <a:prstGeom prst="roundRect">
                <a:avLst>
                  <a:gd name="adj" fmla="val 8500"/>
                </a:avLst>
              </a:prstGeom>
              <a:solidFill>
                <a:srgbClr val="FFFFFF"/>
              </a:solidFill>
              <a:ln w="6350">
                <a:noFill/>
              </a:ln>
              <a:effectLst>
                <a:outerShdw blurRad="25400" dist="254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181" name="Rounded Rectangle 180"/>
              <p:cNvSpPr/>
              <p:nvPr/>
            </p:nvSpPr>
            <p:spPr>
              <a:xfrm>
                <a:off x="6455890" y="3725946"/>
                <a:ext cx="517357" cy="516459"/>
              </a:xfrm>
              <a:prstGeom prst="roundRect">
                <a:avLst>
                  <a:gd name="adj" fmla="val 8500"/>
                </a:avLst>
              </a:prstGeom>
              <a:solidFill>
                <a:srgbClr val="FFFFFF"/>
              </a:solidFill>
              <a:ln w="6350">
                <a:noFill/>
              </a:ln>
              <a:effectLst>
                <a:outerShdw blurRad="25400" dist="254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199" name="Rounded Rectangle 198"/>
              <p:cNvSpPr/>
              <p:nvPr/>
            </p:nvSpPr>
            <p:spPr>
              <a:xfrm>
                <a:off x="7050391" y="3725946"/>
                <a:ext cx="517357" cy="516459"/>
              </a:xfrm>
              <a:prstGeom prst="roundRect">
                <a:avLst>
                  <a:gd name="adj" fmla="val 8500"/>
                </a:avLst>
              </a:prstGeom>
              <a:solidFill>
                <a:srgbClr val="FFFFFF"/>
              </a:solidFill>
              <a:ln w="6350">
                <a:noFill/>
              </a:ln>
              <a:effectLst>
                <a:outerShdw blurRad="25400" dist="254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200" name="Rounded Rectangle 199"/>
              <p:cNvSpPr/>
              <p:nvPr/>
            </p:nvSpPr>
            <p:spPr>
              <a:xfrm>
                <a:off x="8239394" y="3725946"/>
                <a:ext cx="517357" cy="516459"/>
              </a:xfrm>
              <a:prstGeom prst="roundRect">
                <a:avLst>
                  <a:gd name="adj" fmla="val 8500"/>
                </a:avLst>
              </a:prstGeom>
              <a:solidFill>
                <a:srgbClr val="FFFFFF"/>
              </a:solidFill>
              <a:ln w="6350">
                <a:noFill/>
              </a:ln>
              <a:effectLst>
                <a:outerShdw blurRad="25400" dist="254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201" name="Rounded Rectangle 200"/>
              <p:cNvSpPr/>
              <p:nvPr/>
            </p:nvSpPr>
            <p:spPr>
              <a:xfrm>
                <a:off x="8833893" y="3725946"/>
                <a:ext cx="517357" cy="516459"/>
              </a:xfrm>
              <a:prstGeom prst="roundRect">
                <a:avLst>
                  <a:gd name="adj" fmla="val 8500"/>
                </a:avLst>
              </a:prstGeom>
              <a:solidFill>
                <a:srgbClr val="FFFFFF"/>
              </a:solidFill>
              <a:ln w="6350">
                <a:noFill/>
              </a:ln>
              <a:effectLst>
                <a:outerShdw blurRad="25400" dist="254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202" name="Rounded Rectangle 201"/>
              <p:cNvSpPr/>
              <p:nvPr/>
            </p:nvSpPr>
            <p:spPr>
              <a:xfrm>
                <a:off x="2294379" y="3136530"/>
                <a:ext cx="517357" cy="516459"/>
              </a:xfrm>
              <a:prstGeom prst="roundRect">
                <a:avLst>
                  <a:gd name="adj" fmla="val 8500"/>
                </a:avLst>
              </a:prstGeom>
              <a:solidFill>
                <a:srgbClr val="FFFFFF"/>
              </a:solidFill>
              <a:ln w="6350" cap="rnd">
                <a:noFill/>
              </a:ln>
              <a:effectLst>
                <a:outerShdw blurRad="25400" dist="254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203" name="Rounded Rectangle 202"/>
              <p:cNvSpPr/>
              <p:nvPr/>
            </p:nvSpPr>
            <p:spPr>
              <a:xfrm>
                <a:off x="3483382" y="3136530"/>
                <a:ext cx="517357" cy="516459"/>
              </a:xfrm>
              <a:prstGeom prst="roundRect">
                <a:avLst>
                  <a:gd name="adj" fmla="val 8500"/>
                </a:avLst>
              </a:prstGeom>
              <a:solidFill>
                <a:srgbClr val="FFFFFF"/>
              </a:solidFill>
              <a:ln w="6350" cap="rnd">
                <a:noFill/>
              </a:ln>
              <a:effectLst>
                <a:outerShdw blurRad="25400" dist="254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204" name="Rounded Rectangle 203"/>
              <p:cNvSpPr/>
              <p:nvPr/>
            </p:nvSpPr>
            <p:spPr>
              <a:xfrm>
                <a:off x="4077884" y="3136530"/>
                <a:ext cx="517357" cy="516459"/>
              </a:xfrm>
              <a:prstGeom prst="roundRect">
                <a:avLst>
                  <a:gd name="adj" fmla="val 8500"/>
                </a:avLst>
              </a:prstGeom>
              <a:solidFill>
                <a:srgbClr val="FFFFFF"/>
              </a:solidFill>
              <a:ln w="6350">
                <a:noFill/>
              </a:ln>
              <a:effectLst>
                <a:outerShdw blurRad="25400" dist="254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205" name="Rounded Rectangle 204"/>
              <p:cNvSpPr/>
              <p:nvPr/>
            </p:nvSpPr>
            <p:spPr>
              <a:xfrm>
                <a:off x="5266887" y="3136530"/>
                <a:ext cx="517357" cy="516459"/>
              </a:xfrm>
              <a:prstGeom prst="roundRect">
                <a:avLst>
                  <a:gd name="adj" fmla="val 8500"/>
                </a:avLst>
              </a:prstGeom>
              <a:solidFill>
                <a:srgbClr val="FFFFFF"/>
              </a:solidFill>
              <a:ln w="6350">
                <a:noFill/>
              </a:ln>
              <a:effectLst>
                <a:outerShdw blurRad="25400" dist="254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206" name="Rounded Rectangle 205"/>
              <p:cNvSpPr/>
              <p:nvPr/>
            </p:nvSpPr>
            <p:spPr>
              <a:xfrm>
                <a:off x="5861388" y="3136530"/>
                <a:ext cx="517357" cy="516459"/>
              </a:xfrm>
              <a:prstGeom prst="roundRect">
                <a:avLst>
                  <a:gd name="adj" fmla="val 8500"/>
                </a:avLst>
              </a:prstGeom>
              <a:solidFill>
                <a:srgbClr val="FFFFFF"/>
              </a:solidFill>
              <a:ln w="6350">
                <a:noFill/>
              </a:ln>
              <a:effectLst>
                <a:outerShdw blurRad="25400" dist="254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207" name="Rounded Rectangle 206"/>
              <p:cNvSpPr/>
              <p:nvPr/>
            </p:nvSpPr>
            <p:spPr>
              <a:xfrm>
                <a:off x="6455890" y="3136530"/>
                <a:ext cx="517357" cy="516459"/>
              </a:xfrm>
              <a:prstGeom prst="roundRect">
                <a:avLst>
                  <a:gd name="adj" fmla="val 8500"/>
                </a:avLst>
              </a:prstGeom>
              <a:solidFill>
                <a:srgbClr val="FFFFFF"/>
              </a:solidFill>
              <a:ln w="6350">
                <a:noFill/>
              </a:ln>
              <a:effectLst>
                <a:outerShdw blurRad="25400" dist="254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208" name="Rounded Rectangle 207"/>
              <p:cNvSpPr/>
              <p:nvPr/>
            </p:nvSpPr>
            <p:spPr>
              <a:xfrm>
                <a:off x="8239394" y="3136530"/>
                <a:ext cx="517357" cy="516459"/>
              </a:xfrm>
              <a:prstGeom prst="roundRect">
                <a:avLst>
                  <a:gd name="adj" fmla="val 8500"/>
                </a:avLst>
              </a:prstGeom>
              <a:solidFill>
                <a:srgbClr val="FFFFFF"/>
              </a:solidFill>
              <a:ln w="6350">
                <a:noFill/>
              </a:ln>
              <a:effectLst>
                <a:outerShdw blurRad="25400" dist="254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</p:grpSp>
        <p:sp>
          <p:nvSpPr>
            <p:cNvPr id="209" name="Rounded Rectangle 208"/>
            <p:cNvSpPr/>
            <p:nvPr/>
          </p:nvSpPr>
          <p:spPr>
            <a:xfrm>
              <a:off x="8532145" y="3020120"/>
              <a:ext cx="480704" cy="479869"/>
            </a:xfrm>
            <a:prstGeom prst="roundRect">
              <a:avLst>
                <a:gd name="adj" fmla="val 8500"/>
              </a:avLst>
            </a:prstGeom>
            <a:solidFill>
              <a:srgbClr val="78D2D2"/>
            </a:solidFill>
            <a:ln w="6350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10" name="Rounded Rectangle 209"/>
            <p:cNvSpPr/>
            <p:nvPr/>
          </p:nvSpPr>
          <p:spPr>
            <a:xfrm>
              <a:off x="3008319" y="2470327"/>
              <a:ext cx="480704" cy="479869"/>
            </a:xfrm>
            <a:prstGeom prst="roundRect">
              <a:avLst>
                <a:gd name="adj" fmla="val 8500"/>
              </a:avLst>
            </a:prstGeom>
            <a:solidFill>
              <a:srgbClr val="E7E6E6"/>
            </a:solidFill>
            <a:ln w="31750" cap="rnd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11" name="Rounded Rectangle 210"/>
            <p:cNvSpPr/>
            <p:nvPr/>
          </p:nvSpPr>
          <p:spPr>
            <a:xfrm>
              <a:off x="3560702" y="2470327"/>
              <a:ext cx="480704" cy="479869"/>
            </a:xfrm>
            <a:prstGeom prst="roundRect">
              <a:avLst>
                <a:gd name="adj" fmla="val 8500"/>
              </a:avLst>
            </a:prstGeom>
            <a:solidFill>
              <a:srgbClr val="E7E6E6"/>
            </a:solidFill>
            <a:ln w="31750" cap="rnd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12" name="Rounded Rectangle 211"/>
            <p:cNvSpPr/>
            <p:nvPr/>
          </p:nvSpPr>
          <p:spPr>
            <a:xfrm>
              <a:off x="4113085" y="2470327"/>
              <a:ext cx="480704" cy="479869"/>
            </a:xfrm>
            <a:prstGeom prst="roundRect">
              <a:avLst>
                <a:gd name="adj" fmla="val 8500"/>
              </a:avLst>
            </a:prstGeom>
            <a:solidFill>
              <a:srgbClr val="E7E6E6"/>
            </a:solidFill>
            <a:ln w="317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13" name="Rounded Rectangle 212"/>
            <p:cNvSpPr/>
            <p:nvPr/>
          </p:nvSpPr>
          <p:spPr>
            <a:xfrm>
              <a:off x="4665467" y="2470327"/>
              <a:ext cx="480704" cy="479869"/>
            </a:xfrm>
            <a:prstGeom prst="roundRect">
              <a:avLst>
                <a:gd name="adj" fmla="val 8500"/>
              </a:avLst>
            </a:prstGeom>
            <a:solidFill>
              <a:srgbClr val="E7E6E6"/>
            </a:solidFill>
            <a:ln w="317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14" name="Rounded Rectangle 213"/>
            <p:cNvSpPr/>
            <p:nvPr/>
          </p:nvSpPr>
          <p:spPr>
            <a:xfrm>
              <a:off x="5217851" y="2470327"/>
              <a:ext cx="480704" cy="479869"/>
            </a:xfrm>
            <a:prstGeom prst="roundRect">
              <a:avLst>
                <a:gd name="adj" fmla="val 8500"/>
              </a:avLst>
            </a:prstGeom>
            <a:solidFill>
              <a:srgbClr val="E7E6E6"/>
            </a:solidFill>
            <a:ln w="317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15" name="Rounded Rectangle 214"/>
            <p:cNvSpPr/>
            <p:nvPr/>
          </p:nvSpPr>
          <p:spPr>
            <a:xfrm>
              <a:off x="5770233" y="2470327"/>
              <a:ext cx="480704" cy="479869"/>
            </a:xfrm>
            <a:prstGeom prst="roundRect">
              <a:avLst>
                <a:gd name="adj" fmla="val 8500"/>
              </a:avLst>
            </a:prstGeom>
            <a:solidFill>
              <a:srgbClr val="E7E6E6"/>
            </a:solidFill>
            <a:ln w="317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16" name="Rounded Rectangle 215"/>
            <p:cNvSpPr/>
            <p:nvPr/>
          </p:nvSpPr>
          <p:spPr>
            <a:xfrm>
              <a:off x="6322617" y="2470327"/>
              <a:ext cx="480704" cy="479869"/>
            </a:xfrm>
            <a:prstGeom prst="roundRect">
              <a:avLst>
                <a:gd name="adj" fmla="val 8500"/>
              </a:avLst>
            </a:prstGeom>
            <a:solidFill>
              <a:srgbClr val="E7E6E6"/>
            </a:solidFill>
            <a:ln w="317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17" name="Rounded Rectangle 216"/>
            <p:cNvSpPr/>
            <p:nvPr/>
          </p:nvSpPr>
          <p:spPr>
            <a:xfrm>
              <a:off x="6874999" y="2470327"/>
              <a:ext cx="480704" cy="479869"/>
            </a:xfrm>
            <a:prstGeom prst="roundRect">
              <a:avLst>
                <a:gd name="adj" fmla="val 8500"/>
              </a:avLst>
            </a:prstGeom>
            <a:solidFill>
              <a:srgbClr val="E7E6E6"/>
            </a:solidFill>
            <a:ln w="317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18" name="Rounded Rectangle 217"/>
            <p:cNvSpPr/>
            <p:nvPr/>
          </p:nvSpPr>
          <p:spPr>
            <a:xfrm>
              <a:off x="7427382" y="2470327"/>
              <a:ext cx="480704" cy="479869"/>
            </a:xfrm>
            <a:prstGeom prst="roundRect">
              <a:avLst>
                <a:gd name="adj" fmla="val 8500"/>
              </a:avLst>
            </a:prstGeom>
            <a:solidFill>
              <a:srgbClr val="E7E6E6"/>
            </a:solidFill>
            <a:ln w="317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19" name="Rounded Rectangle 218"/>
            <p:cNvSpPr/>
            <p:nvPr/>
          </p:nvSpPr>
          <p:spPr>
            <a:xfrm>
              <a:off x="7979765" y="2470327"/>
              <a:ext cx="480704" cy="479869"/>
            </a:xfrm>
            <a:prstGeom prst="roundRect">
              <a:avLst>
                <a:gd name="adj" fmla="val 8500"/>
              </a:avLst>
            </a:prstGeom>
            <a:solidFill>
              <a:srgbClr val="E7E6E6"/>
            </a:solidFill>
            <a:ln w="317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20" name="Rounded Rectangle 219"/>
            <p:cNvSpPr/>
            <p:nvPr/>
          </p:nvSpPr>
          <p:spPr>
            <a:xfrm>
              <a:off x="8532145" y="2470327"/>
              <a:ext cx="480704" cy="479869"/>
            </a:xfrm>
            <a:prstGeom prst="roundRect">
              <a:avLst>
                <a:gd name="adj" fmla="val 8500"/>
              </a:avLst>
            </a:prstGeom>
            <a:solidFill>
              <a:srgbClr val="E7E6E6"/>
            </a:solidFill>
            <a:ln w="317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21" name="Rounded Rectangle 220"/>
            <p:cNvSpPr/>
            <p:nvPr/>
          </p:nvSpPr>
          <p:spPr>
            <a:xfrm>
              <a:off x="2455936" y="2470327"/>
              <a:ext cx="480704" cy="479869"/>
            </a:xfrm>
            <a:prstGeom prst="roundRect">
              <a:avLst>
                <a:gd name="adj" fmla="val 8500"/>
              </a:avLst>
            </a:prstGeom>
            <a:solidFill>
              <a:srgbClr val="E7E6E6"/>
            </a:solidFill>
            <a:ln w="31750" cap="rnd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22" name="TextBox 221"/>
            <p:cNvSpPr txBox="1"/>
            <p:nvPr/>
          </p:nvSpPr>
          <p:spPr>
            <a:xfrm>
              <a:off x="2455938" y="2594846"/>
              <a:ext cx="480704" cy="230833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JAN</a:t>
              </a:r>
            </a:p>
          </p:txBody>
        </p:sp>
        <p:sp>
          <p:nvSpPr>
            <p:cNvPr id="223" name="TextBox 222"/>
            <p:cNvSpPr txBox="1"/>
            <p:nvPr/>
          </p:nvSpPr>
          <p:spPr>
            <a:xfrm>
              <a:off x="3008320" y="2594846"/>
              <a:ext cx="480704" cy="230833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FEB</a:t>
              </a:r>
            </a:p>
          </p:txBody>
        </p:sp>
        <p:sp>
          <p:nvSpPr>
            <p:cNvPr id="224" name="TextBox 223"/>
            <p:cNvSpPr txBox="1"/>
            <p:nvPr/>
          </p:nvSpPr>
          <p:spPr>
            <a:xfrm>
              <a:off x="3560702" y="2594846"/>
              <a:ext cx="480704" cy="230833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MAR</a:t>
              </a:r>
            </a:p>
          </p:txBody>
        </p:sp>
        <p:sp>
          <p:nvSpPr>
            <p:cNvPr id="225" name="TextBox 224"/>
            <p:cNvSpPr txBox="1"/>
            <p:nvPr/>
          </p:nvSpPr>
          <p:spPr>
            <a:xfrm>
              <a:off x="4113086" y="2594846"/>
              <a:ext cx="480704" cy="230833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APR</a:t>
              </a:r>
            </a:p>
          </p:txBody>
        </p:sp>
        <p:sp>
          <p:nvSpPr>
            <p:cNvPr id="226" name="TextBox 225"/>
            <p:cNvSpPr txBox="1"/>
            <p:nvPr/>
          </p:nvSpPr>
          <p:spPr>
            <a:xfrm>
              <a:off x="4665469" y="2594846"/>
              <a:ext cx="480704" cy="230833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MAY</a:t>
              </a:r>
            </a:p>
          </p:txBody>
        </p:sp>
        <p:sp>
          <p:nvSpPr>
            <p:cNvPr id="227" name="TextBox 226"/>
            <p:cNvSpPr txBox="1"/>
            <p:nvPr/>
          </p:nvSpPr>
          <p:spPr>
            <a:xfrm>
              <a:off x="5217851" y="2594846"/>
              <a:ext cx="480704" cy="230833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JUN</a:t>
              </a:r>
            </a:p>
          </p:txBody>
        </p:sp>
        <p:sp>
          <p:nvSpPr>
            <p:cNvPr id="228" name="TextBox 227"/>
            <p:cNvSpPr txBox="1"/>
            <p:nvPr/>
          </p:nvSpPr>
          <p:spPr>
            <a:xfrm>
              <a:off x="5770234" y="2594846"/>
              <a:ext cx="480704" cy="230833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JUL</a:t>
              </a:r>
            </a:p>
          </p:txBody>
        </p:sp>
        <p:sp>
          <p:nvSpPr>
            <p:cNvPr id="229" name="TextBox 228"/>
            <p:cNvSpPr txBox="1"/>
            <p:nvPr/>
          </p:nvSpPr>
          <p:spPr>
            <a:xfrm>
              <a:off x="6322617" y="2594846"/>
              <a:ext cx="480704" cy="230833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AUG</a:t>
              </a:r>
            </a:p>
          </p:txBody>
        </p:sp>
        <p:sp>
          <p:nvSpPr>
            <p:cNvPr id="230" name="TextBox 229"/>
            <p:cNvSpPr txBox="1"/>
            <p:nvPr/>
          </p:nvSpPr>
          <p:spPr>
            <a:xfrm>
              <a:off x="6874999" y="2594846"/>
              <a:ext cx="480704" cy="230833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SEP</a:t>
              </a:r>
            </a:p>
          </p:txBody>
        </p:sp>
        <p:sp>
          <p:nvSpPr>
            <p:cNvPr id="231" name="TextBox 230"/>
            <p:cNvSpPr txBox="1"/>
            <p:nvPr/>
          </p:nvSpPr>
          <p:spPr>
            <a:xfrm>
              <a:off x="7427383" y="2594846"/>
              <a:ext cx="480704" cy="230833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OCT</a:t>
              </a:r>
            </a:p>
          </p:txBody>
        </p:sp>
        <p:sp>
          <p:nvSpPr>
            <p:cNvPr id="232" name="TextBox 231"/>
            <p:cNvSpPr txBox="1"/>
            <p:nvPr/>
          </p:nvSpPr>
          <p:spPr>
            <a:xfrm>
              <a:off x="7979765" y="2594846"/>
              <a:ext cx="480704" cy="230833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NOV</a:t>
              </a:r>
            </a:p>
          </p:txBody>
        </p:sp>
        <p:sp>
          <p:nvSpPr>
            <p:cNvPr id="233" name="TextBox 232"/>
            <p:cNvSpPr txBox="1"/>
            <p:nvPr/>
          </p:nvSpPr>
          <p:spPr>
            <a:xfrm>
              <a:off x="8532146" y="2594846"/>
              <a:ext cx="480704" cy="230833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DEC</a:t>
              </a:r>
            </a:p>
          </p:txBody>
        </p:sp>
        <p:sp>
          <p:nvSpPr>
            <p:cNvPr id="234" name="TextBox 233"/>
            <p:cNvSpPr txBox="1"/>
            <p:nvPr/>
          </p:nvSpPr>
          <p:spPr>
            <a:xfrm>
              <a:off x="888296" y="3032963"/>
              <a:ext cx="1425388" cy="461665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  <a:t>Lorem ipsum is simply dummy text</a:t>
              </a:r>
            </a:p>
          </p:txBody>
        </p:sp>
        <p:sp>
          <p:nvSpPr>
            <p:cNvPr id="235" name="TextBox 234"/>
            <p:cNvSpPr txBox="1"/>
            <p:nvPr/>
          </p:nvSpPr>
          <p:spPr>
            <a:xfrm>
              <a:off x="888296" y="3580623"/>
              <a:ext cx="1425388" cy="461665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  <a:t>Lorem ipsum is simply dummy text</a:t>
              </a:r>
            </a:p>
          </p:txBody>
        </p:sp>
        <p:sp>
          <p:nvSpPr>
            <p:cNvPr id="236" name="TextBox 235"/>
            <p:cNvSpPr txBox="1"/>
            <p:nvPr/>
          </p:nvSpPr>
          <p:spPr>
            <a:xfrm>
              <a:off x="888296" y="5223595"/>
              <a:ext cx="1425388" cy="461665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  <a:t>Lorem ipsum is simply dummy text</a:t>
              </a:r>
            </a:p>
          </p:txBody>
        </p:sp>
        <p:sp>
          <p:nvSpPr>
            <p:cNvPr id="237" name="TextBox 236"/>
            <p:cNvSpPr txBox="1"/>
            <p:nvPr/>
          </p:nvSpPr>
          <p:spPr>
            <a:xfrm>
              <a:off x="888296" y="4675938"/>
              <a:ext cx="1425388" cy="461665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  <a:t>Lorem ipsum is simply dummy text</a:t>
              </a:r>
            </a:p>
          </p:txBody>
        </p:sp>
        <p:sp>
          <p:nvSpPr>
            <p:cNvPr id="238" name="TextBox 237"/>
            <p:cNvSpPr txBox="1"/>
            <p:nvPr/>
          </p:nvSpPr>
          <p:spPr>
            <a:xfrm>
              <a:off x="888296" y="4128279"/>
              <a:ext cx="1425388" cy="461665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  <a:t>Lorem ipsum is simply dummy text</a:t>
              </a:r>
            </a:p>
          </p:txBody>
        </p:sp>
        <p:sp>
          <p:nvSpPr>
            <p:cNvPr id="239" name="TextBox 238"/>
            <p:cNvSpPr txBox="1"/>
            <p:nvPr/>
          </p:nvSpPr>
          <p:spPr>
            <a:xfrm>
              <a:off x="979500" y="2615454"/>
              <a:ext cx="1225158" cy="289759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4 MONTHS</a:t>
              </a:r>
            </a:p>
          </p:txBody>
        </p:sp>
        <p:sp>
          <p:nvSpPr>
            <p:cNvPr id="240" name="TextBox 239"/>
            <p:cNvSpPr txBox="1"/>
            <p:nvPr/>
          </p:nvSpPr>
          <p:spPr>
            <a:xfrm>
              <a:off x="2628045" y="1944962"/>
              <a:ext cx="1745784" cy="415499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I  QUARTER </a:t>
              </a:r>
            </a:p>
          </p:txBody>
        </p:sp>
        <p:sp>
          <p:nvSpPr>
            <p:cNvPr id="241" name="TextBox 240"/>
            <p:cNvSpPr txBox="1"/>
            <p:nvPr/>
          </p:nvSpPr>
          <p:spPr>
            <a:xfrm>
              <a:off x="4843378" y="1944962"/>
              <a:ext cx="1745784" cy="415499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II  QUARTER </a:t>
              </a:r>
            </a:p>
          </p:txBody>
        </p:sp>
        <p:sp>
          <p:nvSpPr>
            <p:cNvPr id="242" name="TextBox 241"/>
            <p:cNvSpPr txBox="1"/>
            <p:nvPr/>
          </p:nvSpPr>
          <p:spPr>
            <a:xfrm>
              <a:off x="7058710" y="1944962"/>
              <a:ext cx="1745784" cy="415499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III  QUARTER </a:t>
              </a:r>
            </a:p>
          </p:txBody>
        </p:sp>
        <p:grpSp>
          <p:nvGrpSpPr>
            <p:cNvPr id="256" name="Group 255"/>
            <p:cNvGrpSpPr/>
            <p:nvPr/>
          </p:nvGrpSpPr>
          <p:grpSpPr>
            <a:xfrm>
              <a:off x="1290616" y="2068234"/>
              <a:ext cx="602922" cy="522976"/>
              <a:chOff x="8736013" y="2536825"/>
              <a:chExt cx="287338" cy="249238"/>
            </a:xfrm>
            <a:solidFill>
              <a:srgbClr val="3B3939"/>
            </a:solidFill>
          </p:grpSpPr>
          <p:sp>
            <p:nvSpPr>
              <p:cNvPr id="257" name="Freeform 219"/>
              <p:cNvSpPr>
                <a:spLocks noEditPoints="1"/>
              </p:cNvSpPr>
              <p:nvPr/>
            </p:nvSpPr>
            <p:spPr bwMode="auto">
              <a:xfrm>
                <a:off x="8793163" y="2632075"/>
                <a:ext cx="230188" cy="153988"/>
              </a:xfrm>
              <a:custGeom>
                <a:avLst/>
                <a:gdLst>
                  <a:gd name="T0" fmla="*/ 621 w 722"/>
                  <a:gd name="T1" fmla="*/ 368 h 481"/>
                  <a:gd name="T2" fmla="*/ 588 w 722"/>
                  <a:gd name="T3" fmla="*/ 338 h 481"/>
                  <a:gd name="T4" fmla="*/ 557 w 722"/>
                  <a:gd name="T5" fmla="*/ 331 h 481"/>
                  <a:gd name="T6" fmla="*/ 525 w 722"/>
                  <a:gd name="T7" fmla="*/ 338 h 481"/>
                  <a:gd name="T8" fmla="*/ 493 w 722"/>
                  <a:gd name="T9" fmla="*/ 368 h 481"/>
                  <a:gd name="T10" fmla="*/ 451 w 722"/>
                  <a:gd name="T11" fmla="*/ 391 h 481"/>
                  <a:gd name="T12" fmla="*/ 557 w 722"/>
                  <a:gd name="T13" fmla="*/ 451 h 481"/>
                  <a:gd name="T14" fmla="*/ 520 w 722"/>
                  <a:gd name="T15" fmla="*/ 432 h 481"/>
                  <a:gd name="T16" fmla="*/ 515 w 722"/>
                  <a:gd name="T17" fmla="*/ 389 h 481"/>
                  <a:gd name="T18" fmla="*/ 547 w 722"/>
                  <a:gd name="T19" fmla="*/ 362 h 481"/>
                  <a:gd name="T20" fmla="*/ 588 w 722"/>
                  <a:gd name="T21" fmla="*/ 374 h 481"/>
                  <a:gd name="T22" fmla="*/ 601 w 722"/>
                  <a:gd name="T23" fmla="*/ 415 h 481"/>
                  <a:gd name="T24" fmla="*/ 574 w 722"/>
                  <a:gd name="T25" fmla="*/ 448 h 481"/>
                  <a:gd name="T26" fmla="*/ 451 w 722"/>
                  <a:gd name="T27" fmla="*/ 241 h 481"/>
                  <a:gd name="T28" fmla="*/ 163 w 722"/>
                  <a:gd name="T29" fmla="*/ 448 h 481"/>
                  <a:gd name="T30" fmla="*/ 136 w 722"/>
                  <a:gd name="T31" fmla="*/ 415 h 481"/>
                  <a:gd name="T32" fmla="*/ 149 w 722"/>
                  <a:gd name="T33" fmla="*/ 374 h 481"/>
                  <a:gd name="T34" fmla="*/ 190 w 722"/>
                  <a:gd name="T35" fmla="*/ 362 h 481"/>
                  <a:gd name="T36" fmla="*/ 222 w 722"/>
                  <a:gd name="T37" fmla="*/ 389 h 481"/>
                  <a:gd name="T38" fmla="*/ 219 w 722"/>
                  <a:gd name="T39" fmla="*/ 431 h 481"/>
                  <a:gd name="T40" fmla="*/ 181 w 722"/>
                  <a:gd name="T41" fmla="*/ 451 h 481"/>
                  <a:gd name="T42" fmla="*/ 565 w 722"/>
                  <a:gd name="T43" fmla="*/ 94 h 481"/>
                  <a:gd name="T44" fmla="*/ 451 w 722"/>
                  <a:gd name="T45" fmla="*/ 15 h 481"/>
                  <a:gd name="T46" fmla="*/ 445 w 722"/>
                  <a:gd name="T47" fmla="*/ 3 h 481"/>
                  <a:gd name="T48" fmla="*/ 253 w 722"/>
                  <a:gd name="T49" fmla="*/ 0 h 481"/>
                  <a:gd name="T50" fmla="*/ 242 w 722"/>
                  <a:gd name="T51" fmla="*/ 10 h 481"/>
                  <a:gd name="T52" fmla="*/ 243 w 722"/>
                  <a:gd name="T53" fmla="*/ 24 h 481"/>
                  <a:gd name="T54" fmla="*/ 256 w 722"/>
                  <a:gd name="T55" fmla="*/ 30 h 481"/>
                  <a:gd name="T56" fmla="*/ 251 w 722"/>
                  <a:gd name="T57" fmla="*/ 378 h 481"/>
                  <a:gd name="T58" fmla="*/ 224 w 722"/>
                  <a:gd name="T59" fmla="*/ 344 h 481"/>
                  <a:gd name="T60" fmla="*/ 194 w 722"/>
                  <a:gd name="T61" fmla="*/ 332 h 481"/>
                  <a:gd name="T62" fmla="*/ 161 w 722"/>
                  <a:gd name="T63" fmla="*/ 334 h 481"/>
                  <a:gd name="T64" fmla="*/ 133 w 722"/>
                  <a:gd name="T65" fmla="*/ 349 h 481"/>
                  <a:gd name="T66" fmla="*/ 108 w 722"/>
                  <a:gd name="T67" fmla="*/ 385 h 481"/>
                  <a:gd name="T68" fmla="*/ 29 w 722"/>
                  <a:gd name="T69" fmla="*/ 115 h 481"/>
                  <a:gd name="T70" fmla="*/ 18 w 722"/>
                  <a:gd name="T71" fmla="*/ 106 h 481"/>
                  <a:gd name="T72" fmla="*/ 4 w 722"/>
                  <a:gd name="T73" fmla="*/ 110 h 481"/>
                  <a:gd name="T74" fmla="*/ 0 w 722"/>
                  <a:gd name="T75" fmla="*/ 406 h 481"/>
                  <a:gd name="T76" fmla="*/ 6 w 722"/>
                  <a:gd name="T77" fmla="*/ 419 h 481"/>
                  <a:gd name="T78" fmla="*/ 108 w 722"/>
                  <a:gd name="T79" fmla="*/ 428 h 481"/>
                  <a:gd name="T80" fmla="*/ 133 w 722"/>
                  <a:gd name="T81" fmla="*/ 464 h 481"/>
                  <a:gd name="T82" fmla="*/ 161 w 722"/>
                  <a:gd name="T83" fmla="*/ 479 h 481"/>
                  <a:gd name="T84" fmla="*/ 194 w 722"/>
                  <a:gd name="T85" fmla="*/ 480 h 481"/>
                  <a:gd name="T86" fmla="*/ 224 w 722"/>
                  <a:gd name="T87" fmla="*/ 468 h 481"/>
                  <a:gd name="T88" fmla="*/ 251 w 722"/>
                  <a:gd name="T89" fmla="*/ 434 h 481"/>
                  <a:gd name="T90" fmla="*/ 484 w 722"/>
                  <a:gd name="T91" fmla="*/ 428 h 481"/>
                  <a:gd name="T92" fmla="*/ 509 w 722"/>
                  <a:gd name="T93" fmla="*/ 464 h 481"/>
                  <a:gd name="T94" fmla="*/ 537 w 722"/>
                  <a:gd name="T95" fmla="*/ 479 h 481"/>
                  <a:gd name="T96" fmla="*/ 570 w 722"/>
                  <a:gd name="T97" fmla="*/ 480 h 481"/>
                  <a:gd name="T98" fmla="*/ 599 w 722"/>
                  <a:gd name="T99" fmla="*/ 468 h 481"/>
                  <a:gd name="T100" fmla="*/ 627 w 722"/>
                  <a:gd name="T101" fmla="*/ 434 h 481"/>
                  <a:gd name="T102" fmla="*/ 712 w 722"/>
                  <a:gd name="T103" fmla="*/ 420 h 481"/>
                  <a:gd name="T104" fmla="*/ 722 w 722"/>
                  <a:gd name="T105" fmla="*/ 410 h 481"/>
                  <a:gd name="T106" fmla="*/ 721 w 722"/>
                  <a:gd name="T107" fmla="*/ 250 h 4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722" h="481">
                    <a:moveTo>
                      <a:pt x="630" y="391"/>
                    </a:moveTo>
                    <a:lnTo>
                      <a:pt x="629" y="385"/>
                    </a:lnTo>
                    <a:lnTo>
                      <a:pt x="627" y="378"/>
                    </a:lnTo>
                    <a:lnTo>
                      <a:pt x="623" y="373"/>
                    </a:lnTo>
                    <a:lnTo>
                      <a:pt x="621" y="368"/>
                    </a:lnTo>
                    <a:lnTo>
                      <a:pt x="614" y="357"/>
                    </a:lnTo>
                    <a:lnTo>
                      <a:pt x="604" y="349"/>
                    </a:lnTo>
                    <a:lnTo>
                      <a:pt x="599" y="344"/>
                    </a:lnTo>
                    <a:lnTo>
                      <a:pt x="593" y="341"/>
                    </a:lnTo>
                    <a:lnTo>
                      <a:pt x="588" y="338"/>
                    </a:lnTo>
                    <a:lnTo>
                      <a:pt x="583" y="336"/>
                    </a:lnTo>
                    <a:lnTo>
                      <a:pt x="576" y="334"/>
                    </a:lnTo>
                    <a:lnTo>
                      <a:pt x="570" y="332"/>
                    </a:lnTo>
                    <a:lnTo>
                      <a:pt x="563" y="331"/>
                    </a:lnTo>
                    <a:lnTo>
                      <a:pt x="557" y="331"/>
                    </a:lnTo>
                    <a:lnTo>
                      <a:pt x="550" y="331"/>
                    </a:lnTo>
                    <a:lnTo>
                      <a:pt x="543" y="332"/>
                    </a:lnTo>
                    <a:lnTo>
                      <a:pt x="537" y="334"/>
                    </a:lnTo>
                    <a:lnTo>
                      <a:pt x="530" y="336"/>
                    </a:lnTo>
                    <a:lnTo>
                      <a:pt x="525" y="338"/>
                    </a:lnTo>
                    <a:lnTo>
                      <a:pt x="520" y="341"/>
                    </a:lnTo>
                    <a:lnTo>
                      <a:pt x="514" y="344"/>
                    </a:lnTo>
                    <a:lnTo>
                      <a:pt x="509" y="349"/>
                    </a:lnTo>
                    <a:lnTo>
                      <a:pt x="499" y="357"/>
                    </a:lnTo>
                    <a:lnTo>
                      <a:pt x="493" y="368"/>
                    </a:lnTo>
                    <a:lnTo>
                      <a:pt x="490" y="373"/>
                    </a:lnTo>
                    <a:lnTo>
                      <a:pt x="486" y="378"/>
                    </a:lnTo>
                    <a:lnTo>
                      <a:pt x="484" y="385"/>
                    </a:lnTo>
                    <a:lnTo>
                      <a:pt x="483" y="391"/>
                    </a:lnTo>
                    <a:lnTo>
                      <a:pt x="451" y="391"/>
                    </a:lnTo>
                    <a:lnTo>
                      <a:pt x="451" y="271"/>
                    </a:lnTo>
                    <a:lnTo>
                      <a:pt x="692" y="271"/>
                    </a:lnTo>
                    <a:lnTo>
                      <a:pt x="692" y="391"/>
                    </a:lnTo>
                    <a:lnTo>
                      <a:pt x="630" y="391"/>
                    </a:lnTo>
                    <a:close/>
                    <a:moveTo>
                      <a:pt x="557" y="451"/>
                    </a:moveTo>
                    <a:lnTo>
                      <a:pt x="547" y="450"/>
                    </a:lnTo>
                    <a:lnTo>
                      <a:pt x="539" y="448"/>
                    </a:lnTo>
                    <a:lnTo>
                      <a:pt x="531" y="444"/>
                    </a:lnTo>
                    <a:lnTo>
                      <a:pt x="525" y="438"/>
                    </a:lnTo>
                    <a:lnTo>
                      <a:pt x="520" y="432"/>
                    </a:lnTo>
                    <a:lnTo>
                      <a:pt x="515" y="423"/>
                    </a:lnTo>
                    <a:lnTo>
                      <a:pt x="512" y="415"/>
                    </a:lnTo>
                    <a:lnTo>
                      <a:pt x="511" y="406"/>
                    </a:lnTo>
                    <a:lnTo>
                      <a:pt x="512" y="398"/>
                    </a:lnTo>
                    <a:lnTo>
                      <a:pt x="515" y="389"/>
                    </a:lnTo>
                    <a:lnTo>
                      <a:pt x="520" y="381"/>
                    </a:lnTo>
                    <a:lnTo>
                      <a:pt x="525" y="374"/>
                    </a:lnTo>
                    <a:lnTo>
                      <a:pt x="531" y="369"/>
                    </a:lnTo>
                    <a:lnTo>
                      <a:pt x="539" y="365"/>
                    </a:lnTo>
                    <a:lnTo>
                      <a:pt x="547" y="362"/>
                    </a:lnTo>
                    <a:lnTo>
                      <a:pt x="557" y="361"/>
                    </a:lnTo>
                    <a:lnTo>
                      <a:pt x="566" y="362"/>
                    </a:lnTo>
                    <a:lnTo>
                      <a:pt x="574" y="365"/>
                    </a:lnTo>
                    <a:lnTo>
                      <a:pt x="582" y="369"/>
                    </a:lnTo>
                    <a:lnTo>
                      <a:pt x="588" y="374"/>
                    </a:lnTo>
                    <a:lnTo>
                      <a:pt x="593" y="381"/>
                    </a:lnTo>
                    <a:lnTo>
                      <a:pt x="598" y="389"/>
                    </a:lnTo>
                    <a:lnTo>
                      <a:pt x="601" y="398"/>
                    </a:lnTo>
                    <a:lnTo>
                      <a:pt x="602" y="406"/>
                    </a:lnTo>
                    <a:lnTo>
                      <a:pt x="601" y="415"/>
                    </a:lnTo>
                    <a:lnTo>
                      <a:pt x="598" y="423"/>
                    </a:lnTo>
                    <a:lnTo>
                      <a:pt x="593" y="431"/>
                    </a:lnTo>
                    <a:lnTo>
                      <a:pt x="588" y="438"/>
                    </a:lnTo>
                    <a:lnTo>
                      <a:pt x="582" y="444"/>
                    </a:lnTo>
                    <a:lnTo>
                      <a:pt x="574" y="448"/>
                    </a:lnTo>
                    <a:lnTo>
                      <a:pt x="566" y="450"/>
                    </a:lnTo>
                    <a:lnTo>
                      <a:pt x="557" y="451"/>
                    </a:lnTo>
                    <a:close/>
                    <a:moveTo>
                      <a:pt x="551" y="120"/>
                    </a:moveTo>
                    <a:lnTo>
                      <a:pt x="671" y="241"/>
                    </a:lnTo>
                    <a:lnTo>
                      <a:pt x="451" y="241"/>
                    </a:lnTo>
                    <a:lnTo>
                      <a:pt x="451" y="120"/>
                    </a:lnTo>
                    <a:lnTo>
                      <a:pt x="551" y="120"/>
                    </a:lnTo>
                    <a:close/>
                    <a:moveTo>
                      <a:pt x="181" y="451"/>
                    </a:moveTo>
                    <a:lnTo>
                      <a:pt x="171" y="450"/>
                    </a:lnTo>
                    <a:lnTo>
                      <a:pt x="163" y="448"/>
                    </a:lnTo>
                    <a:lnTo>
                      <a:pt x="155" y="444"/>
                    </a:lnTo>
                    <a:lnTo>
                      <a:pt x="149" y="438"/>
                    </a:lnTo>
                    <a:lnTo>
                      <a:pt x="144" y="432"/>
                    </a:lnTo>
                    <a:lnTo>
                      <a:pt x="139" y="423"/>
                    </a:lnTo>
                    <a:lnTo>
                      <a:pt x="136" y="415"/>
                    </a:lnTo>
                    <a:lnTo>
                      <a:pt x="136" y="406"/>
                    </a:lnTo>
                    <a:lnTo>
                      <a:pt x="136" y="398"/>
                    </a:lnTo>
                    <a:lnTo>
                      <a:pt x="139" y="389"/>
                    </a:lnTo>
                    <a:lnTo>
                      <a:pt x="144" y="381"/>
                    </a:lnTo>
                    <a:lnTo>
                      <a:pt x="149" y="374"/>
                    </a:lnTo>
                    <a:lnTo>
                      <a:pt x="155" y="369"/>
                    </a:lnTo>
                    <a:lnTo>
                      <a:pt x="163" y="365"/>
                    </a:lnTo>
                    <a:lnTo>
                      <a:pt x="171" y="362"/>
                    </a:lnTo>
                    <a:lnTo>
                      <a:pt x="181" y="361"/>
                    </a:lnTo>
                    <a:lnTo>
                      <a:pt x="190" y="362"/>
                    </a:lnTo>
                    <a:lnTo>
                      <a:pt x="198" y="365"/>
                    </a:lnTo>
                    <a:lnTo>
                      <a:pt x="206" y="369"/>
                    </a:lnTo>
                    <a:lnTo>
                      <a:pt x="212" y="374"/>
                    </a:lnTo>
                    <a:lnTo>
                      <a:pt x="219" y="381"/>
                    </a:lnTo>
                    <a:lnTo>
                      <a:pt x="222" y="389"/>
                    </a:lnTo>
                    <a:lnTo>
                      <a:pt x="225" y="398"/>
                    </a:lnTo>
                    <a:lnTo>
                      <a:pt x="226" y="406"/>
                    </a:lnTo>
                    <a:lnTo>
                      <a:pt x="225" y="415"/>
                    </a:lnTo>
                    <a:lnTo>
                      <a:pt x="222" y="423"/>
                    </a:lnTo>
                    <a:lnTo>
                      <a:pt x="219" y="431"/>
                    </a:lnTo>
                    <a:lnTo>
                      <a:pt x="212" y="438"/>
                    </a:lnTo>
                    <a:lnTo>
                      <a:pt x="206" y="444"/>
                    </a:lnTo>
                    <a:lnTo>
                      <a:pt x="198" y="448"/>
                    </a:lnTo>
                    <a:lnTo>
                      <a:pt x="190" y="450"/>
                    </a:lnTo>
                    <a:lnTo>
                      <a:pt x="181" y="451"/>
                    </a:lnTo>
                    <a:close/>
                    <a:moveTo>
                      <a:pt x="721" y="250"/>
                    </a:moveTo>
                    <a:lnTo>
                      <a:pt x="720" y="248"/>
                    </a:lnTo>
                    <a:lnTo>
                      <a:pt x="718" y="246"/>
                    </a:lnTo>
                    <a:lnTo>
                      <a:pt x="568" y="95"/>
                    </a:lnTo>
                    <a:lnTo>
                      <a:pt x="565" y="94"/>
                    </a:lnTo>
                    <a:lnTo>
                      <a:pt x="562" y="91"/>
                    </a:lnTo>
                    <a:lnTo>
                      <a:pt x="559" y="91"/>
                    </a:lnTo>
                    <a:lnTo>
                      <a:pt x="557" y="90"/>
                    </a:lnTo>
                    <a:lnTo>
                      <a:pt x="451" y="90"/>
                    </a:lnTo>
                    <a:lnTo>
                      <a:pt x="451" y="15"/>
                    </a:lnTo>
                    <a:lnTo>
                      <a:pt x="451" y="12"/>
                    </a:lnTo>
                    <a:lnTo>
                      <a:pt x="450" y="10"/>
                    </a:lnTo>
                    <a:lnTo>
                      <a:pt x="449" y="7"/>
                    </a:lnTo>
                    <a:lnTo>
                      <a:pt x="447" y="5"/>
                    </a:lnTo>
                    <a:lnTo>
                      <a:pt x="445" y="3"/>
                    </a:lnTo>
                    <a:lnTo>
                      <a:pt x="442" y="1"/>
                    </a:lnTo>
                    <a:lnTo>
                      <a:pt x="439" y="0"/>
                    </a:lnTo>
                    <a:lnTo>
                      <a:pt x="436" y="0"/>
                    </a:lnTo>
                    <a:lnTo>
                      <a:pt x="256" y="0"/>
                    </a:lnTo>
                    <a:lnTo>
                      <a:pt x="253" y="0"/>
                    </a:lnTo>
                    <a:lnTo>
                      <a:pt x="250" y="1"/>
                    </a:lnTo>
                    <a:lnTo>
                      <a:pt x="247" y="3"/>
                    </a:lnTo>
                    <a:lnTo>
                      <a:pt x="245" y="5"/>
                    </a:lnTo>
                    <a:lnTo>
                      <a:pt x="243" y="7"/>
                    </a:lnTo>
                    <a:lnTo>
                      <a:pt x="242" y="10"/>
                    </a:lnTo>
                    <a:lnTo>
                      <a:pt x="241" y="12"/>
                    </a:lnTo>
                    <a:lnTo>
                      <a:pt x="241" y="15"/>
                    </a:lnTo>
                    <a:lnTo>
                      <a:pt x="241" y="19"/>
                    </a:lnTo>
                    <a:lnTo>
                      <a:pt x="242" y="22"/>
                    </a:lnTo>
                    <a:lnTo>
                      <a:pt x="243" y="24"/>
                    </a:lnTo>
                    <a:lnTo>
                      <a:pt x="245" y="26"/>
                    </a:lnTo>
                    <a:lnTo>
                      <a:pt x="247" y="28"/>
                    </a:lnTo>
                    <a:lnTo>
                      <a:pt x="250" y="29"/>
                    </a:lnTo>
                    <a:lnTo>
                      <a:pt x="253" y="30"/>
                    </a:lnTo>
                    <a:lnTo>
                      <a:pt x="256" y="30"/>
                    </a:lnTo>
                    <a:lnTo>
                      <a:pt x="421" y="30"/>
                    </a:lnTo>
                    <a:lnTo>
                      <a:pt x="421" y="391"/>
                    </a:lnTo>
                    <a:lnTo>
                      <a:pt x="254" y="391"/>
                    </a:lnTo>
                    <a:lnTo>
                      <a:pt x="253" y="385"/>
                    </a:lnTo>
                    <a:lnTo>
                      <a:pt x="251" y="378"/>
                    </a:lnTo>
                    <a:lnTo>
                      <a:pt x="249" y="373"/>
                    </a:lnTo>
                    <a:lnTo>
                      <a:pt x="245" y="368"/>
                    </a:lnTo>
                    <a:lnTo>
                      <a:pt x="238" y="357"/>
                    </a:lnTo>
                    <a:lnTo>
                      <a:pt x="228" y="349"/>
                    </a:lnTo>
                    <a:lnTo>
                      <a:pt x="224" y="344"/>
                    </a:lnTo>
                    <a:lnTo>
                      <a:pt x="219" y="341"/>
                    </a:lnTo>
                    <a:lnTo>
                      <a:pt x="212" y="338"/>
                    </a:lnTo>
                    <a:lnTo>
                      <a:pt x="207" y="336"/>
                    </a:lnTo>
                    <a:lnTo>
                      <a:pt x="200" y="334"/>
                    </a:lnTo>
                    <a:lnTo>
                      <a:pt x="194" y="332"/>
                    </a:lnTo>
                    <a:lnTo>
                      <a:pt x="187" y="331"/>
                    </a:lnTo>
                    <a:lnTo>
                      <a:pt x="181" y="331"/>
                    </a:lnTo>
                    <a:lnTo>
                      <a:pt x="174" y="331"/>
                    </a:lnTo>
                    <a:lnTo>
                      <a:pt x="167" y="332"/>
                    </a:lnTo>
                    <a:lnTo>
                      <a:pt x="161" y="334"/>
                    </a:lnTo>
                    <a:lnTo>
                      <a:pt x="155" y="336"/>
                    </a:lnTo>
                    <a:lnTo>
                      <a:pt x="149" y="338"/>
                    </a:lnTo>
                    <a:lnTo>
                      <a:pt x="144" y="341"/>
                    </a:lnTo>
                    <a:lnTo>
                      <a:pt x="138" y="344"/>
                    </a:lnTo>
                    <a:lnTo>
                      <a:pt x="133" y="349"/>
                    </a:lnTo>
                    <a:lnTo>
                      <a:pt x="124" y="357"/>
                    </a:lnTo>
                    <a:lnTo>
                      <a:pt x="117" y="368"/>
                    </a:lnTo>
                    <a:lnTo>
                      <a:pt x="114" y="373"/>
                    </a:lnTo>
                    <a:lnTo>
                      <a:pt x="110" y="378"/>
                    </a:lnTo>
                    <a:lnTo>
                      <a:pt x="108" y="385"/>
                    </a:lnTo>
                    <a:lnTo>
                      <a:pt x="107" y="391"/>
                    </a:lnTo>
                    <a:lnTo>
                      <a:pt x="30" y="391"/>
                    </a:lnTo>
                    <a:lnTo>
                      <a:pt x="30" y="120"/>
                    </a:lnTo>
                    <a:lnTo>
                      <a:pt x="30" y="117"/>
                    </a:lnTo>
                    <a:lnTo>
                      <a:pt x="29" y="115"/>
                    </a:lnTo>
                    <a:lnTo>
                      <a:pt x="28" y="112"/>
                    </a:lnTo>
                    <a:lnTo>
                      <a:pt x="26" y="110"/>
                    </a:lnTo>
                    <a:lnTo>
                      <a:pt x="24" y="109"/>
                    </a:lnTo>
                    <a:lnTo>
                      <a:pt x="21" y="106"/>
                    </a:lnTo>
                    <a:lnTo>
                      <a:pt x="18" y="106"/>
                    </a:lnTo>
                    <a:lnTo>
                      <a:pt x="15" y="105"/>
                    </a:lnTo>
                    <a:lnTo>
                      <a:pt x="12" y="106"/>
                    </a:lnTo>
                    <a:lnTo>
                      <a:pt x="10" y="106"/>
                    </a:lnTo>
                    <a:lnTo>
                      <a:pt x="6" y="109"/>
                    </a:lnTo>
                    <a:lnTo>
                      <a:pt x="4" y="110"/>
                    </a:lnTo>
                    <a:lnTo>
                      <a:pt x="3" y="112"/>
                    </a:lnTo>
                    <a:lnTo>
                      <a:pt x="1" y="115"/>
                    </a:lnTo>
                    <a:lnTo>
                      <a:pt x="1" y="117"/>
                    </a:lnTo>
                    <a:lnTo>
                      <a:pt x="0" y="120"/>
                    </a:lnTo>
                    <a:lnTo>
                      <a:pt x="0" y="406"/>
                    </a:lnTo>
                    <a:lnTo>
                      <a:pt x="1" y="410"/>
                    </a:lnTo>
                    <a:lnTo>
                      <a:pt x="1" y="412"/>
                    </a:lnTo>
                    <a:lnTo>
                      <a:pt x="3" y="415"/>
                    </a:lnTo>
                    <a:lnTo>
                      <a:pt x="4" y="417"/>
                    </a:lnTo>
                    <a:lnTo>
                      <a:pt x="6" y="419"/>
                    </a:lnTo>
                    <a:lnTo>
                      <a:pt x="10" y="420"/>
                    </a:lnTo>
                    <a:lnTo>
                      <a:pt x="12" y="421"/>
                    </a:lnTo>
                    <a:lnTo>
                      <a:pt x="15" y="421"/>
                    </a:lnTo>
                    <a:lnTo>
                      <a:pt x="107" y="421"/>
                    </a:lnTo>
                    <a:lnTo>
                      <a:pt x="108" y="428"/>
                    </a:lnTo>
                    <a:lnTo>
                      <a:pt x="110" y="434"/>
                    </a:lnTo>
                    <a:lnTo>
                      <a:pt x="114" y="440"/>
                    </a:lnTo>
                    <a:lnTo>
                      <a:pt x="117" y="445"/>
                    </a:lnTo>
                    <a:lnTo>
                      <a:pt x="124" y="456"/>
                    </a:lnTo>
                    <a:lnTo>
                      <a:pt x="133" y="464"/>
                    </a:lnTo>
                    <a:lnTo>
                      <a:pt x="138" y="468"/>
                    </a:lnTo>
                    <a:lnTo>
                      <a:pt x="144" y="472"/>
                    </a:lnTo>
                    <a:lnTo>
                      <a:pt x="149" y="475"/>
                    </a:lnTo>
                    <a:lnTo>
                      <a:pt x="155" y="477"/>
                    </a:lnTo>
                    <a:lnTo>
                      <a:pt x="161" y="479"/>
                    </a:lnTo>
                    <a:lnTo>
                      <a:pt x="167" y="480"/>
                    </a:lnTo>
                    <a:lnTo>
                      <a:pt x="174" y="481"/>
                    </a:lnTo>
                    <a:lnTo>
                      <a:pt x="181" y="481"/>
                    </a:lnTo>
                    <a:lnTo>
                      <a:pt x="187" y="481"/>
                    </a:lnTo>
                    <a:lnTo>
                      <a:pt x="194" y="480"/>
                    </a:lnTo>
                    <a:lnTo>
                      <a:pt x="200" y="479"/>
                    </a:lnTo>
                    <a:lnTo>
                      <a:pt x="207" y="477"/>
                    </a:lnTo>
                    <a:lnTo>
                      <a:pt x="212" y="475"/>
                    </a:lnTo>
                    <a:lnTo>
                      <a:pt x="219" y="472"/>
                    </a:lnTo>
                    <a:lnTo>
                      <a:pt x="224" y="468"/>
                    </a:lnTo>
                    <a:lnTo>
                      <a:pt x="228" y="464"/>
                    </a:lnTo>
                    <a:lnTo>
                      <a:pt x="238" y="456"/>
                    </a:lnTo>
                    <a:lnTo>
                      <a:pt x="245" y="445"/>
                    </a:lnTo>
                    <a:lnTo>
                      <a:pt x="249" y="440"/>
                    </a:lnTo>
                    <a:lnTo>
                      <a:pt x="251" y="434"/>
                    </a:lnTo>
                    <a:lnTo>
                      <a:pt x="253" y="428"/>
                    </a:lnTo>
                    <a:lnTo>
                      <a:pt x="254" y="421"/>
                    </a:lnTo>
                    <a:lnTo>
                      <a:pt x="436" y="421"/>
                    </a:lnTo>
                    <a:lnTo>
                      <a:pt x="483" y="421"/>
                    </a:lnTo>
                    <a:lnTo>
                      <a:pt x="484" y="428"/>
                    </a:lnTo>
                    <a:lnTo>
                      <a:pt x="486" y="434"/>
                    </a:lnTo>
                    <a:lnTo>
                      <a:pt x="490" y="440"/>
                    </a:lnTo>
                    <a:lnTo>
                      <a:pt x="493" y="445"/>
                    </a:lnTo>
                    <a:lnTo>
                      <a:pt x="499" y="456"/>
                    </a:lnTo>
                    <a:lnTo>
                      <a:pt x="509" y="464"/>
                    </a:lnTo>
                    <a:lnTo>
                      <a:pt x="514" y="468"/>
                    </a:lnTo>
                    <a:lnTo>
                      <a:pt x="520" y="472"/>
                    </a:lnTo>
                    <a:lnTo>
                      <a:pt x="525" y="475"/>
                    </a:lnTo>
                    <a:lnTo>
                      <a:pt x="530" y="477"/>
                    </a:lnTo>
                    <a:lnTo>
                      <a:pt x="537" y="479"/>
                    </a:lnTo>
                    <a:lnTo>
                      <a:pt x="543" y="480"/>
                    </a:lnTo>
                    <a:lnTo>
                      <a:pt x="550" y="481"/>
                    </a:lnTo>
                    <a:lnTo>
                      <a:pt x="557" y="481"/>
                    </a:lnTo>
                    <a:lnTo>
                      <a:pt x="563" y="481"/>
                    </a:lnTo>
                    <a:lnTo>
                      <a:pt x="570" y="480"/>
                    </a:lnTo>
                    <a:lnTo>
                      <a:pt x="576" y="479"/>
                    </a:lnTo>
                    <a:lnTo>
                      <a:pt x="583" y="477"/>
                    </a:lnTo>
                    <a:lnTo>
                      <a:pt x="588" y="475"/>
                    </a:lnTo>
                    <a:lnTo>
                      <a:pt x="593" y="472"/>
                    </a:lnTo>
                    <a:lnTo>
                      <a:pt x="599" y="468"/>
                    </a:lnTo>
                    <a:lnTo>
                      <a:pt x="604" y="464"/>
                    </a:lnTo>
                    <a:lnTo>
                      <a:pt x="614" y="456"/>
                    </a:lnTo>
                    <a:lnTo>
                      <a:pt x="621" y="445"/>
                    </a:lnTo>
                    <a:lnTo>
                      <a:pt x="623" y="440"/>
                    </a:lnTo>
                    <a:lnTo>
                      <a:pt x="627" y="434"/>
                    </a:lnTo>
                    <a:lnTo>
                      <a:pt x="629" y="428"/>
                    </a:lnTo>
                    <a:lnTo>
                      <a:pt x="630" y="421"/>
                    </a:lnTo>
                    <a:lnTo>
                      <a:pt x="707" y="421"/>
                    </a:lnTo>
                    <a:lnTo>
                      <a:pt x="710" y="421"/>
                    </a:lnTo>
                    <a:lnTo>
                      <a:pt x="712" y="420"/>
                    </a:lnTo>
                    <a:lnTo>
                      <a:pt x="716" y="419"/>
                    </a:lnTo>
                    <a:lnTo>
                      <a:pt x="718" y="417"/>
                    </a:lnTo>
                    <a:lnTo>
                      <a:pt x="720" y="415"/>
                    </a:lnTo>
                    <a:lnTo>
                      <a:pt x="721" y="412"/>
                    </a:lnTo>
                    <a:lnTo>
                      <a:pt x="722" y="410"/>
                    </a:lnTo>
                    <a:lnTo>
                      <a:pt x="722" y="406"/>
                    </a:lnTo>
                    <a:lnTo>
                      <a:pt x="722" y="256"/>
                    </a:lnTo>
                    <a:lnTo>
                      <a:pt x="722" y="253"/>
                    </a:lnTo>
                    <a:lnTo>
                      <a:pt x="721" y="250"/>
                    </a:lnTo>
                    <a:lnTo>
                      <a:pt x="721" y="25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258" name="Freeform 220"/>
              <p:cNvSpPr>
                <a:spLocks/>
              </p:cNvSpPr>
              <p:nvPr/>
            </p:nvSpPr>
            <p:spPr bwMode="auto">
              <a:xfrm>
                <a:off x="8793163" y="2565400"/>
                <a:ext cx="28575" cy="38100"/>
              </a:xfrm>
              <a:custGeom>
                <a:avLst/>
                <a:gdLst>
                  <a:gd name="T0" fmla="*/ 15 w 90"/>
                  <a:gd name="T1" fmla="*/ 120 h 120"/>
                  <a:gd name="T2" fmla="*/ 75 w 90"/>
                  <a:gd name="T3" fmla="*/ 120 h 120"/>
                  <a:gd name="T4" fmla="*/ 78 w 90"/>
                  <a:gd name="T5" fmla="*/ 120 h 120"/>
                  <a:gd name="T6" fmla="*/ 81 w 90"/>
                  <a:gd name="T7" fmla="*/ 119 h 120"/>
                  <a:gd name="T8" fmla="*/ 84 w 90"/>
                  <a:gd name="T9" fmla="*/ 117 h 120"/>
                  <a:gd name="T10" fmla="*/ 86 w 90"/>
                  <a:gd name="T11" fmla="*/ 116 h 120"/>
                  <a:gd name="T12" fmla="*/ 88 w 90"/>
                  <a:gd name="T13" fmla="*/ 114 h 120"/>
                  <a:gd name="T14" fmla="*/ 89 w 90"/>
                  <a:gd name="T15" fmla="*/ 111 h 120"/>
                  <a:gd name="T16" fmla="*/ 90 w 90"/>
                  <a:gd name="T17" fmla="*/ 109 h 120"/>
                  <a:gd name="T18" fmla="*/ 90 w 90"/>
                  <a:gd name="T19" fmla="*/ 105 h 120"/>
                  <a:gd name="T20" fmla="*/ 90 w 90"/>
                  <a:gd name="T21" fmla="*/ 102 h 120"/>
                  <a:gd name="T22" fmla="*/ 89 w 90"/>
                  <a:gd name="T23" fmla="*/ 99 h 120"/>
                  <a:gd name="T24" fmla="*/ 88 w 90"/>
                  <a:gd name="T25" fmla="*/ 97 h 120"/>
                  <a:gd name="T26" fmla="*/ 86 w 90"/>
                  <a:gd name="T27" fmla="*/ 95 h 120"/>
                  <a:gd name="T28" fmla="*/ 84 w 90"/>
                  <a:gd name="T29" fmla="*/ 93 h 120"/>
                  <a:gd name="T30" fmla="*/ 81 w 90"/>
                  <a:gd name="T31" fmla="*/ 91 h 120"/>
                  <a:gd name="T32" fmla="*/ 78 w 90"/>
                  <a:gd name="T33" fmla="*/ 90 h 120"/>
                  <a:gd name="T34" fmla="*/ 75 w 90"/>
                  <a:gd name="T35" fmla="*/ 90 h 120"/>
                  <a:gd name="T36" fmla="*/ 30 w 90"/>
                  <a:gd name="T37" fmla="*/ 90 h 120"/>
                  <a:gd name="T38" fmla="*/ 30 w 90"/>
                  <a:gd name="T39" fmla="*/ 15 h 120"/>
                  <a:gd name="T40" fmla="*/ 30 w 90"/>
                  <a:gd name="T41" fmla="*/ 12 h 120"/>
                  <a:gd name="T42" fmla="*/ 29 w 90"/>
                  <a:gd name="T43" fmla="*/ 9 h 120"/>
                  <a:gd name="T44" fmla="*/ 28 w 90"/>
                  <a:gd name="T45" fmla="*/ 7 h 120"/>
                  <a:gd name="T46" fmla="*/ 26 w 90"/>
                  <a:gd name="T47" fmla="*/ 5 h 120"/>
                  <a:gd name="T48" fmla="*/ 24 w 90"/>
                  <a:gd name="T49" fmla="*/ 3 h 120"/>
                  <a:gd name="T50" fmla="*/ 21 w 90"/>
                  <a:gd name="T51" fmla="*/ 1 h 120"/>
                  <a:gd name="T52" fmla="*/ 18 w 90"/>
                  <a:gd name="T53" fmla="*/ 0 h 120"/>
                  <a:gd name="T54" fmla="*/ 15 w 90"/>
                  <a:gd name="T55" fmla="*/ 0 h 120"/>
                  <a:gd name="T56" fmla="*/ 12 w 90"/>
                  <a:gd name="T57" fmla="*/ 0 h 120"/>
                  <a:gd name="T58" fmla="*/ 10 w 90"/>
                  <a:gd name="T59" fmla="*/ 1 h 120"/>
                  <a:gd name="T60" fmla="*/ 6 w 90"/>
                  <a:gd name="T61" fmla="*/ 3 h 120"/>
                  <a:gd name="T62" fmla="*/ 4 w 90"/>
                  <a:gd name="T63" fmla="*/ 5 h 120"/>
                  <a:gd name="T64" fmla="*/ 3 w 90"/>
                  <a:gd name="T65" fmla="*/ 7 h 120"/>
                  <a:gd name="T66" fmla="*/ 1 w 90"/>
                  <a:gd name="T67" fmla="*/ 9 h 120"/>
                  <a:gd name="T68" fmla="*/ 1 w 90"/>
                  <a:gd name="T69" fmla="*/ 12 h 120"/>
                  <a:gd name="T70" fmla="*/ 0 w 90"/>
                  <a:gd name="T71" fmla="*/ 15 h 120"/>
                  <a:gd name="T72" fmla="*/ 0 w 90"/>
                  <a:gd name="T73" fmla="*/ 105 h 120"/>
                  <a:gd name="T74" fmla="*/ 1 w 90"/>
                  <a:gd name="T75" fmla="*/ 109 h 120"/>
                  <a:gd name="T76" fmla="*/ 1 w 90"/>
                  <a:gd name="T77" fmla="*/ 111 h 120"/>
                  <a:gd name="T78" fmla="*/ 3 w 90"/>
                  <a:gd name="T79" fmla="*/ 114 h 120"/>
                  <a:gd name="T80" fmla="*/ 4 w 90"/>
                  <a:gd name="T81" fmla="*/ 116 h 120"/>
                  <a:gd name="T82" fmla="*/ 6 w 90"/>
                  <a:gd name="T83" fmla="*/ 117 h 120"/>
                  <a:gd name="T84" fmla="*/ 10 w 90"/>
                  <a:gd name="T85" fmla="*/ 119 h 120"/>
                  <a:gd name="T86" fmla="*/ 13 w 90"/>
                  <a:gd name="T87" fmla="*/ 120 h 120"/>
                  <a:gd name="T88" fmla="*/ 15 w 90"/>
                  <a:gd name="T89" fmla="*/ 12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90" h="120">
                    <a:moveTo>
                      <a:pt x="15" y="120"/>
                    </a:moveTo>
                    <a:lnTo>
                      <a:pt x="75" y="120"/>
                    </a:lnTo>
                    <a:lnTo>
                      <a:pt x="78" y="120"/>
                    </a:lnTo>
                    <a:lnTo>
                      <a:pt x="81" y="119"/>
                    </a:lnTo>
                    <a:lnTo>
                      <a:pt x="84" y="117"/>
                    </a:lnTo>
                    <a:lnTo>
                      <a:pt x="86" y="116"/>
                    </a:lnTo>
                    <a:lnTo>
                      <a:pt x="88" y="114"/>
                    </a:lnTo>
                    <a:lnTo>
                      <a:pt x="89" y="111"/>
                    </a:lnTo>
                    <a:lnTo>
                      <a:pt x="90" y="109"/>
                    </a:lnTo>
                    <a:lnTo>
                      <a:pt x="90" y="105"/>
                    </a:lnTo>
                    <a:lnTo>
                      <a:pt x="90" y="102"/>
                    </a:lnTo>
                    <a:lnTo>
                      <a:pt x="89" y="99"/>
                    </a:lnTo>
                    <a:lnTo>
                      <a:pt x="88" y="97"/>
                    </a:lnTo>
                    <a:lnTo>
                      <a:pt x="86" y="95"/>
                    </a:lnTo>
                    <a:lnTo>
                      <a:pt x="84" y="93"/>
                    </a:lnTo>
                    <a:lnTo>
                      <a:pt x="81" y="91"/>
                    </a:lnTo>
                    <a:lnTo>
                      <a:pt x="78" y="90"/>
                    </a:lnTo>
                    <a:lnTo>
                      <a:pt x="75" y="90"/>
                    </a:lnTo>
                    <a:lnTo>
                      <a:pt x="30" y="90"/>
                    </a:lnTo>
                    <a:lnTo>
                      <a:pt x="30" y="15"/>
                    </a:lnTo>
                    <a:lnTo>
                      <a:pt x="30" y="12"/>
                    </a:lnTo>
                    <a:lnTo>
                      <a:pt x="29" y="9"/>
                    </a:lnTo>
                    <a:lnTo>
                      <a:pt x="28" y="7"/>
                    </a:lnTo>
                    <a:lnTo>
                      <a:pt x="26" y="5"/>
                    </a:lnTo>
                    <a:lnTo>
                      <a:pt x="24" y="3"/>
                    </a:lnTo>
                    <a:lnTo>
                      <a:pt x="21" y="1"/>
                    </a:lnTo>
                    <a:lnTo>
                      <a:pt x="18" y="0"/>
                    </a:lnTo>
                    <a:lnTo>
                      <a:pt x="15" y="0"/>
                    </a:lnTo>
                    <a:lnTo>
                      <a:pt x="12" y="0"/>
                    </a:lnTo>
                    <a:lnTo>
                      <a:pt x="10" y="1"/>
                    </a:lnTo>
                    <a:lnTo>
                      <a:pt x="6" y="3"/>
                    </a:lnTo>
                    <a:lnTo>
                      <a:pt x="4" y="5"/>
                    </a:lnTo>
                    <a:lnTo>
                      <a:pt x="3" y="7"/>
                    </a:lnTo>
                    <a:lnTo>
                      <a:pt x="1" y="9"/>
                    </a:lnTo>
                    <a:lnTo>
                      <a:pt x="1" y="12"/>
                    </a:lnTo>
                    <a:lnTo>
                      <a:pt x="0" y="15"/>
                    </a:lnTo>
                    <a:lnTo>
                      <a:pt x="0" y="105"/>
                    </a:lnTo>
                    <a:lnTo>
                      <a:pt x="1" y="109"/>
                    </a:lnTo>
                    <a:lnTo>
                      <a:pt x="1" y="111"/>
                    </a:lnTo>
                    <a:lnTo>
                      <a:pt x="3" y="114"/>
                    </a:lnTo>
                    <a:lnTo>
                      <a:pt x="4" y="116"/>
                    </a:lnTo>
                    <a:lnTo>
                      <a:pt x="6" y="117"/>
                    </a:lnTo>
                    <a:lnTo>
                      <a:pt x="10" y="119"/>
                    </a:lnTo>
                    <a:lnTo>
                      <a:pt x="13" y="120"/>
                    </a:lnTo>
                    <a:lnTo>
                      <a:pt x="15" y="12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259" name="Freeform 221"/>
              <p:cNvSpPr>
                <a:spLocks/>
              </p:cNvSpPr>
              <p:nvPr/>
            </p:nvSpPr>
            <p:spPr bwMode="auto">
              <a:xfrm>
                <a:off x="8736013" y="2698750"/>
                <a:ext cx="47625" cy="11113"/>
              </a:xfrm>
              <a:custGeom>
                <a:avLst/>
                <a:gdLst>
                  <a:gd name="T0" fmla="*/ 135 w 150"/>
                  <a:gd name="T1" fmla="*/ 0 h 31"/>
                  <a:gd name="T2" fmla="*/ 15 w 150"/>
                  <a:gd name="T3" fmla="*/ 0 h 31"/>
                  <a:gd name="T4" fmla="*/ 12 w 150"/>
                  <a:gd name="T5" fmla="*/ 1 h 31"/>
                  <a:gd name="T6" fmla="*/ 9 w 150"/>
                  <a:gd name="T7" fmla="*/ 2 h 31"/>
                  <a:gd name="T8" fmla="*/ 6 w 150"/>
                  <a:gd name="T9" fmla="*/ 4 h 31"/>
                  <a:gd name="T10" fmla="*/ 4 w 150"/>
                  <a:gd name="T11" fmla="*/ 6 h 31"/>
                  <a:gd name="T12" fmla="*/ 2 w 150"/>
                  <a:gd name="T13" fmla="*/ 8 h 31"/>
                  <a:gd name="T14" fmla="*/ 1 w 150"/>
                  <a:gd name="T15" fmla="*/ 10 h 31"/>
                  <a:gd name="T16" fmla="*/ 0 w 150"/>
                  <a:gd name="T17" fmla="*/ 13 h 31"/>
                  <a:gd name="T18" fmla="*/ 0 w 150"/>
                  <a:gd name="T19" fmla="*/ 16 h 31"/>
                  <a:gd name="T20" fmla="*/ 0 w 150"/>
                  <a:gd name="T21" fmla="*/ 19 h 31"/>
                  <a:gd name="T22" fmla="*/ 1 w 150"/>
                  <a:gd name="T23" fmla="*/ 22 h 31"/>
                  <a:gd name="T24" fmla="*/ 2 w 150"/>
                  <a:gd name="T25" fmla="*/ 24 h 31"/>
                  <a:gd name="T26" fmla="*/ 4 w 150"/>
                  <a:gd name="T27" fmla="*/ 26 h 31"/>
                  <a:gd name="T28" fmla="*/ 6 w 150"/>
                  <a:gd name="T29" fmla="*/ 28 h 31"/>
                  <a:gd name="T30" fmla="*/ 9 w 150"/>
                  <a:gd name="T31" fmla="*/ 29 h 31"/>
                  <a:gd name="T32" fmla="*/ 12 w 150"/>
                  <a:gd name="T33" fmla="*/ 30 h 31"/>
                  <a:gd name="T34" fmla="*/ 15 w 150"/>
                  <a:gd name="T35" fmla="*/ 31 h 31"/>
                  <a:gd name="T36" fmla="*/ 135 w 150"/>
                  <a:gd name="T37" fmla="*/ 31 h 31"/>
                  <a:gd name="T38" fmla="*/ 138 w 150"/>
                  <a:gd name="T39" fmla="*/ 30 h 31"/>
                  <a:gd name="T40" fmla="*/ 141 w 150"/>
                  <a:gd name="T41" fmla="*/ 29 h 31"/>
                  <a:gd name="T42" fmla="*/ 144 w 150"/>
                  <a:gd name="T43" fmla="*/ 28 h 31"/>
                  <a:gd name="T44" fmla="*/ 146 w 150"/>
                  <a:gd name="T45" fmla="*/ 26 h 31"/>
                  <a:gd name="T46" fmla="*/ 148 w 150"/>
                  <a:gd name="T47" fmla="*/ 24 h 31"/>
                  <a:gd name="T48" fmla="*/ 149 w 150"/>
                  <a:gd name="T49" fmla="*/ 22 h 31"/>
                  <a:gd name="T50" fmla="*/ 150 w 150"/>
                  <a:gd name="T51" fmla="*/ 19 h 31"/>
                  <a:gd name="T52" fmla="*/ 150 w 150"/>
                  <a:gd name="T53" fmla="*/ 16 h 31"/>
                  <a:gd name="T54" fmla="*/ 150 w 150"/>
                  <a:gd name="T55" fmla="*/ 13 h 31"/>
                  <a:gd name="T56" fmla="*/ 149 w 150"/>
                  <a:gd name="T57" fmla="*/ 10 h 31"/>
                  <a:gd name="T58" fmla="*/ 148 w 150"/>
                  <a:gd name="T59" fmla="*/ 8 h 31"/>
                  <a:gd name="T60" fmla="*/ 146 w 150"/>
                  <a:gd name="T61" fmla="*/ 6 h 31"/>
                  <a:gd name="T62" fmla="*/ 144 w 150"/>
                  <a:gd name="T63" fmla="*/ 4 h 31"/>
                  <a:gd name="T64" fmla="*/ 141 w 150"/>
                  <a:gd name="T65" fmla="*/ 2 h 31"/>
                  <a:gd name="T66" fmla="*/ 138 w 150"/>
                  <a:gd name="T67" fmla="*/ 1 h 31"/>
                  <a:gd name="T68" fmla="*/ 135 w 150"/>
                  <a:gd name="T69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50" h="31">
                    <a:moveTo>
                      <a:pt x="135" y="0"/>
                    </a:moveTo>
                    <a:lnTo>
                      <a:pt x="15" y="0"/>
                    </a:lnTo>
                    <a:lnTo>
                      <a:pt x="12" y="1"/>
                    </a:lnTo>
                    <a:lnTo>
                      <a:pt x="9" y="2"/>
                    </a:lnTo>
                    <a:lnTo>
                      <a:pt x="6" y="4"/>
                    </a:lnTo>
                    <a:lnTo>
                      <a:pt x="4" y="6"/>
                    </a:lnTo>
                    <a:lnTo>
                      <a:pt x="2" y="8"/>
                    </a:lnTo>
                    <a:lnTo>
                      <a:pt x="1" y="10"/>
                    </a:lnTo>
                    <a:lnTo>
                      <a:pt x="0" y="13"/>
                    </a:lnTo>
                    <a:lnTo>
                      <a:pt x="0" y="16"/>
                    </a:lnTo>
                    <a:lnTo>
                      <a:pt x="0" y="19"/>
                    </a:lnTo>
                    <a:lnTo>
                      <a:pt x="1" y="22"/>
                    </a:lnTo>
                    <a:lnTo>
                      <a:pt x="2" y="24"/>
                    </a:lnTo>
                    <a:lnTo>
                      <a:pt x="4" y="26"/>
                    </a:lnTo>
                    <a:lnTo>
                      <a:pt x="6" y="28"/>
                    </a:lnTo>
                    <a:lnTo>
                      <a:pt x="9" y="29"/>
                    </a:lnTo>
                    <a:lnTo>
                      <a:pt x="12" y="30"/>
                    </a:lnTo>
                    <a:lnTo>
                      <a:pt x="15" y="31"/>
                    </a:lnTo>
                    <a:lnTo>
                      <a:pt x="135" y="31"/>
                    </a:lnTo>
                    <a:lnTo>
                      <a:pt x="138" y="30"/>
                    </a:lnTo>
                    <a:lnTo>
                      <a:pt x="141" y="29"/>
                    </a:lnTo>
                    <a:lnTo>
                      <a:pt x="144" y="28"/>
                    </a:lnTo>
                    <a:lnTo>
                      <a:pt x="146" y="26"/>
                    </a:lnTo>
                    <a:lnTo>
                      <a:pt x="148" y="24"/>
                    </a:lnTo>
                    <a:lnTo>
                      <a:pt x="149" y="22"/>
                    </a:lnTo>
                    <a:lnTo>
                      <a:pt x="150" y="19"/>
                    </a:lnTo>
                    <a:lnTo>
                      <a:pt x="150" y="16"/>
                    </a:lnTo>
                    <a:lnTo>
                      <a:pt x="150" y="13"/>
                    </a:lnTo>
                    <a:lnTo>
                      <a:pt x="149" y="10"/>
                    </a:lnTo>
                    <a:lnTo>
                      <a:pt x="148" y="8"/>
                    </a:lnTo>
                    <a:lnTo>
                      <a:pt x="146" y="6"/>
                    </a:lnTo>
                    <a:lnTo>
                      <a:pt x="144" y="4"/>
                    </a:lnTo>
                    <a:lnTo>
                      <a:pt x="141" y="2"/>
                    </a:lnTo>
                    <a:lnTo>
                      <a:pt x="138" y="1"/>
                    </a:lnTo>
                    <a:lnTo>
                      <a:pt x="13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260" name="Freeform 222"/>
              <p:cNvSpPr>
                <a:spLocks/>
              </p:cNvSpPr>
              <p:nvPr/>
            </p:nvSpPr>
            <p:spPr bwMode="auto">
              <a:xfrm>
                <a:off x="8755063" y="2719388"/>
                <a:ext cx="28575" cy="9525"/>
              </a:xfrm>
              <a:custGeom>
                <a:avLst/>
                <a:gdLst>
                  <a:gd name="T0" fmla="*/ 75 w 90"/>
                  <a:gd name="T1" fmla="*/ 0 h 30"/>
                  <a:gd name="T2" fmla="*/ 15 w 90"/>
                  <a:gd name="T3" fmla="*/ 0 h 30"/>
                  <a:gd name="T4" fmla="*/ 12 w 90"/>
                  <a:gd name="T5" fmla="*/ 0 h 30"/>
                  <a:gd name="T6" fmla="*/ 10 w 90"/>
                  <a:gd name="T7" fmla="*/ 1 h 30"/>
                  <a:gd name="T8" fmla="*/ 6 w 90"/>
                  <a:gd name="T9" fmla="*/ 3 h 30"/>
                  <a:gd name="T10" fmla="*/ 4 w 90"/>
                  <a:gd name="T11" fmla="*/ 5 h 30"/>
                  <a:gd name="T12" fmla="*/ 2 w 90"/>
                  <a:gd name="T13" fmla="*/ 7 h 30"/>
                  <a:gd name="T14" fmla="*/ 1 w 90"/>
                  <a:gd name="T15" fmla="*/ 9 h 30"/>
                  <a:gd name="T16" fmla="*/ 0 w 90"/>
                  <a:gd name="T17" fmla="*/ 12 h 30"/>
                  <a:gd name="T18" fmla="*/ 0 w 90"/>
                  <a:gd name="T19" fmla="*/ 15 h 30"/>
                  <a:gd name="T20" fmla="*/ 0 w 90"/>
                  <a:gd name="T21" fmla="*/ 19 h 30"/>
                  <a:gd name="T22" fmla="*/ 1 w 90"/>
                  <a:gd name="T23" fmla="*/ 21 h 30"/>
                  <a:gd name="T24" fmla="*/ 2 w 90"/>
                  <a:gd name="T25" fmla="*/ 24 h 30"/>
                  <a:gd name="T26" fmla="*/ 4 w 90"/>
                  <a:gd name="T27" fmla="*/ 26 h 30"/>
                  <a:gd name="T28" fmla="*/ 6 w 90"/>
                  <a:gd name="T29" fmla="*/ 27 h 30"/>
                  <a:gd name="T30" fmla="*/ 10 w 90"/>
                  <a:gd name="T31" fmla="*/ 29 h 30"/>
                  <a:gd name="T32" fmla="*/ 12 w 90"/>
                  <a:gd name="T33" fmla="*/ 29 h 30"/>
                  <a:gd name="T34" fmla="*/ 15 w 90"/>
                  <a:gd name="T35" fmla="*/ 30 h 30"/>
                  <a:gd name="T36" fmla="*/ 75 w 90"/>
                  <a:gd name="T37" fmla="*/ 30 h 30"/>
                  <a:gd name="T38" fmla="*/ 78 w 90"/>
                  <a:gd name="T39" fmla="*/ 29 h 30"/>
                  <a:gd name="T40" fmla="*/ 81 w 90"/>
                  <a:gd name="T41" fmla="*/ 29 h 30"/>
                  <a:gd name="T42" fmla="*/ 84 w 90"/>
                  <a:gd name="T43" fmla="*/ 27 h 30"/>
                  <a:gd name="T44" fmla="*/ 86 w 90"/>
                  <a:gd name="T45" fmla="*/ 26 h 30"/>
                  <a:gd name="T46" fmla="*/ 88 w 90"/>
                  <a:gd name="T47" fmla="*/ 24 h 30"/>
                  <a:gd name="T48" fmla="*/ 89 w 90"/>
                  <a:gd name="T49" fmla="*/ 21 h 30"/>
                  <a:gd name="T50" fmla="*/ 90 w 90"/>
                  <a:gd name="T51" fmla="*/ 19 h 30"/>
                  <a:gd name="T52" fmla="*/ 90 w 90"/>
                  <a:gd name="T53" fmla="*/ 15 h 30"/>
                  <a:gd name="T54" fmla="*/ 90 w 90"/>
                  <a:gd name="T55" fmla="*/ 12 h 30"/>
                  <a:gd name="T56" fmla="*/ 89 w 90"/>
                  <a:gd name="T57" fmla="*/ 9 h 30"/>
                  <a:gd name="T58" fmla="*/ 88 w 90"/>
                  <a:gd name="T59" fmla="*/ 7 h 30"/>
                  <a:gd name="T60" fmla="*/ 86 w 90"/>
                  <a:gd name="T61" fmla="*/ 5 h 30"/>
                  <a:gd name="T62" fmla="*/ 84 w 90"/>
                  <a:gd name="T63" fmla="*/ 3 h 30"/>
                  <a:gd name="T64" fmla="*/ 81 w 90"/>
                  <a:gd name="T65" fmla="*/ 1 h 30"/>
                  <a:gd name="T66" fmla="*/ 78 w 90"/>
                  <a:gd name="T67" fmla="*/ 0 h 30"/>
                  <a:gd name="T68" fmla="*/ 75 w 90"/>
                  <a:gd name="T69" fmla="*/ 0 h 30"/>
                  <a:gd name="T70" fmla="*/ 75 w 90"/>
                  <a:gd name="T71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90" h="30">
                    <a:moveTo>
                      <a:pt x="75" y="0"/>
                    </a:moveTo>
                    <a:lnTo>
                      <a:pt x="15" y="0"/>
                    </a:lnTo>
                    <a:lnTo>
                      <a:pt x="12" y="0"/>
                    </a:lnTo>
                    <a:lnTo>
                      <a:pt x="10" y="1"/>
                    </a:lnTo>
                    <a:lnTo>
                      <a:pt x="6" y="3"/>
                    </a:lnTo>
                    <a:lnTo>
                      <a:pt x="4" y="5"/>
                    </a:lnTo>
                    <a:lnTo>
                      <a:pt x="2" y="7"/>
                    </a:lnTo>
                    <a:lnTo>
                      <a:pt x="1" y="9"/>
                    </a:lnTo>
                    <a:lnTo>
                      <a:pt x="0" y="12"/>
                    </a:lnTo>
                    <a:lnTo>
                      <a:pt x="0" y="15"/>
                    </a:lnTo>
                    <a:lnTo>
                      <a:pt x="0" y="19"/>
                    </a:lnTo>
                    <a:lnTo>
                      <a:pt x="1" y="21"/>
                    </a:lnTo>
                    <a:lnTo>
                      <a:pt x="2" y="24"/>
                    </a:lnTo>
                    <a:lnTo>
                      <a:pt x="4" y="26"/>
                    </a:lnTo>
                    <a:lnTo>
                      <a:pt x="6" y="27"/>
                    </a:lnTo>
                    <a:lnTo>
                      <a:pt x="10" y="29"/>
                    </a:lnTo>
                    <a:lnTo>
                      <a:pt x="12" y="29"/>
                    </a:lnTo>
                    <a:lnTo>
                      <a:pt x="15" y="30"/>
                    </a:lnTo>
                    <a:lnTo>
                      <a:pt x="75" y="30"/>
                    </a:lnTo>
                    <a:lnTo>
                      <a:pt x="78" y="29"/>
                    </a:lnTo>
                    <a:lnTo>
                      <a:pt x="81" y="29"/>
                    </a:lnTo>
                    <a:lnTo>
                      <a:pt x="84" y="27"/>
                    </a:lnTo>
                    <a:lnTo>
                      <a:pt x="86" y="26"/>
                    </a:lnTo>
                    <a:lnTo>
                      <a:pt x="88" y="24"/>
                    </a:lnTo>
                    <a:lnTo>
                      <a:pt x="89" y="21"/>
                    </a:lnTo>
                    <a:lnTo>
                      <a:pt x="90" y="19"/>
                    </a:lnTo>
                    <a:lnTo>
                      <a:pt x="90" y="15"/>
                    </a:lnTo>
                    <a:lnTo>
                      <a:pt x="90" y="12"/>
                    </a:lnTo>
                    <a:lnTo>
                      <a:pt x="89" y="9"/>
                    </a:lnTo>
                    <a:lnTo>
                      <a:pt x="88" y="7"/>
                    </a:lnTo>
                    <a:lnTo>
                      <a:pt x="86" y="5"/>
                    </a:lnTo>
                    <a:lnTo>
                      <a:pt x="84" y="3"/>
                    </a:lnTo>
                    <a:lnTo>
                      <a:pt x="81" y="1"/>
                    </a:lnTo>
                    <a:lnTo>
                      <a:pt x="78" y="0"/>
                    </a:lnTo>
                    <a:lnTo>
                      <a:pt x="75" y="0"/>
                    </a:lnTo>
                    <a:lnTo>
                      <a:pt x="7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261" name="Freeform 223"/>
              <p:cNvSpPr>
                <a:spLocks/>
              </p:cNvSpPr>
              <p:nvPr/>
            </p:nvSpPr>
            <p:spPr bwMode="auto">
              <a:xfrm>
                <a:off x="8764588" y="2738438"/>
                <a:ext cx="19050" cy="9525"/>
              </a:xfrm>
              <a:custGeom>
                <a:avLst/>
                <a:gdLst>
                  <a:gd name="T0" fmla="*/ 45 w 60"/>
                  <a:gd name="T1" fmla="*/ 0 h 30"/>
                  <a:gd name="T2" fmla="*/ 15 w 60"/>
                  <a:gd name="T3" fmla="*/ 0 h 30"/>
                  <a:gd name="T4" fmla="*/ 12 w 60"/>
                  <a:gd name="T5" fmla="*/ 0 h 30"/>
                  <a:gd name="T6" fmla="*/ 10 w 60"/>
                  <a:gd name="T7" fmla="*/ 1 h 30"/>
                  <a:gd name="T8" fmla="*/ 6 w 60"/>
                  <a:gd name="T9" fmla="*/ 3 h 30"/>
                  <a:gd name="T10" fmla="*/ 4 w 60"/>
                  <a:gd name="T11" fmla="*/ 5 h 30"/>
                  <a:gd name="T12" fmla="*/ 2 w 60"/>
                  <a:gd name="T13" fmla="*/ 7 h 30"/>
                  <a:gd name="T14" fmla="*/ 1 w 60"/>
                  <a:gd name="T15" fmla="*/ 9 h 30"/>
                  <a:gd name="T16" fmla="*/ 0 w 60"/>
                  <a:gd name="T17" fmla="*/ 12 h 30"/>
                  <a:gd name="T18" fmla="*/ 0 w 60"/>
                  <a:gd name="T19" fmla="*/ 15 h 30"/>
                  <a:gd name="T20" fmla="*/ 0 w 60"/>
                  <a:gd name="T21" fmla="*/ 19 h 30"/>
                  <a:gd name="T22" fmla="*/ 1 w 60"/>
                  <a:gd name="T23" fmla="*/ 21 h 30"/>
                  <a:gd name="T24" fmla="*/ 2 w 60"/>
                  <a:gd name="T25" fmla="*/ 24 h 30"/>
                  <a:gd name="T26" fmla="*/ 4 w 60"/>
                  <a:gd name="T27" fmla="*/ 26 h 30"/>
                  <a:gd name="T28" fmla="*/ 6 w 60"/>
                  <a:gd name="T29" fmla="*/ 27 h 30"/>
                  <a:gd name="T30" fmla="*/ 10 w 60"/>
                  <a:gd name="T31" fmla="*/ 29 h 30"/>
                  <a:gd name="T32" fmla="*/ 12 w 60"/>
                  <a:gd name="T33" fmla="*/ 30 h 30"/>
                  <a:gd name="T34" fmla="*/ 15 w 60"/>
                  <a:gd name="T35" fmla="*/ 30 h 30"/>
                  <a:gd name="T36" fmla="*/ 45 w 60"/>
                  <a:gd name="T37" fmla="*/ 30 h 30"/>
                  <a:gd name="T38" fmla="*/ 48 w 60"/>
                  <a:gd name="T39" fmla="*/ 30 h 30"/>
                  <a:gd name="T40" fmla="*/ 51 w 60"/>
                  <a:gd name="T41" fmla="*/ 29 h 30"/>
                  <a:gd name="T42" fmla="*/ 54 w 60"/>
                  <a:gd name="T43" fmla="*/ 27 h 30"/>
                  <a:gd name="T44" fmla="*/ 56 w 60"/>
                  <a:gd name="T45" fmla="*/ 26 h 30"/>
                  <a:gd name="T46" fmla="*/ 58 w 60"/>
                  <a:gd name="T47" fmla="*/ 24 h 30"/>
                  <a:gd name="T48" fmla="*/ 59 w 60"/>
                  <a:gd name="T49" fmla="*/ 21 h 30"/>
                  <a:gd name="T50" fmla="*/ 60 w 60"/>
                  <a:gd name="T51" fmla="*/ 19 h 30"/>
                  <a:gd name="T52" fmla="*/ 60 w 60"/>
                  <a:gd name="T53" fmla="*/ 15 h 30"/>
                  <a:gd name="T54" fmla="*/ 60 w 60"/>
                  <a:gd name="T55" fmla="*/ 12 h 30"/>
                  <a:gd name="T56" fmla="*/ 59 w 60"/>
                  <a:gd name="T57" fmla="*/ 9 h 30"/>
                  <a:gd name="T58" fmla="*/ 58 w 60"/>
                  <a:gd name="T59" fmla="*/ 7 h 30"/>
                  <a:gd name="T60" fmla="*/ 56 w 60"/>
                  <a:gd name="T61" fmla="*/ 5 h 30"/>
                  <a:gd name="T62" fmla="*/ 54 w 60"/>
                  <a:gd name="T63" fmla="*/ 3 h 30"/>
                  <a:gd name="T64" fmla="*/ 51 w 60"/>
                  <a:gd name="T65" fmla="*/ 1 h 30"/>
                  <a:gd name="T66" fmla="*/ 48 w 60"/>
                  <a:gd name="T67" fmla="*/ 0 h 30"/>
                  <a:gd name="T68" fmla="*/ 45 w 60"/>
                  <a:gd name="T69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60" h="30">
                    <a:moveTo>
                      <a:pt x="45" y="0"/>
                    </a:moveTo>
                    <a:lnTo>
                      <a:pt x="15" y="0"/>
                    </a:lnTo>
                    <a:lnTo>
                      <a:pt x="12" y="0"/>
                    </a:lnTo>
                    <a:lnTo>
                      <a:pt x="10" y="1"/>
                    </a:lnTo>
                    <a:lnTo>
                      <a:pt x="6" y="3"/>
                    </a:lnTo>
                    <a:lnTo>
                      <a:pt x="4" y="5"/>
                    </a:lnTo>
                    <a:lnTo>
                      <a:pt x="2" y="7"/>
                    </a:lnTo>
                    <a:lnTo>
                      <a:pt x="1" y="9"/>
                    </a:lnTo>
                    <a:lnTo>
                      <a:pt x="0" y="12"/>
                    </a:lnTo>
                    <a:lnTo>
                      <a:pt x="0" y="15"/>
                    </a:lnTo>
                    <a:lnTo>
                      <a:pt x="0" y="19"/>
                    </a:lnTo>
                    <a:lnTo>
                      <a:pt x="1" y="21"/>
                    </a:lnTo>
                    <a:lnTo>
                      <a:pt x="2" y="24"/>
                    </a:lnTo>
                    <a:lnTo>
                      <a:pt x="4" y="26"/>
                    </a:lnTo>
                    <a:lnTo>
                      <a:pt x="6" y="27"/>
                    </a:lnTo>
                    <a:lnTo>
                      <a:pt x="10" y="29"/>
                    </a:lnTo>
                    <a:lnTo>
                      <a:pt x="12" y="30"/>
                    </a:lnTo>
                    <a:lnTo>
                      <a:pt x="15" y="30"/>
                    </a:lnTo>
                    <a:lnTo>
                      <a:pt x="45" y="30"/>
                    </a:lnTo>
                    <a:lnTo>
                      <a:pt x="48" y="30"/>
                    </a:lnTo>
                    <a:lnTo>
                      <a:pt x="51" y="29"/>
                    </a:lnTo>
                    <a:lnTo>
                      <a:pt x="54" y="27"/>
                    </a:lnTo>
                    <a:lnTo>
                      <a:pt x="56" y="26"/>
                    </a:lnTo>
                    <a:lnTo>
                      <a:pt x="58" y="24"/>
                    </a:lnTo>
                    <a:lnTo>
                      <a:pt x="59" y="21"/>
                    </a:lnTo>
                    <a:lnTo>
                      <a:pt x="60" y="19"/>
                    </a:lnTo>
                    <a:lnTo>
                      <a:pt x="60" y="15"/>
                    </a:lnTo>
                    <a:lnTo>
                      <a:pt x="60" y="12"/>
                    </a:lnTo>
                    <a:lnTo>
                      <a:pt x="59" y="9"/>
                    </a:lnTo>
                    <a:lnTo>
                      <a:pt x="58" y="7"/>
                    </a:lnTo>
                    <a:lnTo>
                      <a:pt x="56" y="5"/>
                    </a:lnTo>
                    <a:lnTo>
                      <a:pt x="54" y="3"/>
                    </a:lnTo>
                    <a:lnTo>
                      <a:pt x="51" y="1"/>
                    </a:lnTo>
                    <a:lnTo>
                      <a:pt x="48" y="0"/>
                    </a:lnTo>
                    <a:lnTo>
                      <a:pt x="4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262" name="Freeform 224"/>
              <p:cNvSpPr>
                <a:spLocks noEditPoints="1"/>
              </p:cNvSpPr>
              <p:nvPr/>
            </p:nvSpPr>
            <p:spPr bwMode="auto">
              <a:xfrm>
                <a:off x="8740775" y="2536825"/>
                <a:ext cx="115888" cy="114300"/>
              </a:xfrm>
              <a:custGeom>
                <a:avLst/>
                <a:gdLst>
                  <a:gd name="T0" fmla="*/ 211 w 361"/>
                  <a:gd name="T1" fmla="*/ 34 h 361"/>
                  <a:gd name="T2" fmla="*/ 252 w 361"/>
                  <a:gd name="T3" fmla="*/ 49 h 361"/>
                  <a:gd name="T4" fmla="*/ 286 w 361"/>
                  <a:gd name="T5" fmla="*/ 75 h 361"/>
                  <a:gd name="T6" fmla="*/ 313 w 361"/>
                  <a:gd name="T7" fmla="*/ 110 h 361"/>
                  <a:gd name="T8" fmla="*/ 328 w 361"/>
                  <a:gd name="T9" fmla="*/ 151 h 361"/>
                  <a:gd name="T10" fmla="*/ 330 w 361"/>
                  <a:gd name="T11" fmla="*/ 196 h 361"/>
                  <a:gd name="T12" fmla="*/ 319 w 361"/>
                  <a:gd name="T13" fmla="*/ 239 h 361"/>
                  <a:gd name="T14" fmla="*/ 297 w 361"/>
                  <a:gd name="T15" fmla="*/ 277 h 361"/>
                  <a:gd name="T16" fmla="*/ 265 w 361"/>
                  <a:gd name="T17" fmla="*/ 306 h 361"/>
                  <a:gd name="T18" fmla="*/ 225 w 361"/>
                  <a:gd name="T19" fmla="*/ 325 h 361"/>
                  <a:gd name="T20" fmla="*/ 180 w 361"/>
                  <a:gd name="T21" fmla="*/ 331 h 361"/>
                  <a:gd name="T22" fmla="*/ 136 w 361"/>
                  <a:gd name="T23" fmla="*/ 325 h 361"/>
                  <a:gd name="T24" fmla="*/ 96 w 361"/>
                  <a:gd name="T25" fmla="*/ 306 h 361"/>
                  <a:gd name="T26" fmla="*/ 64 w 361"/>
                  <a:gd name="T27" fmla="*/ 277 h 361"/>
                  <a:gd name="T28" fmla="*/ 42 w 361"/>
                  <a:gd name="T29" fmla="*/ 239 h 361"/>
                  <a:gd name="T30" fmla="*/ 31 w 361"/>
                  <a:gd name="T31" fmla="*/ 196 h 361"/>
                  <a:gd name="T32" fmla="*/ 33 w 361"/>
                  <a:gd name="T33" fmla="*/ 151 h 361"/>
                  <a:gd name="T34" fmla="*/ 48 w 361"/>
                  <a:gd name="T35" fmla="*/ 110 h 361"/>
                  <a:gd name="T36" fmla="*/ 74 w 361"/>
                  <a:gd name="T37" fmla="*/ 75 h 361"/>
                  <a:gd name="T38" fmla="*/ 108 w 361"/>
                  <a:gd name="T39" fmla="*/ 49 h 361"/>
                  <a:gd name="T40" fmla="*/ 150 w 361"/>
                  <a:gd name="T41" fmla="*/ 34 h 361"/>
                  <a:gd name="T42" fmla="*/ 180 w 361"/>
                  <a:gd name="T43" fmla="*/ 30 h 361"/>
                  <a:gd name="T44" fmla="*/ 216 w 361"/>
                  <a:gd name="T45" fmla="*/ 358 h 361"/>
                  <a:gd name="T46" fmla="*/ 267 w 361"/>
                  <a:gd name="T47" fmla="*/ 340 h 361"/>
                  <a:gd name="T48" fmla="*/ 307 w 361"/>
                  <a:gd name="T49" fmla="*/ 309 h 361"/>
                  <a:gd name="T50" fmla="*/ 339 w 361"/>
                  <a:gd name="T51" fmla="*/ 267 h 361"/>
                  <a:gd name="T52" fmla="*/ 357 w 361"/>
                  <a:gd name="T53" fmla="*/ 218 h 361"/>
                  <a:gd name="T54" fmla="*/ 360 w 361"/>
                  <a:gd name="T55" fmla="*/ 163 h 361"/>
                  <a:gd name="T56" fmla="*/ 346 w 361"/>
                  <a:gd name="T57" fmla="*/ 111 h 361"/>
                  <a:gd name="T58" fmla="*/ 319 w 361"/>
                  <a:gd name="T59" fmla="*/ 67 h 361"/>
                  <a:gd name="T60" fmla="*/ 281 w 361"/>
                  <a:gd name="T61" fmla="*/ 31 h 361"/>
                  <a:gd name="T62" fmla="*/ 234 w 361"/>
                  <a:gd name="T63" fmla="*/ 9 h 361"/>
                  <a:gd name="T64" fmla="*/ 180 w 361"/>
                  <a:gd name="T65" fmla="*/ 0 h 361"/>
                  <a:gd name="T66" fmla="*/ 126 w 361"/>
                  <a:gd name="T67" fmla="*/ 9 h 361"/>
                  <a:gd name="T68" fmla="*/ 79 w 361"/>
                  <a:gd name="T69" fmla="*/ 31 h 361"/>
                  <a:gd name="T70" fmla="*/ 41 w 361"/>
                  <a:gd name="T71" fmla="*/ 67 h 361"/>
                  <a:gd name="T72" fmla="*/ 14 w 361"/>
                  <a:gd name="T73" fmla="*/ 111 h 361"/>
                  <a:gd name="T74" fmla="*/ 1 w 361"/>
                  <a:gd name="T75" fmla="*/ 163 h 361"/>
                  <a:gd name="T76" fmla="*/ 3 w 361"/>
                  <a:gd name="T77" fmla="*/ 218 h 361"/>
                  <a:gd name="T78" fmla="*/ 21 w 361"/>
                  <a:gd name="T79" fmla="*/ 267 h 361"/>
                  <a:gd name="T80" fmla="*/ 53 w 361"/>
                  <a:gd name="T81" fmla="*/ 309 h 361"/>
                  <a:gd name="T82" fmla="*/ 94 w 361"/>
                  <a:gd name="T83" fmla="*/ 340 h 361"/>
                  <a:gd name="T84" fmla="*/ 144 w 361"/>
                  <a:gd name="T85" fmla="*/ 358 h 3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361" h="361">
                    <a:moveTo>
                      <a:pt x="180" y="30"/>
                    </a:moveTo>
                    <a:lnTo>
                      <a:pt x="196" y="31"/>
                    </a:lnTo>
                    <a:lnTo>
                      <a:pt x="211" y="34"/>
                    </a:lnTo>
                    <a:lnTo>
                      <a:pt x="225" y="38"/>
                    </a:lnTo>
                    <a:lnTo>
                      <a:pt x="239" y="42"/>
                    </a:lnTo>
                    <a:lnTo>
                      <a:pt x="252" y="49"/>
                    </a:lnTo>
                    <a:lnTo>
                      <a:pt x="265" y="56"/>
                    </a:lnTo>
                    <a:lnTo>
                      <a:pt x="276" y="65"/>
                    </a:lnTo>
                    <a:lnTo>
                      <a:pt x="286" y="75"/>
                    </a:lnTo>
                    <a:lnTo>
                      <a:pt x="297" y="85"/>
                    </a:lnTo>
                    <a:lnTo>
                      <a:pt x="305" y="97"/>
                    </a:lnTo>
                    <a:lnTo>
                      <a:pt x="313" y="110"/>
                    </a:lnTo>
                    <a:lnTo>
                      <a:pt x="319" y="122"/>
                    </a:lnTo>
                    <a:lnTo>
                      <a:pt x="324" y="136"/>
                    </a:lnTo>
                    <a:lnTo>
                      <a:pt x="328" y="151"/>
                    </a:lnTo>
                    <a:lnTo>
                      <a:pt x="330" y="165"/>
                    </a:lnTo>
                    <a:lnTo>
                      <a:pt x="331" y="181"/>
                    </a:lnTo>
                    <a:lnTo>
                      <a:pt x="330" y="196"/>
                    </a:lnTo>
                    <a:lnTo>
                      <a:pt x="328" y="211"/>
                    </a:lnTo>
                    <a:lnTo>
                      <a:pt x="324" y="225"/>
                    </a:lnTo>
                    <a:lnTo>
                      <a:pt x="319" y="239"/>
                    </a:lnTo>
                    <a:lnTo>
                      <a:pt x="313" y="253"/>
                    </a:lnTo>
                    <a:lnTo>
                      <a:pt x="305" y="265"/>
                    </a:lnTo>
                    <a:lnTo>
                      <a:pt x="297" y="277"/>
                    </a:lnTo>
                    <a:lnTo>
                      <a:pt x="286" y="287"/>
                    </a:lnTo>
                    <a:lnTo>
                      <a:pt x="276" y="297"/>
                    </a:lnTo>
                    <a:lnTo>
                      <a:pt x="265" y="306"/>
                    </a:lnTo>
                    <a:lnTo>
                      <a:pt x="252" y="313"/>
                    </a:lnTo>
                    <a:lnTo>
                      <a:pt x="239" y="320"/>
                    </a:lnTo>
                    <a:lnTo>
                      <a:pt x="225" y="325"/>
                    </a:lnTo>
                    <a:lnTo>
                      <a:pt x="211" y="328"/>
                    </a:lnTo>
                    <a:lnTo>
                      <a:pt x="196" y="330"/>
                    </a:lnTo>
                    <a:lnTo>
                      <a:pt x="180" y="331"/>
                    </a:lnTo>
                    <a:lnTo>
                      <a:pt x="165" y="330"/>
                    </a:lnTo>
                    <a:lnTo>
                      <a:pt x="150" y="328"/>
                    </a:lnTo>
                    <a:lnTo>
                      <a:pt x="136" y="325"/>
                    </a:lnTo>
                    <a:lnTo>
                      <a:pt x="122" y="320"/>
                    </a:lnTo>
                    <a:lnTo>
                      <a:pt x="108" y="313"/>
                    </a:lnTo>
                    <a:lnTo>
                      <a:pt x="96" y="306"/>
                    </a:lnTo>
                    <a:lnTo>
                      <a:pt x="85" y="297"/>
                    </a:lnTo>
                    <a:lnTo>
                      <a:pt x="74" y="287"/>
                    </a:lnTo>
                    <a:lnTo>
                      <a:pt x="64" y="277"/>
                    </a:lnTo>
                    <a:lnTo>
                      <a:pt x="56" y="265"/>
                    </a:lnTo>
                    <a:lnTo>
                      <a:pt x="48" y="253"/>
                    </a:lnTo>
                    <a:lnTo>
                      <a:pt x="42" y="239"/>
                    </a:lnTo>
                    <a:lnTo>
                      <a:pt x="36" y="225"/>
                    </a:lnTo>
                    <a:lnTo>
                      <a:pt x="33" y="211"/>
                    </a:lnTo>
                    <a:lnTo>
                      <a:pt x="31" y="196"/>
                    </a:lnTo>
                    <a:lnTo>
                      <a:pt x="30" y="181"/>
                    </a:lnTo>
                    <a:lnTo>
                      <a:pt x="31" y="165"/>
                    </a:lnTo>
                    <a:lnTo>
                      <a:pt x="33" y="151"/>
                    </a:lnTo>
                    <a:lnTo>
                      <a:pt x="36" y="136"/>
                    </a:lnTo>
                    <a:lnTo>
                      <a:pt x="42" y="122"/>
                    </a:lnTo>
                    <a:lnTo>
                      <a:pt x="48" y="110"/>
                    </a:lnTo>
                    <a:lnTo>
                      <a:pt x="56" y="97"/>
                    </a:lnTo>
                    <a:lnTo>
                      <a:pt x="64" y="86"/>
                    </a:lnTo>
                    <a:lnTo>
                      <a:pt x="74" y="75"/>
                    </a:lnTo>
                    <a:lnTo>
                      <a:pt x="85" y="65"/>
                    </a:lnTo>
                    <a:lnTo>
                      <a:pt x="96" y="56"/>
                    </a:lnTo>
                    <a:lnTo>
                      <a:pt x="108" y="49"/>
                    </a:lnTo>
                    <a:lnTo>
                      <a:pt x="122" y="42"/>
                    </a:lnTo>
                    <a:lnTo>
                      <a:pt x="136" y="38"/>
                    </a:lnTo>
                    <a:lnTo>
                      <a:pt x="150" y="34"/>
                    </a:lnTo>
                    <a:lnTo>
                      <a:pt x="165" y="31"/>
                    </a:lnTo>
                    <a:lnTo>
                      <a:pt x="180" y="30"/>
                    </a:lnTo>
                    <a:lnTo>
                      <a:pt x="180" y="30"/>
                    </a:lnTo>
                    <a:close/>
                    <a:moveTo>
                      <a:pt x="180" y="361"/>
                    </a:moveTo>
                    <a:lnTo>
                      <a:pt x="199" y="360"/>
                    </a:lnTo>
                    <a:lnTo>
                      <a:pt x="216" y="358"/>
                    </a:lnTo>
                    <a:lnTo>
                      <a:pt x="234" y="354"/>
                    </a:lnTo>
                    <a:lnTo>
                      <a:pt x="251" y="347"/>
                    </a:lnTo>
                    <a:lnTo>
                      <a:pt x="267" y="340"/>
                    </a:lnTo>
                    <a:lnTo>
                      <a:pt x="281" y="330"/>
                    </a:lnTo>
                    <a:lnTo>
                      <a:pt x="295" y="321"/>
                    </a:lnTo>
                    <a:lnTo>
                      <a:pt x="307" y="309"/>
                    </a:lnTo>
                    <a:lnTo>
                      <a:pt x="319" y="296"/>
                    </a:lnTo>
                    <a:lnTo>
                      <a:pt x="330" y="282"/>
                    </a:lnTo>
                    <a:lnTo>
                      <a:pt x="339" y="267"/>
                    </a:lnTo>
                    <a:lnTo>
                      <a:pt x="346" y="251"/>
                    </a:lnTo>
                    <a:lnTo>
                      <a:pt x="352" y="235"/>
                    </a:lnTo>
                    <a:lnTo>
                      <a:pt x="357" y="218"/>
                    </a:lnTo>
                    <a:lnTo>
                      <a:pt x="360" y="200"/>
                    </a:lnTo>
                    <a:lnTo>
                      <a:pt x="361" y="181"/>
                    </a:lnTo>
                    <a:lnTo>
                      <a:pt x="360" y="163"/>
                    </a:lnTo>
                    <a:lnTo>
                      <a:pt x="357" y="145"/>
                    </a:lnTo>
                    <a:lnTo>
                      <a:pt x="352" y="128"/>
                    </a:lnTo>
                    <a:lnTo>
                      <a:pt x="346" y="111"/>
                    </a:lnTo>
                    <a:lnTo>
                      <a:pt x="339" y="96"/>
                    </a:lnTo>
                    <a:lnTo>
                      <a:pt x="330" y="81"/>
                    </a:lnTo>
                    <a:lnTo>
                      <a:pt x="319" y="67"/>
                    </a:lnTo>
                    <a:lnTo>
                      <a:pt x="307" y="54"/>
                    </a:lnTo>
                    <a:lnTo>
                      <a:pt x="295" y="42"/>
                    </a:lnTo>
                    <a:lnTo>
                      <a:pt x="281" y="31"/>
                    </a:lnTo>
                    <a:lnTo>
                      <a:pt x="267" y="23"/>
                    </a:lnTo>
                    <a:lnTo>
                      <a:pt x="251" y="15"/>
                    </a:lnTo>
                    <a:lnTo>
                      <a:pt x="234" y="9"/>
                    </a:lnTo>
                    <a:lnTo>
                      <a:pt x="216" y="5"/>
                    </a:lnTo>
                    <a:lnTo>
                      <a:pt x="199" y="1"/>
                    </a:lnTo>
                    <a:lnTo>
                      <a:pt x="180" y="0"/>
                    </a:lnTo>
                    <a:lnTo>
                      <a:pt x="162" y="1"/>
                    </a:lnTo>
                    <a:lnTo>
                      <a:pt x="144" y="5"/>
                    </a:lnTo>
                    <a:lnTo>
                      <a:pt x="126" y="9"/>
                    </a:lnTo>
                    <a:lnTo>
                      <a:pt x="110" y="15"/>
                    </a:lnTo>
                    <a:lnTo>
                      <a:pt x="94" y="23"/>
                    </a:lnTo>
                    <a:lnTo>
                      <a:pt x="79" y="31"/>
                    </a:lnTo>
                    <a:lnTo>
                      <a:pt x="65" y="42"/>
                    </a:lnTo>
                    <a:lnTo>
                      <a:pt x="53" y="54"/>
                    </a:lnTo>
                    <a:lnTo>
                      <a:pt x="41" y="67"/>
                    </a:lnTo>
                    <a:lnTo>
                      <a:pt x="31" y="81"/>
                    </a:lnTo>
                    <a:lnTo>
                      <a:pt x="21" y="96"/>
                    </a:lnTo>
                    <a:lnTo>
                      <a:pt x="14" y="111"/>
                    </a:lnTo>
                    <a:lnTo>
                      <a:pt x="8" y="128"/>
                    </a:lnTo>
                    <a:lnTo>
                      <a:pt x="3" y="145"/>
                    </a:lnTo>
                    <a:lnTo>
                      <a:pt x="1" y="163"/>
                    </a:lnTo>
                    <a:lnTo>
                      <a:pt x="0" y="181"/>
                    </a:lnTo>
                    <a:lnTo>
                      <a:pt x="1" y="200"/>
                    </a:lnTo>
                    <a:lnTo>
                      <a:pt x="3" y="218"/>
                    </a:lnTo>
                    <a:lnTo>
                      <a:pt x="8" y="235"/>
                    </a:lnTo>
                    <a:lnTo>
                      <a:pt x="14" y="251"/>
                    </a:lnTo>
                    <a:lnTo>
                      <a:pt x="21" y="267"/>
                    </a:lnTo>
                    <a:lnTo>
                      <a:pt x="31" y="282"/>
                    </a:lnTo>
                    <a:lnTo>
                      <a:pt x="41" y="296"/>
                    </a:lnTo>
                    <a:lnTo>
                      <a:pt x="53" y="309"/>
                    </a:lnTo>
                    <a:lnTo>
                      <a:pt x="65" y="321"/>
                    </a:lnTo>
                    <a:lnTo>
                      <a:pt x="79" y="330"/>
                    </a:lnTo>
                    <a:lnTo>
                      <a:pt x="94" y="340"/>
                    </a:lnTo>
                    <a:lnTo>
                      <a:pt x="110" y="347"/>
                    </a:lnTo>
                    <a:lnTo>
                      <a:pt x="126" y="354"/>
                    </a:lnTo>
                    <a:lnTo>
                      <a:pt x="144" y="358"/>
                    </a:lnTo>
                    <a:lnTo>
                      <a:pt x="162" y="360"/>
                    </a:lnTo>
                    <a:lnTo>
                      <a:pt x="180" y="36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0413213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Rectangle 102"/>
          <p:cNvSpPr/>
          <p:nvPr/>
        </p:nvSpPr>
        <p:spPr>
          <a:xfrm>
            <a:off x="12344400" y="0"/>
            <a:ext cx="469900" cy="469900"/>
          </a:xfrm>
          <a:prstGeom prst="rect">
            <a:avLst/>
          </a:pr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4" name="Rectangle 103"/>
          <p:cNvSpPr/>
          <p:nvPr/>
        </p:nvSpPr>
        <p:spPr>
          <a:xfrm>
            <a:off x="12344400" y="649557"/>
            <a:ext cx="469900" cy="469900"/>
          </a:xfrm>
          <a:prstGeom prst="rect">
            <a:avLst/>
          </a:prstGeom>
          <a:solidFill>
            <a:srgbClr val="AFAB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5" name="Rectangle 104"/>
          <p:cNvSpPr/>
          <p:nvPr/>
        </p:nvSpPr>
        <p:spPr>
          <a:xfrm>
            <a:off x="12344400" y="1299114"/>
            <a:ext cx="469900" cy="469900"/>
          </a:xfrm>
          <a:prstGeom prst="rect">
            <a:avLst/>
          </a:prstGeom>
          <a:solidFill>
            <a:srgbClr val="7671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7" name="Rectangle 106"/>
          <p:cNvSpPr/>
          <p:nvPr/>
        </p:nvSpPr>
        <p:spPr>
          <a:xfrm>
            <a:off x="12966699" y="0"/>
            <a:ext cx="469900" cy="469900"/>
          </a:xfrm>
          <a:prstGeom prst="rect">
            <a:avLst/>
          </a:prstGeom>
          <a:solidFill>
            <a:srgbClr val="E878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8" name="Rectangle 107"/>
          <p:cNvSpPr/>
          <p:nvPr/>
        </p:nvSpPr>
        <p:spPr>
          <a:xfrm>
            <a:off x="12966699" y="649557"/>
            <a:ext cx="469900" cy="469900"/>
          </a:xfrm>
          <a:prstGeom prst="rect">
            <a:avLst/>
          </a:prstGeom>
          <a:solidFill>
            <a:srgbClr val="E258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9" name="Rectangle 108"/>
          <p:cNvSpPr/>
          <p:nvPr/>
        </p:nvSpPr>
        <p:spPr>
          <a:xfrm>
            <a:off x="12966699" y="1299114"/>
            <a:ext cx="469900" cy="469900"/>
          </a:xfrm>
          <a:prstGeom prst="rect">
            <a:avLst/>
          </a:prstGeom>
          <a:solidFill>
            <a:srgbClr val="D63E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0" name="Rectangle 109"/>
          <p:cNvSpPr/>
          <p:nvPr/>
        </p:nvSpPr>
        <p:spPr>
          <a:xfrm>
            <a:off x="13588998" y="0"/>
            <a:ext cx="469900" cy="469900"/>
          </a:xfrm>
          <a:prstGeom prst="rect">
            <a:avLst/>
          </a:prstGeom>
          <a:solidFill>
            <a:srgbClr val="8EDC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1" name="Rectangle 110"/>
          <p:cNvSpPr/>
          <p:nvPr/>
        </p:nvSpPr>
        <p:spPr>
          <a:xfrm>
            <a:off x="13588998" y="649557"/>
            <a:ext cx="469900" cy="469900"/>
          </a:xfrm>
          <a:prstGeom prst="rect">
            <a:avLst/>
          </a:prstGeom>
          <a:solidFill>
            <a:srgbClr val="78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2" name="Rectangle 111"/>
          <p:cNvSpPr/>
          <p:nvPr/>
        </p:nvSpPr>
        <p:spPr>
          <a:xfrm>
            <a:off x="13588998" y="1299114"/>
            <a:ext cx="469900" cy="469900"/>
          </a:xfrm>
          <a:prstGeom prst="rect">
            <a:avLst/>
          </a:prstGeom>
          <a:solidFill>
            <a:srgbClr val="4CC7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3" name="Rectangle 112"/>
          <p:cNvSpPr/>
          <p:nvPr/>
        </p:nvSpPr>
        <p:spPr>
          <a:xfrm>
            <a:off x="14211297" y="0"/>
            <a:ext cx="469900" cy="469900"/>
          </a:xfrm>
          <a:prstGeom prst="rect">
            <a:avLst/>
          </a:prstGeom>
          <a:solidFill>
            <a:srgbClr val="5553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4" name="Rectangle 113"/>
          <p:cNvSpPr/>
          <p:nvPr/>
        </p:nvSpPr>
        <p:spPr>
          <a:xfrm>
            <a:off x="14211297" y="649557"/>
            <a:ext cx="469900" cy="469900"/>
          </a:xfrm>
          <a:prstGeom prst="rect">
            <a:avLst/>
          </a:prstGeom>
          <a:solidFill>
            <a:srgbClr val="3B39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5" name="Rectangle 114"/>
          <p:cNvSpPr/>
          <p:nvPr/>
        </p:nvSpPr>
        <p:spPr>
          <a:xfrm>
            <a:off x="14211297" y="1299114"/>
            <a:ext cx="469900" cy="469900"/>
          </a:xfrm>
          <a:prstGeom prst="rect">
            <a:avLst/>
          </a:prstGeom>
          <a:solidFill>
            <a:srgbClr val="2523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Lorem Ipsum is simply dummy text of the printing and typesetting industry. Lorem Ipsum has been the industry's standard dummy text ever since the 1500s, when an unknown printer took a galley of type and scrambled it to make a type specimen book. </a:t>
            </a:r>
          </a:p>
        </p:txBody>
      </p:sp>
      <p:sp>
        <p:nvSpPr>
          <p:cNvPr id="120" name="Text Placeholder 119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3200" dirty="0"/>
              <a:t>PowerPoint Presentation</a:t>
            </a:r>
          </a:p>
        </p:txBody>
      </p:sp>
      <p:sp>
        <p:nvSpPr>
          <p:cNvPr id="116" name="Date Placeholder 11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E1B330-CB56-448E-9C70-830A2B9C05C8}" type="datetime1">
              <a:rPr lang="en-US" smtClean="0"/>
              <a:t>11/15/2018</a:t>
            </a:fld>
            <a:endParaRPr lang="en-US"/>
          </a:p>
        </p:txBody>
      </p:sp>
      <p:sp>
        <p:nvSpPr>
          <p:cNvPr id="117" name="Slide Number Placeholder 1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06E70-9524-410D-AE9B-78D656EAA14D}" type="slidenum">
              <a:rPr lang="en-US" smtClean="0"/>
              <a:pPr/>
              <a:t>27</a:t>
            </a:fld>
            <a:endParaRPr lang="en-US"/>
          </a:p>
        </p:txBody>
      </p:sp>
      <p:grpSp>
        <p:nvGrpSpPr>
          <p:cNvPr id="182" name="Group 181"/>
          <p:cNvGrpSpPr/>
          <p:nvPr/>
        </p:nvGrpSpPr>
        <p:grpSpPr>
          <a:xfrm>
            <a:off x="1864201" y="3613488"/>
            <a:ext cx="6998245" cy="1354172"/>
            <a:chOff x="993263" y="2439816"/>
            <a:chExt cx="5918650" cy="1145269"/>
          </a:xfrm>
        </p:grpSpPr>
        <p:grpSp>
          <p:nvGrpSpPr>
            <p:cNvPr id="183" name="Group 182"/>
            <p:cNvGrpSpPr/>
            <p:nvPr/>
          </p:nvGrpSpPr>
          <p:grpSpPr>
            <a:xfrm>
              <a:off x="993263" y="2439816"/>
              <a:ext cx="989184" cy="1145269"/>
              <a:chOff x="993263" y="2439816"/>
              <a:chExt cx="989184" cy="1145269"/>
            </a:xfrm>
          </p:grpSpPr>
          <p:sp>
            <p:nvSpPr>
              <p:cNvPr id="192" name="Freeform 5"/>
              <p:cNvSpPr>
                <a:spLocks/>
              </p:cNvSpPr>
              <p:nvPr/>
            </p:nvSpPr>
            <p:spPr bwMode="auto">
              <a:xfrm>
                <a:off x="993263" y="2439816"/>
                <a:ext cx="989184" cy="989184"/>
              </a:xfrm>
              <a:custGeom>
                <a:avLst/>
                <a:gdLst>
                  <a:gd name="T0" fmla="*/ 912 w 1620"/>
                  <a:gd name="T1" fmla="*/ 1564 h 1620"/>
                  <a:gd name="T2" fmla="*/ 708 w 1620"/>
                  <a:gd name="T3" fmla="*/ 1564 h 1620"/>
                  <a:gd name="T4" fmla="*/ 56 w 1620"/>
                  <a:gd name="T5" fmla="*/ 912 h 1620"/>
                  <a:gd name="T6" fmla="*/ 56 w 1620"/>
                  <a:gd name="T7" fmla="*/ 708 h 1620"/>
                  <a:gd name="T8" fmla="*/ 708 w 1620"/>
                  <a:gd name="T9" fmla="*/ 56 h 1620"/>
                  <a:gd name="T10" fmla="*/ 912 w 1620"/>
                  <a:gd name="T11" fmla="*/ 56 h 1620"/>
                  <a:gd name="T12" fmla="*/ 1564 w 1620"/>
                  <a:gd name="T13" fmla="*/ 708 h 1620"/>
                  <a:gd name="T14" fmla="*/ 1564 w 1620"/>
                  <a:gd name="T15" fmla="*/ 912 h 1620"/>
                  <a:gd name="T16" fmla="*/ 912 w 1620"/>
                  <a:gd name="T17" fmla="*/ 1564 h 16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620" h="1620">
                    <a:moveTo>
                      <a:pt x="912" y="1564"/>
                    </a:moveTo>
                    <a:cubicBezTo>
                      <a:pt x="856" y="1620"/>
                      <a:pt x="764" y="1620"/>
                      <a:pt x="708" y="1564"/>
                    </a:cubicBezTo>
                    <a:cubicBezTo>
                      <a:pt x="56" y="912"/>
                      <a:pt x="56" y="912"/>
                      <a:pt x="56" y="912"/>
                    </a:cubicBezTo>
                    <a:cubicBezTo>
                      <a:pt x="0" y="856"/>
                      <a:pt x="0" y="764"/>
                      <a:pt x="56" y="708"/>
                    </a:cubicBezTo>
                    <a:cubicBezTo>
                      <a:pt x="708" y="56"/>
                      <a:pt x="708" y="56"/>
                      <a:pt x="708" y="56"/>
                    </a:cubicBezTo>
                    <a:cubicBezTo>
                      <a:pt x="764" y="0"/>
                      <a:pt x="856" y="0"/>
                      <a:pt x="912" y="56"/>
                    </a:cubicBezTo>
                    <a:cubicBezTo>
                      <a:pt x="1564" y="708"/>
                      <a:pt x="1564" y="708"/>
                      <a:pt x="1564" y="708"/>
                    </a:cubicBezTo>
                    <a:cubicBezTo>
                      <a:pt x="1620" y="764"/>
                      <a:pt x="1620" y="856"/>
                      <a:pt x="1564" y="912"/>
                    </a:cubicBezTo>
                    <a:lnTo>
                      <a:pt x="912" y="1564"/>
                    </a:lnTo>
                    <a:close/>
                  </a:path>
                </a:pathLst>
              </a:custGeom>
              <a:solidFill>
                <a:schemeClr val="bg1"/>
              </a:solidFill>
              <a:ln w="57150">
                <a:noFill/>
              </a:ln>
              <a:effectLst>
                <a:innerShdw blurRad="139700" dist="50800" dir="16200000">
                  <a:schemeClr val="tx1">
                    <a:alpha val="20000"/>
                  </a:scheme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cxnSp>
            <p:nvCxnSpPr>
              <p:cNvPr id="193" name="Straight Connector 192"/>
              <p:cNvCxnSpPr/>
              <p:nvPr/>
            </p:nvCxnSpPr>
            <p:spPr>
              <a:xfrm>
                <a:off x="1243012" y="3345565"/>
                <a:ext cx="249605" cy="239520"/>
              </a:xfrm>
              <a:prstGeom prst="line">
                <a:avLst/>
              </a:prstGeom>
              <a:ln w="12700" cap="rnd">
                <a:solidFill>
                  <a:schemeClr val="bg1"/>
                </a:solidFill>
                <a:prstDash val="dash"/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4" name="Straight Connector 193"/>
              <p:cNvCxnSpPr/>
              <p:nvPr/>
            </p:nvCxnSpPr>
            <p:spPr>
              <a:xfrm flipH="1">
                <a:off x="1480783" y="3345565"/>
                <a:ext cx="249605" cy="239520"/>
              </a:xfrm>
              <a:prstGeom prst="line">
                <a:avLst/>
              </a:prstGeom>
              <a:ln w="12700" cap="rnd">
                <a:solidFill>
                  <a:schemeClr val="bg1"/>
                </a:solidFill>
                <a:prstDash val="dash"/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4" name="Group 183"/>
            <p:cNvGrpSpPr/>
            <p:nvPr/>
          </p:nvGrpSpPr>
          <p:grpSpPr>
            <a:xfrm>
              <a:off x="3461556" y="2439816"/>
              <a:ext cx="989184" cy="1145269"/>
              <a:chOff x="993263" y="2439816"/>
              <a:chExt cx="989184" cy="1145269"/>
            </a:xfrm>
          </p:grpSpPr>
          <p:sp>
            <p:nvSpPr>
              <p:cNvPr id="189" name="Freeform 5"/>
              <p:cNvSpPr>
                <a:spLocks/>
              </p:cNvSpPr>
              <p:nvPr/>
            </p:nvSpPr>
            <p:spPr bwMode="auto">
              <a:xfrm>
                <a:off x="993263" y="2439816"/>
                <a:ext cx="989184" cy="989184"/>
              </a:xfrm>
              <a:custGeom>
                <a:avLst/>
                <a:gdLst>
                  <a:gd name="T0" fmla="*/ 912 w 1620"/>
                  <a:gd name="T1" fmla="*/ 1564 h 1620"/>
                  <a:gd name="T2" fmla="*/ 708 w 1620"/>
                  <a:gd name="T3" fmla="*/ 1564 h 1620"/>
                  <a:gd name="T4" fmla="*/ 56 w 1620"/>
                  <a:gd name="T5" fmla="*/ 912 h 1620"/>
                  <a:gd name="T6" fmla="*/ 56 w 1620"/>
                  <a:gd name="T7" fmla="*/ 708 h 1620"/>
                  <a:gd name="T8" fmla="*/ 708 w 1620"/>
                  <a:gd name="T9" fmla="*/ 56 h 1620"/>
                  <a:gd name="T10" fmla="*/ 912 w 1620"/>
                  <a:gd name="T11" fmla="*/ 56 h 1620"/>
                  <a:gd name="T12" fmla="*/ 1564 w 1620"/>
                  <a:gd name="T13" fmla="*/ 708 h 1620"/>
                  <a:gd name="T14" fmla="*/ 1564 w 1620"/>
                  <a:gd name="T15" fmla="*/ 912 h 1620"/>
                  <a:gd name="T16" fmla="*/ 912 w 1620"/>
                  <a:gd name="T17" fmla="*/ 1564 h 16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620" h="1620">
                    <a:moveTo>
                      <a:pt x="912" y="1564"/>
                    </a:moveTo>
                    <a:cubicBezTo>
                      <a:pt x="856" y="1620"/>
                      <a:pt x="764" y="1620"/>
                      <a:pt x="708" y="1564"/>
                    </a:cubicBezTo>
                    <a:cubicBezTo>
                      <a:pt x="56" y="912"/>
                      <a:pt x="56" y="912"/>
                      <a:pt x="56" y="912"/>
                    </a:cubicBezTo>
                    <a:cubicBezTo>
                      <a:pt x="0" y="856"/>
                      <a:pt x="0" y="764"/>
                      <a:pt x="56" y="708"/>
                    </a:cubicBezTo>
                    <a:cubicBezTo>
                      <a:pt x="708" y="56"/>
                      <a:pt x="708" y="56"/>
                      <a:pt x="708" y="56"/>
                    </a:cubicBezTo>
                    <a:cubicBezTo>
                      <a:pt x="764" y="0"/>
                      <a:pt x="856" y="0"/>
                      <a:pt x="912" y="56"/>
                    </a:cubicBezTo>
                    <a:cubicBezTo>
                      <a:pt x="1564" y="708"/>
                      <a:pt x="1564" y="708"/>
                      <a:pt x="1564" y="708"/>
                    </a:cubicBezTo>
                    <a:cubicBezTo>
                      <a:pt x="1620" y="764"/>
                      <a:pt x="1620" y="856"/>
                      <a:pt x="1564" y="912"/>
                    </a:cubicBezTo>
                    <a:lnTo>
                      <a:pt x="912" y="1564"/>
                    </a:lnTo>
                    <a:close/>
                  </a:path>
                </a:pathLst>
              </a:custGeom>
              <a:solidFill>
                <a:schemeClr val="bg1"/>
              </a:solidFill>
              <a:ln w="57150">
                <a:noFill/>
              </a:ln>
              <a:effectLst>
                <a:innerShdw blurRad="139700" dist="50800" dir="16200000">
                  <a:schemeClr val="tx1">
                    <a:alpha val="20000"/>
                  </a:scheme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cxnSp>
            <p:nvCxnSpPr>
              <p:cNvPr id="190" name="Straight Connector 189"/>
              <p:cNvCxnSpPr/>
              <p:nvPr/>
            </p:nvCxnSpPr>
            <p:spPr>
              <a:xfrm>
                <a:off x="1243012" y="3345565"/>
                <a:ext cx="249605" cy="239520"/>
              </a:xfrm>
              <a:prstGeom prst="line">
                <a:avLst/>
              </a:prstGeom>
              <a:ln w="12700" cap="rnd">
                <a:solidFill>
                  <a:schemeClr val="bg1"/>
                </a:solidFill>
                <a:prstDash val="dash"/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1" name="Straight Connector 190"/>
              <p:cNvCxnSpPr/>
              <p:nvPr/>
            </p:nvCxnSpPr>
            <p:spPr>
              <a:xfrm flipH="1">
                <a:off x="1480783" y="3345565"/>
                <a:ext cx="249605" cy="239520"/>
              </a:xfrm>
              <a:prstGeom prst="line">
                <a:avLst/>
              </a:prstGeom>
              <a:ln w="12700" cap="rnd">
                <a:solidFill>
                  <a:schemeClr val="bg1"/>
                </a:solidFill>
                <a:prstDash val="dash"/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5" name="Group 184"/>
            <p:cNvGrpSpPr/>
            <p:nvPr/>
          </p:nvGrpSpPr>
          <p:grpSpPr>
            <a:xfrm>
              <a:off x="5922729" y="2439816"/>
              <a:ext cx="989184" cy="1145269"/>
              <a:chOff x="993263" y="2439816"/>
              <a:chExt cx="989184" cy="1145269"/>
            </a:xfrm>
          </p:grpSpPr>
          <p:sp>
            <p:nvSpPr>
              <p:cNvPr id="186" name="Freeform 5"/>
              <p:cNvSpPr>
                <a:spLocks/>
              </p:cNvSpPr>
              <p:nvPr/>
            </p:nvSpPr>
            <p:spPr bwMode="auto">
              <a:xfrm>
                <a:off x="993263" y="2439816"/>
                <a:ext cx="989184" cy="989184"/>
              </a:xfrm>
              <a:custGeom>
                <a:avLst/>
                <a:gdLst>
                  <a:gd name="T0" fmla="*/ 912 w 1620"/>
                  <a:gd name="T1" fmla="*/ 1564 h 1620"/>
                  <a:gd name="T2" fmla="*/ 708 w 1620"/>
                  <a:gd name="T3" fmla="*/ 1564 h 1620"/>
                  <a:gd name="T4" fmla="*/ 56 w 1620"/>
                  <a:gd name="T5" fmla="*/ 912 h 1620"/>
                  <a:gd name="T6" fmla="*/ 56 w 1620"/>
                  <a:gd name="T7" fmla="*/ 708 h 1620"/>
                  <a:gd name="T8" fmla="*/ 708 w 1620"/>
                  <a:gd name="T9" fmla="*/ 56 h 1620"/>
                  <a:gd name="T10" fmla="*/ 912 w 1620"/>
                  <a:gd name="T11" fmla="*/ 56 h 1620"/>
                  <a:gd name="T12" fmla="*/ 1564 w 1620"/>
                  <a:gd name="T13" fmla="*/ 708 h 1620"/>
                  <a:gd name="T14" fmla="*/ 1564 w 1620"/>
                  <a:gd name="T15" fmla="*/ 912 h 1620"/>
                  <a:gd name="T16" fmla="*/ 912 w 1620"/>
                  <a:gd name="T17" fmla="*/ 1564 h 16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620" h="1620">
                    <a:moveTo>
                      <a:pt x="912" y="1564"/>
                    </a:moveTo>
                    <a:cubicBezTo>
                      <a:pt x="856" y="1620"/>
                      <a:pt x="764" y="1620"/>
                      <a:pt x="708" y="1564"/>
                    </a:cubicBezTo>
                    <a:cubicBezTo>
                      <a:pt x="56" y="912"/>
                      <a:pt x="56" y="912"/>
                      <a:pt x="56" y="912"/>
                    </a:cubicBezTo>
                    <a:cubicBezTo>
                      <a:pt x="0" y="856"/>
                      <a:pt x="0" y="764"/>
                      <a:pt x="56" y="708"/>
                    </a:cubicBezTo>
                    <a:cubicBezTo>
                      <a:pt x="708" y="56"/>
                      <a:pt x="708" y="56"/>
                      <a:pt x="708" y="56"/>
                    </a:cubicBezTo>
                    <a:cubicBezTo>
                      <a:pt x="764" y="0"/>
                      <a:pt x="856" y="0"/>
                      <a:pt x="912" y="56"/>
                    </a:cubicBezTo>
                    <a:cubicBezTo>
                      <a:pt x="1564" y="708"/>
                      <a:pt x="1564" y="708"/>
                      <a:pt x="1564" y="708"/>
                    </a:cubicBezTo>
                    <a:cubicBezTo>
                      <a:pt x="1620" y="764"/>
                      <a:pt x="1620" y="856"/>
                      <a:pt x="1564" y="912"/>
                    </a:cubicBezTo>
                    <a:lnTo>
                      <a:pt x="912" y="1564"/>
                    </a:lnTo>
                    <a:close/>
                  </a:path>
                </a:pathLst>
              </a:custGeom>
              <a:solidFill>
                <a:schemeClr val="bg1"/>
              </a:solidFill>
              <a:ln w="57150">
                <a:noFill/>
              </a:ln>
              <a:effectLst>
                <a:innerShdw blurRad="139700" dist="50800" dir="16200000">
                  <a:schemeClr val="tx1">
                    <a:alpha val="20000"/>
                  </a:scheme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cxnSp>
            <p:nvCxnSpPr>
              <p:cNvPr id="187" name="Straight Connector 186"/>
              <p:cNvCxnSpPr/>
              <p:nvPr/>
            </p:nvCxnSpPr>
            <p:spPr>
              <a:xfrm>
                <a:off x="1243012" y="3345565"/>
                <a:ext cx="249605" cy="239520"/>
              </a:xfrm>
              <a:prstGeom prst="line">
                <a:avLst/>
              </a:prstGeom>
              <a:ln w="12700" cap="rnd">
                <a:solidFill>
                  <a:schemeClr val="bg1"/>
                </a:solidFill>
                <a:prstDash val="dash"/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 flipH="1">
                <a:off x="1480783" y="3345565"/>
                <a:ext cx="249605" cy="239520"/>
              </a:xfrm>
              <a:prstGeom prst="line">
                <a:avLst/>
              </a:prstGeom>
              <a:ln w="12700" cap="rnd">
                <a:solidFill>
                  <a:schemeClr val="bg1"/>
                </a:solidFill>
                <a:prstDash val="dash"/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95" name="Freeform 5"/>
          <p:cNvSpPr>
            <a:spLocks/>
          </p:cNvSpPr>
          <p:nvPr/>
        </p:nvSpPr>
        <p:spPr bwMode="auto">
          <a:xfrm>
            <a:off x="4782725" y="3264354"/>
            <a:ext cx="1169617" cy="1169617"/>
          </a:xfrm>
          <a:custGeom>
            <a:avLst/>
            <a:gdLst>
              <a:gd name="T0" fmla="*/ 912 w 1620"/>
              <a:gd name="T1" fmla="*/ 1564 h 1620"/>
              <a:gd name="T2" fmla="*/ 708 w 1620"/>
              <a:gd name="T3" fmla="*/ 1564 h 1620"/>
              <a:gd name="T4" fmla="*/ 56 w 1620"/>
              <a:gd name="T5" fmla="*/ 912 h 1620"/>
              <a:gd name="T6" fmla="*/ 56 w 1620"/>
              <a:gd name="T7" fmla="*/ 708 h 1620"/>
              <a:gd name="T8" fmla="*/ 708 w 1620"/>
              <a:gd name="T9" fmla="*/ 56 h 1620"/>
              <a:gd name="T10" fmla="*/ 912 w 1620"/>
              <a:gd name="T11" fmla="*/ 56 h 1620"/>
              <a:gd name="T12" fmla="*/ 1564 w 1620"/>
              <a:gd name="T13" fmla="*/ 708 h 1620"/>
              <a:gd name="T14" fmla="*/ 1564 w 1620"/>
              <a:gd name="T15" fmla="*/ 912 h 1620"/>
              <a:gd name="T16" fmla="*/ 912 w 1620"/>
              <a:gd name="T17" fmla="*/ 1564 h 16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620" h="1620">
                <a:moveTo>
                  <a:pt x="912" y="1564"/>
                </a:moveTo>
                <a:cubicBezTo>
                  <a:pt x="856" y="1620"/>
                  <a:pt x="764" y="1620"/>
                  <a:pt x="708" y="1564"/>
                </a:cubicBezTo>
                <a:cubicBezTo>
                  <a:pt x="56" y="912"/>
                  <a:pt x="56" y="912"/>
                  <a:pt x="56" y="912"/>
                </a:cubicBezTo>
                <a:cubicBezTo>
                  <a:pt x="0" y="856"/>
                  <a:pt x="0" y="764"/>
                  <a:pt x="56" y="708"/>
                </a:cubicBezTo>
                <a:cubicBezTo>
                  <a:pt x="708" y="56"/>
                  <a:pt x="708" y="56"/>
                  <a:pt x="708" y="56"/>
                </a:cubicBezTo>
                <a:cubicBezTo>
                  <a:pt x="764" y="0"/>
                  <a:pt x="856" y="0"/>
                  <a:pt x="912" y="56"/>
                </a:cubicBezTo>
                <a:cubicBezTo>
                  <a:pt x="1564" y="708"/>
                  <a:pt x="1564" y="708"/>
                  <a:pt x="1564" y="708"/>
                </a:cubicBezTo>
                <a:cubicBezTo>
                  <a:pt x="1620" y="764"/>
                  <a:pt x="1620" y="856"/>
                  <a:pt x="1564" y="912"/>
                </a:cubicBezTo>
                <a:lnTo>
                  <a:pt x="912" y="1564"/>
                </a:lnTo>
                <a:close/>
              </a:path>
            </a:pathLst>
          </a:custGeom>
          <a:solidFill>
            <a:srgbClr val="3B3939"/>
          </a:solidFill>
          <a:ln w="57150">
            <a:solidFill>
              <a:schemeClr val="bg1"/>
            </a:solidFill>
          </a:ln>
          <a:effectLst>
            <a:innerShdw blurRad="114300">
              <a:prstClr val="black">
                <a:alpha val="36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96" name="Freeform 5"/>
          <p:cNvSpPr>
            <a:spLocks/>
          </p:cNvSpPr>
          <p:nvPr/>
        </p:nvSpPr>
        <p:spPr bwMode="auto">
          <a:xfrm>
            <a:off x="7692830" y="3264354"/>
            <a:ext cx="1169617" cy="1169617"/>
          </a:xfrm>
          <a:custGeom>
            <a:avLst/>
            <a:gdLst>
              <a:gd name="T0" fmla="*/ 912 w 1620"/>
              <a:gd name="T1" fmla="*/ 1564 h 1620"/>
              <a:gd name="T2" fmla="*/ 708 w 1620"/>
              <a:gd name="T3" fmla="*/ 1564 h 1620"/>
              <a:gd name="T4" fmla="*/ 56 w 1620"/>
              <a:gd name="T5" fmla="*/ 912 h 1620"/>
              <a:gd name="T6" fmla="*/ 56 w 1620"/>
              <a:gd name="T7" fmla="*/ 708 h 1620"/>
              <a:gd name="T8" fmla="*/ 708 w 1620"/>
              <a:gd name="T9" fmla="*/ 56 h 1620"/>
              <a:gd name="T10" fmla="*/ 912 w 1620"/>
              <a:gd name="T11" fmla="*/ 56 h 1620"/>
              <a:gd name="T12" fmla="*/ 1564 w 1620"/>
              <a:gd name="T13" fmla="*/ 708 h 1620"/>
              <a:gd name="T14" fmla="*/ 1564 w 1620"/>
              <a:gd name="T15" fmla="*/ 912 h 1620"/>
              <a:gd name="T16" fmla="*/ 912 w 1620"/>
              <a:gd name="T17" fmla="*/ 1564 h 16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620" h="1620">
                <a:moveTo>
                  <a:pt x="912" y="1564"/>
                </a:moveTo>
                <a:cubicBezTo>
                  <a:pt x="856" y="1620"/>
                  <a:pt x="764" y="1620"/>
                  <a:pt x="708" y="1564"/>
                </a:cubicBezTo>
                <a:cubicBezTo>
                  <a:pt x="56" y="912"/>
                  <a:pt x="56" y="912"/>
                  <a:pt x="56" y="912"/>
                </a:cubicBezTo>
                <a:cubicBezTo>
                  <a:pt x="0" y="856"/>
                  <a:pt x="0" y="764"/>
                  <a:pt x="56" y="708"/>
                </a:cubicBezTo>
                <a:cubicBezTo>
                  <a:pt x="708" y="56"/>
                  <a:pt x="708" y="56"/>
                  <a:pt x="708" y="56"/>
                </a:cubicBezTo>
                <a:cubicBezTo>
                  <a:pt x="764" y="0"/>
                  <a:pt x="856" y="0"/>
                  <a:pt x="912" y="56"/>
                </a:cubicBezTo>
                <a:cubicBezTo>
                  <a:pt x="1564" y="708"/>
                  <a:pt x="1564" y="708"/>
                  <a:pt x="1564" y="708"/>
                </a:cubicBezTo>
                <a:cubicBezTo>
                  <a:pt x="1620" y="764"/>
                  <a:pt x="1620" y="856"/>
                  <a:pt x="1564" y="912"/>
                </a:cubicBezTo>
                <a:lnTo>
                  <a:pt x="912" y="1564"/>
                </a:lnTo>
                <a:close/>
              </a:path>
            </a:pathLst>
          </a:custGeom>
          <a:solidFill>
            <a:srgbClr val="78D2D2"/>
          </a:solidFill>
          <a:ln w="57150">
            <a:solidFill>
              <a:schemeClr val="bg1"/>
            </a:solidFill>
          </a:ln>
          <a:effectLst>
            <a:innerShdw blurRad="114300">
              <a:prstClr val="black">
                <a:alpha val="36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97" name="Freeform 5"/>
          <p:cNvSpPr>
            <a:spLocks/>
          </p:cNvSpPr>
          <p:nvPr/>
        </p:nvSpPr>
        <p:spPr bwMode="auto">
          <a:xfrm>
            <a:off x="1864201" y="3264354"/>
            <a:ext cx="1169617" cy="1169617"/>
          </a:xfrm>
          <a:custGeom>
            <a:avLst/>
            <a:gdLst>
              <a:gd name="T0" fmla="*/ 912 w 1620"/>
              <a:gd name="T1" fmla="*/ 1564 h 1620"/>
              <a:gd name="T2" fmla="*/ 708 w 1620"/>
              <a:gd name="T3" fmla="*/ 1564 h 1620"/>
              <a:gd name="T4" fmla="*/ 56 w 1620"/>
              <a:gd name="T5" fmla="*/ 912 h 1620"/>
              <a:gd name="T6" fmla="*/ 56 w 1620"/>
              <a:gd name="T7" fmla="*/ 708 h 1620"/>
              <a:gd name="T8" fmla="*/ 708 w 1620"/>
              <a:gd name="T9" fmla="*/ 56 h 1620"/>
              <a:gd name="T10" fmla="*/ 912 w 1620"/>
              <a:gd name="T11" fmla="*/ 56 h 1620"/>
              <a:gd name="T12" fmla="*/ 1564 w 1620"/>
              <a:gd name="T13" fmla="*/ 708 h 1620"/>
              <a:gd name="T14" fmla="*/ 1564 w 1620"/>
              <a:gd name="T15" fmla="*/ 912 h 1620"/>
              <a:gd name="T16" fmla="*/ 912 w 1620"/>
              <a:gd name="T17" fmla="*/ 1564 h 16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620" h="1620">
                <a:moveTo>
                  <a:pt x="912" y="1564"/>
                </a:moveTo>
                <a:cubicBezTo>
                  <a:pt x="856" y="1620"/>
                  <a:pt x="764" y="1620"/>
                  <a:pt x="708" y="1564"/>
                </a:cubicBezTo>
                <a:cubicBezTo>
                  <a:pt x="56" y="912"/>
                  <a:pt x="56" y="912"/>
                  <a:pt x="56" y="912"/>
                </a:cubicBezTo>
                <a:cubicBezTo>
                  <a:pt x="0" y="856"/>
                  <a:pt x="0" y="764"/>
                  <a:pt x="56" y="708"/>
                </a:cubicBezTo>
                <a:cubicBezTo>
                  <a:pt x="708" y="56"/>
                  <a:pt x="708" y="56"/>
                  <a:pt x="708" y="56"/>
                </a:cubicBezTo>
                <a:cubicBezTo>
                  <a:pt x="764" y="0"/>
                  <a:pt x="856" y="0"/>
                  <a:pt x="912" y="56"/>
                </a:cubicBezTo>
                <a:cubicBezTo>
                  <a:pt x="1564" y="708"/>
                  <a:pt x="1564" y="708"/>
                  <a:pt x="1564" y="708"/>
                </a:cubicBezTo>
                <a:cubicBezTo>
                  <a:pt x="1620" y="764"/>
                  <a:pt x="1620" y="856"/>
                  <a:pt x="1564" y="912"/>
                </a:cubicBezTo>
                <a:lnTo>
                  <a:pt x="912" y="1564"/>
                </a:lnTo>
                <a:close/>
              </a:path>
            </a:pathLst>
          </a:custGeom>
          <a:solidFill>
            <a:srgbClr val="E2583D"/>
          </a:solidFill>
          <a:ln w="57150">
            <a:solidFill>
              <a:schemeClr val="bg1"/>
            </a:solidFill>
          </a:ln>
          <a:effectLst>
            <a:innerShdw blurRad="114300">
              <a:prstClr val="black">
                <a:alpha val="36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pSp>
        <p:nvGrpSpPr>
          <p:cNvPr id="198" name="Group 197"/>
          <p:cNvGrpSpPr/>
          <p:nvPr/>
        </p:nvGrpSpPr>
        <p:grpSpPr>
          <a:xfrm flipV="1">
            <a:off x="3320948" y="2733477"/>
            <a:ext cx="1169617" cy="1354172"/>
            <a:chOff x="993263" y="2439816"/>
            <a:chExt cx="989184" cy="1145269"/>
          </a:xfrm>
        </p:grpSpPr>
        <p:sp>
          <p:nvSpPr>
            <p:cNvPr id="243" name="Freeform 5"/>
            <p:cNvSpPr>
              <a:spLocks/>
            </p:cNvSpPr>
            <p:nvPr/>
          </p:nvSpPr>
          <p:spPr bwMode="auto">
            <a:xfrm flipV="1">
              <a:off x="993263" y="2439816"/>
              <a:ext cx="989184" cy="989184"/>
            </a:xfrm>
            <a:custGeom>
              <a:avLst/>
              <a:gdLst>
                <a:gd name="T0" fmla="*/ 912 w 1620"/>
                <a:gd name="T1" fmla="*/ 1564 h 1620"/>
                <a:gd name="T2" fmla="*/ 708 w 1620"/>
                <a:gd name="T3" fmla="*/ 1564 h 1620"/>
                <a:gd name="T4" fmla="*/ 56 w 1620"/>
                <a:gd name="T5" fmla="*/ 912 h 1620"/>
                <a:gd name="T6" fmla="*/ 56 w 1620"/>
                <a:gd name="T7" fmla="*/ 708 h 1620"/>
                <a:gd name="T8" fmla="*/ 708 w 1620"/>
                <a:gd name="T9" fmla="*/ 56 h 1620"/>
                <a:gd name="T10" fmla="*/ 912 w 1620"/>
                <a:gd name="T11" fmla="*/ 56 h 1620"/>
                <a:gd name="T12" fmla="*/ 1564 w 1620"/>
                <a:gd name="T13" fmla="*/ 708 h 1620"/>
                <a:gd name="T14" fmla="*/ 1564 w 1620"/>
                <a:gd name="T15" fmla="*/ 912 h 1620"/>
                <a:gd name="T16" fmla="*/ 912 w 1620"/>
                <a:gd name="T17" fmla="*/ 1564 h 1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20" h="1620">
                  <a:moveTo>
                    <a:pt x="912" y="1564"/>
                  </a:moveTo>
                  <a:cubicBezTo>
                    <a:pt x="856" y="1620"/>
                    <a:pt x="764" y="1620"/>
                    <a:pt x="708" y="1564"/>
                  </a:cubicBezTo>
                  <a:cubicBezTo>
                    <a:pt x="56" y="912"/>
                    <a:pt x="56" y="912"/>
                    <a:pt x="56" y="912"/>
                  </a:cubicBezTo>
                  <a:cubicBezTo>
                    <a:pt x="0" y="856"/>
                    <a:pt x="0" y="764"/>
                    <a:pt x="56" y="708"/>
                  </a:cubicBezTo>
                  <a:cubicBezTo>
                    <a:pt x="708" y="56"/>
                    <a:pt x="708" y="56"/>
                    <a:pt x="708" y="56"/>
                  </a:cubicBezTo>
                  <a:cubicBezTo>
                    <a:pt x="764" y="0"/>
                    <a:pt x="856" y="0"/>
                    <a:pt x="912" y="56"/>
                  </a:cubicBezTo>
                  <a:cubicBezTo>
                    <a:pt x="1564" y="708"/>
                    <a:pt x="1564" y="708"/>
                    <a:pt x="1564" y="708"/>
                  </a:cubicBezTo>
                  <a:cubicBezTo>
                    <a:pt x="1620" y="764"/>
                    <a:pt x="1620" y="856"/>
                    <a:pt x="1564" y="912"/>
                  </a:cubicBezTo>
                  <a:lnTo>
                    <a:pt x="912" y="1564"/>
                  </a:lnTo>
                  <a:close/>
                </a:path>
              </a:pathLst>
            </a:custGeom>
            <a:solidFill>
              <a:schemeClr val="bg1"/>
            </a:solidFill>
            <a:ln w="57150">
              <a:noFill/>
            </a:ln>
            <a:effectLst>
              <a:innerShdw blurRad="139700" dist="50800" dir="16200000">
                <a:schemeClr val="tx1">
                  <a:alpha val="2000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cxnSp>
          <p:nvCxnSpPr>
            <p:cNvPr id="244" name="Straight Connector 243"/>
            <p:cNvCxnSpPr/>
            <p:nvPr/>
          </p:nvCxnSpPr>
          <p:spPr>
            <a:xfrm>
              <a:off x="1243012" y="3345565"/>
              <a:ext cx="249605" cy="239520"/>
            </a:xfrm>
            <a:prstGeom prst="line">
              <a:avLst/>
            </a:prstGeom>
            <a:ln w="12700" cap="rnd">
              <a:solidFill>
                <a:schemeClr val="bg1"/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5" name="Straight Connector 244"/>
            <p:cNvCxnSpPr/>
            <p:nvPr/>
          </p:nvCxnSpPr>
          <p:spPr>
            <a:xfrm flipH="1">
              <a:off x="1480783" y="3345565"/>
              <a:ext cx="249605" cy="239520"/>
            </a:xfrm>
            <a:prstGeom prst="line">
              <a:avLst/>
            </a:prstGeom>
            <a:ln w="12700" cap="rnd">
              <a:solidFill>
                <a:schemeClr val="bg1"/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46" name="Freeform 5"/>
          <p:cNvSpPr>
            <a:spLocks/>
          </p:cNvSpPr>
          <p:nvPr/>
        </p:nvSpPr>
        <p:spPr bwMode="auto">
          <a:xfrm>
            <a:off x="3320948" y="3264354"/>
            <a:ext cx="1169617" cy="1169617"/>
          </a:xfrm>
          <a:custGeom>
            <a:avLst/>
            <a:gdLst>
              <a:gd name="T0" fmla="*/ 912 w 1620"/>
              <a:gd name="T1" fmla="*/ 1564 h 1620"/>
              <a:gd name="T2" fmla="*/ 708 w 1620"/>
              <a:gd name="T3" fmla="*/ 1564 h 1620"/>
              <a:gd name="T4" fmla="*/ 56 w 1620"/>
              <a:gd name="T5" fmla="*/ 912 h 1620"/>
              <a:gd name="T6" fmla="*/ 56 w 1620"/>
              <a:gd name="T7" fmla="*/ 708 h 1620"/>
              <a:gd name="T8" fmla="*/ 708 w 1620"/>
              <a:gd name="T9" fmla="*/ 56 h 1620"/>
              <a:gd name="T10" fmla="*/ 912 w 1620"/>
              <a:gd name="T11" fmla="*/ 56 h 1620"/>
              <a:gd name="T12" fmla="*/ 1564 w 1620"/>
              <a:gd name="T13" fmla="*/ 708 h 1620"/>
              <a:gd name="T14" fmla="*/ 1564 w 1620"/>
              <a:gd name="T15" fmla="*/ 912 h 1620"/>
              <a:gd name="T16" fmla="*/ 912 w 1620"/>
              <a:gd name="T17" fmla="*/ 1564 h 16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620" h="1620">
                <a:moveTo>
                  <a:pt x="912" y="1564"/>
                </a:moveTo>
                <a:cubicBezTo>
                  <a:pt x="856" y="1620"/>
                  <a:pt x="764" y="1620"/>
                  <a:pt x="708" y="1564"/>
                </a:cubicBezTo>
                <a:cubicBezTo>
                  <a:pt x="56" y="912"/>
                  <a:pt x="56" y="912"/>
                  <a:pt x="56" y="912"/>
                </a:cubicBezTo>
                <a:cubicBezTo>
                  <a:pt x="0" y="856"/>
                  <a:pt x="0" y="764"/>
                  <a:pt x="56" y="708"/>
                </a:cubicBezTo>
                <a:cubicBezTo>
                  <a:pt x="708" y="56"/>
                  <a:pt x="708" y="56"/>
                  <a:pt x="708" y="56"/>
                </a:cubicBezTo>
                <a:cubicBezTo>
                  <a:pt x="764" y="0"/>
                  <a:pt x="856" y="0"/>
                  <a:pt x="912" y="56"/>
                </a:cubicBezTo>
                <a:cubicBezTo>
                  <a:pt x="1564" y="708"/>
                  <a:pt x="1564" y="708"/>
                  <a:pt x="1564" y="708"/>
                </a:cubicBezTo>
                <a:cubicBezTo>
                  <a:pt x="1620" y="764"/>
                  <a:pt x="1620" y="856"/>
                  <a:pt x="1564" y="912"/>
                </a:cubicBezTo>
                <a:lnTo>
                  <a:pt x="912" y="1564"/>
                </a:lnTo>
                <a:close/>
              </a:path>
            </a:pathLst>
          </a:custGeom>
          <a:solidFill>
            <a:srgbClr val="78D2D2"/>
          </a:solidFill>
          <a:ln w="57150">
            <a:solidFill>
              <a:schemeClr val="bg1"/>
            </a:solidFill>
          </a:ln>
          <a:effectLst>
            <a:innerShdw blurRad="114300">
              <a:prstClr val="black">
                <a:alpha val="36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pSp>
        <p:nvGrpSpPr>
          <p:cNvPr id="263" name="Group 262"/>
          <p:cNvGrpSpPr/>
          <p:nvPr/>
        </p:nvGrpSpPr>
        <p:grpSpPr>
          <a:xfrm flipV="1">
            <a:off x="9165177" y="2733477"/>
            <a:ext cx="1169617" cy="1354172"/>
            <a:chOff x="993263" y="2439816"/>
            <a:chExt cx="989184" cy="1145269"/>
          </a:xfrm>
        </p:grpSpPr>
        <p:sp>
          <p:nvSpPr>
            <p:cNvPr id="264" name="Freeform 5"/>
            <p:cNvSpPr>
              <a:spLocks/>
            </p:cNvSpPr>
            <p:nvPr/>
          </p:nvSpPr>
          <p:spPr bwMode="auto">
            <a:xfrm flipV="1">
              <a:off x="993263" y="2439816"/>
              <a:ext cx="989184" cy="989184"/>
            </a:xfrm>
            <a:custGeom>
              <a:avLst/>
              <a:gdLst>
                <a:gd name="T0" fmla="*/ 912 w 1620"/>
                <a:gd name="T1" fmla="*/ 1564 h 1620"/>
                <a:gd name="T2" fmla="*/ 708 w 1620"/>
                <a:gd name="T3" fmla="*/ 1564 h 1620"/>
                <a:gd name="T4" fmla="*/ 56 w 1620"/>
                <a:gd name="T5" fmla="*/ 912 h 1620"/>
                <a:gd name="T6" fmla="*/ 56 w 1620"/>
                <a:gd name="T7" fmla="*/ 708 h 1620"/>
                <a:gd name="T8" fmla="*/ 708 w 1620"/>
                <a:gd name="T9" fmla="*/ 56 h 1620"/>
                <a:gd name="T10" fmla="*/ 912 w 1620"/>
                <a:gd name="T11" fmla="*/ 56 h 1620"/>
                <a:gd name="T12" fmla="*/ 1564 w 1620"/>
                <a:gd name="T13" fmla="*/ 708 h 1620"/>
                <a:gd name="T14" fmla="*/ 1564 w 1620"/>
                <a:gd name="T15" fmla="*/ 912 h 1620"/>
                <a:gd name="T16" fmla="*/ 912 w 1620"/>
                <a:gd name="T17" fmla="*/ 1564 h 1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20" h="1620">
                  <a:moveTo>
                    <a:pt x="912" y="1564"/>
                  </a:moveTo>
                  <a:cubicBezTo>
                    <a:pt x="856" y="1620"/>
                    <a:pt x="764" y="1620"/>
                    <a:pt x="708" y="1564"/>
                  </a:cubicBezTo>
                  <a:cubicBezTo>
                    <a:pt x="56" y="912"/>
                    <a:pt x="56" y="912"/>
                    <a:pt x="56" y="912"/>
                  </a:cubicBezTo>
                  <a:cubicBezTo>
                    <a:pt x="0" y="856"/>
                    <a:pt x="0" y="764"/>
                    <a:pt x="56" y="708"/>
                  </a:cubicBezTo>
                  <a:cubicBezTo>
                    <a:pt x="708" y="56"/>
                    <a:pt x="708" y="56"/>
                    <a:pt x="708" y="56"/>
                  </a:cubicBezTo>
                  <a:cubicBezTo>
                    <a:pt x="764" y="0"/>
                    <a:pt x="856" y="0"/>
                    <a:pt x="912" y="56"/>
                  </a:cubicBezTo>
                  <a:cubicBezTo>
                    <a:pt x="1564" y="708"/>
                    <a:pt x="1564" y="708"/>
                    <a:pt x="1564" y="708"/>
                  </a:cubicBezTo>
                  <a:cubicBezTo>
                    <a:pt x="1620" y="764"/>
                    <a:pt x="1620" y="856"/>
                    <a:pt x="1564" y="912"/>
                  </a:cubicBezTo>
                  <a:lnTo>
                    <a:pt x="912" y="1564"/>
                  </a:lnTo>
                  <a:close/>
                </a:path>
              </a:pathLst>
            </a:custGeom>
            <a:solidFill>
              <a:schemeClr val="bg1"/>
            </a:solidFill>
            <a:ln w="57150">
              <a:noFill/>
            </a:ln>
            <a:effectLst>
              <a:innerShdw blurRad="139700" dist="50800" dir="16200000">
                <a:schemeClr val="tx1">
                  <a:alpha val="2000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cxnSp>
          <p:nvCxnSpPr>
            <p:cNvPr id="265" name="Straight Connector 264"/>
            <p:cNvCxnSpPr/>
            <p:nvPr/>
          </p:nvCxnSpPr>
          <p:spPr>
            <a:xfrm>
              <a:off x="1243012" y="3345565"/>
              <a:ext cx="249605" cy="239520"/>
            </a:xfrm>
            <a:prstGeom prst="line">
              <a:avLst/>
            </a:prstGeom>
            <a:ln w="12700" cap="rnd">
              <a:solidFill>
                <a:schemeClr val="bg1"/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6" name="Straight Connector 265"/>
            <p:cNvCxnSpPr/>
            <p:nvPr/>
          </p:nvCxnSpPr>
          <p:spPr>
            <a:xfrm flipH="1">
              <a:off x="1480783" y="3345565"/>
              <a:ext cx="249605" cy="239520"/>
            </a:xfrm>
            <a:prstGeom prst="line">
              <a:avLst/>
            </a:prstGeom>
            <a:ln w="12700" cap="rnd">
              <a:solidFill>
                <a:schemeClr val="bg1"/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7" name="Freeform 5"/>
          <p:cNvSpPr>
            <a:spLocks/>
          </p:cNvSpPr>
          <p:nvPr/>
        </p:nvSpPr>
        <p:spPr bwMode="auto">
          <a:xfrm>
            <a:off x="9165177" y="3264354"/>
            <a:ext cx="1169617" cy="1169617"/>
          </a:xfrm>
          <a:custGeom>
            <a:avLst/>
            <a:gdLst>
              <a:gd name="T0" fmla="*/ 912 w 1620"/>
              <a:gd name="T1" fmla="*/ 1564 h 1620"/>
              <a:gd name="T2" fmla="*/ 708 w 1620"/>
              <a:gd name="T3" fmla="*/ 1564 h 1620"/>
              <a:gd name="T4" fmla="*/ 56 w 1620"/>
              <a:gd name="T5" fmla="*/ 912 h 1620"/>
              <a:gd name="T6" fmla="*/ 56 w 1620"/>
              <a:gd name="T7" fmla="*/ 708 h 1620"/>
              <a:gd name="T8" fmla="*/ 708 w 1620"/>
              <a:gd name="T9" fmla="*/ 56 h 1620"/>
              <a:gd name="T10" fmla="*/ 912 w 1620"/>
              <a:gd name="T11" fmla="*/ 56 h 1620"/>
              <a:gd name="T12" fmla="*/ 1564 w 1620"/>
              <a:gd name="T13" fmla="*/ 708 h 1620"/>
              <a:gd name="T14" fmla="*/ 1564 w 1620"/>
              <a:gd name="T15" fmla="*/ 912 h 1620"/>
              <a:gd name="T16" fmla="*/ 912 w 1620"/>
              <a:gd name="T17" fmla="*/ 1564 h 16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620" h="1620">
                <a:moveTo>
                  <a:pt x="912" y="1564"/>
                </a:moveTo>
                <a:cubicBezTo>
                  <a:pt x="856" y="1620"/>
                  <a:pt x="764" y="1620"/>
                  <a:pt x="708" y="1564"/>
                </a:cubicBezTo>
                <a:cubicBezTo>
                  <a:pt x="56" y="912"/>
                  <a:pt x="56" y="912"/>
                  <a:pt x="56" y="912"/>
                </a:cubicBezTo>
                <a:cubicBezTo>
                  <a:pt x="0" y="856"/>
                  <a:pt x="0" y="764"/>
                  <a:pt x="56" y="708"/>
                </a:cubicBezTo>
                <a:cubicBezTo>
                  <a:pt x="708" y="56"/>
                  <a:pt x="708" y="56"/>
                  <a:pt x="708" y="56"/>
                </a:cubicBezTo>
                <a:cubicBezTo>
                  <a:pt x="764" y="0"/>
                  <a:pt x="856" y="0"/>
                  <a:pt x="912" y="56"/>
                </a:cubicBezTo>
                <a:cubicBezTo>
                  <a:pt x="1564" y="708"/>
                  <a:pt x="1564" y="708"/>
                  <a:pt x="1564" y="708"/>
                </a:cubicBezTo>
                <a:cubicBezTo>
                  <a:pt x="1620" y="764"/>
                  <a:pt x="1620" y="856"/>
                  <a:pt x="1564" y="912"/>
                </a:cubicBezTo>
                <a:lnTo>
                  <a:pt x="912" y="1564"/>
                </a:lnTo>
                <a:close/>
              </a:path>
            </a:pathLst>
          </a:custGeom>
          <a:solidFill>
            <a:srgbClr val="3B3939"/>
          </a:solidFill>
          <a:ln w="57150">
            <a:solidFill>
              <a:schemeClr val="bg1"/>
            </a:solidFill>
          </a:ln>
          <a:effectLst>
            <a:innerShdw blurRad="114300">
              <a:prstClr val="black">
                <a:alpha val="36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pSp>
        <p:nvGrpSpPr>
          <p:cNvPr id="268" name="Group 267"/>
          <p:cNvGrpSpPr/>
          <p:nvPr/>
        </p:nvGrpSpPr>
        <p:grpSpPr>
          <a:xfrm flipV="1">
            <a:off x="6235653" y="2733477"/>
            <a:ext cx="1169617" cy="1354172"/>
            <a:chOff x="993263" y="2439816"/>
            <a:chExt cx="989184" cy="1145269"/>
          </a:xfrm>
        </p:grpSpPr>
        <p:sp>
          <p:nvSpPr>
            <p:cNvPr id="269" name="Freeform 5"/>
            <p:cNvSpPr>
              <a:spLocks/>
            </p:cNvSpPr>
            <p:nvPr/>
          </p:nvSpPr>
          <p:spPr bwMode="auto">
            <a:xfrm flipV="1">
              <a:off x="993263" y="2439816"/>
              <a:ext cx="989184" cy="989184"/>
            </a:xfrm>
            <a:custGeom>
              <a:avLst/>
              <a:gdLst>
                <a:gd name="T0" fmla="*/ 912 w 1620"/>
                <a:gd name="T1" fmla="*/ 1564 h 1620"/>
                <a:gd name="T2" fmla="*/ 708 w 1620"/>
                <a:gd name="T3" fmla="*/ 1564 h 1620"/>
                <a:gd name="T4" fmla="*/ 56 w 1620"/>
                <a:gd name="T5" fmla="*/ 912 h 1620"/>
                <a:gd name="T6" fmla="*/ 56 w 1620"/>
                <a:gd name="T7" fmla="*/ 708 h 1620"/>
                <a:gd name="T8" fmla="*/ 708 w 1620"/>
                <a:gd name="T9" fmla="*/ 56 h 1620"/>
                <a:gd name="T10" fmla="*/ 912 w 1620"/>
                <a:gd name="T11" fmla="*/ 56 h 1620"/>
                <a:gd name="T12" fmla="*/ 1564 w 1620"/>
                <a:gd name="T13" fmla="*/ 708 h 1620"/>
                <a:gd name="T14" fmla="*/ 1564 w 1620"/>
                <a:gd name="T15" fmla="*/ 912 h 1620"/>
                <a:gd name="T16" fmla="*/ 912 w 1620"/>
                <a:gd name="T17" fmla="*/ 1564 h 1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20" h="1620">
                  <a:moveTo>
                    <a:pt x="912" y="1564"/>
                  </a:moveTo>
                  <a:cubicBezTo>
                    <a:pt x="856" y="1620"/>
                    <a:pt x="764" y="1620"/>
                    <a:pt x="708" y="1564"/>
                  </a:cubicBezTo>
                  <a:cubicBezTo>
                    <a:pt x="56" y="912"/>
                    <a:pt x="56" y="912"/>
                    <a:pt x="56" y="912"/>
                  </a:cubicBezTo>
                  <a:cubicBezTo>
                    <a:pt x="0" y="856"/>
                    <a:pt x="0" y="764"/>
                    <a:pt x="56" y="708"/>
                  </a:cubicBezTo>
                  <a:cubicBezTo>
                    <a:pt x="708" y="56"/>
                    <a:pt x="708" y="56"/>
                    <a:pt x="708" y="56"/>
                  </a:cubicBezTo>
                  <a:cubicBezTo>
                    <a:pt x="764" y="0"/>
                    <a:pt x="856" y="0"/>
                    <a:pt x="912" y="56"/>
                  </a:cubicBezTo>
                  <a:cubicBezTo>
                    <a:pt x="1564" y="708"/>
                    <a:pt x="1564" y="708"/>
                    <a:pt x="1564" y="708"/>
                  </a:cubicBezTo>
                  <a:cubicBezTo>
                    <a:pt x="1620" y="764"/>
                    <a:pt x="1620" y="856"/>
                    <a:pt x="1564" y="912"/>
                  </a:cubicBezTo>
                  <a:lnTo>
                    <a:pt x="912" y="1564"/>
                  </a:lnTo>
                  <a:close/>
                </a:path>
              </a:pathLst>
            </a:custGeom>
            <a:solidFill>
              <a:schemeClr val="bg1"/>
            </a:solidFill>
            <a:ln w="57150">
              <a:noFill/>
            </a:ln>
            <a:effectLst>
              <a:innerShdw blurRad="139700" dist="50800" dir="16200000">
                <a:schemeClr val="tx1">
                  <a:alpha val="2000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cxnSp>
          <p:nvCxnSpPr>
            <p:cNvPr id="270" name="Straight Connector 269"/>
            <p:cNvCxnSpPr/>
            <p:nvPr/>
          </p:nvCxnSpPr>
          <p:spPr>
            <a:xfrm>
              <a:off x="1243012" y="3345565"/>
              <a:ext cx="249605" cy="239520"/>
            </a:xfrm>
            <a:prstGeom prst="line">
              <a:avLst/>
            </a:prstGeom>
            <a:ln w="12700" cap="rnd">
              <a:solidFill>
                <a:schemeClr val="bg1"/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1" name="Straight Connector 270"/>
            <p:cNvCxnSpPr/>
            <p:nvPr/>
          </p:nvCxnSpPr>
          <p:spPr>
            <a:xfrm flipH="1">
              <a:off x="1480783" y="3345565"/>
              <a:ext cx="249605" cy="239520"/>
            </a:xfrm>
            <a:prstGeom prst="line">
              <a:avLst/>
            </a:prstGeom>
            <a:ln w="12700" cap="rnd">
              <a:solidFill>
                <a:schemeClr val="bg1"/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2" name="Freeform 5"/>
          <p:cNvSpPr>
            <a:spLocks/>
          </p:cNvSpPr>
          <p:nvPr/>
        </p:nvSpPr>
        <p:spPr bwMode="auto">
          <a:xfrm>
            <a:off x="6235653" y="3264354"/>
            <a:ext cx="1169617" cy="1169617"/>
          </a:xfrm>
          <a:custGeom>
            <a:avLst/>
            <a:gdLst>
              <a:gd name="T0" fmla="*/ 912 w 1620"/>
              <a:gd name="T1" fmla="*/ 1564 h 1620"/>
              <a:gd name="T2" fmla="*/ 708 w 1620"/>
              <a:gd name="T3" fmla="*/ 1564 h 1620"/>
              <a:gd name="T4" fmla="*/ 56 w 1620"/>
              <a:gd name="T5" fmla="*/ 912 h 1620"/>
              <a:gd name="T6" fmla="*/ 56 w 1620"/>
              <a:gd name="T7" fmla="*/ 708 h 1620"/>
              <a:gd name="T8" fmla="*/ 708 w 1620"/>
              <a:gd name="T9" fmla="*/ 56 h 1620"/>
              <a:gd name="T10" fmla="*/ 912 w 1620"/>
              <a:gd name="T11" fmla="*/ 56 h 1620"/>
              <a:gd name="T12" fmla="*/ 1564 w 1620"/>
              <a:gd name="T13" fmla="*/ 708 h 1620"/>
              <a:gd name="T14" fmla="*/ 1564 w 1620"/>
              <a:gd name="T15" fmla="*/ 912 h 1620"/>
              <a:gd name="T16" fmla="*/ 912 w 1620"/>
              <a:gd name="T17" fmla="*/ 1564 h 16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620" h="1620">
                <a:moveTo>
                  <a:pt x="912" y="1564"/>
                </a:moveTo>
                <a:cubicBezTo>
                  <a:pt x="856" y="1620"/>
                  <a:pt x="764" y="1620"/>
                  <a:pt x="708" y="1564"/>
                </a:cubicBezTo>
                <a:cubicBezTo>
                  <a:pt x="56" y="912"/>
                  <a:pt x="56" y="912"/>
                  <a:pt x="56" y="912"/>
                </a:cubicBezTo>
                <a:cubicBezTo>
                  <a:pt x="0" y="856"/>
                  <a:pt x="0" y="764"/>
                  <a:pt x="56" y="708"/>
                </a:cubicBezTo>
                <a:cubicBezTo>
                  <a:pt x="708" y="56"/>
                  <a:pt x="708" y="56"/>
                  <a:pt x="708" y="56"/>
                </a:cubicBezTo>
                <a:cubicBezTo>
                  <a:pt x="764" y="0"/>
                  <a:pt x="856" y="0"/>
                  <a:pt x="912" y="56"/>
                </a:cubicBezTo>
                <a:cubicBezTo>
                  <a:pt x="1564" y="708"/>
                  <a:pt x="1564" y="708"/>
                  <a:pt x="1564" y="708"/>
                </a:cubicBezTo>
                <a:cubicBezTo>
                  <a:pt x="1620" y="764"/>
                  <a:pt x="1620" y="856"/>
                  <a:pt x="1564" y="912"/>
                </a:cubicBezTo>
                <a:lnTo>
                  <a:pt x="912" y="1564"/>
                </a:lnTo>
                <a:close/>
              </a:path>
            </a:pathLst>
          </a:custGeom>
          <a:solidFill>
            <a:srgbClr val="E2583D"/>
          </a:solidFill>
          <a:ln w="57150">
            <a:solidFill>
              <a:schemeClr val="bg1"/>
            </a:solidFill>
          </a:ln>
          <a:effectLst>
            <a:innerShdw blurRad="114300">
              <a:prstClr val="black">
                <a:alpha val="36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pSp>
        <p:nvGrpSpPr>
          <p:cNvPr id="300" name="Group 299"/>
          <p:cNvGrpSpPr/>
          <p:nvPr/>
        </p:nvGrpSpPr>
        <p:grpSpPr>
          <a:xfrm>
            <a:off x="1582349" y="5035995"/>
            <a:ext cx="1719334" cy="972283"/>
            <a:chOff x="751697" y="3828568"/>
            <a:chExt cx="1454098" cy="822292"/>
          </a:xfrm>
        </p:grpSpPr>
        <p:sp>
          <p:nvSpPr>
            <p:cNvPr id="301" name="Text Placeholder 4"/>
            <p:cNvSpPr txBox="1">
              <a:spLocks/>
            </p:cNvSpPr>
            <p:nvPr/>
          </p:nvSpPr>
          <p:spPr>
            <a:xfrm>
              <a:off x="751697" y="4085364"/>
              <a:ext cx="1454098" cy="56549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 algn="ctr">
                <a:lnSpc>
                  <a:spcPct val="150000"/>
                </a:lnSpc>
                <a:defRPr/>
              </a:pPr>
              <a:r>
                <a:rPr lang="en-US" sz="1000" dirty="0" err="1"/>
                <a:t>Lorem</a:t>
              </a:r>
              <a:r>
                <a:rPr lang="en-US" sz="1000" dirty="0"/>
                <a:t> </a:t>
              </a:r>
              <a:r>
                <a:rPr lang="en-US" sz="1000" dirty="0" err="1"/>
                <a:t>Ipsum</a:t>
              </a:r>
              <a:r>
                <a:rPr lang="en-US" sz="1000" dirty="0"/>
                <a:t> is simply dummy text of the printing and typesetting industry. </a:t>
              </a:r>
            </a:p>
          </p:txBody>
        </p:sp>
        <p:sp>
          <p:nvSpPr>
            <p:cNvPr id="302" name="Text Placeholder 4"/>
            <p:cNvSpPr txBox="1">
              <a:spLocks/>
            </p:cNvSpPr>
            <p:nvPr/>
          </p:nvSpPr>
          <p:spPr>
            <a:xfrm>
              <a:off x="1077091" y="3828568"/>
              <a:ext cx="815140" cy="2769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5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STEP 01</a:t>
              </a:r>
            </a:p>
          </p:txBody>
        </p:sp>
      </p:grpSp>
      <p:grpSp>
        <p:nvGrpSpPr>
          <p:cNvPr id="303" name="Group 302"/>
          <p:cNvGrpSpPr/>
          <p:nvPr/>
        </p:nvGrpSpPr>
        <p:grpSpPr>
          <a:xfrm>
            <a:off x="4507867" y="5035995"/>
            <a:ext cx="1719334" cy="972283"/>
            <a:chOff x="751697" y="3828568"/>
            <a:chExt cx="1454098" cy="822292"/>
          </a:xfrm>
        </p:grpSpPr>
        <p:sp>
          <p:nvSpPr>
            <p:cNvPr id="304" name="Text Placeholder 4"/>
            <p:cNvSpPr txBox="1">
              <a:spLocks/>
            </p:cNvSpPr>
            <p:nvPr/>
          </p:nvSpPr>
          <p:spPr>
            <a:xfrm>
              <a:off x="751697" y="4085364"/>
              <a:ext cx="1454098" cy="56549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 algn="ctr">
                <a:lnSpc>
                  <a:spcPct val="150000"/>
                </a:lnSpc>
                <a:defRPr/>
              </a:pPr>
              <a:r>
                <a:rPr lang="en-US" sz="1000" dirty="0" err="1"/>
                <a:t>Lorem</a:t>
              </a:r>
              <a:r>
                <a:rPr lang="en-US" sz="1000" dirty="0"/>
                <a:t> </a:t>
              </a:r>
              <a:r>
                <a:rPr lang="en-US" sz="1000" dirty="0" err="1"/>
                <a:t>Ipsum</a:t>
              </a:r>
              <a:r>
                <a:rPr lang="en-US" sz="1000" dirty="0"/>
                <a:t> is simply dummy text of the printing and typesetting industry. </a:t>
              </a:r>
            </a:p>
          </p:txBody>
        </p:sp>
        <p:sp>
          <p:nvSpPr>
            <p:cNvPr id="305" name="Text Placeholder 4"/>
            <p:cNvSpPr txBox="1">
              <a:spLocks/>
            </p:cNvSpPr>
            <p:nvPr/>
          </p:nvSpPr>
          <p:spPr>
            <a:xfrm>
              <a:off x="1077091" y="3828568"/>
              <a:ext cx="815140" cy="2769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5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STEP 03</a:t>
              </a:r>
            </a:p>
          </p:txBody>
        </p:sp>
      </p:grpSp>
      <p:grpSp>
        <p:nvGrpSpPr>
          <p:cNvPr id="306" name="Group 305"/>
          <p:cNvGrpSpPr/>
          <p:nvPr/>
        </p:nvGrpSpPr>
        <p:grpSpPr>
          <a:xfrm>
            <a:off x="7417971" y="5035995"/>
            <a:ext cx="1719334" cy="972283"/>
            <a:chOff x="751697" y="3828568"/>
            <a:chExt cx="1454098" cy="822292"/>
          </a:xfrm>
        </p:grpSpPr>
        <p:sp>
          <p:nvSpPr>
            <p:cNvPr id="307" name="Text Placeholder 4"/>
            <p:cNvSpPr txBox="1">
              <a:spLocks/>
            </p:cNvSpPr>
            <p:nvPr/>
          </p:nvSpPr>
          <p:spPr>
            <a:xfrm>
              <a:off x="751697" y="4085364"/>
              <a:ext cx="1454098" cy="56549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 algn="ctr">
                <a:lnSpc>
                  <a:spcPct val="150000"/>
                </a:lnSpc>
                <a:defRPr/>
              </a:pPr>
              <a:r>
                <a:rPr lang="en-US" sz="1000" dirty="0" err="1"/>
                <a:t>Lorem</a:t>
              </a:r>
              <a:r>
                <a:rPr lang="en-US" sz="1000" dirty="0"/>
                <a:t> </a:t>
              </a:r>
              <a:r>
                <a:rPr lang="en-US" sz="1000" dirty="0" err="1"/>
                <a:t>Ipsum</a:t>
              </a:r>
              <a:r>
                <a:rPr lang="en-US" sz="1000" dirty="0"/>
                <a:t> is simply dummy text of the printing and typesetting industry. </a:t>
              </a:r>
            </a:p>
          </p:txBody>
        </p:sp>
        <p:sp>
          <p:nvSpPr>
            <p:cNvPr id="308" name="Text Placeholder 4"/>
            <p:cNvSpPr txBox="1">
              <a:spLocks/>
            </p:cNvSpPr>
            <p:nvPr/>
          </p:nvSpPr>
          <p:spPr>
            <a:xfrm>
              <a:off x="1077091" y="3828568"/>
              <a:ext cx="815140" cy="2769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5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STEP 05</a:t>
              </a:r>
            </a:p>
          </p:txBody>
        </p:sp>
      </p:grpSp>
      <p:grpSp>
        <p:nvGrpSpPr>
          <p:cNvPr id="309" name="Group 308"/>
          <p:cNvGrpSpPr/>
          <p:nvPr/>
        </p:nvGrpSpPr>
        <p:grpSpPr>
          <a:xfrm>
            <a:off x="3046089" y="1769014"/>
            <a:ext cx="1719334" cy="972281"/>
            <a:chOff x="751697" y="3828568"/>
            <a:chExt cx="1454098" cy="822291"/>
          </a:xfrm>
        </p:grpSpPr>
        <p:sp>
          <p:nvSpPr>
            <p:cNvPr id="310" name="Text Placeholder 4"/>
            <p:cNvSpPr txBox="1">
              <a:spLocks/>
            </p:cNvSpPr>
            <p:nvPr/>
          </p:nvSpPr>
          <p:spPr>
            <a:xfrm>
              <a:off x="751697" y="4085364"/>
              <a:ext cx="1454098" cy="56549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 algn="ctr">
                <a:lnSpc>
                  <a:spcPct val="150000"/>
                </a:lnSpc>
                <a:defRPr/>
              </a:pPr>
              <a:r>
                <a:rPr lang="en-US" sz="1000" dirty="0" err="1"/>
                <a:t>Lorem</a:t>
              </a:r>
              <a:r>
                <a:rPr lang="en-US" sz="1000" dirty="0"/>
                <a:t> </a:t>
              </a:r>
              <a:r>
                <a:rPr lang="en-US" sz="1000" dirty="0" err="1"/>
                <a:t>Ipsum</a:t>
              </a:r>
              <a:r>
                <a:rPr lang="en-US" sz="1000" dirty="0"/>
                <a:t> is simply dummy text of the printing and typesetting industry. </a:t>
              </a:r>
            </a:p>
          </p:txBody>
        </p:sp>
        <p:sp>
          <p:nvSpPr>
            <p:cNvPr id="311" name="Text Placeholder 4"/>
            <p:cNvSpPr txBox="1">
              <a:spLocks/>
            </p:cNvSpPr>
            <p:nvPr/>
          </p:nvSpPr>
          <p:spPr>
            <a:xfrm>
              <a:off x="1077091" y="3828568"/>
              <a:ext cx="815140" cy="2769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5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STEP 02</a:t>
              </a:r>
            </a:p>
          </p:txBody>
        </p:sp>
      </p:grpSp>
      <p:grpSp>
        <p:nvGrpSpPr>
          <p:cNvPr id="312" name="Group 311"/>
          <p:cNvGrpSpPr/>
          <p:nvPr/>
        </p:nvGrpSpPr>
        <p:grpSpPr>
          <a:xfrm>
            <a:off x="5960795" y="1769014"/>
            <a:ext cx="1719334" cy="972283"/>
            <a:chOff x="751697" y="3828568"/>
            <a:chExt cx="1454098" cy="822292"/>
          </a:xfrm>
        </p:grpSpPr>
        <p:sp>
          <p:nvSpPr>
            <p:cNvPr id="313" name="Text Placeholder 4"/>
            <p:cNvSpPr txBox="1">
              <a:spLocks/>
            </p:cNvSpPr>
            <p:nvPr/>
          </p:nvSpPr>
          <p:spPr>
            <a:xfrm>
              <a:off x="751697" y="4085364"/>
              <a:ext cx="1454098" cy="56549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 algn="ctr">
                <a:lnSpc>
                  <a:spcPct val="150000"/>
                </a:lnSpc>
                <a:defRPr/>
              </a:pPr>
              <a:r>
                <a:rPr lang="en-US" sz="1000" dirty="0" err="1"/>
                <a:t>Lorem</a:t>
              </a:r>
              <a:r>
                <a:rPr lang="en-US" sz="1000" dirty="0"/>
                <a:t> </a:t>
              </a:r>
              <a:r>
                <a:rPr lang="en-US" sz="1000" dirty="0" err="1"/>
                <a:t>Ipsum</a:t>
              </a:r>
              <a:r>
                <a:rPr lang="en-US" sz="1000" dirty="0"/>
                <a:t> is simply dummy text of the printing and typesetting industry. </a:t>
              </a:r>
            </a:p>
          </p:txBody>
        </p:sp>
        <p:sp>
          <p:nvSpPr>
            <p:cNvPr id="314" name="Text Placeholder 4"/>
            <p:cNvSpPr txBox="1">
              <a:spLocks/>
            </p:cNvSpPr>
            <p:nvPr/>
          </p:nvSpPr>
          <p:spPr>
            <a:xfrm>
              <a:off x="1077091" y="3828568"/>
              <a:ext cx="815140" cy="2769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5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STEP 04</a:t>
              </a:r>
            </a:p>
          </p:txBody>
        </p:sp>
      </p:grpSp>
      <p:grpSp>
        <p:nvGrpSpPr>
          <p:cNvPr id="315" name="Group 314"/>
          <p:cNvGrpSpPr/>
          <p:nvPr/>
        </p:nvGrpSpPr>
        <p:grpSpPr>
          <a:xfrm>
            <a:off x="8890318" y="1769014"/>
            <a:ext cx="1719334" cy="972283"/>
            <a:chOff x="751697" y="3828568"/>
            <a:chExt cx="1454098" cy="822292"/>
          </a:xfrm>
        </p:grpSpPr>
        <p:sp>
          <p:nvSpPr>
            <p:cNvPr id="316" name="Text Placeholder 4"/>
            <p:cNvSpPr txBox="1">
              <a:spLocks/>
            </p:cNvSpPr>
            <p:nvPr/>
          </p:nvSpPr>
          <p:spPr>
            <a:xfrm>
              <a:off x="751697" y="4085364"/>
              <a:ext cx="1454098" cy="56549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 algn="ctr">
                <a:lnSpc>
                  <a:spcPct val="150000"/>
                </a:lnSpc>
                <a:defRPr/>
              </a:pPr>
              <a:r>
                <a:rPr lang="en-US" sz="1000" dirty="0" err="1"/>
                <a:t>Lorem</a:t>
              </a:r>
              <a:r>
                <a:rPr lang="en-US" sz="1000" dirty="0"/>
                <a:t> </a:t>
              </a:r>
              <a:r>
                <a:rPr lang="en-US" sz="1000" dirty="0" err="1"/>
                <a:t>Ipsum</a:t>
              </a:r>
              <a:r>
                <a:rPr lang="en-US" sz="1000" dirty="0"/>
                <a:t> is simply dummy text of the printing and typesetting industry. </a:t>
              </a:r>
            </a:p>
          </p:txBody>
        </p:sp>
        <p:sp>
          <p:nvSpPr>
            <p:cNvPr id="317" name="Text Placeholder 4"/>
            <p:cNvSpPr txBox="1">
              <a:spLocks/>
            </p:cNvSpPr>
            <p:nvPr/>
          </p:nvSpPr>
          <p:spPr>
            <a:xfrm>
              <a:off x="1077091" y="3828568"/>
              <a:ext cx="815140" cy="2769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5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STEP 06</a:t>
              </a:r>
            </a:p>
          </p:txBody>
        </p:sp>
      </p:grpSp>
      <p:sp>
        <p:nvSpPr>
          <p:cNvPr id="318" name="Freeform 295"/>
          <p:cNvSpPr>
            <a:spLocks noEditPoints="1"/>
          </p:cNvSpPr>
          <p:nvPr/>
        </p:nvSpPr>
        <p:spPr bwMode="auto">
          <a:xfrm>
            <a:off x="3759212" y="3707080"/>
            <a:ext cx="285750" cy="284163"/>
          </a:xfrm>
          <a:custGeom>
            <a:avLst/>
            <a:gdLst>
              <a:gd name="T0" fmla="*/ 35 w 896"/>
              <a:gd name="T1" fmla="*/ 256 h 896"/>
              <a:gd name="T2" fmla="*/ 58 w 896"/>
              <a:gd name="T3" fmla="*/ 190 h 896"/>
              <a:gd name="T4" fmla="*/ 94 w 896"/>
              <a:gd name="T5" fmla="*/ 132 h 896"/>
              <a:gd name="T6" fmla="*/ 143 w 896"/>
              <a:gd name="T7" fmla="*/ 85 h 896"/>
              <a:gd name="T8" fmla="*/ 203 w 896"/>
              <a:gd name="T9" fmla="*/ 51 h 896"/>
              <a:gd name="T10" fmla="*/ 271 w 896"/>
              <a:gd name="T11" fmla="*/ 33 h 896"/>
              <a:gd name="T12" fmla="*/ 342 w 896"/>
              <a:gd name="T13" fmla="*/ 31 h 896"/>
              <a:gd name="T14" fmla="*/ 411 w 896"/>
              <a:gd name="T15" fmla="*/ 47 h 896"/>
              <a:gd name="T16" fmla="*/ 472 w 896"/>
              <a:gd name="T17" fmla="*/ 78 h 896"/>
              <a:gd name="T18" fmla="*/ 523 w 896"/>
              <a:gd name="T19" fmla="*/ 123 h 896"/>
              <a:gd name="T20" fmla="*/ 563 w 896"/>
              <a:gd name="T21" fmla="*/ 178 h 896"/>
              <a:gd name="T22" fmla="*/ 588 w 896"/>
              <a:gd name="T23" fmla="*/ 242 h 896"/>
              <a:gd name="T24" fmla="*/ 597 w 896"/>
              <a:gd name="T25" fmla="*/ 313 h 896"/>
              <a:gd name="T26" fmla="*/ 588 w 896"/>
              <a:gd name="T27" fmla="*/ 384 h 896"/>
              <a:gd name="T28" fmla="*/ 563 w 896"/>
              <a:gd name="T29" fmla="*/ 448 h 896"/>
              <a:gd name="T30" fmla="*/ 523 w 896"/>
              <a:gd name="T31" fmla="*/ 503 h 896"/>
              <a:gd name="T32" fmla="*/ 472 w 896"/>
              <a:gd name="T33" fmla="*/ 548 h 896"/>
              <a:gd name="T34" fmla="*/ 411 w 896"/>
              <a:gd name="T35" fmla="*/ 579 h 896"/>
              <a:gd name="T36" fmla="*/ 342 w 896"/>
              <a:gd name="T37" fmla="*/ 595 h 896"/>
              <a:gd name="T38" fmla="*/ 271 w 896"/>
              <a:gd name="T39" fmla="*/ 593 h 896"/>
              <a:gd name="T40" fmla="*/ 203 w 896"/>
              <a:gd name="T41" fmla="*/ 575 h 896"/>
              <a:gd name="T42" fmla="*/ 143 w 896"/>
              <a:gd name="T43" fmla="*/ 541 h 896"/>
              <a:gd name="T44" fmla="*/ 94 w 896"/>
              <a:gd name="T45" fmla="*/ 494 h 896"/>
              <a:gd name="T46" fmla="*/ 58 w 896"/>
              <a:gd name="T47" fmla="*/ 436 h 896"/>
              <a:gd name="T48" fmla="*/ 35 w 896"/>
              <a:gd name="T49" fmla="*/ 370 h 896"/>
              <a:gd name="T50" fmla="*/ 892 w 896"/>
              <a:gd name="T51" fmla="*/ 870 h 896"/>
              <a:gd name="T52" fmla="*/ 580 w 896"/>
              <a:gd name="T53" fmla="*/ 479 h 896"/>
              <a:gd name="T54" fmla="*/ 611 w 896"/>
              <a:gd name="T55" fmla="*/ 415 h 896"/>
              <a:gd name="T56" fmla="*/ 626 w 896"/>
              <a:gd name="T57" fmla="*/ 343 h 896"/>
              <a:gd name="T58" fmla="*/ 624 w 896"/>
              <a:gd name="T59" fmla="*/ 265 h 896"/>
              <a:gd name="T60" fmla="*/ 602 w 896"/>
              <a:gd name="T61" fmla="*/ 191 h 896"/>
              <a:gd name="T62" fmla="*/ 565 w 896"/>
              <a:gd name="T63" fmla="*/ 125 h 896"/>
              <a:gd name="T64" fmla="*/ 513 w 896"/>
              <a:gd name="T65" fmla="*/ 71 h 896"/>
              <a:gd name="T66" fmla="*/ 449 w 896"/>
              <a:gd name="T67" fmla="*/ 31 h 896"/>
              <a:gd name="T68" fmla="*/ 376 w 896"/>
              <a:gd name="T69" fmla="*/ 6 h 896"/>
              <a:gd name="T70" fmla="*/ 297 w 896"/>
              <a:gd name="T71" fmla="*/ 0 h 896"/>
              <a:gd name="T72" fmla="*/ 220 w 896"/>
              <a:gd name="T73" fmla="*/ 14 h 896"/>
              <a:gd name="T74" fmla="*/ 151 w 896"/>
              <a:gd name="T75" fmla="*/ 45 h 896"/>
              <a:gd name="T76" fmla="*/ 92 w 896"/>
              <a:gd name="T77" fmla="*/ 92 h 896"/>
              <a:gd name="T78" fmla="*/ 45 w 896"/>
              <a:gd name="T79" fmla="*/ 150 h 896"/>
              <a:gd name="T80" fmla="*/ 14 w 896"/>
              <a:gd name="T81" fmla="*/ 220 h 896"/>
              <a:gd name="T82" fmla="*/ 0 w 896"/>
              <a:gd name="T83" fmla="*/ 297 h 896"/>
              <a:gd name="T84" fmla="*/ 6 w 896"/>
              <a:gd name="T85" fmla="*/ 376 h 896"/>
              <a:gd name="T86" fmla="*/ 31 w 896"/>
              <a:gd name="T87" fmla="*/ 449 h 896"/>
              <a:gd name="T88" fmla="*/ 72 w 896"/>
              <a:gd name="T89" fmla="*/ 512 h 896"/>
              <a:gd name="T90" fmla="*/ 126 w 896"/>
              <a:gd name="T91" fmla="*/ 564 h 896"/>
              <a:gd name="T92" fmla="*/ 191 w 896"/>
              <a:gd name="T93" fmla="*/ 602 h 896"/>
              <a:gd name="T94" fmla="*/ 265 w 896"/>
              <a:gd name="T95" fmla="*/ 623 h 896"/>
              <a:gd name="T96" fmla="*/ 343 w 896"/>
              <a:gd name="T97" fmla="*/ 625 h 896"/>
              <a:gd name="T98" fmla="*/ 415 w 896"/>
              <a:gd name="T99" fmla="*/ 609 h 896"/>
              <a:gd name="T100" fmla="*/ 479 w 896"/>
              <a:gd name="T101" fmla="*/ 579 h 896"/>
              <a:gd name="T102" fmla="*/ 871 w 896"/>
              <a:gd name="T103" fmla="*/ 891 h 896"/>
              <a:gd name="T104" fmla="*/ 885 w 896"/>
              <a:gd name="T105" fmla="*/ 896 h 896"/>
              <a:gd name="T106" fmla="*/ 895 w 896"/>
              <a:gd name="T107" fmla="*/ 886 h 896"/>
              <a:gd name="T108" fmla="*/ 894 w 896"/>
              <a:gd name="T109" fmla="*/ 872 h 8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896" h="896">
                <a:moveTo>
                  <a:pt x="30" y="313"/>
                </a:moveTo>
                <a:lnTo>
                  <a:pt x="30" y="298"/>
                </a:lnTo>
                <a:lnTo>
                  <a:pt x="31" y="284"/>
                </a:lnTo>
                <a:lnTo>
                  <a:pt x="33" y="270"/>
                </a:lnTo>
                <a:lnTo>
                  <a:pt x="35" y="256"/>
                </a:lnTo>
                <a:lnTo>
                  <a:pt x="38" y="242"/>
                </a:lnTo>
                <a:lnTo>
                  <a:pt x="43" y="228"/>
                </a:lnTo>
                <a:lnTo>
                  <a:pt x="47" y="216"/>
                </a:lnTo>
                <a:lnTo>
                  <a:pt x="51" y="203"/>
                </a:lnTo>
                <a:lnTo>
                  <a:pt x="58" y="190"/>
                </a:lnTo>
                <a:lnTo>
                  <a:pt x="64" y="178"/>
                </a:lnTo>
                <a:lnTo>
                  <a:pt x="71" y="165"/>
                </a:lnTo>
                <a:lnTo>
                  <a:pt x="78" y="155"/>
                </a:lnTo>
                <a:lnTo>
                  <a:pt x="86" y="143"/>
                </a:lnTo>
                <a:lnTo>
                  <a:pt x="94" y="132"/>
                </a:lnTo>
                <a:lnTo>
                  <a:pt x="104" y="123"/>
                </a:lnTo>
                <a:lnTo>
                  <a:pt x="112" y="112"/>
                </a:lnTo>
                <a:lnTo>
                  <a:pt x="123" y="103"/>
                </a:lnTo>
                <a:lnTo>
                  <a:pt x="133" y="94"/>
                </a:lnTo>
                <a:lnTo>
                  <a:pt x="143" y="85"/>
                </a:lnTo>
                <a:lnTo>
                  <a:pt x="155" y="78"/>
                </a:lnTo>
                <a:lnTo>
                  <a:pt x="166" y="70"/>
                </a:lnTo>
                <a:lnTo>
                  <a:pt x="179" y="64"/>
                </a:lnTo>
                <a:lnTo>
                  <a:pt x="190" y="57"/>
                </a:lnTo>
                <a:lnTo>
                  <a:pt x="203" y="51"/>
                </a:lnTo>
                <a:lnTo>
                  <a:pt x="216" y="47"/>
                </a:lnTo>
                <a:lnTo>
                  <a:pt x="229" y="41"/>
                </a:lnTo>
                <a:lnTo>
                  <a:pt x="243" y="38"/>
                </a:lnTo>
                <a:lnTo>
                  <a:pt x="257" y="35"/>
                </a:lnTo>
                <a:lnTo>
                  <a:pt x="271" y="33"/>
                </a:lnTo>
                <a:lnTo>
                  <a:pt x="284" y="31"/>
                </a:lnTo>
                <a:lnTo>
                  <a:pt x="298" y="30"/>
                </a:lnTo>
                <a:lnTo>
                  <a:pt x="313" y="29"/>
                </a:lnTo>
                <a:lnTo>
                  <a:pt x="328" y="30"/>
                </a:lnTo>
                <a:lnTo>
                  <a:pt x="342" y="31"/>
                </a:lnTo>
                <a:lnTo>
                  <a:pt x="356" y="33"/>
                </a:lnTo>
                <a:lnTo>
                  <a:pt x="370" y="35"/>
                </a:lnTo>
                <a:lnTo>
                  <a:pt x="384" y="38"/>
                </a:lnTo>
                <a:lnTo>
                  <a:pt x="398" y="41"/>
                </a:lnTo>
                <a:lnTo>
                  <a:pt x="411" y="47"/>
                </a:lnTo>
                <a:lnTo>
                  <a:pt x="424" y="51"/>
                </a:lnTo>
                <a:lnTo>
                  <a:pt x="436" y="57"/>
                </a:lnTo>
                <a:lnTo>
                  <a:pt x="448" y="64"/>
                </a:lnTo>
                <a:lnTo>
                  <a:pt x="461" y="70"/>
                </a:lnTo>
                <a:lnTo>
                  <a:pt x="472" y="78"/>
                </a:lnTo>
                <a:lnTo>
                  <a:pt x="483" y="85"/>
                </a:lnTo>
                <a:lnTo>
                  <a:pt x="494" y="94"/>
                </a:lnTo>
                <a:lnTo>
                  <a:pt x="504" y="102"/>
                </a:lnTo>
                <a:lnTo>
                  <a:pt x="514" y="112"/>
                </a:lnTo>
                <a:lnTo>
                  <a:pt x="523" y="123"/>
                </a:lnTo>
                <a:lnTo>
                  <a:pt x="533" y="132"/>
                </a:lnTo>
                <a:lnTo>
                  <a:pt x="541" y="143"/>
                </a:lnTo>
                <a:lnTo>
                  <a:pt x="549" y="155"/>
                </a:lnTo>
                <a:lnTo>
                  <a:pt x="556" y="165"/>
                </a:lnTo>
                <a:lnTo>
                  <a:pt x="563" y="178"/>
                </a:lnTo>
                <a:lnTo>
                  <a:pt x="569" y="190"/>
                </a:lnTo>
                <a:lnTo>
                  <a:pt x="575" y="203"/>
                </a:lnTo>
                <a:lnTo>
                  <a:pt x="580" y="216"/>
                </a:lnTo>
                <a:lnTo>
                  <a:pt x="585" y="228"/>
                </a:lnTo>
                <a:lnTo>
                  <a:pt x="588" y="242"/>
                </a:lnTo>
                <a:lnTo>
                  <a:pt x="591" y="256"/>
                </a:lnTo>
                <a:lnTo>
                  <a:pt x="594" y="270"/>
                </a:lnTo>
                <a:lnTo>
                  <a:pt x="596" y="284"/>
                </a:lnTo>
                <a:lnTo>
                  <a:pt x="597" y="298"/>
                </a:lnTo>
                <a:lnTo>
                  <a:pt x="597" y="313"/>
                </a:lnTo>
                <a:lnTo>
                  <a:pt x="597" y="328"/>
                </a:lnTo>
                <a:lnTo>
                  <a:pt x="596" y="342"/>
                </a:lnTo>
                <a:lnTo>
                  <a:pt x="594" y="356"/>
                </a:lnTo>
                <a:lnTo>
                  <a:pt x="591" y="370"/>
                </a:lnTo>
                <a:lnTo>
                  <a:pt x="588" y="384"/>
                </a:lnTo>
                <a:lnTo>
                  <a:pt x="585" y="397"/>
                </a:lnTo>
                <a:lnTo>
                  <a:pt x="580" y="410"/>
                </a:lnTo>
                <a:lnTo>
                  <a:pt x="575" y="423"/>
                </a:lnTo>
                <a:lnTo>
                  <a:pt x="569" y="436"/>
                </a:lnTo>
                <a:lnTo>
                  <a:pt x="563" y="448"/>
                </a:lnTo>
                <a:lnTo>
                  <a:pt x="556" y="459"/>
                </a:lnTo>
                <a:lnTo>
                  <a:pt x="549" y="471"/>
                </a:lnTo>
                <a:lnTo>
                  <a:pt x="541" y="483"/>
                </a:lnTo>
                <a:lnTo>
                  <a:pt x="533" y="494"/>
                </a:lnTo>
                <a:lnTo>
                  <a:pt x="523" y="503"/>
                </a:lnTo>
                <a:lnTo>
                  <a:pt x="514" y="514"/>
                </a:lnTo>
                <a:lnTo>
                  <a:pt x="504" y="523"/>
                </a:lnTo>
                <a:lnTo>
                  <a:pt x="494" y="532"/>
                </a:lnTo>
                <a:lnTo>
                  <a:pt x="483" y="541"/>
                </a:lnTo>
                <a:lnTo>
                  <a:pt x="472" y="548"/>
                </a:lnTo>
                <a:lnTo>
                  <a:pt x="461" y="556"/>
                </a:lnTo>
                <a:lnTo>
                  <a:pt x="448" y="562"/>
                </a:lnTo>
                <a:lnTo>
                  <a:pt x="436" y="569"/>
                </a:lnTo>
                <a:lnTo>
                  <a:pt x="424" y="575"/>
                </a:lnTo>
                <a:lnTo>
                  <a:pt x="411" y="579"/>
                </a:lnTo>
                <a:lnTo>
                  <a:pt x="398" y="583"/>
                </a:lnTo>
                <a:lnTo>
                  <a:pt x="384" y="588"/>
                </a:lnTo>
                <a:lnTo>
                  <a:pt x="370" y="591"/>
                </a:lnTo>
                <a:lnTo>
                  <a:pt x="356" y="593"/>
                </a:lnTo>
                <a:lnTo>
                  <a:pt x="342" y="595"/>
                </a:lnTo>
                <a:lnTo>
                  <a:pt x="328" y="596"/>
                </a:lnTo>
                <a:lnTo>
                  <a:pt x="313" y="596"/>
                </a:lnTo>
                <a:lnTo>
                  <a:pt x="298" y="596"/>
                </a:lnTo>
                <a:lnTo>
                  <a:pt x="284" y="595"/>
                </a:lnTo>
                <a:lnTo>
                  <a:pt x="271" y="593"/>
                </a:lnTo>
                <a:lnTo>
                  <a:pt x="257" y="591"/>
                </a:lnTo>
                <a:lnTo>
                  <a:pt x="243" y="588"/>
                </a:lnTo>
                <a:lnTo>
                  <a:pt x="229" y="583"/>
                </a:lnTo>
                <a:lnTo>
                  <a:pt x="216" y="579"/>
                </a:lnTo>
                <a:lnTo>
                  <a:pt x="203" y="575"/>
                </a:lnTo>
                <a:lnTo>
                  <a:pt x="190" y="569"/>
                </a:lnTo>
                <a:lnTo>
                  <a:pt x="179" y="562"/>
                </a:lnTo>
                <a:lnTo>
                  <a:pt x="166" y="556"/>
                </a:lnTo>
                <a:lnTo>
                  <a:pt x="155" y="548"/>
                </a:lnTo>
                <a:lnTo>
                  <a:pt x="143" y="541"/>
                </a:lnTo>
                <a:lnTo>
                  <a:pt x="133" y="532"/>
                </a:lnTo>
                <a:lnTo>
                  <a:pt x="123" y="523"/>
                </a:lnTo>
                <a:lnTo>
                  <a:pt x="112" y="514"/>
                </a:lnTo>
                <a:lnTo>
                  <a:pt x="104" y="503"/>
                </a:lnTo>
                <a:lnTo>
                  <a:pt x="94" y="494"/>
                </a:lnTo>
                <a:lnTo>
                  <a:pt x="86" y="483"/>
                </a:lnTo>
                <a:lnTo>
                  <a:pt x="78" y="471"/>
                </a:lnTo>
                <a:lnTo>
                  <a:pt x="71" y="459"/>
                </a:lnTo>
                <a:lnTo>
                  <a:pt x="64" y="448"/>
                </a:lnTo>
                <a:lnTo>
                  <a:pt x="58" y="436"/>
                </a:lnTo>
                <a:lnTo>
                  <a:pt x="51" y="423"/>
                </a:lnTo>
                <a:lnTo>
                  <a:pt x="47" y="410"/>
                </a:lnTo>
                <a:lnTo>
                  <a:pt x="43" y="397"/>
                </a:lnTo>
                <a:lnTo>
                  <a:pt x="38" y="384"/>
                </a:lnTo>
                <a:lnTo>
                  <a:pt x="35" y="370"/>
                </a:lnTo>
                <a:lnTo>
                  <a:pt x="33" y="356"/>
                </a:lnTo>
                <a:lnTo>
                  <a:pt x="31" y="342"/>
                </a:lnTo>
                <a:lnTo>
                  <a:pt x="30" y="328"/>
                </a:lnTo>
                <a:lnTo>
                  <a:pt x="30" y="313"/>
                </a:lnTo>
                <a:close/>
                <a:moveTo>
                  <a:pt x="892" y="870"/>
                </a:moveTo>
                <a:lnTo>
                  <a:pt x="545" y="524"/>
                </a:lnTo>
                <a:lnTo>
                  <a:pt x="554" y="513"/>
                </a:lnTo>
                <a:lnTo>
                  <a:pt x="564" y="502"/>
                </a:lnTo>
                <a:lnTo>
                  <a:pt x="571" y="490"/>
                </a:lnTo>
                <a:lnTo>
                  <a:pt x="580" y="479"/>
                </a:lnTo>
                <a:lnTo>
                  <a:pt x="587" y="466"/>
                </a:lnTo>
                <a:lnTo>
                  <a:pt x="594" y="454"/>
                </a:lnTo>
                <a:lnTo>
                  <a:pt x="600" y="441"/>
                </a:lnTo>
                <a:lnTo>
                  <a:pt x="605" y="427"/>
                </a:lnTo>
                <a:lnTo>
                  <a:pt x="611" y="415"/>
                </a:lnTo>
                <a:lnTo>
                  <a:pt x="615" y="401"/>
                </a:lnTo>
                <a:lnTo>
                  <a:pt x="618" y="387"/>
                </a:lnTo>
                <a:lnTo>
                  <a:pt x="621" y="372"/>
                </a:lnTo>
                <a:lnTo>
                  <a:pt x="624" y="358"/>
                </a:lnTo>
                <a:lnTo>
                  <a:pt x="626" y="343"/>
                </a:lnTo>
                <a:lnTo>
                  <a:pt x="627" y="328"/>
                </a:lnTo>
                <a:lnTo>
                  <a:pt x="627" y="313"/>
                </a:lnTo>
                <a:lnTo>
                  <a:pt x="627" y="297"/>
                </a:lnTo>
                <a:lnTo>
                  <a:pt x="626" y="281"/>
                </a:lnTo>
                <a:lnTo>
                  <a:pt x="624" y="265"/>
                </a:lnTo>
                <a:lnTo>
                  <a:pt x="620" y="250"/>
                </a:lnTo>
                <a:lnTo>
                  <a:pt x="617" y="235"/>
                </a:lnTo>
                <a:lnTo>
                  <a:pt x="613" y="220"/>
                </a:lnTo>
                <a:lnTo>
                  <a:pt x="609" y="205"/>
                </a:lnTo>
                <a:lnTo>
                  <a:pt x="602" y="191"/>
                </a:lnTo>
                <a:lnTo>
                  <a:pt x="596" y="177"/>
                </a:lnTo>
                <a:lnTo>
                  <a:pt x="589" y="163"/>
                </a:lnTo>
                <a:lnTo>
                  <a:pt x="582" y="150"/>
                </a:lnTo>
                <a:lnTo>
                  <a:pt x="573" y="138"/>
                </a:lnTo>
                <a:lnTo>
                  <a:pt x="565" y="125"/>
                </a:lnTo>
                <a:lnTo>
                  <a:pt x="555" y="113"/>
                </a:lnTo>
                <a:lnTo>
                  <a:pt x="545" y="102"/>
                </a:lnTo>
                <a:lnTo>
                  <a:pt x="535" y="92"/>
                </a:lnTo>
                <a:lnTo>
                  <a:pt x="524" y="81"/>
                </a:lnTo>
                <a:lnTo>
                  <a:pt x="513" y="71"/>
                </a:lnTo>
                <a:lnTo>
                  <a:pt x="501" y="62"/>
                </a:lnTo>
                <a:lnTo>
                  <a:pt x="489" y="53"/>
                </a:lnTo>
                <a:lnTo>
                  <a:pt x="476" y="45"/>
                </a:lnTo>
                <a:lnTo>
                  <a:pt x="463" y="37"/>
                </a:lnTo>
                <a:lnTo>
                  <a:pt x="449" y="31"/>
                </a:lnTo>
                <a:lnTo>
                  <a:pt x="435" y="24"/>
                </a:lnTo>
                <a:lnTo>
                  <a:pt x="421" y="18"/>
                </a:lnTo>
                <a:lnTo>
                  <a:pt x="406" y="14"/>
                </a:lnTo>
                <a:lnTo>
                  <a:pt x="391" y="9"/>
                </a:lnTo>
                <a:lnTo>
                  <a:pt x="376" y="6"/>
                </a:lnTo>
                <a:lnTo>
                  <a:pt x="361" y="3"/>
                </a:lnTo>
                <a:lnTo>
                  <a:pt x="345" y="1"/>
                </a:lnTo>
                <a:lnTo>
                  <a:pt x="329" y="0"/>
                </a:lnTo>
                <a:lnTo>
                  <a:pt x="313" y="0"/>
                </a:lnTo>
                <a:lnTo>
                  <a:pt x="297" y="0"/>
                </a:lnTo>
                <a:lnTo>
                  <a:pt x="281" y="1"/>
                </a:lnTo>
                <a:lnTo>
                  <a:pt x="265" y="3"/>
                </a:lnTo>
                <a:lnTo>
                  <a:pt x="250" y="5"/>
                </a:lnTo>
                <a:lnTo>
                  <a:pt x="235" y="9"/>
                </a:lnTo>
                <a:lnTo>
                  <a:pt x="220" y="14"/>
                </a:lnTo>
                <a:lnTo>
                  <a:pt x="205" y="18"/>
                </a:lnTo>
                <a:lnTo>
                  <a:pt x="191" y="24"/>
                </a:lnTo>
                <a:lnTo>
                  <a:pt x="178" y="30"/>
                </a:lnTo>
                <a:lnTo>
                  <a:pt x="164" y="37"/>
                </a:lnTo>
                <a:lnTo>
                  <a:pt x="151" y="45"/>
                </a:lnTo>
                <a:lnTo>
                  <a:pt x="138" y="53"/>
                </a:lnTo>
                <a:lnTo>
                  <a:pt x="126" y="62"/>
                </a:lnTo>
                <a:lnTo>
                  <a:pt x="114" y="71"/>
                </a:lnTo>
                <a:lnTo>
                  <a:pt x="103" y="81"/>
                </a:lnTo>
                <a:lnTo>
                  <a:pt x="92" y="92"/>
                </a:lnTo>
                <a:lnTo>
                  <a:pt x="81" y="102"/>
                </a:lnTo>
                <a:lnTo>
                  <a:pt x="72" y="113"/>
                </a:lnTo>
                <a:lnTo>
                  <a:pt x="62" y="125"/>
                </a:lnTo>
                <a:lnTo>
                  <a:pt x="53" y="138"/>
                </a:lnTo>
                <a:lnTo>
                  <a:pt x="45" y="150"/>
                </a:lnTo>
                <a:lnTo>
                  <a:pt x="37" y="163"/>
                </a:lnTo>
                <a:lnTo>
                  <a:pt x="31" y="177"/>
                </a:lnTo>
                <a:lnTo>
                  <a:pt x="25" y="191"/>
                </a:lnTo>
                <a:lnTo>
                  <a:pt x="18" y="205"/>
                </a:lnTo>
                <a:lnTo>
                  <a:pt x="14" y="220"/>
                </a:lnTo>
                <a:lnTo>
                  <a:pt x="10" y="235"/>
                </a:lnTo>
                <a:lnTo>
                  <a:pt x="6" y="250"/>
                </a:lnTo>
                <a:lnTo>
                  <a:pt x="3" y="265"/>
                </a:lnTo>
                <a:lnTo>
                  <a:pt x="1" y="281"/>
                </a:lnTo>
                <a:lnTo>
                  <a:pt x="0" y="297"/>
                </a:lnTo>
                <a:lnTo>
                  <a:pt x="0" y="313"/>
                </a:lnTo>
                <a:lnTo>
                  <a:pt x="0" y="329"/>
                </a:lnTo>
                <a:lnTo>
                  <a:pt x="1" y="345"/>
                </a:lnTo>
                <a:lnTo>
                  <a:pt x="3" y="361"/>
                </a:lnTo>
                <a:lnTo>
                  <a:pt x="6" y="376"/>
                </a:lnTo>
                <a:lnTo>
                  <a:pt x="10" y="391"/>
                </a:lnTo>
                <a:lnTo>
                  <a:pt x="14" y="406"/>
                </a:lnTo>
                <a:lnTo>
                  <a:pt x="18" y="421"/>
                </a:lnTo>
                <a:lnTo>
                  <a:pt x="25" y="435"/>
                </a:lnTo>
                <a:lnTo>
                  <a:pt x="31" y="449"/>
                </a:lnTo>
                <a:lnTo>
                  <a:pt x="37" y="463"/>
                </a:lnTo>
                <a:lnTo>
                  <a:pt x="45" y="475"/>
                </a:lnTo>
                <a:lnTo>
                  <a:pt x="53" y="488"/>
                </a:lnTo>
                <a:lnTo>
                  <a:pt x="62" y="500"/>
                </a:lnTo>
                <a:lnTo>
                  <a:pt x="72" y="512"/>
                </a:lnTo>
                <a:lnTo>
                  <a:pt x="81" y="524"/>
                </a:lnTo>
                <a:lnTo>
                  <a:pt x="92" y="534"/>
                </a:lnTo>
                <a:lnTo>
                  <a:pt x="103" y="545"/>
                </a:lnTo>
                <a:lnTo>
                  <a:pt x="114" y="555"/>
                </a:lnTo>
                <a:lnTo>
                  <a:pt x="126" y="564"/>
                </a:lnTo>
                <a:lnTo>
                  <a:pt x="138" y="573"/>
                </a:lnTo>
                <a:lnTo>
                  <a:pt x="151" y="581"/>
                </a:lnTo>
                <a:lnTo>
                  <a:pt x="164" y="589"/>
                </a:lnTo>
                <a:lnTo>
                  <a:pt x="178" y="595"/>
                </a:lnTo>
                <a:lnTo>
                  <a:pt x="191" y="602"/>
                </a:lnTo>
                <a:lnTo>
                  <a:pt x="205" y="608"/>
                </a:lnTo>
                <a:lnTo>
                  <a:pt x="220" y="612"/>
                </a:lnTo>
                <a:lnTo>
                  <a:pt x="235" y="617"/>
                </a:lnTo>
                <a:lnTo>
                  <a:pt x="250" y="620"/>
                </a:lnTo>
                <a:lnTo>
                  <a:pt x="265" y="623"/>
                </a:lnTo>
                <a:lnTo>
                  <a:pt x="281" y="625"/>
                </a:lnTo>
                <a:lnTo>
                  <a:pt x="297" y="626"/>
                </a:lnTo>
                <a:lnTo>
                  <a:pt x="313" y="626"/>
                </a:lnTo>
                <a:lnTo>
                  <a:pt x="328" y="626"/>
                </a:lnTo>
                <a:lnTo>
                  <a:pt x="343" y="625"/>
                </a:lnTo>
                <a:lnTo>
                  <a:pt x="358" y="623"/>
                </a:lnTo>
                <a:lnTo>
                  <a:pt x="372" y="621"/>
                </a:lnTo>
                <a:lnTo>
                  <a:pt x="387" y="618"/>
                </a:lnTo>
                <a:lnTo>
                  <a:pt x="401" y="614"/>
                </a:lnTo>
                <a:lnTo>
                  <a:pt x="415" y="609"/>
                </a:lnTo>
                <a:lnTo>
                  <a:pt x="428" y="605"/>
                </a:lnTo>
                <a:lnTo>
                  <a:pt x="442" y="600"/>
                </a:lnTo>
                <a:lnTo>
                  <a:pt x="455" y="593"/>
                </a:lnTo>
                <a:lnTo>
                  <a:pt x="467" y="587"/>
                </a:lnTo>
                <a:lnTo>
                  <a:pt x="479" y="579"/>
                </a:lnTo>
                <a:lnTo>
                  <a:pt x="491" y="571"/>
                </a:lnTo>
                <a:lnTo>
                  <a:pt x="503" y="563"/>
                </a:lnTo>
                <a:lnTo>
                  <a:pt x="513" y="554"/>
                </a:lnTo>
                <a:lnTo>
                  <a:pt x="524" y="545"/>
                </a:lnTo>
                <a:lnTo>
                  <a:pt x="871" y="891"/>
                </a:lnTo>
                <a:lnTo>
                  <a:pt x="873" y="893"/>
                </a:lnTo>
                <a:lnTo>
                  <a:pt x="876" y="895"/>
                </a:lnTo>
                <a:lnTo>
                  <a:pt x="878" y="896"/>
                </a:lnTo>
                <a:lnTo>
                  <a:pt x="881" y="896"/>
                </a:lnTo>
                <a:lnTo>
                  <a:pt x="885" y="896"/>
                </a:lnTo>
                <a:lnTo>
                  <a:pt x="887" y="895"/>
                </a:lnTo>
                <a:lnTo>
                  <a:pt x="890" y="894"/>
                </a:lnTo>
                <a:lnTo>
                  <a:pt x="892" y="891"/>
                </a:lnTo>
                <a:lnTo>
                  <a:pt x="894" y="889"/>
                </a:lnTo>
                <a:lnTo>
                  <a:pt x="895" y="886"/>
                </a:lnTo>
                <a:lnTo>
                  <a:pt x="896" y="884"/>
                </a:lnTo>
                <a:lnTo>
                  <a:pt x="896" y="881"/>
                </a:lnTo>
                <a:lnTo>
                  <a:pt x="896" y="878"/>
                </a:lnTo>
                <a:lnTo>
                  <a:pt x="895" y="875"/>
                </a:lnTo>
                <a:lnTo>
                  <a:pt x="894" y="872"/>
                </a:lnTo>
                <a:lnTo>
                  <a:pt x="892" y="870"/>
                </a:lnTo>
                <a:lnTo>
                  <a:pt x="892" y="87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319" name="Group 318"/>
          <p:cNvGrpSpPr/>
          <p:nvPr/>
        </p:nvGrpSpPr>
        <p:grpSpPr>
          <a:xfrm>
            <a:off x="2348997" y="3705493"/>
            <a:ext cx="200025" cy="287338"/>
            <a:chOff x="10501313" y="2228850"/>
            <a:chExt cx="200025" cy="287338"/>
          </a:xfrm>
          <a:solidFill>
            <a:schemeClr val="bg1"/>
          </a:solidFill>
        </p:grpSpPr>
        <p:sp>
          <p:nvSpPr>
            <p:cNvPr id="320" name="Freeform 203"/>
            <p:cNvSpPr>
              <a:spLocks noEditPoints="1"/>
            </p:cNvSpPr>
            <p:nvPr/>
          </p:nvSpPr>
          <p:spPr bwMode="auto">
            <a:xfrm>
              <a:off x="10501313" y="2228850"/>
              <a:ext cx="200025" cy="201613"/>
            </a:xfrm>
            <a:custGeom>
              <a:avLst/>
              <a:gdLst>
                <a:gd name="T0" fmla="*/ 373 w 632"/>
                <a:gd name="T1" fmla="*/ 511 h 631"/>
                <a:gd name="T2" fmla="*/ 447 w 632"/>
                <a:gd name="T3" fmla="*/ 447 h 631"/>
                <a:gd name="T4" fmla="*/ 450 w 632"/>
                <a:gd name="T5" fmla="*/ 431 h 631"/>
                <a:gd name="T6" fmla="*/ 436 w 632"/>
                <a:gd name="T7" fmla="*/ 421 h 631"/>
                <a:gd name="T8" fmla="*/ 327 w 632"/>
                <a:gd name="T9" fmla="*/ 426 h 631"/>
                <a:gd name="T10" fmla="*/ 310 w 632"/>
                <a:gd name="T11" fmla="*/ 422 h 631"/>
                <a:gd name="T12" fmla="*/ 202 w 632"/>
                <a:gd name="T13" fmla="*/ 422 h 631"/>
                <a:gd name="T14" fmla="*/ 184 w 632"/>
                <a:gd name="T15" fmla="*/ 426 h 631"/>
                <a:gd name="T16" fmla="*/ 181 w 632"/>
                <a:gd name="T17" fmla="*/ 442 h 631"/>
                <a:gd name="T18" fmla="*/ 253 w 632"/>
                <a:gd name="T19" fmla="*/ 511 h 631"/>
                <a:gd name="T20" fmla="*/ 301 w 632"/>
                <a:gd name="T21" fmla="*/ 473 h 631"/>
                <a:gd name="T22" fmla="*/ 233 w 632"/>
                <a:gd name="T23" fmla="*/ 589 h 631"/>
                <a:gd name="T24" fmla="*/ 160 w 632"/>
                <a:gd name="T25" fmla="*/ 555 h 631"/>
                <a:gd name="T26" fmla="*/ 100 w 632"/>
                <a:gd name="T27" fmla="*/ 503 h 631"/>
                <a:gd name="T28" fmla="*/ 57 w 632"/>
                <a:gd name="T29" fmla="*/ 436 h 631"/>
                <a:gd name="T30" fmla="*/ 33 w 632"/>
                <a:gd name="T31" fmla="*/ 358 h 631"/>
                <a:gd name="T32" fmla="*/ 33 w 632"/>
                <a:gd name="T33" fmla="*/ 272 h 631"/>
                <a:gd name="T34" fmla="*/ 58 w 632"/>
                <a:gd name="T35" fmla="*/ 192 h 631"/>
                <a:gd name="T36" fmla="*/ 104 w 632"/>
                <a:gd name="T37" fmla="*/ 123 h 631"/>
                <a:gd name="T38" fmla="*/ 167 w 632"/>
                <a:gd name="T39" fmla="*/ 72 h 631"/>
                <a:gd name="T40" fmla="*/ 244 w 632"/>
                <a:gd name="T41" fmla="*/ 38 h 631"/>
                <a:gd name="T42" fmla="*/ 330 w 632"/>
                <a:gd name="T43" fmla="*/ 30 h 631"/>
                <a:gd name="T44" fmla="*/ 414 w 632"/>
                <a:gd name="T45" fmla="*/ 47 h 631"/>
                <a:gd name="T46" fmla="*/ 487 w 632"/>
                <a:gd name="T47" fmla="*/ 87 h 631"/>
                <a:gd name="T48" fmla="*/ 545 w 632"/>
                <a:gd name="T49" fmla="*/ 145 h 631"/>
                <a:gd name="T50" fmla="*/ 584 w 632"/>
                <a:gd name="T51" fmla="*/ 218 h 631"/>
                <a:gd name="T52" fmla="*/ 602 w 632"/>
                <a:gd name="T53" fmla="*/ 301 h 631"/>
                <a:gd name="T54" fmla="*/ 593 w 632"/>
                <a:gd name="T55" fmla="*/ 385 h 631"/>
                <a:gd name="T56" fmla="*/ 563 w 632"/>
                <a:gd name="T57" fmla="*/ 460 h 631"/>
                <a:gd name="T58" fmla="*/ 514 w 632"/>
                <a:gd name="T59" fmla="*/ 522 h 631"/>
                <a:gd name="T60" fmla="*/ 449 w 632"/>
                <a:gd name="T61" fmla="*/ 568 h 631"/>
                <a:gd name="T62" fmla="*/ 372 w 632"/>
                <a:gd name="T63" fmla="*/ 596 h 631"/>
                <a:gd name="T64" fmla="*/ 283 w 632"/>
                <a:gd name="T65" fmla="*/ 1 h 631"/>
                <a:gd name="T66" fmla="*/ 193 w 632"/>
                <a:gd name="T67" fmla="*/ 25 h 631"/>
                <a:gd name="T68" fmla="*/ 115 w 632"/>
                <a:gd name="T69" fmla="*/ 72 h 631"/>
                <a:gd name="T70" fmla="*/ 54 w 632"/>
                <a:gd name="T71" fmla="*/ 139 h 631"/>
                <a:gd name="T72" fmla="*/ 14 w 632"/>
                <a:gd name="T73" fmla="*/ 222 h 631"/>
                <a:gd name="T74" fmla="*/ 0 w 632"/>
                <a:gd name="T75" fmla="*/ 316 h 631"/>
                <a:gd name="T76" fmla="*/ 14 w 632"/>
                <a:gd name="T77" fmla="*/ 410 h 631"/>
                <a:gd name="T78" fmla="*/ 54 w 632"/>
                <a:gd name="T79" fmla="*/ 492 h 631"/>
                <a:gd name="T80" fmla="*/ 115 w 632"/>
                <a:gd name="T81" fmla="*/ 560 h 631"/>
                <a:gd name="T82" fmla="*/ 193 w 632"/>
                <a:gd name="T83" fmla="*/ 607 h 631"/>
                <a:gd name="T84" fmla="*/ 283 w 632"/>
                <a:gd name="T85" fmla="*/ 630 h 631"/>
                <a:gd name="T86" fmla="*/ 380 w 632"/>
                <a:gd name="T87" fmla="*/ 625 h 631"/>
                <a:gd name="T88" fmla="*/ 466 w 632"/>
                <a:gd name="T89" fmla="*/ 594 h 631"/>
                <a:gd name="T90" fmla="*/ 539 w 632"/>
                <a:gd name="T91" fmla="*/ 539 h 631"/>
                <a:gd name="T92" fmla="*/ 594 w 632"/>
                <a:gd name="T93" fmla="*/ 466 h 631"/>
                <a:gd name="T94" fmla="*/ 625 w 632"/>
                <a:gd name="T95" fmla="*/ 379 h 631"/>
                <a:gd name="T96" fmla="*/ 631 w 632"/>
                <a:gd name="T97" fmla="*/ 284 h 631"/>
                <a:gd name="T98" fmla="*/ 607 w 632"/>
                <a:gd name="T99" fmla="*/ 193 h 631"/>
                <a:gd name="T100" fmla="*/ 560 w 632"/>
                <a:gd name="T101" fmla="*/ 115 h 631"/>
                <a:gd name="T102" fmla="*/ 492 w 632"/>
                <a:gd name="T103" fmla="*/ 53 h 631"/>
                <a:gd name="T104" fmla="*/ 410 w 632"/>
                <a:gd name="T105" fmla="*/ 14 h 631"/>
                <a:gd name="T106" fmla="*/ 316 w 632"/>
                <a:gd name="T107" fmla="*/ 0 h 6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32" h="631">
                  <a:moveTo>
                    <a:pt x="331" y="601"/>
                  </a:moveTo>
                  <a:lnTo>
                    <a:pt x="331" y="473"/>
                  </a:lnTo>
                  <a:lnTo>
                    <a:pt x="366" y="507"/>
                  </a:lnTo>
                  <a:lnTo>
                    <a:pt x="368" y="509"/>
                  </a:lnTo>
                  <a:lnTo>
                    <a:pt x="370" y="510"/>
                  </a:lnTo>
                  <a:lnTo>
                    <a:pt x="373" y="511"/>
                  </a:lnTo>
                  <a:lnTo>
                    <a:pt x="376" y="511"/>
                  </a:lnTo>
                  <a:lnTo>
                    <a:pt x="379" y="511"/>
                  </a:lnTo>
                  <a:lnTo>
                    <a:pt x="382" y="510"/>
                  </a:lnTo>
                  <a:lnTo>
                    <a:pt x="384" y="509"/>
                  </a:lnTo>
                  <a:lnTo>
                    <a:pt x="387" y="507"/>
                  </a:lnTo>
                  <a:lnTo>
                    <a:pt x="447" y="447"/>
                  </a:lnTo>
                  <a:lnTo>
                    <a:pt x="449" y="445"/>
                  </a:lnTo>
                  <a:lnTo>
                    <a:pt x="450" y="442"/>
                  </a:lnTo>
                  <a:lnTo>
                    <a:pt x="451" y="440"/>
                  </a:lnTo>
                  <a:lnTo>
                    <a:pt x="451" y="436"/>
                  </a:lnTo>
                  <a:lnTo>
                    <a:pt x="451" y="433"/>
                  </a:lnTo>
                  <a:lnTo>
                    <a:pt x="450" y="431"/>
                  </a:lnTo>
                  <a:lnTo>
                    <a:pt x="449" y="428"/>
                  </a:lnTo>
                  <a:lnTo>
                    <a:pt x="447" y="426"/>
                  </a:lnTo>
                  <a:lnTo>
                    <a:pt x="445" y="423"/>
                  </a:lnTo>
                  <a:lnTo>
                    <a:pt x="442" y="422"/>
                  </a:lnTo>
                  <a:lnTo>
                    <a:pt x="440" y="421"/>
                  </a:lnTo>
                  <a:lnTo>
                    <a:pt x="436" y="421"/>
                  </a:lnTo>
                  <a:lnTo>
                    <a:pt x="433" y="421"/>
                  </a:lnTo>
                  <a:lnTo>
                    <a:pt x="431" y="422"/>
                  </a:lnTo>
                  <a:lnTo>
                    <a:pt x="428" y="423"/>
                  </a:lnTo>
                  <a:lnTo>
                    <a:pt x="426" y="426"/>
                  </a:lnTo>
                  <a:lnTo>
                    <a:pt x="376" y="475"/>
                  </a:lnTo>
                  <a:lnTo>
                    <a:pt x="327" y="426"/>
                  </a:lnTo>
                  <a:lnTo>
                    <a:pt x="324" y="423"/>
                  </a:lnTo>
                  <a:lnTo>
                    <a:pt x="322" y="422"/>
                  </a:lnTo>
                  <a:lnTo>
                    <a:pt x="318" y="421"/>
                  </a:lnTo>
                  <a:lnTo>
                    <a:pt x="316" y="421"/>
                  </a:lnTo>
                  <a:lnTo>
                    <a:pt x="313" y="421"/>
                  </a:lnTo>
                  <a:lnTo>
                    <a:pt x="310" y="422"/>
                  </a:lnTo>
                  <a:lnTo>
                    <a:pt x="308" y="423"/>
                  </a:lnTo>
                  <a:lnTo>
                    <a:pt x="306" y="426"/>
                  </a:lnTo>
                  <a:lnTo>
                    <a:pt x="255" y="475"/>
                  </a:lnTo>
                  <a:lnTo>
                    <a:pt x="206" y="426"/>
                  </a:lnTo>
                  <a:lnTo>
                    <a:pt x="204" y="423"/>
                  </a:lnTo>
                  <a:lnTo>
                    <a:pt x="202" y="422"/>
                  </a:lnTo>
                  <a:lnTo>
                    <a:pt x="198" y="421"/>
                  </a:lnTo>
                  <a:lnTo>
                    <a:pt x="195" y="421"/>
                  </a:lnTo>
                  <a:lnTo>
                    <a:pt x="193" y="421"/>
                  </a:lnTo>
                  <a:lnTo>
                    <a:pt x="190" y="422"/>
                  </a:lnTo>
                  <a:lnTo>
                    <a:pt x="188" y="423"/>
                  </a:lnTo>
                  <a:lnTo>
                    <a:pt x="184" y="426"/>
                  </a:lnTo>
                  <a:lnTo>
                    <a:pt x="183" y="428"/>
                  </a:lnTo>
                  <a:lnTo>
                    <a:pt x="181" y="431"/>
                  </a:lnTo>
                  <a:lnTo>
                    <a:pt x="180" y="433"/>
                  </a:lnTo>
                  <a:lnTo>
                    <a:pt x="180" y="436"/>
                  </a:lnTo>
                  <a:lnTo>
                    <a:pt x="180" y="440"/>
                  </a:lnTo>
                  <a:lnTo>
                    <a:pt x="181" y="442"/>
                  </a:lnTo>
                  <a:lnTo>
                    <a:pt x="183" y="445"/>
                  </a:lnTo>
                  <a:lnTo>
                    <a:pt x="184" y="447"/>
                  </a:lnTo>
                  <a:lnTo>
                    <a:pt x="244" y="507"/>
                  </a:lnTo>
                  <a:lnTo>
                    <a:pt x="248" y="509"/>
                  </a:lnTo>
                  <a:lnTo>
                    <a:pt x="250" y="510"/>
                  </a:lnTo>
                  <a:lnTo>
                    <a:pt x="253" y="511"/>
                  </a:lnTo>
                  <a:lnTo>
                    <a:pt x="255" y="511"/>
                  </a:lnTo>
                  <a:lnTo>
                    <a:pt x="258" y="511"/>
                  </a:lnTo>
                  <a:lnTo>
                    <a:pt x="262" y="510"/>
                  </a:lnTo>
                  <a:lnTo>
                    <a:pt x="264" y="509"/>
                  </a:lnTo>
                  <a:lnTo>
                    <a:pt x="266" y="507"/>
                  </a:lnTo>
                  <a:lnTo>
                    <a:pt x="301" y="473"/>
                  </a:lnTo>
                  <a:lnTo>
                    <a:pt x="301" y="601"/>
                  </a:lnTo>
                  <a:lnTo>
                    <a:pt x="286" y="600"/>
                  </a:lnTo>
                  <a:lnTo>
                    <a:pt x="273" y="598"/>
                  </a:lnTo>
                  <a:lnTo>
                    <a:pt x="259" y="596"/>
                  </a:lnTo>
                  <a:lnTo>
                    <a:pt x="246" y="593"/>
                  </a:lnTo>
                  <a:lnTo>
                    <a:pt x="233" y="589"/>
                  </a:lnTo>
                  <a:lnTo>
                    <a:pt x="220" y="584"/>
                  </a:lnTo>
                  <a:lnTo>
                    <a:pt x="207" y="580"/>
                  </a:lnTo>
                  <a:lnTo>
                    <a:pt x="195" y="575"/>
                  </a:lnTo>
                  <a:lnTo>
                    <a:pt x="183" y="568"/>
                  </a:lnTo>
                  <a:lnTo>
                    <a:pt x="172" y="562"/>
                  </a:lnTo>
                  <a:lnTo>
                    <a:pt x="160" y="555"/>
                  </a:lnTo>
                  <a:lnTo>
                    <a:pt x="149" y="548"/>
                  </a:lnTo>
                  <a:lnTo>
                    <a:pt x="138" y="539"/>
                  </a:lnTo>
                  <a:lnTo>
                    <a:pt x="128" y="531"/>
                  </a:lnTo>
                  <a:lnTo>
                    <a:pt x="118" y="522"/>
                  </a:lnTo>
                  <a:lnTo>
                    <a:pt x="109" y="512"/>
                  </a:lnTo>
                  <a:lnTo>
                    <a:pt x="100" y="503"/>
                  </a:lnTo>
                  <a:lnTo>
                    <a:pt x="91" y="492"/>
                  </a:lnTo>
                  <a:lnTo>
                    <a:pt x="84" y="482"/>
                  </a:lnTo>
                  <a:lnTo>
                    <a:pt x="76" y="471"/>
                  </a:lnTo>
                  <a:lnTo>
                    <a:pt x="69" y="460"/>
                  </a:lnTo>
                  <a:lnTo>
                    <a:pt x="62" y="448"/>
                  </a:lnTo>
                  <a:lnTo>
                    <a:pt x="57" y="436"/>
                  </a:lnTo>
                  <a:lnTo>
                    <a:pt x="51" y="423"/>
                  </a:lnTo>
                  <a:lnTo>
                    <a:pt x="46" y="411"/>
                  </a:lnTo>
                  <a:lnTo>
                    <a:pt x="42" y="398"/>
                  </a:lnTo>
                  <a:lnTo>
                    <a:pt x="39" y="385"/>
                  </a:lnTo>
                  <a:lnTo>
                    <a:pt x="35" y="372"/>
                  </a:lnTo>
                  <a:lnTo>
                    <a:pt x="33" y="358"/>
                  </a:lnTo>
                  <a:lnTo>
                    <a:pt x="31" y="344"/>
                  </a:lnTo>
                  <a:lnTo>
                    <a:pt x="30" y="330"/>
                  </a:lnTo>
                  <a:lnTo>
                    <a:pt x="30" y="316"/>
                  </a:lnTo>
                  <a:lnTo>
                    <a:pt x="30" y="301"/>
                  </a:lnTo>
                  <a:lnTo>
                    <a:pt x="31" y="286"/>
                  </a:lnTo>
                  <a:lnTo>
                    <a:pt x="33" y="272"/>
                  </a:lnTo>
                  <a:lnTo>
                    <a:pt x="35" y="258"/>
                  </a:lnTo>
                  <a:lnTo>
                    <a:pt x="39" y="244"/>
                  </a:lnTo>
                  <a:lnTo>
                    <a:pt x="43" y="230"/>
                  </a:lnTo>
                  <a:lnTo>
                    <a:pt x="47" y="218"/>
                  </a:lnTo>
                  <a:lnTo>
                    <a:pt x="52" y="205"/>
                  </a:lnTo>
                  <a:lnTo>
                    <a:pt x="58" y="192"/>
                  </a:lnTo>
                  <a:lnTo>
                    <a:pt x="64" y="180"/>
                  </a:lnTo>
                  <a:lnTo>
                    <a:pt x="72" y="167"/>
                  </a:lnTo>
                  <a:lnTo>
                    <a:pt x="78" y="156"/>
                  </a:lnTo>
                  <a:lnTo>
                    <a:pt x="87" y="145"/>
                  </a:lnTo>
                  <a:lnTo>
                    <a:pt x="95" y="134"/>
                  </a:lnTo>
                  <a:lnTo>
                    <a:pt x="104" y="123"/>
                  </a:lnTo>
                  <a:lnTo>
                    <a:pt x="114" y="114"/>
                  </a:lnTo>
                  <a:lnTo>
                    <a:pt x="123" y="104"/>
                  </a:lnTo>
                  <a:lnTo>
                    <a:pt x="134" y="95"/>
                  </a:lnTo>
                  <a:lnTo>
                    <a:pt x="145" y="87"/>
                  </a:lnTo>
                  <a:lnTo>
                    <a:pt x="157" y="79"/>
                  </a:lnTo>
                  <a:lnTo>
                    <a:pt x="167" y="72"/>
                  </a:lnTo>
                  <a:lnTo>
                    <a:pt x="180" y="64"/>
                  </a:lnTo>
                  <a:lnTo>
                    <a:pt x="192" y="58"/>
                  </a:lnTo>
                  <a:lnTo>
                    <a:pt x="205" y="52"/>
                  </a:lnTo>
                  <a:lnTo>
                    <a:pt x="218" y="47"/>
                  </a:lnTo>
                  <a:lnTo>
                    <a:pt x="231" y="43"/>
                  </a:lnTo>
                  <a:lnTo>
                    <a:pt x="244" y="38"/>
                  </a:lnTo>
                  <a:lnTo>
                    <a:pt x="258" y="35"/>
                  </a:lnTo>
                  <a:lnTo>
                    <a:pt x="272" y="33"/>
                  </a:lnTo>
                  <a:lnTo>
                    <a:pt x="286" y="31"/>
                  </a:lnTo>
                  <a:lnTo>
                    <a:pt x="301" y="30"/>
                  </a:lnTo>
                  <a:lnTo>
                    <a:pt x="316" y="30"/>
                  </a:lnTo>
                  <a:lnTo>
                    <a:pt x="330" y="30"/>
                  </a:lnTo>
                  <a:lnTo>
                    <a:pt x="345" y="31"/>
                  </a:lnTo>
                  <a:lnTo>
                    <a:pt x="359" y="33"/>
                  </a:lnTo>
                  <a:lnTo>
                    <a:pt x="373" y="35"/>
                  </a:lnTo>
                  <a:lnTo>
                    <a:pt x="387" y="38"/>
                  </a:lnTo>
                  <a:lnTo>
                    <a:pt x="401" y="43"/>
                  </a:lnTo>
                  <a:lnTo>
                    <a:pt x="414" y="47"/>
                  </a:lnTo>
                  <a:lnTo>
                    <a:pt x="427" y="52"/>
                  </a:lnTo>
                  <a:lnTo>
                    <a:pt x="440" y="58"/>
                  </a:lnTo>
                  <a:lnTo>
                    <a:pt x="453" y="64"/>
                  </a:lnTo>
                  <a:lnTo>
                    <a:pt x="464" y="72"/>
                  </a:lnTo>
                  <a:lnTo>
                    <a:pt x="476" y="79"/>
                  </a:lnTo>
                  <a:lnTo>
                    <a:pt x="487" y="87"/>
                  </a:lnTo>
                  <a:lnTo>
                    <a:pt x="498" y="95"/>
                  </a:lnTo>
                  <a:lnTo>
                    <a:pt x="508" y="104"/>
                  </a:lnTo>
                  <a:lnTo>
                    <a:pt x="518" y="114"/>
                  </a:lnTo>
                  <a:lnTo>
                    <a:pt x="528" y="123"/>
                  </a:lnTo>
                  <a:lnTo>
                    <a:pt x="536" y="134"/>
                  </a:lnTo>
                  <a:lnTo>
                    <a:pt x="545" y="145"/>
                  </a:lnTo>
                  <a:lnTo>
                    <a:pt x="553" y="156"/>
                  </a:lnTo>
                  <a:lnTo>
                    <a:pt x="561" y="167"/>
                  </a:lnTo>
                  <a:lnTo>
                    <a:pt x="567" y="180"/>
                  </a:lnTo>
                  <a:lnTo>
                    <a:pt x="574" y="192"/>
                  </a:lnTo>
                  <a:lnTo>
                    <a:pt x="579" y="205"/>
                  </a:lnTo>
                  <a:lnTo>
                    <a:pt x="584" y="218"/>
                  </a:lnTo>
                  <a:lnTo>
                    <a:pt x="589" y="230"/>
                  </a:lnTo>
                  <a:lnTo>
                    <a:pt x="593" y="244"/>
                  </a:lnTo>
                  <a:lnTo>
                    <a:pt x="596" y="258"/>
                  </a:lnTo>
                  <a:lnTo>
                    <a:pt x="598" y="272"/>
                  </a:lnTo>
                  <a:lnTo>
                    <a:pt x="601" y="286"/>
                  </a:lnTo>
                  <a:lnTo>
                    <a:pt x="602" y="301"/>
                  </a:lnTo>
                  <a:lnTo>
                    <a:pt x="602" y="316"/>
                  </a:lnTo>
                  <a:lnTo>
                    <a:pt x="602" y="330"/>
                  </a:lnTo>
                  <a:lnTo>
                    <a:pt x="601" y="344"/>
                  </a:lnTo>
                  <a:lnTo>
                    <a:pt x="598" y="358"/>
                  </a:lnTo>
                  <a:lnTo>
                    <a:pt x="596" y="372"/>
                  </a:lnTo>
                  <a:lnTo>
                    <a:pt x="593" y="385"/>
                  </a:lnTo>
                  <a:lnTo>
                    <a:pt x="590" y="398"/>
                  </a:lnTo>
                  <a:lnTo>
                    <a:pt x="586" y="411"/>
                  </a:lnTo>
                  <a:lnTo>
                    <a:pt x="581" y="423"/>
                  </a:lnTo>
                  <a:lnTo>
                    <a:pt x="575" y="436"/>
                  </a:lnTo>
                  <a:lnTo>
                    <a:pt x="569" y="448"/>
                  </a:lnTo>
                  <a:lnTo>
                    <a:pt x="563" y="460"/>
                  </a:lnTo>
                  <a:lnTo>
                    <a:pt x="555" y="471"/>
                  </a:lnTo>
                  <a:lnTo>
                    <a:pt x="548" y="482"/>
                  </a:lnTo>
                  <a:lnTo>
                    <a:pt x="540" y="492"/>
                  </a:lnTo>
                  <a:lnTo>
                    <a:pt x="532" y="503"/>
                  </a:lnTo>
                  <a:lnTo>
                    <a:pt x="523" y="512"/>
                  </a:lnTo>
                  <a:lnTo>
                    <a:pt x="514" y="522"/>
                  </a:lnTo>
                  <a:lnTo>
                    <a:pt x="504" y="531"/>
                  </a:lnTo>
                  <a:lnTo>
                    <a:pt x="493" y="539"/>
                  </a:lnTo>
                  <a:lnTo>
                    <a:pt x="483" y="548"/>
                  </a:lnTo>
                  <a:lnTo>
                    <a:pt x="472" y="555"/>
                  </a:lnTo>
                  <a:lnTo>
                    <a:pt x="460" y="562"/>
                  </a:lnTo>
                  <a:lnTo>
                    <a:pt x="449" y="568"/>
                  </a:lnTo>
                  <a:lnTo>
                    <a:pt x="436" y="575"/>
                  </a:lnTo>
                  <a:lnTo>
                    <a:pt x="425" y="580"/>
                  </a:lnTo>
                  <a:lnTo>
                    <a:pt x="412" y="584"/>
                  </a:lnTo>
                  <a:lnTo>
                    <a:pt x="399" y="589"/>
                  </a:lnTo>
                  <a:lnTo>
                    <a:pt x="386" y="593"/>
                  </a:lnTo>
                  <a:lnTo>
                    <a:pt x="372" y="596"/>
                  </a:lnTo>
                  <a:lnTo>
                    <a:pt x="359" y="598"/>
                  </a:lnTo>
                  <a:lnTo>
                    <a:pt x="345" y="600"/>
                  </a:lnTo>
                  <a:lnTo>
                    <a:pt x="331" y="601"/>
                  </a:lnTo>
                  <a:close/>
                  <a:moveTo>
                    <a:pt x="316" y="0"/>
                  </a:moveTo>
                  <a:lnTo>
                    <a:pt x="299" y="0"/>
                  </a:lnTo>
                  <a:lnTo>
                    <a:pt x="283" y="1"/>
                  </a:lnTo>
                  <a:lnTo>
                    <a:pt x="268" y="3"/>
                  </a:lnTo>
                  <a:lnTo>
                    <a:pt x="252" y="6"/>
                  </a:lnTo>
                  <a:lnTo>
                    <a:pt x="237" y="10"/>
                  </a:lnTo>
                  <a:lnTo>
                    <a:pt x="222" y="14"/>
                  </a:lnTo>
                  <a:lnTo>
                    <a:pt x="207" y="19"/>
                  </a:lnTo>
                  <a:lnTo>
                    <a:pt x="193" y="25"/>
                  </a:lnTo>
                  <a:lnTo>
                    <a:pt x="179" y="31"/>
                  </a:lnTo>
                  <a:lnTo>
                    <a:pt x="165" y="38"/>
                  </a:lnTo>
                  <a:lnTo>
                    <a:pt x="152" y="46"/>
                  </a:lnTo>
                  <a:lnTo>
                    <a:pt x="139" y="53"/>
                  </a:lnTo>
                  <a:lnTo>
                    <a:pt x="126" y="63"/>
                  </a:lnTo>
                  <a:lnTo>
                    <a:pt x="115" y="72"/>
                  </a:lnTo>
                  <a:lnTo>
                    <a:pt x="103" y="82"/>
                  </a:lnTo>
                  <a:lnTo>
                    <a:pt x="92" y="92"/>
                  </a:lnTo>
                  <a:lnTo>
                    <a:pt x="81" y="104"/>
                  </a:lnTo>
                  <a:lnTo>
                    <a:pt x="72" y="115"/>
                  </a:lnTo>
                  <a:lnTo>
                    <a:pt x="62" y="126"/>
                  </a:lnTo>
                  <a:lnTo>
                    <a:pt x="54" y="139"/>
                  </a:lnTo>
                  <a:lnTo>
                    <a:pt x="46" y="152"/>
                  </a:lnTo>
                  <a:lnTo>
                    <a:pt x="37" y="165"/>
                  </a:lnTo>
                  <a:lnTo>
                    <a:pt x="31" y="179"/>
                  </a:lnTo>
                  <a:lnTo>
                    <a:pt x="25" y="193"/>
                  </a:lnTo>
                  <a:lnTo>
                    <a:pt x="19" y="207"/>
                  </a:lnTo>
                  <a:lnTo>
                    <a:pt x="14" y="222"/>
                  </a:lnTo>
                  <a:lnTo>
                    <a:pt x="10" y="237"/>
                  </a:lnTo>
                  <a:lnTo>
                    <a:pt x="6" y="252"/>
                  </a:lnTo>
                  <a:lnTo>
                    <a:pt x="3" y="268"/>
                  </a:lnTo>
                  <a:lnTo>
                    <a:pt x="1" y="284"/>
                  </a:lnTo>
                  <a:lnTo>
                    <a:pt x="0" y="299"/>
                  </a:lnTo>
                  <a:lnTo>
                    <a:pt x="0" y="316"/>
                  </a:lnTo>
                  <a:lnTo>
                    <a:pt x="0" y="332"/>
                  </a:lnTo>
                  <a:lnTo>
                    <a:pt x="1" y="348"/>
                  </a:lnTo>
                  <a:lnTo>
                    <a:pt x="3" y="363"/>
                  </a:lnTo>
                  <a:lnTo>
                    <a:pt x="6" y="379"/>
                  </a:lnTo>
                  <a:lnTo>
                    <a:pt x="10" y="394"/>
                  </a:lnTo>
                  <a:lnTo>
                    <a:pt x="14" y="410"/>
                  </a:lnTo>
                  <a:lnTo>
                    <a:pt x="19" y="425"/>
                  </a:lnTo>
                  <a:lnTo>
                    <a:pt x="25" y="438"/>
                  </a:lnTo>
                  <a:lnTo>
                    <a:pt x="31" y="452"/>
                  </a:lnTo>
                  <a:lnTo>
                    <a:pt x="37" y="466"/>
                  </a:lnTo>
                  <a:lnTo>
                    <a:pt x="46" y="479"/>
                  </a:lnTo>
                  <a:lnTo>
                    <a:pt x="54" y="492"/>
                  </a:lnTo>
                  <a:lnTo>
                    <a:pt x="62" y="505"/>
                  </a:lnTo>
                  <a:lnTo>
                    <a:pt x="72" y="517"/>
                  </a:lnTo>
                  <a:lnTo>
                    <a:pt x="81" y="529"/>
                  </a:lnTo>
                  <a:lnTo>
                    <a:pt x="92" y="539"/>
                  </a:lnTo>
                  <a:lnTo>
                    <a:pt x="103" y="550"/>
                  </a:lnTo>
                  <a:lnTo>
                    <a:pt x="115" y="560"/>
                  </a:lnTo>
                  <a:lnTo>
                    <a:pt x="126" y="569"/>
                  </a:lnTo>
                  <a:lnTo>
                    <a:pt x="139" y="578"/>
                  </a:lnTo>
                  <a:lnTo>
                    <a:pt x="152" y="586"/>
                  </a:lnTo>
                  <a:lnTo>
                    <a:pt x="165" y="594"/>
                  </a:lnTo>
                  <a:lnTo>
                    <a:pt x="179" y="600"/>
                  </a:lnTo>
                  <a:lnTo>
                    <a:pt x="193" y="607"/>
                  </a:lnTo>
                  <a:lnTo>
                    <a:pt x="207" y="612"/>
                  </a:lnTo>
                  <a:lnTo>
                    <a:pt x="222" y="618"/>
                  </a:lnTo>
                  <a:lnTo>
                    <a:pt x="237" y="622"/>
                  </a:lnTo>
                  <a:lnTo>
                    <a:pt x="252" y="625"/>
                  </a:lnTo>
                  <a:lnTo>
                    <a:pt x="268" y="628"/>
                  </a:lnTo>
                  <a:lnTo>
                    <a:pt x="283" y="630"/>
                  </a:lnTo>
                  <a:lnTo>
                    <a:pt x="299" y="631"/>
                  </a:lnTo>
                  <a:lnTo>
                    <a:pt x="316" y="631"/>
                  </a:lnTo>
                  <a:lnTo>
                    <a:pt x="332" y="631"/>
                  </a:lnTo>
                  <a:lnTo>
                    <a:pt x="348" y="630"/>
                  </a:lnTo>
                  <a:lnTo>
                    <a:pt x="364" y="628"/>
                  </a:lnTo>
                  <a:lnTo>
                    <a:pt x="380" y="625"/>
                  </a:lnTo>
                  <a:lnTo>
                    <a:pt x="395" y="622"/>
                  </a:lnTo>
                  <a:lnTo>
                    <a:pt x="410" y="618"/>
                  </a:lnTo>
                  <a:lnTo>
                    <a:pt x="425" y="612"/>
                  </a:lnTo>
                  <a:lnTo>
                    <a:pt x="439" y="607"/>
                  </a:lnTo>
                  <a:lnTo>
                    <a:pt x="453" y="600"/>
                  </a:lnTo>
                  <a:lnTo>
                    <a:pt x="466" y="594"/>
                  </a:lnTo>
                  <a:lnTo>
                    <a:pt x="479" y="586"/>
                  </a:lnTo>
                  <a:lnTo>
                    <a:pt x="492" y="578"/>
                  </a:lnTo>
                  <a:lnTo>
                    <a:pt x="505" y="569"/>
                  </a:lnTo>
                  <a:lnTo>
                    <a:pt x="517" y="560"/>
                  </a:lnTo>
                  <a:lnTo>
                    <a:pt x="529" y="550"/>
                  </a:lnTo>
                  <a:lnTo>
                    <a:pt x="539" y="539"/>
                  </a:lnTo>
                  <a:lnTo>
                    <a:pt x="550" y="529"/>
                  </a:lnTo>
                  <a:lnTo>
                    <a:pt x="560" y="517"/>
                  </a:lnTo>
                  <a:lnTo>
                    <a:pt x="569" y="505"/>
                  </a:lnTo>
                  <a:lnTo>
                    <a:pt x="578" y="492"/>
                  </a:lnTo>
                  <a:lnTo>
                    <a:pt x="587" y="479"/>
                  </a:lnTo>
                  <a:lnTo>
                    <a:pt x="594" y="466"/>
                  </a:lnTo>
                  <a:lnTo>
                    <a:pt x="601" y="452"/>
                  </a:lnTo>
                  <a:lnTo>
                    <a:pt x="607" y="438"/>
                  </a:lnTo>
                  <a:lnTo>
                    <a:pt x="612" y="425"/>
                  </a:lnTo>
                  <a:lnTo>
                    <a:pt x="618" y="410"/>
                  </a:lnTo>
                  <a:lnTo>
                    <a:pt x="622" y="394"/>
                  </a:lnTo>
                  <a:lnTo>
                    <a:pt x="625" y="379"/>
                  </a:lnTo>
                  <a:lnTo>
                    <a:pt x="628" y="363"/>
                  </a:lnTo>
                  <a:lnTo>
                    <a:pt x="631" y="348"/>
                  </a:lnTo>
                  <a:lnTo>
                    <a:pt x="632" y="332"/>
                  </a:lnTo>
                  <a:lnTo>
                    <a:pt x="632" y="316"/>
                  </a:lnTo>
                  <a:lnTo>
                    <a:pt x="632" y="299"/>
                  </a:lnTo>
                  <a:lnTo>
                    <a:pt x="631" y="284"/>
                  </a:lnTo>
                  <a:lnTo>
                    <a:pt x="628" y="268"/>
                  </a:lnTo>
                  <a:lnTo>
                    <a:pt x="625" y="252"/>
                  </a:lnTo>
                  <a:lnTo>
                    <a:pt x="622" y="237"/>
                  </a:lnTo>
                  <a:lnTo>
                    <a:pt x="618" y="222"/>
                  </a:lnTo>
                  <a:lnTo>
                    <a:pt x="612" y="207"/>
                  </a:lnTo>
                  <a:lnTo>
                    <a:pt x="607" y="193"/>
                  </a:lnTo>
                  <a:lnTo>
                    <a:pt x="601" y="179"/>
                  </a:lnTo>
                  <a:lnTo>
                    <a:pt x="594" y="165"/>
                  </a:lnTo>
                  <a:lnTo>
                    <a:pt x="587" y="152"/>
                  </a:lnTo>
                  <a:lnTo>
                    <a:pt x="578" y="139"/>
                  </a:lnTo>
                  <a:lnTo>
                    <a:pt x="569" y="126"/>
                  </a:lnTo>
                  <a:lnTo>
                    <a:pt x="560" y="115"/>
                  </a:lnTo>
                  <a:lnTo>
                    <a:pt x="550" y="104"/>
                  </a:lnTo>
                  <a:lnTo>
                    <a:pt x="539" y="92"/>
                  </a:lnTo>
                  <a:lnTo>
                    <a:pt x="529" y="82"/>
                  </a:lnTo>
                  <a:lnTo>
                    <a:pt x="517" y="72"/>
                  </a:lnTo>
                  <a:lnTo>
                    <a:pt x="505" y="63"/>
                  </a:lnTo>
                  <a:lnTo>
                    <a:pt x="492" y="53"/>
                  </a:lnTo>
                  <a:lnTo>
                    <a:pt x="479" y="46"/>
                  </a:lnTo>
                  <a:lnTo>
                    <a:pt x="466" y="38"/>
                  </a:lnTo>
                  <a:lnTo>
                    <a:pt x="453" y="31"/>
                  </a:lnTo>
                  <a:lnTo>
                    <a:pt x="439" y="25"/>
                  </a:lnTo>
                  <a:lnTo>
                    <a:pt x="425" y="19"/>
                  </a:lnTo>
                  <a:lnTo>
                    <a:pt x="410" y="14"/>
                  </a:lnTo>
                  <a:lnTo>
                    <a:pt x="395" y="10"/>
                  </a:lnTo>
                  <a:lnTo>
                    <a:pt x="380" y="6"/>
                  </a:lnTo>
                  <a:lnTo>
                    <a:pt x="364" y="3"/>
                  </a:lnTo>
                  <a:lnTo>
                    <a:pt x="348" y="1"/>
                  </a:lnTo>
                  <a:lnTo>
                    <a:pt x="332" y="0"/>
                  </a:lnTo>
                  <a:lnTo>
                    <a:pt x="31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1" name="Freeform 204"/>
            <p:cNvSpPr>
              <a:spLocks/>
            </p:cNvSpPr>
            <p:nvPr/>
          </p:nvSpPr>
          <p:spPr bwMode="auto">
            <a:xfrm>
              <a:off x="10567988" y="2449513"/>
              <a:ext cx="66675" cy="9525"/>
            </a:xfrm>
            <a:custGeom>
              <a:avLst/>
              <a:gdLst>
                <a:gd name="T0" fmla="*/ 196 w 211"/>
                <a:gd name="T1" fmla="*/ 0 h 31"/>
                <a:gd name="T2" fmla="*/ 15 w 211"/>
                <a:gd name="T3" fmla="*/ 0 h 31"/>
                <a:gd name="T4" fmla="*/ 13 w 211"/>
                <a:gd name="T5" fmla="*/ 1 h 31"/>
                <a:gd name="T6" fmla="*/ 10 w 211"/>
                <a:gd name="T7" fmla="*/ 2 h 31"/>
                <a:gd name="T8" fmla="*/ 8 w 211"/>
                <a:gd name="T9" fmla="*/ 3 h 31"/>
                <a:gd name="T10" fmla="*/ 4 w 211"/>
                <a:gd name="T11" fmla="*/ 5 h 31"/>
                <a:gd name="T12" fmla="*/ 3 w 211"/>
                <a:gd name="T13" fmla="*/ 7 h 31"/>
                <a:gd name="T14" fmla="*/ 1 w 211"/>
                <a:gd name="T15" fmla="*/ 9 h 31"/>
                <a:gd name="T16" fmla="*/ 1 w 211"/>
                <a:gd name="T17" fmla="*/ 12 h 31"/>
                <a:gd name="T18" fmla="*/ 0 w 211"/>
                <a:gd name="T19" fmla="*/ 16 h 31"/>
                <a:gd name="T20" fmla="*/ 1 w 211"/>
                <a:gd name="T21" fmla="*/ 18 h 31"/>
                <a:gd name="T22" fmla="*/ 1 w 211"/>
                <a:gd name="T23" fmla="*/ 21 h 31"/>
                <a:gd name="T24" fmla="*/ 3 w 211"/>
                <a:gd name="T25" fmla="*/ 23 h 31"/>
                <a:gd name="T26" fmla="*/ 4 w 211"/>
                <a:gd name="T27" fmla="*/ 25 h 31"/>
                <a:gd name="T28" fmla="*/ 8 w 211"/>
                <a:gd name="T29" fmla="*/ 27 h 31"/>
                <a:gd name="T30" fmla="*/ 10 w 211"/>
                <a:gd name="T31" fmla="*/ 28 h 31"/>
                <a:gd name="T32" fmla="*/ 13 w 211"/>
                <a:gd name="T33" fmla="*/ 30 h 31"/>
                <a:gd name="T34" fmla="*/ 15 w 211"/>
                <a:gd name="T35" fmla="*/ 31 h 31"/>
                <a:gd name="T36" fmla="*/ 196 w 211"/>
                <a:gd name="T37" fmla="*/ 31 h 31"/>
                <a:gd name="T38" fmla="*/ 200 w 211"/>
                <a:gd name="T39" fmla="*/ 30 h 31"/>
                <a:gd name="T40" fmla="*/ 202 w 211"/>
                <a:gd name="T41" fmla="*/ 28 h 31"/>
                <a:gd name="T42" fmla="*/ 205 w 211"/>
                <a:gd name="T43" fmla="*/ 27 h 31"/>
                <a:gd name="T44" fmla="*/ 207 w 211"/>
                <a:gd name="T45" fmla="*/ 25 h 31"/>
                <a:gd name="T46" fmla="*/ 208 w 211"/>
                <a:gd name="T47" fmla="*/ 23 h 31"/>
                <a:gd name="T48" fmla="*/ 210 w 211"/>
                <a:gd name="T49" fmla="*/ 21 h 31"/>
                <a:gd name="T50" fmla="*/ 211 w 211"/>
                <a:gd name="T51" fmla="*/ 18 h 31"/>
                <a:gd name="T52" fmla="*/ 211 w 211"/>
                <a:gd name="T53" fmla="*/ 16 h 31"/>
                <a:gd name="T54" fmla="*/ 211 w 211"/>
                <a:gd name="T55" fmla="*/ 12 h 31"/>
                <a:gd name="T56" fmla="*/ 210 w 211"/>
                <a:gd name="T57" fmla="*/ 9 h 31"/>
                <a:gd name="T58" fmla="*/ 208 w 211"/>
                <a:gd name="T59" fmla="*/ 7 h 31"/>
                <a:gd name="T60" fmla="*/ 207 w 211"/>
                <a:gd name="T61" fmla="*/ 5 h 31"/>
                <a:gd name="T62" fmla="*/ 205 w 211"/>
                <a:gd name="T63" fmla="*/ 3 h 31"/>
                <a:gd name="T64" fmla="*/ 202 w 211"/>
                <a:gd name="T65" fmla="*/ 2 h 31"/>
                <a:gd name="T66" fmla="*/ 200 w 211"/>
                <a:gd name="T67" fmla="*/ 1 h 31"/>
                <a:gd name="T68" fmla="*/ 196 w 211"/>
                <a:gd name="T69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11" h="31">
                  <a:moveTo>
                    <a:pt x="196" y="0"/>
                  </a:moveTo>
                  <a:lnTo>
                    <a:pt x="15" y="0"/>
                  </a:lnTo>
                  <a:lnTo>
                    <a:pt x="13" y="1"/>
                  </a:lnTo>
                  <a:lnTo>
                    <a:pt x="10" y="2"/>
                  </a:lnTo>
                  <a:lnTo>
                    <a:pt x="8" y="3"/>
                  </a:lnTo>
                  <a:lnTo>
                    <a:pt x="4" y="5"/>
                  </a:lnTo>
                  <a:lnTo>
                    <a:pt x="3" y="7"/>
                  </a:lnTo>
                  <a:lnTo>
                    <a:pt x="1" y="9"/>
                  </a:lnTo>
                  <a:lnTo>
                    <a:pt x="1" y="12"/>
                  </a:lnTo>
                  <a:lnTo>
                    <a:pt x="0" y="16"/>
                  </a:lnTo>
                  <a:lnTo>
                    <a:pt x="1" y="18"/>
                  </a:lnTo>
                  <a:lnTo>
                    <a:pt x="1" y="21"/>
                  </a:lnTo>
                  <a:lnTo>
                    <a:pt x="3" y="23"/>
                  </a:lnTo>
                  <a:lnTo>
                    <a:pt x="4" y="25"/>
                  </a:lnTo>
                  <a:lnTo>
                    <a:pt x="8" y="27"/>
                  </a:lnTo>
                  <a:lnTo>
                    <a:pt x="10" y="28"/>
                  </a:lnTo>
                  <a:lnTo>
                    <a:pt x="13" y="30"/>
                  </a:lnTo>
                  <a:lnTo>
                    <a:pt x="15" y="31"/>
                  </a:lnTo>
                  <a:lnTo>
                    <a:pt x="196" y="31"/>
                  </a:lnTo>
                  <a:lnTo>
                    <a:pt x="200" y="30"/>
                  </a:lnTo>
                  <a:lnTo>
                    <a:pt x="202" y="28"/>
                  </a:lnTo>
                  <a:lnTo>
                    <a:pt x="205" y="27"/>
                  </a:lnTo>
                  <a:lnTo>
                    <a:pt x="207" y="25"/>
                  </a:lnTo>
                  <a:lnTo>
                    <a:pt x="208" y="23"/>
                  </a:lnTo>
                  <a:lnTo>
                    <a:pt x="210" y="21"/>
                  </a:lnTo>
                  <a:lnTo>
                    <a:pt x="211" y="18"/>
                  </a:lnTo>
                  <a:lnTo>
                    <a:pt x="211" y="16"/>
                  </a:lnTo>
                  <a:lnTo>
                    <a:pt x="211" y="12"/>
                  </a:lnTo>
                  <a:lnTo>
                    <a:pt x="210" y="9"/>
                  </a:lnTo>
                  <a:lnTo>
                    <a:pt x="208" y="7"/>
                  </a:lnTo>
                  <a:lnTo>
                    <a:pt x="207" y="5"/>
                  </a:lnTo>
                  <a:lnTo>
                    <a:pt x="205" y="3"/>
                  </a:lnTo>
                  <a:lnTo>
                    <a:pt x="202" y="2"/>
                  </a:lnTo>
                  <a:lnTo>
                    <a:pt x="200" y="1"/>
                  </a:lnTo>
                  <a:lnTo>
                    <a:pt x="19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2" name="Freeform 205"/>
            <p:cNvSpPr>
              <a:spLocks/>
            </p:cNvSpPr>
            <p:nvPr/>
          </p:nvSpPr>
          <p:spPr bwMode="auto">
            <a:xfrm>
              <a:off x="10567988" y="2468563"/>
              <a:ext cx="66675" cy="9525"/>
            </a:xfrm>
            <a:custGeom>
              <a:avLst/>
              <a:gdLst>
                <a:gd name="T0" fmla="*/ 196 w 211"/>
                <a:gd name="T1" fmla="*/ 0 h 30"/>
                <a:gd name="T2" fmla="*/ 15 w 211"/>
                <a:gd name="T3" fmla="*/ 0 h 30"/>
                <a:gd name="T4" fmla="*/ 13 w 211"/>
                <a:gd name="T5" fmla="*/ 0 h 30"/>
                <a:gd name="T6" fmla="*/ 10 w 211"/>
                <a:gd name="T7" fmla="*/ 1 h 30"/>
                <a:gd name="T8" fmla="*/ 8 w 211"/>
                <a:gd name="T9" fmla="*/ 2 h 30"/>
                <a:gd name="T10" fmla="*/ 4 w 211"/>
                <a:gd name="T11" fmla="*/ 4 h 30"/>
                <a:gd name="T12" fmla="*/ 3 w 211"/>
                <a:gd name="T13" fmla="*/ 6 h 30"/>
                <a:gd name="T14" fmla="*/ 1 w 211"/>
                <a:gd name="T15" fmla="*/ 8 h 30"/>
                <a:gd name="T16" fmla="*/ 1 w 211"/>
                <a:gd name="T17" fmla="*/ 11 h 30"/>
                <a:gd name="T18" fmla="*/ 0 w 211"/>
                <a:gd name="T19" fmla="*/ 15 h 30"/>
                <a:gd name="T20" fmla="*/ 1 w 211"/>
                <a:gd name="T21" fmla="*/ 17 h 30"/>
                <a:gd name="T22" fmla="*/ 1 w 211"/>
                <a:gd name="T23" fmla="*/ 20 h 30"/>
                <a:gd name="T24" fmla="*/ 3 w 211"/>
                <a:gd name="T25" fmla="*/ 22 h 30"/>
                <a:gd name="T26" fmla="*/ 4 w 211"/>
                <a:gd name="T27" fmla="*/ 25 h 30"/>
                <a:gd name="T28" fmla="*/ 8 w 211"/>
                <a:gd name="T29" fmla="*/ 26 h 30"/>
                <a:gd name="T30" fmla="*/ 10 w 211"/>
                <a:gd name="T31" fmla="*/ 29 h 30"/>
                <a:gd name="T32" fmla="*/ 13 w 211"/>
                <a:gd name="T33" fmla="*/ 29 h 30"/>
                <a:gd name="T34" fmla="*/ 15 w 211"/>
                <a:gd name="T35" fmla="*/ 30 h 30"/>
                <a:gd name="T36" fmla="*/ 196 w 211"/>
                <a:gd name="T37" fmla="*/ 30 h 30"/>
                <a:gd name="T38" fmla="*/ 200 w 211"/>
                <a:gd name="T39" fmla="*/ 29 h 30"/>
                <a:gd name="T40" fmla="*/ 202 w 211"/>
                <a:gd name="T41" fmla="*/ 29 h 30"/>
                <a:gd name="T42" fmla="*/ 205 w 211"/>
                <a:gd name="T43" fmla="*/ 26 h 30"/>
                <a:gd name="T44" fmla="*/ 207 w 211"/>
                <a:gd name="T45" fmla="*/ 25 h 30"/>
                <a:gd name="T46" fmla="*/ 208 w 211"/>
                <a:gd name="T47" fmla="*/ 22 h 30"/>
                <a:gd name="T48" fmla="*/ 210 w 211"/>
                <a:gd name="T49" fmla="*/ 20 h 30"/>
                <a:gd name="T50" fmla="*/ 211 w 211"/>
                <a:gd name="T51" fmla="*/ 17 h 30"/>
                <a:gd name="T52" fmla="*/ 211 w 211"/>
                <a:gd name="T53" fmla="*/ 15 h 30"/>
                <a:gd name="T54" fmla="*/ 211 w 211"/>
                <a:gd name="T55" fmla="*/ 11 h 30"/>
                <a:gd name="T56" fmla="*/ 210 w 211"/>
                <a:gd name="T57" fmla="*/ 8 h 30"/>
                <a:gd name="T58" fmla="*/ 208 w 211"/>
                <a:gd name="T59" fmla="*/ 6 h 30"/>
                <a:gd name="T60" fmla="*/ 207 w 211"/>
                <a:gd name="T61" fmla="*/ 4 h 30"/>
                <a:gd name="T62" fmla="*/ 205 w 211"/>
                <a:gd name="T63" fmla="*/ 2 h 30"/>
                <a:gd name="T64" fmla="*/ 202 w 211"/>
                <a:gd name="T65" fmla="*/ 1 h 30"/>
                <a:gd name="T66" fmla="*/ 200 w 211"/>
                <a:gd name="T67" fmla="*/ 0 h 30"/>
                <a:gd name="T68" fmla="*/ 196 w 211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11" h="30">
                  <a:moveTo>
                    <a:pt x="196" y="0"/>
                  </a:moveTo>
                  <a:lnTo>
                    <a:pt x="15" y="0"/>
                  </a:lnTo>
                  <a:lnTo>
                    <a:pt x="13" y="0"/>
                  </a:lnTo>
                  <a:lnTo>
                    <a:pt x="10" y="1"/>
                  </a:lnTo>
                  <a:lnTo>
                    <a:pt x="8" y="2"/>
                  </a:lnTo>
                  <a:lnTo>
                    <a:pt x="4" y="4"/>
                  </a:lnTo>
                  <a:lnTo>
                    <a:pt x="3" y="6"/>
                  </a:lnTo>
                  <a:lnTo>
                    <a:pt x="1" y="8"/>
                  </a:lnTo>
                  <a:lnTo>
                    <a:pt x="1" y="11"/>
                  </a:lnTo>
                  <a:lnTo>
                    <a:pt x="0" y="15"/>
                  </a:lnTo>
                  <a:lnTo>
                    <a:pt x="1" y="17"/>
                  </a:lnTo>
                  <a:lnTo>
                    <a:pt x="1" y="20"/>
                  </a:lnTo>
                  <a:lnTo>
                    <a:pt x="3" y="22"/>
                  </a:lnTo>
                  <a:lnTo>
                    <a:pt x="4" y="25"/>
                  </a:lnTo>
                  <a:lnTo>
                    <a:pt x="8" y="26"/>
                  </a:lnTo>
                  <a:lnTo>
                    <a:pt x="10" y="29"/>
                  </a:lnTo>
                  <a:lnTo>
                    <a:pt x="13" y="29"/>
                  </a:lnTo>
                  <a:lnTo>
                    <a:pt x="15" y="30"/>
                  </a:lnTo>
                  <a:lnTo>
                    <a:pt x="196" y="30"/>
                  </a:lnTo>
                  <a:lnTo>
                    <a:pt x="200" y="29"/>
                  </a:lnTo>
                  <a:lnTo>
                    <a:pt x="202" y="29"/>
                  </a:lnTo>
                  <a:lnTo>
                    <a:pt x="205" y="26"/>
                  </a:lnTo>
                  <a:lnTo>
                    <a:pt x="207" y="25"/>
                  </a:lnTo>
                  <a:lnTo>
                    <a:pt x="208" y="22"/>
                  </a:lnTo>
                  <a:lnTo>
                    <a:pt x="210" y="20"/>
                  </a:lnTo>
                  <a:lnTo>
                    <a:pt x="211" y="17"/>
                  </a:lnTo>
                  <a:lnTo>
                    <a:pt x="211" y="15"/>
                  </a:lnTo>
                  <a:lnTo>
                    <a:pt x="211" y="11"/>
                  </a:lnTo>
                  <a:lnTo>
                    <a:pt x="210" y="8"/>
                  </a:lnTo>
                  <a:lnTo>
                    <a:pt x="208" y="6"/>
                  </a:lnTo>
                  <a:lnTo>
                    <a:pt x="207" y="4"/>
                  </a:lnTo>
                  <a:lnTo>
                    <a:pt x="205" y="2"/>
                  </a:lnTo>
                  <a:lnTo>
                    <a:pt x="202" y="1"/>
                  </a:lnTo>
                  <a:lnTo>
                    <a:pt x="200" y="0"/>
                  </a:lnTo>
                  <a:lnTo>
                    <a:pt x="19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3" name="Freeform 206"/>
            <p:cNvSpPr>
              <a:spLocks/>
            </p:cNvSpPr>
            <p:nvPr/>
          </p:nvSpPr>
          <p:spPr bwMode="auto">
            <a:xfrm>
              <a:off x="10567988" y="2487613"/>
              <a:ext cx="66675" cy="28575"/>
            </a:xfrm>
            <a:custGeom>
              <a:avLst/>
              <a:gdLst>
                <a:gd name="T0" fmla="*/ 196 w 211"/>
                <a:gd name="T1" fmla="*/ 0 h 90"/>
                <a:gd name="T2" fmla="*/ 15 w 211"/>
                <a:gd name="T3" fmla="*/ 0 h 90"/>
                <a:gd name="T4" fmla="*/ 13 w 211"/>
                <a:gd name="T5" fmla="*/ 0 h 90"/>
                <a:gd name="T6" fmla="*/ 10 w 211"/>
                <a:gd name="T7" fmla="*/ 1 h 90"/>
                <a:gd name="T8" fmla="*/ 8 w 211"/>
                <a:gd name="T9" fmla="*/ 2 h 90"/>
                <a:gd name="T10" fmla="*/ 4 w 211"/>
                <a:gd name="T11" fmla="*/ 4 h 90"/>
                <a:gd name="T12" fmla="*/ 3 w 211"/>
                <a:gd name="T13" fmla="*/ 6 h 90"/>
                <a:gd name="T14" fmla="*/ 1 w 211"/>
                <a:gd name="T15" fmla="*/ 8 h 90"/>
                <a:gd name="T16" fmla="*/ 1 w 211"/>
                <a:gd name="T17" fmla="*/ 11 h 90"/>
                <a:gd name="T18" fmla="*/ 0 w 211"/>
                <a:gd name="T19" fmla="*/ 15 h 90"/>
                <a:gd name="T20" fmla="*/ 1 w 211"/>
                <a:gd name="T21" fmla="*/ 18 h 90"/>
                <a:gd name="T22" fmla="*/ 1 w 211"/>
                <a:gd name="T23" fmla="*/ 20 h 90"/>
                <a:gd name="T24" fmla="*/ 3 w 211"/>
                <a:gd name="T25" fmla="*/ 23 h 90"/>
                <a:gd name="T26" fmla="*/ 4 w 211"/>
                <a:gd name="T27" fmla="*/ 25 h 90"/>
                <a:gd name="T28" fmla="*/ 8 w 211"/>
                <a:gd name="T29" fmla="*/ 27 h 90"/>
                <a:gd name="T30" fmla="*/ 10 w 211"/>
                <a:gd name="T31" fmla="*/ 29 h 90"/>
                <a:gd name="T32" fmla="*/ 13 w 211"/>
                <a:gd name="T33" fmla="*/ 30 h 90"/>
                <a:gd name="T34" fmla="*/ 15 w 211"/>
                <a:gd name="T35" fmla="*/ 30 h 90"/>
                <a:gd name="T36" fmla="*/ 91 w 211"/>
                <a:gd name="T37" fmla="*/ 30 h 90"/>
                <a:gd name="T38" fmla="*/ 91 w 211"/>
                <a:gd name="T39" fmla="*/ 75 h 90"/>
                <a:gd name="T40" fmla="*/ 91 w 211"/>
                <a:gd name="T41" fmla="*/ 78 h 90"/>
                <a:gd name="T42" fmla="*/ 92 w 211"/>
                <a:gd name="T43" fmla="*/ 80 h 90"/>
                <a:gd name="T44" fmla="*/ 93 w 211"/>
                <a:gd name="T45" fmla="*/ 83 h 90"/>
                <a:gd name="T46" fmla="*/ 96 w 211"/>
                <a:gd name="T47" fmla="*/ 85 h 90"/>
                <a:gd name="T48" fmla="*/ 98 w 211"/>
                <a:gd name="T49" fmla="*/ 88 h 90"/>
                <a:gd name="T50" fmla="*/ 100 w 211"/>
                <a:gd name="T51" fmla="*/ 89 h 90"/>
                <a:gd name="T52" fmla="*/ 103 w 211"/>
                <a:gd name="T53" fmla="*/ 90 h 90"/>
                <a:gd name="T54" fmla="*/ 106 w 211"/>
                <a:gd name="T55" fmla="*/ 90 h 90"/>
                <a:gd name="T56" fmla="*/ 108 w 211"/>
                <a:gd name="T57" fmla="*/ 90 h 90"/>
                <a:gd name="T58" fmla="*/ 112 w 211"/>
                <a:gd name="T59" fmla="*/ 89 h 90"/>
                <a:gd name="T60" fmla="*/ 114 w 211"/>
                <a:gd name="T61" fmla="*/ 88 h 90"/>
                <a:gd name="T62" fmla="*/ 116 w 211"/>
                <a:gd name="T63" fmla="*/ 85 h 90"/>
                <a:gd name="T64" fmla="*/ 118 w 211"/>
                <a:gd name="T65" fmla="*/ 83 h 90"/>
                <a:gd name="T66" fmla="*/ 119 w 211"/>
                <a:gd name="T67" fmla="*/ 80 h 90"/>
                <a:gd name="T68" fmla="*/ 120 w 211"/>
                <a:gd name="T69" fmla="*/ 78 h 90"/>
                <a:gd name="T70" fmla="*/ 121 w 211"/>
                <a:gd name="T71" fmla="*/ 75 h 90"/>
                <a:gd name="T72" fmla="*/ 121 w 211"/>
                <a:gd name="T73" fmla="*/ 30 h 90"/>
                <a:gd name="T74" fmla="*/ 196 w 211"/>
                <a:gd name="T75" fmla="*/ 30 h 90"/>
                <a:gd name="T76" fmla="*/ 200 w 211"/>
                <a:gd name="T77" fmla="*/ 30 h 90"/>
                <a:gd name="T78" fmla="*/ 202 w 211"/>
                <a:gd name="T79" fmla="*/ 29 h 90"/>
                <a:gd name="T80" fmla="*/ 205 w 211"/>
                <a:gd name="T81" fmla="*/ 27 h 90"/>
                <a:gd name="T82" fmla="*/ 207 w 211"/>
                <a:gd name="T83" fmla="*/ 25 h 90"/>
                <a:gd name="T84" fmla="*/ 208 w 211"/>
                <a:gd name="T85" fmla="*/ 23 h 90"/>
                <a:gd name="T86" fmla="*/ 210 w 211"/>
                <a:gd name="T87" fmla="*/ 20 h 90"/>
                <a:gd name="T88" fmla="*/ 211 w 211"/>
                <a:gd name="T89" fmla="*/ 18 h 90"/>
                <a:gd name="T90" fmla="*/ 211 w 211"/>
                <a:gd name="T91" fmla="*/ 15 h 90"/>
                <a:gd name="T92" fmla="*/ 211 w 211"/>
                <a:gd name="T93" fmla="*/ 11 h 90"/>
                <a:gd name="T94" fmla="*/ 210 w 211"/>
                <a:gd name="T95" fmla="*/ 8 h 90"/>
                <a:gd name="T96" fmla="*/ 208 w 211"/>
                <a:gd name="T97" fmla="*/ 6 h 90"/>
                <a:gd name="T98" fmla="*/ 207 w 211"/>
                <a:gd name="T99" fmla="*/ 4 h 90"/>
                <a:gd name="T100" fmla="*/ 205 w 211"/>
                <a:gd name="T101" fmla="*/ 2 h 90"/>
                <a:gd name="T102" fmla="*/ 202 w 211"/>
                <a:gd name="T103" fmla="*/ 1 h 90"/>
                <a:gd name="T104" fmla="*/ 200 w 211"/>
                <a:gd name="T105" fmla="*/ 0 h 90"/>
                <a:gd name="T106" fmla="*/ 196 w 211"/>
                <a:gd name="T107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11" h="90">
                  <a:moveTo>
                    <a:pt x="196" y="0"/>
                  </a:moveTo>
                  <a:lnTo>
                    <a:pt x="15" y="0"/>
                  </a:lnTo>
                  <a:lnTo>
                    <a:pt x="13" y="0"/>
                  </a:lnTo>
                  <a:lnTo>
                    <a:pt x="10" y="1"/>
                  </a:lnTo>
                  <a:lnTo>
                    <a:pt x="8" y="2"/>
                  </a:lnTo>
                  <a:lnTo>
                    <a:pt x="4" y="4"/>
                  </a:lnTo>
                  <a:lnTo>
                    <a:pt x="3" y="6"/>
                  </a:lnTo>
                  <a:lnTo>
                    <a:pt x="1" y="8"/>
                  </a:lnTo>
                  <a:lnTo>
                    <a:pt x="1" y="11"/>
                  </a:lnTo>
                  <a:lnTo>
                    <a:pt x="0" y="15"/>
                  </a:lnTo>
                  <a:lnTo>
                    <a:pt x="1" y="18"/>
                  </a:lnTo>
                  <a:lnTo>
                    <a:pt x="1" y="20"/>
                  </a:lnTo>
                  <a:lnTo>
                    <a:pt x="3" y="23"/>
                  </a:lnTo>
                  <a:lnTo>
                    <a:pt x="4" y="25"/>
                  </a:lnTo>
                  <a:lnTo>
                    <a:pt x="8" y="27"/>
                  </a:lnTo>
                  <a:lnTo>
                    <a:pt x="10" y="29"/>
                  </a:lnTo>
                  <a:lnTo>
                    <a:pt x="13" y="30"/>
                  </a:lnTo>
                  <a:lnTo>
                    <a:pt x="15" y="30"/>
                  </a:lnTo>
                  <a:lnTo>
                    <a:pt x="91" y="30"/>
                  </a:lnTo>
                  <a:lnTo>
                    <a:pt x="91" y="75"/>
                  </a:lnTo>
                  <a:lnTo>
                    <a:pt x="91" y="78"/>
                  </a:lnTo>
                  <a:lnTo>
                    <a:pt x="92" y="80"/>
                  </a:lnTo>
                  <a:lnTo>
                    <a:pt x="93" y="83"/>
                  </a:lnTo>
                  <a:lnTo>
                    <a:pt x="96" y="85"/>
                  </a:lnTo>
                  <a:lnTo>
                    <a:pt x="98" y="88"/>
                  </a:lnTo>
                  <a:lnTo>
                    <a:pt x="100" y="89"/>
                  </a:lnTo>
                  <a:lnTo>
                    <a:pt x="103" y="90"/>
                  </a:lnTo>
                  <a:lnTo>
                    <a:pt x="106" y="90"/>
                  </a:lnTo>
                  <a:lnTo>
                    <a:pt x="108" y="90"/>
                  </a:lnTo>
                  <a:lnTo>
                    <a:pt x="112" y="89"/>
                  </a:lnTo>
                  <a:lnTo>
                    <a:pt x="114" y="88"/>
                  </a:lnTo>
                  <a:lnTo>
                    <a:pt x="116" y="85"/>
                  </a:lnTo>
                  <a:lnTo>
                    <a:pt x="118" y="83"/>
                  </a:lnTo>
                  <a:lnTo>
                    <a:pt x="119" y="80"/>
                  </a:lnTo>
                  <a:lnTo>
                    <a:pt x="120" y="78"/>
                  </a:lnTo>
                  <a:lnTo>
                    <a:pt x="121" y="75"/>
                  </a:lnTo>
                  <a:lnTo>
                    <a:pt x="121" y="30"/>
                  </a:lnTo>
                  <a:lnTo>
                    <a:pt x="196" y="30"/>
                  </a:lnTo>
                  <a:lnTo>
                    <a:pt x="200" y="30"/>
                  </a:lnTo>
                  <a:lnTo>
                    <a:pt x="202" y="29"/>
                  </a:lnTo>
                  <a:lnTo>
                    <a:pt x="205" y="27"/>
                  </a:lnTo>
                  <a:lnTo>
                    <a:pt x="207" y="25"/>
                  </a:lnTo>
                  <a:lnTo>
                    <a:pt x="208" y="23"/>
                  </a:lnTo>
                  <a:lnTo>
                    <a:pt x="210" y="20"/>
                  </a:lnTo>
                  <a:lnTo>
                    <a:pt x="211" y="18"/>
                  </a:lnTo>
                  <a:lnTo>
                    <a:pt x="211" y="15"/>
                  </a:lnTo>
                  <a:lnTo>
                    <a:pt x="211" y="11"/>
                  </a:lnTo>
                  <a:lnTo>
                    <a:pt x="210" y="8"/>
                  </a:lnTo>
                  <a:lnTo>
                    <a:pt x="208" y="6"/>
                  </a:lnTo>
                  <a:lnTo>
                    <a:pt x="207" y="4"/>
                  </a:lnTo>
                  <a:lnTo>
                    <a:pt x="205" y="2"/>
                  </a:lnTo>
                  <a:lnTo>
                    <a:pt x="202" y="1"/>
                  </a:lnTo>
                  <a:lnTo>
                    <a:pt x="200" y="0"/>
                  </a:lnTo>
                  <a:lnTo>
                    <a:pt x="19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24" name="Freeform 303"/>
          <p:cNvSpPr>
            <a:spLocks noEditPoints="1"/>
          </p:cNvSpPr>
          <p:nvPr/>
        </p:nvSpPr>
        <p:spPr bwMode="auto">
          <a:xfrm>
            <a:off x="5271489" y="3730100"/>
            <a:ext cx="192088" cy="238125"/>
          </a:xfrm>
          <a:custGeom>
            <a:avLst/>
            <a:gdLst>
              <a:gd name="T0" fmla="*/ 120 w 602"/>
              <a:gd name="T1" fmla="*/ 30 h 751"/>
              <a:gd name="T2" fmla="*/ 391 w 602"/>
              <a:gd name="T3" fmla="*/ 196 h 751"/>
              <a:gd name="T4" fmla="*/ 392 w 602"/>
              <a:gd name="T5" fmla="*/ 201 h 751"/>
              <a:gd name="T6" fmla="*/ 395 w 602"/>
              <a:gd name="T7" fmla="*/ 206 h 751"/>
              <a:gd name="T8" fmla="*/ 401 w 602"/>
              <a:gd name="T9" fmla="*/ 209 h 751"/>
              <a:gd name="T10" fmla="*/ 406 w 602"/>
              <a:gd name="T11" fmla="*/ 211 h 751"/>
              <a:gd name="T12" fmla="*/ 571 w 602"/>
              <a:gd name="T13" fmla="*/ 631 h 751"/>
              <a:gd name="T14" fmla="*/ 481 w 602"/>
              <a:gd name="T15" fmla="*/ 721 h 751"/>
              <a:gd name="T16" fmla="*/ 30 w 602"/>
              <a:gd name="T17" fmla="*/ 120 h 751"/>
              <a:gd name="T18" fmla="*/ 90 w 602"/>
              <a:gd name="T19" fmla="*/ 646 h 751"/>
              <a:gd name="T20" fmla="*/ 91 w 602"/>
              <a:gd name="T21" fmla="*/ 651 h 751"/>
              <a:gd name="T22" fmla="*/ 95 w 602"/>
              <a:gd name="T23" fmla="*/ 657 h 751"/>
              <a:gd name="T24" fmla="*/ 100 w 602"/>
              <a:gd name="T25" fmla="*/ 660 h 751"/>
              <a:gd name="T26" fmla="*/ 105 w 602"/>
              <a:gd name="T27" fmla="*/ 661 h 751"/>
              <a:gd name="T28" fmla="*/ 481 w 602"/>
              <a:gd name="T29" fmla="*/ 721 h 751"/>
              <a:gd name="T30" fmla="*/ 550 w 602"/>
              <a:gd name="T31" fmla="*/ 181 h 751"/>
              <a:gd name="T32" fmla="*/ 421 w 602"/>
              <a:gd name="T33" fmla="*/ 52 h 751"/>
              <a:gd name="T34" fmla="*/ 417 w 602"/>
              <a:gd name="T35" fmla="*/ 4 h 751"/>
              <a:gd name="T36" fmla="*/ 411 w 602"/>
              <a:gd name="T37" fmla="*/ 1 h 751"/>
              <a:gd name="T38" fmla="*/ 406 w 602"/>
              <a:gd name="T39" fmla="*/ 0 h 751"/>
              <a:gd name="T40" fmla="*/ 103 w 602"/>
              <a:gd name="T41" fmla="*/ 0 h 751"/>
              <a:gd name="T42" fmla="*/ 98 w 602"/>
              <a:gd name="T43" fmla="*/ 3 h 751"/>
              <a:gd name="T44" fmla="*/ 94 w 602"/>
              <a:gd name="T45" fmla="*/ 7 h 751"/>
              <a:gd name="T46" fmla="*/ 91 w 602"/>
              <a:gd name="T47" fmla="*/ 13 h 751"/>
              <a:gd name="T48" fmla="*/ 90 w 602"/>
              <a:gd name="T49" fmla="*/ 90 h 751"/>
              <a:gd name="T50" fmla="*/ 12 w 602"/>
              <a:gd name="T51" fmla="*/ 91 h 751"/>
              <a:gd name="T52" fmla="*/ 7 w 602"/>
              <a:gd name="T53" fmla="*/ 93 h 751"/>
              <a:gd name="T54" fmla="*/ 4 w 602"/>
              <a:gd name="T55" fmla="*/ 97 h 751"/>
              <a:gd name="T56" fmla="*/ 0 w 602"/>
              <a:gd name="T57" fmla="*/ 102 h 751"/>
              <a:gd name="T58" fmla="*/ 0 w 602"/>
              <a:gd name="T59" fmla="*/ 736 h 751"/>
              <a:gd name="T60" fmla="*/ 2 w 602"/>
              <a:gd name="T61" fmla="*/ 742 h 751"/>
              <a:gd name="T62" fmla="*/ 5 w 602"/>
              <a:gd name="T63" fmla="*/ 747 h 751"/>
              <a:gd name="T64" fmla="*/ 10 w 602"/>
              <a:gd name="T65" fmla="*/ 750 h 751"/>
              <a:gd name="T66" fmla="*/ 15 w 602"/>
              <a:gd name="T67" fmla="*/ 751 h 751"/>
              <a:gd name="T68" fmla="*/ 499 w 602"/>
              <a:gd name="T69" fmla="*/ 751 h 751"/>
              <a:gd name="T70" fmla="*/ 504 w 602"/>
              <a:gd name="T71" fmla="*/ 749 h 751"/>
              <a:gd name="T72" fmla="*/ 509 w 602"/>
              <a:gd name="T73" fmla="*/ 745 h 751"/>
              <a:gd name="T74" fmla="*/ 511 w 602"/>
              <a:gd name="T75" fmla="*/ 739 h 751"/>
              <a:gd name="T76" fmla="*/ 511 w 602"/>
              <a:gd name="T77" fmla="*/ 661 h 751"/>
              <a:gd name="T78" fmla="*/ 589 w 602"/>
              <a:gd name="T79" fmla="*/ 660 h 751"/>
              <a:gd name="T80" fmla="*/ 594 w 602"/>
              <a:gd name="T81" fmla="*/ 658 h 751"/>
              <a:gd name="T82" fmla="*/ 599 w 602"/>
              <a:gd name="T83" fmla="*/ 655 h 751"/>
              <a:gd name="T84" fmla="*/ 601 w 602"/>
              <a:gd name="T85" fmla="*/ 649 h 751"/>
              <a:gd name="T86" fmla="*/ 602 w 602"/>
              <a:gd name="T87" fmla="*/ 196 h 751"/>
              <a:gd name="T88" fmla="*/ 596 w 602"/>
              <a:gd name="T89" fmla="*/ 185 h 7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602" h="751">
                <a:moveTo>
                  <a:pt x="120" y="631"/>
                </a:moveTo>
                <a:lnTo>
                  <a:pt x="120" y="30"/>
                </a:lnTo>
                <a:lnTo>
                  <a:pt x="391" y="30"/>
                </a:lnTo>
                <a:lnTo>
                  <a:pt x="391" y="196"/>
                </a:lnTo>
                <a:lnTo>
                  <a:pt x="391" y="199"/>
                </a:lnTo>
                <a:lnTo>
                  <a:pt x="392" y="201"/>
                </a:lnTo>
                <a:lnTo>
                  <a:pt x="393" y="204"/>
                </a:lnTo>
                <a:lnTo>
                  <a:pt x="395" y="206"/>
                </a:lnTo>
                <a:lnTo>
                  <a:pt x="397" y="207"/>
                </a:lnTo>
                <a:lnTo>
                  <a:pt x="401" y="209"/>
                </a:lnTo>
                <a:lnTo>
                  <a:pt x="403" y="209"/>
                </a:lnTo>
                <a:lnTo>
                  <a:pt x="406" y="211"/>
                </a:lnTo>
                <a:lnTo>
                  <a:pt x="571" y="211"/>
                </a:lnTo>
                <a:lnTo>
                  <a:pt x="571" y="631"/>
                </a:lnTo>
                <a:lnTo>
                  <a:pt x="120" y="631"/>
                </a:lnTo>
                <a:close/>
                <a:moveTo>
                  <a:pt x="481" y="721"/>
                </a:moveTo>
                <a:lnTo>
                  <a:pt x="30" y="721"/>
                </a:lnTo>
                <a:lnTo>
                  <a:pt x="30" y="120"/>
                </a:lnTo>
                <a:lnTo>
                  <a:pt x="90" y="120"/>
                </a:lnTo>
                <a:lnTo>
                  <a:pt x="90" y="646"/>
                </a:lnTo>
                <a:lnTo>
                  <a:pt x="91" y="649"/>
                </a:lnTo>
                <a:lnTo>
                  <a:pt x="91" y="651"/>
                </a:lnTo>
                <a:lnTo>
                  <a:pt x="94" y="655"/>
                </a:lnTo>
                <a:lnTo>
                  <a:pt x="95" y="657"/>
                </a:lnTo>
                <a:lnTo>
                  <a:pt x="98" y="658"/>
                </a:lnTo>
                <a:lnTo>
                  <a:pt x="100" y="660"/>
                </a:lnTo>
                <a:lnTo>
                  <a:pt x="103" y="660"/>
                </a:lnTo>
                <a:lnTo>
                  <a:pt x="105" y="661"/>
                </a:lnTo>
                <a:lnTo>
                  <a:pt x="481" y="661"/>
                </a:lnTo>
                <a:lnTo>
                  <a:pt x="481" y="721"/>
                </a:lnTo>
                <a:close/>
                <a:moveTo>
                  <a:pt x="421" y="52"/>
                </a:moveTo>
                <a:lnTo>
                  <a:pt x="550" y="181"/>
                </a:lnTo>
                <a:lnTo>
                  <a:pt x="421" y="181"/>
                </a:lnTo>
                <a:lnTo>
                  <a:pt x="421" y="52"/>
                </a:lnTo>
                <a:close/>
                <a:moveTo>
                  <a:pt x="596" y="185"/>
                </a:moveTo>
                <a:lnTo>
                  <a:pt x="417" y="4"/>
                </a:lnTo>
                <a:lnTo>
                  <a:pt x="415" y="2"/>
                </a:lnTo>
                <a:lnTo>
                  <a:pt x="411" y="1"/>
                </a:lnTo>
                <a:lnTo>
                  <a:pt x="409" y="0"/>
                </a:lnTo>
                <a:lnTo>
                  <a:pt x="406" y="0"/>
                </a:lnTo>
                <a:lnTo>
                  <a:pt x="105" y="0"/>
                </a:lnTo>
                <a:lnTo>
                  <a:pt x="103" y="0"/>
                </a:lnTo>
                <a:lnTo>
                  <a:pt x="100" y="1"/>
                </a:lnTo>
                <a:lnTo>
                  <a:pt x="98" y="3"/>
                </a:lnTo>
                <a:lnTo>
                  <a:pt x="95" y="5"/>
                </a:lnTo>
                <a:lnTo>
                  <a:pt x="94" y="7"/>
                </a:lnTo>
                <a:lnTo>
                  <a:pt x="91" y="9"/>
                </a:lnTo>
                <a:lnTo>
                  <a:pt x="91" y="13"/>
                </a:lnTo>
                <a:lnTo>
                  <a:pt x="90" y="15"/>
                </a:lnTo>
                <a:lnTo>
                  <a:pt x="90" y="90"/>
                </a:lnTo>
                <a:lnTo>
                  <a:pt x="15" y="90"/>
                </a:lnTo>
                <a:lnTo>
                  <a:pt x="12" y="91"/>
                </a:lnTo>
                <a:lnTo>
                  <a:pt x="10" y="92"/>
                </a:lnTo>
                <a:lnTo>
                  <a:pt x="7" y="93"/>
                </a:lnTo>
                <a:lnTo>
                  <a:pt x="5" y="95"/>
                </a:lnTo>
                <a:lnTo>
                  <a:pt x="4" y="97"/>
                </a:lnTo>
                <a:lnTo>
                  <a:pt x="2" y="99"/>
                </a:lnTo>
                <a:lnTo>
                  <a:pt x="0" y="102"/>
                </a:lnTo>
                <a:lnTo>
                  <a:pt x="0" y="105"/>
                </a:lnTo>
                <a:lnTo>
                  <a:pt x="0" y="736"/>
                </a:lnTo>
                <a:lnTo>
                  <a:pt x="0" y="739"/>
                </a:lnTo>
                <a:lnTo>
                  <a:pt x="2" y="742"/>
                </a:lnTo>
                <a:lnTo>
                  <a:pt x="4" y="745"/>
                </a:lnTo>
                <a:lnTo>
                  <a:pt x="5" y="747"/>
                </a:lnTo>
                <a:lnTo>
                  <a:pt x="7" y="749"/>
                </a:lnTo>
                <a:lnTo>
                  <a:pt x="10" y="750"/>
                </a:lnTo>
                <a:lnTo>
                  <a:pt x="12" y="751"/>
                </a:lnTo>
                <a:lnTo>
                  <a:pt x="15" y="751"/>
                </a:lnTo>
                <a:lnTo>
                  <a:pt x="496" y="751"/>
                </a:lnTo>
                <a:lnTo>
                  <a:pt x="499" y="751"/>
                </a:lnTo>
                <a:lnTo>
                  <a:pt x="502" y="750"/>
                </a:lnTo>
                <a:lnTo>
                  <a:pt x="504" y="749"/>
                </a:lnTo>
                <a:lnTo>
                  <a:pt x="507" y="747"/>
                </a:lnTo>
                <a:lnTo>
                  <a:pt x="509" y="745"/>
                </a:lnTo>
                <a:lnTo>
                  <a:pt x="510" y="742"/>
                </a:lnTo>
                <a:lnTo>
                  <a:pt x="511" y="739"/>
                </a:lnTo>
                <a:lnTo>
                  <a:pt x="511" y="736"/>
                </a:lnTo>
                <a:lnTo>
                  <a:pt x="511" y="661"/>
                </a:lnTo>
                <a:lnTo>
                  <a:pt x="586" y="661"/>
                </a:lnTo>
                <a:lnTo>
                  <a:pt x="589" y="660"/>
                </a:lnTo>
                <a:lnTo>
                  <a:pt x="592" y="660"/>
                </a:lnTo>
                <a:lnTo>
                  <a:pt x="594" y="658"/>
                </a:lnTo>
                <a:lnTo>
                  <a:pt x="596" y="657"/>
                </a:lnTo>
                <a:lnTo>
                  <a:pt x="599" y="655"/>
                </a:lnTo>
                <a:lnTo>
                  <a:pt x="600" y="651"/>
                </a:lnTo>
                <a:lnTo>
                  <a:pt x="601" y="649"/>
                </a:lnTo>
                <a:lnTo>
                  <a:pt x="602" y="646"/>
                </a:lnTo>
                <a:lnTo>
                  <a:pt x="602" y="196"/>
                </a:lnTo>
                <a:lnTo>
                  <a:pt x="600" y="190"/>
                </a:lnTo>
                <a:lnTo>
                  <a:pt x="596" y="18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325" name="Group 324"/>
          <p:cNvGrpSpPr/>
          <p:nvPr/>
        </p:nvGrpSpPr>
        <p:grpSpPr>
          <a:xfrm>
            <a:off x="6688626" y="3711448"/>
            <a:ext cx="287338" cy="287338"/>
            <a:chOff x="8736013" y="1925638"/>
            <a:chExt cx="287338" cy="287338"/>
          </a:xfrm>
          <a:solidFill>
            <a:schemeClr val="bg1"/>
          </a:solidFill>
        </p:grpSpPr>
        <p:sp>
          <p:nvSpPr>
            <p:cNvPr id="326" name="Freeform 97"/>
            <p:cNvSpPr>
              <a:spLocks noEditPoints="1"/>
            </p:cNvSpPr>
            <p:nvPr/>
          </p:nvSpPr>
          <p:spPr bwMode="auto">
            <a:xfrm>
              <a:off x="8736013" y="1925638"/>
              <a:ext cx="287338" cy="287338"/>
            </a:xfrm>
            <a:custGeom>
              <a:avLst/>
              <a:gdLst>
                <a:gd name="T0" fmla="*/ 481 w 902"/>
                <a:gd name="T1" fmla="*/ 863 h 902"/>
                <a:gd name="T2" fmla="*/ 872 w 902"/>
                <a:gd name="T3" fmla="*/ 219 h 902"/>
                <a:gd name="T4" fmla="*/ 30 w 902"/>
                <a:gd name="T5" fmla="*/ 219 h 902"/>
                <a:gd name="T6" fmla="*/ 451 w 902"/>
                <a:gd name="T7" fmla="*/ 864 h 902"/>
                <a:gd name="T8" fmla="*/ 30 w 902"/>
                <a:gd name="T9" fmla="*/ 219 h 902"/>
                <a:gd name="T10" fmla="*/ 54 w 902"/>
                <a:gd name="T11" fmla="*/ 197 h 902"/>
                <a:gd name="T12" fmla="*/ 648 w 902"/>
                <a:gd name="T13" fmla="*/ 290 h 902"/>
                <a:gd name="T14" fmla="*/ 466 w 902"/>
                <a:gd name="T15" fmla="*/ 32 h 902"/>
                <a:gd name="T16" fmla="*/ 683 w 902"/>
                <a:gd name="T17" fmla="*/ 274 h 902"/>
                <a:gd name="T18" fmla="*/ 466 w 902"/>
                <a:gd name="T19" fmla="*/ 32 h 902"/>
                <a:gd name="T20" fmla="*/ 902 w 902"/>
                <a:gd name="T21" fmla="*/ 195 h 902"/>
                <a:gd name="T22" fmla="*/ 901 w 902"/>
                <a:gd name="T23" fmla="*/ 191 h 902"/>
                <a:gd name="T24" fmla="*/ 901 w 902"/>
                <a:gd name="T25" fmla="*/ 190 h 902"/>
                <a:gd name="T26" fmla="*/ 898 w 902"/>
                <a:gd name="T27" fmla="*/ 186 h 902"/>
                <a:gd name="T28" fmla="*/ 898 w 902"/>
                <a:gd name="T29" fmla="*/ 185 h 902"/>
                <a:gd name="T30" fmla="*/ 896 w 902"/>
                <a:gd name="T31" fmla="*/ 184 h 902"/>
                <a:gd name="T32" fmla="*/ 893 w 902"/>
                <a:gd name="T33" fmla="*/ 183 h 902"/>
                <a:gd name="T34" fmla="*/ 892 w 902"/>
                <a:gd name="T35" fmla="*/ 182 h 902"/>
                <a:gd name="T36" fmla="*/ 469 w 902"/>
                <a:gd name="T37" fmla="*/ 0 h 902"/>
                <a:gd name="T38" fmla="*/ 463 w 902"/>
                <a:gd name="T39" fmla="*/ 0 h 902"/>
                <a:gd name="T40" fmla="*/ 10 w 902"/>
                <a:gd name="T41" fmla="*/ 182 h 902"/>
                <a:gd name="T42" fmla="*/ 9 w 902"/>
                <a:gd name="T43" fmla="*/ 183 h 902"/>
                <a:gd name="T44" fmla="*/ 6 w 902"/>
                <a:gd name="T45" fmla="*/ 184 h 902"/>
                <a:gd name="T46" fmla="*/ 4 w 902"/>
                <a:gd name="T47" fmla="*/ 185 h 902"/>
                <a:gd name="T48" fmla="*/ 4 w 902"/>
                <a:gd name="T49" fmla="*/ 186 h 902"/>
                <a:gd name="T50" fmla="*/ 1 w 902"/>
                <a:gd name="T51" fmla="*/ 189 h 902"/>
                <a:gd name="T52" fmla="*/ 1 w 902"/>
                <a:gd name="T53" fmla="*/ 190 h 902"/>
                <a:gd name="T54" fmla="*/ 0 w 902"/>
                <a:gd name="T55" fmla="*/ 195 h 902"/>
                <a:gd name="T56" fmla="*/ 0 w 902"/>
                <a:gd name="T57" fmla="*/ 195 h 902"/>
                <a:gd name="T58" fmla="*/ 0 w 902"/>
                <a:gd name="T59" fmla="*/ 195 h 902"/>
                <a:gd name="T60" fmla="*/ 0 w 902"/>
                <a:gd name="T61" fmla="*/ 681 h 902"/>
                <a:gd name="T62" fmla="*/ 5 w 902"/>
                <a:gd name="T63" fmla="*/ 688 h 902"/>
                <a:gd name="T64" fmla="*/ 460 w 902"/>
                <a:gd name="T65" fmla="*/ 901 h 902"/>
                <a:gd name="T66" fmla="*/ 461 w 902"/>
                <a:gd name="T67" fmla="*/ 901 h 902"/>
                <a:gd name="T68" fmla="*/ 466 w 902"/>
                <a:gd name="T69" fmla="*/ 902 h 902"/>
                <a:gd name="T70" fmla="*/ 472 w 902"/>
                <a:gd name="T71" fmla="*/ 901 h 902"/>
                <a:gd name="T72" fmla="*/ 472 w 902"/>
                <a:gd name="T73" fmla="*/ 900 h 902"/>
                <a:gd name="T74" fmla="*/ 897 w 902"/>
                <a:gd name="T75" fmla="*/ 688 h 902"/>
                <a:gd name="T76" fmla="*/ 901 w 902"/>
                <a:gd name="T77" fmla="*/ 681 h 902"/>
                <a:gd name="T78" fmla="*/ 902 w 902"/>
                <a:gd name="T79" fmla="*/ 195 h 902"/>
                <a:gd name="T80" fmla="*/ 902 w 902"/>
                <a:gd name="T81" fmla="*/ 195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902" h="902">
                  <a:moveTo>
                    <a:pt x="872" y="668"/>
                  </a:moveTo>
                  <a:lnTo>
                    <a:pt x="481" y="863"/>
                  </a:lnTo>
                  <a:lnTo>
                    <a:pt x="481" y="401"/>
                  </a:lnTo>
                  <a:lnTo>
                    <a:pt x="872" y="219"/>
                  </a:lnTo>
                  <a:lnTo>
                    <a:pt x="872" y="668"/>
                  </a:lnTo>
                  <a:close/>
                  <a:moveTo>
                    <a:pt x="30" y="219"/>
                  </a:moveTo>
                  <a:lnTo>
                    <a:pt x="451" y="401"/>
                  </a:lnTo>
                  <a:lnTo>
                    <a:pt x="451" y="864"/>
                  </a:lnTo>
                  <a:lnTo>
                    <a:pt x="30" y="667"/>
                  </a:lnTo>
                  <a:lnTo>
                    <a:pt x="30" y="219"/>
                  </a:lnTo>
                  <a:close/>
                  <a:moveTo>
                    <a:pt x="466" y="374"/>
                  </a:moveTo>
                  <a:lnTo>
                    <a:pt x="54" y="197"/>
                  </a:lnTo>
                  <a:lnTo>
                    <a:pt x="266" y="112"/>
                  </a:lnTo>
                  <a:lnTo>
                    <a:pt x="648" y="290"/>
                  </a:lnTo>
                  <a:lnTo>
                    <a:pt x="466" y="374"/>
                  </a:lnTo>
                  <a:close/>
                  <a:moveTo>
                    <a:pt x="466" y="32"/>
                  </a:moveTo>
                  <a:lnTo>
                    <a:pt x="851" y="197"/>
                  </a:lnTo>
                  <a:lnTo>
                    <a:pt x="683" y="274"/>
                  </a:lnTo>
                  <a:lnTo>
                    <a:pt x="304" y="97"/>
                  </a:lnTo>
                  <a:lnTo>
                    <a:pt x="466" y="32"/>
                  </a:lnTo>
                  <a:close/>
                  <a:moveTo>
                    <a:pt x="902" y="195"/>
                  </a:moveTo>
                  <a:lnTo>
                    <a:pt x="902" y="195"/>
                  </a:lnTo>
                  <a:lnTo>
                    <a:pt x="902" y="193"/>
                  </a:lnTo>
                  <a:lnTo>
                    <a:pt x="901" y="191"/>
                  </a:lnTo>
                  <a:lnTo>
                    <a:pt x="901" y="190"/>
                  </a:lnTo>
                  <a:lnTo>
                    <a:pt x="901" y="190"/>
                  </a:lnTo>
                  <a:lnTo>
                    <a:pt x="900" y="188"/>
                  </a:lnTo>
                  <a:lnTo>
                    <a:pt x="898" y="186"/>
                  </a:lnTo>
                  <a:lnTo>
                    <a:pt x="898" y="186"/>
                  </a:lnTo>
                  <a:lnTo>
                    <a:pt x="898" y="185"/>
                  </a:lnTo>
                  <a:lnTo>
                    <a:pt x="897" y="184"/>
                  </a:lnTo>
                  <a:lnTo>
                    <a:pt x="896" y="184"/>
                  </a:lnTo>
                  <a:lnTo>
                    <a:pt x="895" y="183"/>
                  </a:lnTo>
                  <a:lnTo>
                    <a:pt x="893" y="183"/>
                  </a:lnTo>
                  <a:lnTo>
                    <a:pt x="893" y="183"/>
                  </a:lnTo>
                  <a:lnTo>
                    <a:pt x="892" y="182"/>
                  </a:lnTo>
                  <a:lnTo>
                    <a:pt x="471" y="2"/>
                  </a:lnTo>
                  <a:lnTo>
                    <a:pt x="469" y="0"/>
                  </a:lnTo>
                  <a:lnTo>
                    <a:pt x="466" y="0"/>
                  </a:lnTo>
                  <a:lnTo>
                    <a:pt x="463" y="0"/>
                  </a:lnTo>
                  <a:lnTo>
                    <a:pt x="461" y="2"/>
                  </a:lnTo>
                  <a:lnTo>
                    <a:pt x="10" y="182"/>
                  </a:lnTo>
                  <a:lnTo>
                    <a:pt x="9" y="182"/>
                  </a:lnTo>
                  <a:lnTo>
                    <a:pt x="9" y="183"/>
                  </a:lnTo>
                  <a:lnTo>
                    <a:pt x="8" y="183"/>
                  </a:lnTo>
                  <a:lnTo>
                    <a:pt x="6" y="184"/>
                  </a:lnTo>
                  <a:lnTo>
                    <a:pt x="5" y="184"/>
                  </a:lnTo>
                  <a:lnTo>
                    <a:pt x="4" y="185"/>
                  </a:lnTo>
                  <a:lnTo>
                    <a:pt x="4" y="185"/>
                  </a:lnTo>
                  <a:lnTo>
                    <a:pt x="4" y="186"/>
                  </a:lnTo>
                  <a:lnTo>
                    <a:pt x="2" y="187"/>
                  </a:lnTo>
                  <a:lnTo>
                    <a:pt x="1" y="189"/>
                  </a:lnTo>
                  <a:lnTo>
                    <a:pt x="1" y="190"/>
                  </a:lnTo>
                  <a:lnTo>
                    <a:pt x="1" y="190"/>
                  </a:lnTo>
                  <a:lnTo>
                    <a:pt x="0" y="192"/>
                  </a:lnTo>
                  <a:lnTo>
                    <a:pt x="0" y="195"/>
                  </a:lnTo>
                  <a:lnTo>
                    <a:pt x="0" y="195"/>
                  </a:lnTo>
                  <a:lnTo>
                    <a:pt x="0" y="195"/>
                  </a:lnTo>
                  <a:lnTo>
                    <a:pt x="0" y="195"/>
                  </a:lnTo>
                  <a:lnTo>
                    <a:pt x="0" y="195"/>
                  </a:lnTo>
                  <a:lnTo>
                    <a:pt x="0" y="676"/>
                  </a:lnTo>
                  <a:lnTo>
                    <a:pt x="0" y="681"/>
                  </a:lnTo>
                  <a:lnTo>
                    <a:pt x="2" y="685"/>
                  </a:lnTo>
                  <a:lnTo>
                    <a:pt x="5" y="688"/>
                  </a:lnTo>
                  <a:lnTo>
                    <a:pt x="9" y="690"/>
                  </a:lnTo>
                  <a:lnTo>
                    <a:pt x="460" y="901"/>
                  </a:lnTo>
                  <a:lnTo>
                    <a:pt x="460" y="901"/>
                  </a:lnTo>
                  <a:lnTo>
                    <a:pt x="461" y="901"/>
                  </a:lnTo>
                  <a:lnTo>
                    <a:pt x="463" y="902"/>
                  </a:lnTo>
                  <a:lnTo>
                    <a:pt x="466" y="902"/>
                  </a:lnTo>
                  <a:lnTo>
                    <a:pt x="469" y="902"/>
                  </a:lnTo>
                  <a:lnTo>
                    <a:pt x="472" y="901"/>
                  </a:lnTo>
                  <a:lnTo>
                    <a:pt x="472" y="901"/>
                  </a:lnTo>
                  <a:lnTo>
                    <a:pt x="472" y="900"/>
                  </a:lnTo>
                  <a:lnTo>
                    <a:pt x="893" y="690"/>
                  </a:lnTo>
                  <a:lnTo>
                    <a:pt x="897" y="688"/>
                  </a:lnTo>
                  <a:lnTo>
                    <a:pt x="900" y="685"/>
                  </a:lnTo>
                  <a:lnTo>
                    <a:pt x="901" y="681"/>
                  </a:lnTo>
                  <a:lnTo>
                    <a:pt x="902" y="676"/>
                  </a:lnTo>
                  <a:lnTo>
                    <a:pt x="902" y="195"/>
                  </a:lnTo>
                  <a:lnTo>
                    <a:pt x="902" y="195"/>
                  </a:lnTo>
                  <a:lnTo>
                    <a:pt x="902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7" name="Freeform 98"/>
            <p:cNvSpPr>
              <a:spLocks noEditPoints="1"/>
            </p:cNvSpPr>
            <p:nvPr/>
          </p:nvSpPr>
          <p:spPr bwMode="auto">
            <a:xfrm>
              <a:off x="8774113" y="2041525"/>
              <a:ext cx="77788" cy="100013"/>
            </a:xfrm>
            <a:custGeom>
              <a:avLst/>
              <a:gdLst>
                <a:gd name="T0" fmla="*/ 211 w 241"/>
                <a:gd name="T1" fmla="*/ 278 h 315"/>
                <a:gd name="T2" fmla="*/ 30 w 241"/>
                <a:gd name="T3" fmla="*/ 201 h 315"/>
                <a:gd name="T4" fmla="*/ 30 w 241"/>
                <a:gd name="T5" fmla="*/ 38 h 315"/>
                <a:gd name="T6" fmla="*/ 211 w 241"/>
                <a:gd name="T7" fmla="*/ 115 h 315"/>
                <a:gd name="T8" fmla="*/ 211 w 241"/>
                <a:gd name="T9" fmla="*/ 278 h 315"/>
                <a:gd name="T10" fmla="*/ 231 w 241"/>
                <a:gd name="T11" fmla="*/ 92 h 315"/>
                <a:gd name="T12" fmla="*/ 21 w 241"/>
                <a:gd name="T13" fmla="*/ 2 h 315"/>
                <a:gd name="T14" fmla="*/ 17 w 241"/>
                <a:gd name="T15" fmla="*/ 0 h 315"/>
                <a:gd name="T16" fmla="*/ 14 w 241"/>
                <a:gd name="T17" fmla="*/ 0 h 315"/>
                <a:gd name="T18" fmla="*/ 11 w 241"/>
                <a:gd name="T19" fmla="*/ 0 h 315"/>
                <a:gd name="T20" fmla="*/ 6 w 241"/>
                <a:gd name="T21" fmla="*/ 3 h 315"/>
                <a:gd name="T22" fmla="*/ 4 w 241"/>
                <a:gd name="T23" fmla="*/ 5 h 315"/>
                <a:gd name="T24" fmla="*/ 2 w 241"/>
                <a:gd name="T25" fmla="*/ 8 h 315"/>
                <a:gd name="T26" fmla="*/ 1 w 241"/>
                <a:gd name="T27" fmla="*/ 11 h 315"/>
                <a:gd name="T28" fmla="*/ 0 w 241"/>
                <a:gd name="T29" fmla="*/ 15 h 315"/>
                <a:gd name="T30" fmla="*/ 0 w 241"/>
                <a:gd name="T31" fmla="*/ 210 h 315"/>
                <a:gd name="T32" fmla="*/ 1 w 241"/>
                <a:gd name="T33" fmla="*/ 215 h 315"/>
                <a:gd name="T34" fmla="*/ 2 w 241"/>
                <a:gd name="T35" fmla="*/ 219 h 315"/>
                <a:gd name="T36" fmla="*/ 5 w 241"/>
                <a:gd name="T37" fmla="*/ 222 h 315"/>
                <a:gd name="T38" fmla="*/ 10 w 241"/>
                <a:gd name="T39" fmla="*/ 224 h 315"/>
                <a:gd name="T40" fmla="*/ 220 w 241"/>
                <a:gd name="T41" fmla="*/ 314 h 315"/>
                <a:gd name="T42" fmla="*/ 223 w 241"/>
                <a:gd name="T43" fmla="*/ 315 h 315"/>
                <a:gd name="T44" fmla="*/ 226 w 241"/>
                <a:gd name="T45" fmla="*/ 315 h 315"/>
                <a:gd name="T46" fmla="*/ 230 w 241"/>
                <a:gd name="T47" fmla="*/ 315 h 315"/>
                <a:gd name="T48" fmla="*/ 234 w 241"/>
                <a:gd name="T49" fmla="*/ 313 h 315"/>
                <a:gd name="T50" fmla="*/ 237 w 241"/>
                <a:gd name="T51" fmla="*/ 311 h 315"/>
                <a:gd name="T52" fmla="*/ 239 w 241"/>
                <a:gd name="T53" fmla="*/ 308 h 315"/>
                <a:gd name="T54" fmla="*/ 240 w 241"/>
                <a:gd name="T55" fmla="*/ 305 h 315"/>
                <a:gd name="T56" fmla="*/ 241 w 241"/>
                <a:gd name="T57" fmla="*/ 300 h 315"/>
                <a:gd name="T58" fmla="*/ 241 w 241"/>
                <a:gd name="T59" fmla="*/ 105 h 315"/>
                <a:gd name="T60" fmla="*/ 240 w 241"/>
                <a:gd name="T61" fmla="*/ 101 h 315"/>
                <a:gd name="T62" fmla="*/ 238 w 241"/>
                <a:gd name="T63" fmla="*/ 97 h 315"/>
                <a:gd name="T64" fmla="*/ 236 w 241"/>
                <a:gd name="T65" fmla="*/ 94 h 315"/>
                <a:gd name="T66" fmla="*/ 231 w 241"/>
                <a:gd name="T67" fmla="*/ 92 h 315"/>
                <a:gd name="T68" fmla="*/ 231 w 241"/>
                <a:gd name="T69" fmla="*/ 92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41" h="315">
                  <a:moveTo>
                    <a:pt x="211" y="278"/>
                  </a:moveTo>
                  <a:lnTo>
                    <a:pt x="30" y="201"/>
                  </a:lnTo>
                  <a:lnTo>
                    <a:pt x="30" y="38"/>
                  </a:lnTo>
                  <a:lnTo>
                    <a:pt x="211" y="115"/>
                  </a:lnTo>
                  <a:lnTo>
                    <a:pt x="211" y="278"/>
                  </a:lnTo>
                  <a:close/>
                  <a:moveTo>
                    <a:pt x="231" y="92"/>
                  </a:moveTo>
                  <a:lnTo>
                    <a:pt x="21" y="2"/>
                  </a:lnTo>
                  <a:lnTo>
                    <a:pt x="17" y="0"/>
                  </a:lnTo>
                  <a:lnTo>
                    <a:pt x="14" y="0"/>
                  </a:lnTo>
                  <a:lnTo>
                    <a:pt x="11" y="0"/>
                  </a:lnTo>
                  <a:lnTo>
                    <a:pt x="6" y="3"/>
                  </a:lnTo>
                  <a:lnTo>
                    <a:pt x="4" y="5"/>
                  </a:lnTo>
                  <a:lnTo>
                    <a:pt x="2" y="8"/>
                  </a:lnTo>
                  <a:lnTo>
                    <a:pt x="1" y="11"/>
                  </a:lnTo>
                  <a:lnTo>
                    <a:pt x="0" y="15"/>
                  </a:lnTo>
                  <a:lnTo>
                    <a:pt x="0" y="210"/>
                  </a:lnTo>
                  <a:lnTo>
                    <a:pt x="1" y="215"/>
                  </a:lnTo>
                  <a:lnTo>
                    <a:pt x="2" y="219"/>
                  </a:lnTo>
                  <a:lnTo>
                    <a:pt x="5" y="222"/>
                  </a:lnTo>
                  <a:lnTo>
                    <a:pt x="10" y="224"/>
                  </a:lnTo>
                  <a:lnTo>
                    <a:pt x="220" y="314"/>
                  </a:lnTo>
                  <a:lnTo>
                    <a:pt x="223" y="315"/>
                  </a:lnTo>
                  <a:lnTo>
                    <a:pt x="226" y="315"/>
                  </a:lnTo>
                  <a:lnTo>
                    <a:pt x="230" y="315"/>
                  </a:lnTo>
                  <a:lnTo>
                    <a:pt x="234" y="313"/>
                  </a:lnTo>
                  <a:lnTo>
                    <a:pt x="237" y="311"/>
                  </a:lnTo>
                  <a:lnTo>
                    <a:pt x="239" y="308"/>
                  </a:lnTo>
                  <a:lnTo>
                    <a:pt x="240" y="305"/>
                  </a:lnTo>
                  <a:lnTo>
                    <a:pt x="241" y="300"/>
                  </a:lnTo>
                  <a:lnTo>
                    <a:pt x="241" y="105"/>
                  </a:lnTo>
                  <a:lnTo>
                    <a:pt x="240" y="101"/>
                  </a:lnTo>
                  <a:lnTo>
                    <a:pt x="238" y="97"/>
                  </a:lnTo>
                  <a:lnTo>
                    <a:pt x="236" y="94"/>
                  </a:lnTo>
                  <a:lnTo>
                    <a:pt x="231" y="92"/>
                  </a:lnTo>
                  <a:lnTo>
                    <a:pt x="231" y="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28" name="Group 327"/>
          <p:cNvGrpSpPr/>
          <p:nvPr/>
        </p:nvGrpSpPr>
        <p:grpSpPr>
          <a:xfrm>
            <a:off x="8134763" y="3748356"/>
            <a:ext cx="285750" cy="201613"/>
            <a:chOff x="8164513" y="2584450"/>
            <a:chExt cx="285750" cy="201613"/>
          </a:xfrm>
          <a:solidFill>
            <a:schemeClr val="bg1"/>
          </a:solidFill>
        </p:grpSpPr>
        <p:sp>
          <p:nvSpPr>
            <p:cNvPr id="329" name="Freeform 106"/>
            <p:cNvSpPr>
              <a:spLocks noEditPoints="1"/>
            </p:cNvSpPr>
            <p:nvPr/>
          </p:nvSpPr>
          <p:spPr bwMode="auto">
            <a:xfrm>
              <a:off x="8164513" y="2584450"/>
              <a:ext cx="285750" cy="201613"/>
            </a:xfrm>
            <a:custGeom>
              <a:avLst/>
              <a:gdLst>
                <a:gd name="T0" fmla="*/ 806 w 902"/>
                <a:gd name="T1" fmla="*/ 508 h 631"/>
                <a:gd name="T2" fmla="*/ 872 w 902"/>
                <a:gd name="T3" fmla="*/ 481 h 631"/>
                <a:gd name="T4" fmla="*/ 709 w 902"/>
                <a:gd name="T5" fmla="*/ 600 h 631"/>
                <a:gd name="T6" fmla="*/ 683 w 902"/>
                <a:gd name="T7" fmla="*/ 587 h 631"/>
                <a:gd name="T8" fmla="*/ 666 w 902"/>
                <a:gd name="T9" fmla="*/ 565 h 631"/>
                <a:gd name="T10" fmla="*/ 661 w 902"/>
                <a:gd name="T11" fmla="*/ 535 h 631"/>
                <a:gd name="T12" fmla="*/ 672 w 902"/>
                <a:gd name="T13" fmla="*/ 508 h 631"/>
                <a:gd name="T14" fmla="*/ 693 w 902"/>
                <a:gd name="T15" fmla="*/ 489 h 631"/>
                <a:gd name="T16" fmla="*/ 721 w 902"/>
                <a:gd name="T17" fmla="*/ 481 h 631"/>
                <a:gd name="T18" fmla="*/ 750 w 902"/>
                <a:gd name="T19" fmla="*/ 489 h 631"/>
                <a:gd name="T20" fmla="*/ 771 w 902"/>
                <a:gd name="T21" fmla="*/ 508 h 631"/>
                <a:gd name="T22" fmla="*/ 781 w 902"/>
                <a:gd name="T23" fmla="*/ 535 h 631"/>
                <a:gd name="T24" fmla="*/ 777 w 902"/>
                <a:gd name="T25" fmla="*/ 565 h 631"/>
                <a:gd name="T26" fmla="*/ 760 w 902"/>
                <a:gd name="T27" fmla="*/ 587 h 631"/>
                <a:gd name="T28" fmla="*/ 734 w 902"/>
                <a:gd name="T29" fmla="*/ 600 h 631"/>
                <a:gd name="T30" fmla="*/ 269 w 902"/>
                <a:gd name="T31" fmla="*/ 524 h 631"/>
                <a:gd name="T32" fmla="*/ 252 w 902"/>
                <a:gd name="T33" fmla="*/ 488 h 631"/>
                <a:gd name="T34" fmla="*/ 641 w 902"/>
                <a:gd name="T35" fmla="*/ 501 h 631"/>
                <a:gd name="T36" fmla="*/ 631 w 902"/>
                <a:gd name="T37" fmla="*/ 541 h 631"/>
                <a:gd name="T38" fmla="*/ 162 w 902"/>
                <a:gd name="T39" fmla="*/ 599 h 631"/>
                <a:gd name="T40" fmla="*/ 137 w 902"/>
                <a:gd name="T41" fmla="*/ 584 h 631"/>
                <a:gd name="T42" fmla="*/ 122 w 902"/>
                <a:gd name="T43" fmla="*/ 560 h 631"/>
                <a:gd name="T44" fmla="*/ 121 w 902"/>
                <a:gd name="T45" fmla="*/ 530 h 631"/>
                <a:gd name="T46" fmla="*/ 134 w 902"/>
                <a:gd name="T47" fmla="*/ 503 h 631"/>
                <a:gd name="T48" fmla="*/ 156 w 902"/>
                <a:gd name="T49" fmla="*/ 486 h 631"/>
                <a:gd name="T50" fmla="*/ 186 w 902"/>
                <a:gd name="T51" fmla="*/ 481 h 631"/>
                <a:gd name="T52" fmla="*/ 213 w 902"/>
                <a:gd name="T53" fmla="*/ 491 h 631"/>
                <a:gd name="T54" fmla="*/ 232 w 902"/>
                <a:gd name="T55" fmla="*/ 512 h 631"/>
                <a:gd name="T56" fmla="*/ 240 w 902"/>
                <a:gd name="T57" fmla="*/ 541 h 631"/>
                <a:gd name="T58" fmla="*/ 232 w 902"/>
                <a:gd name="T59" fmla="*/ 570 h 631"/>
                <a:gd name="T60" fmla="*/ 213 w 902"/>
                <a:gd name="T61" fmla="*/ 591 h 631"/>
                <a:gd name="T62" fmla="*/ 186 w 902"/>
                <a:gd name="T63" fmla="*/ 601 h 631"/>
                <a:gd name="T64" fmla="*/ 108 w 902"/>
                <a:gd name="T65" fmla="*/ 488 h 631"/>
                <a:gd name="T66" fmla="*/ 91 w 902"/>
                <a:gd name="T67" fmla="*/ 524 h 631"/>
                <a:gd name="T68" fmla="*/ 117 w 902"/>
                <a:gd name="T69" fmla="*/ 265 h 631"/>
                <a:gd name="T70" fmla="*/ 30 w 902"/>
                <a:gd name="T71" fmla="*/ 451 h 631"/>
                <a:gd name="T72" fmla="*/ 872 w 902"/>
                <a:gd name="T73" fmla="*/ 451 h 631"/>
                <a:gd name="T74" fmla="*/ 887 w 902"/>
                <a:gd name="T75" fmla="*/ 0 h 631"/>
                <a:gd name="T76" fmla="*/ 365 w 902"/>
                <a:gd name="T77" fmla="*/ 5 h 631"/>
                <a:gd name="T78" fmla="*/ 361 w 902"/>
                <a:gd name="T79" fmla="*/ 90 h 631"/>
                <a:gd name="T80" fmla="*/ 182 w 902"/>
                <a:gd name="T81" fmla="*/ 98 h 631"/>
                <a:gd name="T82" fmla="*/ 0 w 902"/>
                <a:gd name="T83" fmla="*/ 327 h 631"/>
                <a:gd name="T84" fmla="*/ 2 w 902"/>
                <a:gd name="T85" fmla="*/ 565 h 631"/>
                <a:gd name="T86" fmla="*/ 15 w 902"/>
                <a:gd name="T87" fmla="*/ 571 h 631"/>
                <a:gd name="T88" fmla="*/ 128 w 902"/>
                <a:gd name="T89" fmla="*/ 614 h 631"/>
                <a:gd name="T90" fmla="*/ 172 w 902"/>
                <a:gd name="T91" fmla="*/ 631 h 631"/>
                <a:gd name="T92" fmla="*/ 208 w 902"/>
                <a:gd name="T93" fmla="*/ 627 h 631"/>
                <a:gd name="T94" fmla="*/ 259 w 902"/>
                <a:gd name="T95" fmla="*/ 584 h 631"/>
                <a:gd name="T96" fmla="*/ 659 w 902"/>
                <a:gd name="T97" fmla="*/ 606 h 631"/>
                <a:gd name="T98" fmla="*/ 707 w 902"/>
                <a:gd name="T99" fmla="*/ 630 h 631"/>
                <a:gd name="T100" fmla="*/ 742 w 902"/>
                <a:gd name="T101" fmla="*/ 629 h 631"/>
                <a:gd name="T102" fmla="*/ 793 w 902"/>
                <a:gd name="T103" fmla="*/ 596 h 631"/>
                <a:gd name="T104" fmla="*/ 892 w 902"/>
                <a:gd name="T105" fmla="*/ 570 h 631"/>
                <a:gd name="T106" fmla="*/ 901 w 902"/>
                <a:gd name="T107" fmla="*/ 560 h 631"/>
                <a:gd name="T108" fmla="*/ 899 w 902"/>
                <a:gd name="T109" fmla="*/ 7 h 631"/>
                <a:gd name="T110" fmla="*/ 887 w 902"/>
                <a:gd name="T111" fmla="*/ 0 h 6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902" h="631">
                  <a:moveTo>
                    <a:pt x="812" y="541"/>
                  </a:moveTo>
                  <a:lnTo>
                    <a:pt x="811" y="533"/>
                  </a:lnTo>
                  <a:lnTo>
                    <a:pt x="810" y="524"/>
                  </a:lnTo>
                  <a:lnTo>
                    <a:pt x="808" y="517"/>
                  </a:lnTo>
                  <a:lnTo>
                    <a:pt x="806" y="508"/>
                  </a:lnTo>
                  <a:lnTo>
                    <a:pt x="802" y="501"/>
                  </a:lnTo>
                  <a:lnTo>
                    <a:pt x="798" y="494"/>
                  </a:lnTo>
                  <a:lnTo>
                    <a:pt x="794" y="488"/>
                  </a:lnTo>
                  <a:lnTo>
                    <a:pt x="788" y="481"/>
                  </a:lnTo>
                  <a:lnTo>
                    <a:pt x="872" y="481"/>
                  </a:lnTo>
                  <a:lnTo>
                    <a:pt x="872" y="541"/>
                  </a:lnTo>
                  <a:lnTo>
                    <a:pt x="812" y="541"/>
                  </a:lnTo>
                  <a:close/>
                  <a:moveTo>
                    <a:pt x="721" y="601"/>
                  </a:moveTo>
                  <a:lnTo>
                    <a:pt x="716" y="601"/>
                  </a:lnTo>
                  <a:lnTo>
                    <a:pt x="709" y="600"/>
                  </a:lnTo>
                  <a:lnTo>
                    <a:pt x="704" y="599"/>
                  </a:lnTo>
                  <a:lnTo>
                    <a:pt x="697" y="597"/>
                  </a:lnTo>
                  <a:lnTo>
                    <a:pt x="693" y="594"/>
                  </a:lnTo>
                  <a:lnTo>
                    <a:pt x="688" y="591"/>
                  </a:lnTo>
                  <a:lnTo>
                    <a:pt x="683" y="587"/>
                  </a:lnTo>
                  <a:lnTo>
                    <a:pt x="679" y="584"/>
                  </a:lnTo>
                  <a:lnTo>
                    <a:pt x="675" y="580"/>
                  </a:lnTo>
                  <a:lnTo>
                    <a:pt x="672" y="575"/>
                  </a:lnTo>
                  <a:lnTo>
                    <a:pt x="668" y="570"/>
                  </a:lnTo>
                  <a:lnTo>
                    <a:pt x="666" y="565"/>
                  </a:lnTo>
                  <a:lnTo>
                    <a:pt x="664" y="560"/>
                  </a:lnTo>
                  <a:lnTo>
                    <a:pt x="662" y="553"/>
                  </a:lnTo>
                  <a:lnTo>
                    <a:pt x="661" y="548"/>
                  </a:lnTo>
                  <a:lnTo>
                    <a:pt x="661" y="541"/>
                  </a:lnTo>
                  <a:lnTo>
                    <a:pt x="661" y="535"/>
                  </a:lnTo>
                  <a:lnTo>
                    <a:pt x="662" y="530"/>
                  </a:lnTo>
                  <a:lnTo>
                    <a:pt x="664" y="523"/>
                  </a:lnTo>
                  <a:lnTo>
                    <a:pt x="666" y="518"/>
                  </a:lnTo>
                  <a:lnTo>
                    <a:pt x="668" y="512"/>
                  </a:lnTo>
                  <a:lnTo>
                    <a:pt x="672" y="508"/>
                  </a:lnTo>
                  <a:lnTo>
                    <a:pt x="675" y="503"/>
                  </a:lnTo>
                  <a:lnTo>
                    <a:pt x="679" y="499"/>
                  </a:lnTo>
                  <a:lnTo>
                    <a:pt x="683" y="495"/>
                  </a:lnTo>
                  <a:lnTo>
                    <a:pt x="688" y="491"/>
                  </a:lnTo>
                  <a:lnTo>
                    <a:pt x="693" y="489"/>
                  </a:lnTo>
                  <a:lnTo>
                    <a:pt x="697" y="486"/>
                  </a:lnTo>
                  <a:lnTo>
                    <a:pt x="704" y="484"/>
                  </a:lnTo>
                  <a:lnTo>
                    <a:pt x="709" y="482"/>
                  </a:lnTo>
                  <a:lnTo>
                    <a:pt x="716" y="481"/>
                  </a:lnTo>
                  <a:lnTo>
                    <a:pt x="721" y="481"/>
                  </a:lnTo>
                  <a:lnTo>
                    <a:pt x="727" y="481"/>
                  </a:lnTo>
                  <a:lnTo>
                    <a:pt x="734" y="482"/>
                  </a:lnTo>
                  <a:lnTo>
                    <a:pt x="739" y="484"/>
                  </a:lnTo>
                  <a:lnTo>
                    <a:pt x="745" y="486"/>
                  </a:lnTo>
                  <a:lnTo>
                    <a:pt x="750" y="489"/>
                  </a:lnTo>
                  <a:lnTo>
                    <a:pt x="755" y="491"/>
                  </a:lnTo>
                  <a:lnTo>
                    <a:pt x="760" y="495"/>
                  </a:lnTo>
                  <a:lnTo>
                    <a:pt x="764" y="499"/>
                  </a:lnTo>
                  <a:lnTo>
                    <a:pt x="768" y="503"/>
                  </a:lnTo>
                  <a:lnTo>
                    <a:pt x="771" y="508"/>
                  </a:lnTo>
                  <a:lnTo>
                    <a:pt x="775" y="512"/>
                  </a:lnTo>
                  <a:lnTo>
                    <a:pt x="777" y="518"/>
                  </a:lnTo>
                  <a:lnTo>
                    <a:pt x="779" y="523"/>
                  </a:lnTo>
                  <a:lnTo>
                    <a:pt x="780" y="530"/>
                  </a:lnTo>
                  <a:lnTo>
                    <a:pt x="781" y="535"/>
                  </a:lnTo>
                  <a:lnTo>
                    <a:pt x="781" y="541"/>
                  </a:lnTo>
                  <a:lnTo>
                    <a:pt x="781" y="548"/>
                  </a:lnTo>
                  <a:lnTo>
                    <a:pt x="780" y="553"/>
                  </a:lnTo>
                  <a:lnTo>
                    <a:pt x="779" y="560"/>
                  </a:lnTo>
                  <a:lnTo>
                    <a:pt x="777" y="565"/>
                  </a:lnTo>
                  <a:lnTo>
                    <a:pt x="775" y="570"/>
                  </a:lnTo>
                  <a:lnTo>
                    <a:pt x="771" y="575"/>
                  </a:lnTo>
                  <a:lnTo>
                    <a:pt x="768" y="580"/>
                  </a:lnTo>
                  <a:lnTo>
                    <a:pt x="764" y="584"/>
                  </a:lnTo>
                  <a:lnTo>
                    <a:pt x="760" y="587"/>
                  </a:lnTo>
                  <a:lnTo>
                    <a:pt x="755" y="591"/>
                  </a:lnTo>
                  <a:lnTo>
                    <a:pt x="750" y="594"/>
                  </a:lnTo>
                  <a:lnTo>
                    <a:pt x="745" y="597"/>
                  </a:lnTo>
                  <a:lnTo>
                    <a:pt x="739" y="599"/>
                  </a:lnTo>
                  <a:lnTo>
                    <a:pt x="734" y="600"/>
                  </a:lnTo>
                  <a:lnTo>
                    <a:pt x="727" y="601"/>
                  </a:lnTo>
                  <a:lnTo>
                    <a:pt x="721" y="601"/>
                  </a:lnTo>
                  <a:close/>
                  <a:moveTo>
                    <a:pt x="270" y="541"/>
                  </a:moveTo>
                  <a:lnTo>
                    <a:pt x="270" y="533"/>
                  </a:lnTo>
                  <a:lnTo>
                    <a:pt x="269" y="524"/>
                  </a:lnTo>
                  <a:lnTo>
                    <a:pt x="267" y="517"/>
                  </a:lnTo>
                  <a:lnTo>
                    <a:pt x="264" y="508"/>
                  </a:lnTo>
                  <a:lnTo>
                    <a:pt x="260" y="501"/>
                  </a:lnTo>
                  <a:lnTo>
                    <a:pt x="257" y="494"/>
                  </a:lnTo>
                  <a:lnTo>
                    <a:pt x="252" y="488"/>
                  </a:lnTo>
                  <a:lnTo>
                    <a:pt x="247" y="481"/>
                  </a:lnTo>
                  <a:lnTo>
                    <a:pt x="655" y="481"/>
                  </a:lnTo>
                  <a:lnTo>
                    <a:pt x="649" y="488"/>
                  </a:lnTo>
                  <a:lnTo>
                    <a:pt x="645" y="494"/>
                  </a:lnTo>
                  <a:lnTo>
                    <a:pt x="641" y="501"/>
                  </a:lnTo>
                  <a:lnTo>
                    <a:pt x="637" y="508"/>
                  </a:lnTo>
                  <a:lnTo>
                    <a:pt x="634" y="517"/>
                  </a:lnTo>
                  <a:lnTo>
                    <a:pt x="633" y="524"/>
                  </a:lnTo>
                  <a:lnTo>
                    <a:pt x="632" y="533"/>
                  </a:lnTo>
                  <a:lnTo>
                    <a:pt x="631" y="541"/>
                  </a:lnTo>
                  <a:lnTo>
                    <a:pt x="270" y="541"/>
                  </a:lnTo>
                  <a:close/>
                  <a:moveTo>
                    <a:pt x="180" y="601"/>
                  </a:moveTo>
                  <a:lnTo>
                    <a:pt x="174" y="601"/>
                  </a:lnTo>
                  <a:lnTo>
                    <a:pt x="168" y="600"/>
                  </a:lnTo>
                  <a:lnTo>
                    <a:pt x="162" y="599"/>
                  </a:lnTo>
                  <a:lnTo>
                    <a:pt x="156" y="597"/>
                  </a:lnTo>
                  <a:lnTo>
                    <a:pt x="151" y="594"/>
                  </a:lnTo>
                  <a:lnTo>
                    <a:pt x="147" y="591"/>
                  </a:lnTo>
                  <a:lnTo>
                    <a:pt x="141" y="587"/>
                  </a:lnTo>
                  <a:lnTo>
                    <a:pt x="137" y="584"/>
                  </a:lnTo>
                  <a:lnTo>
                    <a:pt x="134" y="580"/>
                  </a:lnTo>
                  <a:lnTo>
                    <a:pt x="131" y="575"/>
                  </a:lnTo>
                  <a:lnTo>
                    <a:pt x="128" y="570"/>
                  </a:lnTo>
                  <a:lnTo>
                    <a:pt x="124" y="565"/>
                  </a:lnTo>
                  <a:lnTo>
                    <a:pt x="122" y="560"/>
                  </a:lnTo>
                  <a:lnTo>
                    <a:pt x="121" y="553"/>
                  </a:lnTo>
                  <a:lnTo>
                    <a:pt x="120" y="548"/>
                  </a:lnTo>
                  <a:lnTo>
                    <a:pt x="120" y="541"/>
                  </a:lnTo>
                  <a:lnTo>
                    <a:pt x="120" y="535"/>
                  </a:lnTo>
                  <a:lnTo>
                    <a:pt x="121" y="530"/>
                  </a:lnTo>
                  <a:lnTo>
                    <a:pt x="122" y="523"/>
                  </a:lnTo>
                  <a:lnTo>
                    <a:pt x="124" y="518"/>
                  </a:lnTo>
                  <a:lnTo>
                    <a:pt x="128" y="512"/>
                  </a:lnTo>
                  <a:lnTo>
                    <a:pt x="131" y="508"/>
                  </a:lnTo>
                  <a:lnTo>
                    <a:pt x="134" y="503"/>
                  </a:lnTo>
                  <a:lnTo>
                    <a:pt x="137" y="499"/>
                  </a:lnTo>
                  <a:lnTo>
                    <a:pt x="141" y="495"/>
                  </a:lnTo>
                  <a:lnTo>
                    <a:pt x="147" y="491"/>
                  </a:lnTo>
                  <a:lnTo>
                    <a:pt x="151" y="489"/>
                  </a:lnTo>
                  <a:lnTo>
                    <a:pt x="156" y="486"/>
                  </a:lnTo>
                  <a:lnTo>
                    <a:pt x="162" y="484"/>
                  </a:lnTo>
                  <a:lnTo>
                    <a:pt x="168" y="482"/>
                  </a:lnTo>
                  <a:lnTo>
                    <a:pt x="174" y="481"/>
                  </a:lnTo>
                  <a:lnTo>
                    <a:pt x="180" y="481"/>
                  </a:lnTo>
                  <a:lnTo>
                    <a:pt x="186" y="481"/>
                  </a:lnTo>
                  <a:lnTo>
                    <a:pt x="192" y="482"/>
                  </a:lnTo>
                  <a:lnTo>
                    <a:pt x="198" y="484"/>
                  </a:lnTo>
                  <a:lnTo>
                    <a:pt x="204" y="486"/>
                  </a:lnTo>
                  <a:lnTo>
                    <a:pt x="209" y="489"/>
                  </a:lnTo>
                  <a:lnTo>
                    <a:pt x="213" y="491"/>
                  </a:lnTo>
                  <a:lnTo>
                    <a:pt x="219" y="495"/>
                  </a:lnTo>
                  <a:lnTo>
                    <a:pt x="223" y="499"/>
                  </a:lnTo>
                  <a:lnTo>
                    <a:pt x="226" y="503"/>
                  </a:lnTo>
                  <a:lnTo>
                    <a:pt x="230" y="508"/>
                  </a:lnTo>
                  <a:lnTo>
                    <a:pt x="232" y="512"/>
                  </a:lnTo>
                  <a:lnTo>
                    <a:pt x="236" y="518"/>
                  </a:lnTo>
                  <a:lnTo>
                    <a:pt x="238" y="523"/>
                  </a:lnTo>
                  <a:lnTo>
                    <a:pt x="239" y="530"/>
                  </a:lnTo>
                  <a:lnTo>
                    <a:pt x="240" y="535"/>
                  </a:lnTo>
                  <a:lnTo>
                    <a:pt x="240" y="541"/>
                  </a:lnTo>
                  <a:lnTo>
                    <a:pt x="240" y="548"/>
                  </a:lnTo>
                  <a:lnTo>
                    <a:pt x="239" y="553"/>
                  </a:lnTo>
                  <a:lnTo>
                    <a:pt x="238" y="560"/>
                  </a:lnTo>
                  <a:lnTo>
                    <a:pt x="236" y="565"/>
                  </a:lnTo>
                  <a:lnTo>
                    <a:pt x="232" y="570"/>
                  </a:lnTo>
                  <a:lnTo>
                    <a:pt x="230" y="575"/>
                  </a:lnTo>
                  <a:lnTo>
                    <a:pt x="226" y="580"/>
                  </a:lnTo>
                  <a:lnTo>
                    <a:pt x="223" y="584"/>
                  </a:lnTo>
                  <a:lnTo>
                    <a:pt x="219" y="587"/>
                  </a:lnTo>
                  <a:lnTo>
                    <a:pt x="213" y="591"/>
                  </a:lnTo>
                  <a:lnTo>
                    <a:pt x="209" y="594"/>
                  </a:lnTo>
                  <a:lnTo>
                    <a:pt x="204" y="597"/>
                  </a:lnTo>
                  <a:lnTo>
                    <a:pt x="198" y="599"/>
                  </a:lnTo>
                  <a:lnTo>
                    <a:pt x="192" y="600"/>
                  </a:lnTo>
                  <a:lnTo>
                    <a:pt x="186" y="601"/>
                  </a:lnTo>
                  <a:lnTo>
                    <a:pt x="180" y="601"/>
                  </a:lnTo>
                  <a:close/>
                  <a:moveTo>
                    <a:pt x="30" y="541"/>
                  </a:moveTo>
                  <a:lnTo>
                    <a:pt x="30" y="481"/>
                  </a:lnTo>
                  <a:lnTo>
                    <a:pt x="113" y="481"/>
                  </a:lnTo>
                  <a:lnTo>
                    <a:pt x="108" y="488"/>
                  </a:lnTo>
                  <a:lnTo>
                    <a:pt x="103" y="494"/>
                  </a:lnTo>
                  <a:lnTo>
                    <a:pt x="100" y="501"/>
                  </a:lnTo>
                  <a:lnTo>
                    <a:pt x="96" y="508"/>
                  </a:lnTo>
                  <a:lnTo>
                    <a:pt x="93" y="517"/>
                  </a:lnTo>
                  <a:lnTo>
                    <a:pt x="91" y="524"/>
                  </a:lnTo>
                  <a:lnTo>
                    <a:pt x="90" y="533"/>
                  </a:lnTo>
                  <a:lnTo>
                    <a:pt x="90" y="541"/>
                  </a:lnTo>
                  <a:lnTo>
                    <a:pt x="30" y="541"/>
                  </a:lnTo>
                  <a:close/>
                  <a:moveTo>
                    <a:pt x="115" y="267"/>
                  </a:moveTo>
                  <a:lnTo>
                    <a:pt x="117" y="265"/>
                  </a:lnTo>
                  <a:lnTo>
                    <a:pt x="118" y="264"/>
                  </a:lnTo>
                  <a:lnTo>
                    <a:pt x="204" y="120"/>
                  </a:lnTo>
                  <a:lnTo>
                    <a:pt x="361" y="120"/>
                  </a:lnTo>
                  <a:lnTo>
                    <a:pt x="361" y="451"/>
                  </a:lnTo>
                  <a:lnTo>
                    <a:pt x="30" y="451"/>
                  </a:lnTo>
                  <a:lnTo>
                    <a:pt x="30" y="338"/>
                  </a:lnTo>
                  <a:lnTo>
                    <a:pt x="115" y="267"/>
                  </a:lnTo>
                  <a:close/>
                  <a:moveTo>
                    <a:pt x="391" y="30"/>
                  </a:moveTo>
                  <a:lnTo>
                    <a:pt x="872" y="30"/>
                  </a:lnTo>
                  <a:lnTo>
                    <a:pt x="872" y="451"/>
                  </a:lnTo>
                  <a:lnTo>
                    <a:pt x="391" y="451"/>
                  </a:lnTo>
                  <a:lnTo>
                    <a:pt x="391" y="105"/>
                  </a:lnTo>
                  <a:lnTo>
                    <a:pt x="391" y="90"/>
                  </a:lnTo>
                  <a:lnTo>
                    <a:pt x="391" y="30"/>
                  </a:lnTo>
                  <a:close/>
                  <a:moveTo>
                    <a:pt x="887" y="0"/>
                  </a:moveTo>
                  <a:lnTo>
                    <a:pt x="376" y="0"/>
                  </a:lnTo>
                  <a:lnTo>
                    <a:pt x="373" y="0"/>
                  </a:lnTo>
                  <a:lnTo>
                    <a:pt x="370" y="1"/>
                  </a:lnTo>
                  <a:lnTo>
                    <a:pt x="367" y="3"/>
                  </a:lnTo>
                  <a:lnTo>
                    <a:pt x="365" y="5"/>
                  </a:lnTo>
                  <a:lnTo>
                    <a:pt x="363" y="7"/>
                  </a:lnTo>
                  <a:lnTo>
                    <a:pt x="362" y="9"/>
                  </a:lnTo>
                  <a:lnTo>
                    <a:pt x="361" y="12"/>
                  </a:lnTo>
                  <a:lnTo>
                    <a:pt x="360" y="15"/>
                  </a:lnTo>
                  <a:lnTo>
                    <a:pt x="361" y="90"/>
                  </a:lnTo>
                  <a:lnTo>
                    <a:pt x="195" y="90"/>
                  </a:lnTo>
                  <a:lnTo>
                    <a:pt x="192" y="90"/>
                  </a:lnTo>
                  <a:lnTo>
                    <a:pt x="187" y="93"/>
                  </a:lnTo>
                  <a:lnTo>
                    <a:pt x="184" y="95"/>
                  </a:lnTo>
                  <a:lnTo>
                    <a:pt x="182" y="98"/>
                  </a:lnTo>
                  <a:lnTo>
                    <a:pt x="93" y="246"/>
                  </a:lnTo>
                  <a:lnTo>
                    <a:pt x="5" y="320"/>
                  </a:lnTo>
                  <a:lnTo>
                    <a:pt x="3" y="322"/>
                  </a:lnTo>
                  <a:lnTo>
                    <a:pt x="1" y="324"/>
                  </a:lnTo>
                  <a:lnTo>
                    <a:pt x="0" y="327"/>
                  </a:lnTo>
                  <a:lnTo>
                    <a:pt x="0" y="330"/>
                  </a:lnTo>
                  <a:lnTo>
                    <a:pt x="0" y="556"/>
                  </a:lnTo>
                  <a:lnTo>
                    <a:pt x="0" y="560"/>
                  </a:lnTo>
                  <a:lnTo>
                    <a:pt x="1" y="562"/>
                  </a:lnTo>
                  <a:lnTo>
                    <a:pt x="2" y="565"/>
                  </a:lnTo>
                  <a:lnTo>
                    <a:pt x="4" y="567"/>
                  </a:lnTo>
                  <a:lnTo>
                    <a:pt x="6" y="569"/>
                  </a:lnTo>
                  <a:lnTo>
                    <a:pt x="9" y="570"/>
                  </a:lnTo>
                  <a:lnTo>
                    <a:pt x="12" y="571"/>
                  </a:lnTo>
                  <a:lnTo>
                    <a:pt x="15" y="571"/>
                  </a:lnTo>
                  <a:lnTo>
                    <a:pt x="95" y="571"/>
                  </a:lnTo>
                  <a:lnTo>
                    <a:pt x="101" y="584"/>
                  </a:lnTo>
                  <a:lnTo>
                    <a:pt x="108" y="596"/>
                  </a:lnTo>
                  <a:lnTo>
                    <a:pt x="117" y="606"/>
                  </a:lnTo>
                  <a:lnTo>
                    <a:pt x="128" y="614"/>
                  </a:lnTo>
                  <a:lnTo>
                    <a:pt x="139" y="622"/>
                  </a:lnTo>
                  <a:lnTo>
                    <a:pt x="152" y="627"/>
                  </a:lnTo>
                  <a:lnTo>
                    <a:pt x="159" y="629"/>
                  </a:lnTo>
                  <a:lnTo>
                    <a:pt x="166" y="630"/>
                  </a:lnTo>
                  <a:lnTo>
                    <a:pt x="172" y="631"/>
                  </a:lnTo>
                  <a:lnTo>
                    <a:pt x="180" y="631"/>
                  </a:lnTo>
                  <a:lnTo>
                    <a:pt x="187" y="631"/>
                  </a:lnTo>
                  <a:lnTo>
                    <a:pt x="195" y="630"/>
                  </a:lnTo>
                  <a:lnTo>
                    <a:pt x="201" y="629"/>
                  </a:lnTo>
                  <a:lnTo>
                    <a:pt x="208" y="627"/>
                  </a:lnTo>
                  <a:lnTo>
                    <a:pt x="221" y="622"/>
                  </a:lnTo>
                  <a:lnTo>
                    <a:pt x="232" y="614"/>
                  </a:lnTo>
                  <a:lnTo>
                    <a:pt x="243" y="606"/>
                  </a:lnTo>
                  <a:lnTo>
                    <a:pt x="252" y="596"/>
                  </a:lnTo>
                  <a:lnTo>
                    <a:pt x="259" y="584"/>
                  </a:lnTo>
                  <a:lnTo>
                    <a:pt x="265" y="571"/>
                  </a:lnTo>
                  <a:lnTo>
                    <a:pt x="636" y="571"/>
                  </a:lnTo>
                  <a:lnTo>
                    <a:pt x="642" y="584"/>
                  </a:lnTo>
                  <a:lnTo>
                    <a:pt x="649" y="596"/>
                  </a:lnTo>
                  <a:lnTo>
                    <a:pt x="659" y="606"/>
                  </a:lnTo>
                  <a:lnTo>
                    <a:pt x="668" y="614"/>
                  </a:lnTo>
                  <a:lnTo>
                    <a:pt x="680" y="622"/>
                  </a:lnTo>
                  <a:lnTo>
                    <a:pt x="693" y="627"/>
                  </a:lnTo>
                  <a:lnTo>
                    <a:pt x="700" y="629"/>
                  </a:lnTo>
                  <a:lnTo>
                    <a:pt x="707" y="630"/>
                  </a:lnTo>
                  <a:lnTo>
                    <a:pt x="715" y="631"/>
                  </a:lnTo>
                  <a:lnTo>
                    <a:pt x="721" y="631"/>
                  </a:lnTo>
                  <a:lnTo>
                    <a:pt x="728" y="631"/>
                  </a:lnTo>
                  <a:lnTo>
                    <a:pt x="736" y="630"/>
                  </a:lnTo>
                  <a:lnTo>
                    <a:pt x="742" y="629"/>
                  </a:lnTo>
                  <a:lnTo>
                    <a:pt x="750" y="627"/>
                  </a:lnTo>
                  <a:lnTo>
                    <a:pt x="762" y="622"/>
                  </a:lnTo>
                  <a:lnTo>
                    <a:pt x="773" y="614"/>
                  </a:lnTo>
                  <a:lnTo>
                    <a:pt x="784" y="606"/>
                  </a:lnTo>
                  <a:lnTo>
                    <a:pt x="793" y="596"/>
                  </a:lnTo>
                  <a:lnTo>
                    <a:pt x="800" y="584"/>
                  </a:lnTo>
                  <a:lnTo>
                    <a:pt x="807" y="571"/>
                  </a:lnTo>
                  <a:lnTo>
                    <a:pt x="887" y="571"/>
                  </a:lnTo>
                  <a:lnTo>
                    <a:pt x="890" y="571"/>
                  </a:lnTo>
                  <a:lnTo>
                    <a:pt x="892" y="570"/>
                  </a:lnTo>
                  <a:lnTo>
                    <a:pt x="896" y="569"/>
                  </a:lnTo>
                  <a:lnTo>
                    <a:pt x="898" y="567"/>
                  </a:lnTo>
                  <a:lnTo>
                    <a:pt x="899" y="565"/>
                  </a:lnTo>
                  <a:lnTo>
                    <a:pt x="901" y="562"/>
                  </a:lnTo>
                  <a:lnTo>
                    <a:pt x="901" y="560"/>
                  </a:lnTo>
                  <a:lnTo>
                    <a:pt x="902" y="556"/>
                  </a:lnTo>
                  <a:lnTo>
                    <a:pt x="902" y="15"/>
                  </a:lnTo>
                  <a:lnTo>
                    <a:pt x="901" y="12"/>
                  </a:lnTo>
                  <a:lnTo>
                    <a:pt x="901" y="9"/>
                  </a:lnTo>
                  <a:lnTo>
                    <a:pt x="899" y="7"/>
                  </a:lnTo>
                  <a:lnTo>
                    <a:pt x="898" y="5"/>
                  </a:lnTo>
                  <a:lnTo>
                    <a:pt x="896" y="3"/>
                  </a:lnTo>
                  <a:lnTo>
                    <a:pt x="892" y="1"/>
                  </a:lnTo>
                  <a:lnTo>
                    <a:pt x="890" y="0"/>
                  </a:lnTo>
                  <a:lnTo>
                    <a:pt x="887" y="0"/>
                  </a:lnTo>
                  <a:lnTo>
                    <a:pt x="88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0" name="Freeform 107"/>
            <p:cNvSpPr>
              <a:spLocks/>
            </p:cNvSpPr>
            <p:nvPr/>
          </p:nvSpPr>
          <p:spPr bwMode="auto">
            <a:xfrm>
              <a:off x="8216900" y="2632075"/>
              <a:ext cx="38100" cy="47625"/>
            </a:xfrm>
            <a:custGeom>
              <a:avLst/>
              <a:gdLst>
                <a:gd name="T0" fmla="*/ 9 w 120"/>
                <a:gd name="T1" fmla="*/ 149 h 150"/>
                <a:gd name="T2" fmla="*/ 12 w 120"/>
                <a:gd name="T3" fmla="*/ 150 h 150"/>
                <a:gd name="T4" fmla="*/ 15 w 120"/>
                <a:gd name="T5" fmla="*/ 150 h 150"/>
                <a:gd name="T6" fmla="*/ 19 w 120"/>
                <a:gd name="T7" fmla="*/ 150 h 150"/>
                <a:gd name="T8" fmla="*/ 22 w 120"/>
                <a:gd name="T9" fmla="*/ 148 h 150"/>
                <a:gd name="T10" fmla="*/ 26 w 120"/>
                <a:gd name="T11" fmla="*/ 146 h 150"/>
                <a:gd name="T12" fmla="*/ 29 w 120"/>
                <a:gd name="T13" fmla="*/ 143 h 150"/>
                <a:gd name="T14" fmla="*/ 85 w 120"/>
                <a:gd name="T15" fmla="*/ 30 h 150"/>
                <a:gd name="T16" fmla="*/ 105 w 120"/>
                <a:gd name="T17" fmla="*/ 30 h 150"/>
                <a:gd name="T18" fmla="*/ 108 w 120"/>
                <a:gd name="T19" fmla="*/ 30 h 150"/>
                <a:gd name="T20" fmla="*/ 111 w 120"/>
                <a:gd name="T21" fmla="*/ 29 h 150"/>
                <a:gd name="T22" fmla="*/ 114 w 120"/>
                <a:gd name="T23" fmla="*/ 28 h 150"/>
                <a:gd name="T24" fmla="*/ 116 w 120"/>
                <a:gd name="T25" fmla="*/ 26 h 150"/>
                <a:gd name="T26" fmla="*/ 118 w 120"/>
                <a:gd name="T27" fmla="*/ 24 h 150"/>
                <a:gd name="T28" fmla="*/ 119 w 120"/>
                <a:gd name="T29" fmla="*/ 22 h 150"/>
                <a:gd name="T30" fmla="*/ 120 w 120"/>
                <a:gd name="T31" fmla="*/ 19 h 150"/>
                <a:gd name="T32" fmla="*/ 120 w 120"/>
                <a:gd name="T33" fmla="*/ 15 h 150"/>
                <a:gd name="T34" fmla="*/ 120 w 120"/>
                <a:gd name="T35" fmla="*/ 12 h 150"/>
                <a:gd name="T36" fmla="*/ 119 w 120"/>
                <a:gd name="T37" fmla="*/ 10 h 150"/>
                <a:gd name="T38" fmla="*/ 118 w 120"/>
                <a:gd name="T39" fmla="*/ 7 h 150"/>
                <a:gd name="T40" fmla="*/ 116 w 120"/>
                <a:gd name="T41" fmla="*/ 5 h 150"/>
                <a:gd name="T42" fmla="*/ 114 w 120"/>
                <a:gd name="T43" fmla="*/ 3 h 150"/>
                <a:gd name="T44" fmla="*/ 111 w 120"/>
                <a:gd name="T45" fmla="*/ 1 h 150"/>
                <a:gd name="T46" fmla="*/ 108 w 120"/>
                <a:gd name="T47" fmla="*/ 0 h 150"/>
                <a:gd name="T48" fmla="*/ 105 w 120"/>
                <a:gd name="T49" fmla="*/ 0 h 150"/>
                <a:gd name="T50" fmla="*/ 75 w 120"/>
                <a:gd name="T51" fmla="*/ 0 h 150"/>
                <a:gd name="T52" fmla="*/ 71 w 120"/>
                <a:gd name="T53" fmla="*/ 1 h 150"/>
                <a:gd name="T54" fmla="*/ 67 w 120"/>
                <a:gd name="T55" fmla="*/ 3 h 150"/>
                <a:gd name="T56" fmla="*/ 64 w 120"/>
                <a:gd name="T57" fmla="*/ 6 h 150"/>
                <a:gd name="T58" fmla="*/ 62 w 120"/>
                <a:gd name="T59" fmla="*/ 9 h 150"/>
                <a:gd name="T60" fmla="*/ 1 w 120"/>
                <a:gd name="T61" fmla="*/ 129 h 150"/>
                <a:gd name="T62" fmla="*/ 0 w 120"/>
                <a:gd name="T63" fmla="*/ 132 h 150"/>
                <a:gd name="T64" fmla="*/ 0 w 120"/>
                <a:gd name="T65" fmla="*/ 134 h 150"/>
                <a:gd name="T66" fmla="*/ 0 w 120"/>
                <a:gd name="T67" fmla="*/ 137 h 150"/>
                <a:gd name="T68" fmla="*/ 1 w 120"/>
                <a:gd name="T69" fmla="*/ 141 h 150"/>
                <a:gd name="T70" fmla="*/ 2 w 120"/>
                <a:gd name="T71" fmla="*/ 143 h 150"/>
                <a:gd name="T72" fmla="*/ 3 w 120"/>
                <a:gd name="T73" fmla="*/ 145 h 150"/>
                <a:gd name="T74" fmla="*/ 5 w 120"/>
                <a:gd name="T75" fmla="*/ 147 h 150"/>
                <a:gd name="T76" fmla="*/ 9 w 120"/>
                <a:gd name="T77" fmla="*/ 149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20" h="150">
                  <a:moveTo>
                    <a:pt x="9" y="149"/>
                  </a:moveTo>
                  <a:lnTo>
                    <a:pt x="12" y="150"/>
                  </a:lnTo>
                  <a:lnTo>
                    <a:pt x="15" y="150"/>
                  </a:lnTo>
                  <a:lnTo>
                    <a:pt x="19" y="150"/>
                  </a:lnTo>
                  <a:lnTo>
                    <a:pt x="22" y="148"/>
                  </a:lnTo>
                  <a:lnTo>
                    <a:pt x="26" y="146"/>
                  </a:lnTo>
                  <a:lnTo>
                    <a:pt x="29" y="143"/>
                  </a:lnTo>
                  <a:lnTo>
                    <a:pt x="85" y="30"/>
                  </a:lnTo>
                  <a:lnTo>
                    <a:pt x="105" y="30"/>
                  </a:lnTo>
                  <a:lnTo>
                    <a:pt x="108" y="30"/>
                  </a:lnTo>
                  <a:lnTo>
                    <a:pt x="111" y="29"/>
                  </a:lnTo>
                  <a:lnTo>
                    <a:pt x="114" y="28"/>
                  </a:lnTo>
                  <a:lnTo>
                    <a:pt x="116" y="26"/>
                  </a:lnTo>
                  <a:lnTo>
                    <a:pt x="118" y="24"/>
                  </a:lnTo>
                  <a:lnTo>
                    <a:pt x="119" y="22"/>
                  </a:lnTo>
                  <a:lnTo>
                    <a:pt x="120" y="19"/>
                  </a:lnTo>
                  <a:lnTo>
                    <a:pt x="120" y="15"/>
                  </a:lnTo>
                  <a:lnTo>
                    <a:pt x="120" y="12"/>
                  </a:lnTo>
                  <a:lnTo>
                    <a:pt x="119" y="10"/>
                  </a:lnTo>
                  <a:lnTo>
                    <a:pt x="118" y="7"/>
                  </a:lnTo>
                  <a:lnTo>
                    <a:pt x="116" y="5"/>
                  </a:lnTo>
                  <a:lnTo>
                    <a:pt x="114" y="3"/>
                  </a:lnTo>
                  <a:lnTo>
                    <a:pt x="111" y="1"/>
                  </a:lnTo>
                  <a:lnTo>
                    <a:pt x="108" y="0"/>
                  </a:lnTo>
                  <a:lnTo>
                    <a:pt x="105" y="0"/>
                  </a:lnTo>
                  <a:lnTo>
                    <a:pt x="75" y="0"/>
                  </a:lnTo>
                  <a:lnTo>
                    <a:pt x="71" y="1"/>
                  </a:lnTo>
                  <a:lnTo>
                    <a:pt x="67" y="3"/>
                  </a:lnTo>
                  <a:lnTo>
                    <a:pt x="64" y="6"/>
                  </a:lnTo>
                  <a:lnTo>
                    <a:pt x="62" y="9"/>
                  </a:lnTo>
                  <a:lnTo>
                    <a:pt x="1" y="129"/>
                  </a:lnTo>
                  <a:lnTo>
                    <a:pt x="0" y="132"/>
                  </a:lnTo>
                  <a:lnTo>
                    <a:pt x="0" y="134"/>
                  </a:lnTo>
                  <a:lnTo>
                    <a:pt x="0" y="137"/>
                  </a:lnTo>
                  <a:lnTo>
                    <a:pt x="1" y="141"/>
                  </a:lnTo>
                  <a:lnTo>
                    <a:pt x="2" y="143"/>
                  </a:lnTo>
                  <a:lnTo>
                    <a:pt x="3" y="145"/>
                  </a:lnTo>
                  <a:lnTo>
                    <a:pt x="5" y="147"/>
                  </a:lnTo>
                  <a:lnTo>
                    <a:pt x="9" y="1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31" name="Group 330"/>
          <p:cNvGrpSpPr/>
          <p:nvPr/>
        </p:nvGrpSpPr>
        <p:grpSpPr>
          <a:xfrm>
            <a:off x="9607110" y="3710256"/>
            <a:ext cx="285750" cy="277813"/>
            <a:chOff x="11028363" y="2508250"/>
            <a:chExt cx="285750" cy="277813"/>
          </a:xfrm>
          <a:solidFill>
            <a:schemeClr val="bg1"/>
          </a:solidFill>
        </p:grpSpPr>
        <p:sp>
          <p:nvSpPr>
            <p:cNvPr id="332" name="Freeform 70"/>
            <p:cNvSpPr>
              <a:spLocks/>
            </p:cNvSpPr>
            <p:nvPr/>
          </p:nvSpPr>
          <p:spPr bwMode="auto">
            <a:xfrm>
              <a:off x="11060113" y="2508250"/>
              <a:ext cx="225425" cy="157163"/>
            </a:xfrm>
            <a:custGeom>
              <a:avLst/>
              <a:gdLst>
                <a:gd name="T0" fmla="*/ 19 w 711"/>
                <a:gd name="T1" fmla="*/ 494 h 494"/>
                <a:gd name="T2" fmla="*/ 678 w 711"/>
                <a:gd name="T3" fmla="*/ 60 h 494"/>
                <a:gd name="T4" fmla="*/ 667 w 711"/>
                <a:gd name="T5" fmla="*/ 167 h 494"/>
                <a:gd name="T6" fmla="*/ 668 w 711"/>
                <a:gd name="T7" fmla="*/ 173 h 494"/>
                <a:gd name="T8" fmla="*/ 671 w 711"/>
                <a:gd name="T9" fmla="*/ 177 h 494"/>
                <a:gd name="T10" fmla="*/ 677 w 711"/>
                <a:gd name="T11" fmla="*/ 180 h 494"/>
                <a:gd name="T12" fmla="*/ 681 w 711"/>
                <a:gd name="T13" fmla="*/ 181 h 494"/>
                <a:gd name="T14" fmla="*/ 687 w 711"/>
                <a:gd name="T15" fmla="*/ 180 h 494"/>
                <a:gd name="T16" fmla="*/ 695 w 711"/>
                <a:gd name="T17" fmla="*/ 173 h 494"/>
                <a:gd name="T18" fmla="*/ 711 w 711"/>
                <a:gd name="T19" fmla="*/ 33 h 494"/>
                <a:gd name="T20" fmla="*/ 711 w 711"/>
                <a:gd name="T21" fmla="*/ 30 h 494"/>
                <a:gd name="T22" fmla="*/ 711 w 711"/>
                <a:gd name="T23" fmla="*/ 27 h 494"/>
                <a:gd name="T24" fmla="*/ 710 w 711"/>
                <a:gd name="T25" fmla="*/ 24 h 494"/>
                <a:gd name="T26" fmla="*/ 709 w 711"/>
                <a:gd name="T27" fmla="*/ 22 h 494"/>
                <a:gd name="T28" fmla="*/ 709 w 711"/>
                <a:gd name="T29" fmla="*/ 22 h 494"/>
                <a:gd name="T30" fmla="*/ 707 w 711"/>
                <a:gd name="T31" fmla="*/ 20 h 494"/>
                <a:gd name="T32" fmla="*/ 705 w 711"/>
                <a:gd name="T33" fmla="*/ 18 h 494"/>
                <a:gd name="T34" fmla="*/ 701 w 711"/>
                <a:gd name="T35" fmla="*/ 16 h 494"/>
                <a:gd name="T36" fmla="*/ 699 w 711"/>
                <a:gd name="T37" fmla="*/ 15 h 494"/>
                <a:gd name="T38" fmla="*/ 698 w 711"/>
                <a:gd name="T39" fmla="*/ 15 h 494"/>
                <a:gd name="T40" fmla="*/ 560 w 711"/>
                <a:gd name="T41" fmla="*/ 0 h 494"/>
                <a:gd name="T42" fmla="*/ 555 w 711"/>
                <a:gd name="T43" fmla="*/ 3 h 494"/>
                <a:gd name="T44" fmla="*/ 550 w 711"/>
                <a:gd name="T45" fmla="*/ 6 h 494"/>
                <a:gd name="T46" fmla="*/ 547 w 711"/>
                <a:gd name="T47" fmla="*/ 11 h 494"/>
                <a:gd name="T48" fmla="*/ 546 w 711"/>
                <a:gd name="T49" fmla="*/ 16 h 494"/>
                <a:gd name="T50" fmla="*/ 548 w 711"/>
                <a:gd name="T51" fmla="*/ 23 h 494"/>
                <a:gd name="T52" fmla="*/ 551 w 711"/>
                <a:gd name="T53" fmla="*/ 27 h 494"/>
                <a:gd name="T54" fmla="*/ 557 w 711"/>
                <a:gd name="T55" fmla="*/ 30 h 494"/>
                <a:gd name="T56" fmla="*/ 653 w 711"/>
                <a:gd name="T57" fmla="*/ 41 h 494"/>
                <a:gd name="T58" fmla="*/ 4 w 711"/>
                <a:gd name="T59" fmla="*/ 468 h 494"/>
                <a:gd name="T60" fmla="*/ 1 w 711"/>
                <a:gd name="T61" fmla="*/ 474 h 494"/>
                <a:gd name="T62" fmla="*/ 0 w 711"/>
                <a:gd name="T63" fmla="*/ 479 h 494"/>
                <a:gd name="T64" fmla="*/ 1 w 711"/>
                <a:gd name="T65" fmla="*/ 485 h 494"/>
                <a:gd name="T66" fmla="*/ 5 w 711"/>
                <a:gd name="T67" fmla="*/ 490 h 494"/>
                <a:gd name="T68" fmla="*/ 11 w 711"/>
                <a:gd name="T69" fmla="*/ 494 h 4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11" h="494">
                  <a:moveTo>
                    <a:pt x="15" y="494"/>
                  </a:moveTo>
                  <a:lnTo>
                    <a:pt x="19" y="494"/>
                  </a:lnTo>
                  <a:lnTo>
                    <a:pt x="23" y="492"/>
                  </a:lnTo>
                  <a:lnTo>
                    <a:pt x="678" y="60"/>
                  </a:lnTo>
                  <a:lnTo>
                    <a:pt x="667" y="164"/>
                  </a:lnTo>
                  <a:lnTo>
                    <a:pt x="667" y="167"/>
                  </a:lnTo>
                  <a:lnTo>
                    <a:pt x="667" y="170"/>
                  </a:lnTo>
                  <a:lnTo>
                    <a:pt x="668" y="173"/>
                  </a:lnTo>
                  <a:lnTo>
                    <a:pt x="670" y="175"/>
                  </a:lnTo>
                  <a:lnTo>
                    <a:pt x="671" y="177"/>
                  </a:lnTo>
                  <a:lnTo>
                    <a:pt x="675" y="179"/>
                  </a:lnTo>
                  <a:lnTo>
                    <a:pt x="677" y="180"/>
                  </a:lnTo>
                  <a:lnTo>
                    <a:pt x="680" y="180"/>
                  </a:lnTo>
                  <a:lnTo>
                    <a:pt x="681" y="181"/>
                  </a:lnTo>
                  <a:lnTo>
                    <a:pt x="682" y="181"/>
                  </a:lnTo>
                  <a:lnTo>
                    <a:pt x="687" y="180"/>
                  </a:lnTo>
                  <a:lnTo>
                    <a:pt x="692" y="177"/>
                  </a:lnTo>
                  <a:lnTo>
                    <a:pt x="695" y="173"/>
                  </a:lnTo>
                  <a:lnTo>
                    <a:pt x="696" y="167"/>
                  </a:lnTo>
                  <a:lnTo>
                    <a:pt x="711" y="33"/>
                  </a:lnTo>
                  <a:lnTo>
                    <a:pt x="711" y="31"/>
                  </a:lnTo>
                  <a:lnTo>
                    <a:pt x="711" y="30"/>
                  </a:lnTo>
                  <a:lnTo>
                    <a:pt x="711" y="28"/>
                  </a:lnTo>
                  <a:lnTo>
                    <a:pt x="711" y="27"/>
                  </a:lnTo>
                  <a:lnTo>
                    <a:pt x="711" y="26"/>
                  </a:lnTo>
                  <a:lnTo>
                    <a:pt x="710" y="24"/>
                  </a:lnTo>
                  <a:lnTo>
                    <a:pt x="710" y="23"/>
                  </a:lnTo>
                  <a:lnTo>
                    <a:pt x="709" y="22"/>
                  </a:lnTo>
                  <a:lnTo>
                    <a:pt x="709" y="22"/>
                  </a:lnTo>
                  <a:lnTo>
                    <a:pt x="709" y="22"/>
                  </a:lnTo>
                  <a:lnTo>
                    <a:pt x="708" y="21"/>
                  </a:lnTo>
                  <a:lnTo>
                    <a:pt x="707" y="20"/>
                  </a:lnTo>
                  <a:lnTo>
                    <a:pt x="706" y="19"/>
                  </a:lnTo>
                  <a:lnTo>
                    <a:pt x="705" y="18"/>
                  </a:lnTo>
                  <a:lnTo>
                    <a:pt x="703" y="18"/>
                  </a:lnTo>
                  <a:lnTo>
                    <a:pt x="701" y="16"/>
                  </a:lnTo>
                  <a:lnTo>
                    <a:pt x="700" y="16"/>
                  </a:lnTo>
                  <a:lnTo>
                    <a:pt x="699" y="15"/>
                  </a:lnTo>
                  <a:lnTo>
                    <a:pt x="698" y="15"/>
                  </a:lnTo>
                  <a:lnTo>
                    <a:pt x="698" y="15"/>
                  </a:lnTo>
                  <a:lnTo>
                    <a:pt x="563" y="0"/>
                  </a:lnTo>
                  <a:lnTo>
                    <a:pt x="560" y="0"/>
                  </a:lnTo>
                  <a:lnTo>
                    <a:pt x="557" y="1"/>
                  </a:lnTo>
                  <a:lnTo>
                    <a:pt x="555" y="3"/>
                  </a:lnTo>
                  <a:lnTo>
                    <a:pt x="552" y="4"/>
                  </a:lnTo>
                  <a:lnTo>
                    <a:pt x="550" y="6"/>
                  </a:lnTo>
                  <a:lnTo>
                    <a:pt x="548" y="8"/>
                  </a:lnTo>
                  <a:lnTo>
                    <a:pt x="547" y="11"/>
                  </a:lnTo>
                  <a:lnTo>
                    <a:pt x="546" y="14"/>
                  </a:lnTo>
                  <a:lnTo>
                    <a:pt x="546" y="16"/>
                  </a:lnTo>
                  <a:lnTo>
                    <a:pt x="547" y="20"/>
                  </a:lnTo>
                  <a:lnTo>
                    <a:pt x="548" y="23"/>
                  </a:lnTo>
                  <a:lnTo>
                    <a:pt x="549" y="25"/>
                  </a:lnTo>
                  <a:lnTo>
                    <a:pt x="551" y="27"/>
                  </a:lnTo>
                  <a:lnTo>
                    <a:pt x="553" y="28"/>
                  </a:lnTo>
                  <a:lnTo>
                    <a:pt x="557" y="30"/>
                  </a:lnTo>
                  <a:lnTo>
                    <a:pt x="560" y="30"/>
                  </a:lnTo>
                  <a:lnTo>
                    <a:pt x="653" y="41"/>
                  </a:lnTo>
                  <a:lnTo>
                    <a:pt x="6" y="466"/>
                  </a:lnTo>
                  <a:lnTo>
                    <a:pt x="4" y="468"/>
                  </a:lnTo>
                  <a:lnTo>
                    <a:pt x="2" y="471"/>
                  </a:lnTo>
                  <a:lnTo>
                    <a:pt x="1" y="474"/>
                  </a:lnTo>
                  <a:lnTo>
                    <a:pt x="0" y="476"/>
                  </a:lnTo>
                  <a:lnTo>
                    <a:pt x="0" y="479"/>
                  </a:lnTo>
                  <a:lnTo>
                    <a:pt x="0" y="482"/>
                  </a:lnTo>
                  <a:lnTo>
                    <a:pt x="1" y="485"/>
                  </a:lnTo>
                  <a:lnTo>
                    <a:pt x="2" y="488"/>
                  </a:lnTo>
                  <a:lnTo>
                    <a:pt x="5" y="490"/>
                  </a:lnTo>
                  <a:lnTo>
                    <a:pt x="8" y="492"/>
                  </a:lnTo>
                  <a:lnTo>
                    <a:pt x="11" y="494"/>
                  </a:lnTo>
                  <a:lnTo>
                    <a:pt x="15" y="4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3" name="Freeform 71"/>
            <p:cNvSpPr>
              <a:spLocks noEditPoints="1"/>
            </p:cNvSpPr>
            <p:nvPr/>
          </p:nvSpPr>
          <p:spPr bwMode="auto">
            <a:xfrm>
              <a:off x="11028363" y="2593975"/>
              <a:ext cx="285750" cy="192088"/>
            </a:xfrm>
            <a:custGeom>
              <a:avLst/>
              <a:gdLst>
                <a:gd name="T0" fmla="*/ 812 w 902"/>
                <a:gd name="T1" fmla="*/ 30 h 601"/>
                <a:gd name="T2" fmla="*/ 511 w 902"/>
                <a:gd name="T3" fmla="*/ 571 h 601"/>
                <a:gd name="T4" fmla="*/ 601 w 902"/>
                <a:gd name="T5" fmla="*/ 571 h 601"/>
                <a:gd name="T6" fmla="*/ 300 w 902"/>
                <a:gd name="T7" fmla="*/ 330 h 601"/>
                <a:gd name="T8" fmla="*/ 300 w 902"/>
                <a:gd name="T9" fmla="*/ 571 h 601"/>
                <a:gd name="T10" fmla="*/ 180 w 902"/>
                <a:gd name="T11" fmla="*/ 481 h 601"/>
                <a:gd name="T12" fmla="*/ 887 w 902"/>
                <a:gd name="T13" fmla="*/ 571 h 601"/>
                <a:gd name="T14" fmla="*/ 841 w 902"/>
                <a:gd name="T15" fmla="*/ 12 h 601"/>
                <a:gd name="T16" fmla="*/ 838 w 902"/>
                <a:gd name="T17" fmla="*/ 5 h 601"/>
                <a:gd name="T18" fmla="*/ 829 w 902"/>
                <a:gd name="T19" fmla="*/ 0 h 601"/>
                <a:gd name="T20" fmla="*/ 704 w 902"/>
                <a:gd name="T21" fmla="*/ 0 h 601"/>
                <a:gd name="T22" fmla="*/ 695 w 902"/>
                <a:gd name="T23" fmla="*/ 5 h 601"/>
                <a:gd name="T24" fmla="*/ 692 w 902"/>
                <a:gd name="T25" fmla="*/ 12 h 601"/>
                <a:gd name="T26" fmla="*/ 631 w 902"/>
                <a:gd name="T27" fmla="*/ 571 h 601"/>
                <a:gd name="T28" fmla="*/ 630 w 902"/>
                <a:gd name="T29" fmla="*/ 160 h 601"/>
                <a:gd name="T30" fmla="*/ 625 w 902"/>
                <a:gd name="T31" fmla="*/ 152 h 601"/>
                <a:gd name="T32" fmla="*/ 616 w 902"/>
                <a:gd name="T33" fmla="*/ 150 h 601"/>
                <a:gd name="T34" fmla="*/ 490 w 902"/>
                <a:gd name="T35" fmla="*/ 151 h 601"/>
                <a:gd name="T36" fmla="*/ 483 w 902"/>
                <a:gd name="T37" fmla="*/ 157 h 601"/>
                <a:gd name="T38" fmla="*/ 481 w 902"/>
                <a:gd name="T39" fmla="*/ 165 h 601"/>
                <a:gd name="T40" fmla="*/ 421 w 902"/>
                <a:gd name="T41" fmla="*/ 315 h 601"/>
                <a:gd name="T42" fmla="*/ 418 w 902"/>
                <a:gd name="T43" fmla="*/ 308 h 601"/>
                <a:gd name="T44" fmla="*/ 411 w 902"/>
                <a:gd name="T45" fmla="*/ 302 h 601"/>
                <a:gd name="T46" fmla="*/ 285 w 902"/>
                <a:gd name="T47" fmla="*/ 300 h 601"/>
                <a:gd name="T48" fmla="*/ 277 w 902"/>
                <a:gd name="T49" fmla="*/ 304 h 601"/>
                <a:gd name="T50" fmla="*/ 271 w 902"/>
                <a:gd name="T51" fmla="*/ 310 h 601"/>
                <a:gd name="T52" fmla="*/ 270 w 902"/>
                <a:gd name="T53" fmla="*/ 571 h 601"/>
                <a:gd name="T54" fmla="*/ 210 w 902"/>
                <a:gd name="T55" fmla="*/ 463 h 601"/>
                <a:gd name="T56" fmla="*/ 206 w 902"/>
                <a:gd name="T57" fmla="*/ 456 h 601"/>
                <a:gd name="T58" fmla="*/ 198 w 902"/>
                <a:gd name="T59" fmla="*/ 451 h 601"/>
                <a:gd name="T60" fmla="*/ 72 w 902"/>
                <a:gd name="T61" fmla="*/ 451 h 601"/>
                <a:gd name="T62" fmla="*/ 64 w 902"/>
                <a:gd name="T63" fmla="*/ 456 h 601"/>
                <a:gd name="T64" fmla="*/ 60 w 902"/>
                <a:gd name="T65" fmla="*/ 463 h 601"/>
                <a:gd name="T66" fmla="*/ 15 w 902"/>
                <a:gd name="T67" fmla="*/ 571 h 601"/>
                <a:gd name="T68" fmla="*/ 6 w 902"/>
                <a:gd name="T69" fmla="*/ 573 h 601"/>
                <a:gd name="T70" fmla="*/ 1 w 902"/>
                <a:gd name="T71" fmla="*/ 581 h 601"/>
                <a:gd name="T72" fmla="*/ 0 w 902"/>
                <a:gd name="T73" fmla="*/ 590 h 601"/>
                <a:gd name="T74" fmla="*/ 4 w 902"/>
                <a:gd name="T75" fmla="*/ 597 h 601"/>
                <a:gd name="T76" fmla="*/ 12 w 902"/>
                <a:gd name="T77" fmla="*/ 601 h 601"/>
                <a:gd name="T78" fmla="*/ 195 w 902"/>
                <a:gd name="T79" fmla="*/ 601 h 601"/>
                <a:gd name="T80" fmla="*/ 496 w 902"/>
                <a:gd name="T81" fmla="*/ 601 h 601"/>
                <a:gd name="T82" fmla="*/ 827 w 902"/>
                <a:gd name="T83" fmla="*/ 601 h 601"/>
                <a:gd name="T84" fmla="*/ 892 w 902"/>
                <a:gd name="T85" fmla="*/ 600 h 601"/>
                <a:gd name="T86" fmla="*/ 899 w 902"/>
                <a:gd name="T87" fmla="*/ 595 h 601"/>
                <a:gd name="T88" fmla="*/ 902 w 902"/>
                <a:gd name="T89" fmla="*/ 586 h 601"/>
                <a:gd name="T90" fmla="*/ 899 w 902"/>
                <a:gd name="T91" fmla="*/ 578 h 601"/>
                <a:gd name="T92" fmla="*/ 892 w 902"/>
                <a:gd name="T93" fmla="*/ 572 h 6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902" h="601">
                  <a:moveTo>
                    <a:pt x="721" y="571"/>
                  </a:moveTo>
                  <a:lnTo>
                    <a:pt x="721" y="30"/>
                  </a:lnTo>
                  <a:lnTo>
                    <a:pt x="812" y="30"/>
                  </a:lnTo>
                  <a:lnTo>
                    <a:pt x="812" y="571"/>
                  </a:lnTo>
                  <a:lnTo>
                    <a:pt x="721" y="571"/>
                  </a:lnTo>
                  <a:close/>
                  <a:moveTo>
                    <a:pt x="511" y="571"/>
                  </a:moveTo>
                  <a:lnTo>
                    <a:pt x="511" y="180"/>
                  </a:lnTo>
                  <a:lnTo>
                    <a:pt x="601" y="180"/>
                  </a:lnTo>
                  <a:lnTo>
                    <a:pt x="601" y="571"/>
                  </a:lnTo>
                  <a:lnTo>
                    <a:pt x="511" y="571"/>
                  </a:lnTo>
                  <a:close/>
                  <a:moveTo>
                    <a:pt x="300" y="571"/>
                  </a:moveTo>
                  <a:lnTo>
                    <a:pt x="300" y="330"/>
                  </a:lnTo>
                  <a:lnTo>
                    <a:pt x="391" y="330"/>
                  </a:lnTo>
                  <a:lnTo>
                    <a:pt x="391" y="571"/>
                  </a:lnTo>
                  <a:lnTo>
                    <a:pt x="300" y="571"/>
                  </a:lnTo>
                  <a:close/>
                  <a:moveTo>
                    <a:pt x="90" y="571"/>
                  </a:moveTo>
                  <a:lnTo>
                    <a:pt x="90" y="481"/>
                  </a:lnTo>
                  <a:lnTo>
                    <a:pt x="180" y="481"/>
                  </a:lnTo>
                  <a:lnTo>
                    <a:pt x="180" y="571"/>
                  </a:lnTo>
                  <a:lnTo>
                    <a:pt x="90" y="571"/>
                  </a:lnTo>
                  <a:close/>
                  <a:moveTo>
                    <a:pt x="887" y="571"/>
                  </a:moveTo>
                  <a:lnTo>
                    <a:pt x="842" y="571"/>
                  </a:lnTo>
                  <a:lnTo>
                    <a:pt x="842" y="15"/>
                  </a:lnTo>
                  <a:lnTo>
                    <a:pt x="841" y="12"/>
                  </a:lnTo>
                  <a:lnTo>
                    <a:pt x="841" y="9"/>
                  </a:lnTo>
                  <a:lnTo>
                    <a:pt x="839" y="7"/>
                  </a:lnTo>
                  <a:lnTo>
                    <a:pt x="838" y="5"/>
                  </a:lnTo>
                  <a:lnTo>
                    <a:pt x="835" y="3"/>
                  </a:lnTo>
                  <a:lnTo>
                    <a:pt x="832" y="1"/>
                  </a:lnTo>
                  <a:lnTo>
                    <a:pt x="829" y="0"/>
                  </a:lnTo>
                  <a:lnTo>
                    <a:pt x="827" y="0"/>
                  </a:lnTo>
                  <a:lnTo>
                    <a:pt x="706" y="0"/>
                  </a:lnTo>
                  <a:lnTo>
                    <a:pt x="704" y="0"/>
                  </a:lnTo>
                  <a:lnTo>
                    <a:pt x="701" y="1"/>
                  </a:lnTo>
                  <a:lnTo>
                    <a:pt x="698" y="3"/>
                  </a:lnTo>
                  <a:lnTo>
                    <a:pt x="695" y="5"/>
                  </a:lnTo>
                  <a:lnTo>
                    <a:pt x="694" y="7"/>
                  </a:lnTo>
                  <a:lnTo>
                    <a:pt x="692" y="9"/>
                  </a:lnTo>
                  <a:lnTo>
                    <a:pt x="692" y="12"/>
                  </a:lnTo>
                  <a:lnTo>
                    <a:pt x="691" y="15"/>
                  </a:lnTo>
                  <a:lnTo>
                    <a:pt x="691" y="571"/>
                  </a:lnTo>
                  <a:lnTo>
                    <a:pt x="631" y="571"/>
                  </a:lnTo>
                  <a:lnTo>
                    <a:pt x="631" y="165"/>
                  </a:lnTo>
                  <a:lnTo>
                    <a:pt x="631" y="162"/>
                  </a:lnTo>
                  <a:lnTo>
                    <a:pt x="630" y="160"/>
                  </a:lnTo>
                  <a:lnTo>
                    <a:pt x="629" y="157"/>
                  </a:lnTo>
                  <a:lnTo>
                    <a:pt x="627" y="155"/>
                  </a:lnTo>
                  <a:lnTo>
                    <a:pt x="625" y="152"/>
                  </a:lnTo>
                  <a:lnTo>
                    <a:pt x="622" y="151"/>
                  </a:lnTo>
                  <a:lnTo>
                    <a:pt x="619" y="150"/>
                  </a:lnTo>
                  <a:lnTo>
                    <a:pt x="616" y="150"/>
                  </a:lnTo>
                  <a:lnTo>
                    <a:pt x="496" y="150"/>
                  </a:lnTo>
                  <a:lnTo>
                    <a:pt x="493" y="150"/>
                  </a:lnTo>
                  <a:lnTo>
                    <a:pt x="490" y="151"/>
                  </a:lnTo>
                  <a:lnTo>
                    <a:pt x="487" y="154"/>
                  </a:lnTo>
                  <a:lnTo>
                    <a:pt x="485" y="155"/>
                  </a:lnTo>
                  <a:lnTo>
                    <a:pt x="483" y="157"/>
                  </a:lnTo>
                  <a:lnTo>
                    <a:pt x="482" y="160"/>
                  </a:lnTo>
                  <a:lnTo>
                    <a:pt x="481" y="162"/>
                  </a:lnTo>
                  <a:lnTo>
                    <a:pt x="481" y="165"/>
                  </a:lnTo>
                  <a:lnTo>
                    <a:pt x="481" y="571"/>
                  </a:lnTo>
                  <a:lnTo>
                    <a:pt x="421" y="571"/>
                  </a:lnTo>
                  <a:lnTo>
                    <a:pt x="421" y="315"/>
                  </a:lnTo>
                  <a:lnTo>
                    <a:pt x="420" y="313"/>
                  </a:lnTo>
                  <a:lnTo>
                    <a:pt x="420" y="310"/>
                  </a:lnTo>
                  <a:lnTo>
                    <a:pt x="418" y="308"/>
                  </a:lnTo>
                  <a:lnTo>
                    <a:pt x="417" y="306"/>
                  </a:lnTo>
                  <a:lnTo>
                    <a:pt x="414" y="304"/>
                  </a:lnTo>
                  <a:lnTo>
                    <a:pt x="411" y="302"/>
                  </a:lnTo>
                  <a:lnTo>
                    <a:pt x="408" y="301"/>
                  </a:lnTo>
                  <a:lnTo>
                    <a:pt x="406" y="300"/>
                  </a:lnTo>
                  <a:lnTo>
                    <a:pt x="285" y="300"/>
                  </a:lnTo>
                  <a:lnTo>
                    <a:pt x="283" y="301"/>
                  </a:lnTo>
                  <a:lnTo>
                    <a:pt x="280" y="302"/>
                  </a:lnTo>
                  <a:lnTo>
                    <a:pt x="277" y="304"/>
                  </a:lnTo>
                  <a:lnTo>
                    <a:pt x="274" y="306"/>
                  </a:lnTo>
                  <a:lnTo>
                    <a:pt x="273" y="308"/>
                  </a:lnTo>
                  <a:lnTo>
                    <a:pt x="271" y="310"/>
                  </a:lnTo>
                  <a:lnTo>
                    <a:pt x="271" y="313"/>
                  </a:lnTo>
                  <a:lnTo>
                    <a:pt x="270" y="316"/>
                  </a:lnTo>
                  <a:lnTo>
                    <a:pt x="270" y="571"/>
                  </a:lnTo>
                  <a:lnTo>
                    <a:pt x="210" y="571"/>
                  </a:lnTo>
                  <a:lnTo>
                    <a:pt x="210" y="466"/>
                  </a:lnTo>
                  <a:lnTo>
                    <a:pt x="210" y="463"/>
                  </a:lnTo>
                  <a:lnTo>
                    <a:pt x="209" y="460"/>
                  </a:lnTo>
                  <a:lnTo>
                    <a:pt x="208" y="458"/>
                  </a:lnTo>
                  <a:lnTo>
                    <a:pt x="206" y="456"/>
                  </a:lnTo>
                  <a:lnTo>
                    <a:pt x="204" y="454"/>
                  </a:lnTo>
                  <a:lnTo>
                    <a:pt x="201" y="452"/>
                  </a:lnTo>
                  <a:lnTo>
                    <a:pt x="198" y="451"/>
                  </a:lnTo>
                  <a:lnTo>
                    <a:pt x="195" y="451"/>
                  </a:lnTo>
                  <a:lnTo>
                    <a:pt x="75" y="451"/>
                  </a:lnTo>
                  <a:lnTo>
                    <a:pt x="72" y="451"/>
                  </a:lnTo>
                  <a:lnTo>
                    <a:pt x="69" y="452"/>
                  </a:lnTo>
                  <a:lnTo>
                    <a:pt x="66" y="454"/>
                  </a:lnTo>
                  <a:lnTo>
                    <a:pt x="64" y="456"/>
                  </a:lnTo>
                  <a:lnTo>
                    <a:pt x="62" y="458"/>
                  </a:lnTo>
                  <a:lnTo>
                    <a:pt x="61" y="460"/>
                  </a:lnTo>
                  <a:lnTo>
                    <a:pt x="60" y="463"/>
                  </a:lnTo>
                  <a:lnTo>
                    <a:pt x="60" y="466"/>
                  </a:lnTo>
                  <a:lnTo>
                    <a:pt x="60" y="571"/>
                  </a:lnTo>
                  <a:lnTo>
                    <a:pt x="15" y="571"/>
                  </a:lnTo>
                  <a:lnTo>
                    <a:pt x="12" y="571"/>
                  </a:lnTo>
                  <a:lnTo>
                    <a:pt x="9" y="572"/>
                  </a:lnTo>
                  <a:lnTo>
                    <a:pt x="6" y="573"/>
                  </a:lnTo>
                  <a:lnTo>
                    <a:pt x="4" y="576"/>
                  </a:lnTo>
                  <a:lnTo>
                    <a:pt x="2" y="578"/>
                  </a:lnTo>
                  <a:lnTo>
                    <a:pt x="1" y="581"/>
                  </a:lnTo>
                  <a:lnTo>
                    <a:pt x="0" y="583"/>
                  </a:lnTo>
                  <a:lnTo>
                    <a:pt x="0" y="586"/>
                  </a:lnTo>
                  <a:lnTo>
                    <a:pt x="0" y="590"/>
                  </a:lnTo>
                  <a:lnTo>
                    <a:pt x="1" y="593"/>
                  </a:lnTo>
                  <a:lnTo>
                    <a:pt x="2" y="595"/>
                  </a:lnTo>
                  <a:lnTo>
                    <a:pt x="4" y="597"/>
                  </a:lnTo>
                  <a:lnTo>
                    <a:pt x="6" y="599"/>
                  </a:lnTo>
                  <a:lnTo>
                    <a:pt x="9" y="600"/>
                  </a:lnTo>
                  <a:lnTo>
                    <a:pt x="12" y="601"/>
                  </a:lnTo>
                  <a:lnTo>
                    <a:pt x="15" y="601"/>
                  </a:lnTo>
                  <a:lnTo>
                    <a:pt x="75" y="601"/>
                  </a:lnTo>
                  <a:lnTo>
                    <a:pt x="195" y="601"/>
                  </a:lnTo>
                  <a:lnTo>
                    <a:pt x="285" y="601"/>
                  </a:lnTo>
                  <a:lnTo>
                    <a:pt x="406" y="601"/>
                  </a:lnTo>
                  <a:lnTo>
                    <a:pt x="496" y="601"/>
                  </a:lnTo>
                  <a:lnTo>
                    <a:pt x="616" y="601"/>
                  </a:lnTo>
                  <a:lnTo>
                    <a:pt x="706" y="601"/>
                  </a:lnTo>
                  <a:lnTo>
                    <a:pt x="827" y="601"/>
                  </a:lnTo>
                  <a:lnTo>
                    <a:pt x="887" y="601"/>
                  </a:lnTo>
                  <a:lnTo>
                    <a:pt x="890" y="601"/>
                  </a:lnTo>
                  <a:lnTo>
                    <a:pt x="892" y="600"/>
                  </a:lnTo>
                  <a:lnTo>
                    <a:pt x="896" y="599"/>
                  </a:lnTo>
                  <a:lnTo>
                    <a:pt x="898" y="597"/>
                  </a:lnTo>
                  <a:lnTo>
                    <a:pt x="899" y="595"/>
                  </a:lnTo>
                  <a:lnTo>
                    <a:pt x="901" y="593"/>
                  </a:lnTo>
                  <a:lnTo>
                    <a:pt x="901" y="590"/>
                  </a:lnTo>
                  <a:lnTo>
                    <a:pt x="902" y="586"/>
                  </a:lnTo>
                  <a:lnTo>
                    <a:pt x="902" y="583"/>
                  </a:lnTo>
                  <a:lnTo>
                    <a:pt x="901" y="581"/>
                  </a:lnTo>
                  <a:lnTo>
                    <a:pt x="899" y="578"/>
                  </a:lnTo>
                  <a:lnTo>
                    <a:pt x="898" y="576"/>
                  </a:lnTo>
                  <a:lnTo>
                    <a:pt x="896" y="573"/>
                  </a:lnTo>
                  <a:lnTo>
                    <a:pt x="892" y="572"/>
                  </a:lnTo>
                  <a:lnTo>
                    <a:pt x="890" y="571"/>
                  </a:lnTo>
                  <a:lnTo>
                    <a:pt x="887" y="5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98452139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Rectangle 102"/>
          <p:cNvSpPr/>
          <p:nvPr/>
        </p:nvSpPr>
        <p:spPr>
          <a:xfrm>
            <a:off x="12344400" y="0"/>
            <a:ext cx="469900" cy="469900"/>
          </a:xfrm>
          <a:prstGeom prst="rect">
            <a:avLst/>
          </a:pr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4" name="Rectangle 103"/>
          <p:cNvSpPr/>
          <p:nvPr/>
        </p:nvSpPr>
        <p:spPr>
          <a:xfrm>
            <a:off x="12344400" y="649557"/>
            <a:ext cx="469900" cy="469900"/>
          </a:xfrm>
          <a:prstGeom prst="rect">
            <a:avLst/>
          </a:prstGeom>
          <a:solidFill>
            <a:srgbClr val="AFAB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5" name="Rectangle 104"/>
          <p:cNvSpPr/>
          <p:nvPr/>
        </p:nvSpPr>
        <p:spPr>
          <a:xfrm>
            <a:off x="12344400" y="1299114"/>
            <a:ext cx="469900" cy="469900"/>
          </a:xfrm>
          <a:prstGeom prst="rect">
            <a:avLst/>
          </a:prstGeom>
          <a:solidFill>
            <a:srgbClr val="7671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7" name="Rectangle 106"/>
          <p:cNvSpPr/>
          <p:nvPr/>
        </p:nvSpPr>
        <p:spPr>
          <a:xfrm>
            <a:off x="12966699" y="0"/>
            <a:ext cx="469900" cy="469900"/>
          </a:xfrm>
          <a:prstGeom prst="rect">
            <a:avLst/>
          </a:prstGeom>
          <a:solidFill>
            <a:srgbClr val="E878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8" name="Rectangle 107"/>
          <p:cNvSpPr/>
          <p:nvPr/>
        </p:nvSpPr>
        <p:spPr>
          <a:xfrm>
            <a:off x="12966699" y="649557"/>
            <a:ext cx="469900" cy="469900"/>
          </a:xfrm>
          <a:prstGeom prst="rect">
            <a:avLst/>
          </a:prstGeom>
          <a:solidFill>
            <a:srgbClr val="E258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9" name="Rectangle 108"/>
          <p:cNvSpPr/>
          <p:nvPr/>
        </p:nvSpPr>
        <p:spPr>
          <a:xfrm>
            <a:off x="12966699" y="1299114"/>
            <a:ext cx="469900" cy="469900"/>
          </a:xfrm>
          <a:prstGeom prst="rect">
            <a:avLst/>
          </a:prstGeom>
          <a:solidFill>
            <a:srgbClr val="D63E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0" name="Rectangle 109"/>
          <p:cNvSpPr/>
          <p:nvPr/>
        </p:nvSpPr>
        <p:spPr>
          <a:xfrm>
            <a:off x="13588998" y="0"/>
            <a:ext cx="469900" cy="469900"/>
          </a:xfrm>
          <a:prstGeom prst="rect">
            <a:avLst/>
          </a:prstGeom>
          <a:solidFill>
            <a:srgbClr val="8EDC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1" name="Rectangle 110"/>
          <p:cNvSpPr/>
          <p:nvPr/>
        </p:nvSpPr>
        <p:spPr>
          <a:xfrm>
            <a:off x="13588998" y="649557"/>
            <a:ext cx="469900" cy="469900"/>
          </a:xfrm>
          <a:prstGeom prst="rect">
            <a:avLst/>
          </a:prstGeom>
          <a:solidFill>
            <a:srgbClr val="78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2" name="Rectangle 111"/>
          <p:cNvSpPr/>
          <p:nvPr/>
        </p:nvSpPr>
        <p:spPr>
          <a:xfrm>
            <a:off x="13588998" y="1299114"/>
            <a:ext cx="469900" cy="469900"/>
          </a:xfrm>
          <a:prstGeom prst="rect">
            <a:avLst/>
          </a:prstGeom>
          <a:solidFill>
            <a:srgbClr val="4CC7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3" name="Rectangle 112"/>
          <p:cNvSpPr/>
          <p:nvPr/>
        </p:nvSpPr>
        <p:spPr>
          <a:xfrm>
            <a:off x="14211297" y="0"/>
            <a:ext cx="469900" cy="469900"/>
          </a:xfrm>
          <a:prstGeom prst="rect">
            <a:avLst/>
          </a:prstGeom>
          <a:solidFill>
            <a:srgbClr val="5553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4" name="Rectangle 113"/>
          <p:cNvSpPr/>
          <p:nvPr/>
        </p:nvSpPr>
        <p:spPr>
          <a:xfrm>
            <a:off x="14211297" y="649557"/>
            <a:ext cx="469900" cy="469900"/>
          </a:xfrm>
          <a:prstGeom prst="rect">
            <a:avLst/>
          </a:prstGeom>
          <a:solidFill>
            <a:srgbClr val="3B39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5" name="Rectangle 114"/>
          <p:cNvSpPr/>
          <p:nvPr/>
        </p:nvSpPr>
        <p:spPr>
          <a:xfrm>
            <a:off x="14211297" y="1299114"/>
            <a:ext cx="469900" cy="469900"/>
          </a:xfrm>
          <a:prstGeom prst="rect">
            <a:avLst/>
          </a:prstGeom>
          <a:solidFill>
            <a:srgbClr val="2523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0" name="Text Placeholder 119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3200" dirty="0"/>
              <a:t>PowerPoint Presentation</a:t>
            </a:r>
          </a:p>
        </p:txBody>
      </p:sp>
      <p:sp>
        <p:nvSpPr>
          <p:cNvPr id="116" name="Date Placeholder 11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E1B330-CB56-448E-9C70-830A2B9C05C8}" type="datetime1">
              <a:rPr lang="en-US" smtClean="0"/>
              <a:t>11/15/2018</a:t>
            </a:fld>
            <a:endParaRPr lang="en-US"/>
          </a:p>
        </p:txBody>
      </p:sp>
      <p:sp>
        <p:nvSpPr>
          <p:cNvPr id="117" name="Slide Number Placeholder 1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06E70-9524-410D-AE9B-78D656EAA14D}" type="slidenum">
              <a:rPr lang="en-US" smtClean="0"/>
              <a:pPr/>
              <a:t>28</a:t>
            </a:fld>
            <a:endParaRPr lang="en-US"/>
          </a:p>
        </p:txBody>
      </p:sp>
      <p:grpSp>
        <p:nvGrpSpPr>
          <p:cNvPr id="6" name="Group 5"/>
          <p:cNvGrpSpPr/>
          <p:nvPr/>
        </p:nvGrpSpPr>
        <p:grpSpPr>
          <a:xfrm>
            <a:off x="1610519" y="1375277"/>
            <a:ext cx="8970962" cy="4598625"/>
            <a:chOff x="1610519" y="1375277"/>
            <a:chExt cx="8970962" cy="4598625"/>
          </a:xfrm>
        </p:grpSpPr>
        <p:sp>
          <p:nvSpPr>
            <p:cNvPr id="83" name="Rectangle 82"/>
            <p:cNvSpPr/>
            <p:nvPr/>
          </p:nvSpPr>
          <p:spPr>
            <a:xfrm>
              <a:off x="7049588" y="1375277"/>
              <a:ext cx="1710734" cy="646617"/>
            </a:xfrm>
            <a:prstGeom prst="rect">
              <a:avLst/>
            </a:prstGeom>
            <a:solidFill>
              <a:srgbClr val="3B3939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84" name="Rectangle 83"/>
            <p:cNvSpPr/>
            <p:nvPr/>
          </p:nvSpPr>
          <p:spPr>
            <a:xfrm>
              <a:off x="8862612" y="1375277"/>
              <a:ext cx="1710734" cy="646617"/>
            </a:xfrm>
            <a:prstGeom prst="rect">
              <a:avLst/>
            </a:prstGeom>
            <a:solidFill>
              <a:srgbClr val="E2583D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85" name="Parallelogram 82"/>
            <p:cNvSpPr/>
            <p:nvPr/>
          </p:nvSpPr>
          <p:spPr>
            <a:xfrm rot="16200000" flipV="1">
              <a:off x="8526317" y="4711078"/>
              <a:ext cx="587710" cy="133817"/>
            </a:xfrm>
            <a:custGeom>
              <a:avLst/>
              <a:gdLst>
                <a:gd name="connsiteX0" fmla="*/ 0 w 704849"/>
                <a:gd name="connsiteY0" fmla="*/ 118270 h 118270"/>
                <a:gd name="connsiteX1" fmla="*/ 87075 w 704849"/>
                <a:gd name="connsiteY1" fmla="*/ 0 h 118270"/>
                <a:gd name="connsiteX2" fmla="*/ 704849 w 704849"/>
                <a:gd name="connsiteY2" fmla="*/ 0 h 118270"/>
                <a:gd name="connsiteX3" fmla="*/ 617774 w 704849"/>
                <a:gd name="connsiteY3" fmla="*/ 118270 h 118270"/>
                <a:gd name="connsiteX4" fmla="*/ 0 w 704849"/>
                <a:gd name="connsiteY4" fmla="*/ 118270 h 118270"/>
                <a:gd name="connsiteX0" fmla="*/ 0 w 704849"/>
                <a:gd name="connsiteY0" fmla="*/ 118271 h 118271"/>
                <a:gd name="connsiteX1" fmla="*/ 141050 w 704849"/>
                <a:gd name="connsiteY1" fmla="*/ 0 h 118271"/>
                <a:gd name="connsiteX2" fmla="*/ 704849 w 704849"/>
                <a:gd name="connsiteY2" fmla="*/ 1 h 118271"/>
                <a:gd name="connsiteX3" fmla="*/ 617774 w 704849"/>
                <a:gd name="connsiteY3" fmla="*/ 118271 h 118271"/>
                <a:gd name="connsiteX4" fmla="*/ 0 w 704849"/>
                <a:gd name="connsiteY4" fmla="*/ 118271 h 118271"/>
                <a:gd name="connsiteX0" fmla="*/ 0 w 766762"/>
                <a:gd name="connsiteY0" fmla="*/ 118271 h 118271"/>
                <a:gd name="connsiteX1" fmla="*/ 141050 w 766762"/>
                <a:gd name="connsiteY1" fmla="*/ 0 h 118271"/>
                <a:gd name="connsiteX2" fmla="*/ 766762 w 766762"/>
                <a:gd name="connsiteY2" fmla="*/ 1 h 118271"/>
                <a:gd name="connsiteX3" fmla="*/ 617774 w 766762"/>
                <a:gd name="connsiteY3" fmla="*/ 118271 h 118271"/>
                <a:gd name="connsiteX4" fmla="*/ 0 w 766762"/>
                <a:gd name="connsiteY4" fmla="*/ 118271 h 118271"/>
                <a:gd name="connsiteX0" fmla="*/ 0 w 766762"/>
                <a:gd name="connsiteY0" fmla="*/ 118271 h 118271"/>
                <a:gd name="connsiteX1" fmla="*/ 376324 w 766762"/>
                <a:gd name="connsiteY1" fmla="*/ 0 h 118271"/>
                <a:gd name="connsiteX2" fmla="*/ 766762 w 766762"/>
                <a:gd name="connsiteY2" fmla="*/ 1 h 118271"/>
                <a:gd name="connsiteX3" fmla="*/ 617774 w 766762"/>
                <a:gd name="connsiteY3" fmla="*/ 118271 h 118271"/>
                <a:gd name="connsiteX4" fmla="*/ 0 w 766762"/>
                <a:gd name="connsiteY4" fmla="*/ 118271 h 118271"/>
                <a:gd name="connsiteX0" fmla="*/ 0 w 766762"/>
                <a:gd name="connsiteY0" fmla="*/ 118270 h 118270"/>
                <a:gd name="connsiteX1" fmla="*/ 347978 w 766762"/>
                <a:gd name="connsiteY1" fmla="*/ 2380 h 118270"/>
                <a:gd name="connsiteX2" fmla="*/ 766762 w 766762"/>
                <a:gd name="connsiteY2" fmla="*/ 0 h 118270"/>
                <a:gd name="connsiteX3" fmla="*/ 617774 w 766762"/>
                <a:gd name="connsiteY3" fmla="*/ 118270 h 118270"/>
                <a:gd name="connsiteX4" fmla="*/ 0 w 766762"/>
                <a:gd name="connsiteY4" fmla="*/ 118270 h 118270"/>
                <a:gd name="connsiteX0" fmla="*/ 0 w 766762"/>
                <a:gd name="connsiteY0" fmla="*/ 118272 h 118272"/>
                <a:gd name="connsiteX1" fmla="*/ 594417 w 766762"/>
                <a:gd name="connsiteY1" fmla="*/ 0 h 118272"/>
                <a:gd name="connsiteX2" fmla="*/ 766762 w 766762"/>
                <a:gd name="connsiteY2" fmla="*/ 2 h 118272"/>
                <a:gd name="connsiteX3" fmla="*/ 617774 w 766762"/>
                <a:gd name="connsiteY3" fmla="*/ 118272 h 118272"/>
                <a:gd name="connsiteX4" fmla="*/ 0 w 766762"/>
                <a:gd name="connsiteY4" fmla="*/ 118272 h 118272"/>
                <a:gd name="connsiteX0" fmla="*/ 0 w 537573"/>
                <a:gd name="connsiteY0" fmla="*/ 118272 h 118272"/>
                <a:gd name="connsiteX1" fmla="*/ 365228 w 537573"/>
                <a:gd name="connsiteY1" fmla="*/ 0 h 118272"/>
                <a:gd name="connsiteX2" fmla="*/ 537573 w 537573"/>
                <a:gd name="connsiteY2" fmla="*/ 2 h 118272"/>
                <a:gd name="connsiteX3" fmla="*/ 388585 w 537573"/>
                <a:gd name="connsiteY3" fmla="*/ 118272 h 118272"/>
                <a:gd name="connsiteX4" fmla="*/ 0 w 537573"/>
                <a:gd name="connsiteY4" fmla="*/ 118272 h 118272"/>
                <a:gd name="connsiteX0" fmla="*/ 0 w 537573"/>
                <a:gd name="connsiteY0" fmla="*/ 118272 h 118272"/>
                <a:gd name="connsiteX1" fmla="*/ 414516 w 537573"/>
                <a:gd name="connsiteY1" fmla="*/ 0 h 118272"/>
                <a:gd name="connsiteX2" fmla="*/ 537573 w 537573"/>
                <a:gd name="connsiteY2" fmla="*/ 2 h 118272"/>
                <a:gd name="connsiteX3" fmla="*/ 388585 w 537573"/>
                <a:gd name="connsiteY3" fmla="*/ 118272 h 118272"/>
                <a:gd name="connsiteX4" fmla="*/ 0 w 537573"/>
                <a:gd name="connsiteY4" fmla="*/ 118272 h 1182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7573" h="118272">
                  <a:moveTo>
                    <a:pt x="0" y="118272"/>
                  </a:moveTo>
                  <a:lnTo>
                    <a:pt x="414516" y="0"/>
                  </a:lnTo>
                  <a:lnTo>
                    <a:pt x="537573" y="2"/>
                  </a:lnTo>
                  <a:lnTo>
                    <a:pt x="388585" y="118272"/>
                  </a:lnTo>
                  <a:lnTo>
                    <a:pt x="0" y="118272"/>
                  </a:lnTo>
                  <a:close/>
                </a:path>
              </a:pathLst>
            </a:custGeom>
            <a:solidFill>
              <a:srgbClr val="D63E2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86" name="Parallelogram 82"/>
            <p:cNvSpPr/>
            <p:nvPr/>
          </p:nvSpPr>
          <p:spPr>
            <a:xfrm rot="16200000" flipV="1">
              <a:off x="8551822" y="4460429"/>
              <a:ext cx="542948" cy="136511"/>
            </a:xfrm>
            <a:custGeom>
              <a:avLst/>
              <a:gdLst>
                <a:gd name="connsiteX0" fmla="*/ 0 w 704849"/>
                <a:gd name="connsiteY0" fmla="*/ 118270 h 118270"/>
                <a:gd name="connsiteX1" fmla="*/ 87075 w 704849"/>
                <a:gd name="connsiteY1" fmla="*/ 0 h 118270"/>
                <a:gd name="connsiteX2" fmla="*/ 704849 w 704849"/>
                <a:gd name="connsiteY2" fmla="*/ 0 h 118270"/>
                <a:gd name="connsiteX3" fmla="*/ 617774 w 704849"/>
                <a:gd name="connsiteY3" fmla="*/ 118270 h 118270"/>
                <a:gd name="connsiteX4" fmla="*/ 0 w 704849"/>
                <a:gd name="connsiteY4" fmla="*/ 118270 h 118270"/>
                <a:gd name="connsiteX0" fmla="*/ 0 w 704849"/>
                <a:gd name="connsiteY0" fmla="*/ 118271 h 118271"/>
                <a:gd name="connsiteX1" fmla="*/ 141050 w 704849"/>
                <a:gd name="connsiteY1" fmla="*/ 0 h 118271"/>
                <a:gd name="connsiteX2" fmla="*/ 704849 w 704849"/>
                <a:gd name="connsiteY2" fmla="*/ 1 h 118271"/>
                <a:gd name="connsiteX3" fmla="*/ 617774 w 704849"/>
                <a:gd name="connsiteY3" fmla="*/ 118271 h 118271"/>
                <a:gd name="connsiteX4" fmla="*/ 0 w 704849"/>
                <a:gd name="connsiteY4" fmla="*/ 118271 h 118271"/>
                <a:gd name="connsiteX0" fmla="*/ 0 w 717549"/>
                <a:gd name="connsiteY0" fmla="*/ 118271 h 118271"/>
                <a:gd name="connsiteX1" fmla="*/ 153750 w 717549"/>
                <a:gd name="connsiteY1" fmla="*/ 0 h 118271"/>
                <a:gd name="connsiteX2" fmla="*/ 717549 w 717549"/>
                <a:gd name="connsiteY2" fmla="*/ 1 h 118271"/>
                <a:gd name="connsiteX3" fmla="*/ 630474 w 717549"/>
                <a:gd name="connsiteY3" fmla="*/ 118271 h 118271"/>
                <a:gd name="connsiteX4" fmla="*/ 0 w 717549"/>
                <a:gd name="connsiteY4" fmla="*/ 118271 h 118271"/>
                <a:gd name="connsiteX0" fmla="*/ 0 w 717549"/>
                <a:gd name="connsiteY0" fmla="*/ 118271 h 118271"/>
                <a:gd name="connsiteX1" fmla="*/ 402037 w 717549"/>
                <a:gd name="connsiteY1" fmla="*/ 0 h 118271"/>
                <a:gd name="connsiteX2" fmla="*/ 717549 w 717549"/>
                <a:gd name="connsiteY2" fmla="*/ 1 h 118271"/>
                <a:gd name="connsiteX3" fmla="*/ 630474 w 717549"/>
                <a:gd name="connsiteY3" fmla="*/ 118271 h 118271"/>
                <a:gd name="connsiteX4" fmla="*/ 0 w 717549"/>
                <a:gd name="connsiteY4" fmla="*/ 118271 h 118271"/>
                <a:gd name="connsiteX0" fmla="*/ 0 w 717549"/>
                <a:gd name="connsiteY0" fmla="*/ 120653 h 120653"/>
                <a:gd name="connsiteX1" fmla="*/ 441204 w 717549"/>
                <a:gd name="connsiteY1" fmla="*/ 0 h 120653"/>
                <a:gd name="connsiteX2" fmla="*/ 717549 w 717549"/>
                <a:gd name="connsiteY2" fmla="*/ 2383 h 120653"/>
                <a:gd name="connsiteX3" fmla="*/ 630474 w 717549"/>
                <a:gd name="connsiteY3" fmla="*/ 120653 h 120653"/>
                <a:gd name="connsiteX4" fmla="*/ 0 w 717549"/>
                <a:gd name="connsiteY4" fmla="*/ 120653 h 120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7549" h="120653">
                  <a:moveTo>
                    <a:pt x="0" y="120653"/>
                  </a:moveTo>
                  <a:lnTo>
                    <a:pt x="441204" y="0"/>
                  </a:lnTo>
                  <a:lnTo>
                    <a:pt x="717549" y="2383"/>
                  </a:lnTo>
                  <a:lnTo>
                    <a:pt x="630474" y="120653"/>
                  </a:lnTo>
                  <a:lnTo>
                    <a:pt x="0" y="120653"/>
                  </a:lnTo>
                  <a:close/>
                </a:path>
              </a:pathLst>
            </a:custGeom>
            <a:solidFill>
              <a:srgbClr val="2523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87" name="Parallelogram 91"/>
            <p:cNvSpPr/>
            <p:nvPr/>
          </p:nvSpPr>
          <p:spPr>
            <a:xfrm rot="5400000">
              <a:off x="8465846" y="3533383"/>
              <a:ext cx="709508" cy="131122"/>
            </a:xfrm>
            <a:custGeom>
              <a:avLst/>
              <a:gdLst>
                <a:gd name="connsiteX0" fmla="*/ 0 w 761593"/>
                <a:gd name="connsiteY0" fmla="*/ 118270 h 118270"/>
                <a:gd name="connsiteX1" fmla="*/ 87075 w 761593"/>
                <a:gd name="connsiteY1" fmla="*/ 0 h 118270"/>
                <a:gd name="connsiteX2" fmla="*/ 761593 w 761593"/>
                <a:gd name="connsiteY2" fmla="*/ 0 h 118270"/>
                <a:gd name="connsiteX3" fmla="*/ 674518 w 761593"/>
                <a:gd name="connsiteY3" fmla="*/ 118270 h 118270"/>
                <a:gd name="connsiteX4" fmla="*/ 0 w 761593"/>
                <a:gd name="connsiteY4" fmla="*/ 118270 h 118270"/>
                <a:gd name="connsiteX0" fmla="*/ 0 w 852083"/>
                <a:gd name="connsiteY0" fmla="*/ 118270 h 118270"/>
                <a:gd name="connsiteX1" fmla="*/ 87075 w 852083"/>
                <a:gd name="connsiteY1" fmla="*/ 0 h 118270"/>
                <a:gd name="connsiteX2" fmla="*/ 852083 w 852083"/>
                <a:gd name="connsiteY2" fmla="*/ 2381 h 118270"/>
                <a:gd name="connsiteX3" fmla="*/ 674518 w 852083"/>
                <a:gd name="connsiteY3" fmla="*/ 118270 h 118270"/>
                <a:gd name="connsiteX4" fmla="*/ 0 w 852083"/>
                <a:gd name="connsiteY4" fmla="*/ 118270 h 118270"/>
                <a:gd name="connsiteX0" fmla="*/ 0 w 852083"/>
                <a:gd name="connsiteY0" fmla="*/ 118271 h 118271"/>
                <a:gd name="connsiteX1" fmla="*/ 260909 w 852083"/>
                <a:gd name="connsiteY1" fmla="*/ 0 h 118271"/>
                <a:gd name="connsiteX2" fmla="*/ 852083 w 852083"/>
                <a:gd name="connsiteY2" fmla="*/ 2382 h 118271"/>
                <a:gd name="connsiteX3" fmla="*/ 674518 w 852083"/>
                <a:gd name="connsiteY3" fmla="*/ 118271 h 118271"/>
                <a:gd name="connsiteX4" fmla="*/ 0 w 852083"/>
                <a:gd name="connsiteY4" fmla="*/ 118271 h 118271"/>
                <a:gd name="connsiteX0" fmla="*/ 0 w 852083"/>
                <a:gd name="connsiteY0" fmla="*/ 115890 h 115890"/>
                <a:gd name="connsiteX1" fmla="*/ 552277 w 852083"/>
                <a:gd name="connsiteY1" fmla="*/ 0 h 115890"/>
                <a:gd name="connsiteX2" fmla="*/ 852083 w 852083"/>
                <a:gd name="connsiteY2" fmla="*/ 1 h 115890"/>
                <a:gd name="connsiteX3" fmla="*/ 674518 w 852083"/>
                <a:gd name="connsiteY3" fmla="*/ 115890 h 115890"/>
                <a:gd name="connsiteX4" fmla="*/ 0 w 852083"/>
                <a:gd name="connsiteY4" fmla="*/ 115890 h 115890"/>
                <a:gd name="connsiteX0" fmla="*/ 1 w 999547"/>
                <a:gd name="connsiteY0" fmla="*/ 118271 h 118271"/>
                <a:gd name="connsiteX1" fmla="*/ 699741 w 999547"/>
                <a:gd name="connsiteY1" fmla="*/ 0 h 118271"/>
                <a:gd name="connsiteX2" fmla="*/ 999547 w 999547"/>
                <a:gd name="connsiteY2" fmla="*/ 1 h 118271"/>
                <a:gd name="connsiteX3" fmla="*/ 821982 w 999547"/>
                <a:gd name="connsiteY3" fmla="*/ 115890 h 118271"/>
                <a:gd name="connsiteX4" fmla="*/ 1 w 999547"/>
                <a:gd name="connsiteY4" fmla="*/ 118271 h 118271"/>
                <a:gd name="connsiteX0" fmla="*/ 1 w 1029792"/>
                <a:gd name="connsiteY0" fmla="*/ 113509 h 115890"/>
                <a:gd name="connsiteX1" fmla="*/ 729986 w 1029792"/>
                <a:gd name="connsiteY1" fmla="*/ 0 h 115890"/>
                <a:gd name="connsiteX2" fmla="*/ 1029792 w 1029792"/>
                <a:gd name="connsiteY2" fmla="*/ 1 h 115890"/>
                <a:gd name="connsiteX3" fmla="*/ 852227 w 1029792"/>
                <a:gd name="connsiteY3" fmla="*/ 115890 h 115890"/>
                <a:gd name="connsiteX4" fmla="*/ 1 w 1029792"/>
                <a:gd name="connsiteY4" fmla="*/ 113509 h 115890"/>
                <a:gd name="connsiteX0" fmla="*/ -1 w 984411"/>
                <a:gd name="connsiteY0" fmla="*/ 120653 h 120653"/>
                <a:gd name="connsiteX1" fmla="*/ 684605 w 984411"/>
                <a:gd name="connsiteY1" fmla="*/ 0 h 120653"/>
                <a:gd name="connsiteX2" fmla="*/ 984411 w 984411"/>
                <a:gd name="connsiteY2" fmla="*/ 1 h 120653"/>
                <a:gd name="connsiteX3" fmla="*/ 806846 w 984411"/>
                <a:gd name="connsiteY3" fmla="*/ 115890 h 120653"/>
                <a:gd name="connsiteX4" fmla="*/ -1 w 984411"/>
                <a:gd name="connsiteY4" fmla="*/ 120653 h 120653"/>
                <a:gd name="connsiteX0" fmla="*/ 0 w 1018441"/>
                <a:gd name="connsiteY0" fmla="*/ 123034 h 123034"/>
                <a:gd name="connsiteX1" fmla="*/ 718635 w 1018441"/>
                <a:gd name="connsiteY1" fmla="*/ 0 h 123034"/>
                <a:gd name="connsiteX2" fmla="*/ 1018441 w 1018441"/>
                <a:gd name="connsiteY2" fmla="*/ 1 h 123034"/>
                <a:gd name="connsiteX3" fmla="*/ 840876 w 1018441"/>
                <a:gd name="connsiteY3" fmla="*/ 115890 h 123034"/>
                <a:gd name="connsiteX4" fmla="*/ 0 w 1018441"/>
                <a:gd name="connsiteY4" fmla="*/ 123034 h 123034"/>
                <a:gd name="connsiteX0" fmla="*/ 0 w 984407"/>
                <a:gd name="connsiteY0" fmla="*/ 115890 h 115890"/>
                <a:gd name="connsiteX1" fmla="*/ 684601 w 984407"/>
                <a:gd name="connsiteY1" fmla="*/ 0 h 115890"/>
                <a:gd name="connsiteX2" fmla="*/ 984407 w 984407"/>
                <a:gd name="connsiteY2" fmla="*/ 1 h 115890"/>
                <a:gd name="connsiteX3" fmla="*/ 806842 w 984407"/>
                <a:gd name="connsiteY3" fmla="*/ 115890 h 115890"/>
                <a:gd name="connsiteX4" fmla="*/ 0 w 984407"/>
                <a:gd name="connsiteY4" fmla="*/ 115890 h 115890"/>
                <a:gd name="connsiteX0" fmla="*/ 0 w 995749"/>
                <a:gd name="connsiteY0" fmla="*/ 115890 h 115890"/>
                <a:gd name="connsiteX1" fmla="*/ 695943 w 995749"/>
                <a:gd name="connsiteY1" fmla="*/ 0 h 115890"/>
                <a:gd name="connsiteX2" fmla="*/ 995749 w 995749"/>
                <a:gd name="connsiteY2" fmla="*/ 1 h 115890"/>
                <a:gd name="connsiteX3" fmla="*/ 818184 w 995749"/>
                <a:gd name="connsiteY3" fmla="*/ 115890 h 115890"/>
                <a:gd name="connsiteX4" fmla="*/ 0 w 995749"/>
                <a:gd name="connsiteY4" fmla="*/ 115890 h 115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5749" h="115890">
                  <a:moveTo>
                    <a:pt x="0" y="115890"/>
                  </a:moveTo>
                  <a:lnTo>
                    <a:pt x="695943" y="0"/>
                  </a:lnTo>
                  <a:lnTo>
                    <a:pt x="995749" y="1"/>
                  </a:lnTo>
                  <a:lnTo>
                    <a:pt x="818184" y="115890"/>
                  </a:lnTo>
                  <a:lnTo>
                    <a:pt x="0" y="115890"/>
                  </a:lnTo>
                  <a:close/>
                </a:path>
              </a:pathLst>
            </a:custGeom>
            <a:solidFill>
              <a:srgbClr val="D63E2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88" name="Parallelogram 89"/>
            <p:cNvSpPr/>
            <p:nvPr/>
          </p:nvSpPr>
          <p:spPr>
            <a:xfrm rot="5400000">
              <a:off x="8620251" y="3809295"/>
              <a:ext cx="406088" cy="136509"/>
            </a:xfrm>
            <a:custGeom>
              <a:avLst/>
              <a:gdLst>
                <a:gd name="connsiteX0" fmla="*/ 0 w 588976"/>
                <a:gd name="connsiteY0" fmla="*/ 118270 h 118270"/>
                <a:gd name="connsiteX1" fmla="*/ 87075 w 588976"/>
                <a:gd name="connsiteY1" fmla="*/ 0 h 118270"/>
                <a:gd name="connsiteX2" fmla="*/ 588976 w 588976"/>
                <a:gd name="connsiteY2" fmla="*/ 0 h 118270"/>
                <a:gd name="connsiteX3" fmla="*/ 501901 w 588976"/>
                <a:gd name="connsiteY3" fmla="*/ 118270 h 118270"/>
                <a:gd name="connsiteX4" fmla="*/ 0 w 588976"/>
                <a:gd name="connsiteY4" fmla="*/ 118270 h 118270"/>
                <a:gd name="connsiteX0" fmla="*/ 0 w 588976"/>
                <a:gd name="connsiteY0" fmla="*/ 120651 h 120651"/>
                <a:gd name="connsiteX1" fmla="*/ 201375 w 588976"/>
                <a:gd name="connsiteY1" fmla="*/ 0 h 120651"/>
                <a:gd name="connsiteX2" fmla="*/ 588976 w 588976"/>
                <a:gd name="connsiteY2" fmla="*/ 2381 h 120651"/>
                <a:gd name="connsiteX3" fmla="*/ 501901 w 588976"/>
                <a:gd name="connsiteY3" fmla="*/ 120651 h 120651"/>
                <a:gd name="connsiteX4" fmla="*/ 0 w 588976"/>
                <a:gd name="connsiteY4" fmla="*/ 120651 h 120651"/>
                <a:gd name="connsiteX0" fmla="*/ 0 w 581832"/>
                <a:gd name="connsiteY0" fmla="*/ 120651 h 120651"/>
                <a:gd name="connsiteX1" fmla="*/ 194231 w 581832"/>
                <a:gd name="connsiteY1" fmla="*/ 0 h 120651"/>
                <a:gd name="connsiteX2" fmla="*/ 581832 w 581832"/>
                <a:gd name="connsiteY2" fmla="*/ 2381 h 120651"/>
                <a:gd name="connsiteX3" fmla="*/ 494757 w 581832"/>
                <a:gd name="connsiteY3" fmla="*/ 120651 h 120651"/>
                <a:gd name="connsiteX4" fmla="*/ 0 w 581832"/>
                <a:gd name="connsiteY4" fmla="*/ 120651 h 120651"/>
                <a:gd name="connsiteX0" fmla="*/ 0 w 581832"/>
                <a:gd name="connsiteY0" fmla="*/ 120651 h 120651"/>
                <a:gd name="connsiteX1" fmla="*/ 359114 w 581832"/>
                <a:gd name="connsiteY1" fmla="*/ 0 h 120651"/>
                <a:gd name="connsiteX2" fmla="*/ 581832 w 581832"/>
                <a:gd name="connsiteY2" fmla="*/ 2381 h 120651"/>
                <a:gd name="connsiteX3" fmla="*/ 494757 w 581832"/>
                <a:gd name="connsiteY3" fmla="*/ 120651 h 120651"/>
                <a:gd name="connsiteX4" fmla="*/ 0 w 581832"/>
                <a:gd name="connsiteY4" fmla="*/ 120651 h 120651"/>
                <a:gd name="connsiteX0" fmla="*/ 0 w 581832"/>
                <a:gd name="connsiteY0" fmla="*/ 123032 h 123032"/>
                <a:gd name="connsiteX1" fmla="*/ 378415 w 581832"/>
                <a:gd name="connsiteY1" fmla="*/ 0 h 123032"/>
                <a:gd name="connsiteX2" fmla="*/ 581832 w 581832"/>
                <a:gd name="connsiteY2" fmla="*/ 4762 h 123032"/>
                <a:gd name="connsiteX3" fmla="*/ 494757 w 581832"/>
                <a:gd name="connsiteY3" fmla="*/ 123032 h 123032"/>
                <a:gd name="connsiteX4" fmla="*/ 0 w 581832"/>
                <a:gd name="connsiteY4" fmla="*/ 123032 h 123032"/>
                <a:gd name="connsiteX0" fmla="*/ 0 w 581832"/>
                <a:gd name="connsiteY0" fmla="*/ 120651 h 120651"/>
                <a:gd name="connsiteX1" fmla="*/ 409301 w 581832"/>
                <a:gd name="connsiteY1" fmla="*/ 0 h 120651"/>
                <a:gd name="connsiteX2" fmla="*/ 581832 w 581832"/>
                <a:gd name="connsiteY2" fmla="*/ 2381 h 120651"/>
                <a:gd name="connsiteX3" fmla="*/ 494757 w 581832"/>
                <a:gd name="connsiteY3" fmla="*/ 120651 h 120651"/>
                <a:gd name="connsiteX4" fmla="*/ 0 w 581832"/>
                <a:gd name="connsiteY4" fmla="*/ 120651 h 120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81832" h="120651">
                  <a:moveTo>
                    <a:pt x="0" y="120651"/>
                  </a:moveTo>
                  <a:lnTo>
                    <a:pt x="409301" y="0"/>
                  </a:lnTo>
                  <a:lnTo>
                    <a:pt x="581832" y="2381"/>
                  </a:lnTo>
                  <a:lnTo>
                    <a:pt x="494757" y="120651"/>
                  </a:lnTo>
                  <a:lnTo>
                    <a:pt x="0" y="120651"/>
                  </a:lnTo>
                  <a:close/>
                </a:path>
              </a:pathLst>
            </a:custGeom>
            <a:solidFill>
              <a:srgbClr val="76717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6A5D79">
                    <a:lumMod val="75000"/>
                  </a:srgbClr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89" name="Rectangle 88"/>
            <p:cNvSpPr/>
            <p:nvPr/>
          </p:nvSpPr>
          <p:spPr>
            <a:xfrm>
              <a:off x="5236565" y="1375277"/>
              <a:ext cx="1710734" cy="646617"/>
            </a:xfrm>
            <a:prstGeom prst="rect">
              <a:avLst/>
            </a:prstGeom>
            <a:solidFill>
              <a:srgbClr val="78D2D2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90" name="Parallelogram 91"/>
            <p:cNvSpPr/>
            <p:nvPr/>
          </p:nvSpPr>
          <p:spPr>
            <a:xfrm rot="5400000">
              <a:off x="6490246" y="3130350"/>
              <a:ext cx="1040049" cy="131122"/>
            </a:xfrm>
            <a:custGeom>
              <a:avLst/>
              <a:gdLst>
                <a:gd name="connsiteX0" fmla="*/ 0 w 761593"/>
                <a:gd name="connsiteY0" fmla="*/ 118270 h 118270"/>
                <a:gd name="connsiteX1" fmla="*/ 87075 w 761593"/>
                <a:gd name="connsiteY1" fmla="*/ 0 h 118270"/>
                <a:gd name="connsiteX2" fmla="*/ 761593 w 761593"/>
                <a:gd name="connsiteY2" fmla="*/ 0 h 118270"/>
                <a:gd name="connsiteX3" fmla="*/ 674518 w 761593"/>
                <a:gd name="connsiteY3" fmla="*/ 118270 h 118270"/>
                <a:gd name="connsiteX4" fmla="*/ 0 w 761593"/>
                <a:gd name="connsiteY4" fmla="*/ 118270 h 118270"/>
                <a:gd name="connsiteX0" fmla="*/ 0 w 852083"/>
                <a:gd name="connsiteY0" fmla="*/ 118270 h 118270"/>
                <a:gd name="connsiteX1" fmla="*/ 87075 w 852083"/>
                <a:gd name="connsiteY1" fmla="*/ 0 h 118270"/>
                <a:gd name="connsiteX2" fmla="*/ 852083 w 852083"/>
                <a:gd name="connsiteY2" fmla="*/ 2381 h 118270"/>
                <a:gd name="connsiteX3" fmla="*/ 674518 w 852083"/>
                <a:gd name="connsiteY3" fmla="*/ 118270 h 118270"/>
                <a:gd name="connsiteX4" fmla="*/ 0 w 852083"/>
                <a:gd name="connsiteY4" fmla="*/ 118270 h 118270"/>
                <a:gd name="connsiteX0" fmla="*/ 0 w 852083"/>
                <a:gd name="connsiteY0" fmla="*/ 118271 h 118271"/>
                <a:gd name="connsiteX1" fmla="*/ 260909 w 852083"/>
                <a:gd name="connsiteY1" fmla="*/ 0 h 118271"/>
                <a:gd name="connsiteX2" fmla="*/ 852083 w 852083"/>
                <a:gd name="connsiteY2" fmla="*/ 2382 h 118271"/>
                <a:gd name="connsiteX3" fmla="*/ 674518 w 852083"/>
                <a:gd name="connsiteY3" fmla="*/ 118271 h 118271"/>
                <a:gd name="connsiteX4" fmla="*/ 0 w 852083"/>
                <a:gd name="connsiteY4" fmla="*/ 118271 h 118271"/>
                <a:gd name="connsiteX0" fmla="*/ 0 w 852083"/>
                <a:gd name="connsiteY0" fmla="*/ 115890 h 115890"/>
                <a:gd name="connsiteX1" fmla="*/ 552277 w 852083"/>
                <a:gd name="connsiteY1" fmla="*/ 0 h 115890"/>
                <a:gd name="connsiteX2" fmla="*/ 852083 w 852083"/>
                <a:gd name="connsiteY2" fmla="*/ 1 h 115890"/>
                <a:gd name="connsiteX3" fmla="*/ 674518 w 852083"/>
                <a:gd name="connsiteY3" fmla="*/ 115890 h 115890"/>
                <a:gd name="connsiteX4" fmla="*/ 0 w 852083"/>
                <a:gd name="connsiteY4" fmla="*/ 115890 h 115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2083" h="115890">
                  <a:moveTo>
                    <a:pt x="0" y="115890"/>
                  </a:moveTo>
                  <a:lnTo>
                    <a:pt x="552277" y="0"/>
                  </a:lnTo>
                  <a:lnTo>
                    <a:pt x="852083" y="1"/>
                  </a:lnTo>
                  <a:lnTo>
                    <a:pt x="674518" y="115890"/>
                  </a:lnTo>
                  <a:lnTo>
                    <a:pt x="0" y="115890"/>
                  </a:lnTo>
                  <a:close/>
                </a:path>
              </a:pathLst>
            </a:custGeom>
            <a:solidFill>
              <a:srgbClr val="D63E2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91" name="Parallelogram 89"/>
            <p:cNvSpPr/>
            <p:nvPr/>
          </p:nvSpPr>
          <p:spPr>
            <a:xfrm rot="5400000">
              <a:off x="6708731" y="3603627"/>
              <a:ext cx="608468" cy="136509"/>
            </a:xfrm>
            <a:custGeom>
              <a:avLst/>
              <a:gdLst>
                <a:gd name="connsiteX0" fmla="*/ 0 w 588976"/>
                <a:gd name="connsiteY0" fmla="*/ 118270 h 118270"/>
                <a:gd name="connsiteX1" fmla="*/ 87075 w 588976"/>
                <a:gd name="connsiteY1" fmla="*/ 0 h 118270"/>
                <a:gd name="connsiteX2" fmla="*/ 588976 w 588976"/>
                <a:gd name="connsiteY2" fmla="*/ 0 h 118270"/>
                <a:gd name="connsiteX3" fmla="*/ 501901 w 588976"/>
                <a:gd name="connsiteY3" fmla="*/ 118270 h 118270"/>
                <a:gd name="connsiteX4" fmla="*/ 0 w 588976"/>
                <a:gd name="connsiteY4" fmla="*/ 118270 h 118270"/>
                <a:gd name="connsiteX0" fmla="*/ 0 w 588976"/>
                <a:gd name="connsiteY0" fmla="*/ 120651 h 120651"/>
                <a:gd name="connsiteX1" fmla="*/ 201375 w 588976"/>
                <a:gd name="connsiteY1" fmla="*/ 0 h 120651"/>
                <a:gd name="connsiteX2" fmla="*/ 588976 w 588976"/>
                <a:gd name="connsiteY2" fmla="*/ 2381 h 120651"/>
                <a:gd name="connsiteX3" fmla="*/ 501901 w 588976"/>
                <a:gd name="connsiteY3" fmla="*/ 120651 h 120651"/>
                <a:gd name="connsiteX4" fmla="*/ 0 w 588976"/>
                <a:gd name="connsiteY4" fmla="*/ 120651 h 120651"/>
                <a:gd name="connsiteX0" fmla="*/ 0 w 581832"/>
                <a:gd name="connsiteY0" fmla="*/ 120651 h 120651"/>
                <a:gd name="connsiteX1" fmla="*/ 194231 w 581832"/>
                <a:gd name="connsiteY1" fmla="*/ 0 h 120651"/>
                <a:gd name="connsiteX2" fmla="*/ 581832 w 581832"/>
                <a:gd name="connsiteY2" fmla="*/ 2381 h 120651"/>
                <a:gd name="connsiteX3" fmla="*/ 494757 w 581832"/>
                <a:gd name="connsiteY3" fmla="*/ 120651 h 120651"/>
                <a:gd name="connsiteX4" fmla="*/ 0 w 581832"/>
                <a:gd name="connsiteY4" fmla="*/ 120651 h 120651"/>
                <a:gd name="connsiteX0" fmla="*/ 0 w 581832"/>
                <a:gd name="connsiteY0" fmla="*/ 120651 h 120651"/>
                <a:gd name="connsiteX1" fmla="*/ 359114 w 581832"/>
                <a:gd name="connsiteY1" fmla="*/ 0 h 120651"/>
                <a:gd name="connsiteX2" fmla="*/ 581832 w 581832"/>
                <a:gd name="connsiteY2" fmla="*/ 2381 h 120651"/>
                <a:gd name="connsiteX3" fmla="*/ 494757 w 581832"/>
                <a:gd name="connsiteY3" fmla="*/ 120651 h 120651"/>
                <a:gd name="connsiteX4" fmla="*/ 0 w 581832"/>
                <a:gd name="connsiteY4" fmla="*/ 120651 h 120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81832" h="120651">
                  <a:moveTo>
                    <a:pt x="0" y="120651"/>
                  </a:moveTo>
                  <a:lnTo>
                    <a:pt x="359114" y="0"/>
                  </a:lnTo>
                  <a:lnTo>
                    <a:pt x="581832" y="2381"/>
                  </a:lnTo>
                  <a:lnTo>
                    <a:pt x="494757" y="120651"/>
                  </a:lnTo>
                  <a:lnTo>
                    <a:pt x="0" y="120651"/>
                  </a:lnTo>
                  <a:close/>
                </a:path>
              </a:pathLst>
            </a:custGeom>
            <a:solidFill>
              <a:srgbClr val="76717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6A5D79">
                    <a:lumMod val="75000"/>
                  </a:srgbClr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92" name="Parallelogram 82"/>
            <p:cNvSpPr/>
            <p:nvPr/>
          </p:nvSpPr>
          <p:spPr>
            <a:xfrm rot="16200000" flipV="1">
              <a:off x="6592539" y="5115956"/>
              <a:ext cx="838273" cy="133817"/>
            </a:xfrm>
            <a:custGeom>
              <a:avLst/>
              <a:gdLst>
                <a:gd name="connsiteX0" fmla="*/ 0 w 704849"/>
                <a:gd name="connsiteY0" fmla="*/ 118270 h 118270"/>
                <a:gd name="connsiteX1" fmla="*/ 87075 w 704849"/>
                <a:gd name="connsiteY1" fmla="*/ 0 h 118270"/>
                <a:gd name="connsiteX2" fmla="*/ 704849 w 704849"/>
                <a:gd name="connsiteY2" fmla="*/ 0 h 118270"/>
                <a:gd name="connsiteX3" fmla="*/ 617774 w 704849"/>
                <a:gd name="connsiteY3" fmla="*/ 118270 h 118270"/>
                <a:gd name="connsiteX4" fmla="*/ 0 w 704849"/>
                <a:gd name="connsiteY4" fmla="*/ 118270 h 118270"/>
                <a:gd name="connsiteX0" fmla="*/ 0 w 704849"/>
                <a:gd name="connsiteY0" fmla="*/ 118271 h 118271"/>
                <a:gd name="connsiteX1" fmla="*/ 141050 w 704849"/>
                <a:gd name="connsiteY1" fmla="*/ 0 h 118271"/>
                <a:gd name="connsiteX2" fmla="*/ 704849 w 704849"/>
                <a:gd name="connsiteY2" fmla="*/ 1 h 118271"/>
                <a:gd name="connsiteX3" fmla="*/ 617774 w 704849"/>
                <a:gd name="connsiteY3" fmla="*/ 118271 h 118271"/>
                <a:gd name="connsiteX4" fmla="*/ 0 w 704849"/>
                <a:gd name="connsiteY4" fmla="*/ 118271 h 118271"/>
                <a:gd name="connsiteX0" fmla="*/ 0 w 766762"/>
                <a:gd name="connsiteY0" fmla="*/ 118271 h 118271"/>
                <a:gd name="connsiteX1" fmla="*/ 141050 w 766762"/>
                <a:gd name="connsiteY1" fmla="*/ 0 h 118271"/>
                <a:gd name="connsiteX2" fmla="*/ 766762 w 766762"/>
                <a:gd name="connsiteY2" fmla="*/ 1 h 118271"/>
                <a:gd name="connsiteX3" fmla="*/ 617774 w 766762"/>
                <a:gd name="connsiteY3" fmla="*/ 118271 h 118271"/>
                <a:gd name="connsiteX4" fmla="*/ 0 w 766762"/>
                <a:gd name="connsiteY4" fmla="*/ 118271 h 118271"/>
                <a:gd name="connsiteX0" fmla="*/ 0 w 766762"/>
                <a:gd name="connsiteY0" fmla="*/ 118271 h 118271"/>
                <a:gd name="connsiteX1" fmla="*/ 376324 w 766762"/>
                <a:gd name="connsiteY1" fmla="*/ 0 h 118271"/>
                <a:gd name="connsiteX2" fmla="*/ 766762 w 766762"/>
                <a:gd name="connsiteY2" fmla="*/ 1 h 118271"/>
                <a:gd name="connsiteX3" fmla="*/ 617774 w 766762"/>
                <a:gd name="connsiteY3" fmla="*/ 118271 h 118271"/>
                <a:gd name="connsiteX4" fmla="*/ 0 w 766762"/>
                <a:gd name="connsiteY4" fmla="*/ 118271 h 118271"/>
                <a:gd name="connsiteX0" fmla="*/ 0 w 766762"/>
                <a:gd name="connsiteY0" fmla="*/ 118270 h 118270"/>
                <a:gd name="connsiteX1" fmla="*/ 347978 w 766762"/>
                <a:gd name="connsiteY1" fmla="*/ 2380 h 118270"/>
                <a:gd name="connsiteX2" fmla="*/ 766762 w 766762"/>
                <a:gd name="connsiteY2" fmla="*/ 0 h 118270"/>
                <a:gd name="connsiteX3" fmla="*/ 617774 w 766762"/>
                <a:gd name="connsiteY3" fmla="*/ 118270 h 118270"/>
                <a:gd name="connsiteX4" fmla="*/ 0 w 766762"/>
                <a:gd name="connsiteY4" fmla="*/ 118270 h 118270"/>
                <a:gd name="connsiteX0" fmla="*/ 0 w 766762"/>
                <a:gd name="connsiteY0" fmla="*/ 118272 h 118272"/>
                <a:gd name="connsiteX1" fmla="*/ 594417 w 766762"/>
                <a:gd name="connsiteY1" fmla="*/ 0 h 118272"/>
                <a:gd name="connsiteX2" fmla="*/ 766762 w 766762"/>
                <a:gd name="connsiteY2" fmla="*/ 2 h 118272"/>
                <a:gd name="connsiteX3" fmla="*/ 617774 w 766762"/>
                <a:gd name="connsiteY3" fmla="*/ 118272 h 118272"/>
                <a:gd name="connsiteX4" fmla="*/ 0 w 766762"/>
                <a:gd name="connsiteY4" fmla="*/ 118272 h 1182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6762" h="118272">
                  <a:moveTo>
                    <a:pt x="0" y="118272"/>
                  </a:moveTo>
                  <a:lnTo>
                    <a:pt x="594417" y="0"/>
                  </a:lnTo>
                  <a:lnTo>
                    <a:pt x="766762" y="2"/>
                  </a:lnTo>
                  <a:lnTo>
                    <a:pt x="617774" y="118272"/>
                  </a:lnTo>
                  <a:lnTo>
                    <a:pt x="0" y="118272"/>
                  </a:lnTo>
                  <a:close/>
                </a:path>
              </a:pathLst>
            </a:custGeom>
            <a:solidFill>
              <a:srgbClr val="D63E2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93" name="Parallelogram 82"/>
            <p:cNvSpPr/>
            <p:nvPr/>
          </p:nvSpPr>
          <p:spPr>
            <a:xfrm rot="16200000" flipV="1">
              <a:off x="6606784" y="4697576"/>
              <a:ext cx="809780" cy="133816"/>
            </a:xfrm>
            <a:custGeom>
              <a:avLst/>
              <a:gdLst>
                <a:gd name="connsiteX0" fmla="*/ 0 w 704849"/>
                <a:gd name="connsiteY0" fmla="*/ 118270 h 118270"/>
                <a:gd name="connsiteX1" fmla="*/ 87075 w 704849"/>
                <a:gd name="connsiteY1" fmla="*/ 0 h 118270"/>
                <a:gd name="connsiteX2" fmla="*/ 704849 w 704849"/>
                <a:gd name="connsiteY2" fmla="*/ 0 h 118270"/>
                <a:gd name="connsiteX3" fmla="*/ 617774 w 704849"/>
                <a:gd name="connsiteY3" fmla="*/ 118270 h 118270"/>
                <a:gd name="connsiteX4" fmla="*/ 0 w 704849"/>
                <a:gd name="connsiteY4" fmla="*/ 118270 h 118270"/>
                <a:gd name="connsiteX0" fmla="*/ 0 w 704849"/>
                <a:gd name="connsiteY0" fmla="*/ 118271 h 118271"/>
                <a:gd name="connsiteX1" fmla="*/ 141050 w 704849"/>
                <a:gd name="connsiteY1" fmla="*/ 0 h 118271"/>
                <a:gd name="connsiteX2" fmla="*/ 704849 w 704849"/>
                <a:gd name="connsiteY2" fmla="*/ 1 h 118271"/>
                <a:gd name="connsiteX3" fmla="*/ 617774 w 704849"/>
                <a:gd name="connsiteY3" fmla="*/ 118271 h 118271"/>
                <a:gd name="connsiteX4" fmla="*/ 0 w 704849"/>
                <a:gd name="connsiteY4" fmla="*/ 118271 h 118271"/>
                <a:gd name="connsiteX0" fmla="*/ 0 w 717549"/>
                <a:gd name="connsiteY0" fmla="*/ 118271 h 118271"/>
                <a:gd name="connsiteX1" fmla="*/ 153750 w 717549"/>
                <a:gd name="connsiteY1" fmla="*/ 0 h 118271"/>
                <a:gd name="connsiteX2" fmla="*/ 717549 w 717549"/>
                <a:gd name="connsiteY2" fmla="*/ 1 h 118271"/>
                <a:gd name="connsiteX3" fmla="*/ 630474 w 717549"/>
                <a:gd name="connsiteY3" fmla="*/ 118271 h 118271"/>
                <a:gd name="connsiteX4" fmla="*/ 0 w 717549"/>
                <a:gd name="connsiteY4" fmla="*/ 118271 h 118271"/>
                <a:gd name="connsiteX0" fmla="*/ 0 w 717549"/>
                <a:gd name="connsiteY0" fmla="*/ 118271 h 118271"/>
                <a:gd name="connsiteX1" fmla="*/ 402037 w 717549"/>
                <a:gd name="connsiteY1" fmla="*/ 0 h 118271"/>
                <a:gd name="connsiteX2" fmla="*/ 717549 w 717549"/>
                <a:gd name="connsiteY2" fmla="*/ 1 h 118271"/>
                <a:gd name="connsiteX3" fmla="*/ 630474 w 717549"/>
                <a:gd name="connsiteY3" fmla="*/ 118271 h 118271"/>
                <a:gd name="connsiteX4" fmla="*/ 0 w 717549"/>
                <a:gd name="connsiteY4" fmla="*/ 118271 h 118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7549" h="118271">
                  <a:moveTo>
                    <a:pt x="0" y="118271"/>
                  </a:moveTo>
                  <a:lnTo>
                    <a:pt x="402037" y="0"/>
                  </a:lnTo>
                  <a:lnTo>
                    <a:pt x="717549" y="1"/>
                  </a:lnTo>
                  <a:lnTo>
                    <a:pt x="630474" y="118271"/>
                  </a:lnTo>
                  <a:lnTo>
                    <a:pt x="0" y="118271"/>
                  </a:lnTo>
                  <a:close/>
                </a:path>
              </a:pathLst>
            </a:custGeom>
            <a:solidFill>
              <a:srgbClr val="2523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94" name="Rectangle 93"/>
            <p:cNvSpPr/>
            <p:nvPr/>
          </p:nvSpPr>
          <p:spPr>
            <a:xfrm>
              <a:off x="3423542" y="1375277"/>
              <a:ext cx="1710734" cy="646617"/>
            </a:xfrm>
            <a:prstGeom prst="rect">
              <a:avLst/>
            </a:prstGeom>
            <a:solidFill>
              <a:srgbClr val="AFABAB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95" name="Parallelogram 91"/>
            <p:cNvSpPr/>
            <p:nvPr/>
          </p:nvSpPr>
          <p:spPr>
            <a:xfrm rot="5400000">
              <a:off x="4717866" y="2858196"/>
              <a:ext cx="972234" cy="133816"/>
            </a:xfrm>
            <a:custGeom>
              <a:avLst/>
              <a:gdLst>
                <a:gd name="connsiteX0" fmla="*/ 0 w 761593"/>
                <a:gd name="connsiteY0" fmla="*/ 118270 h 118270"/>
                <a:gd name="connsiteX1" fmla="*/ 87075 w 761593"/>
                <a:gd name="connsiteY1" fmla="*/ 0 h 118270"/>
                <a:gd name="connsiteX2" fmla="*/ 761593 w 761593"/>
                <a:gd name="connsiteY2" fmla="*/ 0 h 118270"/>
                <a:gd name="connsiteX3" fmla="*/ 674518 w 761593"/>
                <a:gd name="connsiteY3" fmla="*/ 118270 h 118270"/>
                <a:gd name="connsiteX4" fmla="*/ 0 w 761593"/>
                <a:gd name="connsiteY4" fmla="*/ 118270 h 118270"/>
                <a:gd name="connsiteX0" fmla="*/ 0 w 852083"/>
                <a:gd name="connsiteY0" fmla="*/ 118270 h 118270"/>
                <a:gd name="connsiteX1" fmla="*/ 87075 w 852083"/>
                <a:gd name="connsiteY1" fmla="*/ 0 h 118270"/>
                <a:gd name="connsiteX2" fmla="*/ 852083 w 852083"/>
                <a:gd name="connsiteY2" fmla="*/ 2381 h 118270"/>
                <a:gd name="connsiteX3" fmla="*/ 674518 w 852083"/>
                <a:gd name="connsiteY3" fmla="*/ 118270 h 118270"/>
                <a:gd name="connsiteX4" fmla="*/ 0 w 852083"/>
                <a:gd name="connsiteY4" fmla="*/ 118270 h 118270"/>
                <a:gd name="connsiteX0" fmla="*/ 0 w 852083"/>
                <a:gd name="connsiteY0" fmla="*/ 118271 h 118271"/>
                <a:gd name="connsiteX1" fmla="*/ 260909 w 852083"/>
                <a:gd name="connsiteY1" fmla="*/ 0 h 118271"/>
                <a:gd name="connsiteX2" fmla="*/ 852083 w 852083"/>
                <a:gd name="connsiteY2" fmla="*/ 2382 h 118271"/>
                <a:gd name="connsiteX3" fmla="*/ 674518 w 852083"/>
                <a:gd name="connsiteY3" fmla="*/ 118271 h 118271"/>
                <a:gd name="connsiteX4" fmla="*/ 0 w 852083"/>
                <a:gd name="connsiteY4" fmla="*/ 118271 h 118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2083" h="118271">
                  <a:moveTo>
                    <a:pt x="0" y="118271"/>
                  </a:moveTo>
                  <a:lnTo>
                    <a:pt x="260909" y="0"/>
                  </a:lnTo>
                  <a:lnTo>
                    <a:pt x="852083" y="2382"/>
                  </a:lnTo>
                  <a:lnTo>
                    <a:pt x="674518" y="118271"/>
                  </a:lnTo>
                  <a:lnTo>
                    <a:pt x="0" y="118271"/>
                  </a:lnTo>
                  <a:close/>
                </a:path>
              </a:pathLst>
            </a:custGeom>
            <a:solidFill>
              <a:srgbClr val="D63E2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96" name="Parallelogram 89"/>
            <p:cNvSpPr/>
            <p:nvPr/>
          </p:nvSpPr>
          <p:spPr>
            <a:xfrm rot="5400000">
              <a:off x="4876177" y="3455668"/>
              <a:ext cx="658307" cy="136509"/>
            </a:xfrm>
            <a:custGeom>
              <a:avLst/>
              <a:gdLst>
                <a:gd name="connsiteX0" fmla="*/ 0 w 588976"/>
                <a:gd name="connsiteY0" fmla="*/ 118270 h 118270"/>
                <a:gd name="connsiteX1" fmla="*/ 87075 w 588976"/>
                <a:gd name="connsiteY1" fmla="*/ 0 h 118270"/>
                <a:gd name="connsiteX2" fmla="*/ 588976 w 588976"/>
                <a:gd name="connsiteY2" fmla="*/ 0 h 118270"/>
                <a:gd name="connsiteX3" fmla="*/ 501901 w 588976"/>
                <a:gd name="connsiteY3" fmla="*/ 118270 h 118270"/>
                <a:gd name="connsiteX4" fmla="*/ 0 w 588976"/>
                <a:gd name="connsiteY4" fmla="*/ 118270 h 118270"/>
                <a:gd name="connsiteX0" fmla="*/ 0 w 588976"/>
                <a:gd name="connsiteY0" fmla="*/ 120651 h 120651"/>
                <a:gd name="connsiteX1" fmla="*/ 201375 w 588976"/>
                <a:gd name="connsiteY1" fmla="*/ 0 h 120651"/>
                <a:gd name="connsiteX2" fmla="*/ 588976 w 588976"/>
                <a:gd name="connsiteY2" fmla="*/ 2381 h 120651"/>
                <a:gd name="connsiteX3" fmla="*/ 501901 w 588976"/>
                <a:gd name="connsiteY3" fmla="*/ 120651 h 120651"/>
                <a:gd name="connsiteX4" fmla="*/ 0 w 588976"/>
                <a:gd name="connsiteY4" fmla="*/ 120651 h 120651"/>
                <a:gd name="connsiteX0" fmla="*/ 0 w 581832"/>
                <a:gd name="connsiteY0" fmla="*/ 120651 h 120651"/>
                <a:gd name="connsiteX1" fmla="*/ 194231 w 581832"/>
                <a:gd name="connsiteY1" fmla="*/ 0 h 120651"/>
                <a:gd name="connsiteX2" fmla="*/ 581832 w 581832"/>
                <a:gd name="connsiteY2" fmla="*/ 2381 h 120651"/>
                <a:gd name="connsiteX3" fmla="*/ 494757 w 581832"/>
                <a:gd name="connsiteY3" fmla="*/ 120651 h 120651"/>
                <a:gd name="connsiteX4" fmla="*/ 0 w 581832"/>
                <a:gd name="connsiteY4" fmla="*/ 120651 h 120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81832" h="120651">
                  <a:moveTo>
                    <a:pt x="0" y="120651"/>
                  </a:moveTo>
                  <a:lnTo>
                    <a:pt x="194231" y="0"/>
                  </a:lnTo>
                  <a:lnTo>
                    <a:pt x="581832" y="2381"/>
                  </a:lnTo>
                  <a:lnTo>
                    <a:pt x="494757" y="120651"/>
                  </a:lnTo>
                  <a:lnTo>
                    <a:pt x="0" y="120651"/>
                  </a:lnTo>
                  <a:close/>
                </a:path>
              </a:pathLst>
            </a:custGeom>
            <a:solidFill>
              <a:srgbClr val="76717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6A5D79">
                    <a:lumMod val="75000"/>
                  </a:srgbClr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97" name="Parallelogram 82"/>
            <p:cNvSpPr/>
            <p:nvPr/>
          </p:nvSpPr>
          <p:spPr>
            <a:xfrm rot="16200000" flipV="1">
              <a:off x="4840039" y="5445144"/>
              <a:ext cx="728790" cy="133815"/>
            </a:xfrm>
            <a:custGeom>
              <a:avLst/>
              <a:gdLst>
                <a:gd name="connsiteX0" fmla="*/ 0 w 704849"/>
                <a:gd name="connsiteY0" fmla="*/ 118270 h 118270"/>
                <a:gd name="connsiteX1" fmla="*/ 87075 w 704849"/>
                <a:gd name="connsiteY1" fmla="*/ 0 h 118270"/>
                <a:gd name="connsiteX2" fmla="*/ 704849 w 704849"/>
                <a:gd name="connsiteY2" fmla="*/ 0 h 118270"/>
                <a:gd name="connsiteX3" fmla="*/ 617774 w 704849"/>
                <a:gd name="connsiteY3" fmla="*/ 118270 h 118270"/>
                <a:gd name="connsiteX4" fmla="*/ 0 w 704849"/>
                <a:gd name="connsiteY4" fmla="*/ 118270 h 118270"/>
                <a:gd name="connsiteX0" fmla="*/ 0 w 704849"/>
                <a:gd name="connsiteY0" fmla="*/ 118271 h 118271"/>
                <a:gd name="connsiteX1" fmla="*/ 141050 w 704849"/>
                <a:gd name="connsiteY1" fmla="*/ 0 h 118271"/>
                <a:gd name="connsiteX2" fmla="*/ 704849 w 704849"/>
                <a:gd name="connsiteY2" fmla="*/ 1 h 118271"/>
                <a:gd name="connsiteX3" fmla="*/ 617774 w 704849"/>
                <a:gd name="connsiteY3" fmla="*/ 118271 h 118271"/>
                <a:gd name="connsiteX4" fmla="*/ 0 w 704849"/>
                <a:gd name="connsiteY4" fmla="*/ 118271 h 118271"/>
                <a:gd name="connsiteX0" fmla="*/ 0 w 766762"/>
                <a:gd name="connsiteY0" fmla="*/ 118271 h 118271"/>
                <a:gd name="connsiteX1" fmla="*/ 141050 w 766762"/>
                <a:gd name="connsiteY1" fmla="*/ 0 h 118271"/>
                <a:gd name="connsiteX2" fmla="*/ 766762 w 766762"/>
                <a:gd name="connsiteY2" fmla="*/ 1 h 118271"/>
                <a:gd name="connsiteX3" fmla="*/ 617774 w 766762"/>
                <a:gd name="connsiteY3" fmla="*/ 118271 h 118271"/>
                <a:gd name="connsiteX4" fmla="*/ 0 w 766762"/>
                <a:gd name="connsiteY4" fmla="*/ 118271 h 118271"/>
                <a:gd name="connsiteX0" fmla="*/ 0 w 766762"/>
                <a:gd name="connsiteY0" fmla="*/ 118271 h 118271"/>
                <a:gd name="connsiteX1" fmla="*/ 376324 w 766762"/>
                <a:gd name="connsiteY1" fmla="*/ 0 h 118271"/>
                <a:gd name="connsiteX2" fmla="*/ 766762 w 766762"/>
                <a:gd name="connsiteY2" fmla="*/ 1 h 118271"/>
                <a:gd name="connsiteX3" fmla="*/ 617774 w 766762"/>
                <a:gd name="connsiteY3" fmla="*/ 118271 h 118271"/>
                <a:gd name="connsiteX4" fmla="*/ 0 w 766762"/>
                <a:gd name="connsiteY4" fmla="*/ 118271 h 118271"/>
                <a:gd name="connsiteX0" fmla="*/ 0 w 766762"/>
                <a:gd name="connsiteY0" fmla="*/ 118270 h 118270"/>
                <a:gd name="connsiteX1" fmla="*/ 347978 w 766762"/>
                <a:gd name="connsiteY1" fmla="*/ 2380 h 118270"/>
                <a:gd name="connsiteX2" fmla="*/ 766762 w 766762"/>
                <a:gd name="connsiteY2" fmla="*/ 0 h 118270"/>
                <a:gd name="connsiteX3" fmla="*/ 617774 w 766762"/>
                <a:gd name="connsiteY3" fmla="*/ 118270 h 118270"/>
                <a:gd name="connsiteX4" fmla="*/ 0 w 766762"/>
                <a:gd name="connsiteY4" fmla="*/ 118270 h 118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6762" h="118270">
                  <a:moveTo>
                    <a:pt x="0" y="118270"/>
                  </a:moveTo>
                  <a:lnTo>
                    <a:pt x="347978" y="2380"/>
                  </a:lnTo>
                  <a:lnTo>
                    <a:pt x="766762" y="0"/>
                  </a:lnTo>
                  <a:lnTo>
                    <a:pt x="617774" y="118270"/>
                  </a:lnTo>
                  <a:lnTo>
                    <a:pt x="0" y="118270"/>
                  </a:lnTo>
                  <a:close/>
                </a:path>
              </a:pathLst>
            </a:custGeom>
            <a:solidFill>
              <a:srgbClr val="D63E2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98" name="Parallelogram 82"/>
            <p:cNvSpPr/>
            <p:nvPr/>
          </p:nvSpPr>
          <p:spPr>
            <a:xfrm rot="16200000" flipV="1">
              <a:off x="4798504" y="4849493"/>
              <a:ext cx="811862" cy="133816"/>
            </a:xfrm>
            <a:custGeom>
              <a:avLst/>
              <a:gdLst>
                <a:gd name="connsiteX0" fmla="*/ 0 w 704849"/>
                <a:gd name="connsiteY0" fmla="*/ 118270 h 118270"/>
                <a:gd name="connsiteX1" fmla="*/ 87075 w 704849"/>
                <a:gd name="connsiteY1" fmla="*/ 0 h 118270"/>
                <a:gd name="connsiteX2" fmla="*/ 704849 w 704849"/>
                <a:gd name="connsiteY2" fmla="*/ 0 h 118270"/>
                <a:gd name="connsiteX3" fmla="*/ 617774 w 704849"/>
                <a:gd name="connsiteY3" fmla="*/ 118270 h 118270"/>
                <a:gd name="connsiteX4" fmla="*/ 0 w 704849"/>
                <a:gd name="connsiteY4" fmla="*/ 118270 h 118270"/>
                <a:gd name="connsiteX0" fmla="*/ 0 w 704849"/>
                <a:gd name="connsiteY0" fmla="*/ 118271 h 118271"/>
                <a:gd name="connsiteX1" fmla="*/ 141050 w 704849"/>
                <a:gd name="connsiteY1" fmla="*/ 0 h 118271"/>
                <a:gd name="connsiteX2" fmla="*/ 704849 w 704849"/>
                <a:gd name="connsiteY2" fmla="*/ 1 h 118271"/>
                <a:gd name="connsiteX3" fmla="*/ 617774 w 704849"/>
                <a:gd name="connsiteY3" fmla="*/ 118271 h 118271"/>
                <a:gd name="connsiteX4" fmla="*/ 0 w 704849"/>
                <a:gd name="connsiteY4" fmla="*/ 118271 h 118271"/>
                <a:gd name="connsiteX0" fmla="*/ 0 w 717549"/>
                <a:gd name="connsiteY0" fmla="*/ 118271 h 118271"/>
                <a:gd name="connsiteX1" fmla="*/ 153750 w 717549"/>
                <a:gd name="connsiteY1" fmla="*/ 0 h 118271"/>
                <a:gd name="connsiteX2" fmla="*/ 717549 w 717549"/>
                <a:gd name="connsiteY2" fmla="*/ 1 h 118271"/>
                <a:gd name="connsiteX3" fmla="*/ 630474 w 717549"/>
                <a:gd name="connsiteY3" fmla="*/ 118271 h 118271"/>
                <a:gd name="connsiteX4" fmla="*/ 0 w 717549"/>
                <a:gd name="connsiteY4" fmla="*/ 118271 h 118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7549" h="118271">
                  <a:moveTo>
                    <a:pt x="0" y="118271"/>
                  </a:moveTo>
                  <a:lnTo>
                    <a:pt x="153750" y="0"/>
                  </a:lnTo>
                  <a:lnTo>
                    <a:pt x="717549" y="1"/>
                  </a:lnTo>
                  <a:lnTo>
                    <a:pt x="630474" y="118271"/>
                  </a:lnTo>
                  <a:lnTo>
                    <a:pt x="0" y="118271"/>
                  </a:lnTo>
                  <a:close/>
                </a:path>
              </a:pathLst>
            </a:custGeom>
            <a:solidFill>
              <a:srgbClr val="2523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99" name="Rectangle 98"/>
            <p:cNvSpPr/>
            <p:nvPr/>
          </p:nvSpPr>
          <p:spPr>
            <a:xfrm>
              <a:off x="1610519" y="1375277"/>
              <a:ext cx="1710734" cy="646617"/>
            </a:xfrm>
            <a:prstGeom prst="rect">
              <a:avLst/>
            </a:prstGeom>
            <a:solidFill>
              <a:srgbClr val="E2583D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00" name="Rectangle 99"/>
            <p:cNvSpPr/>
            <p:nvPr/>
          </p:nvSpPr>
          <p:spPr>
            <a:xfrm>
              <a:off x="1610519" y="2342070"/>
              <a:ext cx="1701860" cy="765163"/>
            </a:xfrm>
            <a:prstGeom prst="rect">
              <a:avLst/>
            </a:prstGeom>
            <a:solidFill>
              <a:srgbClr val="E2583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01" name="Rectangle 100"/>
            <p:cNvSpPr/>
            <p:nvPr/>
          </p:nvSpPr>
          <p:spPr>
            <a:xfrm>
              <a:off x="1610519" y="3107233"/>
              <a:ext cx="1701860" cy="535255"/>
            </a:xfrm>
            <a:prstGeom prst="rect">
              <a:avLst/>
            </a:prstGeom>
            <a:solidFill>
              <a:srgbClr val="AFABA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02" name="Rectangle 101"/>
            <p:cNvSpPr/>
            <p:nvPr/>
          </p:nvSpPr>
          <p:spPr>
            <a:xfrm>
              <a:off x="1610519" y="3642488"/>
              <a:ext cx="1701860" cy="1070510"/>
            </a:xfrm>
            <a:prstGeom prst="rect">
              <a:avLst/>
            </a:prstGeom>
            <a:solidFill>
              <a:srgbClr val="78D2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06" name="Rectangle 105"/>
            <p:cNvSpPr/>
            <p:nvPr/>
          </p:nvSpPr>
          <p:spPr>
            <a:xfrm>
              <a:off x="1610519" y="4712998"/>
              <a:ext cx="1701860" cy="700501"/>
            </a:xfrm>
            <a:prstGeom prst="rect">
              <a:avLst/>
            </a:prstGeom>
            <a:solidFill>
              <a:srgbClr val="3B39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18" name="Rectangle 117"/>
            <p:cNvSpPr/>
            <p:nvPr/>
          </p:nvSpPr>
          <p:spPr>
            <a:xfrm>
              <a:off x="1610519" y="5413501"/>
              <a:ext cx="1701860" cy="560401"/>
            </a:xfrm>
            <a:prstGeom prst="rect">
              <a:avLst/>
            </a:prstGeom>
            <a:solidFill>
              <a:srgbClr val="E2583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19" name="Rectangle 118"/>
            <p:cNvSpPr/>
            <p:nvPr/>
          </p:nvSpPr>
          <p:spPr>
            <a:xfrm>
              <a:off x="3438754" y="2437445"/>
              <a:ext cx="1701860" cy="760937"/>
            </a:xfrm>
            <a:prstGeom prst="rect">
              <a:avLst/>
            </a:prstGeom>
            <a:solidFill>
              <a:srgbClr val="E2583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21" name="Rectangle 120"/>
            <p:cNvSpPr/>
            <p:nvPr/>
          </p:nvSpPr>
          <p:spPr>
            <a:xfrm>
              <a:off x="3438754" y="3198530"/>
              <a:ext cx="1701860" cy="538696"/>
            </a:xfrm>
            <a:prstGeom prst="rect">
              <a:avLst/>
            </a:prstGeom>
            <a:solidFill>
              <a:srgbClr val="AFABA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22" name="Parallelogram 121"/>
            <p:cNvSpPr/>
            <p:nvPr/>
          </p:nvSpPr>
          <p:spPr>
            <a:xfrm rot="16200000" flipV="1">
              <a:off x="3044522" y="5568636"/>
              <a:ext cx="655161" cy="133815"/>
            </a:xfrm>
            <a:prstGeom prst="parallelogram">
              <a:avLst>
                <a:gd name="adj" fmla="val 73624"/>
              </a:avLst>
            </a:prstGeom>
            <a:solidFill>
              <a:srgbClr val="D63E2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23" name="Parallelogram 122"/>
            <p:cNvSpPr/>
            <p:nvPr/>
          </p:nvSpPr>
          <p:spPr>
            <a:xfrm rot="16200000" flipV="1">
              <a:off x="2972912" y="4950522"/>
              <a:ext cx="798380" cy="133815"/>
            </a:xfrm>
            <a:prstGeom prst="parallelogram">
              <a:avLst>
                <a:gd name="adj" fmla="val 73624"/>
              </a:avLst>
            </a:prstGeom>
            <a:solidFill>
              <a:srgbClr val="2523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24" name="Trapezoid 123"/>
            <p:cNvSpPr/>
            <p:nvPr/>
          </p:nvSpPr>
          <p:spPr>
            <a:xfrm rot="5400000">
              <a:off x="2817985" y="4103197"/>
              <a:ext cx="1107334" cy="132915"/>
            </a:xfrm>
            <a:prstGeom prst="trapezoid">
              <a:avLst>
                <a:gd name="adj" fmla="val 76613"/>
              </a:avLst>
            </a:prstGeom>
            <a:solidFill>
              <a:srgbClr val="4CC7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25" name="Trapezoid 124"/>
            <p:cNvSpPr/>
            <p:nvPr/>
          </p:nvSpPr>
          <p:spPr>
            <a:xfrm rot="5400000">
              <a:off x="4759703" y="4113207"/>
              <a:ext cx="888561" cy="132915"/>
            </a:xfrm>
            <a:prstGeom prst="trapezoid">
              <a:avLst>
                <a:gd name="adj" fmla="val 76613"/>
              </a:avLst>
            </a:prstGeom>
            <a:solidFill>
              <a:srgbClr val="4CC7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26" name="Rectangle 125"/>
            <p:cNvSpPr/>
            <p:nvPr/>
          </p:nvSpPr>
          <p:spPr>
            <a:xfrm>
              <a:off x="5243749" y="3812158"/>
              <a:ext cx="1701860" cy="731172"/>
            </a:xfrm>
            <a:prstGeom prst="rect">
              <a:avLst/>
            </a:prstGeom>
            <a:solidFill>
              <a:srgbClr val="78D2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27" name="Parallelogram 126"/>
            <p:cNvSpPr/>
            <p:nvPr/>
          </p:nvSpPr>
          <p:spPr>
            <a:xfrm rot="5400000">
              <a:off x="3048794" y="3347009"/>
              <a:ext cx="646617" cy="133815"/>
            </a:xfrm>
            <a:prstGeom prst="parallelogram">
              <a:avLst>
                <a:gd name="adj" fmla="val 73624"/>
              </a:avLst>
            </a:prstGeom>
            <a:solidFill>
              <a:srgbClr val="76717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6A5D79">
                    <a:lumMod val="75000"/>
                  </a:srgbClr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28" name="Parallelogram 127"/>
            <p:cNvSpPr/>
            <p:nvPr/>
          </p:nvSpPr>
          <p:spPr>
            <a:xfrm rot="5400000">
              <a:off x="2941254" y="2706014"/>
              <a:ext cx="861695" cy="133815"/>
            </a:xfrm>
            <a:prstGeom prst="parallelogram">
              <a:avLst>
                <a:gd name="adj" fmla="val 73624"/>
              </a:avLst>
            </a:prstGeom>
            <a:solidFill>
              <a:srgbClr val="D63E2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29" name="Rectangle 128"/>
            <p:cNvSpPr/>
            <p:nvPr/>
          </p:nvSpPr>
          <p:spPr>
            <a:xfrm>
              <a:off x="5243749" y="4543330"/>
              <a:ext cx="1701860" cy="636820"/>
            </a:xfrm>
            <a:prstGeom prst="rect">
              <a:avLst/>
            </a:prstGeom>
            <a:solidFill>
              <a:srgbClr val="3B39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30" name="Rectangle 129"/>
            <p:cNvSpPr/>
            <p:nvPr/>
          </p:nvSpPr>
          <p:spPr>
            <a:xfrm>
              <a:off x="5243749" y="5180964"/>
              <a:ext cx="1701860" cy="421037"/>
            </a:xfrm>
            <a:prstGeom prst="rect">
              <a:avLst/>
            </a:prstGeom>
            <a:solidFill>
              <a:srgbClr val="E2583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31" name="Rectangle 130"/>
            <p:cNvSpPr/>
            <p:nvPr/>
          </p:nvSpPr>
          <p:spPr>
            <a:xfrm>
              <a:off x="3438754" y="4616888"/>
              <a:ext cx="1701860" cy="700501"/>
            </a:xfrm>
            <a:prstGeom prst="rect">
              <a:avLst/>
            </a:prstGeom>
            <a:solidFill>
              <a:srgbClr val="3B39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32" name="Rectangle 131"/>
            <p:cNvSpPr/>
            <p:nvPr/>
          </p:nvSpPr>
          <p:spPr>
            <a:xfrm>
              <a:off x="3438754" y="3735384"/>
              <a:ext cx="1701860" cy="884719"/>
            </a:xfrm>
            <a:prstGeom prst="rect">
              <a:avLst/>
            </a:prstGeom>
            <a:solidFill>
              <a:srgbClr val="78D2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33" name="Rectangle 132"/>
            <p:cNvSpPr/>
            <p:nvPr/>
          </p:nvSpPr>
          <p:spPr>
            <a:xfrm>
              <a:off x="3438754" y="5316044"/>
              <a:ext cx="1701860" cy="560401"/>
            </a:xfrm>
            <a:prstGeom prst="rect">
              <a:avLst/>
            </a:prstGeom>
            <a:solidFill>
              <a:srgbClr val="E2583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34" name="Rectangle 133"/>
            <p:cNvSpPr/>
            <p:nvPr/>
          </p:nvSpPr>
          <p:spPr>
            <a:xfrm>
              <a:off x="5243749" y="3367783"/>
              <a:ext cx="1701860" cy="445204"/>
            </a:xfrm>
            <a:prstGeom prst="rect">
              <a:avLst/>
            </a:prstGeom>
            <a:solidFill>
              <a:srgbClr val="AFABA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35" name="Rectangle 134"/>
            <p:cNvSpPr/>
            <p:nvPr/>
          </p:nvSpPr>
          <p:spPr>
            <a:xfrm>
              <a:off x="5243749" y="2675885"/>
              <a:ext cx="1701860" cy="691761"/>
            </a:xfrm>
            <a:prstGeom prst="rect">
              <a:avLst/>
            </a:prstGeom>
            <a:solidFill>
              <a:srgbClr val="E2583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36" name="Trapezoid 135"/>
            <p:cNvSpPr/>
            <p:nvPr/>
          </p:nvSpPr>
          <p:spPr>
            <a:xfrm rot="5400000">
              <a:off x="6645581" y="4111289"/>
              <a:ext cx="731175" cy="132915"/>
            </a:xfrm>
            <a:prstGeom prst="trapezoid">
              <a:avLst>
                <a:gd name="adj" fmla="val 127289"/>
              </a:avLst>
            </a:prstGeom>
            <a:solidFill>
              <a:srgbClr val="4CC7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37" name="Rectangle 136"/>
            <p:cNvSpPr/>
            <p:nvPr/>
          </p:nvSpPr>
          <p:spPr>
            <a:xfrm>
              <a:off x="7054024" y="3950743"/>
              <a:ext cx="1701860" cy="454001"/>
            </a:xfrm>
            <a:prstGeom prst="rect">
              <a:avLst/>
            </a:prstGeom>
            <a:solidFill>
              <a:srgbClr val="78D2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38" name="Rectangle 137"/>
            <p:cNvSpPr/>
            <p:nvPr/>
          </p:nvSpPr>
          <p:spPr>
            <a:xfrm>
              <a:off x="7054024" y="4404744"/>
              <a:ext cx="1701860" cy="395415"/>
            </a:xfrm>
            <a:prstGeom prst="rect">
              <a:avLst/>
            </a:prstGeom>
            <a:solidFill>
              <a:srgbClr val="3B39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39" name="Rectangle 138"/>
            <p:cNvSpPr/>
            <p:nvPr/>
          </p:nvSpPr>
          <p:spPr>
            <a:xfrm>
              <a:off x="7054023" y="4800159"/>
              <a:ext cx="1701860" cy="261431"/>
            </a:xfrm>
            <a:prstGeom prst="rect">
              <a:avLst/>
            </a:prstGeom>
            <a:solidFill>
              <a:srgbClr val="E2583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40" name="Rectangle 139"/>
            <p:cNvSpPr/>
            <p:nvPr/>
          </p:nvSpPr>
          <p:spPr>
            <a:xfrm>
              <a:off x="7054024" y="3674811"/>
              <a:ext cx="1701860" cy="276437"/>
            </a:xfrm>
            <a:prstGeom prst="rect">
              <a:avLst/>
            </a:prstGeom>
            <a:solidFill>
              <a:srgbClr val="AFABA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41" name="Rectangle 140"/>
            <p:cNvSpPr/>
            <p:nvPr/>
          </p:nvSpPr>
          <p:spPr>
            <a:xfrm>
              <a:off x="7054024" y="3244976"/>
              <a:ext cx="1701860" cy="429530"/>
            </a:xfrm>
            <a:prstGeom prst="rect">
              <a:avLst/>
            </a:prstGeom>
            <a:solidFill>
              <a:srgbClr val="E2583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42" name="Trapezoid 103"/>
            <p:cNvSpPr/>
            <p:nvPr/>
          </p:nvSpPr>
          <p:spPr>
            <a:xfrm rot="5400000">
              <a:off x="8594500" y="4111287"/>
              <a:ext cx="453998" cy="132915"/>
            </a:xfrm>
            <a:custGeom>
              <a:avLst/>
              <a:gdLst>
                <a:gd name="connsiteX0" fmla="*/ 0 w 401258"/>
                <a:gd name="connsiteY0" fmla="*/ 117474 h 117474"/>
                <a:gd name="connsiteX1" fmla="*/ 97144 w 401258"/>
                <a:gd name="connsiteY1" fmla="*/ 0 h 117474"/>
                <a:gd name="connsiteX2" fmla="*/ 304114 w 401258"/>
                <a:gd name="connsiteY2" fmla="*/ 0 h 117474"/>
                <a:gd name="connsiteX3" fmla="*/ 401258 w 401258"/>
                <a:gd name="connsiteY3" fmla="*/ 117474 h 117474"/>
                <a:gd name="connsiteX4" fmla="*/ 0 w 401258"/>
                <a:gd name="connsiteY4" fmla="*/ 117474 h 117474"/>
                <a:gd name="connsiteX0" fmla="*/ 0 w 401258"/>
                <a:gd name="connsiteY0" fmla="*/ 117474 h 117474"/>
                <a:gd name="connsiteX1" fmla="*/ 97144 w 401258"/>
                <a:gd name="connsiteY1" fmla="*/ 0 h 117474"/>
                <a:gd name="connsiteX2" fmla="*/ 304114 w 401258"/>
                <a:gd name="connsiteY2" fmla="*/ 2382 h 117474"/>
                <a:gd name="connsiteX3" fmla="*/ 401258 w 401258"/>
                <a:gd name="connsiteY3" fmla="*/ 117474 h 117474"/>
                <a:gd name="connsiteX4" fmla="*/ 0 w 401258"/>
                <a:gd name="connsiteY4" fmla="*/ 117474 h 117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1258" h="117474">
                  <a:moveTo>
                    <a:pt x="0" y="117474"/>
                  </a:moveTo>
                  <a:lnTo>
                    <a:pt x="97144" y="0"/>
                  </a:lnTo>
                  <a:lnTo>
                    <a:pt x="304114" y="2382"/>
                  </a:lnTo>
                  <a:lnTo>
                    <a:pt x="401258" y="117474"/>
                  </a:lnTo>
                  <a:lnTo>
                    <a:pt x="0" y="117474"/>
                  </a:lnTo>
                  <a:close/>
                </a:path>
              </a:pathLst>
            </a:custGeom>
            <a:solidFill>
              <a:srgbClr val="4CC7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43" name="Rectangle 142"/>
            <p:cNvSpPr/>
            <p:nvPr/>
          </p:nvSpPr>
          <p:spPr>
            <a:xfrm>
              <a:off x="8879621" y="3943023"/>
              <a:ext cx="1701860" cy="141856"/>
            </a:xfrm>
            <a:prstGeom prst="rect">
              <a:avLst/>
            </a:prstGeom>
            <a:solidFill>
              <a:srgbClr val="AFABA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44" name="Rectangle 143"/>
            <p:cNvSpPr/>
            <p:nvPr/>
          </p:nvSpPr>
          <p:spPr>
            <a:xfrm>
              <a:off x="8879621" y="4061257"/>
              <a:ext cx="1701860" cy="232974"/>
            </a:xfrm>
            <a:prstGeom prst="rect">
              <a:avLst/>
            </a:prstGeom>
            <a:solidFill>
              <a:srgbClr val="78D2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45" name="Rectangle 144"/>
            <p:cNvSpPr/>
            <p:nvPr/>
          </p:nvSpPr>
          <p:spPr>
            <a:xfrm>
              <a:off x="8879621" y="3726042"/>
              <a:ext cx="1701860" cy="220418"/>
            </a:xfrm>
            <a:prstGeom prst="rect">
              <a:avLst/>
            </a:prstGeom>
            <a:solidFill>
              <a:srgbClr val="E2583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46" name="Rectangle 145"/>
            <p:cNvSpPr/>
            <p:nvPr/>
          </p:nvSpPr>
          <p:spPr>
            <a:xfrm>
              <a:off x="8879621" y="4291376"/>
              <a:ext cx="1701860" cy="202910"/>
            </a:xfrm>
            <a:prstGeom prst="rect">
              <a:avLst/>
            </a:prstGeom>
            <a:solidFill>
              <a:srgbClr val="3B39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47" name="Rectangle 146"/>
            <p:cNvSpPr/>
            <p:nvPr/>
          </p:nvSpPr>
          <p:spPr>
            <a:xfrm>
              <a:off x="8879621" y="4490846"/>
              <a:ext cx="1701860" cy="134155"/>
            </a:xfrm>
            <a:prstGeom prst="rect">
              <a:avLst/>
            </a:prstGeom>
            <a:solidFill>
              <a:srgbClr val="E2583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48" name="TextBox 147"/>
            <p:cNvSpPr txBox="1"/>
            <p:nvPr/>
          </p:nvSpPr>
          <p:spPr>
            <a:xfrm>
              <a:off x="1950639" y="2637594"/>
              <a:ext cx="825547" cy="1692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LOREM IPSUM</a:t>
              </a:r>
            </a:p>
          </p:txBody>
        </p:sp>
        <p:sp>
          <p:nvSpPr>
            <p:cNvPr id="149" name="TextBox 148"/>
            <p:cNvSpPr txBox="1"/>
            <p:nvPr/>
          </p:nvSpPr>
          <p:spPr>
            <a:xfrm>
              <a:off x="1950639" y="3287803"/>
              <a:ext cx="825547" cy="1692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LOREM IPSUM</a:t>
              </a:r>
            </a:p>
          </p:txBody>
        </p:sp>
        <p:sp>
          <p:nvSpPr>
            <p:cNvPr id="150" name="TextBox 149"/>
            <p:cNvSpPr txBox="1"/>
            <p:nvPr/>
          </p:nvSpPr>
          <p:spPr>
            <a:xfrm>
              <a:off x="1950639" y="4090686"/>
              <a:ext cx="825547" cy="1692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LOREM IPSUM</a:t>
              </a:r>
            </a:p>
          </p:txBody>
        </p:sp>
        <p:sp>
          <p:nvSpPr>
            <p:cNvPr id="151" name="TextBox 150"/>
            <p:cNvSpPr txBox="1"/>
            <p:nvPr/>
          </p:nvSpPr>
          <p:spPr>
            <a:xfrm>
              <a:off x="1950639" y="4976191"/>
              <a:ext cx="825547" cy="1692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LOREM IPSUM</a:t>
              </a:r>
            </a:p>
          </p:txBody>
        </p:sp>
        <p:sp>
          <p:nvSpPr>
            <p:cNvPr id="152" name="TextBox 151"/>
            <p:cNvSpPr txBox="1"/>
            <p:nvPr/>
          </p:nvSpPr>
          <p:spPr>
            <a:xfrm>
              <a:off x="1950639" y="5606644"/>
              <a:ext cx="825547" cy="1692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LOREM IPSUM</a:t>
              </a:r>
            </a:p>
          </p:txBody>
        </p:sp>
        <p:sp>
          <p:nvSpPr>
            <p:cNvPr id="175" name="Freeform 295"/>
            <p:cNvSpPr>
              <a:spLocks noEditPoints="1"/>
            </p:cNvSpPr>
            <p:nvPr/>
          </p:nvSpPr>
          <p:spPr bwMode="auto">
            <a:xfrm>
              <a:off x="4136034" y="1556504"/>
              <a:ext cx="285750" cy="284163"/>
            </a:xfrm>
            <a:custGeom>
              <a:avLst/>
              <a:gdLst>
                <a:gd name="T0" fmla="*/ 35 w 896"/>
                <a:gd name="T1" fmla="*/ 256 h 896"/>
                <a:gd name="T2" fmla="*/ 58 w 896"/>
                <a:gd name="T3" fmla="*/ 190 h 896"/>
                <a:gd name="T4" fmla="*/ 94 w 896"/>
                <a:gd name="T5" fmla="*/ 132 h 896"/>
                <a:gd name="T6" fmla="*/ 143 w 896"/>
                <a:gd name="T7" fmla="*/ 85 h 896"/>
                <a:gd name="T8" fmla="*/ 203 w 896"/>
                <a:gd name="T9" fmla="*/ 51 h 896"/>
                <a:gd name="T10" fmla="*/ 271 w 896"/>
                <a:gd name="T11" fmla="*/ 33 h 896"/>
                <a:gd name="T12" fmla="*/ 342 w 896"/>
                <a:gd name="T13" fmla="*/ 31 h 896"/>
                <a:gd name="T14" fmla="*/ 411 w 896"/>
                <a:gd name="T15" fmla="*/ 47 h 896"/>
                <a:gd name="T16" fmla="*/ 472 w 896"/>
                <a:gd name="T17" fmla="*/ 78 h 896"/>
                <a:gd name="T18" fmla="*/ 523 w 896"/>
                <a:gd name="T19" fmla="*/ 123 h 896"/>
                <a:gd name="T20" fmla="*/ 563 w 896"/>
                <a:gd name="T21" fmla="*/ 178 h 896"/>
                <a:gd name="T22" fmla="*/ 588 w 896"/>
                <a:gd name="T23" fmla="*/ 242 h 896"/>
                <a:gd name="T24" fmla="*/ 597 w 896"/>
                <a:gd name="T25" fmla="*/ 313 h 896"/>
                <a:gd name="T26" fmla="*/ 588 w 896"/>
                <a:gd name="T27" fmla="*/ 384 h 896"/>
                <a:gd name="T28" fmla="*/ 563 w 896"/>
                <a:gd name="T29" fmla="*/ 448 h 896"/>
                <a:gd name="T30" fmla="*/ 523 w 896"/>
                <a:gd name="T31" fmla="*/ 503 h 896"/>
                <a:gd name="T32" fmla="*/ 472 w 896"/>
                <a:gd name="T33" fmla="*/ 548 h 896"/>
                <a:gd name="T34" fmla="*/ 411 w 896"/>
                <a:gd name="T35" fmla="*/ 579 h 896"/>
                <a:gd name="T36" fmla="*/ 342 w 896"/>
                <a:gd name="T37" fmla="*/ 595 h 896"/>
                <a:gd name="T38" fmla="*/ 271 w 896"/>
                <a:gd name="T39" fmla="*/ 593 h 896"/>
                <a:gd name="T40" fmla="*/ 203 w 896"/>
                <a:gd name="T41" fmla="*/ 575 h 896"/>
                <a:gd name="T42" fmla="*/ 143 w 896"/>
                <a:gd name="T43" fmla="*/ 541 h 896"/>
                <a:gd name="T44" fmla="*/ 94 w 896"/>
                <a:gd name="T45" fmla="*/ 494 h 896"/>
                <a:gd name="T46" fmla="*/ 58 w 896"/>
                <a:gd name="T47" fmla="*/ 436 h 896"/>
                <a:gd name="T48" fmla="*/ 35 w 896"/>
                <a:gd name="T49" fmla="*/ 370 h 896"/>
                <a:gd name="T50" fmla="*/ 892 w 896"/>
                <a:gd name="T51" fmla="*/ 870 h 896"/>
                <a:gd name="T52" fmla="*/ 580 w 896"/>
                <a:gd name="T53" fmla="*/ 479 h 896"/>
                <a:gd name="T54" fmla="*/ 611 w 896"/>
                <a:gd name="T55" fmla="*/ 415 h 896"/>
                <a:gd name="T56" fmla="*/ 626 w 896"/>
                <a:gd name="T57" fmla="*/ 343 h 896"/>
                <a:gd name="T58" fmla="*/ 624 w 896"/>
                <a:gd name="T59" fmla="*/ 265 h 896"/>
                <a:gd name="T60" fmla="*/ 602 w 896"/>
                <a:gd name="T61" fmla="*/ 191 h 896"/>
                <a:gd name="T62" fmla="*/ 565 w 896"/>
                <a:gd name="T63" fmla="*/ 125 h 896"/>
                <a:gd name="T64" fmla="*/ 513 w 896"/>
                <a:gd name="T65" fmla="*/ 71 h 896"/>
                <a:gd name="T66" fmla="*/ 449 w 896"/>
                <a:gd name="T67" fmla="*/ 31 h 896"/>
                <a:gd name="T68" fmla="*/ 376 w 896"/>
                <a:gd name="T69" fmla="*/ 6 h 896"/>
                <a:gd name="T70" fmla="*/ 297 w 896"/>
                <a:gd name="T71" fmla="*/ 0 h 896"/>
                <a:gd name="T72" fmla="*/ 220 w 896"/>
                <a:gd name="T73" fmla="*/ 14 h 896"/>
                <a:gd name="T74" fmla="*/ 151 w 896"/>
                <a:gd name="T75" fmla="*/ 45 h 896"/>
                <a:gd name="T76" fmla="*/ 92 w 896"/>
                <a:gd name="T77" fmla="*/ 92 h 896"/>
                <a:gd name="T78" fmla="*/ 45 w 896"/>
                <a:gd name="T79" fmla="*/ 150 h 896"/>
                <a:gd name="T80" fmla="*/ 14 w 896"/>
                <a:gd name="T81" fmla="*/ 220 h 896"/>
                <a:gd name="T82" fmla="*/ 0 w 896"/>
                <a:gd name="T83" fmla="*/ 297 h 896"/>
                <a:gd name="T84" fmla="*/ 6 w 896"/>
                <a:gd name="T85" fmla="*/ 376 h 896"/>
                <a:gd name="T86" fmla="*/ 31 w 896"/>
                <a:gd name="T87" fmla="*/ 449 h 896"/>
                <a:gd name="T88" fmla="*/ 72 w 896"/>
                <a:gd name="T89" fmla="*/ 512 h 896"/>
                <a:gd name="T90" fmla="*/ 126 w 896"/>
                <a:gd name="T91" fmla="*/ 564 h 896"/>
                <a:gd name="T92" fmla="*/ 191 w 896"/>
                <a:gd name="T93" fmla="*/ 602 h 896"/>
                <a:gd name="T94" fmla="*/ 265 w 896"/>
                <a:gd name="T95" fmla="*/ 623 h 896"/>
                <a:gd name="T96" fmla="*/ 343 w 896"/>
                <a:gd name="T97" fmla="*/ 625 h 896"/>
                <a:gd name="T98" fmla="*/ 415 w 896"/>
                <a:gd name="T99" fmla="*/ 609 h 896"/>
                <a:gd name="T100" fmla="*/ 479 w 896"/>
                <a:gd name="T101" fmla="*/ 579 h 896"/>
                <a:gd name="T102" fmla="*/ 871 w 896"/>
                <a:gd name="T103" fmla="*/ 891 h 896"/>
                <a:gd name="T104" fmla="*/ 885 w 896"/>
                <a:gd name="T105" fmla="*/ 896 h 896"/>
                <a:gd name="T106" fmla="*/ 895 w 896"/>
                <a:gd name="T107" fmla="*/ 886 h 896"/>
                <a:gd name="T108" fmla="*/ 894 w 896"/>
                <a:gd name="T109" fmla="*/ 872 h 8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96" h="896">
                  <a:moveTo>
                    <a:pt x="30" y="313"/>
                  </a:moveTo>
                  <a:lnTo>
                    <a:pt x="30" y="298"/>
                  </a:lnTo>
                  <a:lnTo>
                    <a:pt x="31" y="284"/>
                  </a:lnTo>
                  <a:lnTo>
                    <a:pt x="33" y="270"/>
                  </a:lnTo>
                  <a:lnTo>
                    <a:pt x="35" y="256"/>
                  </a:lnTo>
                  <a:lnTo>
                    <a:pt x="38" y="242"/>
                  </a:lnTo>
                  <a:lnTo>
                    <a:pt x="43" y="228"/>
                  </a:lnTo>
                  <a:lnTo>
                    <a:pt x="47" y="216"/>
                  </a:lnTo>
                  <a:lnTo>
                    <a:pt x="51" y="203"/>
                  </a:lnTo>
                  <a:lnTo>
                    <a:pt x="58" y="190"/>
                  </a:lnTo>
                  <a:lnTo>
                    <a:pt x="64" y="178"/>
                  </a:lnTo>
                  <a:lnTo>
                    <a:pt x="71" y="165"/>
                  </a:lnTo>
                  <a:lnTo>
                    <a:pt x="78" y="155"/>
                  </a:lnTo>
                  <a:lnTo>
                    <a:pt x="86" y="143"/>
                  </a:lnTo>
                  <a:lnTo>
                    <a:pt x="94" y="132"/>
                  </a:lnTo>
                  <a:lnTo>
                    <a:pt x="104" y="123"/>
                  </a:lnTo>
                  <a:lnTo>
                    <a:pt x="112" y="112"/>
                  </a:lnTo>
                  <a:lnTo>
                    <a:pt x="123" y="103"/>
                  </a:lnTo>
                  <a:lnTo>
                    <a:pt x="133" y="94"/>
                  </a:lnTo>
                  <a:lnTo>
                    <a:pt x="143" y="85"/>
                  </a:lnTo>
                  <a:lnTo>
                    <a:pt x="155" y="78"/>
                  </a:lnTo>
                  <a:lnTo>
                    <a:pt x="166" y="70"/>
                  </a:lnTo>
                  <a:lnTo>
                    <a:pt x="179" y="64"/>
                  </a:lnTo>
                  <a:lnTo>
                    <a:pt x="190" y="57"/>
                  </a:lnTo>
                  <a:lnTo>
                    <a:pt x="203" y="51"/>
                  </a:lnTo>
                  <a:lnTo>
                    <a:pt x="216" y="47"/>
                  </a:lnTo>
                  <a:lnTo>
                    <a:pt x="229" y="41"/>
                  </a:lnTo>
                  <a:lnTo>
                    <a:pt x="243" y="38"/>
                  </a:lnTo>
                  <a:lnTo>
                    <a:pt x="257" y="35"/>
                  </a:lnTo>
                  <a:lnTo>
                    <a:pt x="271" y="33"/>
                  </a:lnTo>
                  <a:lnTo>
                    <a:pt x="284" y="31"/>
                  </a:lnTo>
                  <a:lnTo>
                    <a:pt x="298" y="30"/>
                  </a:lnTo>
                  <a:lnTo>
                    <a:pt x="313" y="29"/>
                  </a:lnTo>
                  <a:lnTo>
                    <a:pt x="328" y="30"/>
                  </a:lnTo>
                  <a:lnTo>
                    <a:pt x="342" y="31"/>
                  </a:lnTo>
                  <a:lnTo>
                    <a:pt x="356" y="33"/>
                  </a:lnTo>
                  <a:lnTo>
                    <a:pt x="370" y="35"/>
                  </a:lnTo>
                  <a:lnTo>
                    <a:pt x="384" y="38"/>
                  </a:lnTo>
                  <a:lnTo>
                    <a:pt x="398" y="41"/>
                  </a:lnTo>
                  <a:lnTo>
                    <a:pt x="411" y="47"/>
                  </a:lnTo>
                  <a:lnTo>
                    <a:pt x="424" y="51"/>
                  </a:lnTo>
                  <a:lnTo>
                    <a:pt x="436" y="57"/>
                  </a:lnTo>
                  <a:lnTo>
                    <a:pt x="448" y="64"/>
                  </a:lnTo>
                  <a:lnTo>
                    <a:pt x="461" y="70"/>
                  </a:lnTo>
                  <a:lnTo>
                    <a:pt x="472" y="78"/>
                  </a:lnTo>
                  <a:lnTo>
                    <a:pt x="483" y="85"/>
                  </a:lnTo>
                  <a:lnTo>
                    <a:pt x="494" y="94"/>
                  </a:lnTo>
                  <a:lnTo>
                    <a:pt x="504" y="102"/>
                  </a:lnTo>
                  <a:lnTo>
                    <a:pt x="514" y="112"/>
                  </a:lnTo>
                  <a:lnTo>
                    <a:pt x="523" y="123"/>
                  </a:lnTo>
                  <a:lnTo>
                    <a:pt x="533" y="132"/>
                  </a:lnTo>
                  <a:lnTo>
                    <a:pt x="541" y="143"/>
                  </a:lnTo>
                  <a:lnTo>
                    <a:pt x="549" y="155"/>
                  </a:lnTo>
                  <a:lnTo>
                    <a:pt x="556" y="165"/>
                  </a:lnTo>
                  <a:lnTo>
                    <a:pt x="563" y="178"/>
                  </a:lnTo>
                  <a:lnTo>
                    <a:pt x="569" y="190"/>
                  </a:lnTo>
                  <a:lnTo>
                    <a:pt x="575" y="203"/>
                  </a:lnTo>
                  <a:lnTo>
                    <a:pt x="580" y="216"/>
                  </a:lnTo>
                  <a:lnTo>
                    <a:pt x="585" y="228"/>
                  </a:lnTo>
                  <a:lnTo>
                    <a:pt x="588" y="242"/>
                  </a:lnTo>
                  <a:lnTo>
                    <a:pt x="591" y="256"/>
                  </a:lnTo>
                  <a:lnTo>
                    <a:pt x="594" y="270"/>
                  </a:lnTo>
                  <a:lnTo>
                    <a:pt x="596" y="284"/>
                  </a:lnTo>
                  <a:lnTo>
                    <a:pt x="597" y="298"/>
                  </a:lnTo>
                  <a:lnTo>
                    <a:pt x="597" y="313"/>
                  </a:lnTo>
                  <a:lnTo>
                    <a:pt x="597" y="328"/>
                  </a:lnTo>
                  <a:lnTo>
                    <a:pt x="596" y="342"/>
                  </a:lnTo>
                  <a:lnTo>
                    <a:pt x="594" y="356"/>
                  </a:lnTo>
                  <a:lnTo>
                    <a:pt x="591" y="370"/>
                  </a:lnTo>
                  <a:lnTo>
                    <a:pt x="588" y="384"/>
                  </a:lnTo>
                  <a:lnTo>
                    <a:pt x="585" y="397"/>
                  </a:lnTo>
                  <a:lnTo>
                    <a:pt x="580" y="410"/>
                  </a:lnTo>
                  <a:lnTo>
                    <a:pt x="575" y="423"/>
                  </a:lnTo>
                  <a:lnTo>
                    <a:pt x="569" y="436"/>
                  </a:lnTo>
                  <a:lnTo>
                    <a:pt x="563" y="448"/>
                  </a:lnTo>
                  <a:lnTo>
                    <a:pt x="556" y="459"/>
                  </a:lnTo>
                  <a:lnTo>
                    <a:pt x="549" y="471"/>
                  </a:lnTo>
                  <a:lnTo>
                    <a:pt x="541" y="483"/>
                  </a:lnTo>
                  <a:lnTo>
                    <a:pt x="533" y="494"/>
                  </a:lnTo>
                  <a:lnTo>
                    <a:pt x="523" y="503"/>
                  </a:lnTo>
                  <a:lnTo>
                    <a:pt x="514" y="514"/>
                  </a:lnTo>
                  <a:lnTo>
                    <a:pt x="504" y="523"/>
                  </a:lnTo>
                  <a:lnTo>
                    <a:pt x="494" y="532"/>
                  </a:lnTo>
                  <a:lnTo>
                    <a:pt x="483" y="541"/>
                  </a:lnTo>
                  <a:lnTo>
                    <a:pt x="472" y="548"/>
                  </a:lnTo>
                  <a:lnTo>
                    <a:pt x="461" y="556"/>
                  </a:lnTo>
                  <a:lnTo>
                    <a:pt x="448" y="562"/>
                  </a:lnTo>
                  <a:lnTo>
                    <a:pt x="436" y="569"/>
                  </a:lnTo>
                  <a:lnTo>
                    <a:pt x="424" y="575"/>
                  </a:lnTo>
                  <a:lnTo>
                    <a:pt x="411" y="579"/>
                  </a:lnTo>
                  <a:lnTo>
                    <a:pt x="398" y="583"/>
                  </a:lnTo>
                  <a:lnTo>
                    <a:pt x="384" y="588"/>
                  </a:lnTo>
                  <a:lnTo>
                    <a:pt x="370" y="591"/>
                  </a:lnTo>
                  <a:lnTo>
                    <a:pt x="356" y="593"/>
                  </a:lnTo>
                  <a:lnTo>
                    <a:pt x="342" y="595"/>
                  </a:lnTo>
                  <a:lnTo>
                    <a:pt x="328" y="596"/>
                  </a:lnTo>
                  <a:lnTo>
                    <a:pt x="313" y="596"/>
                  </a:lnTo>
                  <a:lnTo>
                    <a:pt x="298" y="596"/>
                  </a:lnTo>
                  <a:lnTo>
                    <a:pt x="284" y="595"/>
                  </a:lnTo>
                  <a:lnTo>
                    <a:pt x="271" y="593"/>
                  </a:lnTo>
                  <a:lnTo>
                    <a:pt x="257" y="591"/>
                  </a:lnTo>
                  <a:lnTo>
                    <a:pt x="243" y="588"/>
                  </a:lnTo>
                  <a:lnTo>
                    <a:pt x="229" y="583"/>
                  </a:lnTo>
                  <a:lnTo>
                    <a:pt x="216" y="579"/>
                  </a:lnTo>
                  <a:lnTo>
                    <a:pt x="203" y="575"/>
                  </a:lnTo>
                  <a:lnTo>
                    <a:pt x="190" y="569"/>
                  </a:lnTo>
                  <a:lnTo>
                    <a:pt x="179" y="562"/>
                  </a:lnTo>
                  <a:lnTo>
                    <a:pt x="166" y="556"/>
                  </a:lnTo>
                  <a:lnTo>
                    <a:pt x="155" y="548"/>
                  </a:lnTo>
                  <a:lnTo>
                    <a:pt x="143" y="541"/>
                  </a:lnTo>
                  <a:lnTo>
                    <a:pt x="133" y="532"/>
                  </a:lnTo>
                  <a:lnTo>
                    <a:pt x="123" y="523"/>
                  </a:lnTo>
                  <a:lnTo>
                    <a:pt x="112" y="514"/>
                  </a:lnTo>
                  <a:lnTo>
                    <a:pt x="104" y="503"/>
                  </a:lnTo>
                  <a:lnTo>
                    <a:pt x="94" y="494"/>
                  </a:lnTo>
                  <a:lnTo>
                    <a:pt x="86" y="483"/>
                  </a:lnTo>
                  <a:lnTo>
                    <a:pt x="78" y="471"/>
                  </a:lnTo>
                  <a:lnTo>
                    <a:pt x="71" y="459"/>
                  </a:lnTo>
                  <a:lnTo>
                    <a:pt x="64" y="448"/>
                  </a:lnTo>
                  <a:lnTo>
                    <a:pt x="58" y="436"/>
                  </a:lnTo>
                  <a:lnTo>
                    <a:pt x="51" y="423"/>
                  </a:lnTo>
                  <a:lnTo>
                    <a:pt x="47" y="410"/>
                  </a:lnTo>
                  <a:lnTo>
                    <a:pt x="43" y="397"/>
                  </a:lnTo>
                  <a:lnTo>
                    <a:pt x="38" y="384"/>
                  </a:lnTo>
                  <a:lnTo>
                    <a:pt x="35" y="370"/>
                  </a:lnTo>
                  <a:lnTo>
                    <a:pt x="33" y="356"/>
                  </a:lnTo>
                  <a:lnTo>
                    <a:pt x="31" y="342"/>
                  </a:lnTo>
                  <a:lnTo>
                    <a:pt x="30" y="328"/>
                  </a:lnTo>
                  <a:lnTo>
                    <a:pt x="30" y="313"/>
                  </a:lnTo>
                  <a:close/>
                  <a:moveTo>
                    <a:pt x="892" y="870"/>
                  </a:moveTo>
                  <a:lnTo>
                    <a:pt x="545" y="524"/>
                  </a:lnTo>
                  <a:lnTo>
                    <a:pt x="554" y="513"/>
                  </a:lnTo>
                  <a:lnTo>
                    <a:pt x="564" y="502"/>
                  </a:lnTo>
                  <a:lnTo>
                    <a:pt x="571" y="490"/>
                  </a:lnTo>
                  <a:lnTo>
                    <a:pt x="580" y="479"/>
                  </a:lnTo>
                  <a:lnTo>
                    <a:pt x="587" y="466"/>
                  </a:lnTo>
                  <a:lnTo>
                    <a:pt x="594" y="454"/>
                  </a:lnTo>
                  <a:lnTo>
                    <a:pt x="600" y="441"/>
                  </a:lnTo>
                  <a:lnTo>
                    <a:pt x="605" y="427"/>
                  </a:lnTo>
                  <a:lnTo>
                    <a:pt x="611" y="415"/>
                  </a:lnTo>
                  <a:lnTo>
                    <a:pt x="615" y="401"/>
                  </a:lnTo>
                  <a:lnTo>
                    <a:pt x="618" y="387"/>
                  </a:lnTo>
                  <a:lnTo>
                    <a:pt x="621" y="372"/>
                  </a:lnTo>
                  <a:lnTo>
                    <a:pt x="624" y="358"/>
                  </a:lnTo>
                  <a:lnTo>
                    <a:pt x="626" y="343"/>
                  </a:lnTo>
                  <a:lnTo>
                    <a:pt x="627" y="328"/>
                  </a:lnTo>
                  <a:lnTo>
                    <a:pt x="627" y="313"/>
                  </a:lnTo>
                  <a:lnTo>
                    <a:pt x="627" y="297"/>
                  </a:lnTo>
                  <a:lnTo>
                    <a:pt x="626" y="281"/>
                  </a:lnTo>
                  <a:lnTo>
                    <a:pt x="624" y="265"/>
                  </a:lnTo>
                  <a:lnTo>
                    <a:pt x="620" y="250"/>
                  </a:lnTo>
                  <a:lnTo>
                    <a:pt x="617" y="235"/>
                  </a:lnTo>
                  <a:lnTo>
                    <a:pt x="613" y="220"/>
                  </a:lnTo>
                  <a:lnTo>
                    <a:pt x="609" y="205"/>
                  </a:lnTo>
                  <a:lnTo>
                    <a:pt x="602" y="191"/>
                  </a:lnTo>
                  <a:lnTo>
                    <a:pt x="596" y="177"/>
                  </a:lnTo>
                  <a:lnTo>
                    <a:pt x="589" y="163"/>
                  </a:lnTo>
                  <a:lnTo>
                    <a:pt x="582" y="150"/>
                  </a:lnTo>
                  <a:lnTo>
                    <a:pt x="573" y="138"/>
                  </a:lnTo>
                  <a:lnTo>
                    <a:pt x="565" y="125"/>
                  </a:lnTo>
                  <a:lnTo>
                    <a:pt x="555" y="113"/>
                  </a:lnTo>
                  <a:lnTo>
                    <a:pt x="545" y="102"/>
                  </a:lnTo>
                  <a:lnTo>
                    <a:pt x="535" y="92"/>
                  </a:lnTo>
                  <a:lnTo>
                    <a:pt x="524" y="81"/>
                  </a:lnTo>
                  <a:lnTo>
                    <a:pt x="513" y="71"/>
                  </a:lnTo>
                  <a:lnTo>
                    <a:pt x="501" y="62"/>
                  </a:lnTo>
                  <a:lnTo>
                    <a:pt x="489" y="53"/>
                  </a:lnTo>
                  <a:lnTo>
                    <a:pt x="476" y="45"/>
                  </a:lnTo>
                  <a:lnTo>
                    <a:pt x="463" y="37"/>
                  </a:lnTo>
                  <a:lnTo>
                    <a:pt x="449" y="31"/>
                  </a:lnTo>
                  <a:lnTo>
                    <a:pt x="435" y="24"/>
                  </a:lnTo>
                  <a:lnTo>
                    <a:pt x="421" y="18"/>
                  </a:lnTo>
                  <a:lnTo>
                    <a:pt x="406" y="14"/>
                  </a:lnTo>
                  <a:lnTo>
                    <a:pt x="391" y="9"/>
                  </a:lnTo>
                  <a:lnTo>
                    <a:pt x="376" y="6"/>
                  </a:lnTo>
                  <a:lnTo>
                    <a:pt x="361" y="3"/>
                  </a:lnTo>
                  <a:lnTo>
                    <a:pt x="345" y="1"/>
                  </a:lnTo>
                  <a:lnTo>
                    <a:pt x="329" y="0"/>
                  </a:lnTo>
                  <a:lnTo>
                    <a:pt x="313" y="0"/>
                  </a:lnTo>
                  <a:lnTo>
                    <a:pt x="297" y="0"/>
                  </a:lnTo>
                  <a:lnTo>
                    <a:pt x="281" y="1"/>
                  </a:lnTo>
                  <a:lnTo>
                    <a:pt x="265" y="3"/>
                  </a:lnTo>
                  <a:lnTo>
                    <a:pt x="250" y="5"/>
                  </a:lnTo>
                  <a:lnTo>
                    <a:pt x="235" y="9"/>
                  </a:lnTo>
                  <a:lnTo>
                    <a:pt x="220" y="14"/>
                  </a:lnTo>
                  <a:lnTo>
                    <a:pt x="205" y="18"/>
                  </a:lnTo>
                  <a:lnTo>
                    <a:pt x="191" y="24"/>
                  </a:lnTo>
                  <a:lnTo>
                    <a:pt x="178" y="30"/>
                  </a:lnTo>
                  <a:lnTo>
                    <a:pt x="164" y="37"/>
                  </a:lnTo>
                  <a:lnTo>
                    <a:pt x="151" y="45"/>
                  </a:lnTo>
                  <a:lnTo>
                    <a:pt x="138" y="53"/>
                  </a:lnTo>
                  <a:lnTo>
                    <a:pt x="126" y="62"/>
                  </a:lnTo>
                  <a:lnTo>
                    <a:pt x="114" y="71"/>
                  </a:lnTo>
                  <a:lnTo>
                    <a:pt x="103" y="81"/>
                  </a:lnTo>
                  <a:lnTo>
                    <a:pt x="92" y="92"/>
                  </a:lnTo>
                  <a:lnTo>
                    <a:pt x="81" y="102"/>
                  </a:lnTo>
                  <a:lnTo>
                    <a:pt x="72" y="113"/>
                  </a:lnTo>
                  <a:lnTo>
                    <a:pt x="62" y="125"/>
                  </a:lnTo>
                  <a:lnTo>
                    <a:pt x="53" y="138"/>
                  </a:lnTo>
                  <a:lnTo>
                    <a:pt x="45" y="150"/>
                  </a:lnTo>
                  <a:lnTo>
                    <a:pt x="37" y="163"/>
                  </a:lnTo>
                  <a:lnTo>
                    <a:pt x="31" y="177"/>
                  </a:lnTo>
                  <a:lnTo>
                    <a:pt x="25" y="191"/>
                  </a:lnTo>
                  <a:lnTo>
                    <a:pt x="18" y="205"/>
                  </a:lnTo>
                  <a:lnTo>
                    <a:pt x="14" y="220"/>
                  </a:lnTo>
                  <a:lnTo>
                    <a:pt x="10" y="235"/>
                  </a:lnTo>
                  <a:lnTo>
                    <a:pt x="6" y="250"/>
                  </a:lnTo>
                  <a:lnTo>
                    <a:pt x="3" y="265"/>
                  </a:lnTo>
                  <a:lnTo>
                    <a:pt x="1" y="281"/>
                  </a:lnTo>
                  <a:lnTo>
                    <a:pt x="0" y="297"/>
                  </a:lnTo>
                  <a:lnTo>
                    <a:pt x="0" y="313"/>
                  </a:lnTo>
                  <a:lnTo>
                    <a:pt x="0" y="329"/>
                  </a:lnTo>
                  <a:lnTo>
                    <a:pt x="1" y="345"/>
                  </a:lnTo>
                  <a:lnTo>
                    <a:pt x="3" y="361"/>
                  </a:lnTo>
                  <a:lnTo>
                    <a:pt x="6" y="376"/>
                  </a:lnTo>
                  <a:lnTo>
                    <a:pt x="10" y="391"/>
                  </a:lnTo>
                  <a:lnTo>
                    <a:pt x="14" y="406"/>
                  </a:lnTo>
                  <a:lnTo>
                    <a:pt x="18" y="421"/>
                  </a:lnTo>
                  <a:lnTo>
                    <a:pt x="25" y="435"/>
                  </a:lnTo>
                  <a:lnTo>
                    <a:pt x="31" y="449"/>
                  </a:lnTo>
                  <a:lnTo>
                    <a:pt x="37" y="463"/>
                  </a:lnTo>
                  <a:lnTo>
                    <a:pt x="45" y="475"/>
                  </a:lnTo>
                  <a:lnTo>
                    <a:pt x="53" y="488"/>
                  </a:lnTo>
                  <a:lnTo>
                    <a:pt x="62" y="500"/>
                  </a:lnTo>
                  <a:lnTo>
                    <a:pt x="72" y="512"/>
                  </a:lnTo>
                  <a:lnTo>
                    <a:pt x="81" y="524"/>
                  </a:lnTo>
                  <a:lnTo>
                    <a:pt x="92" y="534"/>
                  </a:lnTo>
                  <a:lnTo>
                    <a:pt x="103" y="545"/>
                  </a:lnTo>
                  <a:lnTo>
                    <a:pt x="114" y="555"/>
                  </a:lnTo>
                  <a:lnTo>
                    <a:pt x="126" y="564"/>
                  </a:lnTo>
                  <a:lnTo>
                    <a:pt x="138" y="573"/>
                  </a:lnTo>
                  <a:lnTo>
                    <a:pt x="151" y="581"/>
                  </a:lnTo>
                  <a:lnTo>
                    <a:pt x="164" y="589"/>
                  </a:lnTo>
                  <a:lnTo>
                    <a:pt x="178" y="595"/>
                  </a:lnTo>
                  <a:lnTo>
                    <a:pt x="191" y="602"/>
                  </a:lnTo>
                  <a:lnTo>
                    <a:pt x="205" y="608"/>
                  </a:lnTo>
                  <a:lnTo>
                    <a:pt x="220" y="612"/>
                  </a:lnTo>
                  <a:lnTo>
                    <a:pt x="235" y="617"/>
                  </a:lnTo>
                  <a:lnTo>
                    <a:pt x="250" y="620"/>
                  </a:lnTo>
                  <a:lnTo>
                    <a:pt x="265" y="623"/>
                  </a:lnTo>
                  <a:lnTo>
                    <a:pt x="281" y="625"/>
                  </a:lnTo>
                  <a:lnTo>
                    <a:pt x="297" y="626"/>
                  </a:lnTo>
                  <a:lnTo>
                    <a:pt x="313" y="626"/>
                  </a:lnTo>
                  <a:lnTo>
                    <a:pt x="328" y="626"/>
                  </a:lnTo>
                  <a:lnTo>
                    <a:pt x="343" y="625"/>
                  </a:lnTo>
                  <a:lnTo>
                    <a:pt x="358" y="623"/>
                  </a:lnTo>
                  <a:lnTo>
                    <a:pt x="372" y="621"/>
                  </a:lnTo>
                  <a:lnTo>
                    <a:pt x="387" y="618"/>
                  </a:lnTo>
                  <a:lnTo>
                    <a:pt x="401" y="614"/>
                  </a:lnTo>
                  <a:lnTo>
                    <a:pt x="415" y="609"/>
                  </a:lnTo>
                  <a:lnTo>
                    <a:pt x="428" y="605"/>
                  </a:lnTo>
                  <a:lnTo>
                    <a:pt x="442" y="600"/>
                  </a:lnTo>
                  <a:lnTo>
                    <a:pt x="455" y="593"/>
                  </a:lnTo>
                  <a:lnTo>
                    <a:pt x="467" y="587"/>
                  </a:lnTo>
                  <a:lnTo>
                    <a:pt x="479" y="579"/>
                  </a:lnTo>
                  <a:lnTo>
                    <a:pt x="491" y="571"/>
                  </a:lnTo>
                  <a:lnTo>
                    <a:pt x="503" y="563"/>
                  </a:lnTo>
                  <a:lnTo>
                    <a:pt x="513" y="554"/>
                  </a:lnTo>
                  <a:lnTo>
                    <a:pt x="524" y="545"/>
                  </a:lnTo>
                  <a:lnTo>
                    <a:pt x="871" y="891"/>
                  </a:lnTo>
                  <a:lnTo>
                    <a:pt x="873" y="893"/>
                  </a:lnTo>
                  <a:lnTo>
                    <a:pt x="876" y="895"/>
                  </a:lnTo>
                  <a:lnTo>
                    <a:pt x="878" y="896"/>
                  </a:lnTo>
                  <a:lnTo>
                    <a:pt x="881" y="896"/>
                  </a:lnTo>
                  <a:lnTo>
                    <a:pt x="885" y="896"/>
                  </a:lnTo>
                  <a:lnTo>
                    <a:pt x="887" y="895"/>
                  </a:lnTo>
                  <a:lnTo>
                    <a:pt x="890" y="894"/>
                  </a:lnTo>
                  <a:lnTo>
                    <a:pt x="892" y="891"/>
                  </a:lnTo>
                  <a:lnTo>
                    <a:pt x="894" y="889"/>
                  </a:lnTo>
                  <a:lnTo>
                    <a:pt x="895" y="886"/>
                  </a:lnTo>
                  <a:lnTo>
                    <a:pt x="896" y="884"/>
                  </a:lnTo>
                  <a:lnTo>
                    <a:pt x="896" y="881"/>
                  </a:lnTo>
                  <a:lnTo>
                    <a:pt x="896" y="878"/>
                  </a:lnTo>
                  <a:lnTo>
                    <a:pt x="895" y="875"/>
                  </a:lnTo>
                  <a:lnTo>
                    <a:pt x="894" y="872"/>
                  </a:lnTo>
                  <a:lnTo>
                    <a:pt x="892" y="870"/>
                  </a:lnTo>
                  <a:lnTo>
                    <a:pt x="892" y="87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76" name="Group 175"/>
            <p:cNvGrpSpPr/>
            <p:nvPr/>
          </p:nvGrpSpPr>
          <p:grpSpPr>
            <a:xfrm>
              <a:off x="2363411" y="1554916"/>
              <a:ext cx="200025" cy="287338"/>
              <a:chOff x="10501313" y="2228850"/>
              <a:chExt cx="200025" cy="287338"/>
            </a:xfrm>
            <a:solidFill>
              <a:schemeClr val="bg1"/>
            </a:solidFill>
          </p:grpSpPr>
          <p:sp>
            <p:nvSpPr>
              <p:cNvPr id="177" name="Freeform 203"/>
              <p:cNvSpPr>
                <a:spLocks noEditPoints="1"/>
              </p:cNvSpPr>
              <p:nvPr/>
            </p:nvSpPr>
            <p:spPr bwMode="auto">
              <a:xfrm>
                <a:off x="10501313" y="2228850"/>
                <a:ext cx="200025" cy="201613"/>
              </a:xfrm>
              <a:custGeom>
                <a:avLst/>
                <a:gdLst>
                  <a:gd name="T0" fmla="*/ 373 w 632"/>
                  <a:gd name="T1" fmla="*/ 511 h 631"/>
                  <a:gd name="T2" fmla="*/ 447 w 632"/>
                  <a:gd name="T3" fmla="*/ 447 h 631"/>
                  <a:gd name="T4" fmla="*/ 450 w 632"/>
                  <a:gd name="T5" fmla="*/ 431 h 631"/>
                  <a:gd name="T6" fmla="*/ 436 w 632"/>
                  <a:gd name="T7" fmla="*/ 421 h 631"/>
                  <a:gd name="T8" fmla="*/ 327 w 632"/>
                  <a:gd name="T9" fmla="*/ 426 h 631"/>
                  <a:gd name="T10" fmla="*/ 310 w 632"/>
                  <a:gd name="T11" fmla="*/ 422 h 631"/>
                  <a:gd name="T12" fmla="*/ 202 w 632"/>
                  <a:gd name="T13" fmla="*/ 422 h 631"/>
                  <a:gd name="T14" fmla="*/ 184 w 632"/>
                  <a:gd name="T15" fmla="*/ 426 h 631"/>
                  <a:gd name="T16" fmla="*/ 181 w 632"/>
                  <a:gd name="T17" fmla="*/ 442 h 631"/>
                  <a:gd name="T18" fmla="*/ 253 w 632"/>
                  <a:gd name="T19" fmla="*/ 511 h 631"/>
                  <a:gd name="T20" fmla="*/ 301 w 632"/>
                  <a:gd name="T21" fmla="*/ 473 h 631"/>
                  <a:gd name="T22" fmla="*/ 233 w 632"/>
                  <a:gd name="T23" fmla="*/ 589 h 631"/>
                  <a:gd name="T24" fmla="*/ 160 w 632"/>
                  <a:gd name="T25" fmla="*/ 555 h 631"/>
                  <a:gd name="T26" fmla="*/ 100 w 632"/>
                  <a:gd name="T27" fmla="*/ 503 h 631"/>
                  <a:gd name="T28" fmla="*/ 57 w 632"/>
                  <a:gd name="T29" fmla="*/ 436 h 631"/>
                  <a:gd name="T30" fmla="*/ 33 w 632"/>
                  <a:gd name="T31" fmla="*/ 358 h 631"/>
                  <a:gd name="T32" fmla="*/ 33 w 632"/>
                  <a:gd name="T33" fmla="*/ 272 h 631"/>
                  <a:gd name="T34" fmla="*/ 58 w 632"/>
                  <a:gd name="T35" fmla="*/ 192 h 631"/>
                  <a:gd name="T36" fmla="*/ 104 w 632"/>
                  <a:gd name="T37" fmla="*/ 123 h 631"/>
                  <a:gd name="T38" fmla="*/ 167 w 632"/>
                  <a:gd name="T39" fmla="*/ 72 h 631"/>
                  <a:gd name="T40" fmla="*/ 244 w 632"/>
                  <a:gd name="T41" fmla="*/ 38 h 631"/>
                  <a:gd name="T42" fmla="*/ 330 w 632"/>
                  <a:gd name="T43" fmla="*/ 30 h 631"/>
                  <a:gd name="T44" fmla="*/ 414 w 632"/>
                  <a:gd name="T45" fmla="*/ 47 h 631"/>
                  <a:gd name="T46" fmla="*/ 487 w 632"/>
                  <a:gd name="T47" fmla="*/ 87 h 631"/>
                  <a:gd name="T48" fmla="*/ 545 w 632"/>
                  <a:gd name="T49" fmla="*/ 145 h 631"/>
                  <a:gd name="T50" fmla="*/ 584 w 632"/>
                  <a:gd name="T51" fmla="*/ 218 h 631"/>
                  <a:gd name="T52" fmla="*/ 602 w 632"/>
                  <a:gd name="T53" fmla="*/ 301 h 631"/>
                  <a:gd name="T54" fmla="*/ 593 w 632"/>
                  <a:gd name="T55" fmla="*/ 385 h 631"/>
                  <a:gd name="T56" fmla="*/ 563 w 632"/>
                  <a:gd name="T57" fmla="*/ 460 h 631"/>
                  <a:gd name="T58" fmla="*/ 514 w 632"/>
                  <a:gd name="T59" fmla="*/ 522 h 631"/>
                  <a:gd name="T60" fmla="*/ 449 w 632"/>
                  <a:gd name="T61" fmla="*/ 568 h 631"/>
                  <a:gd name="T62" fmla="*/ 372 w 632"/>
                  <a:gd name="T63" fmla="*/ 596 h 631"/>
                  <a:gd name="T64" fmla="*/ 283 w 632"/>
                  <a:gd name="T65" fmla="*/ 1 h 631"/>
                  <a:gd name="T66" fmla="*/ 193 w 632"/>
                  <a:gd name="T67" fmla="*/ 25 h 631"/>
                  <a:gd name="T68" fmla="*/ 115 w 632"/>
                  <a:gd name="T69" fmla="*/ 72 h 631"/>
                  <a:gd name="T70" fmla="*/ 54 w 632"/>
                  <a:gd name="T71" fmla="*/ 139 h 631"/>
                  <a:gd name="T72" fmla="*/ 14 w 632"/>
                  <a:gd name="T73" fmla="*/ 222 h 631"/>
                  <a:gd name="T74" fmla="*/ 0 w 632"/>
                  <a:gd name="T75" fmla="*/ 316 h 631"/>
                  <a:gd name="T76" fmla="*/ 14 w 632"/>
                  <a:gd name="T77" fmla="*/ 410 h 631"/>
                  <a:gd name="T78" fmla="*/ 54 w 632"/>
                  <a:gd name="T79" fmla="*/ 492 h 631"/>
                  <a:gd name="T80" fmla="*/ 115 w 632"/>
                  <a:gd name="T81" fmla="*/ 560 h 631"/>
                  <a:gd name="T82" fmla="*/ 193 w 632"/>
                  <a:gd name="T83" fmla="*/ 607 h 631"/>
                  <a:gd name="T84" fmla="*/ 283 w 632"/>
                  <a:gd name="T85" fmla="*/ 630 h 631"/>
                  <a:gd name="T86" fmla="*/ 380 w 632"/>
                  <a:gd name="T87" fmla="*/ 625 h 631"/>
                  <a:gd name="T88" fmla="*/ 466 w 632"/>
                  <a:gd name="T89" fmla="*/ 594 h 631"/>
                  <a:gd name="T90" fmla="*/ 539 w 632"/>
                  <a:gd name="T91" fmla="*/ 539 h 631"/>
                  <a:gd name="T92" fmla="*/ 594 w 632"/>
                  <a:gd name="T93" fmla="*/ 466 h 631"/>
                  <a:gd name="T94" fmla="*/ 625 w 632"/>
                  <a:gd name="T95" fmla="*/ 379 h 631"/>
                  <a:gd name="T96" fmla="*/ 631 w 632"/>
                  <a:gd name="T97" fmla="*/ 284 h 631"/>
                  <a:gd name="T98" fmla="*/ 607 w 632"/>
                  <a:gd name="T99" fmla="*/ 193 h 631"/>
                  <a:gd name="T100" fmla="*/ 560 w 632"/>
                  <a:gd name="T101" fmla="*/ 115 h 631"/>
                  <a:gd name="T102" fmla="*/ 492 w 632"/>
                  <a:gd name="T103" fmla="*/ 53 h 631"/>
                  <a:gd name="T104" fmla="*/ 410 w 632"/>
                  <a:gd name="T105" fmla="*/ 14 h 631"/>
                  <a:gd name="T106" fmla="*/ 316 w 632"/>
                  <a:gd name="T107" fmla="*/ 0 h 6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632" h="631">
                    <a:moveTo>
                      <a:pt x="331" y="601"/>
                    </a:moveTo>
                    <a:lnTo>
                      <a:pt x="331" y="473"/>
                    </a:lnTo>
                    <a:lnTo>
                      <a:pt x="366" y="507"/>
                    </a:lnTo>
                    <a:lnTo>
                      <a:pt x="368" y="509"/>
                    </a:lnTo>
                    <a:lnTo>
                      <a:pt x="370" y="510"/>
                    </a:lnTo>
                    <a:lnTo>
                      <a:pt x="373" y="511"/>
                    </a:lnTo>
                    <a:lnTo>
                      <a:pt x="376" y="511"/>
                    </a:lnTo>
                    <a:lnTo>
                      <a:pt x="379" y="511"/>
                    </a:lnTo>
                    <a:lnTo>
                      <a:pt x="382" y="510"/>
                    </a:lnTo>
                    <a:lnTo>
                      <a:pt x="384" y="509"/>
                    </a:lnTo>
                    <a:lnTo>
                      <a:pt x="387" y="507"/>
                    </a:lnTo>
                    <a:lnTo>
                      <a:pt x="447" y="447"/>
                    </a:lnTo>
                    <a:lnTo>
                      <a:pt x="449" y="445"/>
                    </a:lnTo>
                    <a:lnTo>
                      <a:pt x="450" y="442"/>
                    </a:lnTo>
                    <a:lnTo>
                      <a:pt x="451" y="440"/>
                    </a:lnTo>
                    <a:lnTo>
                      <a:pt x="451" y="436"/>
                    </a:lnTo>
                    <a:lnTo>
                      <a:pt x="451" y="433"/>
                    </a:lnTo>
                    <a:lnTo>
                      <a:pt x="450" y="431"/>
                    </a:lnTo>
                    <a:lnTo>
                      <a:pt x="449" y="428"/>
                    </a:lnTo>
                    <a:lnTo>
                      <a:pt x="447" y="426"/>
                    </a:lnTo>
                    <a:lnTo>
                      <a:pt x="445" y="423"/>
                    </a:lnTo>
                    <a:lnTo>
                      <a:pt x="442" y="422"/>
                    </a:lnTo>
                    <a:lnTo>
                      <a:pt x="440" y="421"/>
                    </a:lnTo>
                    <a:lnTo>
                      <a:pt x="436" y="421"/>
                    </a:lnTo>
                    <a:lnTo>
                      <a:pt x="433" y="421"/>
                    </a:lnTo>
                    <a:lnTo>
                      <a:pt x="431" y="422"/>
                    </a:lnTo>
                    <a:lnTo>
                      <a:pt x="428" y="423"/>
                    </a:lnTo>
                    <a:lnTo>
                      <a:pt x="426" y="426"/>
                    </a:lnTo>
                    <a:lnTo>
                      <a:pt x="376" y="475"/>
                    </a:lnTo>
                    <a:lnTo>
                      <a:pt x="327" y="426"/>
                    </a:lnTo>
                    <a:lnTo>
                      <a:pt x="324" y="423"/>
                    </a:lnTo>
                    <a:lnTo>
                      <a:pt x="322" y="422"/>
                    </a:lnTo>
                    <a:lnTo>
                      <a:pt x="318" y="421"/>
                    </a:lnTo>
                    <a:lnTo>
                      <a:pt x="316" y="421"/>
                    </a:lnTo>
                    <a:lnTo>
                      <a:pt x="313" y="421"/>
                    </a:lnTo>
                    <a:lnTo>
                      <a:pt x="310" y="422"/>
                    </a:lnTo>
                    <a:lnTo>
                      <a:pt x="308" y="423"/>
                    </a:lnTo>
                    <a:lnTo>
                      <a:pt x="306" y="426"/>
                    </a:lnTo>
                    <a:lnTo>
                      <a:pt x="255" y="475"/>
                    </a:lnTo>
                    <a:lnTo>
                      <a:pt x="206" y="426"/>
                    </a:lnTo>
                    <a:lnTo>
                      <a:pt x="204" y="423"/>
                    </a:lnTo>
                    <a:lnTo>
                      <a:pt x="202" y="422"/>
                    </a:lnTo>
                    <a:lnTo>
                      <a:pt x="198" y="421"/>
                    </a:lnTo>
                    <a:lnTo>
                      <a:pt x="195" y="421"/>
                    </a:lnTo>
                    <a:lnTo>
                      <a:pt x="193" y="421"/>
                    </a:lnTo>
                    <a:lnTo>
                      <a:pt x="190" y="422"/>
                    </a:lnTo>
                    <a:lnTo>
                      <a:pt x="188" y="423"/>
                    </a:lnTo>
                    <a:lnTo>
                      <a:pt x="184" y="426"/>
                    </a:lnTo>
                    <a:lnTo>
                      <a:pt x="183" y="428"/>
                    </a:lnTo>
                    <a:lnTo>
                      <a:pt x="181" y="431"/>
                    </a:lnTo>
                    <a:lnTo>
                      <a:pt x="180" y="433"/>
                    </a:lnTo>
                    <a:lnTo>
                      <a:pt x="180" y="436"/>
                    </a:lnTo>
                    <a:lnTo>
                      <a:pt x="180" y="440"/>
                    </a:lnTo>
                    <a:lnTo>
                      <a:pt x="181" y="442"/>
                    </a:lnTo>
                    <a:lnTo>
                      <a:pt x="183" y="445"/>
                    </a:lnTo>
                    <a:lnTo>
                      <a:pt x="184" y="447"/>
                    </a:lnTo>
                    <a:lnTo>
                      <a:pt x="244" y="507"/>
                    </a:lnTo>
                    <a:lnTo>
                      <a:pt x="248" y="509"/>
                    </a:lnTo>
                    <a:lnTo>
                      <a:pt x="250" y="510"/>
                    </a:lnTo>
                    <a:lnTo>
                      <a:pt x="253" y="511"/>
                    </a:lnTo>
                    <a:lnTo>
                      <a:pt x="255" y="511"/>
                    </a:lnTo>
                    <a:lnTo>
                      <a:pt x="258" y="511"/>
                    </a:lnTo>
                    <a:lnTo>
                      <a:pt x="262" y="510"/>
                    </a:lnTo>
                    <a:lnTo>
                      <a:pt x="264" y="509"/>
                    </a:lnTo>
                    <a:lnTo>
                      <a:pt x="266" y="507"/>
                    </a:lnTo>
                    <a:lnTo>
                      <a:pt x="301" y="473"/>
                    </a:lnTo>
                    <a:lnTo>
                      <a:pt x="301" y="601"/>
                    </a:lnTo>
                    <a:lnTo>
                      <a:pt x="286" y="600"/>
                    </a:lnTo>
                    <a:lnTo>
                      <a:pt x="273" y="598"/>
                    </a:lnTo>
                    <a:lnTo>
                      <a:pt x="259" y="596"/>
                    </a:lnTo>
                    <a:lnTo>
                      <a:pt x="246" y="593"/>
                    </a:lnTo>
                    <a:lnTo>
                      <a:pt x="233" y="589"/>
                    </a:lnTo>
                    <a:lnTo>
                      <a:pt x="220" y="584"/>
                    </a:lnTo>
                    <a:lnTo>
                      <a:pt x="207" y="580"/>
                    </a:lnTo>
                    <a:lnTo>
                      <a:pt x="195" y="575"/>
                    </a:lnTo>
                    <a:lnTo>
                      <a:pt x="183" y="568"/>
                    </a:lnTo>
                    <a:lnTo>
                      <a:pt x="172" y="562"/>
                    </a:lnTo>
                    <a:lnTo>
                      <a:pt x="160" y="555"/>
                    </a:lnTo>
                    <a:lnTo>
                      <a:pt x="149" y="548"/>
                    </a:lnTo>
                    <a:lnTo>
                      <a:pt x="138" y="539"/>
                    </a:lnTo>
                    <a:lnTo>
                      <a:pt x="128" y="531"/>
                    </a:lnTo>
                    <a:lnTo>
                      <a:pt x="118" y="522"/>
                    </a:lnTo>
                    <a:lnTo>
                      <a:pt x="109" y="512"/>
                    </a:lnTo>
                    <a:lnTo>
                      <a:pt x="100" y="503"/>
                    </a:lnTo>
                    <a:lnTo>
                      <a:pt x="91" y="492"/>
                    </a:lnTo>
                    <a:lnTo>
                      <a:pt x="84" y="482"/>
                    </a:lnTo>
                    <a:lnTo>
                      <a:pt x="76" y="471"/>
                    </a:lnTo>
                    <a:lnTo>
                      <a:pt x="69" y="460"/>
                    </a:lnTo>
                    <a:lnTo>
                      <a:pt x="62" y="448"/>
                    </a:lnTo>
                    <a:lnTo>
                      <a:pt x="57" y="436"/>
                    </a:lnTo>
                    <a:lnTo>
                      <a:pt x="51" y="423"/>
                    </a:lnTo>
                    <a:lnTo>
                      <a:pt x="46" y="411"/>
                    </a:lnTo>
                    <a:lnTo>
                      <a:pt x="42" y="398"/>
                    </a:lnTo>
                    <a:lnTo>
                      <a:pt x="39" y="385"/>
                    </a:lnTo>
                    <a:lnTo>
                      <a:pt x="35" y="372"/>
                    </a:lnTo>
                    <a:lnTo>
                      <a:pt x="33" y="358"/>
                    </a:lnTo>
                    <a:lnTo>
                      <a:pt x="31" y="344"/>
                    </a:lnTo>
                    <a:lnTo>
                      <a:pt x="30" y="330"/>
                    </a:lnTo>
                    <a:lnTo>
                      <a:pt x="30" y="316"/>
                    </a:lnTo>
                    <a:lnTo>
                      <a:pt x="30" y="301"/>
                    </a:lnTo>
                    <a:lnTo>
                      <a:pt x="31" y="286"/>
                    </a:lnTo>
                    <a:lnTo>
                      <a:pt x="33" y="272"/>
                    </a:lnTo>
                    <a:lnTo>
                      <a:pt x="35" y="258"/>
                    </a:lnTo>
                    <a:lnTo>
                      <a:pt x="39" y="244"/>
                    </a:lnTo>
                    <a:lnTo>
                      <a:pt x="43" y="230"/>
                    </a:lnTo>
                    <a:lnTo>
                      <a:pt x="47" y="218"/>
                    </a:lnTo>
                    <a:lnTo>
                      <a:pt x="52" y="205"/>
                    </a:lnTo>
                    <a:lnTo>
                      <a:pt x="58" y="192"/>
                    </a:lnTo>
                    <a:lnTo>
                      <a:pt x="64" y="180"/>
                    </a:lnTo>
                    <a:lnTo>
                      <a:pt x="72" y="167"/>
                    </a:lnTo>
                    <a:lnTo>
                      <a:pt x="78" y="156"/>
                    </a:lnTo>
                    <a:lnTo>
                      <a:pt x="87" y="145"/>
                    </a:lnTo>
                    <a:lnTo>
                      <a:pt x="95" y="134"/>
                    </a:lnTo>
                    <a:lnTo>
                      <a:pt x="104" y="123"/>
                    </a:lnTo>
                    <a:lnTo>
                      <a:pt x="114" y="114"/>
                    </a:lnTo>
                    <a:lnTo>
                      <a:pt x="123" y="104"/>
                    </a:lnTo>
                    <a:lnTo>
                      <a:pt x="134" y="95"/>
                    </a:lnTo>
                    <a:lnTo>
                      <a:pt x="145" y="87"/>
                    </a:lnTo>
                    <a:lnTo>
                      <a:pt x="157" y="79"/>
                    </a:lnTo>
                    <a:lnTo>
                      <a:pt x="167" y="72"/>
                    </a:lnTo>
                    <a:lnTo>
                      <a:pt x="180" y="64"/>
                    </a:lnTo>
                    <a:lnTo>
                      <a:pt x="192" y="58"/>
                    </a:lnTo>
                    <a:lnTo>
                      <a:pt x="205" y="52"/>
                    </a:lnTo>
                    <a:lnTo>
                      <a:pt x="218" y="47"/>
                    </a:lnTo>
                    <a:lnTo>
                      <a:pt x="231" y="43"/>
                    </a:lnTo>
                    <a:lnTo>
                      <a:pt x="244" y="38"/>
                    </a:lnTo>
                    <a:lnTo>
                      <a:pt x="258" y="35"/>
                    </a:lnTo>
                    <a:lnTo>
                      <a:pt x="272" y="33"/>
                    </a:lnTo>
                    <a:lnTo>
                      <a:pt x="286" y="31"/>
                    </a:lnTo>
                    <a:lnTo>
                      <a:pt x="301" y="30"/>
                    </a:lnTo>
                    <a:lnTo>
                      <a:pt x="316" y="30"/>
                    </a:lnTo>
                    <a:lnTo>
                      <a:pt x="330" y="30"/>
                    </a:lnTo>
                    <a:lnTo>
                      <a:pt x="345" y="31"/>
                    </a:lnTo>
                    <a:lnTo>
                      <a:pt x="359" y="33"/>
                    </a:lnTo>
                    <a:lnTo>
                      <a:pt x="373" y="35"/>
                    </a:lnTo>
                    <a:lnTo>
                      <a:pt x="387" y="38"/>
                    </a:lnTo>
                    <a:lnTo>
                      <a:pt x="401" y="43"/>
                    </a:lnTo>
                    <a:lnTo>
                      <a:pt x="414" y="47"/>
                    </a:lnTo>
                    <a:lnTo>
                      <a:pt x="427" y="52"/>
                    </a:lnTo>
                    <a:lnTo>
                      <a:pt x="440" y="58"/>
                    </a:lnTo>
                    <a:lnTo>
                      <a:pt x="453" y="64"/>
                    </a:lnTo>
                    <a:lnTo>
                      <a:pt x="464" y="72"/>
                    </a:lnTo>
                    <a:lnTo>
                      <a:pt x="476" y="79"/>
                    </a:lnTo>
                    <a:lnTo>
                      <a:pt x="487" y="87"/>
                    </a:lnTo>
                    <a:lnTo>
                      <a:pt x="498" y="95"/>
                    </a:lnTo>
                    <a:lnTo>
                      <a:pt x="508" y="104"/>
                    </a:lnTo>
                    <a:lnTo>
                      <a:pt x="518" y="114"/>
                    </a:lnTo>
                    <a:lnTo>
                      <a:pt x="528" y="123"/>
                    </a:lnTo>
                    <a:lnTo>
                      <a:pt x="536" y="134"/>
                    </a:lnTo>
                    <a:lnTo>
                      <a:pt x="545" y="145"/>
                    </a:lnTo>
                    <a:lnTo>
                      <a:pt x="553" y="156"/>
                    </a:lnTo>
                    <a:lnTo>
                      <a:pt x="561" y="167"/>
                    </a:lnTo>
                    <a:lnTo>
                      <a:pt x="567" y="180"/>
                    </a:lnTo>
                    <a:lnTo>
                      <a:pt x="574" y="192"/>
                    </a:lnTo>
                    <a:lnTo>
                      <a:pt x="579" y="205"/>
                    </a:lnTo>
                    <a:lnTo>
                      <a:pt x="584" y="218"/>
                    </a:lnTo>
                    <a:lnTo>
                      <a:pt x="589" y="230"/>
                    </a:lnTo>
                    <a:lnTo>
                      <a:pt x="593" y="244"/>
                    </a:lnTo>
                    <a:lnTo>
                      <a:pt x="596" y="258"/>
                    </a:lnTo>
                    <a:lnTo>
                      <a:pt x="598" y="272"/>
                    </a:lnTo>
                    <a:lnTo>
                      <a:pt x="601" y="286"/>
                    </a:lnTo>
                    <a:lnTo>
                      <a:pt x="602" y="301"/>
                    </a:lnTo>
                    <a:lnTo>
                      <a:pt x="602" y="316"/>
                    </a:lnTo>
                    <a:lnTo>
                      <a:pt x="602" y="330"/>
                    </a:lnTo>
                    <a:lnTo>
                      <a:pt x="601" y="344"/>
                    </a:lnTo>
                    <a:lnTo>
                      <a:pt x="598" y="358"/>
                    </a:lnTo>
                    <a:lnTo>
                      <a:pt x="596" y="372"/>
                    </a:lnTo>
                    <a:lnTo>
                      <a:pt x="593" y="385"/>
                    </a:lnTo>
                    <a:lnTo>
                      <a:pt x="590" y="398"/>
                    </a:lnTo>
                    <a:lnTo>
                      <a:pt x="586" y="411"/>
                    </a:lnTo>
                    <a:lnTo>
                      <a:pt x="581" y="423"/>
                    </a:lnTo>
                    <a:lnTo>
                      <a:pt x="575" y="436"/>
                    </a:lnTo>
                    <a:lnTo>
                      <a:pt x="569" y="448"/>
                    </a:lnTo>
                    <a:lnTo>
                      <a:pt x="563" y="460"/>
                    </a:lnTo>
                    <a:lnTo>
                      <a:pt x="555" y="471"/>
                    </a:lnTo>
                    <a:lnTo>
                      <a:pt x="548" y="482"/>
                    </a:lnTo>
                    <a:lnTo>
                      <a:pt x="540" y="492"/>
                    </a:lnTo>
                    <a:lnTo>
                      <a:pt x="532" y="503"/>
                    </a:lnTo>
                    <a:lnTo>
                      <a:pt x="523" y="512"/>
                    </a:lnTo>
                    <a:lnTo>
                      <a:pt x="514" y="522"/>
                    </a:lnTo>
                    <a:lnTo>
                      <a:pt x="504" y="531"/>
                    </a:lnTo>
                    <a:lnTo>
                      <a:pt x="493" y="539"/>
                    </a:lnTo>
                    <a:lnTo>
                      <a:pt x="483" y="548"/>
                    </a:lnTo>
                    <a:lnTo>
                      <a:pt x="472" y="555"/>
                    </a:lnTo>
                    <a:lnTo>
                      <a:pt x="460" y="562"/>
                    </a:lnTo>
                    <a:lnTo>
                      <a:pt x="449" y="568"/>
                    </a:lnTo>
                    <a:lnTo>
                      <a:pt x="436" y="575"/>
                    </a:lnTo>
                    <a:lnTo>
                      <a:pt x="425" y="580"/>
                    </a:lnTo>
                    <a:lnTo>
                      <a:pt x="412" y="584"/>
                    </a:lnTo>
                    <a:lnTo>
                      <a:pt x="399" y="589"/>
                    </a:lnTo>
                    <a:lnTo>
                      <a:pt x="386" y="593"/>
                    </a:lnTo>
                    <a:lnTo>
                      <a:pt x="372" y="596"/>
                    </a:lnTo>
                    <a:lnTo>
                      <a:pt x="359" y="598"/>
                    </a:lnTo>
                    <a:lnTo>
                      <a:pt x="345" y="600"/>
                    </a:lnTo>
                    <a:lnTo>
                      <a:pt x="331" y="601"/>
                    </a:lnTo>
                    <a:close/>
                    <a:moveTo>
                      <a:pt x="316" y="0"/>
                    </a:moveTo>
                    <a:lnTo>
                      <a:pt x="299" y="0"/>
                    </a:lnTo>
                    <a:lnTo>
                      <a:pt x="283" y="1"/>
                    </a:lnTo>
                    <a:lnTo>
                      <a:pt x="268" y="3"/>
                    </a:lnTo>
                    <a:lnTo>
                      <a:pt x="252" y="6"/>
                    </a:lnTo>
                    <a:lnTo>
                      <a:pt x="237" y="10"/>
                    </a:lnTo>
                    <a:lnTo>
                      <a:pt x="222" y="14"/>
                    </a:lnTo>
                    <a:lnTo>
                      <a:pt x="207" y="19"/>
                    </a:lnTo>
                    <a:lnTo>
                      <a:pt x="193" y="25"/>
                    </a:lnTo>
                    <a:lnTo>
                      <a:pt x="179" y="31"/>
                    </a:lnTo>
                    <a:lnTo>
                      <a:pt x="165" y="38"/>
                    </a:lnTo>
                    <a:lnTo>
                      <a:pt x="152" y="46"/>
                    </a:lnTo>
                    <a:lnTo>
                      <a:pt x="139" y="53"/>
                    </a:lnTo>
                    <a:lnTo>
                      <a:pt x="126" y="63"/>
                    </a:lnTo>
                    <a:lnTo>
                      <a:pt x="115" y="72"/>
                    </a:lnTo>
                    <a:lnTo>
                      <a:pt x="103" y="82"/>
                    </a:lnTo>
                    <a:lnTo>
                      <a:pt x="92" y="92"/>
                    </a:lnTo>
                    <a:lnTo>
                      <a:pt x="81" y="104"/>
                    </a:lnTo>
                    <a:lnTo>
                      <a:pt x="72" y="115"/>
                    </a:lnTo>
                    <a:lnTo>
                      <a:pt x="62" y="126"/>
                    </a:lnTo>
                    <a:lnTo>
                      <a:pt x="54" y="139"/>
                    </a:lnTo>
                    <a:lnTo>
                      <a:pt x="46" y="152"/>
                    </a:lnTo>
                    <a:lnTo>
                      <a:pt x="37" y="165"/>
                    </a:lnTo>
                    <a:lnTo>
                      <a:pt x="31" y="179"/>
                    </a:lnTo>
                    <a:lnTo>
                      <a:pt x="25" y="193"/>
                    </a:lnTo>
                    <a:lnTo>
                      <a:pt x="19" y="207"/>
                    </a:lnTo>
                    <a:lnTo>
                      <a:pt x="14" y="222"/>
                    </a:lnTo>
                    <a:lnTo>
                      <a:pt x="10" y="237"/>
                    </a:lnTo>
                    <a:lnTo>
                      <a:pt x="6" y="252"/>
                    </a:lnTo>
                    <a:lnTo>
                      <a:pt x="3" y="268"/>
                    </a:lnTo>
                    <a:lnTo>
                      <a:pt x="1" y="284"/>
                    </a:lnTo>
                    <a:lnTo>
                      <a:pt x="0" y="299"/>
                    </a:lnTo>
                    <a:lnTo>
                      <a:pt x="0" y="316"/>
                    </a:lnTo>
                    <a:lnTo>
                      <a:pt x="0" y="332"/>
                    </a:lnTo>
                    <a:lnTo>
                      <a:pt x="1" y="348"/>
                    </a:lnTo>
                    <a:lnTo>
                      <a:pt x="3" y="363"/>
                    </a:lnTo>
                    <a:lnTo>
                      <a:pt x="6" y="379"/>
                    </a:lnTo>
                    <a:lnTo>
                      <a:pt x="10" y="394"/>
                    </a:lnTo>
                    <a:lnTo>
                      <a:pt x="14" y="410"/>
                    </a:lnTo>
                    <a:lnTo>
                      <a:pt x="19" y="425"/>
                    </a:lnTo>
                    <a:lnTo>
                      <a:pt x="25" y="438"/>
                    </a:lnTo>
                    <a:lnTo>
                      <a:pt x="31" y="452"/>
                    </a:lnTo>
                    <a:lnTo>
                      <a:pt x="37" y="466"/>
                    </a:lnTo>
                    <a:lnTo>
                      <a:pt x="46" y="479"/>
                    </a:lnTo>
                    <a:lnTo>
                      <a:pt x="54" y="492"/>
                    </a:lnTo>
                    <a:lnTo>
                      <a:pt x="62" y="505"/>
                    </a:lnTo>
                    <a:lnTo>
                      <a:pt x="72" y="517"/>
                    </a:lnTo>
                    <a:lnTo>
                      <a:pt x="81" y="529"/>
                    </a:lnTo>
                    <a:lnTo>
                      <a:pt x="92" y="539"/>
                    </a:lnTo>
                    <a:lnTo>
                      <a:pt x="103" y="550"/>
                    </a:lnTo>
                    <a:lnTo>
                      <a:pt x="115" y="560"/>
                    </a:lnTo>
                    <a:lnTo>
                      <a:pt x="126" y="569"/>
                    </a:lnTo>
                    <a:lnTo>
                      <a:pt x="139" y="578"/>
                    </a:lnTo>
                    <a:lnTo>
                      <a:pt x="152" y="586"/>
                    </a:lnTo>
                    <a:lnTo>
                      <a:pt x="165" y="594"/>
                    </a:lnTo>
                    <a:lnTo>
                      <a:pt x="179" y="600"/>
                    </a:lnTo>
                    <a:lnTo>
                      <a:pt x="193" y="607"/>
                    </a:lnTo>
                    <a:lnTo>
                      <a:pt x="207" y="612"/>
                    </a:lnTo>
                    <a:lnTo>
                      <a:pt x="222" y="618"/>
                    </a:lnTo>
                    <a:lnTo>
                      <a:pt x="237" y="622"/>
                    </a:lnTo>
                    <a:lnTo>
                      <a:pt x="252" y="625"/>
                    </a:lnTo>
                    <a:lnTo>
                      <a:pt x="268" y="628"/>
                    </a:lnTo>
                    <a:lnTo>
                      <a:pt x="283" y="630"/>
                    </a:lnTo>
                    <a:lnTo>
                      <a:pt x="299" y="631"/>
                    </a:lnTo>
                    <a:lnTo>
                      <a:pt x="316" y="631"/>
                    </a:lnTo>
                    <a:lnTo>
                      <a:pt x="332" y="631"/>
                    </a:lnTo>
                    <a:lnTo>
                      <a:pt x="348" y="630"/>
                    </a:lnTo>
                    <a:lnTo>
                      <a:pt x="364" y="628"/>
                    </a:lnTo>
                    <a:lnTo>
                      <a:pt x="380" y="625"/>
                    </a:lnTo>
                    <a:lnTo>
                      <a:pt x="395" y="622"/>
                    </a:lnTo>
                    <a:lnTo>
                      <a:pt x="410" y="618"/>
                    </a:lnTo>
                    <a:lnTo>
                      <a:pt x="425" y="612"/>
                    </a:lnTo>
                    <a:lnTo>
                      <a:pt x="439" y="607"/>
                    </a:lnTo>
                    <a:lnTo>
                      <a:pt x="453" y="600"/>
                    </a:lnTo>
                    <a:lnTo>
                      <a:pt x="466" y="594"/>
                    </a:lnTo>
                    <a:lnTo>
                      <a:pt x="479" y="586"/>
                    </a:lnTo>
                    <a:lnTo>
                      <a:pt x="492" y="578"/>
                    </a:lnTo>
                    <a:lnTo>
                      <a:pt x="505" y="569"/>
                    </a:lnTo>
                    <a:lnTo>
                      <a:pt x="517" y="560"/>
                    </a:lnTo>
                    <a:lnTo>
                      <a:pt x="529" y="550"/>
                    </a:lnTo>
                    <a:lnTo>
                      <a:pt x="539" y="539"/>
                    </a:lnTo>
                    <a:lnTo>
                      <a:pt x="550" y="529"/>
                    </a:lnTo>
                    <a:lnTo>
                      <a:pt x="560" y="517"/>
                    </a:lnTo>
                    <a:lnTo>
                      <a:pt x="569" y="505"/>
                    </a:lnTo>
                    <a:lnTo>
                      <a:pt x="578" y="492"/>
                    </a:lnTo>
                    <a:lnTo>
                      <a:pt x="587" y="479"/>
                    </a:lnTo>
                    <a:lnTo>
                      <a:pt x="594" y="466"/>
                    </a:lnTo>
                    <a:lnTo>
                      <a:pt x="601" y="452"/>
                    </a:lnTo>
                    <a:lnTo>
                      <a:pt x="607" y="438"/>
                    </a:lnTo>
                    <a:lnTo>
                      <a:pt x="612" y="425"/>
                    </a:lnTo>
                    <a:lnTo>
                      <a:pt x="618" y="410"/>
                    </a:lnTo>
                    <a:lnTo>
                      <a:pt x="622" y="394"/>
                    </a:lnTo>
                    <a:lnTo>
                      <a:pt x="625" y="379"/>
                    </a:lnTo>
                    <a:lnTo>
                      <a:pt x="628" y="363"/>
                    </a:lnTo>
                    <a:lnTo>
                      <a:pt x="631" y="348"/>
                    </a:lnTo>
                    <a:lnTo>
                      <a:pt x="632" y="332"/>
                    </a:lnTo>
                    <a:lnTo>
                      <a:pt x="632" y="316"/>
                    </a:lnTo>
                    <a:lnTo>
                      <a:pt x="632" y="299"/>
                    </a:lnTo>
                    <a:lnTo>
                      <a:pt x="631" y="284"/>
                    </a:lnTo>
                    <a:lnTo>
                      <a:pt x="628" y="268"/>
                    </a:lnTo>
                    <a:lnTo>
                      <a:pt x="625" y="252"/>
                    </a:lnTo>
                    <a:lnTo>
                      <a:pt x="622" y="237"/>
                    </a:lnTo>
                    <a:lnTo>
                      <a:pt x="618" y="222"/>
                    </a:lnTo>
                    <a:lnTo>
                      <a:pt x="612" y="207"/>
                    </a:lnTo>
                    <a:lnTo>
                      <a:pt x="607" y="193"/>
                    </a:lnTo>
                    <a:lnTo>
                      <a:pt x="601" y="179"/>
                    </a:lnTo>
                    <a:lnTo>
                      <a:pt x="594" y="165"/>
                    </a:lnTo>
                    <a:lnTo>
                      <a:pt x="587" y="152"/>
                    </a:lnTo>
                    <a:lnTo>
                      <a:pt x="578" y="139"/>
                    </a:lnTo>
                    <a:lnTo>
                      <a:pt x="569" y="126"/>
                    </a:lnTo>
                    <a:lnTo>
                      <a:pt x="560" y="115"/>
                    </a:lnTo>
                    <a:lnTo>
                      <a:pt x="550" y="104"/>
                    </a:lnTo>
                    <a:lnTo>
                      <a:pt x="539" y="92"/>
                    </a:lnTo>
                    <a:lnTo>
                      <a:pt x="529" y="82"/>
                    </a:lnTo>
                    <a:lnTo>
                      <a:pt x="517" y="72"/>
                    </a:lnTo>
                    <a:lnTo>
                      <a:pt x="505" y="63"/>
                    </a:lnTo>
                    <a:lnTo>
                      <a:pt x="492" y="53"/>
                    </a:lnTo>
                    <a:lnTo>
                      <a:pt x="479" y="46"/>
                    </a:lnTo>
                    <a:lnTo>
                      <a:pt x="466" y="38"/>
                    </a:lnTo>
                    <a:lnTo>
                      <a:pt x="453" y="31"/>
                    </a:lnTo>
                    <a:lnTo>
                      <a:pt x="439" y="25"/>
                    </a:lnTo>
                    <a:lnTo>
                      <a:pt x="425" y="19"/>
                    </a:lnTo>
                    <a:lnTo>
                      <a:pt x="410" y="14"/>
                    </a:lnTo>
                    <a:lnTo>
                      <a:pt x="395" y="10"/>
                    </a:lnTo>
                    <a:lnTo>
                      <a:pt x="380" y="6"/>
                    </a:lnTo>
                    <a:lnTo>
                      <a:pt x="364" y="3"/>
                    </a:lnTo>
                    <a:lnTo>
                      <a:pt x="348" y="1"/>
                    </a:lnTo>
                    <a:lnTo>
                      <a:pt x="332" y="0"/>
                    </a:lnTo>
                    <a:lnTo>
                      <a:pt x="31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8" name="Freeform 204"/>
              <p:cNvSpPr>
                <a:spLocks/>
              </p:cNvSpPr>
              <p:nvPr/>
            </p:nvSpPr>
            <p:spPr bwMode="auto">
              <a:xfrm>
                <a:off x="10567988" y="2449513"/>
                <a:ext cx="66675" cy="9525"/>
              </a:xfrm>
              <a:custGeom>
                <a:avLst/>
                <a:gdLst>
                  <a:gd name="T0" fmla="*/ 196 w 211"/>
                  <a:gd name="T1" fmla="*/ 0 h 31"/>
                  <a:gd name="T2" fmla="*/ 15 w 211"/>
                  <a:gd name="T3" fmla="*/ 0 h 31"/>
                  <a:gd name="T4" fmla="*/ 13 w 211"/>
                  <a:gd name="T5" fmla="*/ 1 h 31"/>
                  <a:gd name="T6" fmla="*/ 10 w 211"/>
                  <a:gd name="T7" fmla="*/ 2 h 31"/>
                  <a:gd name="T8" fmla="*/ 8 w 211"/>
                  <a:gd name="T9" fmla="*/ 3 h 31"/>
                  <a:gd name="T10" fmla="*/ 4 w 211"/>
                  <a:gd name="T11" fmla="*/ 5 h 31"/>
                  <a:gd name="T12" fmla="*/ 3 w 211"/>
                  <a:gd name="T13" fmla="*/ 7 h 31"/>
                  <a:gd name="T14" fmla="*/ 1 w 211"/>
                  <a:gd name="T15" fmla="*/ 9 h 31"/>
                  <a:gd name="T16" fmla="*/ 1 w 211"/>
                  <a:gd name="T17" fmla="*/ 12 h 31"/>
                  <a:gd name="T18" fmla="*/ 0 w 211"/>
                  <a:gd name="T19" fmla="*/ 16 h 31"/>
                  <a:gd name="T20" fmla="*/ 1 w 211"/>
                  <a:gd name="T21" fmla="*/ 18 h 31"/>
                  <a:gd name="T22" fmla="*/ 1 w 211"/>
                  <a:gd name="T23" fmla="*/ 21 h 31"/>
                  <a:gd name="T24" fmla="*/ 3 w 211"/>
                  <a:gd name="T25" fmla="*/ 23 h 31"/>
                  <a:gd name="T26" fmla="*/ 4 w 211"/>
                  <a:gd name="T27" fmla="*/ 25 h 31"/>
                  <a:gd name="T28" fmla="*/ 8 w 211"/>
                  <a:gd name="T29" fmla="*/ 27 h 31"/>
                  <a:gd name="T30" fmla="*/ 10 w 211"/>
                  <a:gd name="T31" fmla="*/ 28 h 31"/>
                  <a:gd name="T32" fmla="*/ 13 w 211"/>
                  <a:gd name="T33" fmla="*/ 30 h 31"/>
                  <a:gd name="T34" fmla="*/ 15 w 211"/>
                  <a:gd name="T35" fmla="*/ 31 h 31"/>
                  <a:gd name="T36" fmla="*/ 196 w 211"/>
                  <a:gd name="T37" fmla="*/ 31 h 31"/>
                  <a:gd name="T38" fmla="*/ 200 w 211"/>
                  <a:gd name="T39" fmla="*/ 30 h 31"/>
                  <a:gd name="T40" fmla="*/ 202 w 211"/>
                  <a:gd name="T41" fmla="*/ 28 h 31"/>
                  <a:gd name="T42" fmla="*/ 205 w 211"/>
                  <a:gd name="T43" fmla="*/ 27 h 31"/>
                  <a:gd name="T44" fmla="*/ 207 w 211"/>
                  <a:gd name="T45" fmla="*/ 25 h 31"/>
                  <a:gd name="T46" fmla="*/ 208 w 211"/>
                  <a:gd name="T47" fmla="*/ 23 h 31"/>
                  <a:gd name="T48" fmla="*/ 210 w 211"/>
                  <a:gd name="T49" fmla="*/ 21 h 31"/>
                  <a:gd name="T50" fmla="*/ 211 w 211"/>
                  <a:gd name="T51" fmla="*/ 18 h 31"/>
                  <a:gd name="T52" fmla="*/ 211 w 211"/>
                  <a:gd name="T53" fmla="*/ 16 h 31"/>
                  <a:gd name="T54" fmla="*/ 211 w 211"/>
                  <a:gd name="T55" fmla="*/ 12 h 31"/>
                  <a:gd name="T56" fmla="*/ 210 w 211"/>
                  <a:gd name="T57" fmla="*/ 9 h 31"/>
                  <a:gd name="T58" fmla="*/ 208 w 211"/>
                  <a:gd name="T59" fmla="*/ 7 h 31"/>
                  <a:gd name="T60" fmla="*/ 207 w 211"/>
                  <a:gd name="T61" fmla="*/ 5 h 31"/>
                  <a:gd name="T62" fmla="*/ 205 w 211"/>
                  <a:gd name="T63" fmla="*/ 3 h 31"/>
                  <a:gd name="T64" fmla="*/ 202 w 211"/>
                  <a:gd name="T65" fmla="*/ 2 h 31"/>
                  <a:gd name="T66" fmla="*/ 200 w 211"/>
                  <a:gd name="T67" fmla="*/ 1 h 31"/>
                  <a:gd name="T68" fmla="*/ 196 w 211"/>
                  <a:gd name="T69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11" h="31">
                    <a:moveTo>
                      <a:pt x="196" y="0"/>
                    </a:moveTo>
                    <a:lnTo>
                      <a:pt x="15" y="0"/>
                    </a:lnTo>
                    <a:lnTo>
                      <a:pt x="13" y="1"/>
                    </a:lnTo>
                    <a:lnTo>
                      <a:pt x="10" y="2"/>
                    </a:lnTo>
                    <a:lnTo>
                      <a:pt x="8" y="3"/>
                    </a:lnTo>
                    <a:lnTo>
                      <a:pt x="4" y="5"/>
                    </a:lnTo>
                    <a:lnTo>
                      <a:pt x="3" y="7"/>
                    </a:lnTo>
                    <a:lnTo>
                      <a:pt x="1" y="9"/>
                    </a:lnTo>
                    <a:lnTo>
                      <a:pt x="1" y="12"/>
                    </a:lnTo>
                    <a:lnTo>
                      <a:pt x="0" y="16"/>
                    </a:lnTo>
                    <a:lnTo>
                      <a:pt x="1" y="18"/>
                    </a:lnTo>
                    <a:lnTo>
                      <a:pt x="1" y="21"/>
                    </a:lnTo>
                    <a:lnTo>
                      <a:pt x="3" y="23"/>
                    </a:lnTo>
                    <a:lnTo>
                      <a:pt x="4" y="25"/>
                    </a:lnTo>
                    <a:lnTo>
                      <a:pt x="8" y="27"/>
                    </a:lnTo>
                    <a:lnTo>
                      <a:pt x="10" y="28"/>
                    </a:lnTo>
                    <a:lnTo>
                      <a:pt x="13" y="30"/>
                    </a:lnTo>
                    <a:lnTo>
                      <a:pt x="15" y="31"/>
                    </a:lnTo>
                    <a:lnTo>
                      <a:pt x="196" y="31"/>
                    </a:lnTo>
                    <a:lnTo>
                      <a:pt x="200" y="30"/>
                    </a:lnTo>
                    <a:lnTo>
                      <a:pt x="202" y="28"/>
                    </a:lnTo>
                    <a:lnTo>
                      <a:pt x="205" y="27"/>
                    </a:lnTo>
                    <a:lnTo>
                      <a:pt x="207" y="25"/>
                    </a:lnTo>
                    <a:lnTo>
                      <a:pt x="208" y="23"/>
                    </a:lnTo>
                    <a:lnTo>
                      <a:pt x="210" y="21"/>
                    </a:lnTo>
                    <a:lnTo>
                      <a:pt x="211" y="18"/>
                    </a:lnTo>
                    <a:lnTo>
                      <a:pt x="211" y="16"/>
                    </a:lnTo>
                    <a:lnTo>
                      <a:pt x="211" y="12"/>
                    </a:lnTo>
                    <a:lnTo>
                      <a:pt x="210" y="9"/>
                    </a:lnTo>
                    <a:lnTo>
                      <a:pt x="208" y="7"/>
                    </a:lnTo>
                    <a:lnTo>
                      <a:pt x="207" y="5"/>
                    </a:lnTo>
                    <a:lnTo>
                      <a:pt x="205" y="3"/>
                    </a:lnTo>
                    <a:lnTo>
                      <a:pt x="202" y="2"/>
                    </a:lnTo>
                    <a:lnTo>
                      <a:pt x="200" y="1"/>
                    </a:lnTo>
                    <a:lnTo>
                      <a:pt x="19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9" name="Freeform 205"/>
              <p:cNvSpPr>
                <a:spLocks/>
              </p:cNvSpPr>
              <p:nvPr/>
            </p:nvSpPr>
            <p:spPr bwMode="auto">
              <a:xfrm>
                <a:off x="10567988" y="2468563"/>
                <a:ext cx="66675" cy="9525"/>
              </a:xfrm>
              <a:custGeom>
                <a:avLst/>
                <a:gdLst>
                  <a:gd name="T0" fmla="*/ 196 w 211"/>
                  <a:gd name="T1" fmla="*/ 0 h 30"/>
                  <a:gd name="T2" fmla="*/ 15 w 211"/>
                  <a:gd name="T3" fmla="*/ 0 h 30"/>
                  <a:gd name="T4" fmla="*/ 13 w 211"/>
                  <a:gd name="T5" fmla="*/ 0 h 30"/>
                  <a:gd name="T6" fmla="*/ 10 w 211"/>
                  <a:gd name="T7" fmla="*/ 1 h 30"/>
                  <a:gd name="T8" fmla="*/ 8 w 211"/>
                  <a:gd name="T9" fmla="*/ 2 h 30"/>
                  <a:gd name="T10" fmla="*/ 4 w 211"/>
                  <a:gd name="T11" fmla="*/ 4 h 30"/>
                  <a:gd name="T12" fmla="*/ 3 w 211"/>
                  <a:gd name="T13" fmla="*/ 6 h 30"/>
                  <a:gd name="T14" fmla="*/ 1 w 211"/>
                  <a:gd name="T15" fmla="*/ 8 h 30"/>
                  <a:gd name="T16" fmla="*/ 1 w 211"/>
                  <a:gd name="T17" fmla="*/ 11 h 30"/>
                  <a:gd name="T18" fmla="*/ 0 w 211"/>
                  <a:gd name="T19" fmla="*/ 15 h 30"/>
                  <a:gd name="T20" fmla="*/ 1 w 211"/>
                  <a:gd name="T21" fmla="*/ 17 h 30"/>
                  <a:gd name="T22" fmla="*/ 1 w 211"/>
                  <a:gd name="T23" fmla="*/ 20 h 30"/>
                  <a:gd name="T24" fmla="*/ 3 w 211"/>
                  <a:gd name="T25" fmla="*/ 22 h 30"/>
                  <a:gd name="T26" fmla="*/ 4 w 211"/>
                  <a:gd name="T27" fmla="*/ 25 h 30"/>
                  <a:gd name="T28" fmla="*/ 8 w 211"/>
                  <a:gd name="T29" fmla="*/ 26 h 30"/>
                  <a:gd name="T30" fmla="*/ 10 w 211"/>
                  <a:gd name="T31" fmla="*/ 29 h 30"/>
                  <a:gd name="T32" fmla="*/ 13 w 211"/>
                  <a:gd name="T33" fmla="*/ 29 h 30"/>
                  <a:gd name="T34" fmla="*/ 15 w 211"/>
                  <a:gd name="T35" fmla="*/ 30 h 30"/>
                  <a:gd name="T36" fmla="*/ 196 w 211"/>
                  <a:gd name="T37" fmla="*/ 30 h 30"/>
                  <a:gd name="T38" fmla="*/ 200 w 211"/>
                  <a:gd name="T39" fmla="*/ 29 h 30"/>
                  <a:gd name="T40" fmla="*/ 202 w 211"/>
                  <a:gd name="T41" fmla="*/ 29 h 30"/>
                  <a:gd name="T42" fmla="*/ 205 w 211"/>
                  <a:gd name="T43" fmla="*/ 26 h 30"/>
                  <a:gd name="T44" fmla="*/ 207 w 211"/>
                  <a:gd name="T45" fmla="*/ 25 h 30"/>
                  <a:gd name="T46" fmla="*/ 208 w 211"/>
                  <a:gd name="T47" fmla="*/ 22 h 30"/>
                  <a:gd name="T48" fmla="*/ 210 w 211"/>
                  <a:gd name="T49" fmla="*/ 20 h 30"/>
                  <a:gd name="T50" fmla="*/ 211 w 211"/>
                  <a:gd name="T51" fmla="*/ 17 h 30"/>
                  <a:gd name="T52" fmla="*/ 211 w 211"/>
                  <a:gd name="T53" fmla="*/ 15 h 30"/>
                  <a:gd name="T54" fmla="*/ 211 w 211"/>
                  <a:gd name="T55" fmla="*/ 11 h 30"/>
                  <a:gd name="T56" fmla="*/ 210 w 211"/>
                  <a:gd name="T57" fmla="*/ 8 h 30"/>
                  <a:gd name="T58" fmla="*/ 208 w 211"/>
                  <a:gd name="T59" fmla="*/ 6 h 30"/>
                  <a:gd name="T60" fmla="*/ 207 w 211"/>
                  <a:gd name="T61" fmla="*/ 4 h 30"/>
                  <a:gd name="T62" fmla="*/ 205 w 211"/>
                  <a:gd name="T63" fmla="*/ 2 h 30"/>
                  <a:gd name="T64" fmla="*/ 202 w 211"/>
                  <a:gd name="T65" fmla="*/ 1 h 30"/>
                  <a:gd name="T66" fmla="*/ 200 w 211"/>
                  <a:gd name="T67" fmla="*/ 0 h 30"/>
                  <a:gd name="T68" fmla="*/ 196 w 211"/>
                  <a:gd name="T69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11" h="30">
                    <a:moveTo>
                      <a:pt x="196" y="0"/>
                    </a:moveTo>
                    <a:lnTo>
                      <a:pt x="15" y="0"/>
                    </a:lnTo>
                    <a:lnTo>
                      <a:pt x="13" y="0"/>
                    </a:lnTo>
                    <a:lnTo>
                      <a:pt x="10" y="1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3" y="6"/>
                    </a:lnTo>
                    <a:lnTo>
                      <a:pt x="1" y="8"/>
                    </a:lnTo>
                    <a:lnTo>
                      <a:pt x="1" y="11"/>
                    </a:lnTo>
                    <a:lnTo>
                      <a:pt x="0" y="15"/>
                    </a:lnTo>
                    <a:lnTo>
                      <a:pt x="1" y="17"/>
                    </a:lnTo>
                    <a:lnTo>
                      <a:pt x="1" y="20"/>
                    </a:lnTo>
                    <a:lnTo>
                      <a:pt x="3" y="22"/>
                    </a:lnTo>
                    <a:lnTo>
                      <a:pt x="4" y="25"/>
                    </a:lnTo>
                    <a:lnTo>
                      <a:pt x="8" y="26"/>
                    </a:lnTo>
                    <a:lnTo>
                      <a:pt x="10" y="29"/>
                    </a:lnTo>
                    <a:lnTo>
                      <a:pt x="13" y="29"/>
                    </a:lnTo>
                    <a:lnTo>
                      <a:pt x="15" y="30"/>
                    </a:lnTo>
                    <a:lnTo>
                      <a:pt x="196" y="30"/>
                    </a:lnTo>
                    <a:lnTo>
                      <a:pt x="200" y="29"/>
                    </a:lnTo>
                    <a:lnTo>
                      <a:pt x="202" y="29"/>
                    </a:lnTo>
                    <a:lnTo>
                      <a:pt x="205" y="26"/>
                    </a:lnTo>
                    <a:lnTo>
                      <a:pt x="207" y="25"/>
                    </a:lnTo>
                    <a:lnTo>
                      <a:pt x="208" y="22"/>
                    </a:lnTo>
                    <a:lnTo>
                      <a:pt x="210" y="20"/>
                    </a:lnTo>
                    <a:lnTo>
                      <a:pt x="211" y="17"/>
                    </a:lnTo>
                    <a:lnTo>
                      <a:pt x="211" y="15"/>
                    </a:lnTo>
                    <a:lnTo>
                      <a:pt x="211" y="11"/>
                    </a:lnTo>
                    <a:lnTo>
                      <a:pt x="210" y="8"/>
                    </a:lnTo>
                    <a:lnTo>
                      <a:pt x="208" y="6"/>
                    </a:lnTo>
                    <a:lnTo>
                      <a:pt x="207" y="4"/>
                    </a:lnTo>
                    <a:lnTo>
                      <a:pt x="205" y="2"/>
                    </a:lnTo>
                    <a:lnTo>
                      <a:pt x="202" y="1"/>
                    </a:lnTo>
                    <a:lnTo>
                      <a:pt x="200" y="0"/>
                    </a:lnTo>
                    <a:lnTo>
                      <a:pt x="19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0" name="Freeform 206"/>
              <p:cNvSpPr>
                <a:spLocks/>
              </p:cNvSpPr>
              <p:nvPr/>
            </p:nvSpPr>
            <p:spPr bwMode="auto">
              <a:xfrm>
                <a:off x="10567988" y="2487613"/>
                <a:ext cx="66675" cy="28575"/>
              </a:xfrm>
              <a:custGeom>
                <a:avLst/>
                <a:gdLst>
                  <a:gd name="T0" fmla="*/ 196 w 211"/>
                  <a:gd name="T1" fmla="*/ 0 h 90"/>
                  <a:gd name="T2" fmla="*/ 15 w 211"/>
                  <a:gd name="T3" fmla="*/ 0 h 90"/>
                  <a:gd name="T4" fmla="*/ 13 w 211"/>
                  <a:gd name="T5" fmla="*/ 0 h 90"/>
                  <a:gd name="T6" fmla="*/ 10 w 211"/>
                  <a:gd name="T7" fmla="*/ 1 h 90"/>
                  <a:gd name="T8" fmla="*/ 8 w 211"/>
                  <a:gd name="T9" fmla="*/ 2 h 90"/>
                  <a:gd name="T10" fmla="*/ 4 w 211"/>
                  <a:gd name="T11" fmla="*/ 4 h 90"/>
                  <a:gd name="T12" fmla="*/ 3 w 211"/>
                  <a:gd name="T13" fmla="*/ 6 h 90"/>
                  <a:gd name="T14" fmla="*/ 1 w 211"/>
                  <a:gd name="T15" fmla="*/ 8 h 90"/>
                  <a:gd name="T16" fmla="*/ 1 w 211"/>
                  <a:gd name="T17" fmla="*/ 11 h 90"/>
                  <a:gd name="T18" fmla="*/ 0 w 211"/>
                  <a:gd name="T19" fmla="*/ 15 h 90"/>
                  <a:gd name="T20" fmla="*/ 1 w 211"/>
                  <a:gd name="T21" fmla="*/ 18 h 90"/>
                  <a:gd name="T22" fmla="*/ 1 w 211"/>
                  <a:gd name="T23" fmla="*/ 20 h 90"/>
                  <a:gd name="T24" fmla="*/ 3 w 211"/>
                  <a:gd name="T25" fmla="*/ 23 h 90"/>
                  <a:gd name="T26" fmla="*/ 4 w 211"/>
                  <a:gd name="T27" fmla="*/ 25 h 90"/>
                  <a:gd name="T28" fmla="*/ 8 w 211"/>
                  <a:gd name="T29" fmla="*/ 27 h 90"/>
                  <a:gd name="T30" fmla="*/ 10 w 211"/>
                  <a:gd name="T31" fmla="*/ 29 h 90"/>
                  <a:gd name="T32" fmla="*/ 13 w 211"/>
                  <a:gd name="T33" fmla="*/ 30 h 90"/>
                  <a:gd name="T34" fmla="*/ 15 w 211"/>
                  <a:gd name="T35" fmla="*/ 30 h 90"/>
                  <a:gd name="T36" fmla="*/ 91 w 211"/>
                  <a:gd name="T37" fmla="*/ 30 h 90"/>
                  <a:gd name="T38" fmla="*/ 91 w 211"/>
                  <a:gd name="T39" fmla="*/ 75 h 90"/>
                  <a:gd name="T40" fmla="*/ 91 w 211"/>
                  <a:gd name="T41" fmla="*/ 78 h 90"/>
                  <a:gd name="T42" fmla="*/ 92 w 211"/>
                  <a:gd name="T43" fmla="*/ 80 h 90"/>
                  <a:gd name="T44" fmla="*/ 93 w 211"/>
                  <a:gd name="T45" fmla="*/ 83 h 90"/>
                  <a:gd name="T46" fmla="*/ 96 w 211"/>
                  <a:gd name="T47" fmla="*/ 85 h 90"/>
                  <a:gd name="T48" fmla="*/ 98 w 211"/>
                  <a:gd name="T49" fmla="*/ 88 h 90"/>
                  <a:gd name="T50" fmla="*/ 100 w 211"/>
                  <a:gd name="T51" fmla="*/ 89 h 90"/>
                  <a:gd name="T52" fmla="*/ 103 w 211"/>
                  <a:gd name="T53" fmla="*/ 90 h 90"/>
                  <a:gd name="T54" fmla="*/ 106 w 211"/>
                  <a:gd name="T55" fmla="*/ 90 h 90"/>
                  <a:gd name="T56" fmla="*/ 108 w 211"/>
                  <a:gd name="T57" fmla="*/ 90 h 90"/>
                  <a:gd name="T58" fmla="*/ 112 w 211"/>
                  <a:gd name="T59" fmla="*/ 89 h 90"/>
                  <a:gd name="T60" fmla="*/ 114 w 211"/>
                  <a:gd name="T61" fmla="*/ 88 h 90"/>
                  <a:gd name="T62" fmla="*/ 116 w 211"/>
                  <a:gd name="T63" fmla="*/ 85 h 90"/>
                  <a:gd name="T64" fmla="*/ 118 w 211"/>
                  <a:gd name="T65" fmla="*/ 83 h 90"/>
                  <a:gd name="T66" fmla="*/ 119 w 211"/>
                  <a:gd name="T67" fmla="*/ 80 h 90"/>
                  <a:gd name="T68" fmla="*/ 120 w 211"/>
                  <a:gd name="T69" fmla="*/ 78 h 90"/>
                  <a:gd name="T70" fmla="*/ 121 w 211"/>
                  <a:gd name="T71" fmla="*/ 75 h 90"/>
                  <a:gd name="T72" fmla="*/ 121 w 211"/>
                  <a:gd name="T73" fmla="*/ 30 h 90"/>
                  <a:gd name="T74" fmla="*/ 196 w 211"/>
                  <a:gd name="T75" fmla="*/ 30 h 90"/>
                  <a:gd name="T76" fmla="*/ 200 w 211"/>
                  <a:gd name="T77" fmla="*/ 30 h 90"/>
                  <a:gd name="T78" fmla="*/ 202 w 211"/>
                  <a:gd name="T79" fmla="*/ 29 h 90"/>
                  <a:gd name="T80" fmla="*/ 205 w 211"/>
                  <a:gd name="T81" fmla="*/ 27 h 90"/>
                  <a:gd name="T82" fmla="*/ 207 w 211"/>
                  <a:gd name="T83" fmla="*/ 25 h 90"/>
                  <a:gd name="T84" fmla="*/ 208 w 211"/>
                  <a:gd name="T85" fmla="*/ 23 h 90"/>
                  <a:gd name="T86" fmla="*/ 210 w 211"/>
                  <a:gd name="T87" fmla="*/ 20 h 90"/>
                  <a:gd name="T88" fmla="*/ 211 w 211"/>
                  <a:gd name="T89" fmla="*/ 18 h 90"/>
                  <a:gd name="T90" fmla="*/ 211 w 211"/>
                  <a:gd name="T91" fmla="*/ 15 h 90"/>
                  <a:gd name="T92" fmla="*/ 211 w 211"/>
                  <a:gd name="T93" fmla="*/ 11 h 90"/>
                  <a:gd name="T94" fmla="*/ 210 w 211"/>
                  <a:gd name="T95" fmla="*/ 8 h 90"/>
                  <a:gd name="T96" fmla="*/ 208 w 211"/>
                  <a:gd name="T97" fmla="*/ 6 h 90"/>
                  <a:gd name="T98" fmla="*/ 207 w 211"/>
                  <a:gd name="T99" fmla="*/ 4 h 90"/>
                  <a:gd name="T100" fmla="*/ 205 w 211"/>
                  <a:gd name="T101" fmla="*/ 2 h 90"/>
                  <a:gd name="T102" fmla="*/ 202 w 211"/>
                  <a:gd name="T103" fmla="*/ 1 h 90"/>
                  <a:gd name="T104" fmla="*/ 200 w 211"/>
                  <a:gd name="T105" fmla="*/ 0 h 90"/>
                  <a:gd name="T106" fmla="*/ 196 w 211"/>
                  <a:gd name="T107" fmla="*/ 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11" h="90">
                    <a:moveTo>
                      <a:pt x="196" y="0"/>
                    </a:moveTo>
                    <a:lnTo>
                      <a:pt x="15" y="0"/>
                    </a:lnTo>
                    <a:lnTo>
                      <a:pt x="13" y="0"/>
                    </a:lnTo>
                    <a:lnTo>
                      <a:pt x="10" y="1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3" y="6"/>
                    </a:lnTo>
                    <a:lnTo>
                      <a:pt x="1" y="8"/>
                    </a:lnTo>
                    <a:lnTo>
                      <a:pt x="1" y="11"/>
                    </a:lnTo>
                    <a:lnTo>
                      <a:pt x="0" y="15"/>
                    </a:lnTo>
                    <a:lnTo>
                      <a:pt x="1" y="18"/>
                    </a:lnTo>
                    <a:lnTo>
                      <a:pt x="1" y="20"/>
                    </a:lnTo>
                    <a:lnTo>
                      <a:pt x="3" y="23"/>
                    </a:lnTo>
                    <a:lnTo>
                      <a:pt x="4" y="25"/>
                    </a:lnTo>
                    <a:lnTo>
                      <a:pt x="8" y="27"/>
                    </a:lnTo>
                    <a:lnTo>
                      <a:pt x="10" y="29"/>
                    </a:lnTo>
                    <a:lnTo>
                      <a:pt x="13" y="30"/>
                    </a:lnTo>
                    <a:lnTo>
                      <a:pt x="15" y="30"/>
                    </a:lnTo>
                    <a:lnTo>
                      <a:pt x="91" y="30"/>
                    </a:lnTo>
                    <a:lnTo>
                      <a:pt x="91" y="75"/>
                    </a:lnTo>
                    <a:lnTo>
                      <a:pt x="91" y="78"/>
                    </a:lnTo>
                    <a:lnTo>
                      <a:pt x="92" y="80"/>
                    </a:lnTo>
                    <a:lnTo>
                      <a:pt x="93" y="83"/>
                    </a:lnTo>
                    <a:lnTo>
                      <a:pt x="96" y="85"/>
                    </a:lnTo>
                    <a:lnTo>
                      <a:pt x="98" y="88"/>
                    </a:lnTo>
                    <a:lnTo>
                      <a:pt x="100" y="89"/>
                    </a:lnTo>
                    <a:lnTo>
                      <a:pt x="103" y="90"/>
                    </a:lnTo>
                    <a:lnTo>
                      <a:pt x="106" y="90"/>
                    </a:lnTo>
                    <a:lnTo>
                      <a:pt x="108" y="90"/>
                    </a:lnTo>
                    <a:lnTo>
                      <a:pt x="112" y="89"/>
                    </a:lnTo>
                    <a:lnTo>
                      <a:pt x="114" y="88"/>
                    </a:lnTo>
                    <a:lnTo>
                      <a:pt x="116" y="85"/>
                    </a:lnTo>
                    <a:lnTo>
                      <a:pt x="118" y="83"/>
                    </a:lnTo>
                    <a:lnTo>
                      <a:pt x="119" y="80"/>
                    </a:lnTo>
                    <a:lnTo>
                      <a:pt x="120" y="78"/>
                    </a:lnTo>
                    <a:lnTo>
                      <a:pt x="121" y="75"/>
                    </a:lnTo>
                    <a:lnTo>
                      <a:pt x="121" y="30"/>
                    </a:lnTo>
                    <a:lnTo>
                      <a:pt x="196" y="30"/>
                    </a:lnTo>
                    <a:lnTo>
                      <a:pt x="200" y="30"/>
                    </a:lnTo>
                    <a:lnTo>
                      <a:pt x="202" y="29"/>
                    </a:lnTo>
                    <a:lnTo>
                      <a:pt x="205" y="27"/>
                    </a:lnTo>
                    <a:lnTo>
                      <a:pt x="207" y="25"/>
                    </a:lnTo>
                    <a:lnTo>
                      <a:pt x="208" y="23"/>
                    </a:lnTo>
                    <a:lnTo>
                      <a:pt x="210" y="20"/>
                    </a:lnTo>
                    <a:lnTo>
                      <a:pt x="211" y="18"/>
                    </a:lnTo>
                    <a:lnTo>
                      <a:pt x="211" y="15"/>
                    </a:lnTo>
                    <a:lnTo>
                      <a:pt x="211" y="11"/>
                    </a:lnTo>
                    <a:lnTo>
                      <a:pt x="210" y="8"/>
                    </a:lnTo>
                    <a:lnTo>
                      <a:pt x="208" y="6"/>
                    </a:lnTo>
                    <a:lnTo>
                      <a:pt x="207" y="4"/>
                    </a:lnTo>
                    <a:lnTo>
                      <a:pt x="205" y="2"/>
                    </a:lnTo>
                    <a:lnTo>
                      <a:pt x="202" y="1"/>
                    </a:lnTo>
                    <a:lnTo>
                      <a:pt x="200" y="0"/>
                    </a:lnTo>
                    <a:lnTo>
                      <a:pt x="19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81" name="Freeform 303"/>
            <p:cNvSpPr>
              <a:spLocks noEditPoints="1"/>
            </p:cNvSpPr>
            <p:nvPr/>
          </p:nvSpPr>
          <p:spPr bwMode="auto">
            <a:xfrm>
              <a:off x="5995888" y="1579523"/>
              <a:ext cx="192088" cy="238125"/>
            </a:xfrm>
            <a:custGeom>
              <a:avLst/>
              <a:gdLst>
                <a:gd name="T0" fmla="*/ 120 w 602"/>
                <a:gd name="T1" fmla="*/ 30 h 751"/>
                <a:gd name="T2" fmla="*/ 391 w 602"/>
                <a:gd name="T3" fmla="*/ 196 h 751"/>
                <a:gd name="T4" fmla="*/ 392 w 602"/>
                <a:gd name="T5" fmla="*/ 201 h 751"/>
                <a:gd name="T6" fmla="*/ 395 w 602"/>
                <a:gd name="T7" fmla="*/ 206 h 751"/>
                <a:gd name="T8" fmla="*/ 401 w 602"/>
                <a:gd name="T9" fmla="*/ 209 h 751"/>
                <a:gd name="T10" fmla="*/ 406 w 602"/>
                <a:gd name="T11" fmla="*/ 211 h 751"/>
                <a:gd name="T12" fmla="*/ 571 w 602"/>
                <a:gd name="T13" fmla="*/ 631 h 751"/>
                <a:gd name="T14" fmla="*/ 481 w 602"/>
                <a:gd name="T15" fmla="*/ 721 h 751"/>
                <a:gd name="T16" fmla="*/ 30 w 602"/>
                <a:gd name="T17" fmla="*/ 120 h 751"/>
                <a:gd name="T18" fmla="*/ 90 w 602"/>
                <a:gd name="T19" fmla="*/ 646 h 751"/>
                <a:gd name="T20" fmla="*/ 91 w 602"/>
                <a:gd name="T21" fmla="*/ 651 h 751"/>
                <a:gd name="T22" fmla="*/ 95 w 602"/>
                <a:gd name="T23" fmla="*/ 657 h 751"/>
                <a:gd name="T24" fmla="*/ 100 w 602"/>
                <a:gd name="T25" fmla="*/ 660 h 751"/>
                <a:gd name="T26" fmla="*/ 105 w 602"/>
                <a:gd name="T27" fmla="*/ 661 h 751"/>
                <a:gd name="T28" fmla="*/ 481 w 602"/>
                <a:gd name="T29" fmla="*/ 721 h 751"/>
                <a:gd name="T30" fmla="*/ 550 w 602"/>
                <a:gd name="T31" fmla="*/ 181 h 751"/>
                <a:gd name="T32" fmla="*/ 421 w 602"/>
                <a:gd name="T33" fmla="*/ 52 h 751"/>
                <a:gd name="T34" fmla="*/ 417 w 602"/>
                <a:gd name="T35" fmla="*/ 4 h 751"/>
                <a:gd name="T36" fmla="*/ 411 w 602"/>
                <a:gd name="T37" fmla="*/ 1 h 751"/>
                <a:gd name="T38" fmla="*/ 406 w 602"/>
                <a:gd name="T39" fmla="*/ 0 h 751"/>
                <a:gd name="T40" fmla="*/ 103 w 602"/>
                <a:gd name="T41" fmla="*/ 0 h 751"/>
                <a:gd name="T42" fmla="*/ 98 w 602"/>
                <a:gd name="T43" fmla="*/ 3 h 751"/>
                <a:gd name="T44" fmla="*/ 94 w 602"/>
                <a:gd name="T45" fmla="*/ 7 h 751"/>
                <a:gd name="T46" fmla="*/ 91 w 602"/>
                <a:gd name="T47" fmla="*/ 13 h 751"/>
                <a:gd name="T48" fmla="*/ 90 w 602"/>
                <a:gd name="T49" fmla="*/ 90 h 751"/>
                <a:gd name="T50" fmla="*/ 12 w 602"/>
                <a:gd name="T51" fmla="*/ 91 h 751"/>
                <a:gd name="T52" fmla="*/ 7 w 602"/>
                <a:gd name="T53" fmla="*/ 93 h 751"/>
                <a:gd name="T54" fmla="*/ 4 w 602"/>
                <a:gd name="T55" fmla="*/ 97 h 751"/>
                <a:gd name="T56" fmla="*/ 0 w 602"/>
                <a:gd name="T57" fmla="*/ 102 h 751"/>
                <a:gd name="T58" fmla="*/ 0 w 602"/>
                <a:gd name="T59" fmla="*/ 736 h 751"/>
                <a:gd name="T60" fmla="*/ 2 w 602"/>
                <a:gd name="T61" fmla="*/ 742 h 751"/>
                <a:gd name="T62" fmla="*/ 5 w 602"/>
                <a:gd name="T63" fmla="*/ 747 h 751"/>
                <a:gd name="T64" fmla="*/ 10 w 602"/>
                <a:gd name="T65" fmla="*/ 750 h 751"/>
                <a:gd name="T66" fmla="*/ 15 w 602"/>
                <a:gd name="T67" fmla="*/ 751 h 751"/>
                <a:gd name="T68" fmla="*/ 499 w 602"/>
                <a:gd name="T69" fmla="*/ 751 h 751"/>
                <a:gd name="T70" fmla="*/ 504 w 602"/>
                <a:gd name="T71" fmla="*/ 749 h 751"/>
                <a:gd name="T72" fmla="*/ 509 w 602"/>
                <a:gd name="T73" fmla="*/ 745 h 751"/>
                <a:gd name="T74" fmla="*/ 511 w 602"/>
                <a:gd name="T75" fmla="*/ 739 h 751"/>
                <a:gd name="T76" fmla="*/ 511 w 602"/>
                <a:gd name="T77" fmla="*/ 661 h 751"/>
                <a:gd name="T78" fmla="*/ 589 w 602"/>
                <a:gd name="T79" fmla="*/ 660 h 751"/>
                <a:gd name="T80" fmla="*/ 594 w 602"/>
                <a:gd name="T81" fmla="*/ 658 h 751"/>
                <a:gd name="T82" fmla="*/ 599 w 602"/>
                <a:gd name="T83" fmla="*/ 655 h 751"/>
                <a:gd name="T84" fmla="*/ 601 w 602"/>
                <a:gd name="T85" fmla="*/ 649 h 751"/>
                <a:gd name="T86" fmla="*/ 602 w 602"/>
                <a:gd name="T87" fmla="*/ 196 h 751"/>
                <a:gd name="T88" fmla="*/ 596 w 602"/>
                <a:gd name="T89" fmla="*/ 185 h 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02" h="751">
                  <a:moveTo>
                    <a:pt x="120" y="631"/>
                  </a:moveTo>
                  <a:lnTo>
                    <a:pt x="120" y="30"/>
                  </a:lnTo>
                  <a:lnTo>
                    <a:pt x="391" y="30"/>
                  </a:lnTo>
                  <a:lnTo>
                    <a:pt x="391" y="196"/>
                  </a:lnTo>
                  <a:lnTo>
                    <a:pt x="391" y="199"/>
                  </a:lnTo>
                  <a:lnTo>
                    <a:pt x="392" y="201"/>
                  </a:lnTo>
                  <a:lnTo>
                    <a:pt x="393" y="204"/>
                  </a:lnTo>
                  <a:lnTo>
                    <a:pt x="395" y="206"/>
                  </a:lnTo>
                  <a:lnTo>
                    <a:pt x="397" y="207"/>
                  </a:lnTo>
                  <a:lnTo>
                    <a:pt x="401" y="209"/>
                  </a:lnTo>
                  <a:lnTo>
                    <a:pt x="403" y="209"/>
                  </a:lnTo>
                  <a:lnTo>
                    <a:pt x="406" y="211"/>
                  </a:lnTo>
                  <a:lnTo>
                    <a:pt x="571" y="211"/>
                  </a:lnTo>
                  <a:lnTo>
                    <a:pt x="571" y="631"/>
                  </a:lnTo>
                  <a:lnTo>
                    <a:pt x="120" y="631"/>
                  </a:lnTo>
                  <a:close/>
                  <a:moveTo>
                    <a:pt x="481" y="721"/>
                  </a:moveTo>
                  <a:lnTo>
                    <a:pt x="30" y="721"/>
                  </a:lnTo>
                  <a:lnTo>
                    <a:pt x="30" y="120"/>
                  </a:lnTo>
                  <a:lnTo>
                    <a:pt x="90" y="120"/>
                  </a:lnTo>
                  <a:lnTo>
                    <a:pt x="90" y="646"/>
                  </a:lnTo>
                  <a:lnTo>
                    <a:pt x="91" y="649"/>
                  </a:lnTo>
                  <a:lnTo>
                    <a:pt x="91" y="651"/>
                  </a:lnTo>
                  <a:lnTo>
                    <a:pt x="94" y="655"/>
                  </a:lnTo>
                  <a:lnTo>
                    <a:pt x="95" y="657"/>
                  </a:lnTo>
                  <a:lnTo>
                    <a:pt x="98" y="658"/>
                  </a:lnTo>
                  <a:lnTo>
                    <a:pt x="100" y="660"/>
                  </a:lnTo>
                  <a:lnTo>
                    <a:pt x="103" y="660"/>
                  </a:lnTo>
                  <a:lnTo>
                    <a:pt x="105" y="661"/>
                  </a:lnTo>
                  <a:lnTo>
                    <a:pt x="481" y="661"/>
                  </a:lnTo>
                  <a:lnTo>
                    <a:pt x="481" y="721"/>
                  </a:lnTo>
                  <a:close/>
                  <a:moveTo>
                    <a:pt x="421" y="52"/>
                  </a:moveTo>
                  <a:lnTo>
                    <a:pt x="550" y="181"/>
                  </a:lnTo>
                  <a:lnTo>
                    <a:pt x="421" y="181"/>
                  </a:lnTo>
                  <a:lnTo>
                    <a:pt x="421" y="52"/>
                  </a:lnTo>
                  <a:close/>
                  <a:moveTo>
                    <a:pt x="596" y="185"/>
                  </a:moveTo>
                  <a:lnTo>
                    <a:pt x="417" y="4"/>
                  </a:lnTo>
                  <a:lnTo>
                    <a:pt x="415" y="2"/>
                  </a:lnTo>
                  <a:lnTo>
                    <a:pt x="411" y="1"/>
                  </a:lnTo>
                  <a:lnTo>
                    <a:pt x="409" y="0"/>
                  </a:lnTo>
                  <a:lnTo>
                    <a:pt x="406" y="0"/>
                  </a:lnTo>
                  <a:lnTo>
                    <a:pt x="105" y="0"/>
                  </a:lnTo>
                  <a:lnTo>
                    <a:pt x="103" y="0"/>
                  </a:lnTo>
                  <a:lnTo>
                    <a:pt x="100" y="1"/>
                  </a:lnTo>
                  <a:lnTo>
                    <a:pt x="98" y="3"/>
                  </a:lnTo>
                  <a:lnTo>
                    <a:pt x="95" y="5"/>
                  </a:lnTo>
                  <a:lnTo>
                    <a:pt x="94" y="7"/>
                  </a:lnTo>
                  <a:lnTo>
                    <a:pt x="91" y="9"/>
                  </a:lnTo>
                  <a:lnTo>
                    <a:pt x="91" y="13"/>
                  </a:lnTo>
                  <a:lnTo>
                    <a:pt x="90" y="15"/>
                  </a:lnTo>
                  <a:lnTo>
                    <a:pt x="90" y="90"/>
                  </a:lnTo>
                  <a:lnTo>
                    <a:pt x="15" y="90"/>
                  </a:lnTo>
                  <a:lnTo>
                    <a:pt x="12" y="91"/>
                  </a:lnTo>
                  <a:lnTo>
                    <a:pt x="10" y="92"/>
                  </a:lnTo>
                  <a:lnTo>
                    <a:pt x="7" y="93"/>
                  </a:lnTo>
                  <a:lnTo>
                    <a:pt x="5" y="95"/>
                  </a:lnTo>
                  <a:lnTo>
                    <a:pt x="4" y="97"/>
                  </a:lnTo>
                  <a:lnTo>
                    <a:pt x="2" y="99"/>
                  </a:lnTo>
                  <a:lnTo>
                    <a:pt x="0" y="102"/>
                  </a:lnTo>
                  <a:lnTo>
                    <a:pt x="0" y="105"/>
                  </a:lnTo>
                  <a:lnTo>
                    <a:pt x="0" y="736"/>
                  </a:lnTo>
                  <a:lnTo>
                    <a:pt x="0" y="739"/>
                  </a:lnTo>
                  <a:lnTo>
                    <a:pt x="2" y="742"/>
                  </a:lnTo>
                  <a:lnTo>
                    <a:pt x="4" y="745"/>
                  </a:lnTo>
                  <a:lnTo>
                    <a:pt x="5" y="747"/>
                  </a:lnTo>
                  <a:lnTo>
                    <a:pt x="7" y="749"/>
                  </a:lnTo>
                  <a:lnTo>
                    <a:pt x="10" y="750"/>
                  </a:lnTo>
                  <a:lnTo>
                    <a:pt x="12" y="751"/>
                  </a:lnTo>
                  <a:lnTo>
                    <a:pt x="15" y="751"/>
                  </a:lnTo>
                  <a:lnTo>
                    <a:pt x="496" y="751"/>
                  </a:lnTo>
                  <a:lnTo>
                    <a:pt x="499" y="751"/>
                  </a:lnTo>
                  <a:lnTo>
                    <a:pt x="502" y="750"/>
                  </a:lnTo>
                  <a:lnTo>
                    <a:pt x="504" y="749"/>
                  </a:lnTo>
                  <a:lnTo>
                    <a:pt x="507" y="747"/>
                  </a:lnTo>
                  <a:lnTo>
                    <a:pt x="509" y="745"/>
                  </a:lnTo>
                  <a:lnTo>
                    <a:pt x="510" y="742"/>
                  </a:lnTo>
                  <a:lnTo>
                    <a:pt x="511" y="739"/>
                  </a:lnTo>
                  <a:lnTo>
                    <a:pt x="511" y="736"/>
                  </a:lnTo>
                  <a:lnTo>
                    <a:pt x="511" y="661"/>
                  </a:lnTo>
                  <a:lnTo>
                    <a:pt x="586" y="661"/>
                  </a:lnTo>
                  <a:lnTo>
                    <a:pt x="589" y="660"/>
                  </a:lnTo>
                  <a:lnTo>
                    <a:pt x="592" y="660"/>
                  </a:lnTo>
                  <a:lnTo>
                    <a:pt x="594" y="658"/>
                  </a:lnTo>
                  <a:lnTo>
                    <a:pt x="596" y="657"/>
                  </a:lnTo>
                  <a:lnTo>
                    <a:pt x="599" y="655"/>
                  </a:lnTo>
                  <a:lnTo>
                    <a:pt x="600" y="651"/>
                  </a:lnTo>
                  <a:lnTo>
                    <a:pt x="601" y="649"/>
                  </a:lnTo>
                  <a:lnTo>
                    <a:pt x="602" y="646"/>
                  </a:lnTo>
                  <a:lnTo>
                    <a:pt x="602" y="196"/>
                  </a:lnTo>
                  <a:lnTo>
                    <a:pt x="600" y="190"/>
                  </a:lnTo>
                  <a:lnTo>
                    <a:pt x="596" y="18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99" name="Group 198"/>
            <p:cNvGrpSpPr/>
            <p:nvPr/>
          </p:nvGrpSpPr>
          <p:grpSpPr>
            <a:xfrm>
              <a:off x="7761284" y="1558900"/>
              <a:ext cx="287338" cy="287338"/>
              <a:chOff x="8736013" y="1925638"/>
              <a:chExt cx="287338" cy="287338"/>
            </a:xfrm>
            <a:solidFill>
              <a:schemeClr val="bg1"/>
            </a:solidFill>
          </p:grpSpPr>
          <p:sp>
            <p:nvSpPr>
              <p:cNvPr id="200" name="Freeform 97"/>
              <p:cNvSpPr>
                <a:spLocks noEditPoints="1"/>
              </p:cNvSpPr>
              <p:nvPr/>
            </p:nvSpPr>
            <p:spPr bwMode="auto">
              <a:xfrm>
                <a:off x="8736013" y="1925638"/>
                <a:ext cx="287338" cy="287338"/>
              </a:xfrm>
              <a:custGeom>
                <a:avLst/>
                <a:gdLst>
                  <a:gd name="T0" fmla="*/ 481 w 902"/>
                  <a:gd name="T1" fmla="*/ 863 h 902"/>
                  <a:gd name="T2" fmla="*/ 872 w 902"/>
                  <a:gd name="T3" fmla="*/ 219 h 902"/>
                  <a:gd name="T4" fmla="*/ 30 w 902"/>
                  <a:gd name="T5" fmla="*/ 219 h 902"/>
                  <a:gd name="T6" fmla="*/ 451 w 902"/>
                  <a:gd name="T7" fmla="*/ 864 h 902"/>
                  <a:gd name="T8" fmla="*/ 30 w 902"/>
                  <a:gd name="T9" fmla="*/ 219 h 902"/>
                  <a:gd name="T10" fmla="*/ 54 w 902"/>
                  <a:gd name="T11" fmla="*/ 197 h 902"/>
                  <a:gd name="T12" fmla="*/ 648 w 902"/>
                  <a:gd name="T13" fmla="*/ 290 h 902"/>
                  <a:gd name="T14" fmla="*/ 466 w 902"/>
                  <a:gd name="T15" fmla="*/ 32 h 902"/>
                  <a:gd name="T16" fmla="*/ 683 w 902"/>
                  <a:gd name="T17" fmla="*/ 274 h 902"/>
                  <a:gd name="T18" fmla="*/ 466 w 902"/>
                  <a:gd name="T19" fmla="*/ 32 h 902"/>
                  <a:gd name="T20" fmla="*/ 902 w 902"/>
                  <a:gd name="T21" fmla="*/ 195 h 902"/>
                  <a:gd name="T22" fmla="*/ 901 w 902"/>
                  <a:gd name="T23" fmla="*/ 191 h 902"/>
                  <a:gd name="T24" fmla="*/ 901 w 902"/>
                  <a:gd name="T25" fmla="*/ 190 h 902"/>
                  <a:gd name="T26" fmla="*/ 898 w 902"/>
                  <a:gd name="T27" fmla="*/ 186 h 902"/>
                  <a:gd name="T28" fmla="*/ 898 w 902"/>
                  <a:gd name="T29" fmla="*/ 185 h 902"/>
                  <a:gd name="T30" fmla="*/ 896 w 902"/>
                  <a:gd name="T31" fmla="*/ 184 h 902"/>
                  <a:gd name="T32" fmla="*/ 893 w 902"/>
                  <a:gd name="T33" fmla="*/ 183 h 902"/>
                  <a:gd name="T34" fmla="*/ 892 w 902"/>
                  <a:gd name="T35" fmla="*/ 182 h 902"/>
                  <a:gd name="T36" fmla="*/ 469 w 902"/>
                  <a:gd name="T37" fmla="*/ 0 h 902"/>
                  <a:gd name="T38" fmla="*/ 463 w 902"/>
                  <a:gd name="T39" fmla="*/ 0 h 902"/>
                  <a:gd name="T40" fmla="*/ 10 w 902"/>
                  <a:gd name="T41" fmla="*/ 182 h 902"/>
                  <a:gd name="T42" fmla="*/ 9 w 902"/>
                  <a:gd name="T43" fmla="*/ 183 h 902"/>
                  <a:gd name="T44" fmla="*/ 6 w 902"/>
                  <a:gd name="T45" fmla="*/ 184 h 902"/>
                  <a:gd name="T46" fmla="*/ 4 w 902"/>
                  <a:gd name="T47" fmla="*/ 185 h 902"/>
                  <a:gd name="T48" fmla="*/ 4 w 902"/>
                  <a:gd name="T49" fmla="*/ 186 h 902"/>
                  <a:gd name="T50" fmla="*/ 1 w 902"/>
                  <a:gd name="T51" fmla="*/ 189 h 902"/>
                  <a:gd name="T52" fmla="*/ 1 w 902"/>
                  <a:gd name="T53" fmla="*/ 190 h 902"/>
                  <a:gd name="T54" fmla="*/ 0 w 902"/>
                  <a:gd name="T55" fmla="*/ 195 h 902"/>
                  <a:gd name="T56" fmla="*/ 0 w 902"/>
                  <a:gd name="T57" fmla="*/ 195 h 902"/>
                  <a:gd name="T58" fmla="*/ 0 w 902"/>
                  <a:gd name="T59" fmla="*/ 195 h 902"/>
                  <a:gd name="T60" fmla="*/ 0 w 902"/>
                  <a:gd name="T61" fmla="*/ 681 h 902"/>
                  <a:gd name="T62" fmla="*/ 5 w 902"/>
                  <a:gd name="T63" fmla="*/ 688 h 902"/>
                  <a:gd name="T64" fmla="*/ 460 w 902"/>
                  <a:gd name="T65" fmla="*/ 901 h 902"/>
                  <a:gd name="T66" fmla="*/ 461 w 902"/>
                  <a:gd name="T67" fmla="*/ 901 h 902"/>
                  <a:gd name="T68" fmla="*/ 466 w 902"/>
                  <a:gd name="T69" fmla="*/ 902 h 902"/>
                  <a:gd name="T70" fmla="*/ 472 w 902"/>
                  <a:gd name="T71" fmla="*/ 901 h 902"/>
                  <a:gd name="T72" fmla="*/ 472 w 902"/>
                  <a:gd name="T73" fmla="*/ 900 h 902"/>
                  <a:gd name="T74" fmla="*/ 897 w 902"/>
                  <a:gd name="T75" fmla="*/ 688 h 902"/>
                  <a:gd name="T76" fmla="*/ 901 w 902"/>
                  <a:gd name="T77" fmla="*/ 681 h 902"/>
                  <a:gd name="T78" fmla="*/ 902 w 902"/>
                  <a:gd name="T79" fmla="*/ 195 h 902"/>
                  <a:gd name="T80" fmla="*/ 902 w 902"/>
                  <a:gd name="T81" fmla="*/ 195 h 9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902" h="902">
                    <a:moveTo>
                      <a:pt x="872" y="668"/>
                    </a:moveTo>
                    <a:lnTo>
                      <a:pt x="481" y="863"/>
                    </a:lnTo>
                    <a:lnTo>
                      <a:pt x="481" y="401"/>
                    </a:lnTo>
                    <a:lnTo>
                      <a:pt x="872" y="219"/>
                    </a:lnTo>
                    <a:lnTo>
                      <a:pt x="872" y="668"/>
                    </a:lnTo>
                    <a:close/>
                    <a:moveTo>
                      <a:pt x="30" y="219"/>
                    </a:moveTo>
                    <a:lnTo>
                      <a:pt x="451" y="401"/>
                    </a:lnTo>
                    <a:lnTo>
                      <a:pt x="451" y="864"/>
                    </a:lnTo>
                    <a:lnTo>
                      <a:pt x="30" y="667"/>
                    </a:lnTo>
                    <a:lnTo>
                      <a:pt x="30" y="219"/>
                    </a:lnTo>
                    <a:close/>
                    <a:moveTo>
                      <a:pt x="466" y="374"/>
                    </a:moveTo>
                    <a:lnTo>
                      <a:pt x="54" y="197"/>
                    </a:lnTo>
                    <a:lnTo>
                      <a:pt x="266" y="112"/>
                    </a:lnTo>
                    <a:lnTo>
                      <a:pt x="648" y="290"/>
                    </a:lnTo>
                    <a:lnTo>
                      <a:pt x="466" y="374"/>
                    </a:lnTo>
                    <a:close/>
                    <a:moveTo>
                      <a:pt x="466" y="32"/>
                    </a:moveTo>
                    <a:lnTo>
                      <a:pt x="851" y="197"/>
                    </a:lnTo>
                    <a:lnTo>
                      <a:pt x="683" y="274"/>
                    </a:lnTo>
                    <a:lnTo>
                      <a:pt x="304" y="97"/>
                    </a:lnTo>
                    <a:lnTo>
                      <a:pt x="466" y="32"/>
                    </a:lnTo>
                    <a:close/>
                    <a:moveTo>
                      <a:pt x="902" y="195"/>
                    </a:moveTo>
                    <a:lnTo>
                      <a:pt x="902" y="195"/>
                    </a:lnTo>
                    <a:lnTo>
                      <a:pt x="902" y="193"/>
                    </a:lnTo>
                    <a:lnTo>
                      <a:pt x="901" y="191"/>
                    </a:lnTo>
                    <a:lnTo>
                      <a:pt x="901" y="190"/>
                    </a:lnTo>
                    <a:lnTo>
                      <a:pt x="901" y="190"/>
                    </a:lnTo>
                    <a:lnTo>
                      <a:pt x="900" y="188"/>
                    </a:lnTo>
                    <a:lnTo>
                      <a:pt x="898" y="186"/>
                    </a:lnTo>
                    <a:lnTo>
                      <a:pt x="898" y="186"/>
                    </a:lnTo>
                    <a:lnTo>
                      <a:pt x="898" y="185"/>
                    </a:lnTo>
                    <a:lnTo>
                      <a:pt x="897" y="184"/>
                    </a:lnTo>
                    <a:lnTo>
                      <a:pt x="896" y="184"/>
                    </a:lnTo>
                    <a:lnTo>
                      <a:pt x="895" y="183"/>
                    </a:lnTo>
                    <a:lnTo>
                      <a:pt x="893" y="183"/>
                    </a:lnTo>
                    <a:lnTo>
                      <a:pt x="893" y="183"/>
                    </a:lnTo>
                    <a:lnTo>
                      <a:pt x="892" y="182"/>
                    </a:lnTo>
                    <a:lnTo>
                      <a:pt x="471" y="2"/>
                    </a:lnTo>
                    <a:lnTo>
                      <a:pt x="469" y="0"/>
                    </a:lnTo>
                    <a:lnTo>
                      <a:pt x="466" y="0"/>
                    </a:lnTo>
                    <a:lnTo>
                      <a:pt x="463" y="0"/>
                    </a:lnTo>
                    <a:lnTo>
                      <a:pt x="461" y="2"/>
                    </a:lnTo>
                    <a:lnTo>
                      <a:pt x="10" y="182"/>
                    </a:lnTo>
                    <a:lnTo>
                      <a:pt x="9" y="182"/>
                    </a:lnTo>
                    <a:lnTo>
                      <a:pt x="9" y="183"/>
                    </a:lnTo>
                    <a:lnTo>
                      <a:pt x="8" y="183"/>
                    </a:lnTo>
                    <a:lnTo>
                      <a:pt x="6" y="184"/>
                    </a:lnTo>
                    <a:lnTo>
                      <a:pt x="5" y="184"/>
                    </a:lnTo>
                    <a:lnTo>
                      <a:pt x="4" y="185"/>
                    </a:lnTo>
                    <a:lnTo>
                      <a:pt x="4" y="185"/>
                    </a:lnTo>
                    <a:lnTo>
                      <a:pt x="4" y="186"/>
                    </a:lnTo>
                    <a:lnTo>
                      <a:pt x="2" y="187"/>
                    </a:lnTo>
                    <a:lnTo>
                      <a:pt x="1" y="189"/>
                    </a:lnTo>
                    <a:lnTo>
                      <a:pt x="1" y="190"/>
                    </a:lnTo>
                    <a:lnTo>
                      <a:pt x="1" y="190"/>
                    </a:lnTo>
                    <a:lnTo>
                      <a:pt x="0" y="192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676"/>
                    </a:lnTo>
                    <a:lnTo>
                      <a:pt x="0" y="681"/>
                    </a:lnTo>
                    <a:lnTo>
                      <a:pt x="2" y="685"/>
                    </a:lnTo>
                    <a:lnTo>
                      <a:pt x="5" y="688"/>
                    </a:lnTo>
                    <a:lnTo>
                      <a:pt x="9" y="690"/>
                    </a:lnTo>
                    <a:lnTo>
                      <a:pt x="460" y="901"/>
                    </a:lnTo>
                    <a:lnTo>
                      <a:pt x="460" y="901"/>
                    </a:lnTo>
                    <a:lnTo>
                      <a:pt x="461" y="901"/>
                    </a:lnTo>
                    <a:lnTo>
                      <a:pt x="463" y="902"/>
                    </a:lnTo>
                    <a:lnTo>
                      <a:pt x="466" y="902"/>
                    </a:lnTo>
                    <a:lnTo>
                      <a:pt x="469" y="902"/>
                    </a:lnTo>
                    <a:lnTo>
                      <a:pt x="472" y="901"/>
                    </a:lnTo>
                    <a:lnTo>
                      <a:pt x="472" y="901"/>
                    </a:lnTo>
                    <a:lnTo>
                      <a:pt x="472" y="900"/>
                    </a:lnTo>
                    <a:lnTo>
                      <a:pt x="893" y="690"/>
                    </a:lnTo>
                    <a:lnTo>
                      <a:pt x="897" y="688"/>
                    </a:lnTo>
                    <a:lnTo>
                      <a:pt x="900" y="685"/>
                    </a:lnTo>
                    <a:lnTo>
                      <a:pt x="901" y="681"/>
                    </a:lnTo>
                    <a:lnTo>
                      <a:pt x="902" y="676"/>
                    </a:lnTo>
                    <a:lnTo>
                      <a:pt x="902" y="195"/>
                    </a:lnTo>
                    <a:lnTo>
                      <a:pt x="902" y="195"/>
                    </a:lnTo>
                    <a:lnTo>
                      <a:pt x="902" y="1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1" name="Freeform 98"/>
              <p:cNvSpPr>
                <a:spLocks noEditPoints="1"/>
              </p:cNvSpPr>
              <p:nvPr/>
            </p:nvSpPr>
            <p:spPr bwMode="auto">
              <a:xfrm>
                <a:off x="8774113" y="2041525"/>
                <a:ext cx="77788" cy="100013"/>
              </a:xfrm>
              <a:custGeom>
                <a:avLst/>
                <a:gdLst>
                  <a:gd name="T0" fmla="*/ 211 w 241"/>
                  <a:gd name="T1" fmla="*/ 278 h 315"/>
                  <a:gd name="T2" fmla="*/ 30 w 241"/>
                  <a:gd name="T3" fmla="*/ 201 h 315"/>
                  <a:gd name="T4" fmla="*/ 30 w 241"/>
                  <a:gd name="T5" fmla="*/ 38 h 315"/>
                  <a:gd name="T6" fmla="*/ 211 w 241"/>
                  <a:gd name="T7" fmla="*/ 115 h 315"/>
                  <a:gd name="T8" fmla="*/ 211 w 241"/>
                  <a:gd name="T9" fmla="*/ 278 h 315"/>
                  <a:gd name="T10" fmla="*/ 231 w 241"/>
                  <a:gd name="T11" fmla="*/ 92 h 315"/>
                  <a:gd name="T12" fmla="*/ 21 w 241"/>
                  <a:gd name="T13" fmla="*/ 2 h 315"/>
                  <a:gd name="T14" fmla="*/ 17 w 241"/>
                  <a:gd name="T15" fmla="*/ 0 h 315"/>
                  <a:gd name="T16" fmla="*/ 14 w 241"/>
                  <a:gd name="T17" fmla="*/ 0 h 315"/>
                  <a:gd name="T18" fmla="*/ 11 w 241"/>
                  <a:gd name="T19" fmla="*/ 0 h 315"/>
                  <a:gd name="T20" fmla="*/ 6 w 241"/>
                  <a:gd name="T21" fmla="*/ 3 h 315"/>
                  <a:gd name="T22" fmla="*/ 4 w 241"/>
                  <a:gd name="T23" fmla="*/ 5 h 315"/>
                  <a:gd name="T24" fmla="*/ 2 w 241"/>
                  <a:gd name="T25" fmla="*/ 8 h 315"/>
                  <a:gd name="T26" fmla="*/ 1 w 241"/>
                  <a:gd name="T27" fmla="*/ 11 h 315"/>
                  <a:gd name="T28" fmla="*/ 0 w 241"/>
                  <a:gd name="T29" fmla="*/ 15 h 315"/>
                  <a:gd name="T30" fmla="*/ 0 w 241"/>
                  <a:gd name="T31" fmla="*/ 210 h 315"/>
                  <a:gd name="T32" fmla="*/ 1 w 241"/>
                  <a:gd name="T33" fmla="*/ 215 h 315"/>
                  <a:gd name="T34" fmla="*/ 2 w 241"/>
                  <a:gd name="T35" fmla="*/ 219 h 315"/>
                  <a:gd name="T36" fmla="*/ 5 w 241"/>
                  <a:gd name="T37" fmla="*/ 222 h 315"/>
                  <a:gd name="T38" fmla="*/ 10 w 241"/>
                  <a:gd name="T39" fmla="*/ 224 h 315"/>
                  <a:gd name="T40" fmla="*/ 220 w 241"/>
                  <a:gd name="T41" fmla="*/ 314 h 315"/>
                  <a:gd name="T42" fmla="*/ 223 w 241"/>
                  <a:gd name="T43" fmla="*/ 315 h 315"/>
                  <a:gd name="T44" fmla="*/ 226 w 241"/>
                  <a:gd name="T45" fmla="*/ 315 h 315"/>
                  <a:gd name="T46" fmla="*/ 230 w 241"/>
                  <a:gd name="T47" fmla="*/ 315 h 315"/>
                  <a:gd name="T48" fmla="*/ 234 w 241"/>
                  <a:gd name="T49" fmla="*/ 313 h 315"/>
                  <a:gd name="T50" fmla="*/ 237 w 241"/>
                  <a:gd name="T51" fmla="*/ 311 h 315"/>
                  <a:gd name="T52" fmla="*/ 239 w 241"/>
                  <a:gd name="T53" fmla="*/ 308 h 315"/>
                  <a:gd name="T54" fmla="*/ 240 w 241"/>
                  <a:gd name="T55" fmla="*/ 305 h 315"/>
                  <a:gd name="T56" fmla="*/ 241 w 241"/>
                  <a:gd name="T57" fmla="*/ 300 h 315"/>
                  <a:gd name="T58" fmla="*/ 241 w 241"/>
                  <a:gd name="T59" fmla="*/ 105 h 315"/>
                  <a:gd name="T60" fmla="*/ 240 w 241"/>
                  <a:gd name="T61" fmla="*/ 101 h 315"/>
                  <a:gd name="T62" fmla="*/ 238 w 241"/>
                  <a:gd name="T63" fmla="*/ 97 h 315"/>
                  <a:gd name="T64" fmla="*/ 236 w 241"/>
                  <a:gd name="T65" fmla="*/ 94 h 315"/>
                  <a:gd name="T66" fmla="*/ 231 w 241"/>
                  <a:gd name="T67" fmla="*/ 92 h 315"/>
                  <a:gd name="T68" fmla="*/ 231 w 241"/>
                  <a:gd name="T69" fmla="*/ 92 h 3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41" h="315">
                    <a:moveTo>
                      <a:pt x="211" y="278"/>
                    </a:moveTo>
                    <a:lnTo>
                      <a:pt x="30" y="201"/>
                    </a:lnTo>
                    <a:lnTo>
                      <a:pt x="30" y="38"/>
                    </a:lnTo>
                    <a:lnTo>
                      <a:pt x="211" y="115"/>
                    </a:lnTo>
                    <a:lnTo>
                      <a:pt x="211" y="278"/>
                    </a:lnTo>
                    <a:close/>
                    <a:moveTo>
                      <a:pt x="231" y="92"/>
                    </a:moveTo>
                    <a:lnTo>
                      <a:pt x="21" y="2"/>
                    </a:lnTo>
                    <a:lnTo>
                      <a:pt x="17" y="0"/>
                    </a:lnTo>
                    <a:lnTo>
                      <a:pt x="14" y="0"/>
                    </a:lnTo>
                    <a:lnTo>
                      <a:pt x="11" y="0"/>
                    </a:lnTo>
                    <a:lnTo>
                      <a:pt x="6" y="3"/>
                    </a:lnTo>
                    <a:lnTo>
                      <a:pt x="4" y="5"/>
                    </a:lnTo>
                    <a:lnTo>
                      <a:pt x="2" y="8"/>
                    </a:lnTo>
                    <a:lnTo>
                      <a:pt x="1" y="11"/>
                    </a:lnTo>
                    <a:lnTo>
                      <a:pt x="0" y="15"/>
                    </a:lnTo>
                    <a:lnTo>
                      <a:pt x="0" y="210"/>
                    </a:lnTo>
                    <a:lnTo>
                      <a:pt x="1" y="215"/>
                    </a:lnTo>
                    <a:lnTo>
                      <a:pt x="2" y="219"/>
                    </a:lnTo>
                    <a:lnTo>
                      <a:pt x="5" y="222"/>
                    </a:lnTo>
                    <a:lnTo>
                      <a:pt x="10" y="224"/>
                    </a:lnTo>
                    <a:lnTo>
                      <a:pt x="220" y="314"/>
                    </a:lnTo>
                    <a:lnTo>
                      <a:pt x="223" y="315"/>
                    </a:lnTo>
                    <a:lnTo>
                      <a:pt x="226" y="315"/>
                    </a:lnTo>
                    <a:lnTo>
                      <a:pt x="230" y="315"/>
                    </a:lnTo>
                    <a:lnTo>
                      <a:pt x="234" y="313"/>
                    </a:lnTo>
                    <a:lnTo>
                      <a:pt x="237" y="311"/>
                    </a:lnTo>
                    <a:lnTo>
                      <a:pt x="239" y="308"/>
                    </a:lnTo>
                    <a:lnTo>
                      <a:pt x="240" y="305"/>
                    </a:lnTo>
                    <a:lnTo>
                      <a:pt x="241" y="300"/>
                    </a:lnTo>
                    <a:lnTo>
                      <a:pt x="241" y="105"/>
                    </a:lnTo>
                    <a:lnTo>
                      <a:pt x="240" y="101"/>
                    </a:lnTo>
                    <a:lnTo>
                      <a:pt x="238" y="97"/>
                    </a:lnTo>
                    <a:lnTo>
                      <a:pt x="236" y="94"/>
                    </a:lnTo>
                    <a:lnTo>
                      <a:pt x="231" y="92"/>
                    </a:lnTo>
                    <a:lnTo>
                      <a:pt x="231" y="9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02" name="Group 201"/>
            <p:cNvGrpSpPr/>
            <p:nvPr/>
          </p:nvGrpSpPr>
          <p:grpSpPr>
            <a:xfrm>
              <a:off x="9575104" y="1597779"/>
              <a:ext cx="285750" cy="201613"/>
              <a:chOff x="8164513" y="2584450"/>
              <a:chExt cx="285750" cy="201613"/>
            </a:xfrm>
            <a:solidFill>
              <a:schemeClr val="bg1"/>
            </a:solidFill>
          </p:grpSpPr>
          <p:sp>
            <p:nvSpPr>
              <p:cNvPr id="203" name="Freeform 106"/>
              <p:cNvSpPr>
                <a:spLocks noEditPoints="1"/>
              </p:cNvSpPr>
              <p:nvPr/>
            </p:nvSpPr>
            <p:spPr bwMode="auto">
              <a:xfrm>
                <a:off x="8164513" y="2584450"/>
                <a:ext cx="285750" cy="201613"/>
              </a:xfrm>
              <a:custGeom>
                <a:avLst/>
                <a:gdLst>
                  <a:gd name="T0" fmla="*/ 806 w 902"/>
                  <a:gd name="T1" fmla="*/ 508 h 631"/>
                  <a:gd name="T2" fmla="*/ 872 w 902"/>
                  <a:gd name="T3" fmla="*/ 481 h 631"/>
                  <a:gd name="T4" fmla="*/ 709 w 902"/>
                  <a:gd name="T5" fmla="*/ 600 h 631"/>
                  <a:gd name="T6" fmla="*/ 683 w 902"/>
                  <a:gd name="T7" fmla="*/ 587 h 631"/>
                  <a:gd name="T8" fmla="*/ 666 w 902"/>
                  <a:gd name="T9" fmla="*/ 565 h 631"/>
                  <a:gd name="T10" fmla="*/ 661 w 902"/>
                  <a:gd name="T11" fmla="*/ 535 h 631"/>
                  <a:gd name="T12" fmla="*/ 672 w 902"/>
                  <a:gd name="T13" fmla="*/ 508 h 631"/>
                  <a:gd name="T14" fmla="*/ 693 w 902"/>
                  <a:gd name="T15" fmla="*/ 489 h 631"/>
                  <a:gd name="T16" fmla="*/ 721 w 902"/>
                  <a:gd name="T17" fmla="*/ 481 h 631"/>
                  <a:gd name="T18" fmla="*/ 750 w 902"/>
                  <a:gd name="T19" fmla="*/ 489 h 631"/>
                  <a:gd name="T20" fmla="*/ 771 w 902"/>
                  <a:gd name="T21" fmla="*/ 508 h 631"/>
                  <a:gd name="T22" fmla="*/ 781 w 902"/>
                  <a:gd name="T23" fmla="*/ 535 h 631"/>
                  <a:gd name="T24" fmla="*/ 777 w 902"/>
                  <a:gd name="T25" fmla="*/ 565 h 631"/>
                  <a:gd name="T26" fmla="*/ 760 w 902"/>
                  <a:gd name="T27" fmla="*/ 587 h 631"/>
                  <a:gd name="T28" fmla="*/ 734 w 902"/>
                  <a:gd name="T29" fmla="*/ 600 h 631"/>
                  <a:gd name="T30" fmla="*/ 269 w 902"/>
                  <a:gd name="T31" fmla="*/ 524 h 631"/>
                  <a:gd name="T32" fmla="*/ 252 w 902"/>
                  <a:gd name="T33" fmla="*/ 488 h 631"/>
                  <a:gd name="T34" fmla="*/ 641 w 902"/>
                  <a:gd name="T35" fmla="*/ 501 h 631"/>
                  <a:gd name="T36" fmla="*/ 631 w 902"/>
                  <a:gd name="T37" fmla="*/ 541 h 631"/>
                  <a:gd name="T38" fmla="*/ 162 w 902"/>
                  <a:gd name="T39" fmla="*/ 599 h 631"/>
                  <a:gd name="T40" fmla="*/ 137 w 902"/>
                  <a:gd name="T41" fmla="*/ 584 h 631"/>
                  <a:gd name="T42" fmla="*/ 122 w 902"/>
                  <a:gd name="T43" fmla="*/ 560 h 631"/>
                  <a:gd name="T44" fmla="*/ 121 w 902"/>
                  <a:gd name="T45" fmla="*/ 530 h 631"/>
                  <a:gd name="T46" fmla="*/ 134 w 902"/>
                  <a:gd name="T47" fmla="*/ 503 h 631"/>
                  <a:gd name="T48" fmla="*/ 156 w 902"/>
                  <a:gd name="T49" fmla="*/ 486 h 631"/>
                  <a:gd name="T50" fmla="*/ 186 w 902"/>
                  <a:gd name="T51" fmla="*/ 481 h 631"/>
                  <a:gd name="T52" fmla="*/ 213 w 902"/>
                  <a:gd name="T53" fmla="*/ 491 h 631"/>
                  <a:gd name="T54" fmla="*/ 232 w 902"/>
                  <a:gd name="T55" fmla="*/ 512 h 631"/>
                  <a:gd name="T56" fmla="*/ 240 w 902"/>
                  <a:gd name="T57" fmla="*/ 541 h 631"/>
                  <a:gd name="T58" fmla="*/ 232 w 902"/>
                  <a:gd name="T59" fmla="*/ 570 h 631"/>
                  <a:gd name="T60" fmla="*/ 213 w 902"/>
                  <a:gd name="T61" fmla="*/ 591 h 631"/>
                  <a:gd name="T62" fmla="*/ 186 w 902"/>
                  <a:gd name="T63" fmla="*/ 601 h 631"/>
                  <a:gd name="T64" fmla="*/ 108 w 902"/>
                  <a:gd name="T65" fmla="*/ 488 h 631"/>
                  <a:gd name="T66" fmla="*/ 91 w 902"/>
                  <a:gd name="T67" fmla="*/ 524 h 631"/>
                  <a:gd name="T68" fmla="*/ 117 w 902"/>
                  <a:gd name="T69" fmla="*/ 265 h 631"/>
                  <a:gd name="T70" fmla="*/ 30 w 902"/>
                  <a:gd name="T71" fmla="*/ 451 h 631"/>
                  <a:gd name="T72" fmla="*/ 872 w 902"/>
                  <a:gd name="T73" fmla="*/ 451 h 631"/>
                  <a:gd name="T74" fmla="*/ 887 w 902"/>
                  <a:gd name="T75" fmla="*/ 0 h 631"/>
                  <a:gd name="T76" fmla="*/ 365 w 902"/>
                  <a:gd name="T77" fmla="*/ 5 h 631"/>
                  <a:gd name="T78" fmla="*/ 361 w 902"/>
                  <a:gd name="T79" fmla="*/ 90 h 631"/>
                  <a:gd name="T80" fmla="*/ 182 w 902"/>
                  <a:gd name="T81" fmla="*/ 98 h 631"/>
                  <a:gd name="T82" fmla="*/ 0 w 902"/>
                  <a:gd name="T83" fmla="*/ 327 h 631"/>
                  <a:gd name="T84" fmla="*/ 2 w 902"/>
                  <a:gd name="T85" fmla="*/ 565 h 631"/>
                  <a:gd name="T86" fmla="*/ 15 w 902"/>
                  <a:gd name="T87" fmla="*/ 571 h 631"/>
                  <a:gd name="T88" fmla="*/ 128 w 902"/>
                  <a:gd name="T89" fmla="*/ 614 h 631"/>
                  <a:gd name="T90" fmla="*/ 172 w 902"/>
                  <a:gd name="T91" fmla="*/ 631 h 631"/>
                  <a:gd name="T92" fmla="*/ 208 w 902"/>
                  <a:gd name="T93" fmla="*/ 627 h 631"/>
                  <a:gd name="T94" fmla="*/ 259 w 902"/>
                  <a:gd name="T95" fmla="*/ 584 h 631"/>
                  <a:gd name="T96" fmla="*/ 659 w 902"/>
                  <a:gd name="T97" fmla="*/ 606 h 631"/>
                  <a:gd name="T98" fmla="*/ 707 w 902"/>
                  <a:gd name="T99" fmla="*/ 630 h 631"/>
                  <a:gd name="T100" fmla="*/ 742 w 902"/>
                  <a:gd name="T101" fmla="*/ 629 h 631"/>
                  <a:gd name="T102" fmla="*/ 793 w 902"/>
                  <a:gd name="T103" fmla="*/ 596 h 631"/>
                  <a:gd name="T104" fmla="*/ 892 w 902"/>
                  <a:gd name="T105" fmla="*/ 570 h 631"/>
                  <a:gd name="T106" fmla="*/ 901 w 902"/>
                  <a:gd name="T107" fmla="*/ 560 h 631"/>
                  <a:gd name="T108" fmla="*/ 899 w 902"/>
                  <a:gd name="T109" fmla="*/ 7 h 631"/>
                  <a:gd name="T110" fmla="*/ 887 w 902"/>
                  <a:gd name="T111" fmla="*/ 0 h 6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902" h="631">
                    <a:moveTo>
                      <a:pt x="812" y="541"/>
                    </a:moveTo>
                    <a:lnTo>
                      <a:pt x="811" y="533"/>
                    </a:lnTo>
                    <a:lnTo>
                      <a:pt x="810" y="524"/>
                    </a:lnTo>
                    <a:lnTo>
                      <a:pt x="808" y="517"/>
                    </a:lnTo>
                    <a:lnTo>
                      <a:pt x="806" y="508"/>
                    </a:lnTo>
                    <a:lnTo>
                      <a:pt x="802" y="501"/>
                    </a:lnTo>
                    <a:lnTo>
                      <a:pt x="798" y="494"/>
                    </a:lnTo>
                    <a:lnTo>
                      <a:pt x="794" y="488"/>
                    </a:lnTo>
                    <a:lnTo>
                      <a:pt x="788" y="481"/>
                    </a:lnTo>
                    <a:lnTo>
                      <a:pt x="872" y="481"/>
                    </a:lnTo>
                    <a:lnTo>
                      <a:pt x="872" y="541"/>
                    </a:lnTo>
                    <a:lnTo>
                      <a:pt x="812" y="541"/>
                    </a:lnTo>
                    <a:close/>
                    <a:moveTo>
                      <a:pt x="721" y="601"/>
                    </a:moveTo>
                    <a:lnTo>
                      <a:pt x="716" y="601"/>
                    </a:lnTo>
                    <a:lnTo>
                      <a:pt x="709" y="600"/>
                    </a:lnTo>
                    <a:lnTo>
                      <a:pt x="704" y="599"/>
                    </a:lnTo>
                    <a:lnTo>
                      <a:pt x="697" y="597"/>
                    </a:lnTo>
                    <a:lnTo>
                      <a:pt x="693" y="594"/>
                    </a:lnTo>
                    <a:lnTo>
                      <a:pt x="688" y="591"/>
                    </a:lnTo>
                    <a:lnTo>
                      <a:pt x="683" y="587"/>
                    </a:lnTo>
                    <a:lnTo>
                      <a:pt x="679" y="584"/>
                    </a:lnTo>
                    <a:lnTo>
                      <a:pt x="675" y="580"/>
                    </a:lnTo>
                    <a:lnTo>
                      <a:pt x="672" y="575"/>
                    </a:lnTo>
                    <a:lnTo>
                      <a:pt x="668" y="570"/>
                    </a:lnTo>
                    <a:lnTo>
                      <a:pt x="666" y="565"/>
                    </a:lnTo>
                    <a:lnTo>
                      <a:pt x="664" y="560"/>
                    </a:lnTo>
                    <a:lnTo>
                      <a:pt x="662" y="553"/>
                    </a:lnTo>
                    <a:lnTo>
                      <a:pt x="661" y="548"/>
                    </a:lnTo>
                    <a:lnTo>
                      <a:pt x="661" y="541"/>
                    </a:lnTo>
                    <a:lnTo>
                      <a:pt x="661" y="535"/>
                    </a:lnTo>
                    <a:lnTo>
                      <a:pt x="662" y="530"/>
                    </a:lnTo>
                    <a:lnTo>
                      <a:pt x="664" y="523"/>
                    </a:lnTo>
                    <a:lnTo>
                      <a:pt x="666" y="518"/>
                    </a:lnTo>
                    <a:lnTo>
                      <a:pt x="668" y="512"/>
                    </a:lnTo>
                    <a:lnTo>
                      <a:pt x="672" y="508"/>
                    </a:lnTo>
                    <a:lnTo>
                      <a:pt x="675" y="503"/>
                    </a:lnTo>
                    <a:lnTo>
                      <a:pt x="679" y="499"/>
                    </a:lnTo>
                    <a:lnTo>
                      <a:pt x="683" y="495"/>
                    </a:lnTo>
                    <a:lnTo>
                      <a:pt x="688" y="491"/>
                    </a:lnTo>
                    <a:lnTo>
                      <a:pt x="693" y="489"/>
                    </a:lnTo>
                    <a:lnTo>
                      <a:pt x="697" y="486"/>
                    </a:lnTo>
                    <a:lnTo>
                      <a:pt x="704" y="484"/>
                    </a:lnTo>
                    <a:lnTo>
                      <a:pt x="709" y="482"/>
                    </a:lnTo>
                    <a:lnTo>
                      <a:pt x="716" y="481"/>
                    </a:lnTo>
                    <a:lnTo>
                      <a:pt x="721" y="481"/>
                    </a:lnTo>
                    <a:lnTo>
                      <a:pt x="727" y="481"/>
                    </a:lnTo>
                    <a:lnTo>
                      <a:pt x="734" y="482"/>
                    </a:lnTo>
                    <a:lnTo>
                      <a:pt x="739" y="484"/>
                    </a:lnTo>
                    <a:lnTo>
                      <a:pt x="745" y="486"/>
                    </a:lnTo>
                    <a:lnTo>
                      <a:pt x="750" y="489"/>
                    </a:lnTo>
                    <a:lnTo>
                      <a:pt x="755" y="491"/>
                    </a:lnTo>
                    <a:lnTo>
                      <a:pt x="760" y="495"/>
                    </a:lnTo>
                    <a:lnTo>
                      <a:pt x="764" y="499"/>
                    </a:lnTo>
                    <a:lnTo>
                      <a:pt x="768" y="503"/>
                    </a:lnTo>
                    <a:lnTo>
                      <a:pt x="771" y="508"/>
                    </a:lnTo>
                    <a:lnTo>
                      <a:pt x="775" y="512"/>
                    </a:lnTo>
                    <a:lnTo>
                      <a:pt x="777" y="518"/>
                    </a:lnTo>
                    <a:lnTo>
                      <a:pt x="779" y="523"/>
                    </a:lnTo>
                    <a:lnTo>
                      <a:pt x="780" y="530"/>
                    </a:lnTo>
                    <a:lnTo>
                      <a:pt x="781" y="535"/>
                    </a:lnTo>
                    <a:lnTo>
                      <a:pt x="781" y="541"/>
                    </a:lnTo>
                    <a:lnTo>
                      <a:pt x="781" y="548"/>
                    </a:lnTo>
                    <a:lnTo>
                      <a:pt x="780" y="553"/>
                    </a:lnTo>
                    <a:lnTo>
                      <a:pt x="779" y="560"/>
                    </a:lnTo>
                    <a:lnTo>
                      <a:pt x="777" y="565"/>
                    </a:lnTo>
                    <a:lnTo>
                      <a:pt x="775" y="570"/>
                    </a:lnTo>
                    <a:lnTo>
                      <a:pt x="771" y="575"/>
                    </a:lnTo>
                    <a:lnTo>
                      <a:pt x="768" y="580"/>
                    </a:lnTo>
                    <a:lnTo>
                      <a:pt x="764" y="584"/>
                    </a:lnTo>
                    <a:lnTo>
                      <a:pt x="760" y="587"/>
                    </a:lnTo>
                    <a:lnTo>
                      <a:pt x="755" y="591"/>
                    </a:lnTo>
                    <a:lnTo>
                      <a:pt x="750" y="594"/>
                    </a:lnTo>
                    <a:lnTo>
                      <a:pt x="745" y="597"/>
                    </a:lnTo>
                    <a:lnTo>
                      <a:pt x="739" y="599"/>
                    </a:lnTo>
                    <a:lnTo>
                      <a:pt x="734" y="600"/>
                    </a:lnTo>
                    <a:lnTo>
                      <a:pt x="727" y="601"/>
                    </a:lnTo>
                    <a:lnTo>
                      <a:pt x="721" y="601"/>
                    </a:lnTo>
                    <a:close/>
                    <a:moveTo>
                      <a:pt x="270" y="541"/>
                    </a:moveTo>
                    <a:lnTo>
                      <a:pt x="270" y="533"/>
                    </a:lnTo>
                    <a:lnTo>
                      <a:pt x="269" y="524"/>
                    </a:lnTo>
                    <a:lnTo>
                      <a:pt x="267" y="517"/>
                    </a:lnTo>
                    <a:lnTo>
                      <a:pt x="264" y="508"/>
                    </a:lnTo>
                    <a:lnTo>
                      <a:pt x="260" y="501"/>
                    </a:lnTo>
                    <a:lnTo>
                      <a:pt x="257" y="494"/>
                    </a:lnTo>
                    <a:lnTo>
                      <a:pt x="252" y="488"/>
                    </a:lnTo>
                    <a:lnTo>
                      <a:pt x="247" y="481"/>
                    </a:lnTo>
                    <a:lnTo>
                      <a:pt x="655" y="481"/>
                    </a:lnTo>
                    <a:lnTo>
                      <a:pt x="649" y="488"/>
                    </a:lnTo>
                    <a:lnTo>
                      <a:pt x="645" y="494"/>
                    </a:lnTo>
                    <a:lnTo>
                      <a:pt x="641" y="501"/>
                    </a:lnTo>
                    <a:lnTo>
                      <a:pt x="637" y="508"/>
                    </a:lnTo>
                    <a:lnTo>
                      <a:pt x="634" y="517"/>
                    </a:lnTo>
                    <a:lnTo>
                      <a:pt x="633" y="524"/>
                    </a:lnTo>
                    <a:lnTo>
                      <a:pt x="632" y="533"/>
                    </a:lnTo>
                    <a:lnTo>
                      <a:pt x="631" y="541"/>
                    </a:lnTo>
                    <a:lnTo>
                      <a:pt x="270" y="541"/>
                    </a:lnTo>
                    <a:close/>
                    <a:moveTo>
                      <a:pt x="180" y="601"/>
                    </a:moveTo>
                    <a:lnTo>
                      <a:pt x="174" y="601"/>
                    </a:lnTo>
                    <a:lnTo>
                      <a:pt x="168" y="600"/>
                    </a:lnTo>
                    <a:lnTo>
                      <a:pt x="162" y="599"/>
                    </a:lnTo>
                    <a:lnTo>
                      <a:pt x="156" y="597"/>
                    </a:lnTo>
                    <a:lnTo>
                      <a:pt x="151" y="594"/>
                    </a:lnTo>
                    <a:lnTo>
                      <a:pt x="147" y="591"/>
                    </a:lnTo>
                    <a:lnTo>
                      <a:pt x="141" y="587"/>
                    </a:lnTo>
                    <a:lnTo>
                      <a:pt x="137" y="584"/>
                    </a:lnTo>
                    <a:lnTo>
                      <a:pt x="134" y="580"/>
                    </a:lnTo>
                    <a:lnTo>
                      <a:pt x="131" y="575"/>
                    </a:lnTo>
                    <a:lnTo>
                      <a:pt x="128" y="570"/>
                    </a:lnTo>
                    <a:lnTo>
                      <a:pt x="124" y="565"/>
                    </a:lnTo>
                    <a:lnTo>
                      <a:pt x="122" y="560"/>
                    </a:lnTo>
                    <a:lnTo>
                      <a:pt x="121" y="553"/>
                    </a:lnTo>
                    <a:lnTo>
                      <a:pt x="120" y="548"/>
                    </a:lnTo>
                    <a:lnTo>
                      <a:pt x="120" y="541"/>
                    </a:lnTo>
                    <a:lnTo>
                      <a:pt x="120" y="535"/>
                    </a:lnTo>
                    <a:lnTo>
                      <a:pt x="121" y="530"/>
                    </a:lnTo>
                    <a:lnTo>
                      <a:pt x="122" y="523"/>
                    </a:lnTo>
                    <a:lnTo>
                      <a:pt x="124" y="518"/>
                    </a:lnTo>
                    <a:lnTo>
                      <a:pt x="128" y="512"/>
                    </a:lnTo>
                    <a:lnTo>
                      <a:pt x="131" y="508"/>
                    </a:lnTo>
                    <a:lnTo>
                      <a:pt x="134" y="503"/>
                    </a:lnTo>
                    <a:lnTo>
                      <a:pt x="137" y="499"/>
                    </a:lnTo>
                    <a:lnTo>
                      <a:pt x="141" y="495"/>
                    </a:lnTo>
                    <a:lnTo>
                      <a:pt x="147" y="491"/>
                    </a:lnTo>
                    <a:lnTo>
                      <a:pt x="151" y="489"/>
                    </a:lnTo>
                    <a:lnTo>
                      <a:pt x="156" y="486"/>
                    </a:lnTo>
                    <a:lnTo>
                      <a:pt x="162" y="484"/>
                    </a:lnTo>
                    <a:lnTo>
                      <a:pt x="168" y="482"/>
                    </a:lnTo>
                    <a:lnTo>
                      <a:pt x="174" y="481"/>
                    </a:lnTo>
                    <a:lnTo>
                      <a:pt x="180" y="481"/>
                    </a:lnTo>
                    <a:lnTo>
                      <a:pt x="186" y="481"/>
                    </a:lnTo>
                    <a:lnTo>
                      <a:pt x="192" y="482"/>
                    </a:lnTo>
                    <a:lnTo>
                      <a:pt x="198" y="484"/>
                    </a:lnTo>
                    <a:lnTo>
                      <a:pt x="204" y="486"/>
                    </a:lnTo>
                    <a:lnTo>
                      <a:pt x="209" y="489"/>
                    </a:lnTo>
                    <a:lnTo>
                      <a:pt x="213" y="491"/>
                    </a:lnTo>
                    <a:lnTo>
                      <a:pt x="219" y="495"/>
                    </a:lnTo>
                    <a:lnTo>
                      <a:pt x="223" y="499"/>
                    </a:lnTo>
                    <a:lnTo>
                      <a:pt x="226" y="503"/>
                    </a:lnTo>
                    <a:lnTo>
                      <a:pt x="230" y="508"/>
                    </a:lnTo>
                    <a:lnTo>
                      <a:pt x="232" y="512"/>
                    </a:lnTo>
                    <a:lnTo>
                      <a:pt x="236" y="518"/>
                    </a:lnTo>
                    <a:lnTo>
                      <a:pt x="238" y="523"/>
                    </a:lnTo>
                    <a:lnTo>
                      <a:pt x="239" y="530"/>
                    </a:lnTo>
                    <a:lnTo>
                      <a:pt x="240" y="535"/>
                    </a:lnTo>
                    <a:lnTo>
                      <a:pt x="240" y="541"/>
                    </a:lnTo>
                    <a:lnTo>
                      <a:pt x="240" y="548"/>
                    </a:lnTo>
                    <a:lnTo>
                      <a:pt x="239" y="553"/>
                    </a:lnTo>
                    <a:lnTo>
                      <a:pt x="238" y="560"/>
                    </a:lnTo>
                    <a:lnTo>
                      <a:pt x="236" y="565"/>
                    </a:lnTo>
                    <a:lnTo>
                      <a:pt x="232" y="570"/>
                    </a:lnTo>
                    <a:lnTo>
                      <a:pt x="230" y="575"/>
                    </a:lnTo>
                    <a:lnTo>
                      <a:pt x="226" y="580"/>
                    </a:lnTo>
                    <a:lnTo>
                      <a:pt x="223" y="584"/>
                    </a:lnTo>
                    <a:lnTo>
                      <a:pt x="219" y="587"/>
                    </a:lnTo>
                    <a:lnTo>
                      <a:pt x="213" y="591"/>
                    </a:lnTo>
                    <a:lnTo>
                      <a:pt x="209" y="594"/>
                    </a:lnTo>
                    <a:lnTo>
                      <a:pt x="204" y="597"/>
                    </a:lnTo>
                    <a:lnTo>
                      <a:pt x="198" y="599"/>
                    </a:lnTo>
                    <a:lnTo>
                      <a:pt x="192" y="600"/>
                    </a:lnTo>
                    <a:lnTo>
                      <a:pt x="186" y="601"/>
                    </a:lnTo>
                    <a:lnTo>
                      <a:pt x="180" y="601"/>
                    </a:lnTo>
                    <a:close/>
                    <a:moveTo>
                      <a:pt x="30" y="541"/>
                    </a:moveTo>
                    <a:lnTo>
                      <a:pt x="30" y="481"/>
                    </a:lnTo>
                    <a:lnTo>
                      <a:pt x="113" y="481"/>
                    </a:lnTo>
                    <a:lnTo>
                      <a:pt x="108" y="488"/>
                    </a:lnTo>
                    <a:lnTo>
                      <a:pt x="103" y="494"/>
                    </a:lnTo>
                    <a:lnTo>
                      <a:pt x="100" y="501"/>
                    </a:lnTo>
                    <a:lnTo>
                      <a:pt x="96" y="508"/>
                    </a:lnTo>
                    <a:lnTo>
                      <a:pt x="93" y="517"/>
                    </a:lnTo>
                    <a:lnTo>
                      <a:pt x="91" y="524"/>
                    </a:lnTo>
                    <a:lnTo>
                      <a:pt x="90" y="533"/>
                    </a:lnTo>
                    <a:lnTo>
                      <a:pt x="90" y="541"/>
                    </a:lnTo>
                    <a:lnTo>
                      <a:pt x="30" y="541"/>
                    </a:lnTo>
                    <a:close/>
                    <a:moveTo>
                      <a:pt x="115" y="267"/>
                    </a:moveTo>
                    <a:lnTo>
                      <a:pt x="117" y="265"/>
                    </a:lnTo>
                    <a:lnTo>
                      <a:pt x="118" y="264"/>
                    </a:lnTo>
                    <a:lnTo>
                      <a:pt x="204" y="120"/>
                    </a:lnTo>
                    <a:lnTo>
                      <a:pt x="361" y="120"/>
                    </a:lnTo>
                    <a:lnTo>
                      <a:pt x="361" y="451"/>
                    </a:lnTo>
                    <a:lnTo>
                      <a:pt x="30" y="451"/>
                    </a:lnTo>
                    <a:lnTo>
                      <a:pt x="30" y="338"/>
                    </a:lnTo>
                    <a:lnTo>
                      <a:pt x="115" y="267"/>
                    </a:lnTo>
                    <a:close/>
                    <a:moveTo>
                      <a:pt x="391" y="30"/>
                    </a:moveTo>
                    <a:lnTo>
                      <a:pt x="872" y="30"/>
                    </a:lnTo>
                    <a:lnTo>
                      <a:pt x="872" y="451"/>
                    </a:lnTo>
                    <a:lnTo>
                      <a:pt x="391" y="451"/>
                    </a:lnTo>
                    <a:lnTo>
                      <a:pt x="391" y="105"/>
                    </a:lnTo>
                    <a:lnTo>
                      <a:pt x="391" y="90"/>
                    </a:lnTo>
                    <a:lnTo>
                      <a:pt x="391" y="30"/>
                    </a:lnTo>
                    <a:close/>
                    <a:moveTo>
                      <a:pt x="887" y="0"/>
                    </a:moveTo>
                    <a:lnTo>
                      <a:pt x="376" y="0"/>
                    </a:lnTo>
                    <a:lnTo>
                      <a:pt x="373" y="0"/>
                    </a:lnTo>
                    <a:lnTo>
                      <a:pt x="370" y="1"/>
                    </a:lnTo>
                    <a:lnTo>
                      <a:pt x="367" y="3"/>
                    </a:lnTo>
                    <a:lnTo>
                      <a:pt x="365" y="5"/>
                    </a:lnTo>
                    <a:lnTo>
                      <a:pt x="363" y="7"/>
                    </a:lnTo>
                    <a:lnTo>
                      <a:pt x="362" y="9"/>
                    </a:lnTo>
                    <a:lnTo>
                      <a:pt x="361" y="12"/>
                    </a:lnTo>
                    <a:lnTo>
                      <a:pt x="360" y="15"/>
                    </a:lnTo>
                    <a:lnTo>
                      <a:pt x="361" y="90"/>
                    </a:lnTo>
                    <a:lnTo>
                      <a:pt x="195" y="90"/>
                    </a:lnTo>
                    <a:lnTo>
                      <a:pt x="192" y="90"/>
                    </a:lnTo>
                    <a:lnTo>
                      <a:pt x="187" y="93"/>
                    </a:lnTo>
                    <a:lnTo>
                      <a:pt x="184" y="95"/>
                    </a:lnTo>
                    <a:lnTo>
                      <a:pt x="182" y="98"/>
                    </a:lnTo>
                    <a:lnTo>
                      <a:pt x="93" y="246"/>
                    </a:lnTo>
                    <a:lnTo>
                      <a:pt x="5" y="320"/>
                    </a:lnTo>
                    <a:lnTo>
                      <a:pt x="3" y="322"/>
                    </a:lnTo>
                    <a:lnTo>
                      <a:pt x="1" y="324"/>
                    </a:lnTo>
                    <a:lnTo>
                      <a:pt x="0" y="327"/>
                    </a:lnTo>
                    <a:lnTo>
                      <a:pt x="0" y="330"/>
                    </a:lnTo>
                    <a:lnTo>
                      <a:pt x="0" y="556"/>
                    </a:lnTo>
                    <a:lnTo>
                      <a:pt x="0" y="560"/>
                    </a:lnTo>
                    <a:lnTo>
                      <a:pt x="1" y="562"/>
                    </a:lnTo>
                    <a:lnTo>
                      <a:pt x="2" y="565"/>
                    </a:lnTo>
                    <a:lnTo>
                      <a:pt x="4" y="567"/>
                    </a:lnTo>
                    <a:lnTo>
                      <a:pt x="6" y="569"/>
                    </a:lnTo>
                    <a:lnTo>
                      <a:pt x="9" y="570"/>
                    </a:lnTo>
                    <a:lnTo>
                      <a:pt x="12" y="571"/>
                    </a:lnTo>
                    <a:lnTo>
                      <a:pt x="15" y="571"/>
                    </a:lnTo>
                    <a:lnTo>
                      <a:pt x="95" y="571"/>
                    </a:lnTo>
                    <a:lnTo>
                      <a:pt x="101" y="584"/>
                    </a:lnTo>
                    <a:lnTo>
                      <a:pt x="108" y="596"/>
                    </a:lnTo>
                    <a:lnTo>
                      <a:pt x="117" y="606"/>
                    </a:lnTo>
                    <a:lnTo>
                      <a:pt x="128" y="614"/>
                    </a:lnTo>
                    <a:lnTo>
                      <a:pt x="139" y="622"/>
                    </a:lnTo>
                    <a:lnTo>
                      <a:pt x="152" y="627"/>
                    </a:lnTo>
                    <a:lnTo>
                      <a:pt x="159" y="629"/>
                    </a:lnTo>
                    <a:lnTo>
                      <a:pt x="166" y="630"/>
                    </a:lnTo>
                    <a:lnTo>
                      <a:pt x="172" y="631"/>
                    </a:lnTo>
                    <a:lnTo>
                      <a:pt x="180" y="631"/>
                    </a:lnTo>
                    <a:lnTo>
                      <a:pt x="187" y="631"/>
                    </a:lnTo>
                    <a:lnTo>
                      <a:pt x="195" y="630"/>
                    </a:lnTo>
                    <a:lnTo>
                      <a:pt x="201" y="629"/>
                    </a:lnTo>
                    <a:lnTo>
                      <a:pt x="208" y="627"/>
                    </a:lnTo>
                    <a:lnTo>
                      <a:pt x="221" y="622"/>
                    </a:lnTo>
                    <a:lnTo>
                      <a:pt x="232" y="614"/>
                    </a:lnTo>
                    <a:lnTo>
                      <a:pt x="243" y="606"/>
                    </a:lnTo>
                    <a:lnTo>
                      <a:pt x="252" y="596"/>
                    </a:lnTo>
                    <a:lnTo>
                      <a:pt x="259" y="584"/>
                    </a:lnTo>
                    <a:lnTo>
                      <a:pt x="265" y="571"/>
                    </a:lnTo>
                    <a:lnTo>
                      <a:pt x="636" y="571"/>
                    </a:lnTo>
                    <a:lnTo>
                      <a:pt x="642" y="584"/>
                    </a:lnTo>
                    <a:lnTo>
                      <a:pt x="649" y="596"/>
                    </a:lnTo>
                    <a:lnTo>
                      <a:pt x="659" y="606"/>
                    </a:lnTo>
                    <a:lnTo>
                      <a:pt x="668" y="614"/>
                    </a:lnTo>
                    <a:lnTo>
                      <a:pt x="680" y="622"/>
                    </a:lnTo>
                    <a:lnTo>
                      <a:pt x="693" y="627"/>
                    </a:lnTo>
                    <a:lnTo>
                      <a:pt x="700" y="629"/>
                    </a:lnTo>
                    <a:lnTo>
                      <a:pt x="707" y="630"/>
                    </a:lnTo>
                    <a:lnTo>
                      <a:pt x="715" y="631"/>
                    </a:lnTo>
                    <a:lnTo>
                      <a:pt x="721" y="631"/>
                    </a:lnTo>
                    <a:lnTo>
                      <a:pt x="728" y="631"/>
                    </a:lnTo>
                    <a:lnTo>
                      <a:pt x="736" y="630"/>
                    </a:lnTo>
                    <a:lnTo>
                      <a:pt x="742" y="629"/>
                    </a:lnTo>
                    <a:lnTo>
                      <a:pt x="750" y="627"/>
                    </a:lnTo>
                    <a:lnTo>
                      <a:pt x="762" y="622"/>
                    </a:lnTo>
                    <a:lnTo>
                      <a:pt x="773" y="614"/>
                    </a:lnTo>
                    <a:lnTo>
                      <a:pt x="784" y="606"/>
                    </a:lnTo>
                    <a:lnTo>
                      <a:pt x="793" y="596"/>
                    </a:lnTo>
                    <a:lnTo>
                      <a:pt x="800" y="584"/>
                    </a:lnTo>
                    <a:lnTo>
                      <a:pt x="807" y="571"/>
                    </a:lnTo>
                    <a:lnTo>
                      <a:pt x="887" y="571"/>
                    </a:lnTo>
                    <a:lnTo>
                      <a:pt x="890" y="571"/>
                    </a:lnTo>
                    <a:lnTo>
                      <a:pt x="892" y="570"/>
                    </a:lnTo>
                    <a:lnTo>
                      <a:pt x="896" y="569"/>
                    </a:lnTo>
                    <a:lnTo>
                      <a:pt x="898" y="567"/>
                    </a:lnTo>
                    <a:lnTo>
                      <a:pt x="899" y="565"/>
                    </a:lnTo>
                    <a:lnTo>
                      <a:pt x="901" y="562"/>
                    </a:lnTo>
                    <a:lnTo>
                      <a:pt x="901" y="560"/>
                    </a:lnTo>
                    <a:lnTo>
                      <a:pt x="902" y="556"/>
                    </a:lnTo>
                    <a:lnTo>
                      <a:pt x="902" y="15"/>
                    </a:lnTo>
                    <a:lnTo>
                      <a:pt x="901" y="12"/>
                    </a:lnTo>
                    <a:lnTo>
                      <a:pt x="901" y="9"/>
                    </a:lnTo>
                    <a:lnTo>
                      <a:pt x="899" y="7"/>
                    </a:lnTo>
                    <a:lnTo>
                      <a:pt x="898" y="5"/>
                    </a:lnTo>
                    <a:lnTo>
                      <a:pt x="896" y="3"/>
                    </a:lnTo>
                    <a:lnTo>
                      <a:pt x="892" y="1"/>
                    </a:lnTo>
                    <a:lnTo>
                      <a:pt x="890" y="0"/>
                    </a:lnTo>
                    <a:lnTo>
                      <a:pt x="887" y="0"/>
                    </a:lnTo>
                    <a:lnTo>
                      <a:pt x="88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4" name="Freeform 107"/>
              <p:cNvSpPr>
                <a:spLocks/>
              </p:cNvSpPr>
              <p:nvPr/>
            </p:nvSpPr>
            <p:spPr bwMode="auto">
              <a:xfrm>
                <a:off x="8216900" y="2632075"/>
                <a:ext cx="38100" cy="47625"/>
              </a:xfrm>
              <a:custGeom>
                <a:avLst/>
                <a:gdLst>
                  <a:gd name="T0" fmla="*/ 9 w 120"/>
                  <a:gd name="T1" fmla="*/ 149 h 150"/>
                  <a:gd name="T2" fmla="*/ 12 w 120"/>
                  <a:gd name="T3" fmla="*/ 150 h 150"/>
                  <a:gd name="T4" fmla="*/ 15 w 120"/>
                  <a:gd name="T5" fmla="*/ 150 h 150"/>
                  <a:gd name="T6" fmla="*/ 19 w 120"/>
                  <a:gd name="T7" fmla="*/ 150 h 150"/>
                  <a:gd name="T8" fmla="*/ 22 w 120"/>
                  <a:gd name="T9" fmla="*/ 148 h 150"/>
                  <a:gd name="T10" fmla="*/ 26 w 120"/>
                  <a:gd name="T11" fmla="*/ 146 h 150"/>
                  <a:gd name="T12" fmla="*/ 29 w 120"/>
                  <a:gd name="T13" fmla="*/ 143 h 150"/>
                  <a:gd name="T14" fmla="*/ 85 w 120"/>
                  <a:gd name="T15" fmla="*/ 30 h 150"/>
                  <a:gd name="T16" fmla="*/ 105 w 120"/>
                  <a:gd name="T17" fmla="*/ 30 h 150"/>
                  <a:gd name="T18" fmla="*/ 108 w 120"/>
                  <a:gd name="T19" fmla="*/ 30 h 150"/>
                  <a:gd name="T20" fmla="*/ 111 w 120"/>
                  <a:gd name="T21" fmla="*/ 29 h 150"/>
                  <a:gd name="T22" fmla="*/ 114 w 120"/>
                  <a:gd name="T23" fmla="*/ 28 h 150"/>
                  <a:gd name="T24" fmla="*/ 116 w 120"/>
                  <a:gd name="T25" fmla="*/ 26 h 150"/>
                  <a:gd name="T26" fmla="*/ 118 w 120"/>
                  <a:gd name="T27" fmla="*/ 24 h 150"/>
                  <a:gd name="T28" fmla="*/ 119 w 120"/>
                  <a:gd name="T29" fmla="*/ 22 h 150"/>
                  <a:gd name="T30" fmla="*/ 120 w 120"/>
                  <a:gd name="T31" fmla="*/ 19 h 150"/>
                  <a:gd name="T32" fmla="*/ 120 w 120"/>
                  <a:gd name="T33" fmla="*/ 15 h 150"/>
                  <a:gd name="T34" fmla="*/ 120 w 120"/>
                  <a:gd name="T35" fmla="*/ 12 h 150"/>
                  <a:gd name="T36" fmla="*/ 119 w 120"/>
                  <a:gd name="T37" fmla="*/ 10 h 150"/>
                  <a:gd name="T38" fmla="*/ 118 w 120"/>
                  <a:gd name="T39" fmla="*/ 7 h 150"/>
                  <a:gd name="T40" fmla="*/ 116 w 120"/>
                  <a:gd name="T41" fmla="*/ 5 h 150"/>
                  <a:gd name="T42" fmla="*/ 114 w 120"/>
                  <a:gd name="T43" fmla="*/ 3 h 150"/>
                  <a:gd name="T44" fmla="*/ 111 w 120"/>
                  <a:gd name="T45" fmla="*/ 1 h 150"/>
                  <a:gd name="T46" fmla="*/ 108 w 120"/>
                  <a:gd name="T47" fmla="*/ 0 h 150"/>
                  <a:gd name="T48" fmla="*/ 105 w 120"/>
                  <a:gd name="T49" fmla="*/ 0 h 150"/>
                  <a:gd name="T50" fmla="*/ 75 w 120"/>
                  <a:gd name="T51" fmla="*/ 0 h 150"/>
                  <a:gd name="T52" fmla="*/ 71 w 120"/>
                  <a:gd name="T53" fmla="*/ 1 h 150"/>
                  <a:gd name="T54" fmla="*/ 67 w 120"/>
                  <a:gd name="T55" fmla="*/ 3 h 150"/>
                  <a:gd name="T56" fmla="*/ 64 w 120"/>
                  <a:gd name="T57" fmla="*/ 6 h 150"/>
                  <a:gd name="T58" fmla="*/ 62 w 120"/>
                  <a:gd name="T59" fmla="*/ 9 h 150"/>
                  <a:gd name="T60" fmla="*/ 1 w 120"/>
                  <a:gd name="T61" fmla="*/ 129 h 150"/>
                  <a:gd name="T62" fmla="*/ 0 w 120"/>
                  <a:gd name="T63" fmla="*/ 132 h 150"/>
                  <a:gd name="T64" fmla="*/ 0 w 120"/>
                  <a:gd name="T65" fmla="*/ 134 h 150"/>
                  <a:gd name="T66" fmla="*/ 0 w 120"/>
                  <a:gd name="T67" fmla="*/ 137 h 150"/>
                  <a:gd name="T68" fmla="*/ 1 w 120"/>
                  <a:gd name="T69" fmla="*/ 141 h 150"/>
                  <a:gd name="T70" fmla="*/ 2 w 120"/>
                  <a:gd name="T71" fmla="*/ 143 h 150"/>
                  <a:gd name="T72" fmla="*/ 3 w 120"/>
                  <a:gd name="T73" fmla="*/ 145 h 150"/>
                  <a:gd name="T74" fmla="*/ 5 w 120"/>
                  <a:gd name="T75" fmla="*/ 147 h 150"/>
                  <a:gd name="T76" fmla="*/ 9 w 120"/>
                  <a:gd name="T77" fmla="*/ 149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20" h="150">
                    <a:moveTo>
                      <a:pt x="9" y="149"/>
                    </a:moveTo>
                    <a:lnTo>
                      <a:pt x="12" y="150"/>
                    </a:lnTo>
                    <a:lnTo>
                      <a:pt x="15" y="150"/>
                    </a:lnTo>
                    <a:lnTo>
                      <a:pt x="19" y="150"/>
                    </a:lnTo>
                    <a:lnTo>
                      <a:pt x="22" y="148"/>
                    </a:lnTo>
                    <a:lnTo>
                      <a:pt x="26" y="146"/>
                    </a:lnTo>
                    <a:lnTo>
                      <a:pt x="29" y="143"/>
                    </a:lnTo>
                    <a:lnTo>
                      <a:pt x="85" y="30"/>
                    </a:lnTo>
                    <a:lnTo>
                      <a:pt x="105" y="30"/>
                    </a:lnTo>
                    <a:lnTo>
                      <a:pt x="108" y="30"/>
                    </a:lnTo>
                    <a:lnTo>
                      <a:pt x="111" y="29"/>
                    </a:lnTo>
                    <a:lnTo>
                      <a:pt x="114" y="28"/>
                    </a:lnTo>
                    <a:lnTo>
                      <a:pt x="116" y="26"/>
                    </a:lnTo>
                    <a:lnTo>
                      <a:pt x="118" y="24"/>
                    </a:lnTo>
                    <a:lnTo>
                      <a:pt x="119" y="22"/>
                    </a:lnTo>
                    <a:lnTo>
                      <a:pt x="120" y="19"/>
                    </a:lnTo>
                    <a:lnTo>
                      <a:pt x="120" y="15"/>
                    </a:lnTo>
                    <a:lnTo>
                      <a:pt x="120" y="12"/>
                    </a:lnTo>
                    <a:lnTo>
                      <a:pt x="119" y="10"/>
                    </a:lnTo>
                    <a:lnTo>
                      <a:pt x="118" y="7"/>
                    </a:lnTo>
                    <a:lnTo>
                      <a:pt x="116" y="5"/>
                    </a:lnTo>
                    <a:lnTo>
                      <a:pt x="114" y="3"/>
                    </a:lnTo>
                    <a:lnTo>
                      <a:pt x="111" y="1"/>
                    </a:lnTo>
                    <a:lnTo>
                      <a:pt x="108" y="0"/>
                    </a:lnTo>
                    <a:lnTo>
                      <a:pt x="105" y="0"/>
                    </a:lnTo>
                    <a:lnTo>
                      <a:pt x="75" y="0"/>
                    </a:lnTo>
                    <a:lnTo>
                      <a:pt x="71" y="1"/>
                    </a:lnTo>
                    <a:lnTo>
                      <a:pt x="67" y="3"/>
                    </a:lnTo>
                    <a:lnTo>
                      <a:pt x="64" y="6"/>
                    </a:lnTo>
                    <a:lnTo>
                      <a:pt x="62" y="9"/>
                    </a:lnTo>
                    <a:lnTo>
                      <a:pt x="1" y="129"/>
                    </a:lnTo>
                    <a:lnTo>
                      <a:pt x="0" y="132"/>
                    </a:lnTo>
                    <a:lnTo>
                      <a:pt x="0" y="134"/>
                    </a:lnTo>
                    <a:lnTo>
                      <a:pt x="0" y="137"/>
                    </a:lnTo>
                    <a:lnTo>
                      <a:pt x="1" y="141"/>
                    </a:lnTo>
                    <a:lnTo>
                      <a:pt x="2" y="143"/>
                    </a:lnTo>
                    <a:lnTo>
                      <a:pt x="3" y="145"/>
                    </a:lnTo>
                    <a:lnTo>
                      <a:pt x="5" y="147"/>
                    </a:lnTo>
                    <a:lnTo>
                      <a:pt x="9" y="14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2810040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Rectangle 102"/>
          <p:cNvSpPr/>
          <p:nvPr/>
        </p:nvSpPr>
        <p:spPr>
          <a:xfrm>
            <a:off x="12344400" y="0"/>
            <a:ext cx="469900" cy="469900"/>
          </a:xfrm>
          <a:prstGeom prst="rect">
            <a:avLst/>
          </a:pr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4" name="Rectangle 103"/>
          <p:cNvSpPr/>
          <p:nvPr/>
        </p:nvSpPr>
        <p:spPr>
          <a:xfrm>
            <a:off x="12344400" y="649557"/>
            <a:ext cx="469900" cy="469900"/>
          </a:xfrm>
          <a:prstGeom prst="rect">
            <a:avLst/>
          </a:prstGeom>
          <a:solidFill>
            <a:srgbClr val="AFAB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5" name="Rectangle 104"/>
          <p:cNvSpPr/>
          <p:nvPr/>
        </p:nvSpPr>
        <p:spPr>
          <a:xfrm>
            <a:off x="12344400" y="1299114"/>
            <a:ext cx="469900" cy="469900"/>
          </a:xfrm>
          <a:prstGeom prst="rect">
            <a:avLst/>
          </a:prstGeom>
          <a:solidFill>
            <a:srgbClr val="7671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7" name="Rectangle 106"/>
          <p:cNvSpPr/>
          <p:nvPr/>
        </p:nvSpPr>
        <p:spPr>
          <a:xfrm>
            <a:off x="12966699" y="0"/>
            <a:ext cx="469900" cy="469900"/>
          </a:xfrm>
          <a:prstGeom prst="rect">
            <a:avLst/>
          </a:prstGeom>
          <a:solidFill>
            <a:srgbClr val="E878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8" name="Rectangle 107"/>
          <p:cNvSpPr/>
          <p:nvPr/>
        </p:nvSpPr>
        <p:spPr>
          <a:xfrm>
            <a:off x="12966699" y="649557"/>
            <a:ext cx="469900" cy="469900"/>
          </a:xfrm>
          <a:prstGeom prst="rect">
            <a:avLst/>
          </a:prstGeom>
          <a:solidFill>
            <a:srgbClr val="E258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9" name="Rectangle 108"/>
          <p:cNvSpPr/>
          <p:nvPr/>
        </p:nvSpPr>
        <p:spPr>
          <a:xfrm>
            <a:off x="12966699" y="1299114"/>
            <a:ext cx="469900" cy="469900"/>
          </a:xfrm>
          <a:prstGeom prst="rect">
            <a:avLst/>
          </a:prstGeom>
          <a:solidFill>
            <a:srgbClr val="D63E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0" name="Rectangle 109"/>
          <p:cNvSpPr/>
          <p:nvPr/>
        </p:nvSpPr>
        <p:spPr>
          <a:xfrm>
            <a:off x="13588998" y="0"/>
            <a:ext cx="469900" cy="469900"/>
          </a:xfrm>
          <a:prstGeom prst="rect">
            <a:avLst/>
          </a:prstGeom>
          <a:solidFill>
            <a:srgbClr val="8EDC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1" name="Rectangle 110"/>
          <p:cNvSpPr/>
          <p:nvPr/>
        </p:nvSpPr>
        <p:spPr>
          <a:xfrm>
            <a:off x="13588998" y="649557"/>
            <a:ext cx="469900" cy="469900"/>
          </a:xfrm>
          <a:prstGeom prst="rect">
            <a:avLst/>
          </a:prstGeom>
          <a:solidFill>
            <a:srgbClr val="78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2" name="Rectangle 111"/>
          <p:cNvSpPr/>
          <p:nvPr/>
        </p:nvSpPr>
        <p:spPr>
          <a:xfrm>
            <a:off x="13588998" y="1299114"/>
            <a:ext cx="469900" cy="469900"/>
          </a:xfrm>
          <a:prstGeom prst="rect">
            <a:avLst/>
          </a:prstGeom>
          <a:solidFill>
            <a:srgbClr val="4CC7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3" name="Rectangle 112"/>
          <p:cNvSpPr/>
          <p:nvPr/>
        </p:nvSpPr>
        <p:spPr>
          <a:xfrm>
            <a:off x="14211297" y="0"/>
            <a:ext cx="469900" cy="469900"/>
          </a:xfrm>
          <a:prstGeom prst="rect">
            <a:avLst/>
          </a:prstGeom>
          <a:solidFill>
            <a:srgbClr val="5553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4" name="Rectangle 113"/>
          <p:cNvSpPr/>
          <p:nvPr/>
        </p:nvSpPr>
        <p:spPr>
          <a:xfrm>
            <a:off x="14211297" y="649557"/>
            <a:ext cx="469900" cy="469900"/>
          </a:xfrm>
          <a:prstGeom prst="rect">
            <a:avLst/>
          </a:prstGeom>
          <a:solidFill>
            <a:srgbClr val="3B39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5" name="Rectangle 114"/>
          <p:cNvSpPr/>
          <p:nvPr/>
        </p:nvSpPr>
        <p:spPr>
          <a:xfrm>
            <a:off x="14211297" y="1299114"/>
            <a:ext cx="469900" cy="469900"/>
          </a:xfrm>
          <a:prstGeom prst="rect">
            <a:avLst/>
          </a:prstGeom>
          <a:solidFill>
            <a:srgbClr val="2523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0" name="Text Placeholder 119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3200" dirty="0"/>
              <a:t>PowerPoint Presentation</a:t>
            </a:r>
          </a:p>
        </p:txBody>
      </p:sp>
      <p:sp>
        <p:nvSpPr>
          <p:cNvPr id="116" name="Date Placeholder 11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E1B330-CB56-448E-9C70-830A2B9C05C8}" type="datetime1">
              <a:rPr lang="en-US" smtClean="0"/>
              <a:t>11/15/2018</a:t>
            </a:fld>
            <a:endParaRPr lang="en-US"/>
          </a:p>
        </p:txBody>
      </p:sp>
      <p:sp>
        <p:nvSpPr>
          <p:cNvPr id="117" name="Slide Number Placeholder 1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06E70-9524-410D-AE9B-78D656EAA14D}" type="slidenum">
              <a:rPr lang="en-US" smtClean="0"/>
              <a:pPr/>
              <a:t>29</a:t>
            </a:fld>
            <a:endParaRPr lang="en-US"/>
          </a:p>
        </p:txBody>
      </p:sp>
      <p:sp>
        <p:nvSpPr>
          <p:cNvPr id="210" name="Title 1"/>
          <p:cNvSpPr txBox="1">
            <a:spLocks/>
          </p:cNvSpPr>
          <p:nvPr/>
        </p:nvSpPr>
        <p:spPr>
          <a:xfrm>
            <a:off x="8965982" y="2411113"/>
            <a:ext cx="799571" cy="615553"/>
          </a:xfrm>
          <a:prstGeom prst="rect">
            <a:avLst/>
          </a:prstGeom>
          <a:effectLst/>
        </p:spPr>
        <p:txBody>
          <a:bodyPr wrap="square" lIns="0" tIns="0" rIns="0" bIns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sz="4000" b="1" dirty="0">
                <a:solidFill>
                  <a:srgbClr val="E2583D"/>
                </a:solidFill>
                <a:latin typeface="+mn-lt"/>
                <a:ea typeface="Segoe UI" panose="020B0502040204020203" pitchFamily="34" charset="0"/>
                <a:cs typeface="Segoe UI" panose="020B0502040204020203" pitchFamily="34" charset="0"/>
              </a:rPr>
              <a:t>02</a:t>
            </a:r>
          </a:p>
        </p:txBody>
      </p:sp>
      <p:sp>
        <p:nvSpPr>
          <p:cNvPr id="211" name="Title 1"/>
          <p:cNvSpPr txBox="1">
            <a:spLocks/>
          </p:cNvSpPr>
          <p:nvPr/>
        </p:nvSpPr>
        <p:spPr>
          <a:xfrm>
            <a:off x="2652531" y="4355505"/>
            <a:ext cx="799571" cy="615553"/>
          </a:xfrm>
          <a:prstGeom prst="rect">
            <a:avLst/>
          </a:prstGeom>
          <a:effectLst/>
        </p:spPr>
        <p:txBody>
          <a:bodyPr wrap="square" lIns="0" tIns="0" rIns="0" bIns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sz="4000" b="1" dirty="0">
                <a:solidFill>
                  <a:srgbClr val="E2583D"/>
                </a:solidFill>
                <a:latin typeface="+mn-lt"/>
                <a:ea typeface="Segoe UI" panose="020B0502040204020203" pitchFamily="34" charset="0"/>
                <a:cs typeface="Segoe UI" panose="020B0502040204020203" pitchFamily="34" charset="0"/>
              </a:rPr>
              <a:t>03</a:t>
            </a:r>
          </a:p>
        </p:txBody>
      </p:sp>
      <p:sp>
        <p:nvSpPr>
          <p:cNvPr id="212" name="Title 1"/>
          <p:cNvSpPr txBox="1">
            <a:spLocks/>
          </p:cNvSpPr>
          <p:nvPr/>
        </p:nvSpPr>
        <p:spPr>
          <a:xfrm>
            <a:off x="8739896" y="4355505"/>
            <a:ext cx="799571" cy="615553"/>
          </a:xfrm>
          <a:prstGeom prst="rect">
            <a:avLst/>
          </a:prstGeom>
          <a:effectLst/>
        </p:spPr>
        <p:txBody>
          <a:bodyPr wrap="square" lIns="0" tIns="0" rIns="0" bIns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sz="4000" b="1" dirty="0">
                <a:solidFill>
                  <a:srgbClr val="4CC7C4"/>
                </a:solidFill>
                <a:latin typeface="+mn-lt"/>
                <a:ea typeface="Segoe UI" panose="020B0502040204020203" pitchFamily="34" charset="0"/>
                <a:cs typeface="Segoe UI" panose="020B0502040204020203" pitchFamily="34" charset="0"/>
              </a:rPr>
              <a:t>04</a:t>
            </a:r>
          </a:p>
        </p:txBody>
      </p:sp>
      <p:sp>
        <p:nvSpPr>
          <p:cNvPr id="213" name="Title 1"/>
          <p:cNvSpPr txBox="1">
            <a:spLocks/>
          </p:cNvSpPr>
          <p:nvPr/>
        </p:nvSpPr>
        <p:spPr>
          <a:xfrm>
            <a:off x="2426445" y="2411113"/>
            <a:ext cx="799571" cy="615553"/>
          </a:xfrm>
          <a:prstGeom prst="rect">
            <a:avLst/>
          </a:prstGeom>
          <a:effectLst/>
        </p:spPr>
        <p:txBody>
          <a:bodyPr wrap="square" lIns="0" tIns="0" rIns="0" bIns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sz="4000" b="1" dirty="0">
                <a:solidFill>
                  <a:srgbClr val="4CC7C4"/>
                </a:solidFill>
                <a:latin typeface="+mn-lt"/>
                <a:ea typeface="Segoe UI" panose="020B0502040204020203" pitchFamily="34" charset="0"/>
                <a:cs typeface="Segoe UI" panose="020B0502040204020203" pitchFamily="34" charset="0"/>
              </a:rPr>
              <a:t>01</a:t>
            </a:r>
          </a:p>
        </p:txBody>
      </p:sp>
      <p:sp>
        <p:nvSpPr>
          <p:cNvPr id="214" name="Freeform 213"/>
          <p:cNvSpPr>
            <a:spLocks/>
          </p:cNvSpPr>
          <p:nvPr/>
        </p:nvSpPr>
        <p:spPr bwMode="auto">
          <a:xfrm>
            <a:off x="6176718" y="4379500"/>
            <a:ext cx="660999" cy="665632"/>
          </a:xfrm>
          <a:custGeom>
            <a:avLst/>
            <a:gdLst>
              <a:gd name="T0" fmla="*/ 66 w 141"/>
              <a:gd name="T1" fmla="*/ 135 h 142"/>
              <a:gd name="T2" fmla="*/ 54 w 141"/>
              <a:gd name="T3" fmla="*/ 140 h 142"/>
              <a:gd name="T4" fmla="*/ 49 w 141"/>
              <a:gd name="T5" fmla="*/ 132 h 142"/>
              <a:gd name="T6" fmla="*/ 42 w 141"/>
              <a:gd name="T7" fmla="*/ 129 h 142"/>
              <a:gd name="T8" fmla="*/ 29 w 141"/>
              <a:gd name="T9" fmla="*/ 128 h 142"/>
              <a:gd name="T10" fmla="*/ 28 w 141"/>
              <a:gd name="T11" fmla="*/ 119 h 142"/>
              <a:gd name="T12" fmla="*/ 22 w 141"/>
              <a:gd name="T13" fmla="*/ 114 h 142"/>
              <a:gd name="T14" fmla="*/ 10 w 141"/>
              <a:gd name="T15" fmla="*/ 108 h 142"/>
              <a:gd name="T16" fmla="*/ 12 w 141"/>
              <a:gd name="T17" fmla="*/ 99 h 142"/>
              <a:gd name="T18" fmla="*/ 10 w 141"/>
              <a:gd name="T19" fmla="*/ 92 h 142"/>
              <a:gd name="T20" fmla="*/ 1 w 141"/>
              <a:gd name="T21" fmla="*/ 82 h 142"/>
              <a:gd name="T22" fmla="*/ 6 w 141"/>
              <a:gd name="T23" fmla="*/ 75 h 142"/>
              <a:gd name="T24" fmla="*/ 6 w 141"/>
              <a:gd name="T25" fmla="*/ 67 h 142"/>
              <a:gd name="T26" fmla="*/ 1 w 141"/>
              <a:gd name="T27" fmla="*/ 60 h 142"/>
              <a:gd name="T28" fmla="*/ 10 w 141"/>
              <a:gd name="T29" fmla="*/ 50 h 142"/>
              <a:gd name="T30" fmla="*/ 12 w 141"/>
              <a:gd name="T31" fmla="*/ 43 h 142"/>
              <a:gd name="T32" fmla="*/ 10 w 141"/>
              <a:gd name="T33" fmla="*/ 34 h 142"/>
              <a:gd name="T34" fmla="*/ 22 w 141"/>
              <a:gd name="T35" fmla="*/ 29 h 142"/>
              <a:gd name="T36" fmla="*/ 28 w 141"/>
              <a:gd name="T37" fmla="*/ 23 h 142"/>
              <a:gd name="T38" fmla="*/ 29 w 141"/>
              <a:gd name="T39" fmla="*/ 14 h 142"/>
              <a:gd name="T40" fmla="*/ 42 w 141"/>
              <a:gd name="T41" fmla="*/ 13 h 142"/>
              <a:gd name="T42" fmla="*/ 49 w 141"/>
              <a:gd name="T43" fmla="*/ 10 h 142"/>
              <a:gd name="T44" fmla="*/ 54 w 141"/>
              <a:gd name="T45" fmla="*/ 2 h 142"/>
              <a:gd name="T46" fmla="*/ 66 w 141"/>
              <a:gd name="T47" fmla="*/ 7 h 142"/>
              <a:gd name="T48" fmla="*/ 73 w 141"/>
              <a:gd name="T49" fmla="*/ 0 h 142"/>
              <a:gd name="T50" fmla="*/ 79 w 141"/>
              <a:gd name="T51" fmla="*/ 7 h 142"/>
              <a:gd name="T52" fmla="*/ 87 w 141"/>
              <a:gd name="T53" fmla="*/ 9 h 142"/>
              <a:gd name="T54" fmla="*/ 100 w 141"/>
              <a:gd name="T55" fmla="*/ 7 h 142"/>
              <a:gd name="T56" fmla="*/ 103 w 141"/>
              <a:gd name="T57" fmla="*/ 16 h 142"/>
              <a:gd name="T58" fmla="*/ 109 w 141"/>
              <a:gd name="T59" fmla="*/ 20 h 142"/>
              <a:gd name="T60" fmla="*/ 122 w 141"/>
              <a:gd name="T61" fmla="*/ 23 h 142"/>
              <a:gd name="T62" fmla="*/ 122 w 141"/>
              <a:gd name="T63" fmla="*/ 32 h 142"/>
              <a:gd name="T64" fmla="*/ 126 w 141"/>
              <a:gd name="T65" fmla="*/ 39 h 142"/>
              <a:gd name="T66" fmla="*/ 137 w 141"/>
              <a:gd name="T67" fmla="*/ 47 h 142"/>
              <a:gd name="T68" fmla="*/ 133 w 141"/>
              <a:gd name="T69" fmla="*/ 55 h 142"/>
              <a:gd name="T70" fmla="*/ 134 w 141"/>
              <a:gd name="T71" fmla="*/ 62 h 142"/>
              <a:gd name="T72" fmla="*/ 141 w 141"/>
              <a:gd name="T73" fmla="*/ 71 h 142"/>
              <a:gd name="T74" fmla="*/ 134 w 141"/>
              <a:gd name="T75" fmla="*/ 80 h 142"/>
              <a:gd name="T76" fmla="*/ 133 w 141"/>
              <a:gd name="T77" fmla="*/ 87 h 142"/>
              <a:gd name="T78" fmla="*/ 137 w 141"/>
              <a:gd name="T79" fmla="*/ 95 h 142"/>
              <a:gd name="T80" fmla="*/ 126 w 141"/>
              <a:gd name="T81" fmla="*/ 103 h 142"/>
              <a:gd name="T82" fmla="*/ 122 w 141"/>
              <a:gd name="T83" fmla="*/ 110 h 142"/>
              <a:gd name="T84" fmla="*/ 122 w 141"/>
              <a:gd name="T85" fmla="*/ 119 h 142"/>
              <a:gd name="T86" fmla="*/ 109 w 141"/>
              <a:gd name="T87" fmla="*/ 122 h 142"/>
              <a:gd name="T88" fmla="*/ 103 w 141"/>
              <a:gd name="T89" fmla="*/ 126 h 142"/>
              <a:gd name="T90" fmla="*/ 100 w 141"/>
              <a:gd name="T91" fmla="*/ 135 h 142"/>
              <a:gd name="T92" fmla="*/ 87 w 141"/>
              <a:gd name="T93" fmla="*/ 133 h 142"/>
              <a:gd name="T94" fmla="*/ 79 w 141"/>
              <a:gd name="T95" fmla="*/ 135 h 142"/>
              <a:gd name="T96" fmla="*/ 73 w 141"/>
              <a:gd name="T97" fmla="*/ 142 h 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41" h="142">
                <a:moveTo>
                  <a:pt x="70" y="142"/>
                </a:moveTo>
                <a:cubicBezTo>
                  <a:pt x="69" y="142"/>
                  <a:pt x="68" y="142"/>
                  <a:pt x="67" y="142"/>
                </a:cubicBezTo>
                <a:cubicBezTo>
                  <a:pt x="67" y="135"/>
                  <a:pt x="67" y="135"/>
                  <a:pt x="67" y="135"/>
                </a:cubicBezTo>
                <a:cubicBezTo>
                  <a:pt x="66" y="135"/>
                  <a:pt x="66" y="135"/>
                  <a:pt x="66" y="135"/>
                </a:cubicBezTo>
                <a:cubicBezTo>
                  <a:pt x="65" y="135"/>
                  <a:pt x="63" y="135"/>
                  <a:pt x="62" y="135"/>
                </a:cubicBezTo>
                <a:cubicBezTo>
                  <a:pt x="61" y="135"/>
                  <a:pt x="61" y="135"/>
                  <a:pt x="61" y="135"/>
                </a:cubicBezTo>
                <a:cubicBezTo>
                  <a:pt x="60" y="141"/>
                  <a:pt x="60" y="141"/>
                  <a:pt x="60" y="141"/>
                </a:cubicBezTo>
                <a:cubicBezTo>
                  <a:pt x="58" y="141"/>
                  <a:pt x="56" y="140"/>
                  <a:pt x="54" y="140"/>
                </a:cubicBezTo>
                <a:cubicBezTo>
                  <a:pt x="54" y="133"/>
                  <a:pt x="54" y="133"/>
                  <a:pt x="54" y="133"/>
                </a:cubicBezTo>
                <a:cubicBezTo>
                  <a:pt x="54" y="133"/>
                  <a:pt x="54" y="133"/>
                  <a:pt x="54" y="133"/>
                </a:cubicBezTo>
                <a:cubicBezTo>
                  <a:pt x="52" y="133"/>
                  <a:pt x="51" y="132"/>
                  <a:pt x="50" y="132"/>
                </a:cubicBezTo>
                <a:cubicBezTo>
                  <a:pt x="49" y="132"/>
                  <a:pt x="49" y="132"/>
                  <a:pt x="49" y="132"/>
                </a:cubicBezTo>
                <a:cubicBezTo>
                  <a:pt x="46" y="137"/>
                  <a:pt x="46" y="137"/>
                  <a:pt x="46" y="137"/>
                </a:cubicBezTo>
                <a:cubicBezTo>
                  <a:pt x="44" y="137"/>
                  <a:pt x="42" y="136"/>
                  <a:pt x="41" y="135"/>
                </a:cubicBezTo>
                <a:cubicBezTo>
                  <a:pt x="42" y="129"/>
                  <a:pt x="42" y="129"/>
                  <a:pt x="42" y="129"/>
                </a:cubicBezTo>
                <a:cubicBezTo>
                  <a:pt x="42" y="129"/>
                  <a:pt x="42" y="129"/>
                  <a:pt x="42" y="129"/>
                </a:cubicBezTo>
                <a:cubicBezTo>
                  <a:pt x="41" y="128"/>
                  <a:pt x="39" y="127"/>
                  <a:pt x="38" y="127"/>
                </a:cubicBezTo>
                <a:cubicBezTo>
                  <a:pt x="38" y="126"/>
                  <a:pt x="38" y="126"/>
                  <a:pt x="38" y="126"/>
                </a:cubicBezTo>
                <a:cubicBezTo>
                  <a:pt x="34" y="131"/>
                  <a:pt x="34" y="131"/>
                  <a:pt x="34" y="131"/>
                </a:cubicBezTo>
                <a:cubicBezTo>
                  <a:pt x="32" y="130"/>
                  <a:pt x="30" y="129"/>
                  <a:pt x="29" y="128"/>
                </a:cubicBezTo>
                <a:cubicBezTo>
                  <a:pt x="32" y="122"/>
                  <a:pt x="32" y="122"/>
                  <a:pt x="32" y="122"/>
                </a:cubicBezTo>
                <a:cubicBezTo>
                  <a:pt x="31" y="122"/>
                  <a:pt x="31" y="122"/>
                  <a:pt x="31" y="122"/>
                </a:cubicBezTo>
                <a:cubicBezTo>
                  <a:pt x="30" y="121"/>
                  <a:pt x="29" y="120"/>
                  <a:pt x="28" y="119"/>
                </a:cubicBezTo>
                <a:cubicBezTo>
                  <a:pt x="28" y="119"/>
                  <a:pt x="28" y="119"/>
                  <a:pt x="28" y="119"/>
                </a:cubicBezTo>
                <a:cubicBezTo>
                  <a:pt x="23" y="123"/>
                  <a:pt x="23" y="123"/>
                  <a:pt x="23" y="123"/>
                </a:cubicBezTo>
                <a:cubicBezTo>
                  <a:pt x="21" y="122"/>
                  <a:pt x="20" y="120"/>
                  <a:pt x="18" y="119"/>
                </a:cubicBezTo>
                <a:cubicBezTo>
                  <a:pt x="22" y="114"/>
                  <a:pt x="22" y="114"/>
                  <a:pt x="22" y="114"/>
                </a:cubicBezTo>
                <a:cubicBezTo>
                  <a:pt x="22" y="114"/>
                  <a:pt x="22" y="114"/>
                  <a:pt x="22" y="114"/>
                </a:cubicBezTo>
                <a:cubicBezTo>
                  <a:pt x="21" y="112"/>
                  <a:pt x="20" y="111"/>
                  <a:pt x="19" y="110"/>
                </a:cubicBezTo>
                <a:cubicBezTo>
                  <a:pt x="19" y="110"/>
                  <a:pt x="19" y="110"/>
                  <a:pt x="19" y="110"/>
                </a:cubicBezTo>
                <a:cubicBezTo>
                  <a:pt x="13" y="113"/>
                  <a:pt x="13" y="113"/>
                  <a:pt x="13" y="113"/>
                </a:cubicBezTo>
                <a:cubicBezTo>
                  <a:pt x="12" y="111"/>
                  <a:pt x="11" y="109"/>
                  <a:pt x="10" y="108"/>
                </a:cubicBezTo>
                <a:cubicBezTo>
                  <a:pt x="15" y="104"/>
                  <a:pt x="15" y="104"/>
                  <a:pt x="15" y="104"/>
                </a:cubicBezTo>
                <a:cubicBezTo>
                  <a:pt x="15" y="103"/>
                  <a:pt x="15" y="103"/>
                  <a:pt x="15" y="103"/>
                </a:cubicBezTo>
                <a:cubicBezTo>
                  <a:pt x="14" y="102"/>
                  <a:pt x="13" y="101"/>
                  <a:pt x="13" y="99"/>
                </a:cubicBezTo>
                <a:cubicBezTo>
                  <a:pt x="12" y="99"/>
                  <a:pt x="12" y="99"/>
                  <a:pt x="12" y="99"/>
                </a:cubicBezTo>
                <a:cubicBezTo>
                  <a:pt x="6" y="101"/>
                  <a:pt x="6" y="101"/>
                  <a:pt x="6" y="101"/>
                </a:cubicBezTo>
                <a:cubicBezTo>
                  <a:pt x="5" y="99"/>
                  <a:pt x="5" y="97"/>
                  <a:pt x="4" y="95"/>
                </a:cubicBezTo>
                <a:cubicBezTo>
                  <a:pt x="10" y="92"/>
                  <a:pt x="10" y="92"/>
                  <a:pt x="10" y="92"/>
                </a:cubicBezTo>
                <a:cubicBezTo>
                  <a:pt x="10" y="92"/>
                  <a:pt x="10" y="92"/>
                  <a:pt x="10" y="92"/>
                </a:cubicBezTo>
                <a:cubicBezTo>
                  <a:pt x="9" y="90"/>
                  <a:pt x="9" y="89"/>
                  <a:pt x="8" y="88"/>
                </a:cubicBezTo>
                <a:cubicBezTo>
                  <a:pt x="8" y="87"/>
                  <a:pt x="8" y="87"/>
                  <a:pt x="8" y="87"/>
                </a:cubicBezTo>
                <a:cubicBezTo>
                  <a:pt x="2" y="88"/>
                  <a:pt x="2" y="88"/>
                  <a:pt x="2" y="88"/>
                </a:cubicBezTo>
                <a:cubicBezTo>
                  <a:pt x="1" y="86"/>
                  <a:pt x="1" y="84"/>
                  <a:pt x="1" y="82"/>
                </a:cubicBezTo>
                <a:cubicBezTo>
                  <a:pt x="7" y="80"/>
                  <a:pt x="7" y="80"/>
                  <a:pt x="7" y="80"/>
                </a:cubicBezTo>
                <a:cubicBezTo>
                  <a:pt x="7" y="80"/>
                  <a:pt x="7" y="80"/>
                  <a:pt x="7" y="80"/>
                </a:cubicBezTo>
                <a:cubicBezTo>
                  <a:pt x="6" y="78"/>
                  <a:pt x="6" y="77"/>
                  <a:pt x="6" y="75"/>
                </a:cubicBezTo>
                <a:cubicBezTo>
                  <a:pt x="6" y="75"/>
                  <a:pt x="6" y="75"/>
                  <a:pt x="6" y="75"/>
                </a:cubicBezTo>
                <a:cubicBezTo>
                  <a:pt x="0" y="74"/>
                  <a:pt x="0" y="74"/>
                  <a:pt x="0" y="74"/>
                </a:cubicBezTo>
                <a:cubicBezTo>
                  <a:pt x="0" y="73"/>
                  <a:pt x="0" y="72"/>
                  <a:pt x="0" y="71"/>
                </a:cubicBezTo>
                <a:cubicBezTo>
                  <a:pt x="0" y="70"/>
                  <a:pt x="0" y="69"/>
                  <a:pt x="0" y="68"/>
                </a:cubicBezTo>
                <a:cubicBezTo>
                  <a:pt x="6" y="67"/>
                  <a:pt x="6" y="67"/>
                  <a:pt x="6" y="67"/>
                </a:cubicBezTo>
                <a:cubicBezTo>
                  <a:pt x="6" y="67"/>
                  <a:pt x="6" y="67"/>
                  <a:pt x="6" y="67"/>
                </a:cubicBezTo>
                <a:cubicBezTo>
                  <a:pt x="6" y="65"/>
                  <a:pt x="6" y="64"/>
                  <a:pt x="7" y="62"/>
                </a:cubicBezTo>
                <a:cubicBezTo>
                  <a:pt x="7" y="62"/>
                  <a:pt x="7" y="62"/>
                  <a:pt x="7" y="62"/>
                </a:cubicBezTo>
                <a:cubicBezTo>
                  <a:pt x="1" y="60"/>
                  <a:pt x="1" y="60"/>
                  <a:pt x="1" y="60"/>
                </a:cubicBezTo>
                <a:cubicBezTo>
                  <a:pt x="1" y="58"/>
                  <a:pt x="1" y="56"/>
                  <a:pt x="2" y="54"/>
                </a:cubicBezTo>
                <a:cubicBezTo>
                  <a:pt x="8" y="55"/>
                  <a:pt x="8" y="55"/>
                  <a:pt x="8" y="55"/>
                </a:cubicBezTo>
                <a:cubicBezTo>
                  <a:pt x="8" y="54"/>
                  <a:pt x="8" y="54"/>
                  <a:pt x="8" y="54"/>
                </a:cubicBezTo>
                <a:cubicBezTo>
                  <a:pt x="9" y="53"/>
                  <a:pt x="9" y="52"/>
                  <a:pt x="10" y="50"/>
                </a:cubicBezTo>
                <a:cubicBezTo>
                  <a:pt x="10" y="50"/>
                  <a:pt x="10" y="50"/>
                  <a:pt x="10" y="50"/>
                </a:cubicBezTo>
                <a:cubicBezTo>
                  <a:pt x="4" y="47"/>
                  <a:pt x="4" y="47"/>
                  <a:pt x="4" y="47"/>
                </a:cubicBezTo>
                <a:cubicBezTo>
                  <a:pt x="5" y="45"/>
                  <a:pt x="5" y="43"/>
                  <a:pt x="6" y="41"/>
                </a:cubicBezTo>
                <a:cubicBezTo>
                  <a:pt x="12" y="43"/>
                  <a:pt x="12" y="43"/>
                  <a:pt x="12" y="43"/>
                </a:cubicBezTo>
                <a:cubicBezTo>
                  <a:pt x="13" y="43"/>
                  <a:pt x="13" y="43"/>
                  <a:pt x="13" y="43"/>
                </a:cubicBezTo>
                <a:cubicBezTo>
                  <a:pt x="13" y="41"/>
                  <a:pt x="14" y="40"/>
                  <a:pt x="15" y="39"/>
                </a:cubicBezTo>
                <a:cubicBezTo>
                  <a:pt x="15" y="38"/>
                  <a:pt x="15" y="38"/>
                  <a:pt x="15" y="38"/>
                </a:cubicBezTo>
                <a:cubicBezTo>
                  <a:pt x="10" y="34"/>
                  <a:pt x="10" y="34"/>
                  <a:pt x="10" y="34"/>
                </a:cubicBezTo>
                <a:cubicBezTo>
                  <a:pt x="11" y="33"/>
                  <a:pt x="12" y="31"/>
                  <a:pt x="13" y="29"/>
                </a:cubicBezTo>
                <a:cubicBezTo>
                  <a:pt x="19" y="32"/>
                  <a:pt x="19" y="32"/>
                  <a:pt x="19" y="32"/>
                </a:cubicBezTo>
                <a:cubicBezTo>
                  <a:pt x="19" y="32"/>
                  <a:pt x="19" y="32"/>
                  <a:pt x="19" y="32"/>
                </a:cubicBezTo>
                <a:cubicBezTo>
                  <a:pt x="20" y="31"/>
                  <a:pt x="21" y="30"/>
                  <a:pt x="22" y="29"/>
                </a:cubicBezTo>
                <a:cubicBezTo>
                  <a:pt x="22" y="28"/>
                  <a:pt x="22" y="28"/>
                  <a:pt x="22" y="28"/>
                </a:cubicBezTo>
                <a:cubicBezTo>
                  <a:pt x="18" y="23"/>
                  <a:pt x="18" y="23"/>
                  <a:pt x="18" y="23"/>
                </a:cubicBezTo>
                <a:cubicBezTo>
                  <a:pt x="20" y="22"/>
                  <a:pt x="21" y="20"/>
                  <a:pt x="23" y="19"/>
                </a:cubicBezTo>
                <a:cubicBezTo>
                  <a:pt x="28" y="23"/>
                  <a:pt x="28" y="23"/>
                  <a:pt x="28" y="23"/>
                </a:cubicBezTo>
                <a:cubicBezTo>
                  <a:pt x="28" y="23"/>
                  <a:pt x="28" y="23"/>
                  <a:pt x="28" y="23"/>
                </a:cubicBezTo>
                <a:cubicBezTo>
                  <a:pt x="29" y="22"/>
                  <a:pt x="30" y="21"/>
                  <a:pt x="31" y="20"/>
                </a:cubicBezTo>
                <a:cubicBezTo>
                  <a:pt x="32" y="20"/>
                  <a:pt x="32" y="20"/>
                  <a:pt x="32" y="20"/>
                </a:cubicBezTo>
                <a:cubicBezTo>
                  <a:pt x="29" y="14"/>
                  <a:pt x="29" y="14"/>
                  <a:pt x="29" y="14"/>
                </a:cubicBezTo>
                <a:cubicBezTo>
                  <a:pt x="30" y="13"/>
                  <a:pt x="32" y="12"/>
                  <a:pt x="34" y="11"/>
                </a:cubicBezTo>
                <a:cubicBezTo>
                  <a:pt x="38" y="16"/>
                  <a:pt x="38" y="16"/>
                  <a:pt x="38" y="16"/>
                </a:cubicBezTo>
                <a:cubicBezTo>
                  <a:pt x="38" y="15"/>
                  <a:pt x="38" y="15"/>
                  <a:pt x="38" y="15"/>
                </a:cubicBezTo>
                <a:cubicBezTo>
                  <a:pt x="39" y="15"/>
                  <a:pt x="41" y="14"/>
                  <a:pt x="42" y="13"/>
                </a:cubicBezTo>
                <a:cubicBezTo>
                  <a:pt x="42" y="13"/>
                  <a:pt x="42" y="13"/>
                  <a:pt x="42" y="13"/>
                </a:cubicBezTo>
                <a:cubicBezTo>
                  <a:pt x="41" y="7"/>
                  <a:pt x="41" y="7"/>
                  <a:pt x="41" y="7"/>
                </a:cubicBezTo>
                <a:cubicBezTo>
                  <a:pt x="42" y="6"/>
                  <a:pt x="44" y="5"/>
                  <a:pt x="46" y="5"/>
                </a:cubicBezTo>
                <a:cubicBezTo>
                  <a:pt x="49" y="10"/>
                  <a:pt x="49" y="10"/>
                  <a:pt x="49" y="10"/>
                </a:cubicBezTo>
                <a:cubicBezTo>
                  <a:pt x="50" y="10"/>
                  <a:pt x="50" y="10"/>
                  <a:pt x="50" y="10"/>
                </a:cubicBezTo>
                <a:cubicBezTo>
                  <a:pt x="51" y="10"/>
                  <a:pt x="52" y="9"/>
                  <a:pt x="54" y="9"/>
                </a:cubicBezTo>
                <a:cubicBezTo>
                  <a:pt x="54" y="9"/>
                  <a:pt x="54" y="9"/>
                  <a:pt x="54" y="9"/>
                </a:cubicBezTo>
                <a:cubicBezTo>
                  <a:pt x="54" y="2"/>
                  <a:pt x="54" y="2"/>
                  <a:pt x="54" y="2"/>
                </a:cubicBezTo>
                <a:cubicBezTo>
                  <a:pt x="56" y="2"/>
                  <a:pt x="58" y="1"/>
                  <a:pt x="60" y="1"/>
                </a:cubicBezTo>
                <a:cubicBezTo>
                  <a:pt x="61" y="7"/>
                  <a:pt x="61" y="7"/>
                  <a:pt x="61" y="7"/>
                </a:cubicBezTo>
                <a:cubicBezTo>
                  <a:pt x="62" y="7"/>
                  <a:pt x="62" y="7"/>
                  <a:pt x="62" y="7"/>
                </a:cubicBezTo>
                <a:cubicBezTo>
                  <a:pt x="63" y="7"/>
                  <a:pt x="65" y="7"/>
                  <a:pt x="66" y="7"/>
                </a:cubicBezTo>
                <a:cubicBezTo>
                  <a:pt x="67" y="7"/>
                  <a:pt x="67" y="7"/>
                  <a:pt x="67" y="7"/>
                </a:cubicBezTo>
                <a:cubicBezTo>
                  <a:pt x="67" y="0"/>
                  <a:pt x="67" y="0"/>
                  <a:pt x="67" y="0"/>
                </a:cubicBezTo>
                <a:cubicBezTo>
                  <a:pt x="68" y="0"/>
                  <a:pt x="69" y="0"/>
                  <a:pt x="70" y="0"/>
                </a:cubicBezTo>
                <a:cubicBezTo>
                  <a:pt x="71" y="0"/>
                  <a:pt x="72" y="0"/>
                  <a:pt x="73" y="0"/>
                </a:cubicBezTo>
                <a:cubicBezTo>
                  <a:pt x="74" y="7"/>
                  <a:pt x="74" y="7"/>
                  <a:pt x="74" y="7"/>
                </a:cubicBezTo>
                <a:cubicBezTo>
                  <a:pt x="74" y="7"/>
                  <a:pt x="74" y="7"/>
                  <a:pt x="74" y="7"/>
                </a:cubicBezTo>
                <a:cubicBezTo>
                  <a:pt x="76" y="7"/>
                  <a:pt x="77" y="7"/>
                  <a:pt x="79" y="7"/>
                </a:cubicBezTo>
                <a:cubicBezTo>
                  <a:pt x="79" y="7"/>
                  <a:pt x="79" y="7"/>
                  <a:pt x="79" y="7"/>
                </a:cubicBezTo>
                <a:cubicBezTo>
                  <a:pt x="81" y="1"/>
                  <a:pt x="81" y="1"/>
                  <a:pt x="81" y="1"/>
                </a:cubicBezTo>
                <a:cubicBezTo>
                  <a:pt x="83" y="1"/>
                  <a:pt x="85" y="2"/>
                  <a:pt x="87" y="2"/>
                </a:cubicBezTo>
                <a:cubicBezTo>
                  <a:pt x="87" y="9"/>
                  <a:pt x="87" y="9"/>
                  <a:pt x="87" y="9"/>
                </a:cubicBezTo>
                <a:cubicBezTo>
                  <a:pt x="87" y="9"/>
                  <a:pt x="87" y="9"/>
                  <a:pt x="87" y="9"/>
                </a:cubicBezTo>
                <a:cubicBezTo>
                  <a:pt x="88" y="9"/>
                  <a:pt x="90" y="10"/>
                  <a:pt x="91" y="10"/>
                </a:cubicBezTo>
                <a:cubicBezTo>
                  <a:pt x="92" y="10"/>
                  <a:pt x="92" y="10"/>
                  <a:pt x="92" y="10"/>
                </a:cubicBezTo>
                <a:cubicBezTo>
                  <a:pt x="95" y="5"/>
                  <a:pt x="95" y="5"/>
                  <a:pt x="95" y="5"/>
                </a:cubicBezTo>
                <a:cubicBezTo>
                  <a:pt x="96" y="5"/>
                  <a:pt x="98" y="6"/>
                  <a:pt x="100" y="7"/>
                </a:cubicBezTo>
                <a:cubicBezTo>
                  <a:pt x="98" y="13"/>
                  <a:pt x="98" y="13"/>
                  <a:pt x="98" y="13"/>
                </a:cubicBezTo>
                <a:cubicBezTo>
                  <a:pt x="99" y="13"/>
                  <a:pt x="99" y="13"/>
                  <a:pt x="99" y="13"/>
                </a:cubicBezTo>
                <a:cubicBezTo>
                  <a:pt x="100" y="14"/>
                  <a:pt x="101" y="15"/>
                  <a:pt x="103" y="15"/>
                </a:cubicBezTo>
                <a:cubicBezTo>
                  <a:pt x="103" y="16"/>
                  <a:pt x="103" y="16"/>
                  <a:pt x="103" y="16"/>
                </a:cubicBezTo>
                <a:cubicBezTo>
                  <a:pt x="107" y="11"/>
                  <a:pt x="107" y="11"/>
                  <a:pt x="107" y="11"/>
                </a:cubicBezTo>
                <a:cubicBezTo>
                  <a:pt x="109" y="12"/>
                  <a:pt x="111" y="13"/>
                  <a:pt x="112" y="14"/>
                </a:cubicBezTo>
                <a:cubicBezTo>
                  <a:pt x="109" y="20"/>
                  <a:pt x="109" y="20"/>
                  <a:pt x="109" y="20"/>
                </a:cubicBezTo>
                <a:cubicBezTo>
                  <a:pt x="109" y="20"/>
                  <a:pt x="109" y="20"/>
                  <a:pt x="109" y="20"/>
                </a:cubicBezTo>
                <a:cubicBezTo>
                  <a:pt x="111" y="21"/>
                  <a:pt x="112" y="22"/>
                  <a:pt x="113" y="23"/>
                </a:cubicBezTo>
                <a:cubicBezTo>
                  <a:pt x="113" y="23"/>
                  <a:pt x="113" y="23"/>
                  <a:pt x="113" y="23"/>
                </a:cubicBezTo>
                <a:cubicBezTo>
                  <a:pt x="118" y="19"/>
                  <a:pt x="118" y="19"/>
                  <a:pt x="118" y="19"/>
                </a:cubicBezTo>
                <a:cubicBezTo>
                  <a:pt x="120" y="20"/>
                  <a:pt x="121" y="22"/>
                  <a:pt x="122" y="23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9" y="29"/>
                  <a:pt x="119" y="29"/>
                  <a:pt x="119" y="29"/>
                </a:cubicBezTo>
                <a:cubicBezTo>
                  <a:pt x="120" y="30"/>
                  <a:pt x="121" y="31"/>
                  <a:pt x="121" y="32"/>
                </a:cubicBezTo>
                <a:cubicBezTo>
                  <a:pt x="122" y="32"/>
                  <a:pt x="122" y="32"/>
                  <a:pt x="122" y="32"/>
                </a:cubicBezTo>
                <a:cubicBezTo>
                  <a:pt x="127" y="29"/>
                  <a:pt x="127" y="29"/>
                  <a:pt x="127" y="29"/>
                </a:cubicBezTo>
                <a:cubicBezTo>
                  <a:pt x="129" y="31"/>
                  <a:pt x="130" y="33"/>
                  <a:pt x="131" y="34"/>
                </a:cubicBezTo>
                <a:cubicBezTo>
                  <a:pt x="126" y="38"/>
                  <a:pt x="126" y="38"/>
                  <a:pt x="126" y="38"/>
                </a:cubicBezTo>
                <a:cubicBezTo>
                  <a:pt x="126" y="39"/>
                  <a:pt x="126" y="39"/>
                  <a:pt x="126" y="39"/>
                </a:cubicBezTo>
                <a:cubicBezTo>
                  <a:pt x="127" y="40"/>
                  <a:pt x="128" y="41"/>
                  <a:pt x="128" y="43"/>
                </a:cubicBezTo>
                <a:cubicBezTo>
                  <a:pt x="128" y="43"/>
                  <a:pt x="128" y="43"/>
                  <a:pt x="128" y="43"/>
                </a:cubicBezTo>
                <a:cubicBezTo>
                  <a:pt x="134" y="41"/>
                  <a:pt x="134" y="41"/>
                  <a:pt x="134" y="41"/>
                </a:cubicBezTo>
                <a:cubicBezTo>
                  <a:pt x="135" y="43"/>
                  <a:pt x="136" y="45"/>
                  <a:pt x="137" y="47"/>
                </a:cubicBezTo>
                <a:cubicBezTo>
                  <a:pt x="131" y="50"/>
                  <a:pt x="131" y="50"/>
                  <a:pt x="131" y="50"/>
                </a:cubicBezTo>
                <a:cubicBezTo>
                  <a:pt x="131" y="50"/>
                  <a:pt x="131" y="50"/>
                  <a:pt x="131" y="50"/>
                </a:cubicBezTo>
                <a:cubicBezTo>
                  <a:pt x="132" y="52"/>
                  <a:pt x="132" y="53"/>
                  <a:pt x="133" y="54"/>
                </a:cubicBezTo>
                <a:cubicBezTo>
                  <a:pt x="133" y="55"/>
                  <a:pt x="133" y="55"/>
                  <a:pt x="133" y="55"/>
                </a:cubicBezTo>
                <a:cubicBezTo>
                  <a:pt x="139" y="54"/>
                  <a:pt x="139" y="54"/>
                  <a:pt x="139" y="54"/>
                </a:cubicBezTo>
                <a:cubicBezTo>
                  <a:pt x="140" y="56"/>
                  <a:pt x="140" y="58"/>
                  <a:pt x="140" y="60"/>
                </a:cubicBezTo>
                <a:cubicBezTo>
                  <a:pt x="134" y="62"/>
                  <a:pt x="134" y="62"/>
                  <a:pt x="134" y="62"/>
                </a:cubicBezTo>
                <a:cubicBezTo>
                  <a:pt x="134" y="62"/>
                  <a:pt x="134" y="62"/>
                  <a:pt x="134" y="62"/>
                </a:cubicBezTo>
                <a:cubicBezTo>
                  <a:pt x="134" y="64"/>
                  <a:pt x="134" y="65"/>
                  <a:pt x="135" y="67"/>
                </a:cubicBezTo>
                <a:cubicBezTo>
                  <a:pt x="135" y="67"/>
                  <a:pt x="135" y="67"/>
                  <a:pt x="135" y="67"/>
                </a:cubicBezTo>
                <a:cubicBezTo>
                  <a:pt x="141" y="68"/>
                  <a:pt x="141" y="68"/>
                  <a:pt x="141" y="68"/>
                </a:cubicBezTo>
                <a:cubicBezTo>
                  <a:pt x="141" y="69"/>
                  <a:pt x="141" y="70"/>
                  <a:pt x="141" y="71"/>
                </a:cubicBezTo>
                <a:cubicBezTo>
                  <a:pt x="141" y="72"/>
                  <a:pt x="141" y="73"/>
                  <a:pt x="141" y="74"/>
                </a:cubicBezTo>
                <a:cubicBezTo>
                  <a:pt x="135" y="75"/>
                  <a:pt x="135" y="75"/>
                  <a:pt x="135" y="75"/>
                </a:cubicBezTo>
                <a:cubicBezTo>
                  <a:pt x="135" y="75"/>
                  <a:pt x="135" y="75"/>
                  <a:pt x="135" y="75"/>
                </a:cubicBezTo>
                <a:cubicBezTo>
                  <a:pt x="134" y="77"/>
                  <a:pt x="134" y="78"/>
                  <a:pt x="134" y="80"/>
                </a:cubicBezTo>
                <a:cubicBezTo>
                  <a:pt x="134" y="80"/>
                  <a:pt x="134" y="80"/>
                  <a:pt x="134" y="80"/>
                </a:cubicBezTo>
                <a:cubicBezTo>
                  <a:pt x="140" y="82"/>
                  <a:pt x="140" y="82"/>
                  <a:pt x="140" y="82"/>
                </a:cubicBezTo>
                <a:cubicBezTo>
                  <a:pt x="140" y="84"/>
                  <a:pt x="140" y="86"/>
                  <a:pt x="139" y="88"/>
                </a:cubicBezTo>
                <a:cubicBezTo>
                  <a:pt x="133" y="87"/>
                  <a:pt x="133" y="87"/>
                  <a:pt x="133" y="87"/>
                </a:cubicBezTo>
                <a:cubicBezTo>
                  <a:pt x="133" y="88"/>
                  <a:pt x="133" y="88"/>
                  <a:pt x="133" y="88"/>
                </a:cubicBezTo>
                <a:cubicBezTo>
                  <a:pt x="132" y="89"/>
                  <a:pt x="132" y="90"/>
                  <a:pt x="131" y="92"/>
                </a:cubicBezTo>
                <a:cubicBezTo>
                  <a:pt x="131" y="92"/>
                  <a:pt x="131" y="92"/>
                  <a:pt x="131" y="92"/>
                </a:cubicBezTo>
                <a:cubicBezTo>
                  <a:pt x="137" y="95"/>
                  <a:pt x="137" y="95"/>
                  <a:pt x="137" y="95"/>
                </a:cubicBezTo>
                <a:cubicBezTo>
                  <a:pt x="136" y="97"/>
                  <a:pt x="135" y="99"/>
                  <a:pt x="134" y="101"/>
                </a:cubicBezTo>
                <a:cubicBezTo>
                  <a:pt x="128" y="99"/>
                  <a:pt x="128" y="99"/>
                  <a:pt x="128" y="99"/>
                </a:cubicBezTo>
                <a:cubicBezTo>
                  <a:pt x="128" y="99"/>
                  <a:pt x="128" y="99"/>
                  <a:pt x="128" y="99"/>
                </a:cubicBezTo>
                <a:cubicBezTo>
                  <a:pt x="128" y="101"/>
                  <a:pt x="127" y="102"/>
                  <a:pt x="126" y="103"/>
                </a:cubicBezTo>
                <a:cubicBezTo>
                  <a:pt x="126" y="104"/>
                  <a:pt x="126" y="104"/>
                  <a:pt x="126" y="104"/>
                </a:cubicBezTo>
                <a:cubicBezTo>
                  <a:pt x="131" y="108"/>
                  <a:pt x="131" y="108"/>
                  <a:pt x="131" y="108"/>
                </a:cubicBezTo>
                <a:cubicBezTo>
                  <a:pt x="130" y="109"/>
                  <a:pt x="129" y="111"/>
                  <a:pt x="127" y="113"/>
                </a:cubicBezTo>
                <a:cubicBezTo>
                  <a:pt x="122" y="110"/>
                  <a:pt x="122" y="110"/>
                  <a:pt x="122" y="110"/>
                </a:cubicBezTo>
                <a:cubicBezTo>
                  <a:pt x="121" y="110"/>
                  <a:pt x="121" y="110"/>
                  <a:pt x="121" y="110"/>
                </a:cubicBezTo>
                <a:cubicBezTo>
                  <a:pt x="121" y="111"/>
                  <a:pt x="120" y="112"/>
                  <a:pt x="119" y="114"/>
                </a:cubicBezTo>
                <a:cubicBezTo>
                  <a:pt x="118" y="114"/>
                  <a:pt x="118" y="114"/>
                  <a:pt x="118" y="114"/>
                </a:cubicBezTo>
                <a:cubicBezTo>
                  <a:pt x="122" y="119"/>
                  <a:pt x="122" y="119"/>
                  <a:pt x="122" y="119"/>
                </a:cubicBezTo>
                <a:cubicBezTo>
                  <a:pt x="121" y="120"/>
                  <a:pt x="120" y="122"/>
                  <a:pt x="118" y="123"/>
                </a:cubicBezTo>
                <a:cubicBezTo>
                  <a:pt x="113" y="119"/>
                  <a:pt x="113" y="119"/>
                  <a:pt x="113" y="119"/>
                </a:cubicBezTo>
                <a:cubicBezTo>
                  <a:pt x="113" y="119"/>
                  <a:pt x="113" y="119"/>
                  <a:pt x="113" y="119"/>
                </a:cubicBezTo>
                <a:cubicBezTo>
                  <a:pt x="112" y="120"/>
                  <a:pt x="111" y="121"/>
                  <a:pt x="109" y="122"/>
                </a:cubicBezTo>
                <a:cubicBezTo>
                  <a:pt x="109" y="122"/>
                  <a:pt x="109" y="122"/>
                  <a:pt x="109" y="122"/>
                </a:cubicBezTo>
                <a:cubicBezTo>
                  <a:pt x="112" y="128"/>
                  <a:pt x="112" y="128"/>
                  <a:pt x="112" y="128"/>
                </a:cubicBezTo>
                <a:cubicBezTo>
                  <a:pt x="111" y="129"/>
                  <a:pt x="109" y="130"/>
                  <a:pt x="107" y="131"/>
                </a:cubicBezTo>
                <a:cubicBezTo>
                  <a:pt x="103" y="126"/>
                  <a:pt x="103" y="126"/>
                  <a:pt x="103" y="126"/>
                </a:cubicBezTo>
                <a:cubicBezTo>
                  <a:pt x="103" y="127"/>
                  <a:pt x="103" y="127"/>
                  <a:pt x="103" y="127"/>
                </a:cubicBezTo>
                <a:cubicBezTo>
                  <a:pt x="101" y="127"/>
                  <a:pt x="100" y="128"/>
                  <a:pt x="99" y="129"/>
                </a:cubicBezTo>
                <a:cubicBezTo>
                  <a:pt x="98" y="129"/>
                  <a:pt x="98" y="129"/>
                  <a:pt x="98" y="129"/>
                </a:cubicBezTo>
                <a:cubicBezTo>
                  <a:pt x="100" y="135"/>
                  <a:pt x="100" y="135"/>
                  <a:pt x="100" y="135"/>
                </a:cubicBezTo>
                <a:cubicBezTo>
                  <a:pt x="98" y="136"/>
                  <a:pt x="96" y="137"/>
                  <a:pt x="95" y="137"/>
                </a:cubicBezTo>
                <a:cubicBezTo>
                  <a:pt x="92" y="132"/>
                  <a:pt x="92" y="132"/>
                  <a:pt x="92" y="132"/>
                </a:cubicBezTo>
                <a:cubicBezTo>
                  <a:pt x="91" y="132"/>
                  <a:pt x="91" y="132"/>
                  <a:pt x="91" y="132"/>
                </a:cubicBezTo>
                <a:cubicBezTo>
                  <a:pt x="90" y="132"/>
                  <a:pt x="88" y="133"/>
                  <a:pt x="87" y="133"/>
                </a:cubicBezTo>
                <a:cubicBezTo>
                  <a:pt x="87" y="133"/>
                  <a:pt x="87" y="133"/>
                  <a:pt x="87" y="133"/>
                </a:cubicBezTo>
                <a:cubicBezTo>
                  <a:pt x="87" y="140"/>
                  <a:pt x="87" y="140"/>
                  <a:pt x="87" y="140"/>
                </a:cubicBezTo>
                <a:cubicBezTo>
                  <a:pt x="85" y="140"/>
                  <a:pt x="83" y="141"/>
                  <a:pt x="81" y="141"/>
                </a:cubicBezTo>
                <a:cubicBezTo>
                  <a:pt x="79" y="135"/>
                  <a:pt x="79" y="135"/>
                  <a:pt x="79" y="135"/>
                </a:cubicBezTo>
                <a:cubicBezTo>
                  <a:pt x="79" y="135"/>
                  <a:pt x="79" y="135"/>
                  <a:pt x="79" y="135"/>
                </a:cubicBezTo>
                <a:cubicBezTo>
                  <a:pt x="77" y="135"/>
                  <a:pt x="76" y="135"/>
                  <a:pt x="74" y="135"/>
                </a:cubicBezTo>
                <a:cubicBezTo>
                  <a:pt x="74" y="135"/>
                  <a:pt x="74" y="135"/>
                  <a:pt x="74" y="135"/>
                </a:cubicBezTo>
                <a:cubicBezTo>
                  <a:pt x="73" y="142"/>
                  <a:pt x="73" y="142"/>
                  <a:pt x="73" y="142"/>
                </a:cubicBezTo>
                <a:cubicBezTo>
                  <a:pt x="72" y="142"/>
                  <a:pt x="71" y="142"/>
                  <a:pt x="70" y="142"/>
                </a:cubicBezTo>
                <a:close/>
              </a:path>
            </a:pathLst>
          </a:custGeom>
          <a:solidFill>
            <a:srgbClr val="AFABAB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215" name="Freeform 214"/>
          <p:cNvSpPr>
            <a:spLocks/>
          </p:cNvSpPr>
          <p:nvPr/>
        </p:nvSpPr>
        <p:spPr bwMode="auto">
          <a:xfrm>
            <a:off x="6751611" y="3411964"/>
            <a:ext cx="1051018" cy="1058385"/>
          </a:xfrm>
          <a:custGeom>
            <a:avLst/>
            <a:gdLst>
              <a:gd name="T0" fmla="*/ 66 w 141"/>
              <a:gd name="T1" fmla="*/ 135 h 142"/>
              <a:gd name="T2" fmla="*/ 54 w 141"/>
              <a:gd name="T3" fmla="*/ 140 h 142"/>
              <a:gd name="T4" fmla="*/ 49 w 141"/>
              <a:gd name="T5" fmla="*/ 132 h 142"/>
              <a:gd name="T6" fmla="*/ 42 w 141"/>
              <a:gd name="T7" fmla="*/ 129 h 142"/>
              <a:gd name="T8" fmla="*/ 29 w 141"/>
              <a:gd name="T9" fmla="*/ 128 h 142"/>
              <a:gd name="T10" fmla="*/ 28 w 141"/>
              <a:gd name="T11" fmla="*/ 119 h 142"/>
              <a:gd name="T12" fmla="*/ 22 w 141"/>
              <a:gd name="T13" fmla="*/ 114 h 142"/>
              <a:gd name="T14" fmla="*/ 10 w 141"/>
              <a:gd name="T15" fmla="*/ 108 h 142"/>
              <a:gd name="T16" fmla="*/ 12 w 141"/>
              <a:gd name="T17" fmla="*/ 99 h 142"/>
              <a:gd name="T18" fmla="*/ 10 w 141"/>
              <a:gd name="T19" fmla="*/ 92 h 142"/>
              <a:gd name="T20" fmla="*/ 1 w 141"/>
              <a:gd name="T21" fmla="*/ 82 h 142"/>
              <a:gd name="T22" fmla="*/ 6 w 141"/>
              <a:gd name="T23" fmla="*/ 75 h 142"/>
              <a:gd name="T24" fmla="*/ 6 w 141"/>
              <a:gd name="T25" fmla="*/ 67 h 142"/>
              <a:gd name="T26" fmla="*/ 1 w 141"/>
              <a:gd name="T27" fmla="*/ 60 h 142"/>
              <a:gd name="T28" fmla="*/ 10 w 141"/>
              <a:gd name="T29" fmla="*/ 50 h 142"/>
              <a:gd name="T30" fmla="*/ 12 w 141"/>
              <a:gd name="T31" fmla="*/ 43 h 142"/>
              <a:gd name="T32" fmla="*/ 10 w 141"/>
              <a:gd name="T33" fmla="*/ 34 h 142"/>
              <a:gd name="T34" fmla="*/ 22 w 141"/>
              <a:gd name="T35" fmla="*/ 29 h 142"/>
              <a:gd name="T36" fmla="*/ 28 w 141"/>
              <a:gd name="T37" fmla="*/ 23 h 142"/>
              <a:gd name="T38" fmla="*/ 29 w 141"/>
              <a:gd name="T39" fmla="*/ 14 h 142"/>
              <a:gd name="T40" fmla="*/ 42 w 141"/>
              <a:gd name="T41" fmla="*/ 13 h 142"/>
              <a:gd name="T42" fmla="*/ 49 w 141"/>
              <a:gd name="T43" fmla="*/ 10 h 142"/>
              <a:gd name="T44" fmla="*/ 54 w 141"/>
              <a:gd name="T45" fmla="*/ 2 h 142"/>
              <a:gd name="T46" fmla="*/ 66 w 141"/>
              <a:gd name="T47" fmla="*/ 7 h 142"/>
              <a:gd name="T48" fmla="*/ 73 w 141"/>
              <a:gd name="T49" fmla="*/ 0 h 142"/>
              <a:gd name="T50" fmla="*/ 79 w 141"/>
              <a:gd name="T51" fmla="*/ 7 h 142"/>
              <a:gd name="T52" fmla="*/ 87 w 141"/>
              <a:gd name="T53" fmla="*/ 9 h 142"/>
              <a:gd name="T54" fmla="*/ 100 w 141"/>
              <a:gd name="T55" fmla="*/ 7 h 142"/>
              <a:gd name="T56" fmla="*/ 103 w 141"/>
              <a:gd name="T57" fmla="*/ 16 h 142"/>
              <a:gd name="T58" fmla="*/ 109 w 141"/>
              <a:gd name="T59" fmla="*/ 20 h 142"/>
              <a:gd name="T60" fmla="*/ 122 w 141"/>
              <a:gd name="T61" fmla="*/ 23 h 142"/>
              <a:gd name="T62" fmla="*/ 122 w 141"/>
              <a:gd name="T63" fmla="*/ 32 h 142"/>
              <a:gd name="T64" fmla="*/ 126 w 141"/>
              <a:gd name="T65" fmla="*/ 39 h 142"/>
              <a:gd name="T66" fmla="*/ 137 w 141"/>
              <a:gd name="T67" fmla="*/ 47 h 142"/>
              <a:gd name="T68" fmla="*/ 133 w 141"/>
              <a:gd name="T69" fmla="*/ 55 h 142"/>
              <a:gd name="T70" fmla="*/ 134 w 141"/>
              <a:gd name="T71" fmla="*/ 62 h 142"/>
              <a:gd name="T72" fmla="*/ 141 w 141"/>
              <a:gd name="T73" fmla="*/ 71 h 142"/>
              <a:gd name="T74" fmla="*/ 134 w 141"/>
              <a:gd name="T75" fmla="*/ 80 h 142"/>
              <a:gd name="T76" fmla="*/ 133 w 141"/>
              <a:gd name="T77" fmla="*/ 87 h 142"/>
              <a:gd name="T78" fmla="*/ 137 w 141"/>
              <a:gd name="T79" fmla="*/ 95 h 142"/>
              <a:gd name="T80" fmla="*/ 126 w 141"/>
              <a:gd name="T81" fmla="*/ 103 h 142"/>
              <a:gd name="T82" fmla="*/ 122 w 141"/>
              <a:gd name="T83" fmla="*/ 110 h 142"/>
              <a:gd name="T84" fmla="*/ 122 w 141"/>
              <a:gd name="T85" fmla="*/ 119 h 142"/>
              <a:gd name="T86" fmla="*/ 109 w 141"/>
              <a:gd name="T87" fmla="*/ 122 h 142"/>
              <a:gd name="T88" fmla="*/ 103 w 141"/>
              <a:gd name="T89" fmla="*/ 126 h 142"/>
              <a:gd name="T90" fmla="*/ 100 w 141"/>
              <a:gd name="T91" fmla="*/ 135 h 142"/>
              <a:gd name="T92" fmla="*/ 87 w 141"/>
              <a:gd name="T93" fmla="*/ 133 h 142"/>
              <a:gd name="T94" fmla="*/ 79 w 141"/>
              <a:gd name="T95" fmla="*/ 135 h 142"/>
              <a:gd name="T96" fmla="*/ 73 w 141"/>
              <a:gd name="T97" fmla="*/ 142 h 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41" h="142">
                <a:moveTo>
                  <a:pt x="70" y="142"/>
                </a:moveTo>
                <a:cubicBezTo>
                  <a:pt x="69" y="142"/>
                  <a:pt x="68" y="142"/>
                  <a:pt x="67" y="142"/>
                </a:cubicBezTo>
                <a:cubicBezTo>
                  <a:pt x="67" y="135"/>
                  <a:pt x="67" y="135"/>
                  <a:pt x="67" y="135"/>
                </a:cubicBezTo>
                <a:cubicBezTo>
                  <a:pt x="66" y="135"/>
                  <a:pt x="66" y="135"/>
                  <a:pt x="66" y="135"/>
                </a:cubicBezTo>
                <a:cubicBezTo>
                  <a:pt x="65" y="135"/>
                  <a:pt x="63" y="135"/>
                  <a:pt x="62" y="135"/>
                </a:cubicBezTo>
                <a:cubicBezTo>
                  <a:pt x="61" y="135"/>
                  <a:pt x="61" y="135"/>
                  <a:pt x="61" y="135"/>
                </a:cubicBezTo>
                <a:cubicBezTo>
                  <a:pt x="60" y="141"/>
                  <a:pt x="60" y="141"/>
                  <a:pt x="60" y="141"/>
                </a:cubicBezTo>
                <a:cubicBezTo>
                  <a:pt x="58" y="141"/>
                  <a:pt x="56" y="140"/>
                  <a:pt x="54" y="140"/>
                </a:cubicBezTo>
                <a:cubicBezTo>
                  <a:pt x="54" y="133"/>
                  <a:pt x="54" y="133"/>
                  <a:pt x="54" y="133"/>
                </a:cubicBezTo>
                <a:cubicBezTo>
                  <a:pt x="54" y="133"/>
                  <a:pt x="54" y="133"/>
                  <a:pt x="54" y="133"/>
                </a:cubicBezTo>
                <a:cubicBezTo>
                  <a:pt x="52" y="133"/>
                  <a:pt x="51" y="132"/>
                  <a:pt x="50" y="132"/>
                </a:cubicBezTo>
                <a:cubicBezTo>
                  <a:pt x="49" y="132"/>
                  <a:pt x="49" y="132"/>
                  <a:pt x="49" y="132"/>
                </a:cubicBezTo>
                <a:cubicBezTo>
                  <a:pt x="46" y="137"/>
                  <a:pt x="46" y="137"/>
                  <a:pt x="46" y="137"/>
                </a:cubicBezTo>
                <a:cubicBezTo>
                  <a:pt x="44" y="137"/>
                  <a:pt x="42" y="136"/>
                  <a:pt x="41" y="135"/>
                </a:cubicBezTo>
                <a:cubicBezTo>
                  <a:pt x="42" y="129"/>
                  <a:pt x="42" y="129"/>
                  <a:pt x="42" y="129"/>
                </a:cubicBezTo>
                <a:cubicBezTo>
                  <a:pt x="42" y="129"/>
                  <a:pt x="42" y="129"/>
                  <a:pt x="42" y="129"/>
                </a:cubicBezTo>
                <a:cubicBezTo>
                  <a:pt x="41" y="128"/>
                  <a:pt x="39" y="127"/>
                  <a:pt x="38" y="127"/>
                </a:cubicBezTo>
                <a:cubicBezTo>
                  <a:pt x="38" y="126"/>
                  <a:pt x="38" y="126"/>
                  <a:pt x="38" y="126"/>
                </a:cubicBezTo>
                <a:cubicBezTo>
                  <a:pt x="34" y="131"/>
                  <a:pt x="34" y="131"/>
                  <a:pt x="34" y="131"/>
                </a:cubicBezTo>
                <a:cubicBezTo>
                  <a:pt x="32" y="130"/>
                  <a:pt x="30" y="129"/>
                  <a:pt x="29" y="128"/>
                </a:cubicBezTo>
                <a:cubicBezTo>
                  <a:pt x="32" y="122"/>
                  <a:pt x="32" y="122"/>
                  <a:pt x="32" y="122"/>
                </a:cubicBezTo>
                <a:cubicBezTo>
                  <a:pt x="31" y="122"/>
                  <a:pt x="31" y="122"/>
                  <a:pt x="31" y="122"/>
                </a:cubicBezTo>
                <a:cubicBezTo>
                  <a:pt x="30" y="121"/>
                  <a:pt x="29" y="120"/>
                  <a:pt x="28" y="119"/>
                </a:cubicBezTo>
                <a:cubicBezTo>
                  <a:pt x="28" y="119"/>
                  <a:pt x="28" y="119"/>
                  <a:pt x="28" y="119"/>
                </a:cubicBezTo>
                <a:cubicBezTo>
                  <a:pt x="23" y="123"/>
                  <a:pt x="23" y="123"/>
                  <a:pt x="23" y="123"/>
                </a:cubicBezTo>
                <a:cubicBezTo>
                  <a:pt x="21" y="122"/>
                  <a:pt x="20" y="120"/>
                  <a:pt x="18" y="119"/>
                </a:cubicBezTo>
                <a:cubicBezTo>
                  <a:pt x="22" y="114"/>
                  <a:pt x="22" y="114"/>
                  <a:pt x="22" y="114"/>
                </a:cubicBezTo>
                <a:cubicBezTo>
                  <a:pt x="22" y="114"/>
                  <a:pt x="22" y="114"/>
                  <a:pt x="22" y="114"/>
                </a:cubicBezTo>
                <a:cubicBezTo>
                  <a:pt x="21" y="112"/>
                  <a:pt x="20" y="111"/>
                  <a:pt x="19" y="110"/>
                </a:cubicBezTo>
                <a:cubicBezTo>
                  <a:pt x="19" y="110"/>
                  <a:pt x="19" y="110"/>
                  <a:pt x="19" y="110"/>
                </a:cubicBezTo>
                <a:cubicBezTo>
                  <a:pt x="13" y="113"/>
                  <a:pt x="13" y="113"/>
                  <a:pt x="13" y="113"/>
                </a:cubicBezTo>
                <a:cubicBezTo>
                  <a:pt x="12" y="111"/>
                  <a:pt x="11" y="109"/>
                  <a:pt x="10" y="108"/>
                </a:cubicBezTo>
                <a:cubicBezTo>
                  <a:pt x="15" y="104"/>
                  <a:pt x="15" y="104"/>
                  <a:pt x="15" y="104"/>
                </a:cubicBezTo>
                <a:cubicBezTo>
                  <a:pt x="15" y="103"/>
                  <a:pt x="15" y="103"/>
                  <a:pt x="15" y="103"/>
                </a:cubicBezTo>
                <a:cubicBezTo>
                  <a:pt x="14" y="102"/>
                  <a:pt x="13" y="101"/>
                  <a:pt x="13" y="99"/>
                </a:cubicBezTo>
                <a:cubicBezTo>
                  <a:pt x="12" y="99"/>
                  <a:pt x="12" y="99"/>
                  <a:pt x="12" y="99"/>
                </a:cubicBezTo>
                <a:cubicBezTo>
                  <a:pt x="6" y="101"/>
                  <a:pt x="6" y="101"/>
                  <a:pt x="6" y="101"/>
                </a:cubicBezTo>
                <a:cubicBezTo>
                  <a:pt x="5" y="99"/>
                  <a:pt x="5" y="97"/>
                  <a:pt x="4" y="95"/>
                </a:cubicBezTo>
                <a:cubicBezTo>
                  <a:pt x="10" y="92"/>
                  <a:pt x="10" y="92"/>
                  <a:pt x="10" y="92"/>
                </a:cubicBezTo>
                <a:cubicBezTo>
                  <a:pt x="10" y="92"/>
                  <a:pt x="10" y="92"/>
                  <a:pt x="10" y="92"/>
                </a:cubicBezTo>
                <a:cubicBezTo>
                  <a:pt x="9" y="90"/>
                  <a:pt x="9" y="89"/>
                  <a:pt x="8" y="88"/>
                </a:cubicBezTo>
                <a:cubicBezTo>
                  <a:pt x="8" y="87"/>
                  <a:pt x="8" y="87"/>
                  <a:pt x="8" y="87"/>
                </a:cubicBezTo>
                <a:cubicBezTo>
                  <a:pt x="2" y="88"/>
                  <a:pt x="2" y="88"/>
                  <a:pt x="2" y="88"/>
                </a:cubicBezTo>
                <a:cubicBezTo>
                  <a:pt x="1" y="86"/>
                  <a:pt x="1" y="84"/>
                  <a:pt x="1" y="82"/>
                </a:cubicBezTo>
                <a:cubicBezTo>
                  <a:pt x="7" y="80"/>
                  <a:pt x="7" y="80"/>
                  <a:pt x="7" y="80"/>
                </a:cubicBezTo>
                <a:cubicBezTo>
                  <a:pt x="7" y="80"/>
                  <a:pt x="7" y="80"/>
                  <a:pt x="7" y="80"/>
                </a:cubicBezTo>
                <a:cubicBezTo>
                  <a:pt x="6" y="78"/>
                  <a:pt x="6" y="77"/>
                  <a:pt x="6" y="75"/>
                </a:cubicBezTo>
                <a:cubicBezTo>
                  <a:pt x="6" y="75"/>
                  <a:pt x="6" y="75"/>
                  <a:pt x="6" y="75"/>
                </a:cubicBezTo>
                <a:cubicBezTo>
                  <a:pt x="0" y="74"/>
                  <a:pt x="0" y="74"/>
                  <a:pt x="0" y="74"/>
                </a:cubicBezTo>
                <a:cubicBezTo>
                  <a:pt x="0" y="73"/>
                  <a:pt x="0" y="72"/>
                  <a:pt x="0" y="71"/>
                </a:cubicBezTo>
                <a:cubicBezTo>
                  <a:pt x="0" y="70"/>
                  <a:pt x="0" y="69"/>
                  <a:pt x="0" y="68"/>
                </a:cubicBezTo>
                <a:cubicBezTo>
                  <a:pt x="6" y="67"/>
                  <a:pt x="6" y="67"/>
                  <a:pt x="6" y="67"/>
                </a:cubicBezTo>
                <a:cubicBezTo>
                  <a:pt x="6" y="67"/>
                  <a:pt x="6" y="67"/>
                  <a:pt x="6" y="67"/>
                </a:cubicBezTo>
                <a:cubicBezTo>
                  <a:pt x="6" y="65"/>
                  <a:pt x="6" y="64"/>
                  <a:pt x="7" y="62"/>
                </a:cubicBezTo>
                <a:cubicBezTo>
                  <a:pt x="7" y="62"/>
                  <a:pt x="7" y="62"/>
                  <a:pt x="7" y="62"/>
                </a:cubicBezTo>
                <a:cubicBezTo>
                  <a:pt x="1" y="60"/>
                  <a:pt x="1" y="60"/>
                  <a:pt x="1" y="60"/>
                </a:cubicBezTo>
                <a:cubicBezTo>
                  <a:pt x="1" y="58"/>
                  <a:pt x="1" y="56"/>
                  <a:pt x="2" y="54"/>
                </a:cubicBezTo>
                <a:cubicBezTo>
                  <a:pt x="8" y="55"/>
                  <a:pt x="8" y="55"/>
                  <a:pt x="8" y="55"/>
                </a:cubicBezTo>
                <a:cubicBezTo>
                  <a:pt x="8" y="54"/>
                  <a:pt x="8" y="54"/>
                  <a:pt x="8" y="54"/>
                </a:cubicBezTo>
                <a:cubicBezTo>
                  <a:pt x="9" y="53"/>
                  <a:pt x="9" y="52"/>
                  <a:pt x="10" y="50"/>
                </a:cubicBezTo>
                <a:cubicBezTo>
                  <a:pt x="10" y="50"/>
                  <a:pt x="10" y="50"/>
                  <a:pt x="10" y="50"/>
                </a:cubicBezTo>
                <a:cubicBezTo>
                  <a:pt x="4" y="47"/>
                  <a:pt x="4" y="47"/>
                  <a:pt x="4" y="47"/>
                </a:cubicBezTo>
                <a:cubicBezTo>
                  <a:pt x="5" y="45"/>
                  <a:pt x="5" y="43"/>
                  <a:pt x="6" y="41"/>
                </a:cubicBezTo>
                <a:cubicBezTo>
                  <a:pt x="12" y="43"/>
                  <a:pt x="12" y="43"/>
                  <a:pt x="12" y="43"/>
                </a:cubicBezTo>
                <a:cubicBezTo>
                  <a:pt x="13" y="43"/>
                  <a:pt x="13" y="43"/>
                  <a:pt x="13" y="43"/>
                </a:cubicBezTo>
                <a:cubicBezTo>
                  <a:pt x="13" y="41"/>
                  <a:pt x="14" y="40"/>
                  <a:pt x="15" y="39"/>
                </a:cubicBezTo>
                <a:cubicBezTo>
                  <a:pt x="15" y="38"/>
                  <a:pt x="15" y="38"/>
                  <a:pt x="15" y="38"/>
                </a:cubicBezTo>
                <a:cubicBezTo>
                  <a:pt x="10" y="34"/>
                  <a:pt x="10" y="34"/>
                  <a:pt x="10" y="34"/>
                </a:cubicBezTo>
                <a:cubicBezTo>
                  <a:pt x="11" y="33"/>
                  <a:pt x="12" y="31"/>
                  <a:pt x="13" y="29"/>
                </a:cubicBezTo>
                <a:cubicBezTo>
                  <a:pt x="19" y="32"/>
                  <a:pt x="19" y="32"/>
                  <a:pt x="19" y="32"/>
                </a:cubicBezTo>
                <a:cubicBezTo>
                  <a:pt x="19" y="32"/>
                  <a:pt x="19" y="32"/>
                  <a:pt x="19" y="32"/>
                </a:cubicBezTo>
                <a:cubicBezTo>
                  <a:pt x="20" y="31"/>
                  <a:pt x="21" y="30"/>
                  <a:pt x="22" y="29"/>
                </a:cubicBezTo>
                <a:cubicBezTo>
                  <a:pt x="22" y="28"/>
                  <a:pt x="22" y="28"/>
                  <a:pt x="22" y="28"/>
                </a:cubicBezTo>
                <a:cubicBezTo>
                  <a:pt x="18" y="23"/>
                  <a:pt x="18" y="23"/>
                  <a:pt x="18" y="23"/>
                </a:cubicBezTo>
                <a:cubicBezTo>
                  <a:pt x="20" y="22"/>
                  <a:pt x="21" y="20"/>
                  <a:pt x="23" y="19"/>
                </a:cubicBezTo>
                <a:cubicBezTo>
                  <a:pt x="28" y="23"/>
                  <a:pt x="28" y="23"/>
                  <a:pt x="28" y="23"/>
                </a:cubicBezTo>
                <a:cubicBezTo>
                  <a:pt x="28" y="23"/>
                  <a:pt x="28" y="23"/>
                  <a:pt x="28" y="23"/>
                </a:cubicBezTo>
                <a:cubicBezTo>
                  <a:pt x="29" y="22"/>
                  <a:pt x="30" y="21"/>
                  <a:pt x="31" y="20"/>
                </a:cubicBezTo>
                <a:cubicBezTo>
                  <a:pt x="32" y="20"/>
                  <a:pt x="32" y="20"/>
                  <a:pt x="32" y="20"/>
                </a:cubicBezTo>
                <a:cubicBezTo>
                  <a:pt x="29" y="14"/>
                  <a:pt x="29" y="14"/>
                  <a:pt x="29" y="14"/>
                </a:cubicBezTo>
                <a:cubicBezTo>
                  <a:pt x="30" y="13"/>
                  <a:pt x="32" y="12"/>
                  <a:pt x="34" y="11"/>
                </a:cubicBezTo>
                <a:cubicBezTo>
                  <a:pt x="38" y="16"/>
                  <a:pt x="38" y="16"/>
                  <a:pt x="38" y="16"/>
                </a:cubicBezTo>
                <a:cubicBezTo>
                  <a:pt x="38" y="15"/>
                  <a:pt x="38" y="15"/>
                  <a:pt x="38" y="15"/>
                </a:cubicBezTo>
                <a:cubicBezTo>
                  <a:pt x="39" y="15"/>
                  <a:pt x="41" y="14"/>
                  <a:pt x="42" y="13"/>
                </a:cubicBezTo>
                <a:cubicBezTo>
                  <a:pt x="42" y="13"/>
                  <a:pt x="42" y="13"/>
                  <a:pt x="42" y="13"/>
                </a:cubicBezTo>
                <a:cubicBezTo>
                  <a:pt x="41" y="7"/>
                  <a:pt x="41" y="7"/>
                  <a:pt x="41" y="7"/>
                </a:cubicBezTo>
                <a:cubicBezTo>
                  <a:pt x="42" y="6"/>
                  <a:pt x="44" y="5"/>
                  <a:pt x="46" y="5"/>
                </a:cubicBezTo>
                <a:cubicBezTo>
                  <a:pt x="49" y="10"/>
                  <a:pt x="49" y="10"/>
                  <a:pt x="49" y="10"/>
                </a:cubicBezTo>
                <a:cubicBezTo>
                  <a:pt x="50" y="10"/>
                  <a:pt x="50" y="10"/>
                  <a:pt x="50" y="10"/>
                </a:cubicBezTo>
                <a:cubicBezTo>
                  <a:pt x="51" y="10"/>
                  <a:pt x="52" y="9"/>
                  <a:pt x="54" y="9"/>
                </a:cubicBezTo>
                <a:cubicBezTo>
                  <a:pt x="54" y="9"/>
                  <a:pt x="54" y="9"/>
                  <a:pt x="54" y="9"/>
                </a:cubicBezTo>
                <a:cubicBezTo>
                  <a:pt x="54" y="2"/>
                  <a:pt x="54" y="2"/>
                  <a:pt x="54" y="2"/>
                </a:cubicBezTo>
                <a:cubicBezTo>
                  <a:pt x="56" y="2"/>
                  <a:pt x="58" y="1"/>
                  <a:pt x="60" y="1"/>
                </a:cubicBezTo>
                <a:cubicBezTo>
                  <a:pt x="61" y="7"/>
                  <a:pt x="61" y="7"/>
                  <a:pt x="61" y="7"/>
                </a:cubicBezTo>
                <a:cubicBezTo>
                  <a:pt x="62" y="7"/>
                  <a:pt x="62" y="7"/>
                  <a:pt x="62" y="7"/>
                </a:cubicBezTo>
                <a:cubicBezTo>
                  <a:pt x="63" y="7"/>
                  <a:pt x="65" y="7"/>
                  <a:pt x="66" y="7"/>
                </a:cubicBezTo>
                <a:cubicBezTo>
                  <a:pt x="67" y="7"/>
                  <a:pt x="67" y="7"/>
                  <a:pt x="67" y="7"/>
                </a:cubicBezTo>
                <a:cubicBezTo>
                  <a:pt x="67" y="0"/>
                  <a:pt x="67" y="0"/>
                  <a:pt x="67" y="0"/>
                </a:cubicBezTo>
                <a:cubicBezTo>
                  <a:pt x="68" y="0"/>
                  <a:pt x="69" y="0"/>
                  <a:pt x="70" y="0"/>
                </a:cubicBezTo>
                <a:cubicBezTo>
                  <a:pt x="71" y="0"/>
                  <a:pt x="72" y="0"/>
                  <a:pt x="73" y="0"/>
                </a:cubicBezTo>
                <a:cubicBezTo>
                  <a:pt x="74" y="7"/>
                  <a:pt x="74" y="7"/>
                  <a:pt x="74" y="7"/>
                </a:cubicBezTo>
                <a:cubicBezTo>
                  <a:pt x="74" y="7"/>
                  <a:pt x="74" y="7"/>
                  <a:pt x="74" y="7"/>
                </a:cubicBezTo>
                <a:cubicBezTo>
                  <a:pt x="76" y="7"/>
                  <a:pt x="77" y="7"/>
                  <a:pt x="79" y="7"/>
                </a:cubicBezTo>
                <a:cubicBezTo>
                  <a:pt x="79" y="7"/>
                  <a:pt x="79" y="7"/>
                  <a:pt x="79" y="7"/>
                </a:cubicBezTo>
                <a:cubicBezTo>
                  <a:pt x="81" y="1"/>
                  <a:pt x="81" y="1"/>
                  <a:pt x="81" y="1"/>
                </a:cubicBezTo>
                <a:cubicBezTo>
                  <a:pt x="83" y="1"/>
                  <a:pt x="85" y="2"/>
                  <a:pt x="87" y="2"/>
                </a:cubicBezTo>
                <a:cubicBezTo>
                  <a:pt x="87" y="9"/>
                  <a:pt x="87" y="9"/>
                  <a:pt x="87" y="9"/>
                </a:cubicBezTo>
                <a:cubicBezTo>
                  <a:pt x="87" y="9"/>
                  <a:pt x="87" y="9"/>
                  <a:pt x="87" y="9"/>
                </a:cubicBezTo>
                <a:cubicBezTo>
                  <a:pt x="88" y="9"/>
                  <a:pt x="90" y="10"/>
                  <a:pt x="91" y="10"/>
                </a:cubicBezTo>
                <a:cubicBezTo>
                  <a:pt x="92" y="10"/>
                  <a:pt x="92" y="10"/>
                  <a:pt x="92" y="10"/>
                </a:cubicBezTo>
                <a:cubicBezTo>
                  <a:pt x="95" y="5"/>
                  <a:pt x="95" y="5"/>
                  <a:pt x="95" y="5"/>
                </a:cubicBezTo>
                <a:cubicBezTo>
                  <a:pt x="96" y="5"/>
                  <a:pt x="98" y="6"/>
                  <a:pt x="100" y="7"/>
                </a:cubicBezTo>
                <a:cubicBezTo>
                  <a:pt x="98" y="13"/>
                  <a:pt x="98" y="13"/>
                  <a:pt x="98" y="13"/>
                </a:cubicBezTo>
                <a:cubicBezTo>
                  <a:pt x="99" y="13"/>
                  <a:pt x="99" y="13"/>
                  <a:pt x="99" y="13"/>
                </a:cubicBezTo>
                <a:cubicBezTo>
                  <a:pt x="100" y="14"/>
                  <a:pt x="101" y="15"/>
                  <a:pt x="103" y="15"/>
                </a:cubicBezTo>
                <a:cubicBezTo>
                  <a:pt x="103" y="16"/>
                  <a:pt x="103" y="16"/>
                  <a:pt x="103" y="16"/>
                </a:cubicBezTo>
                <a:cubicBezTo>
                  <a:pt x="107" y="11"/>
                  <a:pt x="107" y="11"/>
                  <a:pt x="107" y="11"/>
                </a:cubicBezTo>
                <a:cubicBezTo>
                  <a:pt x="109" y="12"/>
                  <a:pt x="111" y="13"/>
                  <a:pt x="112" y="14"/>
                </a:cubicBezTo>
                <a:cubicBezTo>
                  <a:pt x="109" y="20"/>
                  <a:pt x="109" y="20"/>
                  <a:pt x="109" y="20"/>
                </a:cubicBezTo>
                <a:cubicBezTo>
                  <a:pt x="109" y="20"/>
                  <a:pt x="109" y="20"/>
                  <a:pt x="109" y="20"/>
                </a:cubicBezTo>
                <a:cubicBezTo>
                  <a:pt x="111" y="21"/>
                  <a:pt x="112" y="22"/>
                  <a:pt x="113" y="23"/>
                </a:cubicBezTo>
                <a:cubicBezTo>
                  <a:pt x="113" y="23"/>
                  <a:pt x="113" y="23"/>
                  <a:pt x="113" y="23"/>
                </a:cubicBezTo>
                <a:cubicBezTo>
                  <a:pt x="118" y="19"/>
                  <a:pt x="118" y="19"/>
                  <a:pt x="118" y="19"/>
                </a:cubicBezTo>
                <a:cubicBezTo>
                  <a:pt x="120" y="20"/>
                  <a:pt x="121" y="22"/>
                  <a:pt x="122" y="23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9" y="29"/>
                  <a:pt x="119" y="29"/>
                  <a:pt x="119" y="29"/>
                </a:cubicBezTo>
                <a:cubicBezTo>
                  <a:pt x="120" y="30"/>
                  <a:pt x="121" y="31"/>
                  <a:pt x="121" y="32"/>
                </a:cubicBezTo>
                <a:cubicBezTo>
                  <a:pt x="122" y="32"/>
                  <a:pt x="122" y="32"/>
                  <a:pt x="122" y="32"/>
                </a:cubicBezTo>
                <a:cubicBezTo>
                  <a:pt x="127" y="29"/>
                  <a:pt x="127" y="29"/>
                  <a:pt x="127" y="29"/>
                </a:cubicBezTo>
                <a:cubicBezTo>
                  <a:pt x="129" y="31"/>
                  <a:pt x="130" y="33"/>
                  <a:pt x="131" y="34"/>
                </a:cubicBezTo>
                <a:cubicBezTo>
                  <a:pt x="126" y="38"/>
                  <a:pt x="126" y="38"/>
                  <a:pt x="126" y="38"/>
                </a:cubicBezTo>
                <a:cubicBezTo>
                  <a:pt x="126" y="39"/>
                  <a:pt x="126" y="39"/>
                  <a:pt x="126" y="39"/>
                </a:cubicBezTo>
                <a:cubicBezTo>
                  <a:pt x="127" y="40"/>
                  <a:pt x="128" y="41"/>
                  <a:pt x="128" y="43"/>
                </a:cubicBezTo>
                <a:cubicBezTo>
                  <a:pt x="128" y="43"/>
                  <a:pt x="128" y="43"/>
                  <a:pt x="128" y="43"/>
                </a:cubicBezTo>
                <a:cubicBezTo>
                  <a:pt x="134" y="41"/>
                  <a:pt x="134" y="41"/>
                  <a:pt x="134" y="41"/>
                </a:cubicBezTo>
                <a:cubicBezTo>
                  <a:pt x="135" y="43"/>
                  <a:pt x="136" y="45"/>
                  <a:pt x="137" y="47"/>
                </a:cubicBezTo>
                <a:cubicBezTo>
                  <a:pt x="131" y="50"/>
                  <a:pt x="131" y="50"/>
                  <a:pt x="131" y="50"/>
                </a:cubicBezTo>
                <a:cubicBezTo>
                  <a:pt x="131" y="50"/>
                  <a:pt x="131" y="50"/>
                  <a:pt x="131" y="50"/>
                </a:cubicBezTo>
                <a:cubicBezTo>
                  <a:pt x="132" y="52"/>
                  <a:pt x="132" y="53"/>
                  <a:pt x="133" y="54"/>
                </a:cubicBezTo>
                <a:cubicBezTo>
                  <a:pt x="133" y="55"/>
                  <a:pt x="133" y="55"/>
                  <a:pt x="133" y="55"/>
                </a:cubicBezTo>
                <a:cubicBezTo>
                  <a:pt x="139" y="54"/>
                  <a:pt x="139" y="54"/>
                  <a:pt x="139" y="54"/>
                </a:cubicBezTo>
                <a:cubicBezTo>
                  <a:pt x="140" y="56"/>
                  <a:pt x="140" y="58"/>
                  <a:pt x="140" y="60"/>
                </a:cubicBezTo>
                <a:cubicBezTo>
                  <a:pt x="134" y="62"/>
                  <a:pt x="134" y="62"/>
                  <a:pt x="134" y="62"/>
                </a:cubicBezTo>
                <a:cubicBezTo>
                  <a:pt x="134" y="62"/>
                  <a:pt x="134" y="62"/>
                  <a:pt x="134" y="62"/>
                </a:cubicBezTo>
                <a:cubicBezTo>
                  <a:pt x="134" y="64"/>
                  <a:pt x="134" y="65"/>
                  <a:pt x="135" y="67"/>
                </a:cubicBezTo>
                <a:cubicBezTo>
                  <a:pt x="135" y="67"/>
                  <a:pt x="135" y="67"/>
                  <a:pt x="135" y="67"/>
                </a:cubicBezTo>
                <a:cubicBezTo>
                  <a:pt x="141" y="68"/>
                  <a:pt x="141" y="68"/>
                  <a:pt x="141" y="68"/>
                </a:cubicBezTo>
                <a:cubicBezTo>
                  <a:pt x="141" y="69"/>
                  <a:pt x="141" y="70"/>
                  <a:pt x="141" y="71"/>
                </a:cubicBezTo>
                <a:cubicBezTo>
                  <a:pt x="141" y="72"/>
                  <a:pt x="141" y="73"/>
                  <a:pt x="141" y="74"/>
                </a:cubicBezTo>
                <a:cubicBezTo>
                  <a:pt x="135" y="75"/>
                  <a:pt x="135" y="75"/>
                  <a:pt x="135" y="75"/>
                </a:cubicBezTo>
                <a:cubicBezTo>
                  <a:pt x="135" y="75"/>
                  <a:pt x="135" y="75"/>
                  <a:pt x="135" y="75"/>
                </a:cubicBezTo>
                <a:cubicBezTo>
                  <a:pt x="134" y="77"/>
                  <a:pt x="134" y="78"/>
                  <a:pt x="134" y="80"/>
                </a:cubicBezTo>
                <a:cubicBezTo>
                  <a:pt x="134" y="80"/>
                  <a:pt x="134" y="80"/>
                  <a:pt x="134" y="80"/>
                </a:cubicBezTo>
                <a:cubicBezTo>
                  <a:pt x="140" y="82"/>
                  <a:pt x="140" y="82"/>
                  <a:pt x="140" y="82"/>
                </a:cubicBezTo>
                <a:cubicBezTo>
                  <a:pt x="140" y="84"/>
                  <a:pt x="140" y="86"/>
                  <a:pt x="139" y="88"/>
                </a:cubicBezTo>
                <a:cubicBezTo>
                  <a:pt x="133" y="87"/>
                  <a:pt x="133" y="87"/>
                  <a:pt x="133" y="87"/>
                </a:cubicBezTo>
                <a:cubicBezTo>
                  <a:pt x="133" y="88"/>
                  <a:pt x="133" y="88"/>
                  <a:pt x="133" y="88"/>
                </a:cubicBezTo>
                <a:cubicBezTo>
                  <a:pt x="132" y="89"/>
                  <a:pt x="132" y="90"/>
                  <a:pt x="131" y="92"/>
                </a:cubicBezTo>
                <a:cubicBezTo>
                  <a:pt x="131" y="92"/>
                  <a:pt x="131" y="92"/>
                  <a:pt x="131" y="92"/>
                </a:cubicBezTo>
                <a:cubicBezTo>
                  <a:pt x="137" y="95"/>
                  <a:pt x="137" y="95"/>
                  <a:pt x="137" y="95"/>
                </a:cubicBezTo>
                <a:cubicBezTo>
                  <a:pt x="136" y="97"/>
                  <a:pt x="135" y="99"/>
                  <a:pt x="134" y="101"/>
                </a:cubicBezTo>
                <a:cubicBezTo>
                  <a:pt x="128" y="99"/>
                  <a:pt x="128" y="99"/>
                  <a:pt x="128" y="99"/>
                </a:cubicBezTo>
                <a:cubicBezTo>
                  <a:pt x="128" y="99"/>
                  <a:pt x="128" y="99"/>
                  <a:pt x="128" y="99"/>
                </a:cubicBezTo>
                <a:cubicBezTo>
                  <a:pt x="128" y="101"/>
                  <a:pt x="127" y="102"/>
                  <a:pt x="126" y="103"/>
                </a:cubicBezTo>
                <a:cubicBezTo>
                  <a:pt x="126" y="104"/>
                  <a:pt x="126" y="104"/>
                  <a:pt x="126" y="104"/>
                </a:cubicBezTo>
                <a:cubicBezTo>
                  <a:pt x="131" y="108"/>
                  <a:pt x="131" y="108"/>
                  <a:pt x="131" y="108"/>
                </a:cubicBezTo>
                <a:cubicBezTo>
                  <a:pt x="130" y="109"/>
                  <a:pt x="129" y="111"/>
                  <a:pt x="127" y="113"/>
                </a:cubicBezTo>
                <a:cubicBezTo>
                  <a:pt x="122" y="110"/>
                  <a:pt x="122" y="110"/>
                  <a:pt x="122" y="110"/>
                </a:cubicBezTo>
                <a:cubicBezTo>
                  <a:pt x="121" y="110"/>
                  <a:pt x="121" y="110"/>
                  <a:pt x="121" y="110"/>
                </a:cubicBezTo>
                <a:cubicBezTo>
                  <a:pt x="121" y="111"/>
                  <a:pt x="120" y="112"/>
                  <a:pt x="119" y="114"/>
                </a:cubicBezTo>
                <a:cubicBezTo>
                  <a:pt x="118" y="114"/>
                  <a:pt x="118" y="114"/>
                  <a:pt x="118" y="114"/>
                </a:cubicBezTo>
                <a:cubicBezTo>
                  <a:pt x="122" y="119"/>
                  <a:pt x="122" y="119"/>
                  <a:pt x="122" y="119"/>
                </a:cubicBezTo>
                <a:cubicBezTo>
                  <a:pt x="121" y="120"/>
                  <a:pt x="120" y="122"/>
                  <a:pt x="118" y="123"/>
                </a:cubicBezTo>
                <a:cubicBezTo>
                  <a:pt x="113" y="119"/>
                  <a:pt x="113" y="119"/>
                  <a:pt x="113" y="119"/>
                </a:cubicBezTo>
                <a:cubicBezTo>
                  <a:pt x="113" y="119"/>
                  <a:pt x="113" y="119"/>
                  <a:pt x="113" y="119"/>
                </a:cubicBezTo>
                <a:cubicBezTo>
                  <a:pt x="112" y="120"/>
                  <a:pt x="111" y="121"/>
                  <a:pt x="109" y="122"/>
                </a:cubicBezTo>
                <a:cubicBezTo>
                  <a:pt x="109" y="122"/>
                  <a:pt x="109" y="122"/>
                  <a:pt x="109" y="122"/>
                </a:cubicBezTo>
                <a:cubicBezTo>
                  <a:pt x="112" y="128"/>
                  <a:pt x="112" y="128"/>
                  <a:pt x="112" y="128"/>
                </a:cubicBezTo>
                <a:cubicBezTo>
                  <a:pt x="111" y="129"/>
                  <a:pt x="109" y="130"/>
                  <a:pt x="107" y="131"/>
                </a:cubicBezTo>
                <a:cubicBezTo>
                  <a:pt x="103" y="126"/>
                  <a:pt x="103" y="126"/>
                  <a:pt x="103" y="126"/>
                </a:cubicBezTo>
                <a:cubicBezTo>
                  <a:pt x="103" y="127"/>
                  <a:pt x="103" y="127"/>
                  <a:pt x="103" y="127"/>
                </a:cubicBezTo>
                <a:cubicBezTo>
                  <a:pt x="101" y="127"/>
                  <a:pt x="100" y="128"/>
                  <a:pt x="99" y="129"/>
                </a:cubicBezTo>
                <a:cubicBezTo>
                  <a:pt x="98" y="129"/>
                  <a:pt x="98" y="129"/>
                  <a:pt x="98" y="129"/>
                </a:cubicBezTo>
                <a:cubicBezTo>
                  <a:pt x="100" y="135"/>
                  <a:pt x="100" y="135"/>
                  <a:pt x="100" y="135"/>
                </a:cubicBezTo>
                <a:cubicBezTo>
                  <a:pt x="98" y="136"/>
                  <a:pt x="96" y="137"/>
                  <a:pt x="95" y="137"/>
                </a:cubicBezTo>
                <a:cubicBezTo>
                  <a:pt x="92" y="132"/>
                  <a:pt x="92" y="132"/>
                  <a:pt x="92" y="132"/>
                </a:cubicBezTo>
                <a:cubicBezTo>
                  <a:pt x="91" y="132"/>
                  <a:pt x="91" y="132"/>
                  <a:pt x="91" y="132"/>
                </a:cubicBezTo>
                <a:cubicBezTo>
                  <a:pt x="90" y="132"/>
                  <a:pt x="88" y="133"/>
                  <a:pt x="87" y="133"/>
                </a:cubicBezTo>
                <a:cubicBezTo>
                  <a:pt x="87" y="133"/>
                  <a:pt x="87" y="133"/>
                  <a:pt x="87" y="133"/>
                </a:cubicBezTo>
                <a:cubicBezTo>
                  <a:pt x="87" y="140"/>
                  <a:pt x="87" y="140"/>
                  <a:pt x="87" y="140"/>
                </a:cubicBezTo>
                <a:cubicBezTo>
                  <a:pt x="85" y="140"/>
                  <a:pt x="83" y="141"/>
                  <a:pt x="81" y="141"/>
                </a:cubicBezTo>
                <a:cubicBezTo>
                  <a:pt x="79" y="135"/>
                  <a:pt x="79" y="135"/>
                  <a:pt x="79" y="135"/>
                </a:cubicBezTo>
                <a:cubicBezTo>
                  <a:pt x="79" y="135"/>
                  <a:pt x="79" y="135"/>
                  <a:pt x="79" y="135"/>
                </a:cubicBezTo>
                <a:cubicBezTo>
                  <a:pt x="77" y="135"/>
                  <a:pt x="76" y="135"/>
                  <a:pt x="74" y="135"/>
                </a:cubicBezTo>
                <a:cubicBezTo>
                  <a:pt x="74" y="135"/>
                  <a:pt x="74" y="135"/>
                  <a:pt x="74" y="135"/>
                </a:cubicBezTo>
                <a:cubicBezTo>
                  <a:pt x="73" y="142"/>
                  <a:pt x="73" y="142"/>
                  <a:pt x="73" y="142"/>
                </a:cubicBezTo>
                <a:cubicBezTo>
                  <a:pt x="72" y="142"/>
                  <a:pt x="71" y="142"/>
                  <a:pt x="70" y="142"/>
                </a:cubicBezTo>
                <a:close/>
              </a:path>
            </a:pathLst>
          </a:custGeom>
          <a:solidFill>
            <a:srgbClr val="4CC7C4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216" name="Freeform 215"/>
          <p:cNvSpPr>
            <a:spLocks/>
          </p:cNvSpPr>
          <p:nvPr/>
        </p:nvSpPr>
        <p:spPr bwMode="auto">
          <a:xfrm>
            <a:off x="6751609" y="2146342"/>
            <a:ext cx="1137124" cy="1145097"/>
          </a:xfrm>
          <a:custGeom>
            <a:avLst/>
            <a:gdLst>
              <a:gd name="T0" fmla="*/ 66 w 141"/>
              <a:gd name="T1" fmla="*/ 135 h 142"/>
              <a:gd name="T2" fmla="*/ 54 w 141"/>
              <a:gd name="T3" fmla="*/ 140 h 142"/>
              <a:gd name="T4" fmla="*/ 49 w 141"/>
              <a:gd name="T5" fmla="*/ 132 h 142"/>
              <a:gd name="T6" fmla="*/ 42 w 141"/>
              <a:gd name="T7" fmla="*/ 129 h 142"/>
              <a:gd name="T8" fmla="*/ 29 w 141"/>
              <a:gd name="T9" fmla="*/ 128 h 142"/>
              <a:gd name="T10" fmla="*/ 28 w 141"/>
              <a:gd name="T11" fmla="*/ 119 h 142"/>
              <a:gd name="T12" fmla="*/ 22 w 141"/>
              <a:gd name="T13" fmla="*/ 114 h 142"/>
              <a:gd name="T14" fmla="*/ 10 w 141"/>
              <a:gd name="T15" fmla="*/ 108 h 142"/>
              <a:gd name="T16" fmla="*/ 12 w 141"/>
              <a:gd name="T17" fmla="*/ 99 h 142"/>
              <a:gd name="T18" fmla="*/ 10 w 141"/>
              <a:gd name="T19" fmla="*/ 92 h 142"/>
              <a:gd name="T20" fmla="*/ 1 w 141"/>
              <a:gd name="T21" fmla="*/ 82 h 142"/>
              <a:gd name="T22" fmla="*/ 6 w 141"/>
              <a:gd name="T23" fmla="*/ 75 h 142"/>
              <a:gd name="T24" fmla="*/ 6 w 141"/>
              <a:gd name="T25" fmla="*/ 67 h 142"/>
              <a:gd name="T26" fmla="*/ 1 w 141"/>
              <a:gd name="T27" fmla="*/ 60 h 142"/>
              <a:gd name="T28" fmla="*/ 10 w 141"/>
              <a:gd name="T29" fmla="*/ 50 h 142"/>
              <a:gd name="T30" fmla="*/ 12 w 141"/>
              <a:gd name="T31" fmla="*/ 43 h 142"/>
              <a:gd name="T32" fmla="*/ 10 w 141"/>
              <a:gd name="T33" fmla="*/ 34 h 142"/>
              <a:gd name="T34" fmla="*/ 22 w 141"/>
              <a:gd name="T35" fmla="*/ 29 h 142"/>
              <a:gd name="T36" fmla="*/ 28 w 141"/>
              <a:gd name="T37" fmla="*/ 23 h 142"/>
              <a:gd name="T38" fmla="*/ 29 w 141"/>
              <a:gd name="T39" fmla="*/ 14 h 142"/>
              <a:gd name="T40" fmla="*/ 42 w 141"/>
              <a:gd name="T41" fmla="*/ 13 h 142"/>
              <a:gd name="T42" fmla="*/ 49 w 141"/>
              <a:gd name="T43" fmla="*/ 10 h 142"/>
              <a:gd name="T44" fmla="*/ 54 w 141"/>
              <a:gd name="T45" fmla="*/ 2 h 142"/>
              <a:gd name="T46" fmla="*/ 66 w 141"/>
              <a:gd name="T47" fmla="*/ 7 h 142"/>
              <a:gd name="T48" fmla="*/ 73 w 141"/>
              <a:gd name="T49" fmla="*/ 0 h 142"/>
              <a:gd name="T50" fmla="*/ 79 w 141"/>
              <a:gd name="T51" fmla="*/ 7 h 142"/>
              <a:gd name="T52" fmla="*/ 87 w 141"/>
              <a:gd name="T53" fmla="*/ 9 h 142"/>
              <a:gd name="T54" fmla="*/ 100 w 141"/>
              <a:gd name="T55" fmla="*/ 7 h 142"/>
              <a:gd name="T56" fmla="*/ 103 w 141"/>
              <a:gd name="T57" fmla="*/ 16 h 142"/>
              <a:gd name="T58" fmla="*/ 109 w 141"/>
              <a:gd name="T59" fmla="*/ 20 h 142"/>
              <a:gd name="T60" fmla="*/ 122 w 141"/>
              <a:gd name="T61" fmla="*/ 23 h 142"/>
              <a:gd name="T62" fmla="*/ 122 w 141"/>
              <a:gd name="T63" fmla="*/ 32 h 142"/>
              <a:gd name="T64" fmla="*/ 126 w 141"/>
              <a:gd name="T65" fmla="*/ 39 h 142"/>
              <a:gd name="T66" fmla="*/ 137 w 141"/>
              <a:gd name="T67" fmla="*/ 47 h 142"/>
              <a:gd name="T68" fmla="*/ 133 w 141"/>
              <a:gd name="T69" fmla="*/ 55 h 142"/>
              <a:gd name="T70" fmla="*/ 134 w 141"/>
              <a:gd name="T71" fmla="*/ 62 h 142"/>
              <a:gd name="T72" fmla="*/ 141 w 141"/>
              <a:gd name="T73" fmla="*/ 71 h 142"/>
              <a:gd name="T74" fmla="*/ 134 w 141"/>
              <a:gd name="T75" fmla="*/ 80 h 142"/>
              <a:gd name="T76" fmla="*/ 133 w 141"/>
              <a:gd name="T77" fmla="*/ 87 h 142"/>
              <a:gd name="T78" fmla="*/ 137 w 141"/>
              <a:gd name="T79" fmla="*/ 95 h 142"/>
              <a:gd name="T80" fmla="*/ 126 w 141"/>
              <a:gd name="T81" fmla="*/ 103 h 142"/>
              <a:gd name="T82" fmla="*/ 122 w 141"/>
              <a:gd name="T83" fmla="*/ 110 h 142"/>
              <a:gd name="T84" fmla="*/ 122 w 141"/>
              <a:gd name="T85" fmla="*/ 119 h 142"/>
              <a:gd name="T86" fmla="*/ 109 w 141"/>
              <a:gd name="T87" fmla="*/ 122 h 142"/>
              <a:gd name="T88" fmla="*/ 103 w 141"/>
              <a:gd name="T89" fmla="*/ 126 h 142"/>
              <a:gd name="T90" fmla="*/ 100 w 141"/>
              <a:gd name="T91" fmla="*/ 135 h 142"/>
              <a:gd name="T92" fmla="*/ 87 w 141"/>
              <a:gd name="T93" fmla="*/ 133 h 142"/>
              <a:gd name="T94" fmla="*/ 79 w 141"/>
              <a:gd name="T95" fmla="*/ 135 h 142"/>
              <a:gd name="T96" fmla="*/ 73 w 141"/>
              <a:gd name="T97" fmla="*/ 142 h 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41" h="142">
                <a:moveTo>
                  <a:pt x="70" y="142"/>
                </a:moveTo>
                <a:cubicBezTo>
                  <a:pt x="69" y="142"/>
                  <a:pt x="68" y="142"/>
                  <a:pt x="67" y="142"/>
                </a:cubicBezTo>
                <a:cubicBezTo>
                  <a:pt x="67" y="135"/>
                  <a:pt x="67" y="135"/>
                  <a:pt x="67" y="135"/>
                </a:cubicBezTo>
                <a:cubicBezTo>
                  <a:pt x="66" y="135"/>
                  <a:pt x="66" y="135"/>
                  <a:pt x="66" y="135"/>
                </a:cubicBezTo>
                <a:cubicBezTo>
                  <a:pt x="65" y="135"/>
                  <a:pt x="63" y="135"/>
                  <a:pt x="62" y="135"/>
                </a:cubicBezTo>
                <a:cubicBezTo>
                  <a:pt x="61" y="135"/>
                  <a:pt x="61" y="135"/>
                  <a:pt x="61" y="135"/>
                </a:cubicBezTo>
                <a:cubicBezTo>
                  <a:pt x="60" y="141"/>
                  <a:pt x="60" y="141"/>
                  <a:pt x="60" y="141"/>
                </a:cubicBezTo>
                <a:cubicBezTo>
                  <a:pt x="58" y="141"/>
                  <a:pt x="56" y="140"/>
                  <a:pt x="54" y="140"/>
                </a:cubicBezTo>
                <a:cubicBezTo>
                  <a:pt x="54" y="133"/>
                  <a:pt x="54" y="133"/>
                  <a:pt x="54" y="133"/>
                </a:cubicBezTo>
                <a:cubicBezTo>
                  <a:pt x="54" y="133"/>
                  <a:pt x="54" y="133"/>
                  <a:pt x="54" y="133"/>
                </a:cubicBezTo>
                <a:cubicBezTo>
                  <a:pt x="52" y="133"/>
                  <a:pt x="51" y="132"/>
                  <a:pt x="50" y="132"/>
                </a:cubicBezTo>
                <a:cubicBezTo>
                  <a:pt x="49" y="132"/>
                  <a:pt x="49" y="132"/>
                  <a:pt x="49" y="132"/>
                </a:cubicBezTo>
                <a:cubicBezTo>
                  <a:pt x="46" y="137"/>
                  <a:pt x="46" y="137"/>
                  <a:pt x="46" y="137"/>
                </a:cubicBezTo>
                <a:cubicBezTo>
                  <a:pt x="44" y="137"/>
                  <a:pt x="42" y="136"/>
                  <a:pt x="41" y="135"/>
                </a:cubicBezTo>
                <a:cubicBezTo>
                  <a:pt x="42" y="129"/>
                  <a:pt x="42" y="129"/>
                  <a:pt x="42" y="129"/>
                </a:cubicBezTo>
                <a:cubicBezTo>
                  <a:pt x="42" y="129"/>
                  <a:pt x="42" y="129"/>
                  <a:pt x="42" y="129"/>
                </a:cubicBezTo>
                <a:cubicBezTo>
                  <a:pt x="41" y="128"/>
                  <a:pt x="39" y="127"/>
                  <a:pt x="38" y="127"/>
                </a:cubicBezTo>
                <a:cubicBezTo>
                  <a:pt x="38" y="126"/>
                  <a:pt x="38" y="126"/>
                  <a:pt x="38" y="126"/>
                </a:cubicBezTo>
                <a:cubicBezTo>
                  <a:pt x="34" y="131"/>
                  <a:pt x="34" y="131"/>
                  <a:pt x="34" y="131"/>
                </a:cubicBezTo>
                <a:cubicBezTo>
                  <a:pt x="32" y="130"/>
                  <a:pt x="30" y="129"/>
                  <a:pt x="29" y="128"/>
                </a:cubicBezTo>
                <a:cubicBezTo>
                  <a:pt x="32" y="122"/>
                  <a:pt x="32" y="122"/>
                  <a:pt x="32" y="122"/>
                </a:cubicBezTo>
                <a:cubicBezTo>
                  <a:pt x="31" y="122"/>
                  <a:pt x="31" y="122"/>
                  <a:pt x="31" y="122"/>
                </a:cubicBezTo>
                <a:cubicBezTo>
                  <a:pt x="30" y="121"/>
                  <a:pt x="29" y="120"/>
                  <a:pt x="28" y="119"/>
                </a:cubicBezTo>
                <a:cubicBezTo>
                  <a:pt x="28" y="119"/>
                  <a:pt x="28" y="119"/>
                  <a:pt x="28" y="119"/>
                </a:cubicBezTo>
                <a:cubicBezTo>
                  <a:pt x="23" y="123"/>
                  <a:pt x="23" y="123"/>
                  <a:pt x="23" y="123"/>
                </a:cubicBezTo>
                <a:cubicBezTo>
                  <a:pt x="21" y="122"/>
                  <a:pt x="20" y="120"/>
                  <a:pt x="18" y="119"/>
                </a:cubicBezTo>
                <a:cubicBezTo>
                  <a:pt x="22" y="114"/>
                  <a:pt x="22" y="114"/>
                  <a:pt x="22" y="114"/>
                </a:cubicBezTo>
                <a:cubicBezTo>
                  <a:pt x="22" y="114"/>
                  <a:pt x="22" y="114"/>
                  <a:pt x="22" y="114"/>
                </a:cubicBezTo>
                <a:cubicBezTo>
                  <a:pt x="21" y="112"/>
                  <a:pt x="20" y="111"/>
                  <a:pt x="19" y="110"/>
                </a:cubicBezTo>
                <a:cubicBezTo>
                  <a:pt x="19" y="110"/>
                  <a:pt x="19" y="110"/>
                  <a:pt x="19" y="110"/>
                </a:cubicBezTo>
                <a:cubicBezTo>
                  <a:pt x="13" y="113"/>
                  <a:pt x="13" y="113"/>
                  <a:pt x="13" y="113"/>
                </a:cubicBezTo>
                <a:cubicBezTo>
                  <a:pt x="12" y="111"/>
                  <a:pt x="11" y="109"/>
                  <a:pt x="10" y="108"/>
                </a:cubicBezTo>
                <a:cubicBezTo>
                  <a:pt x="15" y="104"/>
                  <a:pt x="15" y="104"/>
                  <a:pt x="15" y="104"/>
                </a:cubicBezTo>
                <a:cubicBezTo>
                  <a:pt x="15" y="103"/>
                  <a:pt x="15" y="103"/>
                  <a:pt x="15" y="103"/>
                </a:cubicBezTo>
                <a:cubicBezTo>
                  <a:pt x="14" y="102"/>
                  <a:pt x="13" y="101"/>
                  <a:pt x="13" y="99"/>
                </a:cubicBezTo>
                <a:cubicBezTo>
                  <a:pt x="12" y="99"/>
                  <a:pt x="12" y="99"/>
                  <a:pt x="12" y="99"/>
                </a:cubicBezTo>
                <a:cubicBezTo>
                  <a:pt x="6" y="101"/>
                  <a:pt x="6" y="101"/>
                  <a:pt x="6" y="101"/>
                </a:cubicBezTo>
                <a:cubicBezTo>
                  <a:pt x="5" y="99"/>
                  <a:pt x="5" y="97"/>
                  <a:pt x="4" y="95"/>
                </a:cubicBezTo>
                <a:cubicBezTo>
                  <a:pt x="10" y="92"/>
                  <a:pt x="10" y="92"/>
                  <a:pt x="10" y="92"/>
                </a:cubicBezTo>
                <a:cubicBezTo>
                  <a:pt x="10" y="92"/>
                  <a:pt x="10" y="92"/>
                  <a:pt x="10" y="92"/>
                </a:cubicBezTo>
                <a:cubicBezTo>
                  <a:pt x="9" y="90"/>
                  <a:pt x="9" y="89"/>
                  <a:pt x="8" y="88"/>
                </a:cubicBezTo>
                <a:cubicBezTo>
                  <a:pt x="8" y="87"/>
                  <a:pt x="8" y="87"/>
                  <a:pt x="8" y="87"/>
                </a:cubicBezTo>
                <a:cubicBezTo>
                  <a:pt x="2" y="88"/>
                  <a:pt x="2" y="88"/>
                  <a:pt x="2" y="88"/>
                </a:cubicBezTo>
                <a:cubicBezTo>
                  <a:pt x="1" y="86"/>
                  <a:pt x="1" y="84"/>
                  <a:pt x="1" y="82"/>
                </a:cubicBezTo>
                <a:cubicBezTo>
                  <a:pt x="7" y="80"/>
                  <a:pt x="7" y="80"/>
                  <a:pt x="7" y="80"/>
                </a:cubicBezTo>
                <a:cubicBezTo>
                  <a:pt x="7" y="80"/>
                  <a:pt x="7" y="80"/>
                  <a:pt x="7" y="80"/>
                </a:cubicBezTo>
                <a:cubicBezTo>
                  <a:pt x="6" y="78"/>
                  <a:pt x="6" y="77"/>
                  <a:pt x="6" y="75"/>
                </a:cubicBezTo>
                <a:cubicBezTo>
                  <a:pt x="6" y="75"/>
                  <a:pt x="6" y="75"/>
                  <a:pt x="6" y="75"/>
                </a:cubicBezTo>
                <a:cubicBezTo>
                  <a:pt x="0" y="74"/>
                  <a:pt x="0" y="74"/>
                  <a:pt x="0" y="74"/>
                </a:cubicBezTo>
                <a:cubicBezTo>
                  <a:pt x="0" y="73"/>
                  <a:pt x="0" y="72"/>
                  <a:pt x="0" y="71"/>
                </a:cubicBezTo>
                <a:cubicBezTo>
                  <a:pt x="0" y="70"/>
                  <a:pt x="0" y="69"/>
                  <a:pt x="0" y="68"/>
                </a:cubicBezTo>
                <a:cubicBezTo>
                  <a:pt x="6" y="67"/>
                  <a:pt x="6" y="67"/>
                  <a:pt x="6" y="67"/>
                </a:cubicBezTo>
                <a:cubicBezTo>
                  <a:pt x="6" y="67"/>
                  <a:pt x="6" y="67"/>
                  <a:pt x="6" y="67"/>
                </a:cubicBezTo>
                <a:cubicBezTo>
                  <a:pt x="6" y="65"/>
                  <a:pt x="6" y="64"/>
                  <a:pt x="7" y="62"/>
                </a:cubicBezTo>
                <a:cubicBezTo>
                  <a:pt x="7" y="62"/>
                  <a:pt x="7" y="62"/>
                  <a:pt x="7" y="62"/>
                </a:cubicBezTo>
                <a:cubicBezTo>
                  <a:pt x="1" y="60"/>
                  <a:pt x="1" y="60"/>
                  <a:pt x="1" y="60"/>
                </a:cubicBezTo>
                <a:cubicBezTo>
                  <a:pt x="1" y="58"/>
                  <a:pt x="1" y="56"/>
                  <a:pt x="2" y="54"/>
                </a:cubicBezTo>
                <a:cubicBezTo>
                  <a:pt x="8" y="55"/>
                  <a:pt x="8" y="55"/>
                  <a:pt x="8" y="55"/>
                </a:cubicBezTo>
                <a:cubicBezTo>
                  <a:pt x="8" y="54"/>
                  <a:pt x="8" y="54"/>
                  <a:pt x="8" y="54"/>
                </a:cubicBezTo>
                <a:cubicBezTo>
                  <a:pt x="9" y="53"/>
                  <a:pt x="9" y="52"/>
                  <a:pt x="10" y="50"/>
                </a:cubicBezTo>
                <a:cubicBezTo>
                  <a:pt x="10" y="50"/>
                  <a:pt x="10" y="50"/>
                  <a:pt x="10" y="50"/>
                </a:cubicBezTo>
                <a:cubicBezTo>
                  <a:pt x="4" y="47"/>
                  <a:pt x="4" y="47"/>
                  <a:pt x="4" y="47"/>
                </a:cubicBezTo>
                <a:cubicBezTo>
                  <a:pt x="5" y="45"/>
                  <a:pt x="5" y="43"/>
                  <a:pt x="6" y="41"/>
                </a:cubicBezTo>
                <a:cubicBezTo>
                  <a:pt x="12" y="43"/>
                  <a:pt x="12" y="43"/>
                  <a:pt x="12" y="43"/>
                </a:cubicBezTo>
                <a:cubicBezTo>
                  <a:pt x="13" y="43"/>
                  <a:pt x="13" y="43"/>
                  <a:pt x="13" y="43"/>
                </a:cubicBezTo>
                <a:cubicBezTo>
                  <a:pt x="13" y="41"/>
                  <a:pt x="14" y="40"/>
                  <a:pt x="15" y="39"/>
                </a:cubicBezTo>
                <a:cubicBezTo>
                  <a:pt x="15" y="38"/>
                  <a:pt x="15" y="38"/>
                  <a:pt x="15" y="38"/>
                </a:cubicBezTo>
                <a:cubicBezTo>
                  <a:pt x="10" y="34"/>
                  <a:pt x="10" y="34"/>
                  <a:pt x="10" y="34"/>
                </a:cubicBezTo>
                <a:cubicBezTo>
                  <a:pt x="11" y="33"/>
                  <a:pt x="12" y="31"/>
                  <a:pt x="13" y="29"/>
                </a:cubicBezTo>
                <a:cubicBezTo>
                  <a:pt x="19" y="32"/>
                  <a:pt x="19" y="32"/>
                  <a:pt x="19" y="32"/>
                </a:cubicBezTo>
                <a:cubicBezTo>
                  <a:pt x="19" y="32"/>
                  <a:pt x="19" y="32"/>
                  <a:pt x="19" y="32"/>
                </a:cubicBezTo>
                <a:cubicBezTo>
                  <a:pt x="20" y="31"/>
                  <a:pt x="21" y="30"/>
                  <a:pt x="22" y="29"/>
                </a:cubicBezTo>
                <a:cubicBezTo>
                  <a:pt x="22" y="28"/>
                  <a:pt x="22" y="28"/>
                  <a:pt x="22" y="28"/>
                </a:cubicBezTo>
                <a:cubicBezTo>
                  <a:pt x="18" y="23"/>
                  <a:pt x="18" y="23"/>
                  <a:pt x="18" y="23"/>
                </a:cubicBezTo>
                <a:cubicBezTo>
                  <a:pt x="20" y="22"/>
                  <a:pt x="21" y="20"/>
                  <a:pt x="23" y="19"/>
                </a:cubicBezTo>
                <a:cubicBezTo>
                  <a:pt x="28" y="23"/>
                  <a:pt x="28" y="23"/>
                  <a:pt x="28" y="23"/>
                </a:cubicBezTo>
                <a:cubicBezTo>
                  <a:pt x="28" y="23"/>
                  <a:pt x="28" y="23"/>
                  <a:pt x="28" y="23"/>
                </a:cubicBezTo>
                <a:cubicBezTo>
                  <a:pt x="29" y="22"/>
                  <a:pt x="30" y="21"/>
                  <a:pt x="31" y="20"/>
                </a:cubicBezTo>
                <a:cubicBezTo>
                  <a:pt x="32" y="20"/>
                  <a:pt x="32" y="20"/>
                  <a:pt x="32" y="20"/>
                </a:cubicBezTo>
                <a:cubicBezTo>
                  <a:pt x="29" y="14"/>
                  <a:pt x="29" y="14"/>
                  <a:pt x="29" y="14"/>
                </a:cubicBezTo>
                <a:cubicBezTo>
                  <a:pt x="30" y="13"/>
                  <a:pt x="32" y="12"/>
                  <a:pt x="34" y="11"/>
                </a:cubicBezTo>
                <a:cubicBezTo>
                  <a:pt x="38" y="16"/>
                  <a:pt x="38" y="16"/>
                  <a:pt x="38" y="16"/>
                </a:cubicBezTo>
                <a:cubicBezTo>
                  <a:pt x="38" y="15"/>
                  <a:pt x="38" y="15"/>
                  <a:pt x="38" y="15"/>
                </a:cubicBezTo>
                <a:cubicBezTo>
                  <a:pt x="39" y="15"/>
                  <a:pt x="41" y="14"/>
                  <a:pt x="42" y="13"/>
                </a:cubicBezTo>
                <a:cubicBezTo>
                  <a:pt x="42" y="13"/>
                  <a:pt x="42" y="13"/>
                  <a:pt x="42" y="13"/>
                </a:cubicBezTo>
                <a:cubicBezTo>
                  <a:pt x="41" y="7"/>
                  <a:pt x="41" y="7"/>
                  <a:pt x="41" y="7"/>
                </a:cubicBezTo>
                <a:cubicBezTo>
                  <a:pt x="42" y="6"/>
                  <a:pt x="44" y="5"/>
                  <a:pt x="46" y="5"/>
                </a:cubicBezTo>
                <a:cubicBezTo>
                  <a:pt x="49" y="10"/>
                  <a:pt x="49" y="10"/>
                  <a:pt x="49" y="10"/>
                </a:cubicBezTo>
                <a:cubicBezTo>
                  <a:pt x="50" y="10"/>
                  <a:pt x="50" y="10"/>
                  <a:pt x="50" y="10"/>
                </a:cubicBezTo>
                <a:cubicBezTo>
                  <a:pt x="51" y="10"/>
                  <a:pt x="52" y="9"/>
                  <a:pt x="54" y="9"/>
                </a:cubicBezTo>
                <a:cubicBezTo>
                  <a:pt x="54" y="9"/>
                  <a:pt x="54" y="9"/>
                  <a:pt x="54" y="9"/>
                </a:cubicBezTo>
                <a:cubicBezTo>
                  <a:pt x="54" y="2"/>
                  <a:pt x="54" y="2"/>
                  <a:pt x="54" y="2"/>
                </a:cubicBezTo>
                <a:cubicBezTo>
                  <a:pt x="56" y="2"/>
                  <a:pt x="58" y="1"/>
                  <a:pt x="60" y="1"/>
                </a:cubicBezTo>
                <a:cubicBezTo>
                  <a:pt x="61" y="7"/>
                  <a:pt x="61" y="7"/>
                  <a:pt x="61" y="7"/>
                </a:cubicBezTo>
                <a:cubicBezTo>
                  <a:pt x="62" y="7"/>
                  <a:pt x="62" y="7"/>
                  <a:pt x="62" y="7"/>
                </a:cubicBezTo>
                <a:cubicBezTo>
                  <a:pt x="63" y="7"/>
                  <a:pt x="65" y="7"/>
                  <a:pt x="66" y="7"/>
                </a:cubicBezTo>
                <a:cubicBezTo>
                  <a:pt x="67" y="7"/>
                  <a:pt x="67" y="7"/>
                  <a:pt x="67" y="7"/>
                </a:cubicBezTo>
                <a:cubicBezTo>
                  <a:pt x="67" y="0"/>
                  <a:pt x="67" y="0"/>
                  <a:pt x="67" y="0"/>
                </a:cubicBezTo>
                <a:cubicBezTo>
                  <a:pt x="68" y="0"/>
                  <a:pt x="69" y="0"/>
                  <a:pt x="70" y="0"/>
                </a:cubicBezTo>
                <a:cubicBezTo>
                  <a:pt x="71" y="0"/>
                  <a:pt x="72" y="0"/>
                  <a:pt x="73" y="0"/>
                </a:cubicBezTo>
                <a:cubicBezTo>
                  <a:pt x="74" y="7"/>
                  <a:pt x="74" y="7"/>
                  <a:pt x="74" y="7"/>
                </a:cubicBezTo>
                <a:cubicBezTo>
                  <a:pt x="74" y="7"/>
                  <a:pt x="74" y="7"/>
                  <a:pt x="74" y="7"/>
                </a:cubicBezTo>
                <a:cubicBezTo>
                  <a:pt x="76" y="7"/>
                  <a:pt x="77" y="7"/>
                  <a:pt x="79" y="7"/>
                </a:cubicBezTo>
                <a:cubicBezTo>
                  <a:pt x="79" y="7"/>
                  <a:pt x="79" y="7"/>
                  <a:pt x="79" y="7"/>
                </a:cubicBezTo>
                <a:cubicBezTo>
                  <a:pt x="81" y="1"/>
                  <a:pt x="81" y="1"/>
                  <a:pt x="81" y="1"/>
                </a:cubicBezTo>
                <a:cubicBezTo>
                  <a:pt x="83" y="1"/>
                  <a:pt x="85" y="2"/>
                  <a:pt x="87" y="2"/>
                </a:cubicBezTo>
                <a:cubicBezTo>
                  <a:pt x="87" y="9"/>
                  <a:pt x="87" y="9"/>
                  <a:pt x="87" y="9"/>
                </a:cubicBezTo>
                <a:cubicBezTo>
                  <a:pt x="87" y="9"/>
                  <a:pt x="87" y="9"/>
                  <a:pt x="87" y="9"/>
                </a:cubicBezTo>
                <a:cubicBezTo>
                  <a:pt x="88" y="9"/>
                  <a:pt x="90" y="10"/>
                  <a:pt x="91" y="10"/>
                </a:cubicBezTo>
                <a:cubicBezTo>
                  <a:pt x="92" y="10"/>
                  <a:pt x="92" y="10"/>
                  <a:pt x="92" y="10"/>
                </a:cubicBezTo>
                <a:cubicBezTo>
                  <a:pt x="95" y="5"/>
                  <a:pt x="95" y="5"/>
                  <a:pt x="95" y="5"/>
                </a:cubicBezTo>
                <a:cubicBezTo>
                  <a:pt x="96" y="5"/>
                  <a:pt x="98" y="6"/>
                  <a:pt x="100" y="7"/>
                </a:cubicBezTo>
                <a:cubicBezTo>
                  <a:pt x="98" y="13"/>
                  <a:pt x="98" y="13"/>
                  <a:pt x="98" y="13"/>
                </a:cubicBezTo>
                <a:cubicBezTo>
                  <a:pt x="99" y="13"/>
                  <a:pt x="99" y="13"/>
                  <a:pt x="99" y="13"/>
                </a:cubicBezTo>
                <a:cubicBezTo>
                  <a:pt x="100" y="14"/>
                  <a:pt x="101" y="15"/>
                  <a:pt x="103" y="15"/>
                </a:cubicBezTo>
                <a:cubicBezTo>
                  <a:pt x="103" y="16"/>
                  <a:pt x="103" y="16"/>
                  <a:pt x="103" y="16"/>
                </a:cubicBezTo>
                <a:cubicBezTo>
                  <a:pt x="107" y="11"/>
                  <a:pt x="107" y="11"/>
                  <a:pt x="107" y="11"/>
                </a:cubicBezTo>
                <a:cubicBezTo>
                  <a:pt x="109" y="12"/>
                  <a:pt x="111" y="13"/>
                  <a:pt x="112" y="14"/>
                </a:cubicBezTo>
                <a:cubicBezTo>
                  <a:pt x="109" y="20"/>
                  <a:pt x="109" y="20"/>
                  <a:pt x="109" y="20"/>
                </a:cubicBezTo>
                <a:cubicBezTo>
                  <a:pt x="109" y="20"/>
                  <a:pt x="109" y="20"/>
                  <a:pt x="109" y="20"/>
                </a:cubicBezTo>
                <a:cubicBezTo>
                  <a:pt x="111" y="21"/>
                  <a:pt x="112" y="22"/>
                  <a:pt x="113" y="23"/>
                </a:cubicBezTo>
                <a:cubicBezTo>
                  <a:pt x="113" y="23"/>
                  <a:pt x="113" y="23"/>
                  <a:pt x="113" y="23"/>
                </a:cubicBezTo>
                <a:cubicBezTo>
                  <a:pt x="118" y="19"/>
                  <a:pt x="118" y="19"/>
                  <a:pt x="118" y="19"/>
                </a:cubicBezTo>
                <a:cubicBezTo>
                  <a:pt x="120" y="20"/>
                  <a:pt x="121" y="22"/>
                  <a:pt x="122" y="23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9" y="29"/>
                  <a:pt x="119" y="29"/>
                  <a:pt x="119" y="29"/>
                </a:cubicBezTo>
                <a:cubicBezTo>
                  <a:pt x="120" y="30"/>
                  <a:pt x="121" y="31"/>
                  <a:pt x="121" y="32"/>
                </a:cubicBezTo>
                <a:cubicBezTo>
                  <a:pt x="122" y="32"/>
                  <a:pt x="122" y="32"/>
                  <a:pt x="122" y="32"/>
                </a:cubicBezTo>
                <a:cubicBezTo>
                  <a:pt x="127" y="29"/>
                  <a:pt x="127" y="29"/>
                  <a:pt x="127" y="29"/>
                </a:cubicBezTo>
                <a:cubicBezTo>
                  <a:pt x="129" y="31"/>
                  <a:pt x="130" y="33"/>
                  <a:pt x="131" y="34"/>
                </a:cubicBezTo>
                <a:cubicBezTo>
                  <a:pt x="126" y="38"/>
                  <a:pt x="126" y="38"/>
                  <a:pt x="126" y="38"/>
                </a:cubicBezTo>
                <a:cubicBezTo>
                  <a:pt x="126" y="39"/>
                  <a:pt x="126" y="39"/>
                  <a:pt x="126" y="39"/>
                </a:cubicBezTo>
                <a:cubicBezTo>
                  <a:pt x="127" y="40"/>
                  <a:pt x="128" y="41"/>
                  <a:pt x="128" y="43"/>
                </a:cubicBezTo>
                <a:cubicBezTo>
                  <a:pt x="128" y="43"/>
                  <a:pt x="128" y="43"/>
                  <a:pt x="128" y="43"/>
                </a:cubicBezTo>
                <a:cubicBezTo>
                  <a:pt x="134" y="41"/>
                  <a:pt x="134" y="41"/>
                  <a:pt x="134" y="41"/>
                </a:cubicBezTo>
                <a:cubicBezTo>
                  <a:pt x="135" y="43"/>
                  <a:pt x="136" y="45"/>
                  <a:pt x="137" y="47"/>
                </a:cubicBezTo>
                <a:cubicBezTo>
                  <a:pt x="131" y="50"/>
                  <a:pt x="131" y="50"/>
                  <a:pt x="131" y="50"/>
                </a:cubicBezTo>
                <a:cubicBezTo>
                  <a:pt x="131" y="50"/>
                  <a:pt x="131" y="50"/>
                  <a:pt x="131" y="50"/>
                </a:cubicBezTo>
                <a:cubicBezTo>
                  <a:pt x="132" y="52"/>
                  <a:pt x="132" y="53"/>
                  <a:pt x="133" y="54"/>
                </a:cubicBezTo>
                <a:cubicBezTo>
                  <a:pt x="133" y="55"/>
                  <a:pt x="133" y="55"/>
                  <a:pt x="133" y="55"/>
                </a:cubicBezTo>
                <a:cubicBezTo>
                  <a:pt x="139" y="54"/>
                  <a:pt x="139" y="54"/>
                  <a:pt x="139" y="54"/>
                </a:cubicBezTo>
                <a:cubicBezTo>
                  <a:pt x="140" y="56"/>
                  <a:pt x="140" y="58"/>
                  <a:pt x="140" y="60"/>
                </a:cubicBezTo>
                <a:cubicBezTo>
                  <a:pt x="134" y="62"/>
                  <a:pt x="134" y="62"/>
                  <a:pt x="134" y="62"/>
                </a:cubicBezTo>
                <a:cubicBezTo>
                  <a:pt x="134" y="62"/>
                  <a:pt x="134" y="62"/>
                  <a:pt x="134" y="62"/>
                </a:cubicBezTo>
                <a:cubicBezTo>
                  <a:pt x="134" y="64"/>
                  <a:pt x="134" y="65"/>
                  <a:pt x="135" y="67"/>
                </a:cubicBezTo>
                <a:cubicBezTo>
                  <a:pt x="135" y="67"/>
                  <a:pt x="135" y="67"/>
                  <a:pt x="135" y="67"/>
                </a:cubicBezTo>
                <a:cubicBezTo>
                  <a:pt x="141" y="68"/>
                  <a:pt x="141" y="68"/>
                  <a:pt x="141" y="68"/>
                </a:cubicBezTo>
                <a:cubicBezTo>
                  <a:pt x="141" y="69"/>
                  <a:pt x="141" y="70"/>
                  <a:pt x="141" y="71"/>
                </a:cubicBezTo>
                <a:cubicBezTo>
                  <a:pt x="141" y="72"/>
                  <a:pt x="141" y="73"/>
                  <a:pt x="141" y="74"/>
                </a:cubicBezTo>
                <a:cubicBezTo>
                  <a:pt x="135" y="75"/>
                  <a:pt x="135" y="75"/>
                  <a:pt x="135" y="75"/>
                </a:cubicBezTo>
                <a:cubicBezTo>
                  <a:pt x="135" y="75"/>
                  <a:pt x="135" y="75"/>
                  <a:pt x="135" y="75"/>
                </a:cubicBezTo>
                <a:cubicBezTo>
                  <a:pt x="134" y="77"/>
                  <a:pt x="134" y="78"/>
                  <a:pt x="134" y="80"/>
                </a:cubicBezTo>
                <a:cubicBezTo>
                  <a:pt x="134" y="80"/>
                  <a:pt x="134" y="80"/>
                  <a:pt x="134" y="80"/>
                </a:cubicBezTo>
                <a:cubicBezTo>
                  <a:pt x="140" y="82"/>
                  <a:pt x="140" y="82"/>
                  <a:pt x="140" y="82"/>
                </a:cubicBezTo>
                <a:cubicBezTo>
                  <a:pt x="140" y="84"/>
                  <a:pt x="140" y="86"/>
                  <a:pt x="139" y="88"/>
                </a:cubicBezTo>
                <a:cubicBezTo>
                  <a:pt x="133" y="87"/>
                  <a:pt x="133" y="87"/>
                  <a:pt x="133" y="87"/>
                </a:cubicBezTo>
                <a:cubicBezTo>
                  <a:pt x="133" y="88"/>
                  <a:pt x="133" y="88"/>
                  <a:pt x="133" y="88"/>
                </a:cubicBezTo>
                <a:cubicBezTo>
                  <a:pt x="132" y="89"/>
                  <a:pt x="132" y="90"/>
                  <a:pt x="131" y="92"/>
                </a:cubicBezTo>
                <a:cubicBezTo>
                  <a:pt x="131" y="92"/>
                  <a:pt x="131" y="92"/>
                  <a:pt x="131" y="92"/>
                </a:cubicBezTo>
                <a:cubicBezTo>
                  <a:pt x="137" y="95"/>
                  <a:pt x="137" y="95"/>
                  <a:pt x="137" y="95"/>
                </a:cubicBezTo>
                <a:cubicBezTo>
                  <a:pt x="136" y="97"/>
                  <a:pt x="135" y="99"/>
                  <a:pt x="134" y="101"/>
                </a:cubicBezTo>
                <a:cubicBezTo>
                  <a:pt x="128" y="99"/>
                  <a:pt x="128" y="99"/>
                  <a:pt x="128" y="99"/>
                </a:cubicBezTo>
                <a:cubicBezTo>
                  <a:pt x="128" y="99"/>
                  <a:pt x="128" y="99"/>
                  <a:pt x="128" y="99"/>
                </a:cubicBezTo>
                <a:cubicBezTo>
                  <a:pt x="128" y="101"/>
                  <a:pt x="127" y="102"/>
                  <a:pt x="126" y="103"/>
                </a:cubicBezTo>
                <a:cubicBezTo>
                  <a:pt x="126" y="104"/>
                  <a:pt x="126" y="104"/>
                  <a:pt x="126" y="104"/>
                </a:cubicBezTo>
                <a:cubicBezTo>
                  <a:pt x="131" y="108"/>
                  <a:pt x="131" y="108"/>
                  <a:pt x="131" y="108"/>
                </a:cubicBezTo>
                <a:cubicBezTo>
                  <a:pt x="130" y="109"/>
                  <a:pt x="129" y="111"/>
                  <a:pt x="127" y="113"/>
                </a:cubicBezTo>
                <a:cubicBezTo>
                  <a:pt x="122" y="110"/>
                  <a:pt x="122" y="110"/>
                  <a:pt x="122" y="110"/>
                </a:cubicBezTo>
                <a:cubicBezTo>
                  <a:pt x="121" y="110"/>
                  <a:pt x="121" y="110"/>
                  <a:pt x="121" y="110"/>
                </a:cubicBezTo>
                <a:cubicBezTo>
                  <a:pt x="121" y="111"/>
                  <a:pt x="120" y="112"/>
                  <a:pt x="119" y="114"/>
                </a:cubicBezTo>
                <a:cubicBezTo>
                  <a:pt x="118" y="114"/>
                  <a:pt x="118" y="114"/>
                  <a:pt x="118" y="114"/>
                </a:cubicBezTo>
                <a:cubicBezTo>
                  <a:pt x="122" y="119"/>
                  <a:pt x="122" y="119"/>
                  <a:pt x="122" y="119"/>
                </a:cubicBezTo>
                <a:cubicBezTo>
                  <a:pt x="121" y="120"/>
                  <a:pt x="120" y="122"/>
                  <a:pt x="118" y="123"/>
                </a:cubicBezTo>
                <a:cubicBezTo>
                  <a:pt x="113" y="119"/>
                  <a:pt x="113" y="119"/>
                  <a:pt x="113" y="119"/>
                </a:cubicBezTo>
                <a:cubicBezTo>
                  <a:pt x="113" y="119"/>
                  <a:pt x="113" y="119"/>
                  <a:pt x="113" y="119"/>
                </a:cubicBezTo>
                <a:cubicBezTo>
                  <a:pt x="112" y="120"/>
                  <a:pt x="111" y="121"/>
                  <a:pt x="109" y="122"/>
                </a:cubicBezTo>
                <a:cubicBezTo>
                  <a:pt x="109" y="122"/>
                  <a:pt x="109" y="122"/>
                  <a:pt x="109" y="122"/>
                </a:cubicBezTo>
                <a:cubicBezTo>
                  <a:pt x="112" y="128"/>
                  <a:pt x="112" y="128"/>
                  <a:pt x="112" y="128"/>
                </a:cubicBezTo>
                <a:cubicBezTo>
                  <a:pt x="111" y="129"/>
                  <a:pt x="109" y="130"/>
                  <a:pt x="107" y="131"/>
                </a:cubicBezTo>
                <a:cubicBezTo>
                  <a:pt x="103" y="126"/>
                  <a:pt x="103" y="126"/>
                  <a:pt x="103" y="126"/>
                </a:cubicBezTo>
                <a:cubicBezTo>
                  <a:pt x="103" y="127"/>
                  <a:pt x="103" y="127"/>
                  <a:pt x="103" y="127"/>
                </a:cubicBezTo>
                <a:cubicBezTo>
                  <a:pt x="101" y="127"/>
                  <a:pt x="100" y="128"/>
                  <a:pt x="99" y="129"/>
                </a:cubicBezTo>
                <a:cubicBezTo>
                  <a:pt x="98" y="129"/>
                  <a:pt x="98" y="129"/>
                  <a:pt x="98" y="129"/>
                </a:cubicBezTo>
                <a:cubicBezTo>
                  <a:pt x="100" y="135"/>
                  <a:pt x="100" y="135"/>
                  <a:pt x="100" y="135"/>
                </a:cubicBezTo>
                <a:cubicBezTo>
                  <a:pt x="98" y="136"/>
                  <a:pt x="96" y="137"/>
                  <a:pt x="95" y="137"/>
                </a:cubicBezTo>
                <a:cubicBezTo>
                  <a:pt x="92" y="132"/>
                  <a:pt x="92" y="132"/>
                  <a:pt x="92" y="132"/>
                </a:cubicBezTo>
                <a:cubicBezTo>
                  <a:pt x="91" y="132"/>
                  <a:pt x="91" y="132"/>
                  <a:pt x="91" y="132"/>
                </a:cubicBezTo>
                <a:cubicBezTo>
                  <a:pt x="90" y="132"/>
                  <a:pt x="88" y="133"/>
                  <a:pt x="87" y="133"/>
                </a:cubicBezTo>
                <a:cubicBezTo>
                  <a:pt x="87" y="133"/>
                  <a:pt x="87" y="133"/>
                  <a:pt x="87" y="133"/>
                </a:cubicBezTo>
                <a:cubicBezTo>
                  <a:pt x="87" y="140"/>
                  <a:pt x="87" y="140"/>
                  <a:pt x="87" y="140"/>
                </a:cubicBezTo>
                <a:cubicBezTo>
                  <a:pt x="85" y="140"/>
                  <a:pt x="83" y="141"/>
                  <a:pt x="81" y="141"/>
                </a:cubicBezTo>
                <a:cubicBezTo>
                  <a:pt x="79" y="135"/>
                  <a:pt x="79" y="135"/>
                  <a:pt x="79" y="135"/>
                </a:cubicBezTo>
                <a:cubicBezTo>
                  <a:pt x="79" y="135"/>
                  <a:pt x="79" y="135"/>
                  <a:pt x="79" y="135"/>
                </a:cubicBezTo>
                <a:cubicBezTo>
                  <a:pt x="77" y="135"/>
                  <a:pt x="76" y="135"/>
                  <a:pt x="74" y="135"/>
                </a:cubicBezTo>
                <a:cubicBezTo>
                  <a:pt x="74" y="135"/>
                  <a:pt x="74" y="135"/>
                  <a:pt x="74" y="135"/>
                </a:cubicBezTo>
                <a:cubicBezTo>
                  <a:pt x="73" y="142"/>
                  <a:pt x="73" y="142"/>
                  <a:pt x="73" y="142"/>
                </a:cubicBezTo>
                <a:cubicBezTo>
                  <a:pt x="72" y="142"/>
                  <a:pt x="71" y="142"/>
                  <a:pt x="70" y="142"/>
                </a:cubicBezTo>
                <a:close/>
              </a:path>
            </a:pathLst>
          </a:custGeom>
          <a:solidFill>
            <a:srgbClr val="E2583D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217" name="Freeform 216"/>
          <p:cNvSpPr>
            <a:spLocks/>
          </p:cNvSpPr>
          <p:nvPr/>
        </p:nvSpPr>
        <p:spPr bwMode="auto">
          <a:xfrm>
            <a:off x="5406258" y="1300713"/>
            <a:ext cx="1341130" cy="1350533"/>
          </a:xfrm>
          <a:custGeom>
            <a:avLst/>
            <a:gdLst>
              <a:gd name="T0" fmla="*/ 66 w 141"/>
              <a:gd name="T1" fmla="*/ 135 h 142"/>
              <a:gd name="T2" fmla="*/ 54 w 141"/>
              <a:gd name="T3" fmla="*/ 140 h 142"/>
              <a:gd name="T4" fmla="*/ 49 w 141"/>
              <a:gd name="T5" fmla="*/ 132 h 142"/>
              <a:gd name="T6" fmla="*/ 42 w 141"/>
              <a:gd name="T7" fmla="*/ 129 h 142"/>
              <a:gd name="T8" fmla="*/ 29 w 141"/>
              <a:gd name="T9" fmla="*/ 128 h 142"/>
              <a:gd name="T10" fmla="*/ 28 w 141"/>
              <a:gd name="T11" fmla="*/ 119 h 142"/>
              <a:gd name="T12" fmla="*/ 22 w 141"/>
              <a:gd name="T13" fmla="*/ 114 h 142"/>
              <a:gd name="T14" fmla="*/ 10 w 141"/>
              <a:gd name="T15" fmla="*/ 108 h 142"/>
              <a:gd name="T16" fmla="*/ 12 w 141"/>
              <a:gd name="T17" fmla="*/ 99 h 142"/>
              <a:gd name="T18" fmla="*/ 10 w 141"/>
              <a:gd name="T19" fmla="*/ 92 h 142"/>
              <a:gd name="T20" fmla="*/ 1 w 141"/>
              <a:gd name="T21" fmla="*/ 82 h 142"/>
              <a:gd name="T22" fmla="*/ 6 w 141"/>
              <a:gd name="T23" fmla="*/ 75 h 142"/>
              <a:gd name="T24" fmla="*/ 6 w 141"/>
              <a:gd name="T25" fmla="*/ 67 h 142"/>
              <a:gd name="T26" fmla="*/ 1 w 141"/>
              <a:gd name="T27" fmla="*/ 60 h 142"/>
              <a:gd name="T28" fmla="*/ 10 w 141"/>
              <a:gd name="T29" fmla="*/ 50 h 142"/>
              <a:gd name="T30" fmla="*/ 12 w 141"/>
              <a:gd name="T31" fmla="*/ 43 h 142"/>
              <a:gd name="T32" fmla="*/ 10 w 141"/>
              <a:gd name="T33" fmla="*/ 34 h 142"/>
              <a:gd name="T34" fmla="*/ 22 w 141"/>
              <a:gd name="T35" fmla="*/ 29 h 142"/>
              <a:gd name="T36" fmla="*/ 28 w 141"/>
              <a:gd name="T37" fmla="*/ 23 h 142"/>
              <a:gd name="T38" fmla="*/ 29 w 141"/>
              <a:gd name="T39" fmla="*/ 14 h 142"/>
              <a:gd name="T40" fmla="*/ 42 w 141"/>
              <a:gd name="T41" fmla="*/ 13 h 142"/>
              <a:gd name="T42" fmla="*/ 49 w 141"/>
              <a:gd name="T43" fmla="*/ 10 h 142"/>
              <a:gd name="T44" fmla="*/ 54 w 141"/>
              <a:gd name="T45" fmla="*/ 2 h 142"/>
              <a:gd name="T46" fmla="*/ 66 w 141"/>
              <a:gd name="T47" fmla="*/ 7 h 142"/>
              <a:gd name="T48" fmla="*/ 73 w 141"/>
              <a:gd name="T49" fmla="*/ 0 h 142"/>
              <a:gd name="T50" fmla="*/ 79 w 141"/>
              <a:gd name="T51" fmla="*/ 7 h 142"/>
              <a:gd name="T52" fmla="*/ 87 w 141"/>
              <a:gd name="T53" fmla="*/ 9 h 142"/>
              <a:gd name="T54" fmla="*/ 100 w 141"/>
              <a:gd name="T55" fmla="*/ 7 h 142"/>
              <a:gd name="T56" fmla="*/ 103 w 141"/>
              <a:gd name="T57" fmla="*/ 16 h 142"/>
              <a:gd name="T58" fmla="*/ 109 w 141"/>
              <a:gd name="T59" fmla="*/ 20 h 142"/>
              <a:gd name="T60" fmla="*/ 122 w 141"/>
              <a:gd name="T61" fmla="*/ 23 h 142"/>
              <a:gd name="T62" fmla="*/ 122 w 141"/>
              <a:gd name="T63" fmla="*/ 32 h 142"/>
              <a:gd name="T64" fmla="*/ 126 w 141"/>
              <a:gd name="T65" fmla="*/ 39 h 142"/>
              <a:gd name="T66" fmla="*/ 137 w 141"/>
              <a:gd name="T67" fmla="*/ 47 h 142"/>
              <a:gd name="T68" fmla="*/ 133 w 141"/>
              <a:gd name="T69" fmla="*/ 55 h 142"/>
              <a:gd name="T70" fmla="*/ 134 w 141"/>
              <a:gd name="T71" fmla="*/ 62 h 142"/>
              <a:gd name="T72" fmla="*/ 141 w 141"/>
              <a:gd name="T73" fmla="*/ 71 h 142"/>
              <a:gd name="T74" fmla="*/ 134 w 141"/>
              <a:gd name="T75" fmla="*/ 80 h 142"/>
              <a:gd name="T76" fmla="*/ 133 w 141"/>
              <a:gd name="T77" fmla="*/ 87 h 142"/>
              <a:gd name="T78" fmla="*/ 137 w 141"/>
              <a:gd name="T79" fmla="*/ 95 h 142"/>
              <a:gd name="T80" fmla="*/ 126 w 141"/>
              <a:gd name="T81" fmla="*/ 103 h 142"/>
              <a:gd name="T82" fmla="*/ 122 w 141"/>
              <a:gd name="T83" fmla="*/ 110 h 142"/>
              <a:gd name="T84" fmla="*/ 122 w 141"/>
              <a:gd name="T85" fmla="*/ 119 h 142"/>
              <a:gd name="T86" fmla="*/ 109 w 141"/>
              <a:gd name="T87" fmla="*/ 122 h 142"/>
              <a:gd name="T88" fmla="*/ 103 w 141"/>
              <a:gd name="T89" fmla="*/ 126 h 142"/>
              <a:gd name="T90" fmla="*/ 100 w 141"/>
              <a:gd name="T91" fmla="*/ 135 h 142"/>
              <a:gd name="T92" fmla="*/ 87 w 141"/>
              <a:gd name="T93" fmla="*/ 133 h 142"/>
              <a:gd name="T94" fmla="*/ 79 w 141"/>
              <a:gd name="T95" fmla="*/ 135 h 142"/>
              <a:gd name="T96" fmla="*/ 73 w 141"/>
              <a:gd name="T97" fmla="*/ 142 h 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41" h="142">
                <a:moveTo>
                  <a:pt x="70" y="142"/>
                </a:moveTo>
                <a:cubicBezTo>
                  <a:pt x="69" y="142"/>
                  <a:pt x="68" y="142"/>
                  <a:pt x="67" y="142"/>
                </a:cubicBezTo>
                <a:cubicBezTo>
                  <a:pt x="67" y="135"/>
                  <a:pt x="67" y="135"/>
                  <a:pt x="67" y="135"/>
                </a:cubicBezTo>
                <a:cubicBezTo>
                  <a:pt x="66" y="135"/>
                  <a:pt x="66" y="135"/>
                  <a:pt x="66" y="135"/>
                </a:cubicBezTo>
                <a:cubicBezTo>
                  <a:pt x="65" y="135"/>
                  <a:pt x="63" y="135"/>
                  <a:pt x="62" y="135"/>
                </a:cubicBezTo>
                <a:cubicBezTo>
                  <a:pt x="61" y="135"/>
                  <a:pt x="61" y="135"/>
                  <a:pt x="61" y="135"/>
                </a:cubicBezTo>
                <a:cubicBezTo>
                  <a:pt x="60" y="141"/>
                  <a:pt x="60" y="141"/>
                  <a:pt x="60" y="141"/>
                </a:cubicBezTo>
                <a:cubicBezTo>
                  <a:pt x="58" y="141"/>
                  <a:pt x="56" y="140"/>
                  <a:pt x="54" y="140"/>
                </a:cubicBezTo>
                <a:cubicBezTo>
                  <a:pt x="54" y="133"/>
                  <a:pt x="54" y="133"/>
                  <a:pt x="54" y="133"/>
                </a:cubicBezTo>
                <a:cubicBezTo>
                  <a:pt x="54" y="133"/>
                  <a:pt x="54" y="133"/>
                  <a:pt x="54" y="133"/>
                </a:cubicBezTo>
                <a:cubicBezTo>
                  <a:pt x="52" y="133"/>
                  <a:pt x="51" y="132"/>
                  <a:pt x="50" y="132"/>
                </a:cubicBezTo>
                <a:cubicBezTo>
                  <a:pt x="49" y="132"/>
                  <a:pt x="49" y="132"/>
                  <a:pt x="49" y="132"/>
                </a:cubicBezTo>
                <a:cubicBezTo>
                  <a:pt x="46" y="137"/>
                  <a:pt x="46" y="137"/>
                  <a:pt x="46" y="137"/>
                </a:cubicBezTo>
                <a:cubicBezTo>
                  <a:pt x="44" y="137"/>
                  <a:pt x="42" y="136"/>
                  <a:pt x="41" y="135"/>
                </a:cubicBezTo>
                <a:cubicBezTo>
                  <a:pt x="42" y="129"/>
                  <a:pt x="42" y="129"/>
                  <a:pt x="42" y="129"/>
                </a:cubicBezTo>
                <a:cubicBezTo>
                  <a:pt x="42" y="129"/>
                  <a:pt x="42" y="129"/>
                  <a:pt x="42" y="129"/>
                </a:cubicBezTo>
                <a:cubicBezTo>
                  <a:pt x="41" y="128"/>
                  <a:pt x="39" y="127"/>
                  <a:pt x="38" y="127"/>
                </a:cubicBezTo>
                <a:cubicBezTo>
                  <a:pt x="38" y="126"/>
                  <a:pt x="38" y="126"/>
                  <a:pt x="38" y="126"/>
                </a:cubicBezTo>
                <a:cubicBezTo>
                  <a:pt x="34" y="131"/>
                  <a:pt x="34" y="131"/>
                  <a:pt x="34" y="131"/>
                </a:cubicBezTo>
                <a:cubicBezTo>
                  <a:pt x="32" y="130"/>
                  <a:pt x="30" y="129"/>
                  <a:pt x="29" y="128"/>
                </a:cubicBezTo>
                <a:cubicBezTo>
                  <a:pt x="32" y="122"/>
                  <a:pt x="32" y="122"/>
                  <a:pt x="32" y="122"/>
                </a:cubicBezTo>
                <a:cubicBezTo>
                  <a:pt x="31" y="122"/>
                  <a:pt x="31" y="122"/>
                  <a:pt x="31" y="122"/>
                </a:cubicBezTo>
                <a:cubicBezTo>
                  <a:pt x="30" y="121"/>
                  <a:pt x="29" y="120"/>
                  <a:pt x="28" y="119"/>
                </a:cubicBezTo>
                <a:cubicBezTo>
                  <a:pt x="28" y="119"/>
                  <a:pt x="28" y="119"/>
                  <a:pt x="28" y="119"/>
                </a:cubicBezTo>
                <a:cubicBezTo>
                  <a:pt x="23" y="123"/>
                  <a:pt x="23" y="123"/>
                  <a:pt x="23" y="123"/>
                </a:cubicBezTo>
                <a:cubicBezTo>
                  <a:pt x="21" y="122"/>
                  <a:pt x="20" y="120"/>
                  <a:pt x="18" y="119"/>
                </a:cubicBezTo>
                <a:cubicBezTo>
                  <a:pt x="22" y="114"/>
                  <a:pt x="22" y="114"/>
                  <a:pt x="22" y="114"/>
                </a:cubicBezTo>
                <a:cubicBezTo>
                  <a:pt x="22" y="114"/>
                  <a:pt x="22" y="114"/>
                  <a:pt x="22" y="114"/>
                </a:cubicBezTo>
                <a:cubicBezTo>
                  <a:pt x="21" y="112"/>
                  <a:pt x="20" y="111"/>
                  <a:pt x="19" y="110"/>
                </a:cubicBezTo>
                <a:cubicBezTo>
                  <a:pt x="19" y="110"/>
                  <a:pt x="19" y="110"/>
                  <a:pt x="19" y="110"/>
                </a:cubicBezTo>
                <a:cubicBezTo>
                  <a:pt x="13" y="113"/>
                  <a:pt x="13" y="113"/>
                  <a:pt x="13" y="113"/>
                </a:cubicBezTo>
                <a:cubicBezTo>
                  <a:pt x="12" y="111"/>
                  <a:pt x="11" y="109"/>
                  <a:pt x="10" y="108"/>
                </a:cubicBezTo>
                <a:cubicBezTo>
                  <a:pt x="15" y="104"/>
                  <a:pt x="15" y="104"/>
                  <a:pt x="15" y="104"/>
                </a:cubicBezTo>
                <a:cubicBezTo>
                  <a:pt x="15" y="103"/>
                  <a:pt x="15" y="103"/>
                  <a:pt x="15" y="103"/>
                </a:cubicBezTo>
                <a:cubicBezTo>
                  <a:pt x="14" y="102"/>
                  <a:pt x="13" y="101"/>
                  <a:pt x="13" y="99"/>
                </a:cubicBezTo>
                <a:cubicBezTo>
                  <a:pt x="12" y="99"/>
                  <a:pt x="12" y="99"/>
                  <a:pt x="12" y="99"/>
                </a:cubicBezTo>
                <a:cubicBezTo>
                  <a:pt x="6" y="101"/>
                  <a:pt x="6" y="101"/>
                  <a:pt x="6" y="101"/>
                </a:cubicBezTo>
                <a:cubicBezTo>
                  <a:pt x="5" y="99"/>
                  <a:pt x="5" y="97"/>
                  <a:pt x="4" y="95"/>
                </a:cubicBezTo>
                <a:cubicBezTo>
                  <a:pt x="10" y="92"/>
                  <a:pt x="10" y="92"/>
                  <a:pt x="10" y="92"/>
                </a:cubicBezTo>
                <a:cubicBezTo>
                  <a:pt x="10" y="92"/>
                  <a:pt x="10" y="92"/>
                  <a:pt x="10" y="92"/>
                </a:cubicBezTo>
                <a:cubicBezTo>
                  <a:pt x="9" y="90"/>
                  <a:pt x="9" y="89"/>
                  <a:pt x="8" y="88"/>
                </a:cubicBezTo>
                <a:cubicBezTo>
                  <a:pt x="8" y="87"/>
                  <a:pt x="8" y="87"/>
                  <a:pt x="8" y="87"/>
                </a:cubicBezTo>
                <a:cubicBezTo>
                  <a:pt x="2" y="88"/>
                  <a:pt x="2" y="88"/>
                  <a:pt x="2" y="88"/>
                </a:cubicBezTo>
                <a:cubicBezTo>
                  <a:pt x="1" y="86"/>
                  <a:pt x="1" y="84"/>
                  <a:pt x="1" y="82"/>
                </a:cubicBezTo>
                <a:cubicBezTo>
                  <a:pt x="7" y="80"/>
                  <a:pt x="7" y="80"/>
                  <a:pt x="7" y="80"/>
                </a:cubicBezTo>
                <a:cubicBezTo>
                  <a:pt x="7" y="80"/>
                  <a:pt x="7" y="80"/>
                  <a:pt x="7" y="80"/>
                </a:cubicBezTo>
                <a:cubicBezTo>
                  <a:pt x="6" y="78"/>
                  <a:pt x="6" y="77"/>
                  <a:pt x="6" y="75"/>
                </a:cubicBezTo>
                <a:cubicBezTo>
                  <a:pt x="6" y="75"/>
                  <a:pt x="6" y="75"/>
                  <a:pt x="6" y="75"/>
                </a:cubicBezTo>
                <a:cubicBezTo>
                  <a:pt x="0" y="74"/>
                  <a:pt x="0" y="74"/>
                  <a:pt x="0" y="74"/>
                </a:cubicBezTo>
                <a:cubicBezTo>
                  <a:pt x="0" y="73"/>
                  <a:pt x="0" y="72"/>
                  <a:pt x="0" y="71"/>
                </a:cubicBezTo>
                <a:cubicBezTo>
                  <a:pt x="0" y="70"/>
                  <a:pt x="0" y="69"/>
                  <a:pt x="0" y="68"/>
                </a:cubicBezTo>
                <a:cubicBezTo>
                  <a:pt x="6" y="67"/>
                  <a:pt x="6" y="67"/>
                  <a:pt x="6" y="67"/>
                </a:cubicBezTo>
                <a:cubicBezTo>
                  <a:pt x="6" y="67"/>
                  <a:pt x="6" y="67"/>
                  <a:pt x="6" y="67"/>
                </a:cubicBezTo>
                <a:cubicBezTo>
                  <a:pt x="6" y="65"/>
                  <a:pt x="6" y="64"/>
                  <a:pt x="7" y="62"/>
                </a:cubicBezTo>
                <a:cubicBezTo>
                  <a:pt x="7" y="62"/>
                  <a:pt x="7" y="62"/>
                  <a:pt x="7" y="62"/>
                </a:cubicBezTo>
                <a:cubicBezTo>
                  <a:pt x="1" y="60"/>
                  <a:pt x="1" y="60"/>
                  <a:pt x="1" y="60"/>
                </a:cubicBezTo>
                <a:cubicBezTo>
                  <a:pt x="1" y="58"/>
                  <a:pt x="1" y="56"/>
                  <a:pt x="2" y="54"/>
                </a:cubicBezTo>
                <a:cubicBezTo>
                  <a:pt x="8" y="55"/>
                  <a:pt x="8" y="55"/>
                  <a:pt x="8" y="55"/>
                </a:cubicBezTo>
                <a:cubicBezTo>
                  <a:pt x="8" y="54"/>
                  <a:pt x="8" y="54"/>
                  <a:pt x="8" y="54"/>
                </a:cubicBezTo>
                <a:cubicBezTo>
                  <a:pt x="9" y="53"/>
                  <a:pt x="9" y="52"/>
                  <a:pt x="10" y="50"/>
                </a:cubicBezTo>
                <a:cubicBezTo>
                  <a:pt x="10" y="50"/>
                  <a:pt x="10" y="50"/>
                  <a:pt x="10" y="50"/>
                </a:cubicBezTo>
                <a:cubicBezTo>
                  <a:pt x="4" y="47"/>
                  <a:pt x="4" y="47"/>
                  <a:pt x="4" y="47"/>
                </a:cubicBezTo>
                <a:cubicBezTo>
                  <a:pt x="5" y="45"/>
                  <a:pt x="5" y="43"/>
                  <a:pt x="6" y="41"/>
                </a:cubicBezTo>
                <a:cubicBezTo>
                  <a:pt x="12" y="43"/>
                  <a:pt x="12" y="43"/>
                  <a:pt x="12" y="43"/>
                </a:cubicBezTo>
                <a:cubicBezTo>
                  <a:pt x="13" y="43"/>
                  <a:pt x="13" y="43"/>
                  <a:pt x="13" y="43"/>
                </a:cubicBezTo>
                <a:cubicBezTo>
                  <a:pt x="13" y="41"/>
                  <a:pt x="14" y="40"/>
                  <a:pt x="15" y="39"/>
                </a:cubicBezTo>
                <a:cubicBezTo>
                  <a:pt x="15" y="38"/>
                  <a:pt x="15" y="38"/>
                  <a:pt x="15" y="38"/>
                </a:cubicBezTo>
                <a:cubicBezTo>
                  <a:pt x="10" y="34"/>
                  <a:pt x="10" y="34"/>
                  <a:pt x="10" y="34"/>
                </a:cubicBezTo>
                <a:cubicBezTo>
                  <a:pt x="11" y="33"/>
                  <a:pt x="12" y="31"/>
                  <a:pt x="13" y="29"/>
                </a:cubicBezTo>
                <a:cubicBezTo>
                  <a:pt x="19" y="32"/>
                  <a:pt x="19" y="32"/>
                  <a:pt x="19" y="32"/>
                </a:cubicBezTo>
                <a:cubicBezTo>
                  <a:pt x="19" y="32"/>
                  <a:pt x="19" y="32"/>
                  <a:pt x="19" y="32"/>
                </a:cubicBezTo>
                <a:cubicBezTo>
                  <a:pt x="20" y="31"/>
                  <a:pt x="21" y="30"/>
                  <a:pt x="22" y="29"/>
                </a:cubicBezTo>
                <a:cubicBezTo>
                  <a:pt x="22" y="28"/>
                  <a:pt x="22" y="28"/>
                  <a:pt x="22" y="28"/>
                </a:cubicBezTo>
                <a:cubicBezTo>
                  <a:pt x="18" y="23"/>
                  <a:pt x="18" y="23"/>
                  <a:pt x="18" y="23"/>
                </a:cubicBezTo>
                <a:cubicBezTo>
                  <a:pt x="20" y="22"/>
                  <a:pt x="21" y="20"/>
                  <a:pt x="23" y="19"/>
                </a:cubicBezTo>
                <a:cubicBezTo>
                  <a:pt x="28" y="23"/>
                  <a:pt x="28" y="23"/>
                  <a:pt x="28" y="23"/>
                </a:cubicBezTo>
                <a:cubicBezTo>
                  <a:pt x="28" y="23"/>
                  <a:pt x="28" y="23"/>
                  <a:pt x="28" y="23"/>
                </a:cubicBezTo>
                <a:cubicBezTo>
                  <a:pt x="29" y="22"/>
                  <a:pt x="30" y="21"/>
                  <a:pt x="31" y="20"/>
                </a:cubicBezTo>
                <a:cubicBezTo>
                  <a:pt x="32" y="20"/>
                  <a:pt x="32" y="20"/>
                  <a:pt x="32" y="20"/>
                </a:cubicBezTo>
                <a:cubicBezTo>
                  <a:pt x="29" y="14"/>
                  <a:pt x="29" y="14"/>
                  <a:pt x="29" y="14"/>
                </a:cubicBezTo>
                <a:cubicBezTo>
                  <a:pt x="30" y="13"/>
                  <a:pt x="32" y="12"/>
                  <a:pt x="34" y="11"/>
                </a:cubicBezTo>
                <a:cubicBezTo>
                  <a:pt x="38" y="16"/>
                  <a:pt x="38" y="16"/>
                  <a:pt x="38" y="16"/>
                </a:cubicBezTo>
                <a:cubicBezTo>
                  <a:pt x="38" y="15"/>
                  <a:pt x="38" y="15"/>
                  <a:pt x="38" y="15"/>
                </a:cubicBezTo>
                <a:cubicBezTo>
                  <a:pt x="39" y="15"/>
                  <a:pt x="41" y="14"/>
                  <a:pt x="42" y="13"/>
                </a:cubicBezTo>
                <a:cubicBezTo>
                  <a:pt x="42" y="13"/>
                  <a:pt x="42" y="13"/>
                  <a:pt x="42" y="13"/>
                </a:cubicBezTo>
                <a:cubicBezTo>
                  <a:pt x="41" y="7"/>
                  <a:pt x="41" y="7"/>
                  <a:pt x="41" y="7"/>
                </a:cubicBezTo>
                <a:cubicBezTo>
                  <a:pt x="42" y="6"/>
                  <a:pt x="44" y="5"/>
                  <a:pt x="46" y="5"/>
                </a:cubicBezTo>
                <a:cubicBezTo>
                  <a:pt x="49" y="10"/>
                  <a:pt x="49" y="10"/>
                  <a:pt x="49" y="10"/>
                </a:cubicBezTo>
                <a:cubicBezTo>
                  <a:pt x="50" y="10"/>
                  <a:pt x="50" y="10"/>
                  <a:pt x="50" y="10"/>
                </a:cubicBezTo>
                <a:cubicBezTo>
                  <a:pt x="51" y="10"/>
                  <a:pt x="52" y="9"/>
                  <a:pt x="54" y="9"/>
                </a:cubicBezTo>
                <a:cubicBezTo>
                  <a:pt x="54" y="9"/>
                  <a:pt x="54" y="9"/>
                  <a:pt x="54" y="9"/>
                </a:cubicBezTo>
                <a:cubicBezTo>
                  <a:pt x="54" y="2"/>
                  <a:pt x="54" y="2"/>
                  <a:pt x="54" y="2"/>
                </a:cubicBezTo>
                <a:cubicBezTo>
                  <a:pt x="56" y="2"/>
                  <a:pt x="58" y="1"/>
                  <a:pt x="60" y="1"/>
                </a:cubicBezTo>
                <a:cubicBezTo>
                  <a:pt x="61" y="7"/>
                  <a:pt x="61" y="7"/>
                  <a:pt x="61" y="7"/>
                </a:cubicBezTo>
                <a:cubicBezTo>
                  <a:pt x="62" y="7"/>
                  <a:pt x="62" y="7"/>
                  <a:pt x="62" y="7"/>
                </a:cubicBezTo>
                <a:cubicBezTo>
                  <a:pt x="63" y="7"/>
                  <a:pt x="65" y="7"/>
                  <a:pt x="66" y="7"/>
                </a:cubicBezTo>
                <a:cubicBezTo>
                  <a:pt x="67" y="7"/>
                  <a:pt x="67" y="7"/>
                  <a:pt x="67" y="7"/>
                </a:cubicBezTo>
                <a:cubicBezTo>
                  <a:pt x="67" y="0"/>
                  <a:pt x="67" y="0"/>
                  <a:pt x="67" y="0"/>
                </a:cubicBezTo>
                <a:cubicBezTo>
                  <a:pt x="68" y="0"/>
                  <a:pt x="69" y="0"/>
                  <a:pt x="70" y="0"/>
                </a:cubicBezTo>
                <a:cubicBezTo>
                  <a:pt x="71" y="0"/>
                  <a:pt x="72" y="0"/>
                  <a:pt x="73" y="0"/>
                </a:cubicBezTo>
                <a:cubicBezTo>
                  <a:pt x="74" y="7"/>
                  <a:pt x="74" y="7"/>
                  <a:pt x="74" y="7"/>
                </a:cubicBezTo>
                <a:cubicBezTo>
                  <a:pt x="74" y="7"/>
                  <a:pt x="74" y="7"/>
                  <a:pt x="74" y="7"/>
                </a:cubicBezTo>
                <a:cubicBezTo>
                  <a:pt x="76" y="7"/>
                  <a:pt x="77" y="7"/>
                  <a:pt x="79" y="7"/>
                </a:cubicBezTo>
                <a:cubicBezTo>
                  <a:pt x="79" y="7"/>
                  <a:pt x="79" y="7"/>
                  <a:pt x="79" y="7"/>
                </a:cubicBezTo>
                <a:cubicBezTo>
                  <a:pt x="81" y="1"/>
                  <a:pt x="81" y="1"/>
                  <a:pt x="81" y="1"/>
                </a:cubicBezTo>
                <a:cubicBezTo>
                  <a:pt x="83" y="1"/>
                  <a:pt x="85" y="2"/>
                  <a:pt x="87" y="2"/>
                </a:cubicBezTo>
                <a:cubicBezTo>
                  <a:pt x="87" y="9"/>
                  <a:pt x="87" y="9"/>
                  <a:pt x="87" y="9"/>
                </a:cubicBezTo>
                <a:cubicBezTo>
                  <a:pt x="87" y="9"/>
                  <a:pt x="87" y="9"/>
                  <a:pt x="87" y="9"/>
                </a:cubicBezTo>
                <a:cubicBezTo>
                  <a:pt x="88" y="9"/>
                  <a:pt x="90" y="10"/>
                  <a:pt x="91" y="10"/>
                </a:cubicBezTo>
                <a:cubicBezTo>
                  <a:pt x="92" y="10"/>
                  <a:pt x="92" y="10"/>
                  <a:pt x="92" y="10"/>
                </a:cubicBezTo>
                <a:cubicBezTo>
                  <a:pt x="95" y="5"/>
                  <a:pt x="95" y="5"/>
                  <a:pt x="95" y="5"/>
                </a:cubicBezTo>
                <a:cubicBezTo>
                  <a:pt x="96" y="5"/>
                  <a:pt x="98" y="6"/>
                  <a:pt x="100" y="7"/>
                </a:cubicBezTo>
                <a:cubicBezTo>
                  <a:pt x="98" y="13"/>
                  <a:pt x="98" y="13"/>
                  <a:pt x="98" y="13"/>
                </a:cubicBezTo>
                <a:cubicBezTo>
                  <a:pt x="99" y="13"/>
                  <a:pt x="99" y="13"/>
                  <a:pt x="99" y="13"/>
                </a:cubicBezTo>
                <a:cubicBezTo>
                  <a:pt x="100" y="14"/>
                  <a:pt x="101" y="15"/>
                  <a:pt x="103" y="15"/>
                </a:cubicBezTo>
                <a:cubicBezTo>
                  <a:pt x="103" y="16"/>
                  <a:pt x="103" y="16"/>
                  <a:pt x="103" y="16"/>
                </a:cubicBezTo>
                <a:cubicBezTo>
                  <a:pt x="107" y="11"/>
                  <a:pt x="107" y="11"/>
                  <a:pt x="107" y="11"/>
                </a:cubicBezTo>
                <a:cubicBezTo>
                  <a:pt x="109" y="12"/>
                  <a:pt x="111" y="13"/>
                  <a:pt x="112" y="14"/>
                </a:cubicBezTo>
                <a:cubicBezTo>
                  <a:pt x="109" y="20"/>
                  <a:pt x="109" y="20"/>
                  <a:pt x="109" y="20"/>
                </a:cubicBezTo>
                <a:cubicBezTo>
                  <a:pt x="109" y="20"/>
                  <a:pt x="109" y="20"/>
                  <a:pt x="109" y="20"/>
                </a:cubicBezTo>
                <a:cubicBezTo>
                  <a:pt x="111" y="21"/>
                  <a:pt x="112" y="22"/>
                  <a:pt x="113" y="23"/>
                </a:cubicBezTo>
                <a:cubicBezTo>
                  <a:pt x="113" y="23"/>
                  <a:pt x="113" y="23"/>
                  <a:pt x="113" y="23"/>
                </a:cubicBezTo>
                <a:cubicBezTo>
                  <a:pt x="118" y="19"/>
                  <a:pt x="118" y="19"/>
                  <a:pt x="118" y="19"/>
                </a:cubicBezTo>
                <a:cubicBezTo>
                  <a:pt x="120" y="20"/>
                  <a:pt x="121" y="22"/>
                  <a:pt x="122" y="23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9" y="29"/>
                  <a:pt x="119" y="29"/>
                  <a:pt x="119" y="29"/>
                </a:cubicBezTo>
                <a:cubicBezTo>
                  <a:pt x="120" y="30"/>
                  <a:pt x="121" y="31"/>
                  <a:pt x="121" y="32"/>
                </a:cubicBezTo>
                <a:cubicBezTo>
                  <a:pt x="122" y="32"/>
                  <a:pt x="122" y="32"/>
                  <a:pt x="122" y="32"/>
                </a:cubicBezTo>
                <a:cubicBezTo>
                  <a:pt x="127" y="29"/>
                  <a:pt x="127" y="29"/>
                  <a:pt x="127" y="29"/>
                </a:cubicBezTo>
                <a:cubicBezTo>
                  <a:pt x="129" y="31"/>
                  <a:pt x="130" y="33"/>
                  <a:pt x="131" y="34"/>
                </a:cubicBezTo>
                <a:cubicBezTo>
                  <a:pt x="126" y="38"/>
                  <a:pt x="126" y="38"/>
                  <a:pt x="126" y="38"/>
                </a:cubicBezTo>
                <a:cubicBezTo>
                  <a:pt x="126" y="39"/>
                  <a:pt x="126" y="39"/>
                  <a:pt x="126" y="39"/>
                </a:cubicBezTo>
                <a:cubicBezTo>
                  <a:pt x="127" y="40"/>
                  <a:pt x="128" y="41"/>
                  <a:pt x="128" y="43"/>
                </a:cubicBezTo>
                <a:cubicBezTo>
                  <a:pt x="128" y="43"/>
                  <a:pt x="128" y="43"/>
                  <a:pt x="128" y="43"/>
                </a:cubicBezTo>
                <a:cubicBezTo>
                  <a:pt x="134" y="41"/>
                  <a:pt x="134" y="41"/>
                  <a:pt x="134" y="41"/>
                </a:cubicBezTo>
                <a:cubicBezTo>
                  <a:pt x="135" y="43"/>
                  <a:pt x="136" y="45"/>
                  <a:pt x="137" y="47"/>
                </a:cubicBezTo>
                <a:cubicBezTo>
                  <a:pt x="131" y="50"/>
                  <a:pt x="131" y="50"/>
                  <a:pt x="131" y="50"/>
                </a:cubicBezTo>
                <a:cubicBezTo>
                  <a:pt x="131" y="50"/>
                  <a:pt x="131" y="50"/>
                  <a:pt x="131" y="50"/>
                </a:cubicBezTo>
                <a:cubicBezTo>
                  <a:pt x="132" y="52"/>
                  <a:pt x="132" y="53"/>
                  <a:pt x="133" y="54"/>
                </a:cubicBezTo>
                <a:cubicBezTo>
                  <a:pt x="133" y="55"/>
                  <a:pt x="133" y="55"/>
                  <a:pt x="133" y="55"/>
                </a:cubicBezTo>
                <a:cubicBezTo>
                  <a:pt x="139" y="54"/>
                  <a:pt x="139" y="54"/>
                  <a:pt x="139" y="54"/>
                </a:cubicBezTo>
                <a:cubicBezTo>
                  <a:pt x="140" y="56"/>
                  <a:pt x="140" y="58"/>
                  <a:pt x="140" y="60"/>
                </a:cubicBezTo>
                <a:cubicBezTo>
                  <a:pt x="134" y="62"/>
                  <a:pt x="134" y="62"/>
                  <a:pt x="134" y="62"/>
                </a:cubicBezTo>
                <a:cubicBezTo>
                  <a:pt x="134" y="62"/>
                  <a:pt x="134" y="62"/>
                  <a:pt x="134" y="62"/>
                </a:cubicBezTo>
                <a:cubicBezTo>
                  <a:pt x="134" y="64"/>
                  <a:pt x="134" y="65"/>
                  <a:pt x="135" y="67"/>
                </a:cubicBezTo>
                <a:cubicBezTo>
                  <a:pt x="135" y="67"/>
                  <a:pt x="135" y="67"/>
                  <a:pt x="135" y="67"/>
                </a:cubicBezTo>
                <a:cubicBezTo>
                  <a:pt x="141" y="68"/>
                  <a:pt x="141" y="68"/>
                  <a:pt x="141" y="68"/>
                </a:cubicBezTo>
                <a:cubicBezTo>
                  <a:pt x="141" y="69"/>
                  <a:pt x="141" y="70"/>
                  <a:pt x="141" y="71"/>
                </a:cubicBezTo>
                <a:cubicBezTo>
                  <a:pt x="141" y="72"/>
                  <a:pt x="141" y="73"/>
                  <a:pt x="141" y="74"/>
                </a:cubicBezTo>
                <a:cubicBezTo>
                  <a:pt x="135" y="75"/>
                  <a:pt x="135" y="75"/>
                  <a:pt x="135" y="75"/>
                </a:cubicBezTo>
                <a:cubicBezTo>
                  <a:pt x="135" y="75"/>
                  <a:pt x="135" y="75"/>
                  <a:pt x="135" y="75"/>
                </a:cubicBezTo>
                <a:cubicBezTo>
                  <a:pt x="134" y="77"/>
                  <a:pt x="134" y="78"/>
                  <a:pt x="134" y="80"/>
                </a:cubicBezTo>
                <a:cubicBezTo>
                  <a:pt x="134" y="80"/>
                  <a:pt x="134" y="80"/>
                  <a:pt x="134" y="80"/>
                </a:cubicBezTo>
                <a:cubicBezTo>
                  <a:pt x="140" y="82"/>
                  <a:pt x="140" y="82"/>
                  <a:pt x="140" y="82"/>
                </a:cubicBezTo>
                <a:cubicBezTo>
                  <a:pt x="140" y="84"/>
                  <a:pt x="140" y="86"/>
                  <a:pt x="139" y="88"/>
                </a:cubicBezTo>
                <a:cubicBezTo>
                  <a:pt x="133" y="87"/>
                  <a:pt x="133" y="87"/>
                  <a:pt x="133" y="87"/>
                </a:cubicBezTo>
                <a:cubicBezTo>
                  <a:pt x="133" y="88"/>
                  <a:pt x="133" y="88"/>
                  <a:pt x="133" y="88"/>
                </a:cubicBezTo>
                <a:cubicBezTo>
                  <a:pt x="132" y="89"/>
                  <a:pt x="132" y="90"/>
                  <a:pt x="131" y="92"/>
                </a:cubicBezTo>
                <a:cubicBezTo>
                  <a:pt x="131" y="92"/>
                  <a:pt x="131" y="92"/>
                  <a:pt x="131" y="92"/>
                </a:cubicBezTo>
                <a:cubicBezTo>
                  <a:pt x="137" y="95"/>
                  <a:pt x="137" y="95"/>
                  <a:pt x="137" y="95"/>
                </a:cubicBezTo>
                <a:cubicBezTo>
                  <a:pt x="136" y="97"/>
                  <a:pt x="135" y="99"/>
                  <a:pt x="134" y="101"/>
                </a:cubicBezTo>
                <a:cubicBezTo>
                  <a:pt x="128" y="99"/>
                  <a:pt x="128" y="99"/>
                  <a:pt x="128" y="99"/>
                </a:cubicBezTo>
                <a:cubicBezTo>
                  <a:pt x="128" y="99"/>
                  <a:pt x="128" y="99"/>
                  <a:pt x="128" y="99"/>
                </a:cubicBezTo>
                <a:cubicBezTo>
                  <a:pt x="128" y="101"/>
                  <a:pt x="127" y="102"/>
                  <a:pt x="126" y="103"/>
                </a:cubicBezTo>
                <a:cubicBezTo>
                  <a:pt x="126" y="104"/>
                  <a:pt x="126" y="104"/>
                  <a:pt x="126" y="104"/>
                </a:cubicBezTo>
                <a:cubicBezTo>
                  <a:pt x="131" y="108"/>
                  <a:pt x="131" y="108"/>
                  <a:pt x="131" y="108"/>
                </a:cubicBezTo>
                <a:cubicBezTo>
                  <a:pt x="130" y="109"/>
                  <a:pt x="129" y="111"/>
                  <a:pt x="127" y="113"/>
                </a:cubicBezTo>
                <a:cubicBezTo>
                  <a:pt x="122" y="110"/>
                  <a:pt x="122" y="110"/>
                  <a:pt x="122" y="110"/>
                </a:cubicBezTo>
                <a:cubicBezTo>
                  <a:pt x="121" y="110"/>
                  <a:pt x="121" y="110"/>
                  <a:pt x="121" y="110"/>
                </a:cubicBezTo>
                <a:cubicBezTo>
                  <a:pt x="121" y="111"/>
                  <a:pt x="120" y="112"/>
                  <a:pt x="119" y="114"/>
                </a:cubicBezTo>
                <a:cubicBezTo>
                  <a:pt x="118" y="114"/>
                  <a:pt x="118" y="114"/>
                  <a:pt x="118" y="114"/>
                </a:cubicBezTo>
                <a:cubicBezTo>
                  <a:pt x="122" y="119"/>
                  <a:pt x="122" y="119"/>
                  <a:pt x="122" y="119"/>
                </a:cubicBezTo>
                <a:cubicBezTo>
                  <a:pt x="121" y="120"/>
                  <a:pt x="120" y="122"/>
                  <a:pt x="118" y="123"/>
                </a:cubicBezTo>
                <a:cubicBezTo>
                  <a:pt x="113" y="119"/>
                  <a:pt x="113" y="119"/>
                  <a:pt x="113" y="119"/>
                </a:cubicBezTo>
                <a:cubicBezTo>
                  <a:pt x="113" y="119"/>
                  <a:pt x="113" y="119"/>
                  <a:pt x="113" y="119"/>
                </a:cubicBezTo>
                <a:cubicBezTo>
                  <a:pt x="112" y="120"/>
                  <a:pt x="111" y="121"/>
                  <a:pt x="109" y="122"/>
                </a:cubicBezTo>
                <a:cubicBezTo>
                  <a:pt x="109" y="122"/>
                  <a:pt x="109" y="122"/>
                  <a:pt x="109" y="122"/>
                </a:cubicBezTo>
                <a:cubicBezTo>
                  <a:pt x="112" y="128"/>
                  <a:pt x="112" y="128"/>
                  <a:pt x="112" y="128"/>
                </a:cubicBezTo>
                <a:cubicBezTo>
                  <a:pt x="111" y="129"/>
                  <a:pt x="109" y="130"/>
                  <a:pt x="107" y="131"/>
                </a:cubicBezTo>
                <a:cubicBezTo>
                  <a:pt x="103" y="126"/>
                  <a:pt x="103" y="126"/>
                  <a:pt x="103" y="126"/>
                </a:cubicBezTo>
                <a:cubicBezTo>
                  <a:pt x="103" y="127"/>
                  <a:pt x="103" y="127"/>
                  <a:pt x="103" y="127"/>
                </a:cubicBezTo>
                <a:cubicBezTo>
                  <a:pt x="101" y="127"/>
                  <a:pt x="100" y="128"/>
                  <a:pt x="99" y="129"/>
                </a:cubicBezTo>
                <a:cubicBezTo>
                  <a:pt x="98" y="129"/>
                  <a:pt x="98" y="129"/>
                  <a:pt x="98" y="129"/>
                </a:cubicBezTo>
                <a:cubicBezTo>
                  <a:pt x="100" y="135"/>
                  <a:pt x="100" y="135"/>
                  <a:pt x="100" y="135"/>
                </a:cubicBezTo>
                <a:cubicBezTo>
                  <a:pt x="98" y="136"/>
                  <a:pt x="96" y="137"/>
                  <a:pt x="95" y="137"/>
                </a:cubicBezTo>
                <a:cubicBezTo>
                  <a:pt x="92" y="132"/>
                  <a:pt x="92" y="132"/>
                  <a:pt x="92" y="132"/>
                </a:cubicBezTo>
                <a:cubicBezTo>
                  <a:pt x="91" y="132"/>
                  <a:pt x="91" y="132"/>
                  <a:pt x="91" y="132"/>
                </a:cubicBezTo>
                <a:cubicBezTo>
                  <a:pt x="90" y="132"/>
                  <a:pt x="88" y="133"/>
                  <a:pt x="87" y="133"/>
                </a:cubicBezTo>
                <a:cubicBezTo>
                  <a:pt x="87" y="133"/>
                  <a:pt x="87" y="133"/>
                  <a:pt x="87" y="133"/>
                </a:cubicBezTo>
                <a:cubicBezTo>
                  <a:pt x="87" y="140"/>
                  <a:pt x="87" y="140"/>
                  <a:pt x="87" y="140"/>
                </a:cubicBezTo>
                <a:cubicBezTo>
                  <a:pt x="85" y="140"/>
                  <a:pt x="83" y="141"/>
                  <a:pt x="81" y="141"/>
                </a:cubicBezTo>
                <a:cubicBezTo>
                  <a:pt x="79" y="135"/>
                  <a:pt x="79" y="135"/>
                  <a:pt x="79" y="135"/>
                </a:cubicBezTo>
                <a:cubicBezTo>
                  <a:pt x="79" y="135"/>
                  <a:pt x="79" y="135"/>
                  <a:pt x="79" y="135"/>
                </a:cubicBezTo>
                <a:cubicBezTo>
                  <a:pt x="77" y="135"/>
                  <a:pt x="76" y="135"/>
                  <a:pt x="74" y="135"/>
                </a:cubicBezTo>
                <a:cubicBezTo>
                  <a:pt x="74" y="135"/>
                  <a:pt x="74" y="135"/>
                  <a:pt x="74" y="135"/>
                </a:cubicBezTo>
                <a:cubicBezTo>
                  <a:pt x="73" y="142"/>
                  <a:pt x="73" y="142"/>
                  <a:pt x="73" y="142"/>
                </a:cubicBezTo>
                <a:cubicBezTo>
                  <a:pt x="72" y="142"/>
                  <a:pt x="71" y="142"/>
                  <a:pt x="70" y="142"/>
                </a:cubicBezTo>
                <a:close/>
              </a:path>
            </a:pathLst>
          </a:custGeom>
          <a:solidFill>
            <a:srgbClr val="3B3939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218" name="Freeform 217"/>
          <p:cNvSpPr>
            <a:spLocks/>
          </p:cNvSpPr>
          <p:nvPr/>
        </p:nvSpPr>
        <p:spPr bwMode="auto">
          <a:xfrm flipH="1">
            <a:off x="5348602" y="4379500"/>
            <a:ext cx="660999" cy="665632"/>
          </a:xfrm>
          <a:custGeom>
            <a:avLst/>
            <a:gdLst>
              <a:gd name="T0" fmla="*/ 66 w 141"/>
              <a:gd name="T1" fmla="*/ 135 h 142"/>
              <a:gd name="T2" fmla="*/ 54 w 141"/>
              <a:gd name="T3" fmla="*/ 140 h 142"/>
              <a:gd name="T4" fmla="*/ 49 w 141"/>
              <a:gd name="T5" fmla="*/ 132 h 142"/>
              <a:gd name="T6" fmla="*/ 42 w 141"/>
              <a:gd name="T7" fmla="*/ 129 h 142"/>
              <a:gd name="T8" fmla="*/ 29 w 141"/>
              <a:gd name="T9" fmla="*/ 128 h 142"/>
              <a:gd name="T10" fmla="*/ 28 w 141"/>
              <a:gd name="T11" fmla="*/ 119 h 142"/>
              <a:gd name="T12" fmla="*/ 22 w 141"/>
              <a:gd name="T13" fmla="*/ 114 h 142"/>
              <a:gd name="T14" fmla="*/ 10 w 141"/>
              <a:gd name="T15" fmla="*/ 108 h 142"/>
              <a:gd name="T16" fmla="*/ 12 w 141"/>
              <a:gd name="T17" fmla="*/ 99 h 142"/>
              <a:gd name="T18" fmla="*/ 10 w 141"/>
              <a:gd name="T19" fmla="*/ 92 h 142"/>
              <a:gd name="T20" fmla="*/ 1 w 141"/>
              <a:gd name="T21" fmla="*/ 82 h 142"/>
              <a:gd name="T22" fmla="*/ 6 w 141"/>
              <a:gd name="T23" fmla="*/ 75 h 142"/>
              <a:gd name="T24" fmla="*/ 6 w 141"/>
              <a:gd name="T25" fmla="*/ 67 h 142"/>
              <a:gd name="T26" fmla="*/ 1 w 141"/>
              <a:gd name="T27" fmla="*/ 60 h 142"/>
              <a:gd name="T28" fmla="*/ 10 w 141"/>
              <a:gd name="T29" fmla="*/ 50 h 142"/>
              <a:gd name="T30" fmla="*/ 12 w 141"/>
              <a:gd name="T31" fmla="*/ 43 h 142"/>
              <a:gd name="T32" fmla="*/ 10 w 141"/>
              <a:gd name="T33" fmla="*/ 34 h 142"/>
              <a:gd name="T34" fmla="*/ 22 w 141"/>
              <a:gd name="T35" fmla="*/ 29 h 142"/>
              <a:gd name="T36" fmla="*/ 28 w 141"/>
              <a:gd name="T37" fmla="*/ 23 h 142"/>
              <a:gd name="T38" fmla="*/ 29 w 141"/>
              <a:gd name="T39" fmla="*/ 14 h 142"/>
              <a:gd name="T40" fmla="*/ 42 w 141"/>
              <a:gd name="T41" fmla="*/ 13 h 142"/>
              <a:gd name="T42" fmla="*/ 49 w 141"/>
              <a:gd name="T43" fmla="*/ 10 h 142"/>
              <a:gd name="T44" fmla="*/ 54 w 141"/>
              <a:gd name="T45" fmla="*/ 2 h 142"/>
              <a:gd name="T46" fmla="*/ 66 w 141"/>
              <a:gd name="T47" fmla="*/ 7 h 142"/>
              <a:gd name="T48" fmla="*/ 73 w 141"/>
              <a:gd name="T49" fmla="*/ 0 h 142"/>
              <a:gd name="T50" fmla="*/ 79 w 141"/>
              <a:gd name="T51" fmla="*/ 7 h 142"/>
              <a:gd name="T52" fmla="*/ 87 w 141"/>
              <a:gd name="T53" fmla="*/ 9 h 142"/>
              <a:gd name="T54" fmla="*/ 100 w 141"/>
              <a:gd name="T55" fmla="*/ 7 h 142"/>
              <a:gd name="T56" fmla="*/ 103 w 141"/>
              <a:gd name="T57" fmla="*/ 16 h 142"/>
              <a:gd name="T58" fmla="*/ 109 w 141"/>
              <a:gd name="T59" fmla="*/ 20 h 142"/>
              <a:gd name="T60" fmla="*/ 122 w 141"/>
              <a:gd name="T61" fmla="*/ 23 h 142"/>
              <a:gd name="T62" fmla="*/ 122 w 141"/>
              <a:gd name="T63" fmla="*/ 32 h 142"/>
              <a:gd name="T64" fmla="*/ 126 w 141"/>
              <a:gd name="T65" fmla="*/ 39 h 142"/>
              <a:gd name="T66" fmla="*/ 137 w 141"/>
              <a:gd name="T67" fmla="*/ 47 h 142"/>
              <a:gd name="T68" fmla="*/ 133 w 141"/>
              <a:gd name="T69" fmla="*/ 55 h 142"/>
              <a:gd name="T70" fmla="*/ 134 w 141"/>
              <a:gd name="T71" fmla="*/ 62 h 142"/>
              <a:gd name="T72" fmla="*/ 141 w 141"/>
              <a:gd name="T73" fmla="*/ 71 h 142"/>
              <a:gd name="T74" fmla="*/ 134 w 141"/>
              <a:gd name="T75" fmla="*/ 80 h 142"/>
              <a:gd name="T76" fmla="*/ 133 w 141"/>
              <a:gd name="T77" fmla="*/ 87 h 142"/>
              <a:gd name="T78" fmla="*/ 137 w 141"/>
              <a:gd name="T79" fmla="*/ 95 h 142"/>
              <a:gd name="T80" fmla="*/ 126 w 141"/>
              <a:gd name="T81" fmla="*/ 103 h 142"/>
              <a:gd name="T82" fmla="*/ 122 w 141"/>
              <a:gd name="T83" fmla="*/ 110 h 142"/>
              <a:gd name="T84" fmla="*/ 122 w 141"/>
              <a:gd name="T85" fmla="*/ 119 h 142"/>
              <a:gd name="T86" fmla="*/ 109 w 141"/>
              <a:gd name="T87" fmla="*/ 122 h 142"/>
              <a:gd name="T88" fmla="*/ 103 w 141"/>
              <a:gd name="T89" fmla="*/ 126 h 142"/>
              <a:gd name="T90" fmla="*/ 100 w 141"/>
              <a:gd name="T91" fmla="*/ 135 h 142"/>
              <a:gd name="T92" fmla="*/ 87 w 141"/>
              <a:gd name="T93" fmla="*/ 133 h 142"/>
              <a:gd name="T94" fmla="*/ 79 w 141"/>
              <a:gd name="T95" fmla="*/ 135 h 142"/>
              <a:gd name="T96" fmla="*/ 73 w 141"/>
              <a:gd name="T97" fmla="*/ 142 h 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41" h="142">
                <a:moveTo>
                  <a:pt x="70" y="142"/>
                </a:moveTo>
                <a:cubicBezTo>
                  <a:pt x="69" y="142"/>
                  <a:pt x="68" y="142"/>
                  <a:pt x="67" y="142"/>
                </a:cubicBezTo>
                <a:cubicBezTo>
                  <a:pt x="67" y="135"/>
                  <a:pt x="67" y="135"/>
                  <a:pt x="67" y="135"/>
                </a:cubicBezTo>
                <a:cubicBezTo>
                  <a:pt x="66" y="135"/>
                  <a:pt x="66" y="135"/>
                  <a:pt x="66" y="135"/>
                </a:cubicBezTo>
                <a:cubicBezTo>
                  <a:pt x="65" y="135"/>
                  <a:pt x="63" y="135"/>
                  <a:pt x="62" y="135"/>
                </a:cubicBezTo>
                <a:cubicBezTo>
                  <a:pt x="61" y="135"/>
                  <a:pt x="61" y="135"/>
                  <a:pt x="61" y="135"/>
                </a:cubicBezTo>
                <a:cubicBezTo>
                  <a:pt x="60" y="141"/>
                  <a:pt x="60" y="141"/>
                  <a:pt x="60" y="141"/>
                </a:cubicBezTo>
                <a:cubicBezTo>
                  <a:pt x="58" y="141"/>
                  <a:pt x="56" y="140"/>
                  <a:pt x="54" y="140"/>
                </a:cubicBezTo>
                <a:cubicBezTo>
                  <a:pt x="54" y="133"/>
                  <a:pt x="54" y="133"/>
                  <a:pt x="54" y="133"/>
                </a:cubicBezTo>
                <a:cubicBezTo>
                  <a:pt x="54" y="133"/>
                  <a:pt x="54" y="133"/>
                  <a:pt x="54" y="133"/>
                </a:cubicBezTo>
                <a:cubicBezTo>
                  <a:pt x="52" y="133"/>
                  <a:pt x="51" y="132"/>
                  <a:pt x="50" y="132"/>
                </a:cubicBezTo>
                <a:cubicBezTo>
                  <a:pt x="49" y="132"/>
                  <a:pt x="49" y="132"/>
                  <a:pt x="49" y="132"/>
                </a:cubicBezTo>
                <a:cubicBezTo>
                  <a:pt x="46" y="137"/>
                  <a:pt x="46" y="137"/>
                  <a:pt x="46" y="137"/>
                </a:cubicBezTo>
                <a:cubicBezTo>
                  <a:pt x="44" y="137"/>
                  <a:pt x="42" y="136"/>
                  <a:pt x="41" y="135"/>
                </a:cubicBezTo>
                <a:cubicBezTo>
                  <a:pt x="42" y="129"/>
                  <a:pt x="42" y="129"/>
                  <a:pt x="42" y="129"/>
                </a:cubicBezTo>
                <a:cubicBezTo>
                  <a:pt x="42" y="129"/>
                  <a:pt x="42" y="129"/>
                  <a:pt x="42" y="129"/>
                </a:cubicBezTo>
                <a:cubicBezTo>
                  <a:pt x="41" y="128"/>
                  <a:pt x="39" y="127"/>
                  <a:pt x="38" y="127"/>
                </a:cubicBezTo>
                <a:cubicBezTo>
                  <a:pt x="38" y="126"/>
                  <a:pt x="38" y="126"/>
                  <a:pt x="38" y="126"/>
                </a:cubicBezTo>
                <a:cubicBezTo>
                  <a:pt x="34" y="131"/>
                  <a:pt x="34" y="131"/>
                  <a:pt x="34" y="131"/>
                </a:cubicBezTo>
                <a:cubicBezTo>
                  <a:pt x="32" y="130"/>
                  <a:pt x="30" y="129"/>
                  <a:pt x="29" y="128"/>
                </a:cubicBezTo>
                <a:cubicBezTo>
                  <a:pt x="32" y="122"/>
                  <a:pt x="32" y="122"/>
                  <a:pt x="32" y="122"/>
                </a:cubicBezTo>
                <a:cubicBezTo>
                  <a:pt x="31" y="122"/>
                  <a:pt x="31" y="122"/>
                  <a:pt x="31" y="122"/>
                </a:cubicBezTo>
                <a:cubicBezTo>
                  <a:pt x="30" y="121"/>
                  <a:pt x="29" y="120"/>
                  <a:pt x="28" y="119"/>
                </a:cubicBezTo>
                <a:cubicBezTo>
                  <a:pt x="28" y="119"/>
                  <a:pt x="28" y="119"/>
                  <a:pt x="28" y="119"/>
                </a:cubicBezTo>
                <a:cubicBezTo>
                  <a:pt x="23" y="123"/>
                  <a:pt x="23" y="123"/>
                  <a:pt x="23" y="123"/>
                </a:cubicBezTo>
                <a:cubicBezTo>
                  <a:pt x="21" y="122"/>
                  <a:pt x="20" y="120"/>
                  <a:pt x="18" y="119"/>
                </a:cubicBezTo>
                <a:cubicBezTo>
                  <a:pt x="22" y="114"/>
                  <a:pt x="22" y="114"/>
                  <a:pt x="22" y="114"/>
                </a:cubicBezTo>
                <a:cubicBezTo>
                  <a:pt x="22" y="114"/>
                  <a:pt x="22" y="114"/>
                  <a:pt x="22" y="114"/>
                </a:cubicBezTo>
                <a:cubicBezTo>
                  <a:pt x="21" y="112"/>
                  <a:pt x="20" y="111"/>
                  <a:pt x="19" y="110"/>
                </a:cubicBezTo>
                <a:cubicBezTo>
                  <a:pt x="19" y="110"/>
                  <a:pt x="19" y="110"/>
                  <a:pt x="19" y="110"/>
                </a:cubicBezTo>
                <a:cubicBezTo>
                  <a:pt x="13" y="113"/>
                  <a:pt x="13" y="113"/>
                  <a:pt x="13" y="113"/>
                </a:cubicBezTo>
                <a:cubicBezTo>
                  <a:pt x="12" y="111"/>
                  <a:pt x="11" y="109"/>
                  <a:pt x="10" y="108"/>
                </a:cubicBezTo>
                <a:cubicBezTo>
                  <a:pt x="15" y="104"/>
                  <a:pt x="15" y="104"/>
                  <a:pt x="15" y="104"/>
                </a:cubicBezTo>
                <a:cubicBezTo>
                  <a:pt x="15" y="103"/>
                  <a:pt x="15" y="103"/>
                  <a:pt x="15" y="103"/>
                </a:cubicBezTo>
                <a:cubicBezTo>
                  <a:pt x="14" y="102"/>
                  <a:pt x="13" y="101"/>
                  <a:pt x="13" y="99"/>
                </a:cubicBezTo>
                <a:cubicBezTo>
                  <a:pt x="12" y="99"/>
                  <a:pt x="12" y="99"/>
                  <a:pt x="12" y="99"/>
                </a:cubicBezTo>
                <a:cubicBezTo>
                  <a:pt x="6" y="101"/>
                  <a:pt x="6" y="101"/>
                  <a:pt x="6" y="101"/>
                </a:cubicBezTo>
                <a:cubicBezTo>
                  <a:pt x="5" y="99"/>
                  <a:pt x="5" y="97"/>
                  <a:pt x="4" y="95"/>
                </a:cubicBezTo>
                <a:cubicBezTo>
                  <a:pt x="10" y="92"/>
                  <a:pt x="10" y="92"/>
                  <a:pt x="10" y="92"/>
                </a:cubicBezTo>
                <a:cubicBezTo>
                  <a:pt x="10" y="92"/>
                  <a:pt x="10" y="92"/>
                  <a:pt x="10" y="92"/>
                </a:cubicBezTo>
                <a:cubicBezTo>
                  <a:pt x="9" y="90"/>
                  <a:pt x="9" y="89"/>
                  <a:pt x="8" y="88"/>
                </a:cubicBezTo>
                <a:cubicBezTo>
                  <a:pt x="8" y="87"/>
                  <a:pt x="8" y="87"/>
                  <a:pt x="8" y="87"/>
                </a:cubicBezTo>
                <a:cubicBezTo>
                  <a:pt x="2" y="88"/>
                  <a:pt x="2" y="88"/>
                  <a:pt x="2" y="88"/>
                </a:cubicBezTo>
                <a:cubicBezTo>
                  <a:pt x="1" y="86"/>
                  <a:pt x="1" y="84"/>
                  <a:pt x="1" y="82"/>
                </a:cubicBezTo>
                <a:cubicBezTo>
                  <a:pt x="7" y="80"/>
                  <a:pt x="7" y="80"/>
                  <a:pt x="7" y="80"/>
                </a:cubicBezTo>
                <a:cubicBezTo>
                  <a:pt x="7" y="80"/>
                  <a:pt x="7" y="80"/>
                  <a:pt x="7" y="80"/>
                </a:cubicBezTo>
                <a:cubicBezTo>
                  <a:pt x="6" y="78"/>
                  <a:pt x="6" y="77"/>
                  <a:pt x="6" y="75"/>
                </a:cubicBezTo>
                <a:cubicBezTo>
                  <a:pt x="6" y="75"/>
                  <a:pt x="6" y="75"/>
                  <a:pt x="6" y="75"/>
                </a:cubicBezTo>
                <a:cubicBezTo>
                  <a:pt x="0" y="74"/>
                  <a:pt x="0" y="74"/>
                  <a:pt x="0" y="74"/>
                </a:cubicBezTo>
                <a:cubicBezTo>
                  <a:pt x="0" y="73"/>
                  <a:pt x="0" y="72"/>
                  <a:pt x="0" y="71"/>
                </a:cubicBezTo>
                <a:cubicBezTo>
                  <a:pt x="0" y="70"/>
                  <a:pt x="0" y="69"/>
                  <a:pt x="0" y="68"/>
                </a:cubicBezTo>
                <a:cubicBezTo>
                  <a:pt x="6" y="67"/>
                  <a:pt x="6" y="67"/>
                  <a:pt x="6" y="67"/>
                </a:cubicBezTo>
                <a:cubicBezTo>
                  <a:pt x="6" y="67"/>
                  <a:pt x="6" y="67"/>
                  <a:pt x="6" y="67"/>
                </a:cubicBezTo>
                <a:cubicBezTo>
                  <a:pt x="6" y="65"/>
                  <a:pt x="6" y="64"/>
                  <a:pt x="7" y="62"/>
                </a:cubicBezTo>
                <a:cubicBezTo>
                  <a:pt x="7" y="62"/>
                  <a:pt x="7" y="62"/>
                  <a:pt x="7" y="62"/>
                </a:cubicBezTo>
                <a:cubicBezTo>
                  <a:pt x="1" y="60"/>
                  <a:pt x="1" y="60"/>
                  <a:pt x="1" y="60"/>
                </a:cubicBezTo>
                <a:cubicBezTo>
                  <a:pt x="1" y="58"/>
                  <a:pt x="1" y="56"/>
                  <a:pt x="2" y="54"/>
                </a:cubicBezTo>
                <a:cubicBezTo>
                  <a:pt x="8" y="55"/>
                  <a:pt x="8" y="55"/>
                  <a:pt x="8" y="55"/>
                </a:cubicBezTo>
                <a:cubicBezTo>
                  <a:pt x="8" y="54"/>
                  <a:pt x="8" y="54"/>
                  <a:pt x="8" y="54"/>
                </a:cubicBezTo>
                <a:cubicBezTo>
                  <a:pt x="9" y="53"/>
                  <a:pt x="9" y="52"/>
                  <a:pt x="10" y="50"/>
                </a:cubicBezTo>
                <a:cubicBezTo>
                  <a:pt x="10" y="50"/>
                  <a:pt x="10" y="50"/>
                  <a:pt x="10" y="50"/>
                </a:cubicBezTo>
                <a:cubicBezTo>
                  <a:pt x="4" y="47"/>
                  <a:pt x="4" y="47"/>
                  <a:pt x="4" y="47"/>
                </a:cubicBezTo>
                <a:cubicBezTo>
                  <a:pt x="5" y="45"/>
                  <a:pt x="5" y="43"/>
                  <a:pt x="6" y="41"/>
                </a:cubicBezTo>
                <a:cubicBezTo>
                  <a:pt x="12" y="43"/>
                  <a:pt x="12" y="43"/>
                  <a:pt x="12" y="43"/>
                </a:cubicBezTo>
                <a:cubicBezTo>
                  <a:pt x="13" y="43"/>
                  <a:pt x="13" y="43"/>
                  <a:pt x="13" y="43"/>
                </a:cubicBezTo>
                <a:cubicBezTo>
                  <a:pt x="13" y="41"/>
                  <a:pt x="14" y="40"/>
                  <a:pt x="15" y="39"/>
                </a:cubicBezTo>
                <a:cubicBezTo>
                  <a:pt x="15" y="38"/>
                  <a:pt x="15" y="38"/>
                  <a:pt x="15" y="38"/>
                </a:cubicBezTo>
                <a:cubicBezTo>
                  <a:pt x="10" y="34"/>
                  <a:pt x="10" y="34"/>
                  <a:pt x="10" y="34"/>
                </a:cubicBezTo>
                <a:cubicBezTo>
                  <a:pt x="11" y="33"/>
                  <a:pt x="12" y="31"/>
                  <a:pt x="13" y="29"/>
                </a:cubicBezTo>
                <a:cubicBezTo>
                  <a:pt x="19" y="32"/>
                  <a:pt x="19" y="32"/>
                  <a:pt x="19" y="32"/>
                </a:cubicBezTo>
                <a:cubicBezTo>
                  <a:pt x="19" y="32"/>
                  <a:pt x="19" y="32"/>
                  <a:pt x="19" y="32"/>
                </a:cubicBezTo>
                <a:cubicBezTo>
                  <a:pt x="20" y="31"/>
                  <a:pt x="21" y="30"/>
                  <a:pt x="22" y="29"/>
                </a:cubicBezTo>
                <a:cubicBezTo>
                  <a:pt x="22" y="28"/>
                  <a:pt x="22" y="28"/>
                  <a:pt x="22" y="28"/>
                </a:cubicBezTo>
                <a:cubicBezTo>
                  <a:pt x="18" y="23"/>
                  <a:pt x="18" y="23"/>
                  <a:pt x="18" y="23"/>
                </a:cubicBezTo>
                <a:cubicBezTo>
                  <a:pt x="20" y="22"/>
                  <a:pt x="21" y="20"/>
                  <a:pt x="23" y="19"/>
                </a:cubicBezTo>
                <a:cubicBezTo>
                  <a:pt x="28" y="23"/>
                  <a:pt x="28" y="23"/>
                  <a:pt x="28" y="23"/>
                </a:cubicBezTo>
                <a:cubicBezTo>
                  <a:pt x="28" y="23"/>
                  <a:pt x="28" y="23"/>
                  <a:pt x="28" y="23"/>
                </a:cubicBezTo>
                <a:cubicBezTo>
                  <a:pt x="29" y="22"/>
                  <a:pt x="30" y="21"/>
                  <a:pt x="31" y="20"/>
                </a:cubicBezTo>
                <a:cubicBezTo>
                  <a:pt x="32" y="20"/>
                  <a:pt x="32" y="20"/>
                  <a:pt x="32" y="20"/>
                </a:cubicBezTo>
                <a:cubicBezTo>
                  <a:pt x="29" y="14"/>
                  <a:pt x="29" y="14"/>
                  <a:pt x="29" y="14"/>
                </a:cubicBezTo>
                <a:cubicBezTo>
                  <a:pt x="30" y="13"/>
                  <a:pt x="32" y="12"/>
                  <a:pt x="34" y="11"/>
                </a:cubicBezTo>
                <a:cubicBezTo>
                  <a:pt x="38" y="16"/>
                  <a:pt x="38" y="16"/>
                  <a:pt x="38" y="16"/>
                </a:cubicBezTo>
                <a:cubicBezTo>
                  <a:pt x="38" y="15"/>
                  <a:pt x="38" y="15"/>
                  <a:pt x="38" y="15"/>
                </a:cubicBezTo>
                <a:cubicBezTo>
                  <a:pt x="39" y="15"/>
                  <a:pt x="41" y="14"/>
                  <a:pt x="42" y="13"/>
                </a:cubicBezTo>
                <a:cubicBezTo>
                  <a:pt x="42" y="13"/>
                  <a:pt x="42" y="13"/>
                  <a:pt x="42" y="13"/>
                </a:cubicBezTo>
                <a:cubicBezTo>
                  <a:pt x="41" y="7"/>
                  <a:pt x="41" y="7"/>
                  <a:pt x="41" y="7"/>
                </a:cubicBezTo>
                <a:cubicBezTo>
                  <a:pt x="42" y="6"/>
                  <a:pt x="44" y="5"/>
                  <a:pt x="46" y="5"/>
                </a:cubicBezTo>
                <a:cubicBezTo>
                  <a:pt x="49" y="10"/>
                  <a:pt x="49" y="10"/>
                  <a:pt x="49" y="10"/>
                </a:cubicBezTo>
                <a:cubicBezTo>
                  <a:pt x="50" y="10"/>
                  <a:pt x="50" y="10"/>
                  <a:pt x="50" y="10"/>
                </a:cubicBezTo>
                <a:cubicBezTo>
                  <a:pt x="51" y="10"/>
                  <a:pt x="52" y="9"/>
                  <a:pt x="54" y="9"/>
                </a:cubicBezTo>
                <a:cubicBezTo>
                  <a:pt x="54" y="9"/>
                  <a:pt x="54" y="9"/>
                  <a:pt x="54" y="9"/>
                </a:cubicBezTo>
                <a:cubicBezTo>
                  <a:pt x="54" y="2"/>
                  <a:pt x="54" y="2"/>
                  <a:pt x="54" y="2"/>
                </a:cubicBezTo>
                <a:cubicBezTo>
                  <a:pt x="56" y="2"/>
                  <a:pt x="58" y="1"/>
                  <a:pt x="60" y="1"/>
                </a:cubicBezTo>
                <a:cubicBezTo>
                  <a:pt x="61" y="7"/>
                  <a:pt x="61" y="7"/>
                  <a:pt x="61" y="7"/>
                </a:cubicBezTo>
                <a:cubicBezTo>
                  <a:pt x="62" y="7"/>
                  <a:pt x="62" y="7"/>
                  <a:pt x="62" y="7"/>
                </a:cubicBezTo>
                <a:cubicBezTo>
                  <a:pt x="63" y="7"/>
                  <a:pt x="65" y="7"/>
                  <a:pt x="66" y="7"/>
                </a:cubicBezTo>
                <a:cubicBezTo>
                  <a:pt x="67" y="7"/>
                  <a:pt x="67" y="7"/>
                  <a:pt x="67" y="7"/>
                </a:cubicBezTo>
                <a:cubicBezTo>
                  <a:pt x="67" y="0"/>
                  <a:pt x="67" y="0"/>
                  <a:pt x="67" y="0"/>
                </a:cubicBezTo>
                <a:cubicBezTo>
                  <a:pt x="68" y="0"/>
                  <a:pt x="69" y="0"/>
                  <a:pt x="70" y="0"/>
                </a:cubicBezTo>
                <a:cubicBezTo>
                  <a:pt x="71" y="0"/>
                  <a:pt x="72" y="0"/>
                  <a:pt x="73" y="0"/>
                </a:cubicBezTo>
                <a:cubicBezTo>
                  <a:pt x="74" y="7"/>
                  <a:pt x="74" y="7"/>
                  <a:pt x="74" y="7"/>
                </a:cubicBezTo>
                <a:cubicBezTo>
                  <a:pt x="74" y="7"/>
                  <a:pt x="74" y="7"/>
                  <a:pt x="74" y="7"/>
                </a:cubicBezTo>
                <a:cubicBezTo>
                  <a:pt x="76" y="7"/>
                  <a:pt x="77" y="7"/>
                  <a:pt x="79" y="7"/>
                </a:cubicBezTo>
                <a:cubicBezTo>
                  <a:pt x="79" y="7"/>
                  <a:pt x="79" y="7"/>
                  <a:pt x="79" y="7"/>
                </a:cubicBezTo>
                <a:cubicBezTo>
                  <a:pt x="81" y="1"/>
                  <a:pt x="81" y="1"/>
                  <a:pt x="81" y="1"/>
                </a:cubicBezTo>
                <a:cubicBezTo>
                  <a:pt x="83" y="1"/>
                  <a:pt x="85" y="2"/>
                  <a:pt x="87" y="2"/>
                </a:cubicBezTo>
                <a:cubicBezTo>
                  <a:pt x="87" y="9"/>
                  <a:pt x="87" y="9"/>
                  <a:pt x="87" y="9"/>
                </a:cubicBezTo>
                <a:cubicBezTo>
                  <a:pt x="87" y="9"/>
                  <a:pt x="87" y="9"/>
                  <a:pt x="87" y="9"/>
                </a:cubicBezTo>
                <a:cubicBezTo>
                  <a:pt x="88" y="9"/>
                  <a:pt x="90" y="10"/>
                  <a:pt x="91" y="10"/>
                </a:cubicBezTo>
                <a:cubicBezTo>
                  <a:pt x="92" y="10"/>
                  <a:pt x="92" y="10"/>
                  <a:pt x="92" y="10"/>
                </a:cubicBezTo>
                <a:cubicBezTo>
                  <a:pt x="95" y="5"/>
                  <a:pt x="95" y="5"/>
                  <a:pt x="95" y="5"/>
                </a:cubicBezTo>
                <a:cubicBezTo>
                  <a:pt x="96" y="5"/>
                  <a:pt x="98" y="6"/>
                  <a:pt x="100" y="7"/>
                </a:cubicBezTo>
                <a:cubicBezTo>
                  <a:pt x="98" y="13"/>
                  <a:pt x="98" y="13"/>
                  <a:pt x="98" y="13"/>
                </a:cubicBezTo>
                <a:cubicBezTo>
                  <a:pt x="99" y="13"/>
                  <a:pt x="99" y="13"/>
                  <a:pt x="99" y="13"/>
                </a:cubicBezTo>
                <a:cubicBezTo>
                  <a:pt x="100" y="14"/>
                  <a:pt x="101" y="15"/>
                  <a:pt x="103" y="15"/>
                </a:cubicBezTo>
                <a:cubicBezTo>
                  <a:pt x="103" y="16"/>
                  <a:pt x="103" y="16"/>
                  <a:pt x="103" y="16"/>
                </a:cubicBezTo>
                <a:cubicBezTo>
                  <a:pt x="107" y="11"/>
                  <a:pt x="107" y="11"/>
                  <a:pt x="107" y="11"/>
                </a:cubicBezTo>
                <a:cubicBezTo>
                  <a:pt x="109" y="12"/>
                  <a:pt x="111" y="13"/>
                  <a:pt x="112" y="14"/>
                </a:cubicBezTo>
                <a:cubicBezTo>
                  <a:pt x="109" y="20"/>
                  <a:pt x="109" y="20"/>
                  <a:pt x="109" y="20"/>
                </a:cubicBezTo>
                <a:cubicBezTo>
                  <a:pt x="109" y="20"/>
                  <a:pt x="109" y="20"/>
                  <a:pt x="109" y="20"/>
                </a:cubicBezTo>
                <a:cubicBezTo>
                  <a:pt x="111" y="21"/>
                  <a:pt x="112" y="22"/>
                  <a:pt x="113" y="23"/>
                </a:cubicBezTo>
                <a:cubicBezTo>
                  <a:pt x="113" y="23"/>
                  <a:pt x="113" y="23"/>
                  <a:pt x="113" y="23"/>
                </a:cubicBezTo>
                <a:cubicBezTo>
                  <a:pt x="118" y="19"/>
                  <a:pt x="118" y="19"/>
                  <a:pt x="118" y="19"/>
                </a:cubicBezTo>
                <a:cubicBezTo>
                  <a:pt x="120" y="20"/>
                  <a:pt x="121" y="22"/>
                  <a:pt x="122" y="23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9" y="29"/>
                  <a:pt x="119" y="29"/>
                  <a:pt x="119" y="29"/>
                </a:cubicBezTo>
                <a:cubicBezTo>
                  <a:pt x="120" y="30"/>
                  <a:pt x="121" y="31"/>
                  <a:pt x="121" y="32"/>
                </a:cubicBezTo>
                <a:cubicBezTo>
                  <a:pt x="122" y="32"/>
                  <a:pt x="122" y="32"/>
                  <a:pt x="122" y="32"/>
                </a:cubicBezTo>
                <a:cubicBezTo>
                  <a:pt x="127" y="29"/>
                  <a:pt x="127" y="29"/>
                  <a:pt x="127" y="29"/>
                </a:cubicBezTo>
                <a:cubicBezTo>
                  <a:pt x="129" y="31"/>
                  <a:pt x="130" y="33"/>
                  <a:pt x="131" y="34"/>
                </a:cubicBezTo>
                <a:cubicBezTo>
                  <a:pt x="126" y="38"/>
                  <a:pt x="126" y="38"/>
                  <a:pt x="126" y="38"/>
                </a:cubicBezTo>
                <a:cubicBezTo>
                  <a:pt x="126" y="39"/>
                  <a:pt x="126" y="39"/>
                  <a:pt x="126" y="39"/>
                </a:cubicBezTo>
                <a:cubicBezTo>
                  <a:pt x="127" y="40"/>
                  <a:pt x="128" y="41"/>
                  <a:pt x="128" y="43"/>
                </a:cubicBezTo>
                <a:cubicBezTo>
                  <a:pt x="128" y="43"/>
                  <a:pt x="128" y="43"/>
                  <a:pt x="128" y="43"/>
                </a:cubicBezTo>
                <a:cubicBezTo>
                  <a:pt x="134" y="41"/>
                  <a:pt x="134" y="41"/>
                  <a:pt x="134" y="41"/>
                </a:cubicBezTo>
                <a:cubicBezTo>
                  <a:pt x="135" y="43"/>
                  <a:pt x="136" y="45"/>
                  <a:pt x="137" y="47"/>
                </a:cubicBezTo>
                <a:cubicBezTo>
                  <a:pt x="131" y="50"/>
                  <a:pt x="131" y="50"/>
                  <a:pt x="131" y="50"/>
                </a:cubicBezTo>
                <a:cubicBezTo>
                  <a:pt x="131" y="50"/>
                  <a:pt x="131" y="50"/>
                  <a:pt x="131" y="50"/>
                </a:cubicBezTo>
                <a:cubicBezTo>
                  <a:pt x="132" y="52"/>
                  <a:pt x="132" y="53"/>
                  <a:pt x="133" y="54"/>
                </a:cubicBezTo>
                <a:cubicBezTo>
                  <a:pt x="133" y="55"/>
                  <a:pt x="133" y="55"/>
                  <a:pt x="133" y="55"/>
                </a:cubicBezTo>
                <a:cubicBezTo>
                  <a:pt x="139" y="54"/>
                  <a:pt x="139" y="54"/>
                  <a:pt x="139" y="54"/>
                </a:cubicBezTo>
                <a:cubicBezTo>
                  <a:pt x="140" y="56"/>
                  <a:pt x="140" y="58"/>
                  <a:pt x="140" y="60"/>
                </a:cubicBezTo>
                <a:cubicBezTo>
                  <a:pt x="134" y="62"/>
                  <a:pt x="134" y="62"/>
                  <a:pt x="134" y="62"/>
                </a:cubicBezTo>
                <a:cubicBezTo>
                  <a:pt x="134" y="62"/>
                  <a:pt x="134" y="62"/>
                  <a:pt x="134" y="62"/>
                </a:cubicBezTo>
                <a:cubicBezTo>
                  <a:pt x="134" y="64"/>
                  <a:pt x="134" y="65"/>
                  <a:pt x="135" y="67"/>
                </a:cubicBezTo>
                <a:cubicBezTo>
                  <a:pt x="135" y="67"/>
                  <a:pt x="135" y="67"/>
                  <a:pt x="135" y="67"/>
                </a:cubicBezTo>
                <a:cubicBezTo>
                  <a:pt x="141" y="68"/>
                  <a:pt x="141" y="68"/>
                  <a:pt x="141" y="68"/>
                </a:cubicBezTo>
                <a:cubicBezTo>
                  <a:pt x="141" y="69"/>
                  <a:pt x="141" y="70"/>
                  <a:pt x="141" y="71"/>
                </a:cubicBezTo>
                <a:cubicBezTo>
                  <a:pt x="141" y="72"/>
                  <a:pt x="141" y="73"/>
                  <a:pt x="141" y="74"/>
                </a:cubicBezTo>
                <a:cubicBezTo>
                  <a:pt x="135" y="75"/>
                  <a:pt x="135" y="75"/>
                  <a:pt x="135" y="75"/>
                </a:cubicBezTo>
                <a:cubicBezTo>
                  <a:pt x="135" y="75"/>
                  <a:pt x="135" y="75"/>
                  <a:pt x="135" y="75"/>
                </a:cubicBezTo>
                <a:cubicBezTo>
                  <a:pt x="134" y="77"/>
                  <a:pt x="134" y="78"/>
                  <a:pt x="134" y="80"/>
                </a:cubicBezTo>
                <a:cubicBezTo>
                  <a:pt x="134" y="80"/>
                  <a:pt x="134" y="80"/>
                  <a:pt x="134" y="80"/>
                </a:cubicBezTo>
                <a:cubicBezTo>
                  <a:pt x="140" y="82"/>
                  <a:pt x="140" y="82"/>
                  <a:pt x="140" y="82"/>
                </a:cubicBezTo>
                <a:cubicBezTo>
                  <a:pt x="140" y="84"/>
                  <a:pt x="140" y="86"/>
                  <a:pt x="139" y="88"/>
                </a:cubicBezTo>
                <a:cubicBezTo>
                  <a:pt x="133" y="87"/>
                  <a:pt x="133" y="87"/>
                  <a:pt x="133" y="87"/>
                </a:cubicBezTo>
                <a:cubicBezTo>
                  <a:pt x="133" y="88"/>
                  <a:pt x="133" y="88"/>
                  <a:pt x="133" y="88"/>
                </a:cubicBezTo>
                <a:cubicBezTo>
                  <a:pt x="132" y="89"/>
                  <a:pt x="132" y="90"/>
                  <a:pt x="131" y="92"/>
                </a:cubicBezTo>
                <a:cubicBezTo>
                  <a:pt x="131" y="92"/>
                  <a:pt x="131" y="92"/>
                  <a:pt x="131" y="92"/>
                </a:cubicBezTo>
                <a:cubicBezTo>
                  <a:pt x="137" y="95"/>
                  <a:pt x="137" y="95"/>
                  <a:pt x="137" y="95"/>
                </a:cubicBezTo>
                <a:cubicBezTo>
                  <a:pt x="136" y="97"/>
                  <a:pt x="135" y="99"/>
                  <a:pt x="134" y="101"/>
                </a:cubicBezTo>
                <a:cubicBezTo>
                  <a:pt x="128" y="99"/>
                  <a:pt x="128" y="99"/>
                  <a:pt x="128" y="99"/>
                </a:cubicBezTo>
                <a:cubicBezTo>
                  <a:pt x="128" y="99"/>
                  <a:pt x="128" y="99"/>
                  <a:pt x="128" y="99"/>
                </a:cubicBezTo>
                <a:cubicBezTo>
                  <a:pt x="128" y="101"/>
                  <a:pt x="127" y="102"/>
                  <a:pt x="126" y="103"/>
                </a:cubicBezTo>
                <a:cubicBezTo>
                  <a:pt x="126" y="104"/>
                  <a:pt x="126" y="104"/>
                  <a:pt x="126" y="104"/>
                </a:cubicBezTo>
                <a:cubicBezTo>
                  <a:pt x="131" y="108"/>
                  <a:pt x="131" y="108"/>
                  <a:pt x="131" y="108"/>
                </a:cubicBezTo>
                <a:cubicBezTo>
                  <a:pt x="130" y="109"/>
                  <a:pt x="129" y="111"/>
                  <a:pt x="127" y="113"/>
                </a:cubicBezTo>
                <a:cubicBezTo>
                  <a:pt x="122" y="110"/>
                  <a:pt x="122" y="110"/>
                  <a:pt x="122" y="110"/>
                </a:cubicBezTo>
                <a:cubicBezTo>
                  <a:pt x="121" y="110"/>
                  <a:pt x="121" y="110"/>
                  <a:pt x="121" y="110"/>
                </a:cubicBezTo>
                <a:cubicBezTo>
                  <a:pt x="121" y="111"/>
                  <a:pt x="120" y="112"/>
                  <a:pt x="119" y="114"/>
                </a:cubicBezTo>
                <a:cubicBezTo>
                  <a:pt x="118" y="114"/>
                  <a:pt x="118" y="114"/>
                  <a:pt x="118" y="114"/>
                </a:cubicBezTo>
                <a:cubicBezTo>
                  <a:pt x="122" y="119"/>
                  <a:pt x="122" y="119"/>
                  <a:pt x="122" y="119"/>
                </a:cubicBezTo>
                <a:cubicBezTo>
                  <a:pt x="121" y="120"/>
                  <a:pt x="120" y="122"/>
                  <a:pt x="118" y="123"/>
                </a:cubicBezTo>
                <a:cubicBezTo>
                  <a:pt x="113" y="119"/>
                  <a:pt x="113" y="119"/>
                  <a:pt x="113" y="119"/>
                </a:cubicBezTo>
                <a:cubicBezTo>
                  <a:pt x="113" y="119"/>
                  <a:pt x="113" y="119"/>
                  <a:pt x="113" y="119"/>
                </a:cubicBezTo>
                <a:cubicBezTo>
                  <a:pt x="112" y="120"/>
                  <a:pt x="111" y="121"/>
                  <a:pt x="109" y="122"/>
                </a:cubicBezTo>
                <a:cubicBezTo>
                  <a:pt x="109" y="122"/>
                  <a:pt x="109" y="122"/>
                  <a:pt x="109" y="122"/>
                </a:cubicBezTo>
                <a:cubicBezTo>
                  <a:pt x="112" y="128"/>
                  <a:pt x="112" y="128"/>
                  <a:pt x="112" y="128"/>
                </a:cubicBezTo>
                <a:cubicBezTo>
                  <a:pt x="111" y="129"/>
                  <a:pt x="109" y="130"/>
                  <a:pt x="107" y="131"/>
                </a:cubicBezTo>
                <a:cubicBezTo>
                  <a:pt x="103" y="126"/>
                  <a:pt x="103" y="126"/>
                  <a:pt x="103" y="126"/>
                </a:cubicBezTo>
                <a:cubicBezTo>
                  <a:pt x="103" y="127"/>
                  <a:pt x="103" y="127"/>
                  <a:pt x="103" y="127"/>
                </a:cubicBezTo>
                <a:cubicBezTo>
                  <a:pt x="101" y="127"/>
                  <a:pt x="100" y="128"/>
                  <a:pt x="99" y="129"/>
                </a:cubicBezTo>
                <a:cubicBezTo>
                  <a:pt x="98" y="129"/>
                  <a:pt x="98" y="129"/>
                  <a:pt x="98" y="129"/>
                </a:cubicBezTo>
                <a:cubicBezTo>
                  <a:pt x="100" y="135"/>
                  <a:pt x="100" y="135"/>
                  <a:pt x="100" y="135"/>
                </a:cubicBezTo>
                <a:cubicBezTo>
                  <a:pt x="98" y="136"/>
                  <a:pt x="96" y="137"/>
                  <a:pt x="95" y="137"/>
                </a:cubicBezTo>
                <a:cubicBezTo>
                  <a:pt x="92" y="132"/>
                  <a:pt x="92" y="132"/>
                  <a:pt x="92" y="132"/>
                </a:cubicBezTo>
                <a:cubicBezTo>
                  <a:pt x="91" y="132"/>
                  <a:pt x="91" y="132"/>
                  <a:pt x="91" y="132"/>
                </a:cubicBezTo>
                <a:cubicBezTo>
                  <a:pt x="90" y="132"/>
                  <a:pt x="88" y="133"/>
                  <a:pt x="87" y="133"/>
                </a:cubicBezTo>
                <a:cubicBezTo>
                  <a:pt x="87" y="133"/>
                  <a:pt x="87" y="133"/>
                  <a:pt x="87" y="133"/>
                </a:cubicBezTo>
                <a:cubicBezTo>
                  <a:pt x="87" y="140"/>
                  <a:pt x="87" y="140"/>
                  <a:pt x="87" y="140"/>
                </a:cubicBezTo>
                <a:cubicBezTo>
                  <a:pt x="85" y="140"/>
                  <a:pt x="83" y="141"/>
                  <a:pt x="81" y="141"/>
                </a:cubicBezTo>
                <a:cubicBezTo>
                  <a:pt x="79" y="135"/>
                  <a:pt x="79" y="135"/>
                  <a:pt x="79" y="135"/>
                </a:cubicBezTo>
                <a:cubicBezTo>
                  <a:pt x="79" y="135"/>
                  <a:pt x="79" y="135"/>
                  <a:pt x="79" y="135"/>
                </a:cubicBezTo>
                <a:cubicBezTo>
                  <a:pt x="77" y="135"/>
                  <a:pt x="76" y="135"/>
                  <a:pt x="74" y="135"/>
                </a:cubicBezTo>
                <a:cubicBezTo>
                  <a:pt x="74" y="135"/>
                  <a:pt x="74" y="135"/>
                  <a:pt x="74" y="135"/>
                </a:cubicBezTo>
                <a:cubicBezTo>
                  <a:pt x="73" y="142"/>
                  <a:pt x="73" y="142"/>
                  <a:pt x="73" y="142"/>
                </a:cubicBezTo>
                <a:cubicBezTo>
                  <a:pt x="72" y="142"/>
                  <a:pt x="71" y="142"/>
                  <a:pt x="70" y="142"/>
                </a:cubicBezTo>
                <a:close/>
              </a:path>
            </a:pathLst>
          </a:custGeom>
          <a:solidFill>
            <a:srgbClr val="AFABAB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219" name="Freeform 218"/>
          <p:cNvSpPr>
            <a:spLocks/>
          </p:cNvSpPr>
          <p:nvPr/>
        </p:nvSpPr>
        <p:spPr bwMode="auto">
          <a:xfrm flipH="1">
            <a:off x="4383689" y="3411964"/>
            <a:ext cx="1051018" cy="1058385"/>
          </a:xfrm>
          <a:custGeom>
            <a:avLst/>
            <a:gdLst>
              <a:gd name="T0" fmla="*/ 66 w 141"/>
              <a:gd name="T1" fmla="*/ 135 h 142"/>
              <a:gd name="T2" fmla="*/ 54 w 141"/>
              <a:gd name="T3" fmla="*/ 140 h 142"/>
              <a:gd name="T4" fmla="*/ 49 w 141"/>
              <a:gd name="T5" fmla="*/ 132 h 142"/>
              <a:gd name="T6" fmla="*/ 42 w 141"/>
              <a:gd name="T7" fmla="*/ 129 h 142"/>
              <a:gd name="T8" fmla="*/ 29 w 141"/>
              <a:gd name="T9" fmla="*/ 128 h 142"/>
              <a:gd name="T10" fmla="*/ 28 w 141"/>
              <a:gd name="T11" fmla="*/ 119 h 142"/>
              <a:gd name="T12" fmla="*/ 22 w 141"/>
              <a:gd name="T13" fmla="*/ 114 h 142"/>
              <a:gd name="T14" fmla="*/ 10 w 141"/>
              <a:gd name="T15" fmla="*/ 108 h 142"/>
              <a:gd name="T16" fmla="*/ 12 w 141"/>
              <a:gd name="T17" fmla="*/ 99 h 142"/>
              <a:gd name="T18" fmla="*/ 10 w 141"/>
              <a:gd name="T19" fmla="*/ 92 h 142"/>
              <a:gd name="T20" fmla="*/ 1 w 141"/>
              <a:gd name="T21" fmla="*/ 82 h 142"/>
              <a:gd name="T22" fmla="*/ 6 w 141"/>
              <a:gd name="T23" fmla="*/ 75 h 142"/>
              <a:gd name="T24" fmla="*/ 6 w 141"/>
              <a:gd name="T25" fmla="*/ 67 h 142"/>
              <a:gd name="T26" fmla="*/ 1 w 141"/>
              <a:gd name="T27" fmla="*/ 60 h 142"/>
              <a:gd name="T28" fmla="*/ 10 w 141"/>
              <a:gd name="T29" fmla="*/ 50 h 142"/>
              <a:gd name="T30" fmla="*/ 12 w 141"/>
              <a:gd name="T31" fmla="*/ 43 h 142"/>
              <a:gd name="T32" fmla="*/ 10 w 141"/>
              <a:gd name="T33" fmla="*/ 34 h 142"/>
              <a:gd name="T34" fmla="*/ 22 w 141"/>
              <a:gd name="T35" fmla="*/ 29 h 142"/>
              <a:gd name="T36" fmla="*/ 28 w 141"/>
              <a:gd name="T37" fmla="*/ 23 h 142"/>
              <a:gd name="T38" fmla="*/ 29 w 141"/>
              <a:gd name="T39" fmla="*/ 14 h 142"/>
              <a:gd name="T40" fmla="*/ 42 w 141"/>
              <a:gd name="T41" fmla="*/ 13 h 142"/>
              <a:gd name="T42" fmla="*/ 49 w 141"/>
              <a:gd name="T43" fmla="*/ 10 h 142"/>
              <a:gd name="T44" fmla="*/ 54 w 141"/>
              <a:gd name="T45" fmla="*/ 2 h 142"/>
              <a:gd name="T46" fmla="*/ 66 w 141"/>
              <a:gd name="T47" fmla="*/ 7 h 142"/>
              <a:gd name="T48" fmla="*/ 73 w 141"/>
              <a:gd name="T49" fmla="*/ 0 h 142"/>
              <a:gd name="T50" fmla="*/ 79 w 141"/>
              <a:gd name="T51" fmla="*/ 7 h 142"/>
              <a:gd name="T52" fmla="*/ 87 w 141"/>
              <a:gd name="T53" fmla="*/ 9 h 142"/>
              <a:gd name="T54" fmla="*/ 100 w 141"/>
              <a:gd name="T55" fmla="*/ 7 h 142"/>
              <a:gd name="T56" fmla="*/ 103 w 141"/>
              <a:gd name="T57" fmla="*/ 16 h 142"/>
              <a:gd name="T58" fmla="*/ 109 w 141"/>
              <a:gd name="T59" fmla="*/ 20 h 142"/>
              <a:gd name="T60" fmla="*/ 122 w 141"/>
              <a:gd name="T61" fmla="*/ 23 h 142"/>
              <a:gd name="T62" fmla="*/ 122 w 141"/>
              <a:gd name="T63" fmla="*/ 32 h 142"/>
              <a:gd name="T64" fmla="*/ 126 w 141"/>
              <a:gd name="T65" fmla="*/ 39 h 142"/>
              <a:gd name="T66" fmla="*/ 137 w 141"/>
              <a:gd name="T67" fmla="*/ 47 h 142"/>
              <a:gd name="T68" fmla="*/ 133 w 141"/>
              <a:gd name="T69" fmla="*/ 55 h 142"/>
              <a:gd name="T70" fmla="*/ 134 w 141"/>
              <a:gd name="T71" fmla="*/ 62 h 142"/>
              <a:gd name="T72" fmla="*/ 141 w 141"/>
              <a:gd name="T73" fmla="*/ 71 h 142"/>
              <a:gd name="T74" fmla="*/ 134 w 141"/>
              <a:gd name="T75" fmla="*/ 80 h 142"/>
              <a:gd name="T76" fmla="*/ 133 w 141"/>
              <a:gd name="T77" fmla="*/ 87 h 142"/>
              <a:gd name="T78" fmla="*/ 137 w 141"/>
              <a:gd name="T79" fmla="*/ 95 h 142"/>
              <a:gd name="T80" fmla="*/ 126 w 141"/>
              <a:gd name="T81" fmla="*/ 103 h 142"/>
              <a:gd name="T82" fmla="*/ 122 w 141"/>
              <a:gd name="T83" fmla="*/ 110 h 142"/>
              <a:gd name="T84" fmla="*/ 122 w 141"/>
              <a:gd name="T85" fmla="*/ 119 h 142"/>
              <a:gd name="T86" fmla="*/ 109 w 141"/>
              <a:gd name="T87" fmla="*/ 122 h 142"/>
              <a:gd name="T88" fmla="*/ 103 w 141"/>
              <a:gd name="T89" fmla="*/ 126 h 142"/>
              <a:gd name="T90" fmla="*/ 100 w 141"/>
              <a:gd name="T91" fmla="*/ 135 h 142"/>
              <a:gd name="T92" fmla="*/ 87 w 141"/>
              <a:gd name="T93" fmla="*/ 133 h 142"/>
              <a:gd name="T94" fmla="*/ 79 w 141"/>
              <a:gd name="T95" fmla="*/ 135 h 142"/>
              <a:gd name="T96" fmla="*/ 73 w 141"/>
              <a:gd name="T97" fmla="*/ 142 h 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41" h="142">
                <a:moveTo>
                  <a:pt x="70" y="142"/>
                </a:moveTo>
                <a:cubicBezTo>
                  <a:pt x="69" y="142"/>
                  <a:pt x="68" y="142"/>
                  <a:pt x="67" y="142"/>
                </a:cubicBezTo>
                <a:cubicBezTo>
                  <a:pt x="67" y="135"/>
                  <a:pt x="67" y="135"/>
                  <a:pt x="67" y="135"/>
                </a:cubicBezTo>
                <a:cubicBezTo>
                  <a:pt x="66" y="135"/>
                  <a:pt x="66" y="135"/>
                  <a:pt x="66" y="135"/>
                </a:cubicBezTo>
                <a:cubicBezTo>
                  <a:pt x="65" y="135"/>
                  <a:pt x="63" y="135"/>
                  <a:pt x="62" y="135"/>
                </a:cubicBezTo>
                <a:cubicBezTo>
                  <a:pt x="61" y="135"/>
                  <a:pt x="61" y="135"/>
                  <a:pt x="61" y="135"/>
                </a:cubicBezTo>
                <a:cubicBezTo>
                  <a:pt x="60" y="141"/>
                  <a:pt x="60" y="141"/>
                  <a:pt x="60" y="141"/>
                </a:cubicBezTo>
                <a:cubicBezTo>
                  <a:pt x="58" y="141"/>
                  <a:pt x="56" y="140"/>
                  <a:pt x="54" y="140"/>
                </a:cubicBezTo>
                <a:cubicBezTo>
                  <a:pt x="54" y="133"/>
                  <a:pt x="54" y="133"/>
                  <a:pt x="54" y="133"/>
                </a:cubicBezTo>
                <a:cubicBezTo>
                  <a:pt x="54" y="133"/>
                  <a:pt x="54" y="133"/>
                  <a:pt x="54" y="133"/>
                </a:cubicBezTo>
                <a:cubicBezTo>
                  <a:pt x="52" y="133"/>
                  <a:pt x="51" y="132"/>
                  <a:pt x="50" y="132"/>
                </a:cubicBezTo>
                <a:cubicBezTo>
                  <a:pt x="49" y="132"/>
                  <a:pt x="49" y="132"/>
                  <a:pt x="49" y="132"/>
                </a:cubicBezTo>
                <a:cubicBezTo>
                  <a:pt x="46" y="137"/>
                  <a:pt x="46" y="137"/>
                  <a:pt x="46" y="137"/>
                </a:cubicBezTo>
                <a:cubicBezTo>
                  <a:pt x="44" y="137"/>
                  <a:pt x="42" y="136"/>
                  <a:pt x="41" y="135"/>
                </a:cubicBezTo>
                <a:cubicBezTo>
                  <a:pt x="42" y="129"/>
                  <a:pt x="42" y="129"/>
                  <a:pt x="42" y="129"/>
                </a:cubicBezTo>
                <a:cubicBezTo>
                  <a:pt x="42" y="129"/>
                  <a:pt x="42" y="129"/>
                  <a:pt x="42" y="129"/>
                </a:cubicBezTo>
                <a:cubicBezTo>
                  <a:pt x="41" y="128"/>
                  <a:pt x="39" y="127"/>
                  <a:pt x="38" y="127"/>
                </a:cubicBezTo>
                <a:cubicBezTo>
                  <a:pt x="38" y="126"/>
                  <a:pt x="38" y="126"/>
                  <a:pt x="38" y="126"/>
                </a:cubicBezTo>
                <a:cubicBezTo>
                  <a:pt x="34" y="131"/>
                  <a:pt x="34" y="131"/>
                  <a:pt x="34" y="131"/>
                </a:cubicBezTo>
                <a:cubicBezTo>
                  <a:pt x="32" y="130"/>
                  <a:pt x="30" y="129"/>
                  <a:pt x="29" y="128"/>
                </a:cubicBezTo>
                <a:cubicBezTo>
                  <a:pt x="32" y="122"/>
                  <a:pt x="32" y="122"/>
                  <a:pt x="32" y="122"/>
                </a:cubicBezTo>
                <a:cubicBezTo>
                  <a:pt x="31" y="122"/>
                  <a:pt x="31" y="122"/>
                  <a:pt x="31" y="122"/>
                </a:cubicBezTo>
                <a:cubicBezTo>
                  <a:pt x="30" y="121"/>
                  <a:pt x="29" y="120"/>
                  <a:pt x="28" y="119"/>
                </a:cubicBezTo>
                <a:cubicBezTo>
                  <a:pt x="28" y="119"/>
                  <a:pt x="28" y="119"/>
                  <a:pt x="28" y="119"/>
                </a:cubicBezTo>
                <a:cubicBezTo>
                  <a:pt x="23" y="123"/>
                  <a:pt x="23" y="123"/>
                  <a:pt x="23" y="123"/>
                </a:cubicBezTo>
                <a:cubicBezTo>
                  <a:pt x="21" y="122"/>
                  <a:pt x="20" y="120"/>
                  <a:pt x="18" y="119"/>
                </a:cubicBezTo>
                <a:cubicBezTo>
                  <a:pt x="22" y="114"/>
                  <a:pt x="22" y="114"/>
                  <a:pt x="22" y="114"/>
                </a:cubicBezTo>
                <a:cubicBezTo>
                  <a:pt x="22" y="114"/>
                  <a:pt x="22" y="114"/>
                  <a:pt x="22" y="114"/>
                </a:cubicBezTo>
                <a:cubicBezTo>
                  <a:pt x="21" y="112"/>
                  <a:pt x="20" y="111"/>
                  <a:pt x="19" y="110"/>
                </a:cubicBezTo>
                <a:cubicBezTo>
                  <a:pt x="19" y="110"/>
                  <a:pt x="19" y="110"/>
                  <a:pt x="19" y="110"/>
                </a:cubicBezTo>
                <a:cubicBezTo>
                  <a:pt x="13" y="113"/>
                  <a:pt x="13" y="113"/>
                  <a:pt x="13" y="113"/>
                </a:cubicBezTo>
                <a:cubicBezTo>
                  <a:pt x="12" y="111"/>
                  <a:pt x="11" y="109"/>
                  <a:pt x="10" y="108"/>
                </a:cubicBezTo>
                <a:cubicBezTo>
                  <a:pt x="15" y="104"/>
                  <a:pt x="15" y="104"/>
                  <a:pt x="15" y="104"/>
                </a:cubicBezTo>
                <a:cubicBezTo>
                  <a:pt x="15" y="103"/>
                  <a:pt x="15" y="103"/>
                  <a:pt x="15" y="103"/>
                </a:cubicBezTo>
                <a:cubicBezTo>
                  <a:pt x="14" y="102"/>
                  <a:pt x="13" y="101"/>
                  <a:pt x="13" y="99"/>
                </a:cubicBezTo>
                <a:cubicBezTo>
                  <a:pt x="12" y="99"/>
                  <a:pt x="12" y="99"/>
                  <a:pt x="12" y="99"/>
                </a:cubicBezTo>
                <a:cubicBezTo>
                  <a:pt x="6" y="101"/>
                  <a:pt x="6" y="101"/>
                  <a:pt x="6" y="101"/>
                </a:cubicBezTo>
                <a:cubicBezTo>
                  <a:pt x="5" y="99"/>
                  <a:pt x="5" y="97"/>
                  <a:pt x="4" y="95"/>
                </a:cubicBezTo>
                <a:cubicBezTo>
                  <a:pt x="10" y="92"/>
                  <a:pt x="10" y="92"/>
                  <a:pt x="10" y="92"/>
                </a:cubicBezTo>
                <a:cubicBezTo>
                  <a:pt x="10" y="92"/>
                  <a:pt x="10" y="92"/>
                  <a:pt x="10" y="92"/>
                </a:cubicBezTo>
                <a:cubicBezTo>
                  <a:pt x="9" y="90"/>
                  <a:pt x="9" y="89"/>
                  <a:pt x="8" y="88"/>
                </a:cubicBezTo>
                <a:cubicBezTo>
                  <a:pt x="8" y="87"/>
                  <a:pt x="8" y="87"/>
                  <a:pt x="8" y="87"/>
                </a:cubicBezTo>
                <a:cubicBezTo>
                  <a:pt x="2" y="88"/>
                  <a:pt x="2" y="88"/>
                  <a:pt x="2" y="88"/>
                </a:cubicBezTo>
                <a:cubicBezTo>
                  <a:pt x="1" y="86"/>
                  <a:pt x="1" y="84"/>
                  <a:pt x="1" y="82"/>
                </a:cubicBezTo>
                <a:cubicBezTo>
                  <a:pt x="7" y="80"/>
                  <a:pt x="7" y="80"/>
                  <a:pt x="7" y="80"/>
                </a:cubicBezTo>
                <a:cubicBezTo>
                  <a:pt x="7" y="80"/>
                  <a:pt x="7" y="80"/>
                  <a:pt x="7" y="80"/>
                </a:cubicBezTo>
                <a:cubicBezTo>
                  <a:pt x="6" y="78"/>
                  <a:pt x="6" y="77"/>
                  <a:pt x="6" y="75"/>
                </a:cubicBezTo>
                <a:cubicBezTo>
                  <a:pt x="6" y="75"/>
                  <a:pt x="6" y="75"/>
                  <a:pt x="6" y="75"/>
                </a:cubicBezTo>
                <a:cubicBezTo>
                  <a:pt x="0" y="74"/>
                  <a:pt x="0" y="74"/>
                  <a:pt x="0" y="74"/>
                </a:cubicBezTo>
                <a:cubicBezTo>
                  <a:pt x="0" y="73"/>
                  <a:pt x="0" y="72"/>
                  <a:pt x="0" y="71"/>
                </a:cubicBezTo>
                <a:cubicBezTo>
                  <a:pt x="0" y="70"/>
                  <a:pt x="0" y="69"/>
                  <a:pt x="0" y="68"/>
                </a:cubicBezTo>
                <a:cubicBezTo>
                  <a:pt x="6" y="67"/>
                  <a:pt x="6" y="67"/>
                  <a:pt x="6" y="67"/>
                </a:cubicBezTo>
                <a:cubicBezTo>
                  <a:pt x="6" y="67"/>
                  <a:pt x="6" y="67"/>
                  <a:pt x="6" y="67"/>
                </a:cubicBezTo>
                <a:cubicBezTo>
                  <a:pt x="6" y="65"/>
                  <a:pt x="6" y="64"/>
                  <a:pt x="7" y="62"/>
                </a:cubicBezTo>
                <a:cubicBezTo>
                  <a:pt x="7" y="62"/>
                  <a:pt x="7" y="62"/>
                  <a:pt x="7" y="62"/>
                </a:cubicBezTo>
                <a:cubicBezTo>
                  <a:pt x="1" y="60"/>
                  <a:pt x="1" y="60"/>
                  <a:pt x="1" y="60"/>
                </a:cubicBezTo>
                <a:cubicBezTo>
                  <a:pt x="1" y="58"/>
                  <a:pt x="1" y="56"/>
                  <a:pt x="2" y="54"/>
                </a:cubicBezTo>
                <a:cubicBezTo>
                  <a:pt x="8" y="55"/>
                  <a:pt x="8" y="55"/>
                  <a:pt x="8" y="55"/>
                </a:cubicBezTo>
                <a:cubicBezTo>
                  <a:pt x="8" y="54"/>
                  <a:pt x="8" y="54"/>
                  <a:pt x="8" y="54"/>
                </a:cubicBezTo>
                <a:cubicBezTo>
                  <a:pt x="9" y="53"/>
                  <a:pt x="9" y="52"/>
                  <a:pt x="10" y="50"/>
                </a:cubicBezTo>
                <a:cubicBezTo>
                  <a:pt x="10" y="50"/>
                  <a:pt x="10" y="50"/>
                  <a:pt x="10" y="50"/>
                </a:cubicBezTo>
                <a:cubicBezTo>
                  <a:pt x="4" y="47"/>
                  <a:pt x="4" y="47"/>
                  <a:pt x="4" y="47"/>
                </a:cubicBezTo>
                <a:cubicBezTo>
                  <a:pt x="5" y="45"/>
                  <a:pt x="5" y="43"/>
                  <a:pt x="6" y="41"/>
                </a:cubicBezTo>
                <a:cubicBezTo>
                  <a:pt x="12" y="43"/>
                  <a:pt x="12" y="43"/>
                  <a:pt x="12" y="43"/>
                </a:cubicBezTo>
                <a:cubicBezTo>
                  <a:pt x="13" y="43"/>
                  <a:pt x="13" y="43"/>
                  <a:pt x="13" y="43"/>
                </a:cubicBezTo>
                <a:cubicBezTo>
                  <a:pt x="13" y="41"/>
                  <a:pt x="14" y="40"/>
                  <a:pt x="15" y="39"/>
                </a:cubicBezTo>
                <a:cubicBezTo>
                  <a:pt x="15" y="38"/>
                  <a:pt x="15" y="38"/>
                  <a:pt x="15" y="38"/>
                </a:cubicBezTo>
                <a:cubicBezTo>
                  <a:pt x="10" y="34"/>
                  <a:pt x="10" y="34"/>
                  <a:pt x="10" y="34"/>
                </a:cubicBezTo>
                <a:cubicBezTo>
                  <a:pt x="11" y="33"/>
                  <a:pt x="12" y="31"/>
                  <a:pt x="13" y="29"/>
                </a:cubicBezTo>
                <a:cubicBezTo>
                  <a:pt x="19" y="32"/>
                  <a:pt x="19" y="32"/>
                  <a:pt x="19" y="32"/>
                </a:cubicBezTo>
                <a:cubicBezTo>
                  <a:pt x="19" y="32"/>
                  <a:pt x="19" y="32"/>
                  <a:pt x="19" y="32"/>
                </a:cubicBezTo>
                <a:cubicBezTo>
                  <a:pt x="20" y="31"/>
                  <a:pt x="21" y="30"/>
                  <a:pt x="22" y="29"/>
                </a:cubicBezTo>
                <a:cubicBezTo>
                  <a:pt x="22" y="28"/>
                  <a:pt x="22" y="28"/>
                  <a:pt x="22" y="28"/>
                </a:cubicBezTo>
                <a:cubicBezTo>
                  <a:pt x="18" y="23"/>
                  <a:pt x="18" y="23"/>
                  <a:pt x="18" y="23"/>
                </a:cubicBezTo>
                <a:cubicBezTo>
                  <a:pt x="20" y="22"/>
                  <a:pt x="21" y="20"/>
                  <a:pt x="23" y="19"/>
                </a:cubicBezTo>
                <a:cubicBezTo>
                  <a:pt x="28" y="23"/>
                  <a:pt x="28" y="23"/>
                  <a:pt x="28" y="23"/>
                </a:cubicBezTo>
                <a:cubicBezTo>
                  <a:pt x="28" y="23"/>
                  <a:pt x="28" y="23"/>
                  <a:pt x="28" y="23"/>
                </a:cubicBezTo>
                <a:cubicBezTo>
                  <a:pt x="29" y="22"/>
                  <a:pt x="30" y="21"/>
                  <a:pt x="31" y="20"/>
                </a:cubicBezTo>
                <a:cubicBezTo>
                  <a:pt x="32" y="20"/>
                  <a:pt x="32" y="20"/>
                  <a:pt x="32" y="20"/>
                </a:cubicBezTo>
                <a:cubicBezTo>
                  <a:pt x="29" y="14"/>
                  <a:pt x="29" y="14"/>
                  <a:pt x="29" y="14"/>
                </a:cubicBezTo>
                <a:cubicBezTo>
                  <a:pt x="30" y="13"/>
                  <a:pt x="32" y="12"/>
                  <a:pt x="34" y="11"/>
                </a:cubicBezTo>
                <a:cubicBezTo>
                  <a:pt x="38" y="16"/>
                  <a:pt x="38" y="16"/>
                  <a:pt x="38" y="16"/>
                </a:cubicBezTo>
                <a:cubicBezTo>
                  <a:pt x="38" y="15"/>
                  <a:pt x="38" y="15"/>
                  <a:pt x="38" y="15"/>
                </a:cubicBezTo>
                <a:cubicBezTo>
                  <a:pt x="39" y="15"/>
                  <a:pt x="41" y="14"/>
                  <a:pt x="42" y="13"/>
                </a:cubicBezTo>
                <a:cubicBezTo>
                  <a:pt x="42" y="13"/>
                  <a:pt x="42" y="13"/>
                  <a:pt x="42" y="13"/>
                </a:cubicBezTo>
                <a:cubicBezTo>
                  <a:pt x="41" y="7"/>
                  <a:pt x="41" y="7"/>
                  <a:pt x="41" y="7"/>
                </a:cubicBezTo>
                <a:cubicBezTo>
                  <a:pt x="42" y="6"/>
                  <a:pt x="44" y="5"/>
                  <a:pt x="46" y="5"/>
                </a:cubicBezTo>
                <a:cubicBezTo>
                  <a:pt x="49" y="10"/>
                  <a:pt x="49" y="10"/>
                  <a:pt x="49" y="10"/>
                </a:cubicBezTo>
                <a:cubicBezTo>
                  <a:pt x="50" y="10"/>
                  <a:pt x="50" y="10"/>
                  <a:pt x="50" y="10"/>
                </a:cubicBezTo>
                <a:cubicBezTo>
                  <a:pt x="51" y="10"/>
                  <a:pt x="52" y="9"/>
                  <a:pt x="54" y="9"/>
                </a:cubicBezTo>
                <a:cubicBezTo>
                  <a:pt x="54" y="9"/>
                  <a:pt x="54" y="9"/>
                  <a:pt x="54" y="9"/>
                </a:cubicBezTo>
                <a:cubicBezTo>
                  <a:pt x="54" y="2"/>
                  <a:pt x="54" y="2"/>
                  <a:pt x="54" y="2"/>
                </a:cubicBezTo>
                <a:cubicBezTo>
                  <a:pt x="56" y="2"/>
                  <a:pt x="58" y="1"/>
                  <a:pt x="60" y="1"/>
                </a:cubicBezTo>
                <a:cubicBezTo>
                  <a:pt x="61" y="7"/>
                  <a:pt x="61" y="7"/>
                  <a:pt x="61" y="7"/>
                </a:cubicBezTo>
                <a:cubicBezTo>
                  <a:pt x="62" y="7"/>
                  <a:pt x="62" y="7"/>
                  <a:pt x="62" y="7"/>
                </a:cubicBezTo>
                <a:cubicBezTo>
                  <a:pt x="63" y="7"/>
                  <a:pt x="65" y="7"/>
                  <a:pt x="66" y="7"/>
                </a:cubicBezTo>
                <a:cubicBezTo>
                  <a:pt x="67" y="7"/>
                  <a:pt x="67" y="7"/>
                  <a:pt x="67" y="7"/>
                </a:cubicBezTo>
                <a:cubicBezTo>
                  <a:pt x="67" y="0"/>
                  <a:pt x="67" y="0"/>
                  <a:pt x="67" y="0"/>
                </a:cubicBezTo>
                <a:cubicBezTo>
                  <a:pt x="68" y="0"/>
                  <a:pt x="69" y="0"/>
                  <a:pt x="70" y="0"/>
                </a:cubicBezTo>
                <a:cubicBezTo>
                  <a:pt x="71" y="0"/>
                  <a:pt x="72" y="0"/>
                  <a:pt x="73" y="0"/>
                </a:cubicBezTo>
                <a:cubicBezTo>
                  <a:pt x="74" y="7"/>
                  <a:pt x="74" y="7"/>
                  <a:pt x="74" y="7"/>
                </a:cubicBezTo>
                <a:cubicBezTo>
                  <a:pt x="74" y="7"/>
                  <a:pt x="74" y="7"/>
                  <a:pt x="74" y="7"/>
                </a:cubicBezTo>
                <a:cubicBezTo>
                  <a:pt x="76" y="7"/>
                  <a:pt x="77" y="7"/>
                  <a:pt x="79" y="7"/>
                </a:cubicBezTo>
                <a:cubicBezTo>
                  <a:pt x="79" y="7"/>
                  <a:pt x="79" y="7"/>
                  <a:pt x="79" y="7"/>
                </a:cubicBezTo>
                <a:cubicBezTo>
                  <a:pt x="81" y="1"/>
                  <a:pt x="81" y="1"/>
                  <a:pt x="81" y="1"/>
                </a:cubicBezTo>
                <a:cubicBezTo>
                  <a:pt x="83" y="1"/>
                  <a:pt x="85" y="2"/>
                  <a:pt x="87" y="2"/>
                </a:cubicBezTo>
                <a:cubicBezTo>
                  <a:pt x="87" y="9"/>
                  <a:pt x="87" y="9"/>
                  <a:pt x="87" y="9"/>
                </a:cubicBezTo>
                <a:cubicBezTo>
                  <a:pt x="87" y="9"/>
                  <a:pt x="87" y="9"/>
                  <a:pt x="87" y="9"/>
                </a:cubicBezTo>
                <a:cubicBezTo>
                  <a:pt x="88" y="9"/>
                  <a:pt x="90" y="10"/>
                  <a:pt x="91" y="10"/>
                </a:cubicBezTo>
                <a:cubicBezTo>
                  <a:pt x="92" y="10"/>
                  <a:pt x="92" y="10"/>
                  <a:pt x="92" y="10"/>
                </a:cubicBezTo>
                <a:cubicBezTo>
                  <a:pt x="95" y="5"/>
                  <a:pt x="95" y="5"/>
                  <a:pt x="95" y="5"/>
                </a:cubicBezTo>
                <a:cubicBezTo>
                  <a:pt x="96" y="5"/>
                  <a:pt x="98" y="6"/>
                  <a:pt x="100" y="7"/>
                </a:cubicBezTo>
                <a:cubicBezTo>
                  <a:pt x="98" y="13"/>
                  <a:pt x="98" y="13"/>
                  <a:pt x="98" y="13"/>
                </a:cubicBezTo>
                <a:cubicBezTo>
                  <a:pt x="99" y="13"/>
                  <a:pt x="99" y="13"/>
                  <a:pt x="99" y="13"/>
                </a:cubicBezTo>
                <a:cubicBezTo>
                  <a:pt x="100" y="14"/>
                  <a:pt x="101" y="15"/>
                  <a:pt x="103" y="15"/>
                </a:cubicBezTo>
                <a:cubicBezTo>
                  <a:pt x="103" y="16"/>
                  <a:pt x="103" y="16"/>
                  <a:pt x="103" y="16"/>
                </a:cubicBezTo>
                <a:cubicBezTo>
                  <a:pt x="107" y="11"/>
                  <a:pt x="107" y="11"/>
                  <a:pt x="107" y="11"/>
                </a:cubicBezTo>
                <a:cubicBezTo>
                  <a:pt x="109" y="12"/>
                  <a:pt x="111" y="13"/>
                  <a:pt x="112" y="14"/>
                </a:cubicBezTo>
                <a:cubicBezTo>
                  <a:pt x="109" y="20"/>
                  <a:pt x="109" y="20"/>
                  <a:pt x="109" y="20"/>
                </a:cubicBezTo>
                <a:cubicBezTo>
                  <a:pt x="109" y="20"/>
                  <a:pt x="109" y="20"/>
                  <a:pt x="109" y="20"/>
                </a:cubicBezTo>
                <a:cubicBezTo>
                  <a:pt x="111" y="21"/>
                  <a:pt x="112" y="22"/>
                  <a:pt x="113" y="23"/>
                </a:cubicBezTo>
                <a:cubicBezTo>
                  <a:pt x="113" y="23"/>
                  <a:pt x="113" y="23"/>
                  <a:pt x="113" y="23"/>
                </a:cubicBezTo>
                <a:cubicBezTo>
                  <a:pt x="118" y="19"/>
                  <a:pt x="118" y="19"/>
                  <a:pt x="118" y="19"/>
                </a:cubicBezTo>
                <a:cubicBezTo>
                  <a:pt x="120" y="20"/>
                  <a:pt x="121" y="22"/>
                  <a:pt x="122" y="23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9" y="29"/>
                  <a:pt x="119" y="29"/>
                  <a:pt x="119" y="29"/>
                </a:cubicBezTo>
                <a:cubicBezTo>
                  <a:pt x="120" y="30"/>
                  <a:pt x="121" y="31"/>
                  <a:pt x="121" y="32"/>
                </a:cubicBezTo>
                <a:cubicBezTo>
                  <a:pt x="122" y="32"/>
                  <a:pt x="122" y="32"/>
                  <a:pt x="122" y="32"/>
                </a:cubicBezTo>
                <a:cubicBezTo>
                  <a:pt x="127" y="29"/>
                  <a:pt x="127" y="29"/>
                  <a:pt x="127" y="29"/>
                </a:cubicBezTo>
                <a:cubicBezTo>
                  <a:pt x="129" y="31"/>
                  <a:pt x="130" y="33"/>
                  <a:pt x="131" y="34"/>
                </a:cubicBezTo>
                <a:cubicBezTo>
                  <a:pt x="126" y="38"/>
                  <a:pt x="126" y="38"/>
                  <a:pt x="126" y="38"/>
                </a:cubicBezTo>
                <a:cubicBezTo>
                  <a:pt x="126" y="39"/>
                  <a:pt x="126" y="39"/>
                  <a:pt x="126" y="39"/>
                </a:cubicBezTo>
                <a:cubicBezTo>
                  <a:pt x="127" y="40"/>
                  <a:pt x="128" y="41"/>
                  <a:pt x="128" y="43"/>
                </a:cubicBezTo>
                <a:cubicBezTo>
                  <a:pt x="128" y="43"/>
                  <a:pt x="128" y="43"/>
                  <a:pt x="128" y="43"/>
                </a:cubicBezTo>
                <a:cubicBezTo>
                  <a:pt x="134" y="41"/>
                  <a:pt x="134" y="41"/>
                  <a:pt x="134" y="41"/>
                </a:cubicBezTo>
                <a:cubicBezTo>
                  <a:pt x="135" y="43"/>
                  <a:pt x="136" y="45"/>
                  <a:pt x="137" y="47"/>
                </a:cubicBezTo>
                <a:cubicBezTo>
                  <a:pt x="131" y="50"/>
                  <a:pt x="131" y="50"/>
                  <a:pt x="131" y="50"/>
                </a:cubicBezTo>
                <a:cubicBezTo>
                  <a:pt x="131" y="50"/>
                  <a:pt x="131" y="50"/>
                  <a:pt x="131" y="50"/>
                </a:cubicBezTo>
                <a:cubicBezTo>
                  <a:pt x="132" y="52"/>
                  <a:pt x="132" y="53"/>
                  <a:pt x="133" y="54"/>
                </a:cubicBezTo>
                <a:cubicBezTo>
                  <a:pt x="133" y="55"/>
                  <a:pt x="133" y="55"/>
                  <a:pt x="133" y="55"/>
                </a:cubicBezTo>
                <a:cubicBezTo>
                  <a:pt x="139" y="54"/>
                  <a:pt x="139" y="54"/>
                  <a:pt x="139" y="54"/>
                </a:cubicBezTo>
                <a:cubicBezTo>
                  <a:pt x="140" y="56"/>
                  <a:pt x="140" y="58"/>
                  <a:pt x="140" y="60"/>
                </a:cubicBezTo>
                <a:cubicBezTo>
                  <a:pt x="134" y="62"/>
                  <a:pt x="134" y="62"/>
                  <a:pt x="134" y="62"/>
                </a:cubicBezTo>
                <a:cubicBezTo>
                  <a:pt x="134" y="62"/>
                  <a:pt x="134" y="62"/>
                  <a:pt x="134" y="62"/>
                </a:cubicBezTo>
                <a:cubicBezTo>
                  <a:pt x="134" y="64"/>
                  <a:pt x="134" y="65"/>
                  <a:pt x="135" y="67"/>
                </a:cubicBezTo>
                <a:cubicBezTo>
                  <a:pt x="135" y="67"/>
                  <a:pt x="135" y="67"/>
                  <a:pt x="135" y="67"/>
                </a:cubicBezTo>
                <a:cubicBezTo>
                  <a:pt x="141" y="68"/>
                  <a:pt x="141" y="68"/>
                  <a:pt x="141" y="68"/>
                </a:cubicBezTo>
                <a:cubicBezTo>
                  <a:pt x="141" y="69"/>
                  <a:pt x="141" y="70"/>
                  <a:pt x="141" y="71"/>
                </a:cubicBezTo>
                <a:cubicBezTo>
                  <a:pt x="141" y="72"/>
                  <a:pt x="141" y="73"/>
                  <a:pt x="141" y="74"/>
                </a:cubicBezTo>
                <a:cubicBezTo>
                  <a:pt x="135" y="75"/>
                  <a:pt x="135" y="75"/>
                  <a:pt x="135" y="75"/>
                </a:cubicBezTo>
                <a:cubicBezTo>
                  <a:pt x="135" y="75"/>
                  <a:pt x="135" y="75"/>
                  <a:pt x="135" y="75"/>
                </a:cubicBezTo>
                <a:cubicBezTo>
                  <a:pt x="134" y="77"/>
                  <a:pt x="134" y="78"/>
                  <a:pt x="134" y="80"/>
                </a:cubicBezTo>
                <a:cubicBezTo>
                  <a:pt x="134" y="80"/>
                  <a:pt x="134" y="80"/>
                  <a:pt x="134" y="80"/>
                </a:cubicBezTo>
                <a:cubicBezTo>
                  <a:pt x="140" y="82"/>
                  <a:pt x="140" y="82"/>
                  <a:pt x="140" y="82"/>
                </a:cubicBezTo>
                <a:cubicBezTo>
                  <a:pt x="140" y="84"/>
                  <a:pt x="140" y="86"/>
                  <a:pt x="139" y="88"/>
                </a:cubicBezTo>
                <a:cubicBezTo>
                  <a:pt x="133" y="87"/>
                  <a:pt x="133" y="87"/>
                  <a:pt x="133" y="87"/>
                </a:cubicBezTo>
                <a:cubicBezTo>
                  <a:pt x="133" y="88"/>
                  <a:pt x="133" y="88"/>
                  <a:pt x="133" y="88"/>
                </a:cubicBezTo>
                <a:cubicBezTo>
                  <a:pt x="132" y="89"/>
                  <a:pt x="132" y="90"/>
                  <a:pt x="131" y="92"/>
                </a:cubicBezTo>
                <a:cubicBezTo>
                  <a:pt x="131" y="92"/>
                  <a:pt x="131" y="92"/>
                  <a:pt x="131" y="92"/>
                </a:cubicBezTo>
                <a:cubicBezTo>
                  <a:pt x="137" y="95"/>
                  <a:pt x="137" y="95"/>
                  <a:pt x="137" y="95"/>
                </a:cubicBezTo>
                <a:cubicBezTo>
                  <a:pt x="136" y="97"/>
                  <a:pt x="135" y="99"/>
                  <a:pt x="134" y="101"/>
                </a:cubicBezTo>
                <a:cubicBezTo>
                  <a:pt x="128" y="99"/>
                  <a:pt x="128" y="99"/>
                  <a:pt x="128" y="99"/>
                </a:cubicBezTo>
                <a:cubicBezTo>
                  <a:pt x="128" y="99"/>
                  <a:pt x="128" y="99"/>
                  <a:pt x="128" y="99"/>
                </a:cubicBezTo>
                <a:cubicBezTo>
                  <a:pt x="128" y="101"/>
                  <a:pt x="127" y="102"/>
                  <a:pt x="126" y="103"/>
                </a:cubicBezTo>
                <a:cubicBezTo>
                  <a:pt x="126" y="104"/>
                  <a:pt x="126" y="104"/>
                  <a:pt x="126" y="104"/>
                </a:cubicBezTo>
                <a:cubicBezTo>
                  <a:pt x="131" y="108"/>
                  <a:pt x="131" y="108"/>
                  <a:pt x="131" y="108"/>
                </a:cubicBezTo>
                <a:cubicBezTo>
                  <a:pt x="130" y="109"/>
                  <a:pt x="129" y="111"/>
                  <a:pt x="127" y="113"/>
                </a:cubicBezTo>
                <a:cubicBezTo>
                  <a:pt x="122" y="110"/>
                  <a:pt x="122" y="110"/>
                  <a:pt x="122" y="110"/>
                </a:cubicBezTo>
                <a:cubicBezTo>
                  <a:pt x="121" y="110"/>
                  <a:pt x="121" y="110"/>
                  <a:pt x="121" y="110"/>
                </a:cubicBezTo>
                <a:cubicBezTo>
                  <a:pt x="121" y="111"/>
                  <a:pt x="120" y="112"/>
                  <a:pt x="119" y="114"/>
                </a:cubicBezTo>
                <a:cubicBezTo>
                  <a:pt x="118" y="114"/>
                  <a:pt x="118" y="114"/>
                  <a:pt x="118" y="114"/>
                </a:cubicBezTo>
                <a:cubicBezTo>
                  <a:pt x="122" y="119"/>
                  <a:pt x="122" y="119"/>
                  <a:pt x="122" y="119"/>
                </a:cubicBezTo>
                <a:cubicBezTo>
                  <a:pt x="121" y="120"/>
                  <a:pt x="120" y="122"/>
                  <a:pt x="118" y="123"/>
                </a:cubicBezTo>
                <a:cubicBezTo>
                  <a:pt x="113" y="119"/>
                  <a:pt x="113" y="119"/>
                  <a:pt x="113" y="119"/>
                </a:cubicBezTo>
                <a:cubicBezTo>
                  <a:pt x="113" y="119"/>
                  <a:pt x="113" y="119"/>
                  <a:pt x="113" y="119"/>
                </a:cubicBezTo>
                <a:cubicBezTo>
                  <a:pt x="112" y="120"/>
                  <a:pt x="111" y="121"/>
                  <a:pt x="109" y="122"/>
                </a:cubicBezTo>
                <a:cubicBezTo>
                  <a:pt x="109" y="122"/>
                  <a:pt x="109" y="122"/>
                  <a:pt x="109" y="122"/>
                </a:cubicBezTo>
                <a:cubicBezTo>
                  <a:pt x="112" y="128"/>
                  <a:pt x="112" y="128"/>
                  <a:pt x="112" y="128"/>
                </a:cubicBezTo>
                <a:cubicBezTo>
                  <a:pt x="111" y="129"/>
                  <a:pt x="109" y="130"/>
                  <a:pt x="107" y="131"/>
                </a:cubicBezTo>
                <a:cubicBezTo>
                  <a:pt x="103" y="126"/>
                  <a:pt x="103" y="126"/>
                  <a:pt x="103" y="126"/>
                </a:cubicBezTo>
                <a:cubicBezTo>
                  <a:pt x="103" y="127"/>
                  <a:pt x="103" y="127"/>
                  <a:pt x="103" y="127"/>
                </a:cubicBezTo>
                <a:cubicBezTo>
                  <a:pt x="101" y="127"/>
                  <a:pt x="100" y="128"/>
                  <a:pt x="99" y="129"/>
                </a:cubicBezTo>
                <a:cubicBezTo>
                  <a:pt x="98" y="129"/>
                  <a:pt x="98" y="129"/>
                  <a:pt x="98" y="129"/>
                </a:cubicBezTo>
                <a:cubicBezTo>
                  <a:pt x="100" y="135"/>
                  <a:pt x="100" y="135"/>
                  <a:pt x="100" y="135"/>
                </a:cubicBezTo>
                <a:cubicBezTo>
                  <a:pt x="98" y="136"/>
                  <a:pt x="96" y="137"/>
                  <a:pt x="95" y="137"/>
                </a:cubicBezTo>
                <a:cubicBezTo>
                  <a:pt x="92" y="132"/>
                  <a:pt x="92" y="132"/>
                  <a:pt x="92" y="132"/>
                </a:cubicBezTo>
                <a:cubicBezTo>
                  <a:pt x="91" y="132"/>
                  <a:pt x="91" y="132"/>
                  <a:pt x="91" y="132"/>
                </a:cubicBezTo>
                <a:cubicBezTo>
                  <a:pt x="90" y="132"/>
                  <a:pt x="88" y="133"/>
                  <a:pt x="87" y="133"/>
                </a:cubicBezTo>
                <a:cubicBezTo>
                  <a:pt x="87" y="133"/>
                  <a:pt x="87" y="133"/>
                  <a:pt x="87" y="133"/>
                </a:cubicBezTo>
                <a:cubicBezTo>
                  <a:pt x="87" y="140"/>
                  <a:pt x="87" y="140"/>
                  <a:pt x="87" y="140"/>
                </a:cubicBezTo>
                <a:cubicBezTo>
                  <a:pt x="85" y="140"/>
                  <a:pt x="83" y="141"/>
                  <a:pt x="81" y="141"/>
                </a:cubicBezTo>
                <a:cubicBezTo>
                  <a:pt x="79" y="135"/>
                  <a:pt x="79" y="135"/>
                  <a:pt x="79" y="135"/>
                </a:cubicBezTo>
                <a:cubicBezTo>
                  <a:pt x="79" y="135"/>
                  <a:pt x="79" y="135"/>
                  <a:pt x="79" y="135"/>
                </a:cubicBezTo>
                <a:cubicBezTo>
                  <a:pt x="77" y="135"/>
                  <a:pt x="76" y="135"/>
                  <a:pt x="74" y="135"/>
                </a:cubicBezTo>
                <a:cubicBezTo>
                  <a:pt x="74" y="135"/>
                  <a:pt x="74" y="135"/>
                  <a:pt x="74" y="135"/>
                </a:cubicBezTo>
                <a:cubicBezTo>
                  <a:pt x="73" y="142"/>
                  <a:pt x="73" y="142"/>
                  <a:pt x="73" y="142"/>
                </a:cubicBezTo>
                <a:cubicBezTo>
                  <a:pt x="72" y="142"/>
                  <a:pt x="71" y="142"/>
                  <a:pt x="70" y="142"/>
                </a:cubicBezTo>
                <a:close/>
              </a:path>
            </a:pathLst>
          </a:custGeom>
          <a:solidFill>
            <a:srgbClr val="E2583D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220" name="Freeform 219"/>
          <p:cNvSpPr>
            <a:spLocks/>
          </p:cNvSpPr>
          <p:nvPr/>
        </p:nvSpPr>
        <p:spPr bwMode="auto">
          <a:xfrm flipH="1">
            <a:off x="4297583" y="2146342"/>
            <a:ext cx="1137124" cy="1145097"/>
          </a:xfrm>
          <a:custGeom>
            <a:avLst/>
            <a:gdLst>
              <a:gd name="T0" fmla="*/ 66 w 141"/>
              <a:gd name="T1" fmla="*/ 135 h 142"/>
              <a:gd name="T2" fmla="*/ 54 w 141"/>
              <a:gd name="T3" fmla="*/ 140 h 142"/>
              <a:gd name="T4" fmla="*/ 49 w 141"/>
              <a:gd name="T5" fmla="*/ 132 h 142"/>
              <a:gd name="T6" fmla="*/ 42 w 141"/>
              <a:gd name="T7" fmla="*/ 129 h 142"/>
              <a:gd name="T8" fmla="*/ 29 w 141"/>
              <a:gd name="T9" fmla="*/ 128 h 142"/>
              <a:gd name="T10" fmla="*/ 28 w 141"/>
              <a:gd name="T11" fmla="*/ 119 h 142"/>
              <a:gd name="T12" fmla="*/ 22 w 141"/>
              <a:gd name="T13" fmla="*/ 114 h 142"/>
              <a:gd name="T14" fmla="*/ 10 w 141"/>
              <a:gd name="T15" fmla="*/ 108 h 142"/>
              <a:gd name="T16" fmla="*/ 12 w 141"/>
              <a:gd name="T17" fmla="*/ 99 h 142"/>
              <a:gd name="T18" fmla="*/ 10 w 141"/>
              <a:gd name="T19" fmla="*/ 92 h 142"/>
              <a:gd name="T20" fmla="*/ 1 w 141"/>
              <a:gd name="T21" fmla="*/ 82 h 142"/>
              <a:gd name="T22" fmla="*/ 6 w 141"/>
              <a:gd name="T23" fmla="*/ 75 h 142"/>
              <a:gd name="T24" fmla="*/ 6 w 141"/>
              <a:gd name="T25" fmla="*/ 67 h 142"/>
              <a:gd name="T26" fmla="*/ 1 w 141"/>
              <a:gd name="T27" fmla="*/ 60 h 142"/>
              <a:gd name="T28" fmla="*/ 10 w 141"/>
              <a:gd name="T29" fmla="*/ 50 h 142"/>
              <a:gd name="T30" fmla="*/ 12 w 141"/>
              <a:gd name="T31" fmla="*/ 43 h 142"/>
              <a:gd name="T32" fmla="*/ 10 w 141"/>
              <a:gd name="T33" fmla="*/ 34 h 142"/>
              <a:gd name="T34" fmla="*/ 22 w 141"/>
              <a:gd name="T35" fmla="*/ 29 h 142"/>
              <a:gd name="T36" fmla="*/ 28 w 141"/>
              <a:gd name="T37" fmla="*/ 23 h 142"/>
              <a:gd name="T38" fmla="*/ 29 w 141"/>
              <a:gd name="T39" fmla="*/ 14 h 142"/>
              <a:gd name="T40" fmla="*/ 42 w 141"/>
              <a:gd name="T41" fmla="*/ 13 h 142"/>
              <a:gd name="T42" fmla="*/ 49 w 141"/>
              <a:gd name="T43" fmla="*/ 10 h 142"/>
              <a:gd name="T44" fmla="*/ 54 w 141"/>
              <a:gd name="T45" fmla="*/ 2 h 142"/>
              <a:gd name="T46" fmla="*/ 66 w 141"/>
              <a:gd name="T47" fmla="*/ 7 h 142"/>
              <a:gd name="T48" fmla="*/ 73 w 141"/>
              <a:gd name="T49" fmla="*/ 0 h 142"/>
              <a:gd name="T50" fmla="*/ 79 w 141"/>
              <a:gd name="T51" fmla="*/ 7 h 142"/>
              <a:gd name="T52" fmla="*/ 87 w 141"/>
              <a:gd name="T53" fmla="*/ 9 h 142"/>
              <a:gd name="T54" fmla="*/ 100 w 141"/>
              <a:gd name="T55" fmla="*/ 7 h 142"/>
              <a:gd name="T56" fmla="*/ 103 w 141"/>
              <a:gd name="T57" fmla="*/ 16 h 142"/>
              <a:gd name="T58" fmla="*/ 109 w 141"/>
              <a:gd name="T59" fmla="*/ 20 h 142"/>
              <a:gd name="T60" fmla="*/ 122 w 141"/>
              <a:gd name="T61" fmla="*/ 23 h 142"/>
              <a:gd name="T62" fmla="*/ 122 w 141"/>
              <a:gd name="T63" fmla="*/ 32 h 142"/>
              <a:gd name="T64" fmla="*/ 126 w 141"/>
              <a:gd name="T65" fmla="*/ 39 h 142"/>
              <a:gd name="T66" fmla="*/ 137 w 141"/>
              <a:gd name="T67" fmla="*/ 47 h 142"/>
              <a:gd name="T68" fmla="*/ 133 w 141"/>
              <a:gd name="T69" fmla="*/ 55 h 142"/>
              <a:gd name="T70" fmla="*/ 134 w 141"/>
              <a:gd name="T71" fmla="*/ 62 h 142"/>
              <a:gd name="T72" fmla="*/ 141 w 141"/>
              <a:gd name="T73" fmla="*/ 71 h 142"/>
              <a:gd name="T74" fmla="*/ 134 w 141"/>
              <a:gd name="T75" fmla="*/ 80 h 142"/>
              <a:gd name="T76" fmla="*/ 133 w 141"/>
              <a:gd name="T77" fmla="*/ 87 h 142"/>
              <a:gd name="T78" fmla="*/ 137 w 141"/>
              <a:gd name="T79" fmla="*/ 95 h 142"/>
              <a:gd name="T80" fmla="*/ 126 w 141"/>
              <a:gd name="T81" fmla="*/ 103 h 142"/>
              <a:gd name="T82" fmla="*/ 122 w 141"/>
              <a:gd name="T83" fmla="*/ 110 h 142"/>
              <a:gd name="T84" fmla="*/ 122 w 141"/>
              <a:gd name="T85" fmla="*/ 119 h 142"/>
              <a:gd name="T86" fmla="*/ 109 w 141"/>
              <a:gd name="T87" fmla="*/ 122 h 142"/>
              <a:gd name="T88" fmla="*/ 103 w 141"/>
              <a:gd name="T89" fmla="*/ 126 h 142"/>
              <a:gd name="T90" fmla="*/ 100 w 141"/>
              <a:gd name="T91" fmla="*/ 135 h 142"/>
              <a:gd name="T92" fmla="*/ 87 w 141"/>
              <a:gd name="T93" fmla="*/ 133 h 142"/>
              <a:gd name="T94" fmla="*/ 79 w 141"/>
              <a:gd name="T95" fmla="*/ 135 h 142"/>
              <a:gd name="T96" fmla="*/ 73 w 141"/>
              <a:gd name="T97" fmla="*/ 142 h 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41" h="142">
                <a:moveTo>
                  <a:pt x="70" y="142"/>
                </a:moveTo>
                <a:cubicBezTo>
                  <a:pt x="69" y="142"/>
                  <a:pt x="68" y="142"/>
                  <a:pt x="67" y="142"/>
                </a:cubicBezTo>
                <a:cubicBezTo>
                  <a:pt x="67" y="135"/>
                  <a:pt x="67" y="135"/>
                  <a:pt x="67" y="135"/>
                </a:cubicBezTo>
                <a:cubicBezTo>
                  <a:pt x="66" y="135"/>
                  <a:pt x="66" y="135"/>
                  <a:pt x="66" y="135"/>
                </a:cubicBezTo>
                <a:cubicBezTo>
                  <a:pt x="65" y="135"/>
                  <a:pt x="63" y="135"/>
                  <a:pt x="62" y="135"/>
                </a:cubicBezTo>
                <a:cubicBezTo>
                  <a:pt x="61" y="135"/>
                  <a:pt x="61" y="135"/>
                  <a:pt x="61" y="135"/>
                </a:cubicBezTo>
                <a:cubicBezTo>
                  <a:pt x="60" y="141"/>
                  <a:pt x="60" y="141"/>
                  <a:pt x="60" y="141"/>
                </a:cubicBezTo>
                <a:cubicBezTo>
                  <a:pt x="58" y="141"/>
                  <a:pt x="56" y="140"/>
                  <a:pt x="54" y="140"/>
                </a:cubicBezTo>
                <a:cubicBezTo>
                  <a:pt x="54" y="133"/>
                  <a:pt x="54" y="133"/>
                  <a:pt x="54" y="133"/>
                </a:cubicBezTo>
                <a:cubicBezTo>
                  <a:pt x="54" y="133"/>
                  <a:pt x="54" y="133"/>
                  <a:pt x="54" y="133"/>
                </a:cubicBezTo>
                <a:cubicBezTo>
                  <a:pt x="52" y="133"/>
                  <a:pt x="51" y="132"/>
                  <a:pt x="50" y="132"/>
                </a:cubicBezTo>
                <a:cubicBezTo>
                  <a:pt x="49" y="132"/>
                  <a:pt x="49" y="132"/>
                  <a:pt x="49" y="132"/>
                </a:cubicBezTo>
                <a:cubicBezTo>
                  <a:pt x="46" y="137"/>
                  <a:pt x="46" y="137"/>
                  <a:pt x="46" y="137"/>
                </a:cubicBezTo>
                <a:cubicBezTo>
                  <a:pt x="44" y="137"/>
                  <a:pt x="42" y="136"/>
                  <a:pt x="41" y="135"/>
                </a:cubicBezTo>
                <a:cubicBezTo>
                  <a:pt x="42" y="129"/>
                  <a:pt x="42" y="129"/>
                  <a:pt x="42" y="129"/>
                </a:cubicBezTo>
                <a:cubicBezTo>
                  <a:pt x="42" y="129"/>
                  <a:pt x="42" y="129"/>
                  <a:pt x="42" y="129"/>
                </a:cubicBezTo>
                <a:cubicBezTo>
                  <a:pt x="41" y="128"/>
                  <a:pt x="39" y="127"/>
                  <a:pt x="38" y="127"/>
                </a:cubicBezTo>
                <a:cubicBezTo>
                  <a:pt x="38" y="126"/>
                  <a:pt x="38" y="126"/>
                  <a:pt x="38" y="126"/>
                </a:cubicBezTo>
                <a:cubicBezTo>
                  <a:pt x="34" y="131"/>
                  <a:pt x="34" y="131"/>
                  <a:pt x="34" y="131"/>
                </a:cubicBezTo>
                <a:cubicBezTo>
                  <a:pt x="32" y="130"/>
                  <a:pt x="30" y="129"/>
                  <a:pt x="29" y="128"/>
                </a:cubicBezTo>
                <a:cubicBezTo>
                  <a:pt x="32" y="122"/>
                  <a:pt x="32" y="122"/>
                  <a:pt x="32" y="122"/>
                </a:cubicBezTo>
                <a:cubicBezTo>
                  <a:pt x="31" y="122"/>
                  <a:pt x="31" y="122"/>
                  <a:pt x="31" y="122"/>
                </a:cubicBezTo>
                <a:cubicBezTo>
                  <a:pt x="30" y="121"/>
                  <a:pt x="29" y="120"/>
                  <a:pt x="28" y="119"/>
                </a:cubicBezTo>
                <a:cubicBezTo>
                  <a:pt x="28" y="119"/>
                  <a:pt x="28" y="119"/>
                  <a:pt x="28" y="119"/>
                </a:cubicBezTo>
                <a:cubicBezTo>
                  <a:pt x="23" y="123"/>
                  <a:pt x="23" y="123"/>
                  <a:pt x="23" y="123"/>
                </a:cubicBezTo>
                <a:cubicBezTo>
                  <a:pt x="21" y="122"/>
                  <a:pt x="20" y="120"/>
                  <a:pt x="18" y="119"/>
                </a:cubicBezTo>
                <a:cubicBezTo>
                  <a:pt x="22" y="114"/>
                  <a:pt x="22" y="114"/>
                  <a:pt x="22" y="114"/>
                </a:cubicBezTo>
                <a:cubicBezTo>
                  <a:pt x="22" y="114"/>
                  <a:pt x="22" y="114"/>
                  <a:pt x="22" y="114"/>
                </a:cubicBezTo>
                <a:cubicBezTo>
                  <a:pt x="21" y="112"/>
                  <a:pt x="20" y="111"/>
                  <a:pt x="19" y="110"/>
                </a:cubicBezTo>
                <a:cubicBezTo>
                  <a:pt x="19" y="110"/>
                  <a:pt x="19" y="110"/>
                  <a:pt x="19" y="110"/>
                </a:cubicBezTo>
                <a:cubicBezTo>
                  <a:pt x="13" y="113"/>
                  <a:pt x="13" y="113"/>
                  <a:pt x="13" y="113"/>
                </a:cubicBezTo>
                <a:cubicBezTo>
                  <a:pt x="12" y="111"/>
                  <a:pt x="11" y="109"/>
                  <a:pt x="10" y="108"/>
                </a:cubicBezTo>
                <a:cubicBezTo>
                  <a:pt x="15" y="104"/>
                  <a:pt x="15" y="104"/>
                  <a:pt x="15" y="104"/>
                </a:cubicBezTo>
                <a:cubicBezTo>
                  <a:pt x="15" y="103"/>
                  <a:pt x="15" y="103"/>
                  <a:pt x="15" y="103"/>
                </a:cubicBezTo>
                <a:cubicBezTo>
                  <a:pt x="14" y="102"/>
                  <a:pt x="13" y="101"/>
                  <a:pt x="13" y="99"/>
                </a:cubicBezTo>
                <a:cubicBezTo>
                  <a:pt x="12" y="99"/>
                  <a:pt x="12" y="99"/>
                  <a:pt x="12" y="99"/>
                </a:cubicBezTo>
                <a:cubicBezTo>
                  <a:pt x="6" y="101"/>
                  <a:pt x="6" y="101"/>
                  <a:pt x="6" y="101"/>
                </a:cubicBezTo>
                <a:cubicBezTo>
                  <a:pt x="5" y="99"/>
                  <a:pt x="5" y="97"/>
                  <a:pt x="4" y="95"/>
                </a:cubicBezTo>
                <a:cubicBezTo>
                  <a:pt x="10" y="92"/>
                  <a:pt x="10" y="92"/>
                  <a:pt x="10" y="92"/>
                </a:cubicBezTo>
                <a:cubicBezTo>
                  <a:pt x="10" y="92"/>
                  <a:pt x="10" y="92"/>
                  <a:pt x="10" y="92"/>
                </a:cubicBezTo>
                <a:cubicBezTo>
                  <a:pt x="9" y="90"/>
                  <a:pt x="9" y="89"/>
                  <a:pt x="8" y="88"/>
                </a:cubicBezTo>
                <a:cubicBezTo>
                  <a:pt x="8" y="87"/>
                  <a:pt x="8" y="87"/>
                  <a:pt x="8" y="87"/>
                </a:cubicBezTo>
                <a:cubicBezTo>
                  <a:pt x="2" y="88"/>
                  <a:pt x="2" y="88"/>
                  <a:pt x="2" y="88"/>
                </a:cubicBezTo>
                <a:cubicBezTo>
                  <a:pt x="1" y="86"/>
                  <a:pt x="1" y="84"/>
                  <a:pt x="1" y="82"/>
                </a:cubicBezTo>
                <a:cubicBezTo>
                  <a:pt x="7" y="80"/>
                  <a:pt x="7" y="80"/>
                  <a:pt x="7" y="80"/>
                </a:cubicBezTo>
                <a:cubicBezTo>
                  <a:pt x="7" y="80"/>
                  <a:pt x="7" y="80"/>
                  <a:pt x="7" y="80"/>
                </a:cubicBezTo>
                <a:cubicBezTo>
                  <a:pt x="6" y="78"/>
                  <a:pt x="6" y="77"/>
                  <a:pt x="6" y="75"/>
                </a:cubicBezTo>
                <a:cubicBezTo>
                  <a:pt x="6" y="75"/>
                  <a:pt x="6" y="75"/>
                  <a:pt x="6" y="75"/>
                </a:cubicBezTo>
                <a:cubicBezTo>
                  <a:pt x="0" y="74"/>
                  <a:pt x="0" y="74"/>
                  <a:pt x="0" y="74"/>
                </a:cubicBezTo>
                <a:cubicBezTo>
                  <a:pt x="0" y="73"/>
                  <a:pt x="0" y="72"/>
                  <a:pt x="0" y="71"/>
                </a:cubicBezTo>
                <a:cubicBezTo>
                  <a:pt x="0" y="70"/>
                  <a:pt x="0" y="69"/>
                  <a:pt x="0" y="68"/>
                </a:cubicBezTo>
                <a:cubicBezTo>
                  <a:pt x="6" y="67"/>
                  <a:pt x="6" y="67"/>
                  <a:pt x="6" y="67"/>
                </a:cubicBezTo>
                <a:cubicBezTo>
                  <a:pt x="6" y="67"/>
                  <a:pt x="6" y="67"/>
                  <a:pt x="6" y="67"/>
                </a:cubicBezTo>
                <a:cubicBezTo>
                  <a:pt x="6" y="65"/>
                  <a:pt x="6" y="64"/>
                  <a:pt x="7" y="62"/>
                </a:cubicBezTo>
                <a:cubicBezTo>
                  <a:pt x="7" y="62"/>
                  <a:pt x="7" y="62"/>
                  <a:pt x="7" y="62"/>
                </a:cubicBezTo>
                <a:cubicBezTo>
                  <a:pt x="1" y="60"/>
                  <a:pt x="1" y="60"/>
                  <a:pt x="1" y="60"/>
                </a:cubicBezTo>
                <a:cubicBezTo>
                  <a:pt x="1" y="58"/>
                  <a:pt x="1" y="56"/>
                  <a:pt x="2" y="54"/>
                </a:cubicBezTo>
                <a:cubicBezTo>
                  <a:pt x="8" y="55"/>
                  <a:pt x="8" y="55"/>
                  <a:pt x="8" y="55"/>
                </a:cubicBezTo>
                <a:cubicBezTo>
                  <a:pt x="8" y="54"/>
                  <a:pt x="8" y="54"/>
                  <a:pt x="8" y="54"/>
                </a:cubicBezTo>
                <a:cubicBezTo>
                  <a:pt x="9" y="53"/>
                  <a:pt x="9" y="52"/>
                  <a:pt x="10" y="50"/>
                </a:cubicBezTo>
                <a:cubicBezTo>
                  <a:pt x="10" y="50"/>
                  <a:pt x="10" y="50"/>
                  <a:pt x="10" y="50"/>
                </a:cubicBezTo>
                <a:cubicBezTo>
                  <a:pt x="4" y="47"/>
                  <a:pt x="4" y="47"/>
                  <a:pt x="4" y="47"/>
                </a:cubicBezTo>
                <a:cubicBezTo>
                  <a:pt x="5" y="45"/>
                  <a:pt x="5" y="43"/>
                  <a:pt x="6" y="41"/>
                </a:cubicBezTo>
                <a:cubicBezTo>
                  <a:pt x="12" y="43"/>
                  <a:pt x="12" y="43"/>
                  <a:pt x="12" y="43"/>
                </a:cubicBezTo>
                <a:cubicBezTo>
                  <a:pt x="13" y="43"/>
                  <a:pt x="13" y="43"/>
                  <a:pt x="13" y="43"/>
                </a:cubicBezTo>
                <a:cubicBezTo>
                  <a:pt x="13" y="41"/>
                  <a:pt x="14" y="40"/>
                  <a:pt x="15" y="39"/>
                </a:cubicBezTo>
                <a:cubicBezTo>
                  <a:pt x="15" y="38"/>
                  <a:pt x="15" y="38"/>
                  <a:pt x="15" y="38"/>
                </a:cubicBezTo>
                <a:cubicBezTo>
                  <a:pt x="10" y="34"/>
                  <a:pt x="10" y="34"/>
                  <a:pt x="10" y="34"/>
                </a:cubicBezTo>
                <a:cubicBezTo>
                  <a:pt x="11" y="33"/>
                  <a:pt x="12" y="31"/>
                  <a:pt x="13" y="29"/>
                </a:cubicBezTo>
                <a:cubicBezTo>
                  <a:pt x="19" y="32"/>
                  <a:pt x="19" y="32"/>
                  <a:pt x="19" y="32"/>
                </a:cubicBezTo>
                <a:cubicBezTo>
                  <a:pt x="19" y="32"/>
                  <a:pt x="19" y="32"/>
                  <a:pt x="19" y="32"/>
                </a:cubicBezTo>
                <a:cubicBezTo>
                  <a:pt x="20" y="31"/>
                  <a:pt x="21" y="30"/>
                  <a:pt x="22" y="29"/>
                </a:cubicBezTo>
                <a:cubicBezTo>
                  <a:pt x="22" y="28"/>
                  <a:pt x="22" y="28"/>
                  <a:pt x="22" y="28"/>
                </a:cubicBezTo>
                <a:cubicBezTo>
                  <a:pt x="18" y="23"/>
                  <a:pt x="18" y="23"/>
                  <a:pt x="18" y="23"/>
                </a:cubicBezTo>
                <a:cubicBezTo>
                  <a:pt x="20" y="22"/>
                  <a:pt x="21" y="20"/>
                  <a:pt x="23" y="19"/>
                </a:cubicBezTo>
                <a:cubicBezTo>
                  <a:pt x="28" y="23"/>
                  <a:pt x="28" y="23"/>
                  <a:pt x="28" y="23"/>
                </a:cubicBezTo>
                <a:cubicBezTo>
                  <a:pt x="28" y="23"/>
                  <a:pt x="28" y="23"/>
                  <a:pt x="28" y="23"/>
                </a:cubicBezTo>
                <a:cubicBezTo>
                  <a:pt x="29" y="22"/>
                  <a:pt x="30" y="21"/>
                  <a:pt x="31" y="20"/>
                </a:cubicBezTo>
                <a:cubicBezTo>
                  <a:pt x="32" y="20"/>
                  <a:pt x="32" y="20"/>
                  <a:pt x="32" y="20"/>
                </a:cubicBezTo>
                <a:cubicBezTo>
                  <a:pt x="29" y="14"/>
                  <a:pt x="29" y="14"/>
                  <a:pt x="29" y="14"/>
                </a:cubicBezTo>
                <a:cubicBezTo>
                  <a:pt x="30" y="13"/>
                  <a:pt x="32" y="12"/>
                  <a:pt x="34" y="11"/>
                </a:cubicBezTo>
                <a:cubicBezTo>
                  <a:pt x="38" y="16"/>
                  <a:pt x="38" y="16"/>
                  <a:pt x="38" y="16"/>
                </a:cubicBezTo>
                <a:cubicBezTo>
                  <a:pt x="38" y="15"/>
                  <a:pt x="38" y="15"/>
                  <a:pt x="38" y="15"/>
                </a:cubicBezTo>
                <a:cubicBezTo>
                  <a:pt x="39" y="15"/>
                  <a:pt x="41" y="14"/>
                  <a:pt x="42" y="13"/>
                </a:cubicBezTo>
                <a:cubicBezTo>
                  <a:pt x="42" y="13"/>
                  <a:pt x="42" y="13"/>
                  <a:pt x="42" y="13"/>
                </a:cubicBezTo>
                <a:cubicBezTo>
                  <a:pt x="41" y="7"/>
                  <a:pt x="41" y="7"/>
                  <a:pt x="41" y="7"/>
                </a:cubicBezTo>
                <a:cubicBezTo>
                  <a:pt x="42" y="6"/>
                  <a:pt x="44" y="5"/>
                  <a:pt x="46" y="5"/>
                </a:cubicBezTo>
                <a:cubicBezTo>
                  <a:pt x="49" y="10"/>
                  <a:pt x="49" y="10"/>
                  <a:pt x="49" y="10"/>
                </a:cubicBezTo>
                <a:cubicBezTo>
                  <a:pt x="50" y="10"/>
                  <a:pt x="50" y="10"/>
                  <a:pt x="50" y="10"/>
                </a:cubicBezTo>
                <a:cubicBezTo>
                  <a:pt x="51" y="10"/>
                  <a:pt x="52" y="9"/>
                  <a:pt x="54" y="9"/>
                </a:cubicBezTo>
                <a:cubicBezTo>
                  <a:pt x="54" y="9"/>
                  <a:pt x="54" y="9"/>
                  <a:pt x="54" y="9"/>
                </a:cubicBezTo>
                <a:cubicBezTo>
                  <a:pt x="54" y="2"/>
                  <a:pt x="54" y="2"/>
                  <a:pt x="54" y="2"/>
                </a:cubicBezTo>
                <a:cubicBezTo>
                  <a:pt x="56" y="2"/>
                  <a:pt x="58" y="1"/>
                  <a:pt x="60" y="1"/>
                </a:cubicBezTo>
                <a:cubicBezTo>
                  <a:pt x="61" y="7"/>
                  <a:pt x="61" y="7"/>
                  <a:pt x="61" y="7"/>
                </a:cubicBezTo>
                <a:cubicBezTo>
                  <a:pt x="62" y="7"/>
                  <a:pt x="62" y="7"/>
                  <a:pt x="62" y="7"/>
                </a:cubicBezTo>
                <a:cubicBezTo>
                  <a:pt x="63" y="7"/>
                  <a:pt x="65" y="7"/>
                  <a:pt x="66" y="7"/>
                </a:cubicBezTo>
                <a:cubicBezTo>
                  <a:pt x="67" y="7"/>
                  <a:pt x="67" y="7"/>
                  <a:pt x="67" y="7"/>
                </a:cubicBezTo>
                <a:cubicBezTo>
                  <a:pt x="67" y="0"/>
                  <a:pt x="67" y="0"/>
                  <a:pt x="67" y="0"/>
                </a:cubicBezTo>
                <a:cubicBezTo>
                  <a:pt x="68" y="0"/>
                  <a:pt x="69" y="0"/>
                  <a:pt x="70" y="0"/>
                </a:cubicBezTo>
                <a:cubicBezTo>
                  <a:pt x="71" y="0"/>
                  <a:pt x="72" y="0"/>
                  <a:pt x="73" y="0"/>
                </a:cubicBezTo>
                <a:cubicBezTo>
                  <a:pt x="74" y="7"/>
                  <a:pt x="74" y="7"/>
                  <a:pt x="74" y="7"/>
                </a:cubicBezTo>
                <a:cubicBezTo>
                  <a:pt x="74" y="7"/>
                  <a:pt x="74" y="7"/>
                  <a:pt x="74" y="7"/>
                </a:cubicBezTo>
                <a:cubicBezTo>
                  <a:pt x="76" y="7"/>
                  <a:pt x="77" y="7"/>
                  <a:pt x="79" y="7"/>
                </a:cubicBezTo>
                <a:cubicBezTo>
                  <a:pt x="79" y="7"/>
                  <a:pt x="79" y="7"/>
                  <a:pt x="79" y="7"/>
                </a:cubicBezTo>
                <a:cubicBezTo>
                  <a:pt x="81" y="1"/>
                  <a:pt x="81" y="1"/>
                  <a:pt x="81" y="1"/>
                </a:cubicBezTo>
                <a:cubicBezTo>
                  <a:pt x="83" y="1"/>
                  <a:pt x="85" y="2"/>
                  <a:pt x="87" y="2"/>
                </a:cubicBezTo>
                <a:cubicBezTo>
                  <a:pt x="87" y="9"/>
                  <a:pt x="87" y="9"/>
                  <a:pt x="87" y="9"/>
                </a:cubicBezTo>
                <a:cubicBezTo>
                  <a:pt x="87" y="9"/>
                  <a:pt x="87" y="9"/>
                  <a:pt x="87" y="9"/>
                </a:cubicBezTo>
                <a:cubicBezTo>
                  <a:pt x="88" y="9"/>
                  <a:pt x="90" y="10"/>
                  <a:pt x="91" y="10"/>
                </a:cubicBezTo>
                <a:cubicBezTo>
                  <a:pt x="92" y="10"/>
                  <a:pt x="92" y="10"/>
                  <a:pt x="92" y="10"/>
                </a:cubicBezTo>
                <a:cubicBezTo>
                  <a:pt x="95" y="5"/>
                  <a:pt x="95" y="5"/>
                  <a:pt x="95" y="5"/>
                </a:cubicBezTo>
                <a:cubicBezTo>
                  <a:pt x="96" y="5"/>
                  <a:pt x="98" y="6"/>
                  <a:pt x="100" y="7"/>
                </a:cubicBezTo>
                <a:cubicBezTo>
                  <a:pt x="98" y="13"/>
                  <a:pt x="98" y="13"/>
                  <a:pt x="98" y="13"/>
                </a:cubicBezTo>
                <a:cubicBezTo>
                  <a:pt x="99" y="13"/>
                  <a:pt x="99" y="13"/>
                  <a:pt x="99" y="13"/>
                </a:cubicBezTo>
                <a:cubicBezTo>
                  <a:pt x="100" y="14"/>
                  <a:pt x="101" y="15"/>
                  <a:pt x="103" y="15"/>
                </a:cubicBezTo>
                <a:cubicBezTo>
                  <a:pt x="103" y="16"/>
                  <a:pt x="103" y="16"/>
                  <a:pt x="103" y="16"/>
                </a:cubicBezTo>
                <a:cubicBezTo>
                  <a:pt x="107" y="11"/>
                  <a:pt x="107" y="11"/>
                  <a:pt x="107" y="11"/>
                </a:cubicBezTo>
                <a:cubicBezTo>
                  <a:pt x="109" y="12"/>
                  <a:pt x="111" y="13"/>
                  <a:pt x="112" y="14"/>
                </a:cubicBezTo>
                <a:cubicBezTo>
                  <a:pt x="109" y="20"/>
                  <a:pt x="109" y="20"/>
                  <a:pt x="109" y="20"/>
                </a:cubicBezTo>
                <a:cubicBezTo>
                  <a:pt x="109" y="20"/>
                  <a:pt x="109" y="20"/>
                  <a:pt x="109" y="20"/>
                </a:cubicBezTo>
                <a:cubicBezTo>
                  <a:pt x="111" y="21"/>
                  <a:pt x="112" y="22"/>
                  <a:pt x="113" y="23"/>
                </a:cubicBezTo>
                <a:cubicBezTo>
                  <a:pt x="113" y="23"/>
                  <a:pt x="113" y="23"/>
                  <a:pt x="113" y="23"/>
                </a:cubicBezTo>
                <a:cubicBezTo>
                  <a:pt x="118" y="19"/>
                  <a:pt x="118" y="19"/>
                  <a:pt x="118" y="19"/>
                </a:cubicBezTo>
                <a:cubicBezTo>
                  <a:pt x="120" y="20"/>
                  <a:pt x="121" y="22"/>
                  <a:pt x="122" y="23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9" y="29"/>
                  <a:pt x="119" y="29"/>
                  <a:pt x="119" y="29"/>
                </a:cubicBezTo>
                <a:cubicBezTo>
                  <a:pt x="120" y="30"/>
                  <a:pt x="121" y="31"/>
                  <a:pt x="121" y="32"/>
                </a:cubicBezTo>
                <a:cubicBezTo>
                  <a:pt x="122" y="32"/>
                  <a:pt x="122" y="32"/>
                  <a:pt x="122" y="32"/>
                </a:cubicBezTo>
                <a:cubicBezTo>
                  <a:pt x="127" y="29"/>
                  <a:pt x="127" y="29"/>
                  <a:pt x="127" y="29"/>
                </a:cubicBezTo>
                <a:cubicBezTo>
                  <a:pt x="129" y="31"/>
                  <a:pt x="130" y="33"/>
                  <a:pt x="131" y="34"/>
                </a:cubicBezTo>
                <a:cubicBezTo>
                  <a:pt x="126" y="38"/>
                  <a:pt x="126" y="38"/>
                  <a:pt x="126" y="38"/>
                </a:cubicBezTo>
                <a:cubicBezTo>
                  <a:pt x="126" y="39"/>
                  <a:pt x="126" y="39"/>
                  <a:pt x="126" y="39"/>
                </a:cubicBezTo>
                <a:cubicBezTo>
                  <a:pt x="127" y="40"/>
                  <a:pt x="128" y="41"/>
                  <a:pt x="128" y="43"/>
                </a:cubicBezTo>
                <a:cubicBezTo>
                  <a:pt x="128" y="43"/>
                  <a:pt x="128" y="43"/>
                  <a:pt x="128" y="43"/>
                </a:cubicBezTo>
                <a:cubicBezTo>
                  <a:pt x="134" y="41"/>
                  <a:pt x="134" y="41"/>
                  <a:pt x="134" y="41"/>
                </a:cubicBezTo>
                <a:cubicBezTo>
                  <a:pt x="135" y="43"/>
                  <a:pt x="136" y="45"/>
                  <a:pt x="137" y="47"/>
                </a:cubicBezTo>
                <a:cubicBezTo>
                  <a:pt x="131" y="50"/>
                  <a:pt x="131" y="50"/>
                  <a:pt x="131" y="50"/>
                </a:cubicBezTo>
                <a:cubicBezTo>
                  <a:pt x="131" y="50"/>
                  <a:pt x="131" y="50"/>
                  <a:pt x="131" y="50"/>
                </a:cubicBezTo>
                <a:cubicBezTo>
                  <a:pt x="132" y="52"/>
                  <a:pt x="132" y="53"/>
                  <a:pt x="133" y="54"/>
                </a:cubicBezTo>
                <a:cubicBezTo>
                  <a:pt x="133" y="55"/>
                  <a:pt x="133" y="55"/>
                  <a:pt x="133" y="55"/>
                </a:cubicBezTo>
                <a:cubicBezTo>
                  <a:pt x="139" y="54"/>
                  <a:pt x="139" y="54"/>
                  <a:pt x="139" y="54"/>
                </a:cubicBezTo>
                <a:cubicBezTo>
                  <a:pt x="140" y="56"/>
                  <a:pt x="140" y="58"/>
                  <a:pt x="140" y="60"/>
                </a:cubicBezTo>
                <a:cubicBezTo>
                  <a:pt x="134" y="62"/>
                  <a:pt x="134" y="62"/>
                  <a:pt x="134" y="62"/>
                </a:cubicBezTo>
                <a:cubicBezTo>
                  <a:pt x="134" y="62"/>
                  <a:pt x="134" y="62"/>
                  <a:pt x="134" y="62"/>
                </a:cubicBezTo>
                <a:cubicBezTo>
                  <a:pt x="134" y="64"/>
                  <a:pt x="134" y="65"/>
                  <a:pt x="135" y="67"/>
                </a:cubicBezTo>
                <a:cubicBezTo>
                  <a:pt x="135" y="67"/>
                  <a:pt x="135" y="67"/>
                  <a:pt x="135" y="67"/>
                </a:cubicBezTo>
                <a:cubicBezTo>
                  <a:pt x="141" y="68"/>
                  <a:pt x="141" y="68"/>
                  <a:pt x="141" y="68"/>
                </a:cubicBezTo>
                <a:cubicBezTo>
                  <a:pt x="141" y="69"/>
                  <a:pt x="141" y="70"/>
                  <a:pt x="141" y="71"/>
                </a:cubicBezTo>
                <a:cubicBezTo>
                  <a:pt x="141" y="72"/>
                  <a:pt x="141" y="73"/>
                  <a:pt x="141" y="74"/>
                </a:cubicBezTo>
                <a:cubicBezTo>
                  <a:pt x="135" y="75"/>
                  <a:pt x="135" y="75"/>
                  <a:pt x="135" y="75"/>
                </a:cubicBezTo>
                <a:cubicBezTo>
                  <a:pt x="135" y="75"/>
                  <a:pt x="135" y="75"/>
                  <a:pt x="135" y="75"/>
                </a:cubicBezTo>
                <a:cubicBezTo>
                  <a:pt x="134" y="77"/>
                  <a:pt x="134" y="78"/>
                  <a:pt x="134" y="80"/>
                </a:cubicBezTo>
                <a:cubicBezTo>
                  <a:pt x="134" y="80"/>
                  <a:pt x="134" y="80"/>
                  <a:pt x="134" y="80"/>
                </a:cubicBezTo>
                <a:cubicBezTo>
                  <a:pt x="140" y="82"/>
                  <a:pt x="140" y="82"/>
                  <a:pt x="140" y="82"/>
                </a:cubicBezTo>
                <a:cubicBezTo>
                  <a:pt x="140" y="84"/>
                  <a:pt x="140" y="86"/>
                  <a:pt x="139" y="88"/>
                </a:cubicBezTo>
                <a:cubicBezTo>
                  <a:pt x="133" y="87"/>
                  <a:pt x="133" y="87"/>
                  <a:pt x="133" y="87"/>
                </a:cubicBezTo>
                <a:cubicBezTo>
                  <a:pt x="133" y="88"/>
                  <a:pt x="133" y="88"/>
                  <a:pt x="133" y="88"/>
                </a:cubicBezTo>
                <a:cubicBezTo>
                  <a:pt x="132" y="89"/>
                  <a:pt x="132" y="90"/>
                  <a:pt x="131" y="92"/>
                </a:cubicBezTo>
                <a:cubicBezTo>
                  <a:pt x="131" y="92"/>
                  <a:pt x="131" y="92"/>
                  <a:pt x="131" y="92"/>
                </a:cubicBezTo>
                <a:cubicBezTo>
                  <a:pt x="137" y="95"/>
                  <a:pt x="137" y="95"/>
                  <a:pt x="137" y="95"/>
                </a:cubicBezTo>
                <a:cubicBezTo>
                  <a:pt x="136" y="97"/>
                  <a:pt x="135" y="99"/>
                  <a:pt x="134" y="101"/>
                </a:cubicBezTo>
                <a:cubicBezTo>
                  <a:pt x="128" y="99"/>
                  <a:pt x="128" y="99"/>
                  <a:pt x="128" y="99"/>
                </a:cubicBezTo>
                <a:cubicBezTo>
                  <a:pt x="128" y="99"/>
                  <a:pt x="128" y="99"/>
                  <a:pt x="128" y="99"/>
                </a:cubicBezTo>
                <a:cubicBezTo>
                  <a:pt x="128" y="101"/>
                  <a:pt x="127" y="102"/>
                  <a:pt x="126" y="103"/>
                </a:cubicBezTo>
                <a:cubicBezTo>
                  <a:pt x="126" y="104"/>
                  <a:pt x="126" y="104"/>
                  <a:pt x="126" y="104"/>
                </a:cubicBezTo>
                <a:cubicBezTo>
                  <a:pt x="131" y="108"/>
                  <a:pt x="131" y="108"/>
                  <a:pt x="131" y="108"/>
                </a:cubicBezTo>
                <a:cubicBezTo>
                  <a:pt x="130" y="109"/>
                  <a:pt x="129" y="111"/>
                  <a:pt x="127" y="113"/>
                </a:cubicBezTo>
                <a:cubicBezTo>
                  <a:pt x="122" y="110"/>
                  <a:pt x="122" y="110"/>
                  <a:pt x="122" y="110"/>
                </a:cubicBezTo>
                <a:cubicBezTo>
                  <a:pt x="121" y="110"/>
                  <a:pt x="121" y="110"/>
                  <a:pt x="121" y="110"/>
                </a:cubicBezTo>
                <a:cubicBezTo>
                  <a:pt x="121" y="111"/>
                  <a:pt x="120" y="112"/>
                  <a:pt x="119" y="114"/>
                </a:cubicBezTo>
                <a:cubicBezTo>
                  <a:pt x="118" y="114"/>
                  <a:pt x="118" y="114"/>
                  <a:pt x="118" y="114"/>
                </a:cubicBezTo>
                <a:cubicBezTo>
                  <a:pt x="122" y="119"/>
                  <a:pt x="122" y="119"/>
                  <a:pt x="122" y="119"/>
                </a:cubicBezTo>
                <a:cubicBezTo>
                  <a:pt x="121" y="120"/>
                  <a:pt x="120" y="122"/>
                  <a:pt x="118" y="123"/>
                </a:cubicBezTo>
                <a:cubicBezTo>
                  <a:pt x="113" y="119"/>
                  <a:pt x="113" y="119"/>
                  <a:pt x="113" y="119"/>
                </a:cubicBezTo>
                <a:cubicBezTo>
                  <a:pt x="113" y="119"/>
                  <a:pt x="113" y="119"/>
                  <a:pt x="113" y="119"/>
                </a:cubicBezTo>
                <a:cubicBezTo>
                  <a:pt x="112" y="120"/>
                  <a:pt x="111" y="121"/>
                  <a:pt x="109" y="122"/>
                </a:cubicBezTo>
                <a:cubicBezTo>
                  <a:pt x="109" y="122"/>
                  <a:pt x="109" y="122"/>
                  <a:pt x="109" y="122"/>
                </a:cubicBezTo>
                <a:cubicBezTo>
                  <a:pt x="112" y="128"/>
                  <a:pt x="112" y="128"/>
                  <a:pt x="112" y="128"/>
                </a:cubicBezTo>
                <a:cubicBezTo>
                  <a:pt x="111" y="129"/>
                  <a:pt x="109" y="130"/>
                  <a:pt x="107" y="131"/>
                </a:cubicBezTo>
                <a:cubicBezTo>
                  <a:pt x="103" y="126"/>
                  <a:pt x="103" y="126"/>
                  <a:pt x="103" y="126"/>
                </a:cubicBezTo>
                <a:cubicBezTo>
                  <a:pt x="103" y="127"/>
                  <a:pt x="103" y="127"/>
                  <a:pt x="103" y="127"/>
                </a:cubicBezTo>
                <a:cubicBezTo>
                  <a:pt x="101" y="127"/>
                  <a:pt x="100" y="128"/>
                  <a:pt x="99" y="129"/>
                </a:cubicBezTo>
                <a:cubicBezTo>
                  <a:pt x="98" y="129"/>
                  <a:pt x="98" y="129"/>
                  <a:pt x="98" y="129"/>
                </a:cubicBezTo>
                <a:cubicBezTo>
                  <a:pt x="100" y="135"/>
                  <a:pt x="100" y="135"/>
                  <a:pt x="100" y="135"/>
                </a:cubicBezTo>
                <a:cubicBezTo>
                  <a:pt x="98" y="136"/>
                  <a:pt x="96" y="137"/>
                  <a:pt x="95" y="137"/>
                </a:cubicBezTo>
                <a:cubicBezTo>
                  <a:pt x="92" y="132"/>
                  <a:pt x="92" y="132"/>
                  <a:pt x="92" y="132"/>
                </a:cubicBezTo>
                <a:cubicBezTo>
                  <a:pt x="91" y="132"/>
                  <a:pt x="91" y="132"/>
                  <a:pt x="91" y="132"/>
                </a:cubicBezTo>
                <a:cubicBezTo>
                  <a:pt x="90" y="132"/>
                  <a:pt x="88" y="133"/>
                  <a:pt x="87" y="133"/>
                </a:cubicBezTo>
                <a:cubicBezTo>
                  <a:pt x="87" y="133"/>
                  <a:pt x="87" y="133"/>
                  <a:pt x="87" y="133"/>
                </a:cubicBezTo>
                <a:cubicBezTo>
                  <a:pt x="87" y="140"/>
                  <a:pt x="87" y="140"/>
                  <a:pt x="87" y="140"/>
                </a:cubicBezTo>
                <a:cubicBezTo>
                  <a:pt x="85" y="140"/>
                  <a:pt x="83" y="141"/>
                  <a:pt x="81" y="141"/>
                </a:cubicBezTo>
                <a:cubicBezTo>
                  <a:pt x="79" y="135"/>
                  <a:pt x="79" y="135"/>
                  <a:pt x="79" y="135"/>
                </a:cubicBezTo>
                <a:cubicBezTo>
                  <a:pt x="79" y="135"/>
                  <a:pt x="79" y="135"/>
                  <a:pt x="79" y="135"/>
                </a:cubicBezTo>
                <a:cubicBezTo>
                  <a:pt x="77" y="135"/>
                  <a:pt x="76" y="135"/>
                  <a:pt x="74" y="135"/>
                </a:cubicBezTo>
                <a:cubicBezTo>
                  <a:pt x="74" y="135"/>
                  <a:pt x="74" y="135"/>
                  <a:pt x="74" y="135"/>
                </a:cubicBezTo>
                <a:cubicBezTo>
                  <a:pt x="73" y="142"/>
                  <a:pt x="73" y="142"/>
                  <a:pt x="73" y="142"/>
                </a:cubicBezTo>
                <a:cubicBezTo>
                  <a:pt x="72" y="142"/>
                  <a:pt x="71" y="142"/>
                  <a:pt x="70" y="142"/>
                </a:cubicBezTo>
                <a:close/>
              </a:path>
            </a:pathLst>
          </a:custGeom>
          <a:solidFill>
            <a:srgbClr val="78D2D2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221" name="Freeform 220"/>
          <p:cNvSpPr>
            <a:spLocks/>
          </p:cNvSpPr>
          <p:nvPr/>
        </p:nvSpPr>
        <p:spPr bwMode="auto">
          <a:xfrm>
            <a:off x="7588868" y="3181364"/>
            <a:ext cx="381164" cy="383836"/>
          </a:xfrm>
          <a:custGeom>
            <a:avLst/>
            <a:gdLst>
              <a:gd name="T0" fmla="*/ 66 w 141"/>
              <a:gd name="T1" fmla="*/ 135 h 142"/>
              <a:gd name="T2" fmla="*/ 54 w 141"/>
              <a:gd name="T3" fmla="*/ 140 h 142"/>
              <a:gd name="T4" fmla="*/ 49 w 141"/>
              <a:gd name="T5" fmla="*/ 132 h 142"/>
              <a:gd name="T6" fmla="*/ 42 w 141"/>
              <a:gd name="T7" fmla="*/ 129 h 142"/>
              <a:gd name="T8" fmla="*/ 29 w 141"/>
              <a:gd name="T9" fmla="*/ 128 h 142"/>
              <a:gd name="T10" fmla="*/ 28 w 141"/>
              <a:gd name="T11" fmla="*/ 119 h 142"/>
              <a:gd name="T12" fmla="*/ 22 w 141"/>
              <a:gd name="T13" fmla="*/ 114 h 142"/>
              <a:gd name="T14" fmla="*/ 10 w 141"/>
              <a:gd name="T15" fmla="*/ 108 h 142"/>
              <a:gd name="T16" fmla="*/ 12 w 141"/>
              <a:gd name="T17" fmla="*/ 99 h 142"/>
              <a:gd name="T18" fmla="*/ 10 w 141"/>
              <a:gd name="T19" fmla="*/ 92 h 142"/>
              <a:gd name="T20" fmla="*/ 1 w 141"/>
              <a:gd name="T21" fmla="*/ 82 h 142"/>
              <a:gd name="T22" fmla="*/ 6 w 141"/>
              <a:gd name="T23" fmla="*/ 75 h 142"/>
              <a:gd name="T24" fmla="*/ 6 w 141"/>
              <a:gd name="T25" fmla="*/ 67 h 142"/>
              <a:gd name="T26" fmla="*/ 1 w 141"/>
              <a:gd name="T27" fmla="*/ 60 h 142"/>
              <a:gd name="T28" fmla="*/ 10 w 141"/>
              <a:gd name="T29" fmla="*/ 50 h 142"/>
              <a:gd name="T30" fmla="*/ 12 w 141"/>
              <a:gd name="T31" fmla="*/ 43 h 142"/>
              <a:gd name="T32" fmla="*/ 10 w 141"/>
              <a:gd name="T33" fmla="*/ 34 h 142"/>
              <a:gd name="T34" fmla="*/ 22 w 141"/>
              <a:gd name="T35" fmla="*/ 29 h 142"/>
              <a:gd name="T36" fmla="*/ 28 w 141"/>
              <a:gd name="T37" fmla="*/ 23 h 142"/>
              <a:gd name="T38" fmla="*/ 29 w 141"/>
              <a:gd name="T39" fmla="*/ 14 h 142"/>
              <a:gd name="T40" fmla="*/ 42 w 141"/>
              <a:gd name="T41" fmla="*/ 13 h 142"/>
              <a:gd name="T42" fmla="*/ 49 w 141"/>
              <a:gd name="T43" fmla="*/ 10 h 142"/>
              <a:gd name="T44" fmla="*/ 54 w 141"/>
              <a:gd name="T45" fmla="*/ 2 h 142"/>
              <a:gd name="T46" fmla="*/ 66 w 141"/>
              <a:gd name="T47" fmla="*/ 7 h 142"/>
              <a:gd name="T48" fmla="*/ 73 w 141"/>
              <a:gd name="T49" fmla="*/ 0 h 142"/>
              <a:gd name="T50" fmla="*/ 79 w 141"/>
              <a:gd name="T51" fmla="*/ 7 h 142"/>
              <a:gd name="T52" fmla="*/ 87 w 141"/>
              <a:gd name="T53" fmla="*/ 9 h 142"/>
              <a:gd name="T54" fmla="*/ 100 w 141"/>
              <a:gd name="T55" fmla="*/ 7 h 142"/>
              <a:gd name="T56" fmla="*/ 103 w 141"/>
              <a:gd name="T57" fmla="*/ 16 h 142"/>
              <a:gd name="T58" fmla="*/ 109 w 141"/>
              <a:gd name="T59" fmla="*/ 20 h 142"/>
              <a:gd name="T60" fmla="*/ 122 w 141"/>
              <a:gd name="T61" fmla="*/ 23 h 142"/>
              <a:gd name="T62" fmla="*/ 122 w 141"/>
              <a:gd name="T63" fmla="*/ 32 h 142"/>
              <a:gd name="T64" fmla="*/ 126 w 141"/>
              <a:gd name="T65" fmla="*/ 39 h 142"/>
              <a:gd name="T66" fmla="*/ 137 w 141"/>
              <a:gd name="T67" fmla="*/ 47 h 142"/>
              <a:gd name="T68" fmla="*/ 133 w 141"/>
              <a:gd name="T69" fmla="*/ 55 h 142"/>
              <a:gd name="T70" fmla="*/ 134 w 141"/>
              <a:gd name="T71" fmla="*/ 62 h 142"/>
              <a:gd name="T72" fmla="*/ 141 w 141"/>
              <a:gd name="T73" fmla="*/ 71 h 142"/>
              <a:gd name="T74" fmla="*/ 134 w 141"/>
              <a:gd name="T75" fmla="*/ 80 h 142"/>
              <a:gd name="T76" fmla="*/ 133 w 141"/>
              <a:gd name="T77" fmla="*/ 87 h 142"/>
              <a:gd name="T78" fmla="*/ 137 w 141"/>
              <a:gd name="T79" fmla="*/ 95 h 142"/>
              <a:gd name="T80" fmla="*/ 126 w 141"/>
              <a:gd name="T81" fmla="*/ 103 h 142"/>
              <a:gd name="T82" fmla="*/ 122 w 141"/>
              <a:gd name="T83" fmla="*/ 110 h 142"/>
              <a:gd name="T84" fmla="*/ 122 w 141"/>
              <a:gd name="T85" fmla="*/ 119 h 142"/>
              <a:gd name="T86" fmla="*/ 109 w 141"/>
              <a:gd name="T87" fmla="*/ 122 h 142"/>
              <a:gd name="T88" fmla="*/ 103 w 141"/>
              <a:gd name="T89" fmla="*/ 126 h 142"/>
              <a:gd name="T90" fmla="*/ 100 w 141"/>
              <a:gd name="T91" fmla="*/ 135 h 142"/>
              <a:gd name="T92" fmla="*/ 87 w 141"/>
              <a:gd name="T93" fmla="*/ 133 h 142"/>
              <a:gd name="T94" fmla="*/ 79 w 141"/>
              <a:gd name="T95" fmla="*/ 135 h 142"/>
              <a:gd name="T96" fmla="*/ 73 w 141"/>
              <a:gd name="T97" fmla="*/ 142 h 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41" h="142">
                <a:moveTo>
                  <a:pt x="70" y="142"/>
                </a:moveTo>
                <a:cubicBezTo>
                  <a:pt x="69" y="142"/>
                  <a:pt x="68" y="142"/>
                  <a:pt x="67" y="142"/>
                </a:cubicBezTo>
                <a:cubicBezTo>
                  <a:pt x="67" y="135"/>
                  <a:pt x="67" y="135"/>
                  <a:pt x="67" y="135"/>
                </a:cubicBezTo>
                <a:cubicBezTo>
                  <a:pt x="66" y="135"/>
                  <a:pt x="66" y="135"/>
                  <a:pt x="66" y="135"/>
                </a:cubicBezTo>
                <a:cubicBezTo>
                  <a:pt x="65" y="135"/>
                  <a:pt x="63" y="135"/>
                  <a:pt x="62" y="135"/>
                </a:cubicBezTo>
                <a:cubicBezTo>
                  <a:pt x="61" y="135"/>
                  <a:pt x="61" y="135"/>
                  <a:pt x="61" y="135"/>
                </a:cubicBezTo>
                <a:cubicBezTo>
                  <a:pt x="60" y="141"/>
                  <a:pt x="60" y="141"/>
                  <a:pt x="60" y="141"/>
                </a:cubicBezTo>
                <a:cubicBezTo>
                  <a:pt x="58" y="141"/>
                  <a:pt x="56" y="140"/>
                  <a:pt x="54" y="140"/>
                </a:cubicBezTo>
                <a:cubicBezTo>
                  <a:pt x="54" y="133"/>
                  <a:pt x="54" y="133"/>
                  <a:pt x="54" y="133"/>
                </a:cubicBezTo>
                <a:cubicBezTo>
                  <a:pt x="54" y="133"/>
                  <a:pt x="54" y="133"/>
                  <a:pt x="54" y="133"/>
                </a:cubicBezTo>
                <a:cubicBezTo>
                  <a:pt x="52" y="133"/>
                  <a:pt x="51" y="132"/>
                  <a:pt x="50" y="132"/>
                </a:cubicBezTo>
                <a:cubicBezTo>
                  <a:pt x="49" y="132"/>
                  <a:pt x="49" y="132"/>
                  <a:pt x="49" y="132"/>
                </a:cubicBezTo>
                <a:cubicBezTo>
                  <a:pt x="46" y="137"/>
                  <a:pt x="46" y="137"/>
                  <a:pt x="46" y="137"/>
                </a:cubicBezTo>
                <a:cubicBezTo>
                  <a:pt x="44" y="137"/>
                  <a:pt x="42" y="136"/>
                  <a:pt x="41" y="135"/>
                </a:cubicBezTo>
                <a:cubicBezTo>
                  <a:pt x="42" y="129"/>
                  <a:pt x="42" y="129"/>
                  <a:pt x="42" y="129"/>
                </a:cubicBezTo>
                <a:cubicBezTo>
                  <a:pt x="42" y="129"/>
                  <a:pt x="42" y="129"/>
                  <a:pt x="42" y="129"/>
                </a:cubicBezTo>
                <a:cubicBezTo>
                  <a:pt x="41" y="128"/>
                  <a:pt x="39" y="127"/>
                  <a:pt x="38" y="127"/>
                </a:cubicBezTo>
                <a:cubicBezTo>
                  <a:pt x="38" y="126"/>
                  <a:pt x="38" y="126"/>
                  <a:pt x="38" y="126"/>
                </a:cubicBezTo>
                <a:cubicBezTo>
                  <a:pt x="34" y="131"/>
                  <a:pt x="34" y="131"/>
                  <a:pt x="34" y="131"/>
                </a:cubicBezTo>
                <a:cubicBezTo>
                  <a:pt x="32" y="130"/>
                  <a:pt x="30" y="129"/>
                  <a:pt x="29" y="128"/>
                </a:cubicBezTo>
                <a:cubicBezTo>
                  <a:pt x="32" y="122"/>
                  <a:pt x="32" y="122"/>
                  <a:pt x="32" y="122"/>
                </a:cubicBezTo>
                <a:cubicBezTo>
                  <a:pt x="31" y="122"/>
                  <a:pt x="31" y="122"/>
                  <a:pt x="31" y="122"/>
                </a:cubicBezTo>
                <a:cubicBezTo>
                  <a:pt x="30" y="121"/>
                  <a:pt x="29" y="120"/>
                  <a:pt x="28" y="119"/>
                </a:cubicBezTo>
                <a:cubicBezTo>
                  <a:pt x="28" y="119"/>
                  <a:pt x="28" y="119"/>
                  <a:pt x="28" y="119"/>
                </a:cubicBezTo>
                <a:cubicBezTo>
                  <a:pt x="23" y="123"/>
                  <a:pt x="23" y="123"/>
                  <a:pt x="23" y="123"/>
                </a:cubicBezTo>
                <a:cubicBezTo>
                  <a:pt x="21" y="122"/>
                  <a:pt x="20" y="120"/>
                  <a:pt x="18" y="119"/>
                </a:cubicBezTo>
                <a:cubicBezTo>
                  <a:pt x="22" y="114"/>
                  <a:pt x="22" y="114"/>
                  <a:pt x="22" y="114"/>
                </a:cubicBezTo>
                <a:cubicBezTo>
                  <a:pt x="22" y="114"/>
                  <a:pt x="22" y="114"/>
                  <a:pt x="22" y="114"/>
                </a:cubicBezTo>
                <a:cubicBezTo>
                  <a:pt x="21" y="112"/>
                  <a:pt x="20" y="111"/>
                  <a:pt x="19" y="110"/>
                </a:cubicBezTo>
                <a:cubicBezTo>
                  <a:pt x="19" y="110"/>
                  <a:pt x="19" y="110"/>
                  <a:pt x="19" y="110"/>
                </a:cubicBezTo>
                <a:cubicBezTo>
                  <a:pt x="13" y="113"/>
                  <a:pt x="13" y="113"/>
                  <a:pt x="13" y="113"/>
                </a:cubicBezTo>
                <a:cubicBezTo>
                  <a:pt x="12" y="111"/>
                  <a:pt x="11" y="109"/>
                  <a:pt x="10" y="108"/>
                </a:cubicBezTo>
                <a:cubicBezTo>
                  <a:pt x="15" y="104"/>
                  <a:pt x="15" y="104"/>
                  <a:pt x="15" y="104"/>
                </a:cubicBezTo>
                <a:cubicBezTo>
                  <a:pt x="15" y="103"/>
                  <a:pt x="15" y="103"/>
                  <a:pt x="15" y="103"/>
                </a:cubicBezTo>
                <a:cubicBezTo>
                  <a:pt x="14" y="102"/>
                  <a:pt x="13" y="101"/>
                  <a:pt x="13" y="99"/>
                </a:cubicBezTo>
                <a:cubicBezTo>
                  <a:pt x="12" y="99"/>
                  <a:pt x="12" y="99"/>
                  <a:pt x="12" y="99"/>
                </a:cubicBezTo>
                <a:cubicBezTo>
                  <a:pt x="6" y="101"/>
                  <a:pt x="6" y="101"/>
                  <a:pt x="6" y="101"/>
                </a:cubicBezTo>
                <a:cubicBezTo>
                  <a:pt x="5" y="99"/>
                  <a:pt x="5" y="97"/>
                  <a:pt x="4" y="95"/>
                </a:cubicBezTo>
                <a:cubicBezTo>
                  <a:pt x="10" y="92"/>
                  <a:pt x="10" y="92"/>
                  <a:pt x="10" y="92"/>
                </a:cubicBezTo>
                <a:cubicBezTo>
                  <a:pt x="10" y="92"/>
                  <a:pt x="10" y="92"/>
                  <a:pt x="10" y="92"/>
                </a:cubicBezTo>
                <a:cubicBezTo>
                  <a:pt x="9" y="90"/>
                  <a:pt x="9" y="89"/>
                  <a:pt x="8" y="88"/>
                </a:cubicBezTo>
                <a:cubicBezTo>
                  <a:pt x="8" y="87"/>
                  <a:pt x="8" y="87"/>
                  <a:pt x="8" y="87"/>
                </a:cubicBezTo>
                <a:cubicBezTo>
                  <a:pt x="2" y="88"/>
                  <a:pt x="2" y="88"/>
                  <a:pt x="2" y="88"/>
                </a:cubicBezTo>
                <a:cubicBezTo>
                  <a:pt x="1" y="86"/>
                  <a:pt x="1" y="84"/>
                  <a:pt x="1" y="82"/>
                </a:cubicBezTo>
                <a:cubicBezTo>
                  <a:pt x="7" y="80"/>
                  <a:pt x="7" y="80"/>
                  <a:pt x="7" y="80"/>
                </a:cubicBezTo>
                <a:cubicBezTo>
                  <a:pt x="7" y="80"/>
                  <a:pt x="7" y="80"/>
                  <a:pt x="7" y="80"/>
                </a:cubicBezTo>
                <a:cubicBezTo>
                  <a:pt x="6" y="78"/>
                  <a:pt x="6" y="77"/>
                  <a:pt x="6" y="75"/>
                </a:cubicBezTo>
                <a:cubicBezTo>
                  <a:pt x="6" y="75"/>
                  <a:pt x="6" y="75"/>
                  <a:pt x="6" y="75"/>
                </a:cubicBezTo>
                <a:cubicBezTo>
                  <a:pt x="0" y="74"/>
                  <a:pt x="0" y="74"/>
                  <a:pt x="0" y="74"/>
                </a:cubicBezTo>
                <a:cubicBezTo>
                  <a:pt x="0" y="73"/>
                  <a:pt x="0" y="72"/>
                  <a:pt x="0" y="71"/>
                </a:cubicBezTo>
                <a:cubicBezTo>
                  <a:pt x="0" y="70"/>
                  <a:pt x="0" y="69"/>
                  <a:pt x="0" y="68"/>
                </a:cubicBezTo>
                <a:cubicBezTo>
                  <a:pt x="6" y="67"/>
                  <a:pt x="6" y="67"/>
                  <a:pt x="6" y="67"/>
                </a:cubicBezTo>
                <a:cubicBezTo>
                  <a:pt x="6" y="67"/>
                  <a:pt x="6" y="67"/>
                  <a:pt x="6" y="67"/>
                </a:cubicBezTo>
                <a:cubicBezTo>
                  <a:pt x="6" y="65"/>
                  <a:pt x="6" y="64"/>
                  <a:pt x="7" y="62"/>
                </a:cubicBezTo>
                <a:cubicBezTo>
                  <a:pt x="7" y="62"/>
                  <a:pt x="7" y="62"/>
                  <a:pt x="7" y="62"/>
                </a:cubicBezTo>
                <a:cubicBezTo>
                  <a:pt x="1" y="60"/>
                  <a:pt x="1" y="60"/>
                  <a:pt x="1" y="60"/>
                </a:cubicBezTo>
                <a:cubicBezTo>
                  <a:pt x="1" y="58"/>
                  <a:pt x="1" y="56"/>
                  <a:pt x="2" y="54"/>
                </a:cubicBezTo>
                <a:cubicBezTo>
                  <a:pt x="8" y="55"/>
                  <a:pt x="8" y="55"/>
                  <a:pt x="8" y="55"/>
                </a:cubicBezTo>
                <a:cubicBezTo>
                  <a:pt x="8" y="54"/>
                  <a:pt x="8" y="54"/>
                  <a:pt x="8" y="54"/>
                </a:cubicBezTo>
                <a:cubicBezTo>
                  <a:pt x="9" y="53"/>
                  <a:pt x="9" y="52"/>
                  <a:pt x="10" y="50"/>
                </a:cubicBezTo>
                <a:cubicBezTo>
                  <a:pt x="10" y="50"/>
                  <a:pt x="10" y="50"/>
                  <a:pt x="10" y="50"/>
                </a:cubicBezTo>
                <a:cubicBezTo>
                  <a:pt x="4" y="47"/>
                  <a:pt x="4" y="47"/>
                  <a:pt x="4" y="47"/>
                </a:cubicBezTo>
                <a:cubicBezTo>
                  <a:pt x="5" y="45"/>
                  <a:pt x="5" y="43"/>
                  <a:pt x="6" y="41"/>
                </a:cubicBezTo>
                <a:cubicBezTo>
                  <a:pt x="12" y="43"/>
                  <a:pt x="12" y="43"/>
                  <a:pt x="12" y="43"/>
                </a:cubicBezTo>
                <a:cubicBezTo>
                  <a:pt x="13" y="43"/>
                  <a:pt x="13" y="43"/>
                  <a:pt x="13" y="43"/>
                </a:cubicBezTo>
                <a:cubicBezTo>
                  <a:pt x="13" y="41"/>
                  <a:pt x="14" y="40"/>
                  <a:pt x="15" y="39"/>
                </a:cubicBezTo>
                <a:cubicBezTo>
                  <a:pt x="15" y="38"/>
                  <a:pt x="15" y="38"/>
                  <a:pt x="15" y="38"/>
                </a:cubicBezTo>
                <a:cubicBezTo>
                  <a:pt x="10" y="34"/>
                  <a:pt x="10" y="34"/>
                  <a:pt x="10" y="34"/>
                </a:cubicBezTo>
                <a:cubicBezTo>
                  <a:pt x="11" y="33"/>
                  <a:pt x="12" y="31"/>
                  <a:pt x="13" y="29"/>
                </a:cubicBezTo>
                <a:cubicBezTo>
                  <a:pt x="19" y="32"/>
                  <a:pt x="19" y="32"/>
                  <a:pt x="19" y="32"/>
                </a:cubicBezTo>
                <a:cubicBezTo>
                  <a:pt x="19" y="32"/>
                  <a:pt x="19" y="32"/>
                  <a:pt x="19" y="32"/>
                </a:cubicBezTo>
                <a:cubicBezTo>
                  <a:pt x="20" y="31"/>
                  <a:pt x="21" y="30"/>
                  <a:pt x="22" y="29"/>
                </a:cubicBezTo>
                <a:cubicBezTo>
                  <a:pt x="22" y="28"/>
                  <a:pt x="22" y="28"/>
                  <a:pt x="22" y="28"/>
                </a:cubicBezTo>
                <a:cubicBezTo>
                  <a:pt x="18" y="23"/>
                  <a:pt x="18" y="23"/>
                  <a:pt x="18" y="23"/>
                </a:cubicBezTo>
                <a:cubicBezTo>
                  <a:pt x="20" y="22"/>
                  <a:pt x="21" y="20"/>
                  <a:pt x="23" y="19"/>
                </a:cubicBezTo>
                <a:cubicBezTo>
                  <a:pt x="28" y="23"/>
                  <a:pt x="28" y="23"/>
                  <a:pt x="28" y="23"/>
                </a:cubicBezTo>
                <a:cubicBezTo>
                  <a:pt x="28" y="23"/>
                  <a:pt x="28" y="23"/>
                  <a:pt x="28" y="23"/>
                </a:cubicBezTo>
                <a:cubicBezTo>
                  <a:pt x="29" y="22"/>
                  <a:pt x="30" y="21"/>
                  <a:pt x="31" y="20"/>
                </a:cubicBezTo>
                <a:cubicBezTo>
                  <a:pt x="32" y="20"/>
                  <a:pt x="32" y="20"/>
                  <a:pt x="32" y="20"/>
                </a:cubicBezTo>
                <a:cubicBezTo>
                  <a:pt x="29" y="14"/>
                  <a:pt x="29" y="14"/>
                  <a:pt x="29" y="14"/>
                </a:cubicBezTo>
                <a:cubicBezTo>
                  <a:pt x="30" y="13"/>
                  <a:pt x="32" y="12"/>
                  <a:pt x="34" y="11"/>
                </a:cubicBezTo>
                <a:cubicBezTo>
                  <a:pt x="38" y="16"/>
                  <a:pt x="38" y="16"/>
                  <a:pt x="38" y="16"/>
                </a:cubicBezTo>
                <a:cubicBezTo>
                  <a:pt x="38" y="15"/>
                  <a:pt x="38" y="15"/>
                  <a:pt x="38" y="15"/>
                </a:cubicBezTo>
                <a:cubicBezTo>
                  <a:pt x="39" y="15"/>
                  <a:pt x="41" y="14"/>
                  <a:pt x="42" y="13"/>
                </a:cubicBezTo>
                <a:cubicBezTo>
                  <a:pt x="42" y="13"/>
                  <a:pt x="42" y="13"/>
                  <a:pt x="42" y="13"/>
                </a:cubicBezTo>
                <a:cubicBezTo>
                  <a:pt x="41" y="7"/>
                  <a:pt x="41" y="7"/>
                  <a:pt x="41" y="7"/>
                </a:cubicBezTo>
                <a:cubicBezTo>
                  <a:pt x="42" y="6"/>
                  <a:pt x="44" y="5"/>
                  <a:pt x="46" y="5"/>
                </a:cubicBezTo>
                <a:cubicBezTo>
                  <a:pt x="49" y="10"/>
                  <a:pt x="49" y="10"/>
                  <a:pt x="49" y="10"/>
                </a:cubicBezTo>
                <a:cubicBezTo>
                  <a:pt x="50" y="10"/>
                  <a:pt x="50" y="10"/>
                  <a:pt x="50" y="10"/>
                </a:cubicBezTo>
                <a:cubicBezTo>
                  <a:pt x="51" y="10"/>
                  <a:pt x="52" y="9"/>
                  <a:pt x="54" y="9"/>
                </a:cubicBezTo>
                <a:cubicBezTo>
                  <a:pt x="54" y="9"/>
                  <a:pt x="54" y="9"/>
                  <a:pt x="54" y="9"/>
                </a:cubicBezTo>
                <a:cubicBezTo>
                  <a:pt x="54" y="2"/>
                  <a:pt x="54" y="2"/>
                  <a:pt x="54" y="2"/>
                </a:cubicBezTo>
                <a:cubicBezTo>
                  <a:pt x="56" y="2"/>
                  <a:pt x="58" y="1"/>
                  <a:pt x="60" y="1"/>
                </a:cubicBezTo>
                <a:cubicBezTo>
                  <a:pt x="61" y="7"/>
                  <a:pt x="61" y="7"/>
                  <a:pt x="61" y="7"/>
                </a:cubicBezTo>
                <a:cubicBezTo>
                  <a:pt x="62" y="7"/>
                  <a:pt x="62" y="7"/>
                  <a:pt x="62" y="7"/>
                </a:cubicBezTo>
                <a:cubicBezTo>
                  <a:pt x="63" y="7"/>
                  <a:pt x="65" y="7"/>
                  <a:pt x="66" y="7"/>
                </a:cubicBezTo>
                <a:cubicBezTo>
                  <a:pt x="67" y="7"/>
                  <a:pt x="67" y="7"/>
                  <a:pt x="67" y="7"/>
                </a:cubicBezTo>
                <a:cubicBezTo>
                  <a:pt x="67" y="0"/>
                  <a:pt x="67" y="0"/>
                  <a:pt x="67" y="0"/>
                </a:cubicBezTo>
                <a:cubicBezTo>
                  <a:pt x="68" y="0"/>
                  <a:pt x="69" y="0"/>
                  <a:pt x="70" y="0"/>
                </a:cubicBezTo>
                <a:cubicBezTo>
                  <a:pt x="71" y="0"/>
                  <a:pt x="72" y="0"/>
                  <a:pt x="73" y="0"/>
                </a:cubicBezTo>
                <a:cubicBezTo>
                  <a:pt x="74" y="7"/>
                  <a:pt x="74" y="7"/>
                  <a:pt x="74" y="7"/>
                </a:cubicBezTo>
                <a:cubicBezTo>
                  <a:pt x="74" y="7"/>
                  <a:pt x="74" y="7"/>
                  <a:pt x="74" y="7"/>
                </a:cubicBezTo>
                <a:cubicBezTo>
                  <a:pt x="76" y="7"/>
                  <a:pt x="77" y="7"/>
                  <a:pt x="79" y="7"/>
                </a:cubicBezTo>
                <a:cubicBezTo>
                  <a:pt x="79" y="7"/>
                  <a:pt x="79" y="7"/>
                  <a:pt x="79" y="7"/>
                </a:cubicBezTo>
                <a:cubicBezTo>
                  <a:pt x="81" y="1"/>
                  <a:pt x="81" y="1"/>
                  <a:pt x="81" y="1"/>
                </a:cubicBezTo>
                <a:cubicBezTo>
                  <a:pt x="83" y="1"/>
                  <a:pt x="85" y="2"/>
                  <a:pt x="87" y="2"/>
                </a:cubicBezTo>
                <a:cubicBezTo>
                  <a:pt x="87" y="9"/>
                  <a:pt x="87" y="9"/>
                  <a:pt x="87" y="9"/>
                </a:cubicBezTo>
                <a:cubicBezTo>
                  <a:pt x="87" y="9"/>
                  <a:pt x="87" y="9"/>
                  <a:pt x="87" y="9"/>
                </a:cubicBezTo>
                <a:cubicBezTo>
                  <a:pt x="88" y="9"/>
                  <a:pt x="90" y="10"/>
                  <a:pt x="91" y="10"/>
                </a:cubicBezTo>
                <a:cubicBezTo>
                  <a:pt x="92" y="10"/>
                  <a:pt x="92" y="10"/>
                  <a:pt x="92" y="10"/>
                </a:cubicBezTo>
                <a:cubicBezTo>
                  <a:pt x="95" y="5"/>
                  <a:pt x="95" y="5"/>
                  <a:pt x="95" y="5"/>
                </a:cubicBezTo>
                <a:cubicBezTo>
                  <a:pt x="96" y="5"/>
                  <a:pt x="98" y="6"/>
                  <a:pt x="100" y="7"/>
                </a:cubicBezTo>
                <a:cubicBezTo>
                  <a:pt x="98" y="13"/>
                  <a:pt x="98" y="13"/>
                  <a:pt x="98" y="13"/>
                </a:cubicBezTo>
                <a:cubicBezTo>
                  <a:pt x="99" y="13"/>
                  <a:pt x="99" y="13"/>
                  <a:pt x="99" y="13"/>
                </a:cubicBezTo>
                <a:cubicBezTo>
                  <a:pt x="100" y="14"/>
                  <a:pt x="101" y="15"/>
                  <a:pt x="103" y="15"/>
                </a:cubicBezTo>
                <a:cubicBezTo>
                  <a:pt x="103" y="16"/>
                  <a:pt x="103" y="16"/>
                  <a:pt x="103" y="16"/>
                </a:cubicBezTo>
                <a:cubicBezTo>
                  <a:pt x="107" y="11"/>
                  <a:pt x="107" y="11"/>
                  <a:pt x="107" y="11"/>
                </a:cubicBezTo>
                <a:cubicBezTo>
                  <a:pt x="109" y="12"/>
                  <a:pt x="111" y="13"/>
                  <a:pt x="112" y="14"/>
                </a:cubicBezTo>
                <a:cubicBezTo>
                  <a:pt x="109" y="20"/>
                  <a:pt x="109" y="20"/>
                  <a:pt x="109" y="20"/>
                </a:cubicBezTo>
                <a:cubicBezTo>
                  <a:pt x="109" y="20"/>
                  <a:pt x="109" y="20"/>
                  <a:pt x="109" y="20"/>
                </a:cubicBezTo>
                <a:cubicBezTo>
                  <a:pt x="111" y="21"/>
                  <a:pt x="112" y="22"/>
                  <a:pt x="113" y="23"/>
                </a:cubicBezTo>
                <a:cubicBezTo>
                  <a:pt x="113" y="23"/>
                  <a:pt x="113" y="23"/>
                  <a:pt x="113" y="23"/>
                </a:cubicBezTo>
                <a:cubicBezTo>
                  <a:pt x="118" y="19"/>
                  <a:pt x="118" y="19"/>
                  <a:pt x="118" y="19"/>
                </a:cubicBezTo>
                <a:cubicBezTo>
                  <a:pt x="120" y="20"/>
                  <a:pt x="121" y="22"/>
                  <a:pt x="122" y="23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9" y="29"/>
                  <a:pt x="119" y="29"/>
                  <a:pt x="119" y="29"/>
                </a:cubicBezTo>
                <a:cubicBezTo>
                  <a:pt x="120" y="30"/>
                  <a:pt x="121" y="31"/>
                  <a:pt x="121" y="32"/>
                </a:cubicBezTo>
                <a:cubicBezTo>
                  <a:pt x="122" y="32"/>
                  <a:pt x="122" y="32"/>
                  <a:pt x="122" y="32"/>
                </a:cubicBezTo>
                <a:cubicBezTo>
                  <a:pt x="127" y="29"/>
                  <a:pt x="127" y="29"/>
                  <a:pt x="127" y="29"/>
                </a:cubicBezTo>
                <a:cubicBezTo>
                  <a:pt x="129" y="31"/>
                  <a:pt x="130" y="33"/>
                  <a:pt x="131" y="34"/>
                </a:cubicBezTo>
                <a:cubicBezTo>
                  <a:pt x="126" y="38"/>
                  <a:pt x="126" y="38"/>
                  <a:pt x="126" y="38"/>
                </a:cubicBezTo>
                <a:cubicBezTo>
                  <a:pt x="126" y="39"/>
                  <a:pt x="126" y="39"/>
                  <a:pt x="126" y="39"/>
                </a:cubicBezTo>
                <a:cubicBezTo>
                  <a:pt x="127" y="40"/>
                  <a:pt x="128" y="41"/>
                  <a:pt x="128" y="43"/>
                </a:cubicBezTo>
                <a:cubicBezTo>
                  <a:pt x="128" y="43"/>
                  <a:pt x="128" y="43"/>
                  <a:pt x="128" y="43"/>
                </a:cubicBezTo>
                <a:cubicBezTo>
                  <a:pt x="134" y="41"/>
                  <a:pt x="134" y="41"/>
                  <a:pt x="134" y="41"/>
                </a:cubicBezTo>
                <a:cubicBezTo>
                  <a:pt x="135" y="43"/>
                  <a:pt x="136" y="45"/>
                  <a:pt x="137" y="47"/>
                </a:cubicBezTo>
                <a:cubicBezTo>
                  <a:pt x="131" y="50"/>
                  <a:pt x="131" y="50"/>
                  <a:pt x="131" y="50"/>
                </a:cubicBezTo>
                <a:cubicBezTo>
                  <a:pt x="131" y="50"/>
                  <a:pt x="131" y="50"/>
                  <a:pt x="131" y="50"/>
                </a:cubicBezTo>
                <a:cubicBezTo>
                  <a:pt x="132" y="52"/>
                  <a:pt x="132" y="53"/>
                  <a:pt x="133" y="54"/>
                </a:cubicBezTo>
                <a:cubicBezTo>
                  <a:pt x="133" y="55"/>
                  <a:pt x="133" y="55"/>
                  <a:pt x="133" y="55"/>
                </a:cubicBezTo>
                <a:cubicBezTo>
                  <a:pt x="139" y="54"/>
                  <a:pt x="139" y="54"/>
                  <a:pt x="139" y="54"/>
                </a:cubicBezTo>
                <a:cubicBezTo>
                  <a:pt x="140" y="56"/>
                  <a:pt x="140" y="58"/>
                  <a:pt x="140" y="60"/>
                </a:cubicBezTo>
                <a:cubicBezTo>
                  <a:pt x="134" y="62"/>
                  <a:pt x="134" y="62"/>
                  <a:pt x="134" y="62"/>
                </a:cubicBezTo>
                <a:cubicBezTo>
                  <a:pt x="134" y="62"/>
                  <a:pt x="134" y="62"/>
                  <a:pt x="134" y="62"/>
                </a:cubicBezTo>
                <a:cubicBezTo>
                  <a:pt x="134" y="64"/>
                  <a:pt x="134" y="65"/>
                  <a:pt x="135" y="67"/>
                </a:cubicBezTo>
                <a:cubicBezTo>
                  <a:pt x="135" y="67"/>
                  <a:pt x="135" y="67"/>
                  <a:pt x="135" y="67"/>
                </a:cubicBezTo>
                <a:cubicBezTo>
                  <a:pt x="141" y="68"/>
                  <a:pt x="141" y="68"/>
                  <a:pt x="141" y="68"/>
                </a:cubicBezTo>
                <a:cubicBezTo>
                  <a:pt x="141" y="69"/>
                  <a:pt x="141" y="70"/>
                  <a:pt x="141" y="71"/>
                </a:cubicBezTo>
                <a:cubicBezTo>
                  <a:pt x="141" y="72"/>
                  <a:pt x="141" y="73"/>
                  <a:pt x="141" y="74"/>
                </a:cubicBezTo>
                <a:cubicBezTo>
                  <a:pt x="135" y="75"/>
                  <a:pt x="135" y="75"/>
                  <a:pt x="135" y="75"/>
                </a:cubicBezTo>
                <a:cubicBezTo>
                  <a:pt x="135" y="75"/>
                  <a:pt x="135" y="75"/>
                  <a:pt x="135" y="75"/>
                </a:cubicBezTo>
                <a:cubicBezTo>
                  <a:pt x="134" y="77"/>
                  <a:pt x="134" y="78"/>
                  <a:pt x="134" y="80"/>
                </a:cubicBezTo>
                <a:cubicBezTo>
                  <a:pt x="134" y="80"/>
                  <a:pt x="134" y="80"/>
                  <a:pt x="134" y="80"/>
                </a:cubicBezTo>
                <a:cubicBezTo>
                  <a:pt x="140" y="82"/>
                  <a:pt x="140" y="82"/>
                  <a:pt x="140" y="82"/>
                </a:cubicBezTo>
                <a:cubicBezTo>
                  <a:pt x="140" y="84"/>
                  <a:pt x="140" y="86"/>
                  <a:pt x="139" y="88"/>
                </a:cubicBezTo>
                <a:cubicBezTo>
                  <a:pt x="133" y="87"/>
                  <a:pt x="133" y="87"/>
                  <a:pt x="133" y="87"/>
                </a:cubicBezTo>
                <a:cubicBezTo>
                  <a:pt x="133" y="88"/>
                  <a:pt x="133" y="88"/>
                  <a:pt x="133" y="88"/>
                </a:cubicBezTo>
                <a:cubicBezTo>
                  <a:pt x="132" y="89"/>
                  <a:pt x="132" y="90"/>
                  <a:pt x="131" y="92"/>
                </a:cubicBezTo>
                <a:cubicBezTo>
                  <a:pt x="131" y="92"/>
                  <a:pt x="131" y="92"/>
                  <a:pt x="131" y="92"/>
                </a:cubicBezTo>
                <a:cubicBezTo>
                  <a:pt x="137" y="95"/>
                  <a:pt x="137" y="95"/>
                  <a:pt x="137" y="95"/>
                </a:cubicBezTo>
                <a:cubicBezTo>
                  <a:pt x="136" y="97"/>
                  <a:pt x="135" y="99"/>
                  <a:pt x="134" y="101"/>
                </a:cubicBezTo>
                <a:cubicBezTo>
                  <a:pt x="128" y="99"/>
                  <a:pt x="128" y="99"/>
                  <a:pt x="128" y="99"/>
                </a:cubicBezTo>
                <a:cubicBezTo>
                  <a:pt x="128" y="99"/>
                  <a:pt x="128" y="99"/>
                  <a:pt x="128" y="99"/>
                </a:cubicBezTo>
                <a:cubicBezTo>
                  <a:pt x="128" y="101"/>
                  <a:pt x="127" y="102"/>
                  <a:pt x="126" y="103"/>
                </a:cubicBezTo>
                <a:cubicBezTo>
                  <a:pt x="126" y="104"/>
                  <a:pt x="126" y="104"/>
                  <a:pt x="126" y="104"/>
                </a:cubicBezTo>
                <a:cubicBezTo>
                  <a:pt x="131" y="108"/>
                  <a:pt x="131" y="108"/>
                  <a:pt x="131" y="108"/>
                </a:cubicBezTo>
                <a:cubicBezTo>
                  <a:pt x="130" y="109"/>
                  <a:pt x="129" y="111"/>
                  <a:pt x="127" y="113"/>
                </a:cubicBezTo>
                <a:cubicBezTo>
                  <a:pt x="122" y="110"/>
                  <a:pt x="122" y="110"/>
                  <a:pt x="122" y="110"/>
                </a:cubicBezTo>
                <a:cubicBezTo>
                  <a:pt x="121" y="110"/>
                  <a:pt x="121" y="110"/>
                  <a:pt x="121" y="110"/>
                </a:cubicBezTo>
                <a:cubicBezTo>
                  <a:pt x="121" y="111"/>
                  <a:pt x="120" y="112"/>
                  <a:pt x="119" y="114"/>
                </a:cubicBezTo>
                <a:cubicBezTo>
                  <a:pt x="118" y="114"/>
                  <a:pt x="118" y="114"/>
                  <a:pt x="118" y="114"/>
                </a:cubicBezTo>
                <a:cubicBezTo>
                  <a:pt x="122" y="119"/>
                  <a:pt x="122" y="119"/>
                  <a:pt x="122" y="119"/>
                </a:cubicBezTo>
                <a:cubicBezTo>
                  <a:pt x="121" y="120"/>
                  <a:pt x="120" y="122"/>
                  <a:pt x="118" y="123"/>
                </a:cubicBezTo>
                <a:cubicBezTo>
                  <a:pt x="113" y="119"/>
                  <a:pt x="113" y="119"/>
                  <a:pt x="113" y="119"/>
                </a:cubicBezTo>
                <a:cubicBezTo>
                  <a:pt x="113" y="119"/>
                  <a:pt x="113" y="119"/>
                  <a:pt x="113" y="119"/>
                </a:cubicBezTo>
                <a:cubicBezTo>
                  <a:pt x="112" y="120"/>
                  <a:pt x="111" y="121"/>
                  <a:pt x="109" y="122"/>
                </a:cubicBezTo>
                <a:cubicBezTo>
                  <a:pt x="109" y="122"/>
                  <a:pt x="109" y="122"/>
                  <a:pt x="109" y="122"/>
                </a:cubicBezTo>
                <a:cubicBezTo>
                  <a:pt x="112" y="128"/>
                  <a:pt x="112" y="128"/>
                  <a:pt x="112" y="128"/>
                </a:cubicBezTo>
                <a:cubicBezTo>
                  <a:pt x="111" y="129"/>
                  <a:pt x="109" y="130"/>
                  <a:pt x="107" y="131"/>
                </a:cubicBezTo>
                <a:cubicBezTo>
                  <a:pt x="103" y="126"/>
                  <a:pt x="103" y="126"/>
                  <a:pt x="103" y="126"/>
                </a:cubicBezTo>
                <a:cubicBezTo>
                  <a:pt x="103" y="127"/>
                  <a:pt x="103" y="127"/>
                  <a:pt x="103" y="127"/>
                </a:cubicBezTo>
                <a:cubicBezTo>
                  <a:pt x="101" y="127"/>
                  <a:pt x="100" y="128"/>
                  <a:pt x="99" y="129"/>
                </a:cubicBezTo>
                <a:cubicBezTo>
                  <a:pt x="98" y="129"/>
                  <a:pt x="98" y="129"/>
                  <a:pt x="98" y="129"/>
                </a:cubicBezTo>
                <a:cubicBezTo>
                  <a:pt x="100" y="135"/>
                  <a:pt x="100" y="135"/>
                  <a:pt x="100" y="135"/>
                </a:cubicBezTo>
                <a:cubicBezTo>
                  <a:pt x="98" y="136"/>
                  <a:pt x="96" y="137"/>
                  <a:pt x="95" y="137"/>
                </a:cubicBezTo>
                <a:cubicBezTo>
                  <a:pt x="92" y="132"/>
                  <a:pt x="92" y="132"/>
                  <a:pt x="92" y="132"/>
                </a:cubicBezTo>
                <a:cubicBezTo>
                  <a:pt x="91" y="132"/>
                  <a:pt x="91" y="132"/>
                  <a:pt x="91" y="132"/>
                </a:cubicBezTo>
                <a:cubicBezTo>
                  <a:pt x="90" y="132"/>
                  <a:pt x="88" y="133"/>
                  <a:pt x="87" y="133"/>
                </a:cubicBezTo>
                <a:cubicBezTo>
                  <a:pt x="87" y="133"/>
                  <a:pt x="87" y="133"/>
                  <a:pt x="87" y="133"/>
                </a:cubicBezTo>
                <a:cubicBezTo>
                  <a:pt x="87" y="140"/>
                  <a:pt x="87" y="140"/>
                  <a:pt x="87" y="140"/>
                </a:cubicBezTo>
                <a:cubicBezTo>
                  <a:pt x="85" y="140"/>
                  <a:pt x="83" y="141"/>
                  <a:pt x="81" y="141"/>
                </a:cubicBezTo>
                <a:cubicBezTo>
                  <a:pt x="79" y="135"/>
                  <a:pt x="79" y="135"/>
                  <a:pt x="79" y="135"/>
                </a:cubicBezTo>
                <a:cubicBezTo>
                  <a:pt x="79" y="135"/>
                  <a:pt x="79" y="135"/>
                  <a:pt x="79" y="135"/>
                </a:cubicBezTo>
                <a:cubicBezTo>
                  <a:pt x="77" y="135"/>
                  <a:pt x="76" y="135"/>
                  <a:pt x="74" y="135"/>
                </a:cubicBezTo>
                <a:cubicBezTo>
                  <a:pt x="74" y="135"/>
                  <a:pt x="74" y="135"/>
                  <a:pt x="74" y="135"/>
                </a:cubicBezTo>
                <a:cubicBezTo>
                  <a:pt x="73" y="142"/>
                  <a:pt x="73" y="142"/>
                  <a:pt x="73" y="142"/>
                </a:cubicBezTo>
                <a:cubicBezTo>
                  <a:pt x="72" y="142"/>
                  <a:pt x="71" y="142"/>
                  <a:pt x="70" y="142"/>
                </a:cubicBezTo>
                <a:close/>
              </a:path>
            </a:pathLst>
          </a:custGeom>
          <a:solidFill>
            <a:srgbClr val="AFABAB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222" name="Freeform 221"/>
          <p:cNvSpPr>
            <a:spLocks/>
          </p:cNvSpPr>
          <p:nvPr/>
        </p:nvSpPr>
        <p:spPr bwMode="auto">
          <a:xfrm>
            <a:off x="4221966" y="3181364"/>
            <a:ext cx="381164" cy="383836"/>
          </a:xfrm>
          <a:custGeom>
            <a:avLst/>
            <a:gdLst>
              <a:gd name="T0" fmla="*/ 66 w 141"/>
              <a:gd name="T1" fmla="*/ 135 h 142"/>
              <a:gd name="T2" fmla="*/ 54 w 141"/>
              <a:gd name="T3" fmla="*/ 140 h 142"/>
              <a:gd name="T4" fmla="*/ 49 w 141"/>
              <a:gd name="T5" fmla="*/ 132 h 142"/>
              <a:gd name="T6" fmla="*/ 42 w 141"/>
              <a:gd name="T7" fmla="*/ 129 h 142"/>
              <a:gd name="T8" fmla="*/ 29 w 141"/>
              <a:gd name="T9" fmla="*/ 128 h 142"/>
              <a:gd name="T10" fmla="*/ 28 w 141"/>
              <a:gd name="T11" fmla="*/ 119 h 142"/>
              <a:gd name="T12" fmla="*/ 22 w 141"/>
              <a:gd name="T13" fmla="*/ 114 h 142"/>
              <a:gd name="T14" fmla="*/ 10 w 141"/>
              <a:gd name="T15" fmla="*/ 108 h 142"/>
              <a:gd name="T16" fmla="*/ 12 w 141"/>
              <a:gd name="T17" fmla="*/ 99 h 142"/>
              <a:gd name="T18" fmla="*/ 10 w 141"/>
              <a:gd name="T19" fmla="*/ 92 h 142"/>
              <a:gd name="T20" fmla="*/ 1 w 141"/>
              <a:gd name="T21" fmla="*/ 82 h 142"/>
              <a:gd name="T22" fmla="*/ 6 w 141"/>
              <a:gd name="T23" fmla="*/ 75 h 142"/>
              <a:gd name="T24" fmla="*/ 6 w 141"/>
              <a:gd name="T25" fmla="*/ 67 h 142"/>
              <a:gd name="T26" fmla="*/ 1 w 141"/>
              <a:gd name="T27" fmla="*/ 60 h 142"/>
              <a:gd name="T28" fmla="*/ 10 w 141"/>
              <a:gd name="T29" fmla="*/ 50 h 142"/>
              <a:gd name="T30" fmla="*/ 12 w 141"/>
              <a:gd name="T31" fmla="*/ 43 h 142"/>
              <a:gd name="T32" fmla="*/ 10 w 141"/>
              <a:gd name="T33" fmla="*/ 34 h 142"/>
              <a:gd name="T34" fmla="*/ 22 w 141"/>
              <a:gd name="T35" fmla="*/ 29 h 142"/>
              <a:gd name="T36" fmla="*/ 28 w 141"/>
              <a:gd name="T37" fmla="*/ 23 h 142"/>
              <a:gd name="T38" fmla="*/ 29 w 141"/>
              <a:gd name="T39" fmla="*/ 14 h 142"/>
              <a:gd name="T40" fmla="*/ 42 w 141"/>
              <a:gd name="T41" fmla="*/ 13 h 142"/>
              <a:gd name="T42" fmla="*/ 49 w 141"/>
              <a:gd name="T43" fmla="*/ 10 h 142"/>
              <a:gd name="T44" fmla="*/ 54 w 141"/>
              <a:gd name="T45" fmla="*/ 2 h 142"/>
              <a:gd name="T46" fmla="*/ 66 w 141"/>
              <a:gd name="T47" fmla="*/ 7 h 142"/>
              <a:gd name="T48" fmla="*/ 73 w 141"/>
              <a:gd name="T49" fmla="*/ 0 h 142"/>
              <a:gd name="T50" fmla="*/ 79 w 141"/>
              <a:gd name="T51" fmla="*/ 7 h 142"/>
              <a:gd name="T52" fmla="*/ 87 w 141"/>
              <a:gd name="T53" fmla="*/ 9 h 142"/>
              <a:gd name="T54" fmla="*/ 100 w 141"/>
              <a:gd name="T55" fmla="*/ 7 h 142"/>
              <a:gd name="T56" fmla="*/ 103 w 141"/>
              <a:gd name="T57" fmla="*/ 16 h 142"/>
              <a:gd name="T58" fmla="*/ 109 w 141"/>
              <a:gd name="T59" fmla="*/ 20 h 142"/>
              <a:gd name="T60" fmla="*/ 122 w 141"/>
              <a:gd name="T61" fmla="*/ 23 h 142"/>
              <a:gd name="T62" fmla="*/ 122 w 141"/>
              <a:gd name="T63" fmla="*/ 32 h 142"/>
              <a:gd name="T64" fmla="*/ 126 w 141"/>
              <a:gd name="T65" fmla="*/ 39 h 142"/>
              <a:gd name="T66" fmla="*/ 137 w 141"/>
              <a:gd name="T67" fmla="*/ 47 h 142"/>
              <a:gd name="T68" fmla="*/ 133 w 141"/>
              <a:gd name="T69" fmla="*/ 55 h 142"/>
              <a:gd name="T70" fmla="*/ 134 w 141"/>
              <a:gd name="T71" fmla="*/ 62 h 142"/>
              <a:gd name="T72" fmla="*/ 141 w 141"/>
              <a:gd name="T73" fmla="*/ 71 h 142"/>
              <a:gd name="T74" fmla="*/ 134 w 141"/>
              <a:gd name="T75" fmla="*/ 80 h 142"/>
              <a:gd name="T76" fmla="*/ 133 w 141"/>
              <a:gd name="T77" fmla="*/ 87 h 142"/>
              <a:gd name="T78" fmla="*/ 137 w 141"/>
              <a:gd name="T79" fmla="*/ 95 h 142"/>
              <a:gd name="T80" fmla="*/ 126 w 141"/>
              <a:gd name="T81" fmla="*/ 103 h 142"/>
              <a:gd name="T82" fmla="*/ 122 w 141"/>
              <a:gd name="T83" fmla="*/ 110 h 142"/>
              <a:gd name="T84" fmla="*/ 122 w 141"/>
              <a:gd name="T85" fmla="*/ 119 h 142"/>
              <a:gd name="T86" fmla="*/ 109 w 141"/>
              <a:gd name="T87" fmla="*/ 122 h 142"/>
              <a:gd name="T88" fmla="*/ 103 w 141"/>
              <a:gd name="T89" fmla="*/ 126 h 142"/>
              <a:gd name="T90" fmla="*/ 100 w 141"/>
              <a:gd name="T91" fmla="*/ 135 h 142"/>
              <a:gd name="T92" fmla="*/ 87 w 141"/>
              <a:gd name="T93" fmla="*/ 133 h 142"/>
              <a:gd name="T94" fmla="*/ 79 w 141"/>
              <a:gd name="T95" fmla="*/ 135 h 142"/>
              <a:gd name="T96" fmla="*/ 73 w 141"/>
              <a:gd name="T97" fmla="*/ 142 h 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41" h="142">
                <a:moveTo>
                  <a:pt x="70" y="142"/>
                </a:moveTo>
                <a:cubicBezTo>
                  <a:pt x="69" y="142"/>
                  <a:pt x="68" y="142"/>
                  <a:pt x="67" y="142"/>
                </a:cubicBezTo>
                <a:cubicBezTo>
                  <a:pt x="67" y="135"/>
                  <a:pt x="67" y="135"/>
                  <a:pt x="67" y="135"/>
                </a:cubicBezTo>
                <a:cubicBezTo>
                  <a:pt x="66" y="135"/>
                  <a:pt x="66" y="135"/>
                  <a:pt x="66" y="135"/>
                </a:cubicBezTo>
                <a:cubicBezTo>
                  <a:pt x="65" y="135"/>
                  <a:pt x="63" y="135"/>
                  <a:pt x="62" y="135"/>
                </a:cubicBezTo>
                <a:cubicBezTo>
                  <a:pt x="61" y="135"/>
                  <a:pt x="61" y="135"/>
                  <a:pt x="61" y="135"/>
                </a:cubicBezTo>
                <a:cubicBezTo>
                  <a:pt x="60" y="141"/>
                  <a:pt x="60" y="141"/>
                  <a:pt x="60" y="141"/>
                </a:cubicBezTo>
                <a:cubicBezTo>
                  <a:pt x="58" y="141"/>
                  <a:pt x="56" y="140"/>
                  <a:pt x="54" y="140"/>
                </a:cubicBezTo>
                <a:cubicBezTo>
                  <a:pt x="54" y="133"/>
                  <a:pt x="54" y="133"/>
                  <a:pt x="54" y="133"/>
                </a:cubicBezTo>
                <a:cubicBezTo>
                  <a:pt x="54" y="133"/>
                  <a:pt x="54" y="133"/>
                  <a:pt x="54" y="133"/>
                </a:cubicBezTo>
                <a:cubicBezTo>
                  <a:pt x="52" y="133"/>
                  <a:pt x="51" y="132"/>
                  <a:pt x="50" y="132"/>
                </a:cubicBezTo>
                <a:cubicBezTo>
                  <a:pt x="49" y="132"/>
                  <a:pt x="49" y="132"/>
                  <a:pt x="49" y="132"/>
                </a:cubicBezTo>
                <a:cubicBezTo>
                  <a:pt x="46" y="137"/>
                  <a:pt x="46" y="137"/>
                  <a:pt x="46" y="137"/>
                </a:cubicBezTo>
                <a:cubicBezTo>
                  <a:pt x="44" y="137"/>
                  <a:pt x="42" y="136"/>
                  <a:pt x="41" y="135"/>
                </a:cubicBezTo>
                <a:cubicBezTo>
                  <a:pt x="42" y="129"/>
                  <a:pt x="42" y="129"/>
                  <a:pt x="42" y="129"/>
                </a:cubicBezTo>
                <a:cubicBezTo>
                  <a:pt x="42" y="129"/>
                  <a:pt x="42" y="129"/>
                  <a:pt x="42" y="129"/>
                </a:cubicBezTo>
                <a:cubicBezTo>
                  <a:pt x="41" y="128"/>
                  <a:pt x="39" y="127"/>
                  <a:pt x="38" y="127"/>
                </a:cubicBezTo>
                <a:cubicBezTo>
                  <a:pt x="38" y="126"/>
                  <a:pt x="38" y="126"/>
                  <a:pt x="38" y="126"/>
                </a:cubicBezTo>
                <a:cubicBezTo>
                  <a:pt x="34" y="131"/>
                  <a:pt x="34" y="131"/>
                  <a:pt x="34" y="131"/>
                </a:cubicBezTo>
                <a:cubicBezTo>
                  <a:pt x="32" y="130"/>
                  <a:pt x="30" y="129"/>
                  <a:pt x="29" y="128"/>
                </a:cubicBezTo>
                <a:cubicBezTo>
                  <a:pt x="32" y="122"/>
                  <a:pt x="32" y="122"/>
                  <a:pt x="32" y="122"/>
                </a:cubicBezTo>
                <a:cubicBezTo>
                  <a:pt x="31" y="122"/>
                  <a:pt x="31" y="122"/>
                  <a:pt x="31" y="122"/>
                </a:cubicBezTo>
                <a:cubicBezTo>
                  <a:pt x="30" y="121"/>
                  <a:pt x="29" y="120"/>
                  <a:pt x="28" y="119"/>
                </a:cubicBezTo>
                <a:cubicBezTo>
                  <a:pt x="28" y="119"/>
                  <a:pt x="28" y="119"/>
                  <a:pt x="28" y="119"/>
                </a:cubicBezTo>
                <a:cubicBezTo>
                  <a:pt x="23" y="123"/>
                  <a:pt x="23" y="123"/>
                  <a:pt x="23" y="123"/>
                </a:cubicBezTo>
                <a:cubicBezTo>
                  <a:pt x="21" y="122"/>
                  <a:pt x="20" y="120"/>
                  <a:pt x="18" y="119"/>
                </a:cubicBezTo>
                <a:cubicBezTo>
                  <a:pt x="22" y="114"/>
                  <a:pt x="22" y="114"/>
                  <a:pt x="22" y="114"/>
                </a:cubicBezTo>
                <a:cubicBezTo>
                  <a:pt x="22" y="114"/>
                  <a:pt x="22" y="114"/>
                  <a:pt x="22" y="114"/>
                </a:cubicBezTo>
                <a:cubicBezTo>
                  <a:pt x="21" y="112"/>
                  <a:pt x="20" y="111"/>
                  <a:pt x="19" y="110"/>
                </a:cubicBezTo>
                <a:cubicBezTo>
                  <a:pt x="19" y="110"/>
                  <a:pt x="19" y="110"/>
                  <a:pt x="19" y="110"/>
                </a:cubicBezTo>
                <a:cubicBezTo>
                  <a:pt x="13" y="113"/>
                  <a:pt x="13" y="113"/>
                  <a:pt x="13" y="113"/>
                </a:cubicBezTo>
                <a:cubicBezTo>
                  <a:pt x="12" y="111"/>
                  <a:pt x="11" y="109"/>
                  <a:pt x="10" y="108"/>
                </a:cubicBezTo>
                <a:cubicBezTo>
                  <a:pt x="15" y="104"/>
                  <a:pt x="15" y="104"/>
                  <a:pt x="15" y="104"/>
                </a:cubicBezTo>
                <a:cubicBezTo>
                  <a:pt x="15" y="103"/>
                  <a:pt x="15" y="103"/>
                  <a:pt x="15" y="103"/>
                </a:cubicBezTo>
                <a:cubicBezTo>
                  <a:pt x="14" y="102"/>
                  <a:pt x="13" y="101"/>
                  <a:pt x="13" y="99"/>
                </a:cubicBezTo>
                <a:cubicBezTo>
                  <a:pt x="12" y="99"/>
                  <a:pt x="12" y="99"/>
                  <a:pt x="12" y="99"/>
                </a:cubicBezTo>
                <a:cubicBezTo>
                  <a:pt x="6" y="101"/>
                  <a:pt x="6" y="101"/>
                  <a:pt x="6" y="101"/>
                </a:cubicBezTo>
                <a:cubicBezTo>
                  <a:pt x="5" y="99"/>
                  <a:pt x="5" y="97"/>
                  <a:pt x="4" y="95"/>
                </a:cubicBezTo>
                <a:cubicBezTo>
                  <a:pt x="10" y="92"/>
                  <a:pt x="10" y="92"/>
                  <a:pt x="10" y="92"/>
                </a:cubicBezTo>
                <a:cubicBezTo>
                  <a:pt x="10" y="92"/>
                  <a:pt x="10" y="92"/>
                  <a:pt x="10" y="92"/>
                </a:cubicBezTo>
                <a:cubicBezTo>
                  <a:pt x="9" y="90"/>
                  <a:pt x="9" y="89"/>
                  <a:pt x="8" y="88"/>
                </a:cubicBezTo>
                <a:cubicBezTo>
                  <a:pt x="8" y="87"/>
                  <a:pt x="8" y="87"/>
                  <a:pt x="8" y="87"/>
                </a:cubicBezTo>
                <a:cubicBezTo>
                  <a:pt x="2" y="88"/>
                  <a:pt x="2" y="88"/>
                  <a:pt x="2" y="88"/>
                </a:cubicBezTo>
                <a:cubicBezTo>
                  <a:pt x="1" y="86"/>
                  <a:pt x="1" y="84"/>
                  <a:pt x="1" y="82"/>
                </a:cubicBezTo>
                <a:cubicBezTo>
                  <a:pt x="7" y="80"/>
                  <a:pt x="7" y="80"/>
                  <a:pt x="7" y="80"/>
                </a:cubicBezTo>
                <a:cubicBezTo>
                  <a:pt x="7" y="80"/>
                  <a:pt x="7" y="80"/>
                  <a:pt x="7" y="80"/>
                </a:cubicBezTo>
                <a:cubicBezTo>
                  <a:pt x="6" y="78"/>
                  <a:pt x="6" y="77"/>
                  <a:pt x="6" y="75"/>
                </a:cubicBezTo>
                <a:cubicBezTo>
                  <a:pt x="6" y="75"/>
                  <a:pt x="6" y="75"/>
                  <a:pt x="6" y="75"/>
                </a:cubicBezTo>
                <a:cubicBezTo>
                  <a:pt x="0" y="74"/>
                  <a:pt x="0" y="74"/>
                  <a:pt x="0" y="74"/>
                </a:cubicBezTo>
                <a:cubicBezTo>
                  <a:pt x="0" y="73"/>
                  <a:pt x="0" y="72"/>
                  <a:pt x="0" y="71"/>
                </a:cubicBezTo>
                <a:cubicBezTo>
                  <a:pt x="0" y="70"/>
                  <a:pt x="0" y="69"/>
                  <a:pt x="0" y="68"/>
                </a:cubicBezTo>
                <a:cubicBezTo>
                  <a:pt x="6" y="67"/>
                  <a:pt x="6" y="67"/>
                  <a:pt x="6" y="67"/>
                </a:cubicBezTo>
                <a:cubicBezTo>
                  <a:pt x="6" y="67"/>
                  <a:pt x="6" y="67"/>
                  <a:pt x="6" y="67"/>
                </a:cubicBezTo>
                <a:cubicBezTo>
                  <a:pt x="6" y="65"/>
                  <a:pt x="6" y="64"/>
                  <a:pt x="7" y="62"/>
                </a:cubicBezTo>
                <a:cubicBezTo>
                  <a:pt x="7" y="62"/>
                  <a:pt x="7" y="62"/>
                  <a:pt x="7" y="62"/>
                </a:cubicBezTo>
                <a:cubicBezTo>
                  <a:pt x="1" y="60"/>
                  <a:pt x="1" y="60"/>
                  <a:pt x="1" y="60"/>
                </a:cubicBezTo>
                <a:cubicBezTo>
                  <a:pt x="1" y="58"/>
                  <a:pt x="1" y="56"/>
                  <a:pt x="2" y="54"/>
                </a:cubicBezTo>
                <a:cubicBezTo>
                  <a:pt x="8" y="55"/>
                  <a:pt x="8" y="55"/>
                  <a:pt x="8" y="55"/>
                </a:cubicBezTo>
                <a:cubicBezTo>
                  <a:pt x="8" y="54"/>
                  <a:pt x="8" y="54"/>
                  <a:pt x="8" y="54"/>
                </a:cubicBezTo>
                <a:cubicBezTo>
                  <a:pt x="9" y="53"/>
                  <a:pt x="9" y="52"/>
                  <a:pt x="10" y="50"/>
                </a:cubicBezTo>
                <a:cubicBezTo>
                  <a:pt x="10" y="50"/>
                  <a:pt x="10" y="50"/>
                  <a:pt x="10" y="50"/>
                </a:cubicBezTo>
                <a:cubicBezTo>
                  <a:pt x="4" y="47"/>
                  <a:pt x="4" y="47"/>
                  <a:pt x="4" y="47"/>
                </a:cubicBezTo>
                <a:cubicBezTo>
                  <a:pt x="5" y="45"/>
                  <a:pt x="5" y="43"/>
                  <a:pt x="6" y="41"/>
                </a:cubicBezTo>
                <a:cubicBezTo>
                  <a:pt x="12" y="43"/>
                  <a:pt x="12" y="43"/>
                  <a:pt x="12" y="43"/>
                </a:cubicBezTo>
                <a:cubicBezTo>
                  <a:pt x="13" y="43"/>
                  <a:pt x="13" y="43"/>
                  <a:pt x="13" y="43"/>
                </a:cubicBezTo>
                <a:cubicBezTo>
                  <a:pt x="13" y="41"/>
                  <a:pt x="14" y="40"/>
                  <a:pt x="15" y="39"/>
                </a:cubicBezTo>
                <a:cubicBezTo>
                  <a:pt x="15" y="38"/>
                  <a:pt x="15" y="38"/>
                  <a:pt x="15" y="38"/>
                </a:cubicBezTo>
                <a:cubicBezTo>
                  <a:pt x="10" y="34"/>
                  <a:pt x="10" y="34"/>
                  <a:pt x="10" y="34"/>
                </a:cubicBezTo>
                <a:cubicBezTo>
                  <a:pt x="11" y="33"/>
                  <a:pt x="12" y="31"/>
                  <a:pt x="13" y="29"/>
                </a:cubicBezTo>
                <a:cubicBezTo>
                  <a:pt x="19" y="32"/>
                  <a:pt x="19" y="32"/>
                  <a:pt x="19" y="32"/>
                </a:cubicBezTo>
                <a:cubicBezTo>
                  <a:pt x="19" y="32"/>
                  <a:pt x="19" y="32"/>
                  <a:pt x="19" y="32"/>
                </a:cubicBezTo>
                <a:cubicBezTo>
                  <a:pt x="20" y="31"/>
                  <a:pt x="21" y="30"/>
                  <a:pt x="22" y="29"/>
                </a:cubicBezTo>
                <a:cubicBezTo>
                  <a:pt x="22" y="28"/>
                  <a:pt x="22" y="28"/>
                  <a:pt x="22" y="28"/>
                </a:cubicBezTo>
                <a:cubicBezTo>
                  <a:pt x="18" y="23"/>
                  <a:pt x="18" y="23"/>
                  <a:pt x="18" y="23"/>
                </a:cubicBezTo>
                <a:cubicBezTo>
                  <a:pt x="20" y="22"/>
                  <a:pt x="21" y="20"/>
                  <a:pt x="23" y="19"/>
                </a:cubicBezTo>
                <a:cubicBezTo>
                  <a:pt x="28" y="23"/>
                  <a:pt x="28" y="23"/>
                  <a:pt x="28" y="23"/>
                </a:cubicBezTo>
                <a:cubicBezTo>
                  <a:pt x="28" y="23"/>
                  <a:pt x="28" y="23"/>
                  <a:pt x="28" y="23"/>
                </a:cubicBezTo>
                <a:cubicBezTo>
                  <a:pt x="29" y="22"/>
                  <a:pt x="30" y="21"/>
                  <a:pt x="31" y="20"/>
                </a:cubicBezTo>
                <a:cubicBezTo>
                  <a:pt x="32" y="20"/>
                  <a:pt x="32" y="20"/>
                  <a:pt x="32" y="20"/>
                </a:cubicBezTo>
                <a:cubicBezTo>
                  <a:pt x="29" y="14"/>
                  <a:pt x="29" y="14"/>
                  <a:pt x="29" y="14"/>
                </a:cubicBezTo>
                <a:cubicBezTo>
                  <a:pt x="30" y="13"/>
                  <a:pt x="32" y="12"/>
                  <a:pt x="34" y="11"/>
                </a:cubicBezTo>
                <a:cubicBezTo>
                  <a:pt x="38" y="16"/>
                  <a:pt x="38" y="16"/>
                  <a:pt x="38" y="16"/>
                </a:cubicBezTo>
                <a:cubicBezTo>
                  <a:pt x="38" y="15"/>
                  <a:pt x="38" y="15"/>
                  <a:pt x="38" y="15"/>
                </a:cubicBezTo>
                <a:cubicBezTo>
                  <a:pt x="39" y="15"/>
                  <a:pt x="41" y="14"/>
                  <a:pt x="42" y="13"/>
                </a:cubicBezTo>
                <a:cubicBezTo>
                  <a:pt x="42" y="13"/>
                  <a:pt x="42" y="13"/>
                  <a:pt x="42" y="13"/>
                </a:cubicBezTo>
                <a:cubicBezTo>
                  <a:pt x="41" y="7"/>
                  <a:pt x="41" y="7"/>
                  <a:pt x="41" y="7"/>
                </a:cubicBezTo>
                <a:cubicBezTo>
                  <a:pt x="42" y="6"/>
                  <a:pt x="44" y="5"/>
                  <a:pt x="46" y="5"/>
                </a:cubicBezTo>
                <a:cubicBezTo>
                  <a:pt x="49" y="10"/>
                  <a:pt x="49" y="10"/>
                  <a:pt x="49" y="10"/>
                </a:cubicBezTo>
                <a:cubicBezTo>
                  <a:pt x="50" y="10"/>
                  <a:pt x="50" y="10"/>
                  <a:pt x="50" y="10"/>
                </a:cubicBezTo>
                <a:cubicBezTo>
                  <a:pt x="51" y="10"/>
                  <a:pt x="52" y="9"/>
                  <a:pt x="54" y="9"/>
                </a:cubicBezTo>
                <a:cubicBezTo>
                  <a:pt x="54" y="9"/>
                  <a:pt x="54" y="9"/>
                  <a:pt x="54" y="9"/>
                </a:cubicBezTo>
                <a:cubicBezTo>
                  <a:pt x="54" y="2"/>
                  <a:pt x="54" y="2"/>
                  <a:pt x="54" y="2"/>
                </a:cubicBezTo>
                <a:cubicBezTo>
                  <a:pt x="56" y="2"/>
                  <a:pt x="58" y="1"/>
                  <a:pt x="60" y="1"/>
                </a:cubicBezTo>
                <a:cubicBezTo>
                  <a:pt x="61" y="7"/>
                  <a:pt x="61" y="7"/>
                  <a:pt x="61" y="7"/>
                </a:cubicBezTo>
                <a:cubicBezTo>
                  <a:pt x="62" y="7"/>
                  <a:pt x="62" y="7"/>
                  <a:pt x="62" y="7"/>
                </a:cubicBezTo>
                <a:cubicBezTo>
                  <a:pt x="63" y="7"/>
                  <a:pt x="65" y="7"/>
                  <a:pt x="66" y="7"/>
                </a:cubicBezTo>
                <a:cubicBezTo>
                  <a:pt x="67" y="7"/>
                  <a:pt x="67" y="7"/>
                  <a:pt x="67" y="7"/>
                </a:cubicBezTo>
                <a:cubicBezTo>
                  <a:pt x="67" y="0"/>
                  <a:pt x="67" y="0"/>
                  <a:pt x="67" y="0"/>
                </a:cubicBezTo>
                <a:cubicBezTo>
                  <a:pt x="68" y="0"/>
                  <a:pt x="69" y="0"/>
                  <a:pt x="70" y="0"/>
                </a:cubicBezTo>
                <a:cubicBezTo>
                  <a:pt x="71" y="0"/>
                  <a:pt x="72" y="0"/>
                  <a:pt x="73" y="0"/>
                </a:cubicBezTo>
                <a:cubicBezTo>
                  <a:pt x="74" y="7"/>
                  <a:pt x="74" y="7"/>
                  <a:pt x="74" y="7"/>
                </a:cubicBezTo>
                <a:cubicBezTo>
                  <a:pt x="74" y="7"/>
                  <a:pt x="74" y="7"/>
                  <a:pt x="74" y="7"/>
                </a:cubicBezTo>
                <a:cubicBezTo>
                  <a:pt x="76" y="7"/>
                  <a:pt x="77" y="7"/>
                  <a:pt x="79" y="7"/>
                </a:cubicBezTo>
                <a:cubicBezTo>
                  <a:pt x="79" y="7"/>
                  <a:pt x="79" y="7"/>
                  <a:pt x="79" y="7"/>
                </a:cubicBezTo>
                <a:cubicBezTo>
                  <a:pt x="81" y="1"/>
                  <a:pt x="81" y="1"/>
                  <a:pt x="81" y="1"/>
                </a:cubicBezTo>
                <a:cubicBezTo>
                  <a:pt x="83" y="1"/>
                  <a:pt x="85" y="2"/>
                  <a:pt x="87" y="2"/>
                </a:cubicBezTo>
                <a:cubicBezTo>
                  <a:pt x="87" y="9"/>
                  <a:pt x="87" y="9"/>
                  <a:pt x="87" y="9"/>
                </a:cubicBezTo>
                <a:cubicBezTo>
                  <a:pt x="87" y="9"/>
                  <a:pt x="87" y="9"/>
                  <a:pt x="87" y="9"/>
                </a:cubicBezTo>
                <a:cubicBezTo>
                  <a:pt x="88" y="9"/>
                  <a:pt x="90" y="10"/>
                  <a:pt x="91" y="10"/>
                </a:cubicBezTo>
                <a:cubicBezTo>
                  <a:pt x="92" y="10"/>
                  <a:pt x="92" y="10"/>
                  <a:pt x="92" y="10"/>
                </a:cubicBezTo>
                <a:cubicBezTo>
                  <a:pt x="95" y="5"/>
                  <a:pt x="95" y="5"/>
                  <a:pt x="95" y="5"/>
                </a:cubicBezTo>
                <a:cubicBezTo>
                  <a:pt x="96" y="5"/>
                  <a:pt x="98" y="6"/>
                  <a:pt x="100" y="7"/>
                </a:cubicBezTo>
                <a:cubicBezTo>
                  <a:pt x="98" y="13"/>
                  <a:pt x="98" y="13"/>
                  <a:pt x="98" y="13"/>
                </a:cubicBezTo>
                <a:cubicBezTo>
                  <a:pt x="99" y="13"/>
                  <a:pt x="99" y="13"/>
                  <a:pt x="99" y="13"/>
                </a:cubicBezTo>
                <a:cubicBezTo>
                  <a:pt x="100" y="14"/>
                  <a:pt x="101" y="15"/>
                  <a:pt x="103" y="15"/>
                </a:cubicBezTo>
                <a:cubicBezTo>
                  <a:pt x="103" y="16"/>
                  <a:pt x="103" y="16"/>
                  <a:pt x="103" y="16"/>
                </a:cubicBezTo>
                <a:cubicBezTo>
                  <a:pt x="107" y="11"/>
                  <a:pt x="107" y="11"/>
                  <a:pt x="107" y="11"/>
                </a:cubicBezTo>
                <a:cubicBezTo>
                  <a:pt x="109" y="12"/>
                  <a:pt x="111" y="13"/>
                  <a:pt x="112" y="14"/>
                </a:cubicBezTo>
                <a:cubicBezTo>
                  <a:pt x="109" y="20"/>
                  <a:pt x="109" y="20"/>
                  <a:pt x="109" y="20"/>
                </a:cubicBezTo>
                <a:cubicBezTo>
                  <a:pt x="109" y="20"/>
                  <a:pt x="109" y="20"/>
                  <a:pt x="109" y="20"/>
                </a:cubicBezTo>
                <a:cubicBezTo>
                  <a:pt x="111" y="21"/>
                  <a:pt x="112" y="22"/>
                  <a:pt x="113" y="23"/>
                </a:cubicBezTo>
                <a:cubicBezTo>
                  <a:pt x="113" y="23"/>
                  <a:pt x="113" y="23"/>
                  <a:pt x="113" y="23"/>
                </a:cubicBezTo>
                <a:cubicBezTo>
                  <a:pt x="118" y="19"/>
                  <a:pt x="118" y="19"/>
                  <a:pt x="118" y="19"/>
                </a:cubicBezTo>
                <a:cubicBezTo>
                  <a:pt x="120" y="20"/>
                  <a:pt x="121" y="22"/>
                  <a:pt x="122" y="23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9" y="29"/>
                  <a:pt x="119" y="29"/>
                  <a:pt x="119" y="29"/>
                </a:cubicBezTo>
                <a:cubicBezTo>
                  <a:pt x="120" y="30"/>
                  <a:pt x="121" y="31"/>
                  <a:pt x="121" y="32"/>
                </a:cubicBezTo>
                <a:cubicBezTo>
                  <a:pt x="122" y="32"/>
                  <a:pt x="122" y="32"/>
                  <a:pt x="122" y="32"/>
                </a:cubicBezTo>
                <a:cubicBezTo>
                  <a:pt x="127" y="29"/>
                  <a:pt x="127" y="29"/>
                  <a:pt x="127" y="29"/>
                </a:cubicBezTo>
                <a:cubicBezTo>
                  <a:pt x="129" y="31"/>
                  <a:pt x="130" y="33"/>
                  <a:pt x="131" y="34"/>
                </a:cubicBezTo>
                <a:cubicBezTo>
                  <a:pt x="126" y="38"/>
                  <a:pt x="126" y="38"/>
                  <a:pt x="126" y="38"/>
                </a:cubicBezTo>
                <a:cubicBezTo>
                  <a:pt x="126" y="39"/>
                  <a:pt x="126" y="39"/>
                  <a:pt x="126" y="39"/>
                </a:cubicBezTo>
                <a:cubicBezTo>
                  <a:pt x="127" y="40"/>
                  <a:pt x="128" y="41"/>
                  <a:pt x="128" y="43"/>
                </a:cubicBezTo>
                <a:cubicBezTo>
                  <a:pt x="128" y="43"/>
                  <a:pt x="128" y="43"/>
                  <a:pt x="128" y="43"/>
                </a:cubicBezTo>
                <a:cubicBezTo>
                  <a:pt x="134" y="41"/>
                  <a:pt x="134" y="41"/>
                  <a:pt x="134" y="41"/>
                </a:cubicBezTo>
                <a:cubicBezTo>
                  <a:pt x="135" y="43"/>
                  <a:pt x="136" y="45"/>
                  <a:pt x="137" y="47"/>
                </a:cubicBezTo>
                <a:cubicBezTo>
                  <a:pt x="131" y="50"/>
                  <a:pt x="131" y="50"/>
                  <a:pt x="131" y="50"/>
                </a:cubicBezTo>
                <a:cubicBezTo>
                  <a:pt x="131" y="50"/>
                  <a:pt x="131" y="50"/>
                  <a:pt x="131" y="50"/>
                </a:cubicBezTo>
                <a:cubicBezTo>
                  <a:pt x="132" y="52"/>
                  <a:pt x="132" y="53"/>
                  <a:pt x="133" y="54"/>
                </a:cubicBezTo>
                <a:cubicBezTo>
                  <a:pt x="133" y="55"/>
                  <a:pt x="133" y="55"/>
                  <a:pt x="133" y="55"/>
                </a:cubicBezTo>
                <a:cubicBezTo>
                  <a:pt x="139" y="54"/>
                  <a:pt x="139" y="54"/>
                  <a:pt x="139" y="54"/>
                </a:cubicBezTo>
                <a:cubicBezTo>
                  <a:pt x="140" y="56"/>
                  <a:pt x="140" y="58"/>
                  <a:pt x="140" y="60"/>
                </a:cubicBezTo>
                <a:cubicBezTo>
                  <a:pt x="134" y="62"/>
                  <a:pt x="134" y="62"/>
                  <a:pt x="134" y="62"/>
                </a:cubicBezTo>
                <a:cubicBezTo>
                  <a:pt x="134" y="62"/>
                  <a:pt x="134" y="62"/>
                  <a:pt x="134" y="62"/>
                </a:cubicBezTo>
                <a:cubicBezTo>
                  <a:pt x="134" y="64"/>
                  <a:pt x="134" y="65"/>
                  <a:pt x="135" y="67"/>
                </a:cubicBezTo>
                <a:cubicBezTo>
                  <a:pt x="135" y="67"/>
                  <a:pt x="135" y="67"/>
                  <a:pt x="135" y="67"/>
                </a:cubicBezTo>
                <a:cubicBezTo>
                  <a:pt x="141" y="68"/>
                  <a:pt x="141" y="68"/>
                  <a:pt x="141" y="68"/>
                </a:cubicBezTo>
                <a:cubicBezTo>
                  <a:pt x="141" y="69"/>
                  <a:pt x="141" y="70"/>
                  <a:pt x="141" y="71"/>
                </a:cubicBezTo>
                <a:cubicBezTo>
                  <a:pt x="141" y="72"/>
                  <a:pt x="141" y="73"/>
                  <a:pt x="141" y="74"/>
                </a:cubicBezTo>
                <a:cubicBezTo>
                  <a:pt x="135" y="75"/>
                  <a:pt x="135" y="75"/>
                  <a:pt x="135" y="75"/>
                </a:cubicBezTo>
                <a:cubicBezTo>
                  <a:pt x="135" y="75"/>
                  <a:pt x="135" y="75"/>
                  <a:pt x="135" y="75"/>
                </a:cubicBezTo>
                <a:cubicBezTo>
                  <a:pt x="134" y="77"/>
                  <a:pt x="134" y="78"/>
                  <a:pt x="134" y="80"/>
                </a:cubicBezTo>
                <a:cubicBezTo>
                  <a:pt x="134" y="80"/>
                  <a:pt x="134" y="80"/>
                  <a:pt x="134" y="80"/>
                </a:cubicBezTo>
                <a:cubicBezTo>
                  <a:pt x="140" y="82"/>
                  <a:pt x="140" y="82"/>
                  <a:pt x="140" y="82"/>
                </a:cubicBezTo>
                <a:cubicBezTo>
                  <a:pt x="140" y="84"/>
                  <a:pt x="140" y="86"/>
                  <a:pt x="139" y="88"/>
                </a:cubicBezTo>
                <a:cubicBezTo>
                  <a:pt x="133" y="87"/>
                  <a:pt x="133" y="87"/>
                  <a:pt x="133" y="87"/>
                </a:cubicBezTo>
                <a:cubicBezTo>
                  <a:pt x="133" y="88"/>
                  <a:pt x="133" y="88"/>
                  <a:pt x="133" y="88"/>
                </a:cubicBezTo>
                <a:cubicBezTo>
                  <a:pt x="132" y="89"/>
                  <a:pt x="132" y="90"/>
                  <a:pt x="131" y="92"/>
                </a:cubicBezTo>
                <a:cubicBezTo>
                  <a:pt x="131" y="92"/>
                  <a:pt x="131" y="92"/>
                  <a:pt x="131" y="92"/>
                </a:cubicBezTo>
                <a:cubicBezTo>
                  <a:pt x="137" y="95"/>
                  <a:pt x="137" y="95"/>
                  <a:pt x="137" y="95"/>
                </a:cubicBezTo>
                <a:cubicBezTo>
                  <a:pt x="136" y="97"/>
                  <a:pt x="135" y="99"/>
                  <a:pt x="134" y="101"/>
                </a:cubicBezTo>
                <a:cubicBezTo>
                  <a:pt x="128" y="99"/>
                  <a:pt x="128" y="99"/>
                  <a:pt x="128" y="99"/>
                </a:cubicBezTo>
                <a:cubicBezTo>
                  <a:pt x="128" y="99"/>
                  <a:pt x="128" y="99"/>
                  <a:pt x="128" y="99"/>
                </a:cubicBezTo>
                <a:cubicBezTo>
                  <a:pt x="128" y="101"/>
                  <a:pt x="127" y="102"/>
                  <a:pt x="126" y="103"/>
                </a:cubicBezTo>
                <a:cubicBezTo>
                  <a:pt x="126" y="104"/>
                  <a:pt x="126" y="104"/>
                  <a:pt x="126" y="104"/>
                </a:cubicBezTo>
                <a:cubicBezTo>
                  <a:pt x="131" y="108"/>
                  <a:pt x="131" y="108"/>
                  <a:pt x="131" y="108"/>
                </a:cubicBezTo>
                <a:cubicBezTo>
                  <a:pt x="130" y="109"/>
                  <a:pt x="129" y="111"/>
                  <a:pt x="127" y="113"/>
                </a:cubicBezTo>
                <a:cubicBezTo>
                  <a:pt x="122" y="110"/>
                  <a:pt x="122" y="110"/>
                  <a:pt x="122" y="110"/>
                </a:cubicBezTo>
                <a:cubicBezTo>
                  <a:pt x="121" y="110"/>
                  <a:pt x="121" y="110"/>
                  <a:pt x="121" y="110"/>
                </a:cubicBezTo>
                <a:cubicBezTo>
                  <a:pt x="121" y="111"/>
                  <a:pt x="120" y="112"/>
                  <a:pt x="119" y="114"/>
                </a:cubicBezTo>
                <a:cubicBezTo>
                  <a:pt x="118" y="114"/>
                  <a:pt x="118" y="114"/>
                  <a:pt x="118" y="114"/>
                </a:cubicBezTo>
                <a:cubicBezTo>
                  <a:pt x="122" y="119"/>
                  <a:pt x="122" y="119"/>
                  <a:pt x="122" y="119"/>
                </a:cubicBezTo>
                <a:cubicBezTo>
                  <a:pt x="121" y="120"/>
                  <a:pt x="120" y="122"/>
                  <a:pt x="118" y="123"/>
                </a:cubicBezTo>
                <a:cubicBezTo>
                  <a:pt x="113" y="119"/>
                  <a:pt x="113" y="119"/>
                  <a:pt x="113" y="119"/>
                </a:cubicBezTo>
                <a:cubicBezTo>
                  <a:pt x="113" y="119"/>
                  <a:pt x="113" y="119"/>
                  <a:pt x="113" y="119"/>
                </a:cubicBezTo>
                <a:cubicBezTo>
                  <a:pt x="112" y="120"/>
                  <a:pt x="111" y="121"/>
                  <a:pt x="109" y="122"/>
                </a:cubicBezTo>
                <a:cubicBezTo>
                  <a:pt x="109" y="122"/>
                  <a:pt x="109" y="122"/>
                  <a:pt x="109" y="122"/>
                </a:cubicBezTo>
                <a:cubicBezTo>
                  <a:pt x="112" y="128"/>
                  <a:pt x="112" y="128"/>
                  <a:pt x="112" y="128"/>
                </a:cubicBezTo>
                <a:cubicBezTo>
                  <a:pt x="111" y="129"/>
                  <a:pt x="109" y="130"/>
                  <a:pt x="107" y="131"/>
                </a:cubicBezTo>
                <a:cubicBezTo>
                  <a:pt x="103" y="126"/>
                  <a:pt x="103" y="126"/>
                  <a:pt x="103" y="126"/>
                </a:cubicBezTo>
                <a:cubicBezTo>
                  <a:pt x="103" y="127"/>
                  <a:pt x="103" y="127"/>
                  <a:pt x="103" y="127"/>
                </a:cubicBezTo>
                <a:cubicBezTo>
                  <a:pt x="101" y="127"/>
                  <a:pt x="100" y="128"/>
                  <a:pt x="99" y="129"/>
                </a:cubicBezTo>
                <a:cubicBezTo>
                  <a:pt x="98" y="129"/>
                  <a:pt x="98" y="129"/>
                  <a:pt x="98" y="129"/>
                </a:cubicBezTo>
                <a:cubicBezTo>
                  <a:pt x="100" y="135"/>
                  <a:pt x="100" y="135"/>
                  <a:pt x="100" y="135"/>
                </a:cubicBezTo>
                <a:cubicBezTo>
                  <a:pt x="98" y="136"/>
                  <a:pt x="96" y="137"/>
                  <a:pt x="95" y="137"/>
                </a:cubicBezTo>
                <a:cubicBezTo>
                  <a:pt x="92" y="132"/>
                  <a:pt x="92" y="132"/>
                  <a:pt x="92" y="132"/>
                </a:cubicBezTo>
                <a:cubicBezTo>
                  <a:pt x="91" y="132"/>
                  <a:pt x="91" y="132"/>
                  <a:pt x="91" y="132"/>
                </a:cubicBezTo>
                <a:cubicBezTo>
                  <a:pt x="90" y="132"/>
                  <a:pt x="88" y="133"/>
                  <a:pt x="87" y="133"/>
                </a:cubicBezTo>
                <a:cubicBezTo>
                  <a:pt x="87" y="133"/>
                  <a:pt x="87" y="133"/>
                  <a:pt x="87" y="133"/>
                </a:cubicBezTo>
                <a:cubicBezTo>
                  <a:pt x="87" y="140"/>
                  <a:pt x="87" y="140"/>
                  <a:pt x="87" y="140"/>
                </a:cubicBezTo>
                <a:cubicBezTo>
                  <a:pt x="85" y="140"/>
                  <a:pt x="83" y="141"/>
                  <a:pt x="81" y="141"/>
                </a:cubicBezTo>
                <a:cubicBezTo>
                  <a:pt x="79" y="135"/>
                  <a:pt x="79" y="135"/>
                  <a:pt x="79" y="135"/>
                </a:cubicBezTo>
                <a:cubicBezTo>
                  <a:pt x="79" y="135"/>
                  <a:pt x="79" y="135"/>
                  <a:pt x="79" y="135"/>
                </a:cubicBezTo>
                <a:cubicBezTo>
                  <a:pt x="77" y="135"/>
                  <a:pt x="76" y="135"/>
                  <a:pt x="74" y="135"/>
                </a:cubicBezTo>
                <a:cubicBezTo>
                  <a:pt x="74" y="135"/>
                  <a:pt x="74" y="135"/>
                  <a:pt x="74" y="135"/>
                </a:cubicBezTo>
                <a:cubicBezTo>
                  <a:pt x="73" y="142"/>
                  <a:pt x="73" y="142"/>
                  <a:pt x="73" y="142"/>
                </a:cubicBezTo>
                <a:cubicBezTo>
                  <a:pt x="72" y="142"/>
                  <a:pt x="71" y="142"/>
                  <a:pt x="70" y="142"/>
                </a:cubicBezTo>
                <a:close/>
              </a:path>
            </a:pathLst>
          </a:custGeom>
          <a:solidFill>
            <a:srgbClr val="AFABAB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223" name="Freeform 23"/>
          <p:cNvSpPr>
            <a:spLocks noEditPoints="1"/>
          </p:cNvSpPr>
          <p:nvPr/>
        </p:nvSpPr>
        <p:spPr bwMode="auto">
          <a:xfrm>
            <a:off x="6837720" y="1717188"/>
            <a:ext cx="382631" cy="383470"/>
          </a:xfrm>
          <a:custGeom>
            <a:avLst/>
            <a:gdLst>
              <a:gd name="T0" fmla="*/ 274 w 274"/>
              <a:gd name="T1" fmla="*/ 155 h 275"/>
              <a:gd name="T2" fmla="*/ 274 w 274"/>
              <a:gd name="T3" fmla="*/ 120 h 275"/>
              <a:gd name="T4" fmla="*/ 247 w 274"/>
              <a:gd name="T5" fmla="*/ 120 h 275"/>
              <a:gd name="T6" fmla="*/ 241 w 274"/>
              <a:gd name="T7" fmla="*/ 97 h 275"/>
              <a:gd name="T8" fmla="*/ 265 w 274"/>
              <a:gd name="T9" fmla="*/ 84 h 275"/>
              <a:gd name="T10" fmla="*/ 247 w 274"/>
              <a:gd name="T11" fmla="*/ 54 h 275"/>
              <a:gd name="T12" fmla="*/ 224 w 274"/>
              <a:gd name="T13" fmla="*/ 67 h 275"/>
              <a:gd name="T14" fmla="*/ 207 w 274"/>
              <a:gd name="T15" fmla="*/ 51 h 275"/>
              <a:gd name="T16" fmla="*/ 221 w 274"/>
              <a:gd name="T17" fmla="*/ 27 h 275"/>
              <a:gd name="T18" fmla="*/ 191 w 274"/>
              <a:gd name="T19" fmla="*/ 10 h 275"/>
              <a:gd name="T20" fmla="*/ 177 w 274"/>
              <a:gd name="T21" fmla="*/ 34 h 275"/>
              <a:gd name="T22" fmla="*/ 154 w 274"/>
              <a:gd name="T23" fmla="*/ 27 h 275"/>
              <a:gd name="T24" fmla="*/ 154 w 274"/>
              <a:gd name="T25" fmla="*/ 0 h 275"/>
              <a:gd name="T26" fmla="*/ 120 w 274"/>
              <a:gd name="T27" fmla="*/ 0 h 275"/>
              <a:gd name="T28" fmla="*/ 120 w 274"/>
              <a:gd name="T29" fmla="*/ 27 h 275"/>
              <a:gd name="T30" fmla="*/ 97 w 274"/>
              <a:gd name="T31" fmla="*/ 34 h 275"/>
              <a:gd name="T32" fmla="*/ 83 w 274"/>
              <a:gd name="T33" fmla="*/ 10 h 275"/>
              <a:gd name="T34" fmla="*/ 54 w 274"/>
              <a:gd name="T35" fmla="*/ 27 h 275"/>
              <a:gd name="T36" fmla="*/ 67 w 274"/>
              <a:gd name="T37" fmla="*/ 51 h 275"/>
              <a:gd name="T38" fmla="*/ 50 w 274"/>
              <a:gd name="T39" fmla="*/ 67 h 275"/>
              <a:gd name="T40" fmla="*/ 27 w 274"/>
              <a:gd name="T41" fmla="*/ 54 h 275"/>
              <a:gd name="T42" fmla="*/ 10 w 274"/>
              <a:gd name="T43" fmla="*/ 84 h 275"/>
              <a:gd name="T44" fmla="*/ 33 w 274"/>
              <a:gd name="T45" fmla="*/ 97 h 275"/>
              <a:gd name="T46" fmla="*/ 27 w 274"/>
              <a:gd name="T47" fmla="*/ 120 h 275"/>
              <a:gd name="T48" fmla="*/ 0 w 274"/>
              <a:gd name="T49" fmla="*/ 120 h 275"/>
              <a:gd name="T50" fmla="*/ 0 w 274"/>
              <a:gd name="T51" fmla="*/ 155 h 275"/>
              <a:gd name="T52" fmla="*/ 27 w 274"/>
              <a:gd name="T53" fmla="*/ 155 h 275"/>
              <a:gd name="T54" fmla="*/ 33 w 274"/>
              <a:gd name="T55" fmla="*/ 178 h 275"/>
              <a:gd name="T56" fmla="*/ 10 w 274"/>
              <a:gd name="T57" fmla="*/ 191 h 275"/>
              <a:gd name="T58" fmla="*/ 27 w 274"/>
              <a:gd name="T59" fmla="*/ 221 h 275"/>
              <a:gd name="T60" fmla="*/ 50 w 274"/>
              <a:gd name="T61" fmla="*/ 207 h 275"/>
              <a:gd name="T62" fmla="*/ 67 w 274"/>
              <a:gd name="T63" fmla="*/ 224 h 275"/>
              <a:gd name="T64" fmla="*/ 54 w 274"/>
              <a:gd name="T65" fmla="*/ 248 h 275"/>
              <a:gd name="T66" fmla="*/ 83 w 274"/>
              <a:gd name="T67" fmla="*/ 265 h 275"/>
              <a:gd name="T68" fmla="*/ 97 w 274"/>
              <a:gd name="T69" fmla="*/ 241 h 275"/>
              <a:gd name="T70" fmla="*/ 120 w 274"/>
              <a:gd name="T71" fmla="*/ 247 h 275"/>
              <a:gd name="T72" fmla="*/ 120 w 274"/>
              <a:gd name="T73" fmla="*/ 275 h 275"/>
              <a:gd name="T74" fmla="*/ 154 w 274"/>
              <a:gd name="T75" fmla="*/ 275 h 275"/>
              <a:gd name="T76" fmla="*/ 154 w 274"/>
              <a:gd name="T77" fmla="*/ 247 h 275"/>
              <a:gd name="T78" fmla="*/ 177 w 274"/>
              <a:gd name="T79" fmla="*/ 241 h 275"/>
              <a:gd name="T80" fmla="*/ 191 w 274"/>
              <a:gd name="T81" fmla="*/ 265 h 275"/>
              <a:gd name="T82" fmla="*/ 221 w 274"/>
              <a:gd name="T83" fmla="*/ 248 h 275"/>
              <a:gd name="T84" fmla="*/ 207 w 274"/>
              <a:gd name="T85" fmla="*/ 224 h 275"/>
              <a:gd name="T86" fmla="*/ 224 w 274"/>
              <a:gd name="T87" fmla="*/ 207 h 275"/>
              <a:gd name="T88" fmla="*/ 247 w 274"/>
              <a:gd name="T89" fmla="*/ 221 h 275"/>
              <a:gd name="T90" fmla="*/ 265 w 274"/>
              <a:gd name="T91" fmla="*/ 191 h 275"/>
              <a:gd name="T92" fmla="*/ 241 w 274"/>
              <a:gd name="T93" fmla="*/ 178 h 275"/>
              <a:gd name="T94" fmla="*/ 247 w 274"/>
              <a:gd name="T95" fmla="*/ 155 h 275"/>
              <a:gd name="T96" fmla="*/ 274 w 274"/>
              <a:gd name="T97" fmla="*/ 155 h 275"/>
              <a:gd name="T98" fmla="*/ 137 w 274"/>
              <a:gd name="T99" fmla="*/ 215 h 275"/>
              <a:gd name="T100" fmla="*/ 60 w 274"/>
              <a:gd name="T101" fmla="*/ 137 h 275"/>
              <a:gd name="T102" fmla="*/ 137 w 274"/>
              <a:gd name="T103" fmla="*/ 60 h 275"/>
              <a:gd name="T104" fmla="*/ 214 w 274"/>
              <a:gd name="T105" fmla="*/ 137 h 275"/>
              <a:gd name="T106" fmla="*/ 137 w 274"/>
              <a:gd name="T107" fmla="*/ 215 h 2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274" h="275">
                <a:moveTo>
                  <a:pt x="274" y="155"/>
                </a:moveTo>
                <a:cubicBezTo>
                  <a:pt x="274" y="120"/>
                  <a:pt x="274" y="120"/>
                  <a:pt x="274" y="120"/>
                </a:cubicBezTo>
                <a:cubicBezTo>
                  <a:pt x="247" y="120"/>
                  <a:pt x="247" y="120"/>
                  <a:pt x="247" y="120"/>
                </a:cubicBezTo>
                <a:cubicBezTo>
                  <a:pt x="246" y="112"/>
                  <a:pt x="244" y="105"/>
                  <a:pt x="241" y="97"/>
                </a:cubicBezTo>
                <a:cubicBezTo>
                  <a:pt x="265" y="84"/>
                  <a:pt x="265" y="84"/>
                  <a:pt x="265" y="84"/>
                </a:cubicBezTo>
                <a:cubicBezTo>
                  <a:pt x="247" y="54"/>
                  <a:pt x="247" y="54"/>
                  <a:pt x="247" y="54"/>
                </a:cubicBezTo>
                <a:cubicBezTo>
                  <a:pt x="224" y="67"/>
                  <a:pt x="224" y="67"/>
                  <a:pt x="224" y="67"/>
                </a:cubicBezTo>
                <a:cubicBezTo>
                  <a:pt x="219" y="61"/>
                  <a:pt x="213" y="56"/>
                  <a:pt x="207" y="51"/>
                </a:cubicBezTo>
                <a:cubicBezTo>
                  <a:pt x="221" y="27"/>
                  <a:pt x="221" y="27"/>
                  <a:pt x="221" y="27"/>
                </a:cubicBezTo>
                <a:cubicBezTo>
                  <a:pt x="191" y="10"/>
                  <a:pt x="191" y="10"/>
                  <a:pt x="191" y="10"/>
                </a:cubicBezTo>
                <a:cubicBezTo>
                  <a:pt x="177" y="34"/>
                  <a:pt x="177" y="34"/>
                  <a:pt x="177" y="34"/>
                </a:cubicBezTo>
                <a:cubicBezTo>
                  <a:pt x="170" y="31"/>
                  <a:pt x="162" y="29"/>
                  <a:pt x="154" y="27"/>
                </a:cubicBezTo>
                <a:cubicBezTo>
                  <a:pt x="154" y="0"/>
                  <a:pt x="154" y="0"/>
                  <a:pt x="154" y="0"/>
                </a:cubicBezTo>
                <a:cubicBezTo>
                  <a:pt x="120" y="0"/>
                  <a:pt x="120" y="0"/>
                  <a:pt x="120" y="0"/>
                </a:cubicBezTo>
                <a:cubicBezTo>
                  <a:pt x="120" y="27"/>
                  <a:pt x="120" y="27"/>
                  <a:pt x="120" y="27"/>
                </a:cubicBezTo>
                <a:cubicBezTo>
                  <a:pt x="112" y="29"/>
                  <a:pt x="104" y="31"/>
                  <a:pt x="97" y="34"/>
                </a:cubicBezTo>
                <a:cubicBezTo>
                  <a:pt x="83" y="10"/>
                  <a:pt x="83" y="10"/>
                  <a:pt x="83" y="10"/>
                </a:cubicBezTo>
                <a:cubicBezTo>
                  <a:pt x="54" y="27"/>
                  <a:pt x="54" y="27"/>
                  <a:pt x="54" y="27"/>
                </a:cubicBezTo>
                <a:cubicBezTo>
                  <a:pt x="67" y="51"/>
                  <a:pt x="67" y="51"/>
                  <a:pt x="67" y="51"/>
                </a:cubicBezTo>
                <a:cubicBezTo>
                  <a:pt x="61" y="56"/>
                  <a:pt x="55" y="61"/>
                  <a:pt x="50" y="67"/>
                </a:cubicBezTo>
                <a:cubicBezTo>
                  <a:pt x="27" y="54"/>
                  <a:pt x="27" y="54"/>
                  <a:pt x="27" y="54"/>
                </a:cubicBezTo>
                <a:cubicBezTo>
                  <a:pt x="10" y="84"/>
                  <a:pt x="10" y="84"/>
                  <a:pt x="10" y="84"/>
                </a:cubicBezTo>
                <a:cubicBezTo>
                  <a:pt x="33" y="97"/>
                  <a:pt x="33" y="97"/>
                  <a:pt x="33" y="97"/>
                </a:cubicBezTo>
                <a:cubicBezTo>
                  <a:pt x="30" y="105"/>
                  <a:pt x="28" y="112"/>
                  <a:pt x="27" y="120"/>
                </a:cubicBezTo>
                <a:cubicBezTo>
                  <a:pt x="0" y="120"/>
                  <a:pt x="0" y="120"/>
                  <a:pt x="0" y="120"/>
                </a:cubicBezTo>
                <a:cubicBezTo>
                  <a:pt x="0" y="155"/>
                  <a:pt x="0" y="155"/>
                  <a:pt x="0" y="155"/>
                </a:cubicBezTo>
                <a:cubicBezTo>
                  <a:pt x="27" y="155"/>
                  <a:pt x="27" y="155"/>
                  <a:pt x="27" y="155"/>
                </a:cubicBezTo>
                <a:cubicBezTo>
                  <a:pt x="28" y="163"/>
                  <a:pt x="30" y="170"/>
                  <a:pt x="33" y="178"/>
                </a:cubicBezTo>
                <a:cubicBezTo>
                  <a:pt x="10" y="191"/>
                  <a:pt x="10" y="191"/>
                  <a:pt x="10" y="191"/>
                </a:cubicBezTo>
                <a:cubicBezTo>
                  <a:pt x="27" y="221"/>
                  <a:pt x="27" y="221"/>
                  <a:pt x="27" y="221"/>
                </a:cubicBezTo>
                <a:cubicBezTo>
                  <a:pt x="50" y="207"/>
                  <a:pt x="50" y="207"/>
                  <a:pt x="50" y="207"/>
                </a:cubicBezTo>
                <a:cubicBezTo>
                  <a:pt x="55" y="214"/>
                  <a:pt x="61" y="219"/>
                  <a:pt x="67" y="224"/>
                </a:cubicBezTo>
                <a:cubicBezTo>
                  <a:pt x="54" y="248"/>
                  <a:pt x="54" y="248"/>
                  <a:pt x="54" y="248"/>
                </a:cubicBezTo>
                <a:cubicBezTo>
                  <a:pt x="83" y="265"/>
                  <a:pt x="83" y="265"/>
                  <a:pt x="83" y="265"/>
                </a:cubicBezTo>
                <a:cubicBezTo>
                  <a:pt x="97" y="241"/>
                  <a:pt x="97" y="241"/>
                  <a:pt x="97" y="241"/>
                </a:cubicBezTo>
                <a:cubicBezTo>
                  <a:pt x="104" y="244"/>
                  <a:pt x="112" y="246"/>
                  <a:pt x="120" y="247"/>
                </a:cubicBezTo>
                <a:cubicBezTo>
                  <a:pt x="120" y="275"/>
                  <a:pt x="120" y="275"/>
                  <a:pt x="120" y="275"/>
                </a:cubicBezTo>
                <a:cubicBezTo>
                  <a:pt x="154" y="275"/>
                  <a:pt x="154" y="275"/>
                  <a:pt x="154" y="275"/>
                </a:cubicBezTo>
                <a:cubicBezTo>
                  <a:pt x="154" y="247"/>
                  <a:pt x="154" y="247"/>
                  <a:pt x="154" y="247"/>
                </a:cubicBezTo>
                <a:cubicBezTo>
                  <a:pt x="162" y="246"/>
                  <a:pt x="170" y="244"/>
                  <a:pt x="177" y="241"/>
                </a:cubicBezTo>
                <a:cubicBezTo>
                  <a:pt x="191" y="265"/>
                  <a:pt x="191" y="265"/>
                  <a:pt x="191" y="265"/>
                </a:cubicBezTo>
                <a:cubicBezTo>
                  <a:pt x="221" y="248"/>
                  <a:pt x="221" y="248"/>
                  <a:pt x="221" y="248"/>
                </a:cubicBezTo>
                <a:cubicBezTo>
                  <a:pt x="207" y="224"/>
                  <a:pt x="207" y="224"/>
                  <a:pt x="207" y="224"/>
                </a:cubicBezTo>
                <a:cubicBezTo>
                  <a:pt x="213" y="219"/>
                  <a:pt x="219" y="214"/>
                  <a:pt x="224" y="207"/>
                </a:cubicBezTo>
                <a:cubicBezTo>
                  <a:pt x="247" y="221"/>
                  <a:pt x="247" y="221"/>
                  <a:pt x="247" y="221"/>
                </a:cubicBezTo>
                <a:cubicBezTo>
                  <a:pt x="265" y="191"/>
                  <a:pt x="265" y="191"/>
                  <a:pt x="265" y="191"/>
                </a:cubicBezTo>
                <a:cubicBezTo>
                  <a:pt x="241" y="178"/>
                  <a:pt x="241" y="178"/>
                  <a:pt x="241" y="178"/>
                </a:cubicBezTo>
                <a:cubicBezTo>
                  <a:pt x="244" y="170"/>
                  <a:pt x="246" y="163"/>
                  <a:pt x="247" y="155"/>
                </a:cubicBezTo>
                <a:cubicBezTo>
                  <a:pt x="274" y="155"/>
                  <a:pt x="274" y="155"/>
                  <a:pt x="274" y="155"/>
                </a:cubicBezTo>
                <a:close/>
                <a:moveTo>
                  <a:pt x="137" y="215"/>
                </a:moveTo>
                <a:cubicBezTo>
                  <a:pt x="95" y="215"/>
                  <a:pt x="60" y="180"/>
                  <a:pt x="60" y="137"/>
                </a:cubicBezTo>
                <a:cubicBezTo>
                  <a:pt x="60" y="95"/>
                  <a:pt x="95" y="60"/>
                  <a:pt x="137" y="60"/>
                </a:cubicBezTo>
                <a:cubicBezTo>
                  <a:pt x="180" y="60"/>
                  <a:pt x="214" y="95"/>
                  <a:pt x="214" y="137"/>
                </a:cubicBezTo>
                <a:cubicBezTo>
                  <a:pt x="214" y="180"/>
                  <a:pt x="180" y="215"/>
                  <a:pt x="137" y="215"/>
                </a:cubicBezTo>
                <a:close/>
              </a:path>
            </a:pathLst>
          </a:custGeom>
          <a:solidFill>
            <a:srgbClr val="AFABAB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224" name="Freeform 23"/>
          <p:cNvSpPr>
            <a:spLocks noEditPoints="1"/>
          </p:cNvSpPr>
          <p:nvPr/>
        </p:nvSpPr>
        <p:spPr bwMode="auto">
          <a:xfrm>
            <a:off x="4909955" y="1717188"/>
            <a:ext cx="382631" cy="383470"/>
          </a:xfrm>
          <a:custGeom>
            <a:avLst/>
            <a:gdLst>
              <a:gd name="T0" fmla="*/ 274 w 274"/>
              <a:gd name="T1" fmla="*/ 155 h 275"/>
              <a:gd name="T2" fmla="*/ 274 w 274"/>
              <a:gd name="T3" fmla="*/ 120 h 275"/>
              <a:gd name="T4" fmla="*/ 247 w 274"/>
              <a:gd name="T5" fmla="*/ 120 h 275"/>
              <a:gd name="T6" fmla="*/ 241 w 274"/>
              <a:gd name="T7" fmla="*/ 97 h 275"/>
              <a:gd name="T8" fmla="*/ 265 w 274"/>
              <a:gd name="T9" fmla="*/ 84 h 275"/>
              <a:gd name="T10" fmla="*/ 247 w 274"/>
              <a:gd name="T11" fmla="*/ 54 h 275"/>
              <a:gd name="T12" fmla="*/ 224 w 274"/>
              <a:gd name="T13" fmla="*/ 67 h 275"/>
              <a:gd name="T14" fmla="*/ 207 w 274"/>
              <a:gd name="T15" fmla="*/ 51 h 275"/>
              <a:gd name="T16" fmla="*/ 221 w 274"/>
              <a:gd name="T17" fmla="*/ 27 h 275"/>
              <a:gd name="T18" fmla="*/ 191 w 274"/>
              <a:gd name="T19" fmla="*/ 10 h 275"/>
              <a:gd name="T20" fmla="*/ 177 w 274"/>
              <a:gd name="T21" fmla="*/ 34 h 275"/>
              <a:gd name="T22" fmla="*/ 154 w 274"/>
              <a:gd name="T23" fmla="*/ 27 h 275"/>
              <a:gd name="T24" fmla="*/ 154 w 274"/>
              <a:gd name="T25" fmla="*/ 0 h 275"/>
              <a:gd name="T26" fmla="*/ 120 w 274"/>
              <a:gd name="T27" fmla="*/ 0 h 275"/>
              <a:gd name="T28" fmla="*/ 120 w 274"/>
              <a:gd name="T29" fmla="*/ 27 h 275"/>
              <a:gd name="T30" fmla="*/ 97 w 274"/>
              <a:gd name="T31" fmla="*/ 34 h 275"/>
              <a:gd name="T32" fmla="*/ 83 w 274"/>
              <a:gd name="T33" fmla="*/ 10 h 275"/>
              <a:gd name="T34" fmla="*/ 54 w 274"/>
              <a:gd name="T35" fmla="*/ 27 h 275"/>
              <a:gd name="T36" fmla="*/ 67 w 274"/>
              <a:gd name="T37" fmla="*/ 51 h 275"/>
              <a:gd name="T38" fmla="*/ 50 w 274"/>
              <a:gd name="T39" fmla="*/ 67 h 275"/>
              <a:gd name="T40" fmla="*/ 27 w 274"/>
              <a:gd name="T41" fmla="*/ 54 h 275"/>
              <a:gd name="T42" fmla="*/ 10 w 274"/>
              <a:gd name="T43" fmla="*/ 84 h 275"/>
              <a:gd name="T44" fmla="*/ 33 w 274"/>
              <a:gd name="T45" fmla="*/ 97 h 275"/>
              <a:gd name="T46" fmla="*/ 27 w 274"/>
              <a:gd name="T47" fmla="*/ 120 h 275"/>
              <a:gd name="T48" fmla="*/ 0 w 274"/>
              <a:gd name="T49" fmla="*/ 120 h 275"/>
              <a:gd name="T50" fmla="*/ 0 w 274"/>
              <a:gd name="T51" fmla="*/ 155 h 275"/>
              <a:gd name="T52" fmla="*/ 27 w 274"/>
              <a:gd name="T53" fmla="*/ 155 h 275"/>
              <a:gd name="T54" fmla="*/ 33 w 274"/>
              <a:gd name="T55" fmla="*/ 178 h 275"/>
              <a:gd name="T56" fmla="*/ 10 w 274"/>
              <a:gd name="T57" fmla="*/ 191 h 275"/>
              <a:gd name="T58" fmla="*/ 27 w 274"/>
              <a:gd name="T59" fmla="*/ 221 h 275"/>
              <a:gd name="T60" fmla="*/ 50 w 274"/>
              <a:gd name="T61" fmla="*/ 207 h 275"/>
              <a:gd name="T62" fmla="*/ 67 w 274"/>
              <a:gd name="T63" fmla="*/ 224 h 275"/>
              <a:gd name="T64" fmla="*/ 54 w 274"/>
              <a:gd name="T65" fmla="*/ 248 h 275"/>
              <a:gd name="T66" fmla="*/ 83 w 274"/>
              <a:gd name="T67" fmla="*/ 265 h 275"/>
              <a:gd name="T68" fmla="*/ 97 w 274"/>
              <a:gd name="T69" fmla="*/ 241 h 275"/>
              <a:gd name="T70" fmla="*/ 120 w 274"/>
              <a:gd name="T71" fmla="*/ 247 h 275"/>
              <a:gd name="T72" fmla="*/ 120 w 274"/>
              <a:gd name="T73" fmla="*/ 275 h 275"/>
              <a:gd name="T74" fmla="*/ 154 w 274"/>
              <a:gd name="T75" fmla="*/ 275 h 275"/>
              <a:gd name="T76" fmla="*/ 154 w 274"/>
              <a:gd name="T77" fmla="*/ 247 h 275"/>
              <a:gd name="T78" fmla="*/ 177 w 274"/>
              <a:gd name="T79" fmla="*/ 241 h 275"/>
              <a:gd name="T80" fmla="*/ 191 w 274"/>
              <a:gd name="T81" fmla="*/ 265 h 275"/>
              <a:gd name="T82" fmla="*/ 221 w 274"/>
              <a:gd name="T83" fmla="*/ 248 h 275"/>
              <a:gd name="T84" fmla="*/ 207 w 274"/>
              <a:gd name="T85" fmla="*/ 224 h 275"/>
              <a:gd name="T86" fmla="*/ 224 w 274"/>
              <a:gd name="T87" fmla="*/ 207 h 275"/>
              <a:gd name="T88" fmla="*/ 247 w 274"/>
              <a:gd name="T89" fmla="*/ 221 h 275"/>
              <a:gd name="T90" fmla="*/ 265 w 274"/>
              <a:gd name="T91" fmla="*/ 191 h 275"/>
              <a:gd name="T92" fmla="*/ 241 w 274"/>
              <a:gd name="T93" fmla="*/ 178 h 275"/>
              <a:gd name="T94" fmla="*/ 247 w 274"/>
              <a:gd name="T95" fmla="*/ 155 h 275"/>
              <a:gd name="T96" fmla="*/ 274 w 274"/>
              <a:gd name="T97" fmla="*/ 155 h 275"/>
              <a:gd name="T98" fmla="*/ 137 w 274"/>
              <a:gd name="T99" fmla="*/ 215 h 275"/>
              <a:gd name="T100" fmla="*/ 60 w 274"/>
              <a:gd name="T101" fmla="*/ 137 h 275"/>
              <a:gd name="T102" fmla="*/ 137 w 274"/>
              <a:gd name="T103" fmla="*/ 60 h 275"/>
              <a:gd name="T104" fmla="*/ 214 w 274"/>
              <a:gd name="T105" fmla="*/ 137 h 275"/>
              <a:gd name="T106" fmla="*/ 137 w 274"/>
              <a:gd name="T107" fmla="*/ 215 h 2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274" h="275">
                <a:moveTo>
                  <a:pt x="274" y="155"/>
                </a:moveTo>
                <a:cubicBezTo>
                  <a:pt x="274" y="120"/>
                  <a:pt x="274" y="120"/>
                  <a:pt x="274" y="120"/>
                </a:cubicBezTo>
                <a:cubicBezTo>
                  <a:pt x="247" y="120"/>
                  <a:pt x="247" y="120"/>
                  <a:pt x="247" y="120"/>
                </a:cubicBezTo>
                <a:cubicBezTo>
                  <a:pt x="246" y="112"/>
                  <a:pt x="244" y="105"/>
                  <a:pt x="241" y="97"/>
                </a:cubicBezTo>
                <a:cubicBezTo>
                  <a:pt x="265" y="84"/>
                  <a:pt x="265" y="84"/>
                  <a:pt x="265" y="84"/>
                </a:cubicBezTo>
                <a:cubicBezTo>
                  <a:pt x="247" y="54"/>
                  <a:pt x="247" y="54"/>
                  <a:pt x="247" y="54"/>
                </a:cubicBezTo>
                <a:cubicBezTo>
                  <a:pt x="224" y="67"/>
                  <a:pt x="224" y="67"/>
                  <a:pt x="224" y="67"/>
                </a:cubicBezTo>
                <a:cubicBezTo>
                  <a:pt x="219" y="61"/>
                  <a:pt x="213" y="56"/>
                  <a:pt x="207" y="51"/>
                </a:cubicBezTo>
                <a:cubicBezTo>
                  <a:pt x="221" y="27"/>
                  <a:pt x="221" y="27"/>
                  <a:pt x="221" y="27"/>
                </a:cubicBezTo>
                <a:cubicBezTo>
                  <a:pt x="191" y="10"/>
                  <a:pt x="191" y="10"/>
                  <a:pt x="191" y="10"/>
                </a:cubicBezTo>
                <a:cubicBezTo>
                  <a:pt x="177" y="34"/>
                  <a:pt x="177" y="34"/>
                  <a:pt x="177" y="34"/>
                </a:cubicBezTo>
                <a:cubicBezTo>
                  <a:pt x="170" y="31"/>
                  <a:pt x="162" y="29"/>
                  <a:pt x="154" y="27"/>
                </a:cubicBezTo>
                <a:cubicBezTo>
                  <a:pt x="154" y="0"/>
                  <a:pt x="154" y="0"/>
                  <a:pt x="154" y="0"/>
                </a:cubicBezTo>
                <a:cubicBezTo>
                  <a:pt x="120" y="0"/>
                  <a:pt x="120" y="0"/>
                  <a:pt x="120" y="0"/>
                </a:cubicBezTo>
                <a:cubicBezTo>
                  <a:pt x="120" y="27"/>
                  <a:pt x="120" y="27"/>
                  <a:pt x="120" y="27"/>
                </a:cubicBezTo>
                <a:cubicBezTo>
                  <a:pt x="112" y="29"/>
                  <a:pt x="104" y="31"/>
                  <a:pt x="97" y="34"/>
                </a:cubicBezTo>
                <a:cubicBezTo>
                  <a:pt x="83" y="10"/>
                  <a:pt x="83" y="10"/>
                  <a:pt x="83" y="10"/>
                </a:cubicBezTo>
                <a:cubicBezTo>
                  <a:pt x="54" y="27"/>
                  <a:pt x="54" y="27"/>
                  <a:pt x="54" y="27"/>
                </a:cubicBezTo>
                <a:cubicBezTo>
                  <a:pt x="67" y="51"/>
                  <a:pt x="67" y="51"/>
                  <a:pt x="67" y="51"/>
                </a:cubicBezTo>
                <a:cubicBezTo>
                  <a:pt x="61" y="56"/>
                  <a:pt x="55" y="61"/>
                  <a:pt x="50" y="67"/>
                </a:cubicBezTo>
                <a:cubicBezTo>
                  <a:pt x="27" y="54"/>
                  <a:pt x="27" y="54"/>
                  <a:pt x="27" y="54"/>
                </a:cubicBezTo>
                <a:cubicBezTo>
                  <a:pt x="10" y="84"/>
                  <a:pt x="10" y="84"/>
                  <a:pt x="10" y="84"/>
                </a:cubicBezTo>
                <a:cubicBezTo>
                  <a:pt x="33" y="97"/>
                  <a:pt x="33" y="97"/>
                  <a:pt x="33" y="97"/>
                </a:cubicBezTo>
                <a:cubicBezTo>
                  <a:pt x="30" y="105"/>
                  <a:pt x="28" y="112"/>
                  <a:pt x="27" y="120"/>
                </a:cubicBezTo>
                <a:cubicBezTo>
                  <a:pt x="0" y="120"/>
                  <a:pt x="0" y="120"/>
                  <a:pt x="0" y="120"/>
                </a:cubicBezTo>
                <a:cubicBezTo>
                  <a:pt x="0" y="155"/>
                  <a:pt x="0" y="155"/>
                  <a:pt x="0" y="155"/>
                </a:cubicBezTo>
                <a:cubicBezTo>
                  <a:pt x="27" y="155"/>
                  <a:pt x="27" y="155"/>
                  <a:pt x="27" y="155"/>
                </a:cubicBezTo>
                <a:cubicBezTo>
                  <a:pt x="28" y="163"/>
                  <a:pt x="30" y="170"/>
                  <a:pt x="33" y="178"/>
                </a:cubicBezTo>
                <a:cubicBezTo>
                  <a:pt x="10" y="191"/>
                  <a:pt x="10" y="191"/>
                  <a:pt x="10" y="191"/>
                </a:cubicBezTo>
                <a:cubicBezTo>
                  <a:pt x="27" y="221"/>
                  <a:pt x="27" y="221"/>
                  <a:pt x="27" y="221"/>
                </a:cubicBezTo>
                <a:cubicBezTo>
                  <a:pt x="50" y="207"/>
                  <a:pt x="50" y="207"/>
                  <a:pt x="50" y="207"/>
                </a:cubicBezTo>
                <a:cubicBezTo>
                  <a:pt x="55" y="214"/>
                  <a:pt x="61" y="219"/>
                  <a:pt x="67" y="224"/>
                </a:cubicBezTo>
                <a:cubicBezTo>
                  <a:pt x="54" y="248"/>
                  <a:pt x="54" y="248"/>
                  <a:pt x="54" y="248"/>
                </a:cubicBezTo>
                <a:cubicBezTo>
                  <a:pt x="83" y="265"/>
                  <a:pt x="83" y="265"/>
                  <a:pt x="83" y="265"/>
                </a:cubicBezTo>
                <a:cubicBezTo>
                  <a:pt x="97" y="241"/>
                  <a:pt x="97" y="241"/>
                  <a:pt x="97" y="241"/>
                </a:cubicBezTo>
                <a:cubicBezTo>
                  <a:pt x="104" y="244"/>
                  <a:pt x="112" y="246"/>
                  <a:pt x="120" y="247"/>
                </a:cubicBezTo>
                <a:cubicBezTo>
                  <a:pt x="120" y="275"/>
                  <a:pt x="120" y="275"/>
                  <a:pt x="120" y="275"/>
                </a:cubicBezTo>
                <a:cubicBezTo>
                  <a:pt x="154" y="275"/>
                  <a:pt x="154" y="275"/>
                  <a:pt x="154" y="275"/>
                </a:cubicBezTo>
                <a:cubicBezTo>
                  <a:pt x="154" y="247"/>
                  <a:pt x="154" y="247"/>
                  <a:pt x="154" y="247"/>
                </a:cubicBezTo>
                <a:cubicBezTo>
                  <a:pt x="162" y="246"/>
                  <a:pt x="170" y="244"/>
                  <a:pt x="177" y="241"/>
                </a:cubicBezTo>
                <a:cubicBezTo>
                  <a:pt x="191" y="265"/>
                  <a:pt x="191" y="265"/>
                  <a:pt x="191" y="265"/>
                </a:cubicBezTo>
                <a:cubicBezTo>
                  <a:pt x="221" y="248"/>
                  <a:pt x="221" y="248"/>
                  <a:pt x="221" y="248"/>
                </a:cubicBezTo>
                <a:cubicBezTo>
                  <a:pt x="207" y="224"/>
                  <a:pt x="207" y="224"/>
                  <a:pt x="207" y="224"/>
                </a:cubicBezTo>
                <a:cubicBezTo>
                  <a:pt x="213" y="219"/>
                  <a:pt x="219" y="214"/>
                  <a:pt x="224" y="207"/>
                </a:cubicBezTo>
                <a:cubicBezTo>
                  <a:pt x="247" y="221"/>
                  <a:pt x="247" y="221"/>
                  <a:pt x="247" y="221"/>
                </a:cubicBezTo>
                <a:cubicBezTo>
                  <a:pt x="265" y="191"/>
                  <a:pt x="265" y="191"/>
                  <a:pt x="265" y="191"/>
                </a:cubicBezTo>
                <a:cubicBezTo>
                  <a:pt x="241" y="178"/>
                  <a:pt x="241" y="178"/>
                  <a:pt x="241" y="178"/>
                </a:cubicBezTo>
                <a:cubicBezTo>
                  <a:pt x="244" y="170"/>
                  <a:pt x="246" y="163"/>
                  <a:pt x="247" y="155"/>
                </a:cubicBezTo>
                <a:cubicBezTo>
                  <a:pt x="274" y="155"/>
                  <a:pt x="274" y="155"/>
                  <a:pt x="274" y="155"/>
                </a:cubicBezTo>
                <a:close/>
                <a:moveTo>
                  <a:pt x="137" y="215"/>
                </a:moveTo>
                <a:cubicBezTo>
                  <a:pt x="95" y="215"/>
                  <a:pt x="60" y="180"/>
                  <a:pt x="60" y="137"/>
                </a:cubicBezTo>
                <a:cubicBezTo>
                  <a:pt x="60" y="95"/>
                  <a:pt x="95" y="60"/>
                  <a:pt x="137" y="60"/>
                </a:cubicBezTo>
                <a:cubicBezTo>
                  <a:pt x="180" y="60"/>
                  <a:pt x="214" y="95"/>
                  <a:pt x="214" y="137"/>
                </a:cubicBezTo>
                <a:cubicBezTo>
                  <a:pt x="214" y="180"/>
                  <a:pt x="180" y="215"/>
                  <a:pt x="137" y="215"/>
                </a:cubicBezTo>
                <a:close/>
              </a:path>
            </a:pathLst>
          </a:custGeom>
          <a:solidFill>
            <a:srgbClr val="AFABAB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225" name="Freeform 23"/>
          <p:cNvSpPr>
            <a:spLocks noEditPoints="1"/>
          </p:cNvSpPr>
          <p:nvPr/>
        </p:nvSpPr>
        <p:spPr bwMode="auto">
          <a:xfrm>
            <a:off x="5432435" y="2689814"/>
            <a:ext cx="802185" cy="803946"/>
          </a:xfrm>
          <a:custGeom>
            <a:avLst/>
            <a:gdLst>
              <a:gd name="T0" fmla="*/ 274 w 274"/>
              <a:gd name="T1" fmla="*/ 155 h 275"/>
              <a:gd name="T2" fmla="*/ 274 w 274"/>
              <a:gd name="T3" fmla="*/ 120 h 275"/>
              <a:gd name="T4" fmla="*/ 247 w 274"/>
              <a:gd name="T5" fmla="*/ 120 h 275"/>
              <a:gd name="T6" fmla="*/ 241 w 274"/>
              <a:gd name="T7" fmla="*/ 97 h 275"/>
              <a:gd name="T8" fmla="*/ 265 w 274"/>
              <a:gd name="T9" fmla="*/ 84 h 275"/>
              <a:gd name="T10" fmla="*/ 247 w 274"/>
              <a:gd name="T11" fmla="*/ 54 h 275"/>
              <a:gd name="T12" fmla="*/ 224 w 274"/>
              <a:gd name="T13" fmla="*/ 67 h 275"/>
              <a:gd name="T14" fmla="*/ 207 w 274"/>
              <a:gd name="T15" fmla="*/ 51 h 275"/>
              <a:gd name="T16" fmla="*/ 221 w 274"/>
              <a:gd name="T17" fmla="*/ 27 h 275"/>
              <a:gd name="T18" fmla="*/ 191 w 274"/>
              <a:gd name="T19" fmla="*/ 10 h 275"/>
              <a:gd name="T20" fmla="*/ 177 w 274"/>
              <a:gd name="T21" fmla="*/ 34 h 275"/>
              <a:gd name="T22" fmla="*/ 154 w 274"/>
              <a:gd name="T23" fmla="*/ 27 h 275"/>
              <a:gd name="T24" fmla="*/ 154 w 274"/>
              <a:gd name="T25" fmla="*/ 0 h 275"/>
              <a:gd name="T26" fmla="*/ 120 w 274"/>
              <a:gd name="T27" fmla="*/ 0 h 275"/>
              <a:gd name="T28" fmla="*/ 120 w 274"/>
              <a:gd name="T29" fmla="*/ 27 h 275"/>
              <a:gd name="T30" fmla="*/ 97 w 274"/>
              <a:gd name="T31" fmla="*/ 34 h 275"/>
              <a:gd name="T32" fmla="*/ 83 w 274"/>
              <a:gd name="T33" fmla="*/ 10 h 275"/>
              <a:gd name="T34" fmla="*/ 54 w 274"/>
              <a:gd name="T35" fmla="*/ 27 h 275"/>
              <a:gd name="T36" fmla="*/ 67 w 274"/>
              <a:gd name="T37" fmla="*/ 51 h 275"/>
              <a:gd name="T38" fmla="*/ 50 w 274"/>
              <a:gd name="T39" fmla="*/ 67 h 275"/>
              <a:gd name="T40" fmla="*/ 27 w 274"/>
              <a:gd name="T41" fmla="*/ 54 h 275"/>
              <a:gd name="T42" fmla="*/ 10 w 274"/>
              <a:gd name="T43" fmla="*/ 84 h 275"/>
              <a:gd name="T44" fmla="*/ 33 w 274"/>
              <a:gd name="T45" fmla="*/ 97 h 275"/>
              <a:gd name="T46" fmla="*/ 27 w 274"/>
              <a:gd name="T47" fmla="*/ 120 h 275"/>
              <a:gd name="T48" fmla="*/ 0 w 274"/>
              <a:gd name="T49" fmla="*/ 120 h 275"/>
              <a:gd name="T50" fmla="*/ 0 w 274"/>
              <a:gd name="T51" fmla="*/ 155 h 275"/>
              <a:gd name="T52" fmla="*/ 27 w 274"/>
              <a:gd name="T53" fmla="*/ 155 h 275"/>
              <a:gd name="T54" fmla="*/ 33 w 274"/>
              <a:gd name="T55" fmla="*/ 178 h 275"/>
              <a:gd name="T56" fmla="*/ 10 w 274"/>
              <a:gd name="T57" fmla="*/ 191 h 275"/>
              <a:gd name="T58" fmla="*/ 27 w 274"/>
              <a:gd name="T59" fmla="*/ 221 h 275"/>
              <a:gd name="T60" fmla="*/ 50 w 274"/>
              <a:gd name="T61" fmla="*/ 207 h 275"/>
              <a:gd name="T62" fmla="*/ 67 w 274"/>
              <a:gd name="T63" fmla="*/ 224 h 275"/>
              <a:gd name="T64" fmla="*/ 54 w 274"/>
              <a:gd name="T65" fmla="*/ 248 h 275"/>
              <a:gd name="T66" fmla="*/ 83 w 274"/>
              <a:gd name="T67" fmla="*/ 265 h 275"/>
              <a:gd name="T68" fmla="*/ 97 w 274"/>
              <a:gd name="T69" fmla="*/ 241 h 275"/>
              <a:gd name="T70" fmla="*/ 120 w 274"/>
              <a:gd name="T71" fmla="*/ 247 h 275"/>
              <a:gd name="T72" fmla="*/ 120 w 274"/>
              <a:gd name="T73" fmla="*/ 275 h 275"/>
              <a:gd name="T74" fmla="*/ 154 w 274"/>
              <a:gd name="T75" fmla="*/ 275 h 275"/>
              <a:gd name="T76" fmla="*/ 154 w 274"/>
              <a:gd name="T77" fmla="*/ 247 h 275"/>
              <a:gd name="T78" fmla="*/ 177 w 274"/>
              <a:gd name="T79" fmla="*/ 241 h 275"/>
              <a:gd name="T80" fmla="*/ 191 w 274"/>
              <a:gd name="T81" fmla="*/ 265 h 275"/>
              <a:gd name="T82" fmla="*/ 221 w 274"/>
              <a:gd name="T83" fmla="*/ 248 h 275"/>
              <a:gd name="T84" fmla="*/ 207 w 274"/>
              <a:gd name="T85" fmla="*/ 224 h 275"/>
              <a:gd name="T86" fmla="*/ 224 w 274"/>
              <a:gd name="T87" fmla="*/ 207 h 275"/>
              <a:gd name="T88" fmla="*/ 247 w 274"/>
              <a:gd name="T89" fmla="*/ 221 h 275"/>
              <a:gd name="T90" fmla="*/ 265 w 274"/>
              <a:gd name="T91" fmla="*/ 191 h 275"/>
              <a:gd name="T92" fmla="*/ 241 w 274"/>
              <a:gd name="T93" fmla="*/ 178 h 275"/>
              <a:gd name="T94" fmla="*/ 247 w 274"/>
              <a:gd name="T95" fmla="*/ 155 h 275"/>
              <a:gd name="T96" fmla="*/ 274 w 274"/>
              <a:gd name="T97" fmla="*/ 155 h 275"/>
              <a:gd name="T98" fmla="*/ 137 w 274"/>
              <a:gd name="T99" fmla="*/ 215 h 275"/>
              <a:gd name="T100" fmla="*/ 60 w 274"/>
              <a:gd name="T101" fmla="*/ 137 h 275"/>
              <a:gd name="T102" fmla="*/ 137 w 274"/>
              <a:gd name="T103" fmla="*/ 60 h 275"/>
              <a:gd name="T104" fmla="*/ 214 w 274"/>
              <a:gd name="T105" fmla="*/ 137 h 275"/>
              <a:gd name="T106" fmla="*/ 137 w 274"/>
              <a:gd name="T107" fmla="*/ 215 h 2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274" h="275">
                <a:moveTo>
                  <a:pt x="274" y="155"/>
                </a:moveTo>
                <a:cubicBezTo>
                  <a:pt x="274" y="120"/>
                  <a:pt x="274" y="120"/>
                  <a:pt x="274" y="120"/>
                </a:cubicBezTo>
                <a:cubicBezTo>
                  <a:pt x="247" y="120"/>
                  <a:pt x="247" y="120"/>
                  <a:pt x="247" y="120"/>
                </a:cubicBezTo>
                <a:cubicBezTo>
                  <a:pt x="246" y="112"/>
                  <a:pt x="244" y="105"/>
                  <a:pt x="241" y="97"/>
                </a:cubicBezTo>
                <a:cubicBezTo>
                  <a:pt x="265" y="84"/>
                  <a:pt x="265" y="84"/>
                  <a:pt x="265" y="84"/>
                </a:cubicBezTo>
                <a:cubicBezTo>
                  <a:pt x="247" y="54"/>
                  <a:pt x="247" y="54"/>
                  <a:pt x="247" y="54"/>
                </a:cubicBezTo>
                <a:cubicBezTo>
                  <a:pt x="224" y="67"/>
                  <a:pt x="224" y="67"/>
                  <a:pt x="224" y="67"/>
                </a:cubicBezTo>
                <a:cubicBezTo>
                  <a:pt x="219" y="61"/>
                  <a:pt x="213" y="56"/>
                  <a:pt x="207" y="51"/>
                </a:cubicBezTo>
                <a:cubicBezTo>
                  <a:pt x="221" y="27"/>
                  <a:pt x="221" y="27"/>
                  <a:pt x="221" y="27"/>
                </a:cubicBezTo>
                <a:cubicBezTo>
                  <a:pt x="191" y="10"/>
                  <a:pt x="191" y="10"/>
                  <a:pt x="191" y="10"/>
                </a:cubicBezTo>
                <a:cubicBezTo>
                  <a:pt x="177" y="34"/>
                  <a:pt x="177" y="34"/>
                  <a:pt x="177" y="34"/>
                </a:cubicBezTo>
                <a:cubicBezTo>
                  <a:pt x="170" y="31"/>
                  <a:pt x="162" y="29"/>
                  <a:pt x="154" y="27"/>
                </a:cubicBezTo>
                <a:cubicBezTo>
                  <a:pt x="154" y="0"/>
                  <a:pt x="154" y="0"/>
                  <a:pt x="154" y="0"/>
                </a:cubicBezTo>
                <a:cubicBezTo>
                  <a:pt x="120" y="0"/>
                  <a:pt x="120" y="0"/>
                  <a:pt x="120" y="0"/>
                </a:cubicBezTo>
                <a:cubicBezTo>
                  <a:pt x="120" y="27"/>
                  <a:pt x="120" y="27"/>
                  <a:pt x="120" y="27"/>
                </a:cubicBezTo>
                <a:cubicBezTo>
                  <a:pt x="112" y="29"/>
                  <a:pt x="104" y="31"/>
                  <a:pt x="97" y="34"/>
                </a:cubicBezTo>
                <a:cubicBezTo>
                  <a:pt x="83" y="10"/>
                  <a:pt x="83" y="10"/>
                  <a:pt x="83" y="10"/>
                </a:cubicBezTo>
                <a:cubicBezTo>
                  <a:pt x="54" y="27"/>
                  <a:pt x="54" y="27"/>
                  <a:pt x="54" y="27"/>
                </a:cubicBezTo>
                <a:cubicBezTo>
                  <a:pt x="67" y="51"/>
                  <a:pt x="67" y="51"/>
                  <a:pt x="67" y="51"/>
                </a:cubicBezTo>
                <a:cubicBezTo>
                  <a:pt x="61" y="56"/>
                  <a:pt x="55" y="61"/>
                  <a:pt x="50" y="67"/>
                </a:cubicBezTo>
                <a:cubicBezTo>
                  <a:pt x="27" y="54"/>
                  <a:pt x="27" y="54"/>
                  <a:pt x="27" y="54"/>
                </a:cubicBezTo>
                <a:cubicBezTo>
                  <a:pt x="10" y="84"/>
                  <a:pt x="10" y="84"/>
                  <a:pt x="10" y="84"/>
                </a:cubicBezTo>
                <a:cubicBezTo>
                  <a:pt x="33" y="97"/>
                  <a:pt x="33" y="97"/>
                  <a:pt x="33" y="97"/>
                </a:cubicBezTo>
                <a:cubicBezTo>
                  <a:pt x="30" y="105"/>
                  <a:pt x="28" y="112"/>
                  <a:pt x="27" y="120"/>
                </a:cubicBezTo>
                <a:cubicBezTo>
                  <a:pt x="0" y="120"/>
                  <a:pt x="0" y="120"/>
                  <a:pt x="0" y="120"/>
                </a:cubicBezTo>
                <a:cubicBezTo>
                  <a:pt x="0" y="155"/>
                  <a:pt x="0" y="155"/>
                  <a:pt x="0" y="155"/>
                </a:cubicBezTo>
                <a:cubicBezTo>
                  <a:pt x="27" y="155"/>
                  <a:pt x="27" y="155"/>
                  <a:pt x="27" y="155"/>
                </a:cubicBezTo>
                <a:cubicBezTo>
                  <a:pt x="28" y="163"/>
                  <a:pt x="30" y="170"/>
                  <a:pt x="33" y="178"/>
                </a:cubicBezTo>
                <a:cubicBezTo>
                  <a:pt x="10" y="191"/>
                  <a:pt x="10" y="191"/>
                  <a:pt x="10" y="191"/>
                </a:cubicBezTo>
                <a:cubicBezTo>
                  <a:pt x="27" y="221"/>
                  <a:pt x="27" y="221"/>
                  <a:pt x="27" y="221"/>
                </a:cubicBezTo>
                <a:cubicBezTo>
                  <a:pt x="50" y="207"/>
                  <a:pt x="50" y="207"/>
                  <a:pt x="50" y="207"/>
                </a:cubicBezTo>
                <a:cubicBezTo>
                  <a:pt x="55" y="214"/>
                  <a:pt x="61" y="219"/>
                  <a:pt x="67" y="224"/>
                </a:cubicBezTo>
                <a:cubicBezTo>
                  <a:pt x="54" y="248"/>
                  <a:pt x="54" y="248"/>
                  <a:pt x="54" y="248"/>
                </a:cubicBezTo>
                <a:cubicBezTo>
                  <a:pt x="83" y="265"/>
                  <a:pt x="83" y="265"/>
                  <a:pt x="83" y="265"/>
                </a:cubicBezTo>
                <a:cubicBezTo>
                  <a:pt x="97" y="241"/>
                  <a:pt x="97" y="241"/>
                  <a:pt x="97" y="241"/>
                </a:cubicBezTo>
                <a:cubicBezTo>
                  <a:pt x="104" y="244"/>
                  <a:pt x="112" y="246"/>
                  <a:pt x="120" y="247"/>
                </a:cubicBezTo>
                <a:cubicBezTo>
                  <a:pt x="120" y="275"/>
                  <a:pt x="120" y="275"/>
                  <a:pt x="120" y="275"/>
                </a:cubicBezTo>
                <a:cubicBezTo>
                  <a:pt x="154" y="275"/>
                  <a:pt x="154" y="275"/>
                  <a:pt x="154" y="275"/>
                </a:cubicBezTo>
                <a:cubicBezTo>
                  <a:pt x="154" y="247"/>
                  <a:pt x="154" y="247"/>
                  <a:pt x="154" y="247"/>
                </a:cubicBezTo>
                <a:cubicBezTo>
                  <a:pt x="162" y="246"/>
                  <a:pt x="170" y="244"/>
                  <a:pt x="177" y="241"/>
                </a:cubicBezTo>
                <a:cubicBezTo>
                  <a:pt x="191" y="265"/>
                  <a:pt x="191" y="265"/>
                  <a:pt x="191" y="265"/>
                </a:cubicBezTo>
                <a:cubicBezTo>
                  <a:pt x="221" y="248"/>
                  <a:pt x="221" y="248"/>
                  <a:pt x="221" y="248"/>
                </a:cubicBezTo>
                <a:cubicBezTo>
                  <a:pt x="207" y="224"/>
                  <a:pt x="207" y="224"/>
                  <a:pt x="207" y="224"/>
                </a:cubicBezTo>
                <a:cubicBezTo>
                  <a:pt x="213" y="219"/>
                  <a:pt x="219" y="214"/>
                  <a:pt x="224" y="207"/>
                </a:cubicBezTo>
                <a:cubicBezTo>
                  <a:pt x="247" y="221"/>
                  <a:pt x="247" y="221"/>
                  <a:pt x="247" y="221"/>
                </a:cubicBezTo>
                <a:cubicBezTo>
                  <a:pt x="265" y="191"/>
                  <a:pt x="265" y="191"/>
                  <a:pt x="265" y="191"/>
                </a:cubicBezTo>
                <a:cubicBezTo>
                  <a:pt x="241" y="178"/>
                  <a:pt x="241" y="178"/>
                  <a:pt x="241" y="178"/>
                </a:cubicBezTo>
                <a:cubicBezTo>
                  <a:pt x="244" y="170"/>
                  <a:pt x="246" y="163"/>
                  <a:pt x="247" y="155"/>
                </a:cubicBezTo>
                <a:cubicBezTo>
                  <a:pt x="274" y="155"/>
                  <a:pt x="274" y="155"/>
                  <a:pt x="274" y="155"/>
                </a:cubicBezTo>
                <a:close/>
                <a:moveTo>
                  <a:pt x="137" y="215"/>
                </a:moveTo>
                <a:cubicBezTo>
                  <a:pt x="95" y="215"/>
                  <a:pt x="60" y="180"/>
                  <a:pt x="60" y="137"/>
                </a:cubicBezTo>
                <a:cubicBezTo>
                  <a:pt x="60" y="95"/>
                  <a:pt x="95" y="60"/>
                  <a:pt x="137" y="60"/>
                </a:cubicBezTo>
                <a:cubicBezTo>
                  <a:pt x="180" y="60"/>
                  <a:pt x="214" y="95"/>
                  <a:pt x="214" y="137"/>
                </a:cubicBezTo>
                <a:cubicBezTo>
                  <a:pt x="214" y="180"/>
                  <a:pt x="180" y="215"/>
                  <a:pt x="137" y="215"/>
                </a:cubicBezTo>
                <a:close/>
              </a:path>
            </a:pathLst>
          </a:custGeom>
          <a:solidFill>
            <a:srgbClr val="AFABAB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226" name="Freeform 23"/>
          <p:cNvSpPr>
            <a:spLocks noEditPoints="1"/>
          </p:cNvSpPr>
          <p:nvPr/>
        </p:nvSpPr>
        <p:spPr bwMode="auto">
          <a:xfrm>
            <a:off x="6241544" y="2651160"/>
            <a:ext cx="439662" cy="440628"/>
          </a:xfrm>
          <a:custGeom>
            <a:avLst/>
            <a:gdLst>
              <a:gd name="T0" fmla="*/ 274 w 274"/>
              <a:gd name="T1" fmla="*/ 155 h 275"/>
              <a:gd name="T2" fmla="*/ 274 w 274"/>
              <a:gd name="T3" fmla="*/ 120 h 275"/>
              <a:gd name="T4" fmla="*/ 247 w 274"/>
              <a:gd name="T5" fmla="*/ 120 h 275"/>
              <a:gd name="T6" fmla="*/ 241 w 274"/>
              <a:gd name="T7" fmla="*/ 97 h 275"/>
              <a:gd name="T8" fmla="*/ 265 w 274"/>
              <a:gd name="T9" fmla="*/ 84 h 275"/>
              <a:gd name="T10" fmla="*/ 247 w 274"/>
              <a:gd name="T11" fmla="*/ 54 h 275"/>
              <a:gd name="T12" fmla="*/ 224 w 274"/>
              <a:gd name="T13" fmla="*/ 67 h 275"/>
              <a:gd name="T14" fmla="*/ 207 w 274"/>
              <a:gd name="T15" fmla="*/ 51 h 275"/>
              <a:gd name="T16" fmla="*/ 221 w 274"/>
              <a:gd name="T17" fmla="*/ 27 h 275"/>
              <a:gd name="T18" fmla="*/ 191 w 274"/>
              <a:gd name="T19" fmla="*/ 10 h 275"/>
              <a:gd name="T20" fmla="*/ 177 w 274"/>
              <a:gd name="T21" fmla="*/ 34 h 275"/>
              <a:gd name="T22" fmla="*/ 154 w 274"/>
              <a:gd name="T23" fmla="*/ 27 h 275"/>
              <a:gd name="T24" fmla="*/ 154 w 274"/>
              <a:gd name="T25" fmla="*/ 0 h 275"/>
              <a:gd name="T26" fmla="*/ 120 w 274"/>
              <a:gd name="T27" fmla="*/ 0 h 275"/>
              <a:gd name="T28" fmla="*/ 120 w 274"/>
              <a:gd name="T29" fmla="*/ 27 h 275"/>
              <a:gd name="T30" fmla="*/ 97 w 274"/>
              <a:gd name="T31" fmla="*/ 34 h 275"/>
              <a:gd name="T32" fmla="*/ 83 w 274"/>
              <a:gd name="T33" fmla="*/ 10 h 275"/>
              <a:gd name="T34" fmla="*/ 54 w 274"/>
              <a:gd name="T35" fmla="*/ 27 h 275"/>
              <a:gd name="T36" fmla="*/ 67 w 274"/>
              <a:gd name="T37" fmla="*/ 51 h 275"/>
              <a:gd name="T38" fmla="*/ 50 w 274"/>
              <a:gd name="T39" fmla="*/ 67 h 275"/>
              <a:gd name="T40" fmla="*/ 27 w 274"/>
              <a:gd name="T41" fmla="*/ 54 h 275"/>
              <a:gd name="T42" fmla="*/ 10 w 274"/>
              <a:gd name="T43" fmla="*/ 84 h 275"/>
              <a:gd name="T44" fmla="*/ 33 w 274"/>
              <a:gd name="T45" fmla="*/ 97 h 275"/>
              <a:gd name="T46" fmla="*/ 27 w 274"/>
              <a:gd name="T47" fmla="*/ 120 h 275"/>
              <a:gd name="T48" fmla="*/ 0 w 274"/>
              <a:gd name="T49" fmla="*/ 120 h 275"/>
              <a:gd name="T50" fmla="*/ 0 w 274"/>
              <a:gd name="T51" fmla="*/ 155 h 275"/>
              <a:gd name="T52" fmla="*/ 27 w 274"/>
              <a:gd name="T53" fmla="*/ 155 h 275"/>
              <a:gd name="T54" fmla="*/ 33 w 274"/>
              <a:gd name="T55" fmla="*/ 178 h 275"/>
              <a:gd name="T56" fmla="*/ 10 w 274"/>
              <a:gd name="T57" fmla="*/ 191 h 275"/>
              <a:gd name="T58" fmla="*/ 27 w 274"/>
              <a:gd name="T59" fmla="*/ 221 h 275"/>
              <a:gd name="T60" fmla="*/ 50 w 274"/>
              <a:gd name="T61" fmla="*/ 207 h 275"/>
              <a:gd name="T62" fmla="*/ 67 w 274"/>
              <a:gd name="T63" fmla="*/ 224 h 275"/>
              <a:gd name="T64" fmla="*/ 54 w 274"/>
              <a:gd name="T65" fmla="*/ 248 h 275"/>
              <a:gd name="T66" fmla="*/ 83 w 274"/>
              <a:gd name="T67" fmla="*/ 265 h 275"/>
              <a:gd name="T68" fmla="*/ 97 w 274"/>
              <a:gd name="T69" fmla="*/ 241 h 275"/>
              <a:gd name="T70" fmla="*/ 120 w 274"/>
              <a:gd name="T71" fmla="*/ 247 h 275"/>
              <a:gd name="T72" fmla="*/ 120 w 274"/>
              <a:gd name="T73" fmla="*/ 275 h 275"/>
              <a:gd name="T74" fmla="*/ 154 w 274"/>
              <a:gd name="T75" fmla="*/ 275 h 275"/>
              <a:gd name="T76" fmla="*/ 154 w 274"/>
              <a:gd name="T77" fmla="*/ 247 h 275"/>
              <a:gd name="T78" fmla="*/ 177 w 274"/>
              <a:gd name="T79" fmla="*/ 241 h 275"/>
              <a:gd name="T80" fmla="*/ 191 w 274"/>
              <a:gd name="T81" fmla="*/ 265 h 275"/>
              <a:gd name="T82" fmla="*/ 221 w 274"/>
              <a:gd name="T83" fmla="*/ 248 h 275"/>
              <a:gd name="T84" fmla="*/ 207 w 274"/>
              <a:gd name="T85" fmla="*/ 224 h 275"/>
              <a:gd name="T86" fmla="*/ 224 w 274"/>
              <a:gd name="T87" fmla="*/ 207 h 275"/>
              <a:gd name="T88" fmla="*/ 247 w 274"/>
              <a:gd name="T89" fmla="*/ 221 h 275"/>
              <a:gd name="T90" fmla="*/ 265 w 274"/>
              <a:gd name="T91" fmla="*/ 191 h 275"/>
              <a:gd name="T92" fmla="*/ 241 w 274"/>
              <a:gd name="T93" fmla="*/ 178 h 275"/>
              <a:gd name="T94" fmla="*/ 247 w 274"/>
              <a:gd name="T95" fmla="*/ 155 h 275"/>
              <a:gd name="T96" fmla="*/ 274 w 274"/>
              <a:gd name="T97" fmla="*/ 155 h 275"/>
              <a:gd name="T98" fmla="*/ 137 w 274"/>
              <a:gd name="T99" fmla="*/ 215 h 275"/>
              <a:gd name="T100" fmla="*/ 60 w 274"/>
              <a:gd name="T101" fmla="*/ 137 h 275"/>
              <a:gd name="T102" fmla="*/ 137 w 274"/>
              <a:gd name="T103" fmla="*/ 60 h 275"/>
              <a:gd name="T104" fmla="*/ 214 w 274"/>
              <a:gd name="T105" fmla="*/ 137 h 275"/>
              <a:gd name="T106" fmla="*/ 137 w 274"/>
              <a:gd name="T107" fmla="*/ 215 h 2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274" h="275">
                <a:moveTo>
                  <a:pt x="274" y="155"/>
                </a:moveTo>
                <a:cubicBezTo>
                  <a:pt x="274" y="120"/>
                  <a:pt x="274" y="120"/>
                  <a:pt x="274" y="120"/>
                </a:cubicBezTo>
                <a:cubicBezTo>
                  <a:pt x="247" y="120"/>
                  <a:pt x="247" y="120"/>
                  <a:pt x="247" y="120"/>
                </a:cubicBezTo>
                <a:cubicBezTo>
                  <a:pt x="246" y="112"/>
                  <a:pt x="244" y="105"/>
                  <a:pt x="241" y="97"/>
                </a:cubicBezTo>
                <a:cubicBezTo>
                  <a:pt x="265" y="84"/>
                  <a:pt x="265" y="84"/>
                  <a:pt x="265" y="84"/>
                </a:cubicBezTo>
                <a:cubicBezTo>
                  <a:pt x="247" y="54"/>
                  <a:pt x="247" y="54"/>
                  <a:pt x="247" y="54"/>
                </a:cubicBezTo>
                <a:cubicBezTo>
                  <a:pt x="224" y="67"/>
                  <a:pt x="224" y="67"/>
                  <a:pt x="224" y="67"/>
                </a:cubicBezTo>
                <a:cubicBezTo>
                  <a:pt x="219" y="61"/>
                  <a:pt x="213" y="56"/>
                  <a:pt x="207" y="51"/>
                </a:cubicBezTo>
                <a:cubicBezTo>
                  <a:pt x="221" y="27"/>
                  <a:pt x="221" y="27"/>
                  <a:pt x="221" y="27"/>
                </a:cubicBezTo>
                <a:cubicBezTo>
                  <a:pt x="191" y="10"/>
                  <a:pt x="191" y="10"/>
                  <a:pt x="191" y="10"/>
                </a:cubicBezTo>
                <a:cubicBezTo>
                  <a:pt x="177" y="34"/>
                  <a:pt x="177" y="34"/>
                  <a:pt x="177" y="34"/>
                </a:cubicBezTo>
                <a:cubicBezTo>
                  <a:pt x="170" y="31"/>
                  <a:pt x="162" y="29"/>
                  <a:pt x="154" y="27"/>
                </a:cubicBezTo>
                <a:cubicBezTo>
                  <a:pt x="154" y="0"/>
                  <a:pt x="154" y="0"/>
                  <a:pt x="154" y="0"/>
                </a:cubicBezTo>
                <a:cubicBezTo>
                  <a:pt x="120" y="0"/>
                  <a:pt x="120" y="0"/>
                  <a:pt x="120" y="0"/>
                </a:cubicBezTo>
                <a:cubicBezTo>
                  <a:pt x="120" y="27"/>
                  <a:pt x="120" y="27"/>
                  <a:pt x="120" y="27"/>
                </a:cubicBezTo>
                <a:cubicBezTo>
                  <a:pt x="112" y="29"/>
                  <a:pt x="104" y="31"/>
                  <a:pt x="97" y="34"/>
                </a:cubicBezTo>
                <a:cubicBezTo>
                  <a:pt x="83" y="10"/>
                  <a:pt x="83" y="10"/>
                  <a:pt x="83" y="10"/>
                </a:cubicBezTo>
                <a:cubicBezTo>
                  <a:pt x="54" y="27"/>
                  <a:pt x="54" y="27"/>
                  <a:pt x="54" y="27"/>
                </a:cubicBezTo>
                <a:cubicBezTo>
                  <a:pt x="67" y="51"/>
                  <a:pt x="67" y="51"/>
                  <a:pt x="67" y="51"/>
                </a:cubicBezTo>
                <a:cubicBezTo>
                  <a:pt x="61" y="56"/>
                  <a:pt x="55" y="61"/>
                  <a:pt x="50" y="67"/>
                </a:cubicBezTo>
                <a:cubicBezTo>
                  <a:pt x="27" y="54"/>
                  <a:pt x="27" y="54"/>
                  <a:pt x="27" y="54"/>
                </a:cubicBezTo>
                <a:cubicBezTo>
                  <a:pt x="10" y="84"/>
                  <a:pt x="10" y="84"/>
                  <a:pt x="10" y="84"/>
                </a:cubicBezTo>
                <a:cubicBezTo>
                  <a:pt x="33" y="97"/>
                  <a:pt x="33" y="97"/>
                  <a:pt x="33" y="97"/>
                </a:cubicBezTo>
                <a:cubicBezTo>
                  <a:pt x="30" y="105"/>
                  <a:pt x="28" y="112"/>
                  <a:pt x="27" y="120"/>
                </a:cubicBezTo>
                <a:cubicBezTo>
                  <a:pt x="0" y="120"/>
                  <a:pt x="0" y="120"/>
                  <a:pt x="0" y="120"/>
                </a:cubicBezTo>
                <a:cubicBezTo>
                  <a:pt x="0" y="155"/>
                  <a:pt x="0" y="155"/>
                  <a:pt x="0" y="155"/>
                </a:cubicBezTo>
                <a:cubicBezTo>
                  <a:pt x="27" y="155"/>
                  <a:pt x="27" y="155"/>
                  <a:pt x="27" y="155"/>
                </a:cubicBezTo>
                <a:cubicBezTo>
                  <a:pt x="28" y="163"/>
                  <a:pt x="30" y="170"/>
                  <a:pt x="33" y="178"/>
                </a:cubicBezTo>
                <a:cubicBezTo>
                  <a:pt x="10" y="191"/>
                  <a:pt x="10" y="191"/>
                  <a:pt x="10" y="191"/>
                </a:cubicBezTo>
                <a:cubicBezTo>
                  <a:pt x="27" y="221"/>
                  <a:pt x="27" y="221"/>
                  <a:pt x="27" y="221"/>
                </a:cubicBezTo>
                <a:cubicBezTo>
                  <a:pt x="50" y="207"/>
                  <a:pt x="50" y="207"/>
                  <a:pt x="50" y="207"/>
                </a:cubicBezTo>
                <a:cubicBezTo>
                  <a:pt x="55" y="214"/>
                  <a:pt x="61" y="219"/>
                  <a:pt x="67" y="224"/>
                </a:cubicBezTo>
                <a:cubicBezTo>
                  <a:pt x="54" y="248"/>
                  <a:pt x="54" y="248"/>
                  <a:pt x="54" y="248"/>
                </a:cubicBezTo>
                <a:cubicBezTo>
                  <a:pt x="83" y="265"/>
                  <a:pt x="83" y="265"/>
                  <a:pt x="83" y="265"/>
                </a:cubicBezTo>
                <a:cubicBezTo>
                  <a:pt x="97" y="241"/>
                  <a:pt x="97" y="241"/>
                  <a:pt x="97" y="241"/>
                </a:cubicBezTo>
                <a:cubicBezTo>
                  <a:pt x="104" y="244"/>
                  <a:pt x="112" y="246"/>
                  <a:pt x="120" y="247"/>
                </a:cubicBezTo>
                <a:cubicBezTo>
                  <a:pt x="120" y="275"/>
                  <a:pt x="120" y="275"/>
                  <a:pt x="120" y="275"/>
                </a:cubicBezTo>
                <a:cubicBezTo>
                  <a:pt x="154" y="275"/>
                  <a:pt x="154" y="275"/>
                  <a:pt x="154" y="275"/>
                </a:cubicBezTo>
                <a:cubicBezTo>
                  <a:pt x="154" y="247"/>
                  <a:pt x="154" y="247"/>
                  <a:pt x="154" y="247"/>
                </a:cubicBezTo>
                <a:cubicBezTo>
                  <a:pt x="162" y="246"/>
                  <a:pt x="170" y="244"/>
                  <a:pt x="177" y="241"/>
                </a:cubicBezTo>
                <a:cubicBezTo>
                  <a:pt x="191" y="265"/>
                  <a:pt x="191" y="265"/>
                  <a:pt x="191" y="265"/>
                </a:cubicBezTo>
                <a:cubicBezTo>
                  <a:pt x="221" y="248"/>
                  <a:pt x="221" y="248"/>
                  <a:pt x="221" y="248"/>
                </a:cubicBezTo>
                <a:cubicBezTo>
                  <a:pt x="207" y="224"/>
                  <a:pt x="207" y="224"/>
                  <a:pt x="207" y="224"/>
                </a:cubicBezTo>
                <a:cubicBezTo>
                  <a:pt x="213" y="219"/>
                  <a:pt x="219" y="214"/>
                  <a:pt x="224" y="207"/>
                </a:cubicBezTo>
                <a:cubicBezTo>
                  <a:pt x="247" y="221"/>
                  <a:pt x="247" y="221"/>
                  <a:pt x="247" y="221"/>
                </a:cubicBezTo>
                <a:cubicBezTo>
                  <a:pt x="265" y="191"/>
                  <a:pt x="265" y="191"/>
                  <a:pt x="265" y="191"/>
                </a:cubicBezTo>
                <a:cubicBezTo>
                  <a:pt x="241" y="178"/>
                  <a:pt x="241" y="178"/>
                  <a:pt x="241" y="178"/>
                </a:cubicBezTo>
                <a:cubicBezTo>
                  <a:pt x="244" y="170"/>
                  <a:pt x="246" y="163"/>
                  <a:pt x="247" y="155"/>
                </a:cubicBezTo>
                <a:cubicBezTo>
                  <a:pt x="274" y="155"/>
                  <a:pt x="274" y="155"/>
                  <a:pt x="274" y="155"/>
                </a:cubicBezTo>
                <a:close/>
                <a:moveTo>
                  <a:pt x="137" y="215"/>
                </a:moveTo>
                <a:cubicBezTo>
                  <a:pt x="95" y="215"/>
                  <a:pt x="60" y="180"/>
                  <a:pt x="60" y="137"/>
                </a:cubicBezTo>
                <a:cubicBezTo>
                  <a:pt x="60" y="95"/>
                  <a:pt x="95" y="60"/>
                  <a:pt x="137" y="60"/>
                </a:cubicBezTo>
                <a:cubicBezTo>
                  <a:pt x="180" y="60"/>
                  <a:pt x="214" y="95"/>
                  <a:pt x="214" y="137"/>
                </a:cubicBezTo>
                <a:cubicBezTo>
                  <a:pt x="214" y="180"/>
                  <a:pt x="180" y="215"/>
                  <a:pt x="137" y="215"/>
                </a:cubicBezTo>
                <a:close/>
              </a:path>
            </a:pathLst>
          </a:custGeom>
          <a:solidFill>
            <a:srgbClr val="AFABAB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227" name="Freeform 23"/>
          <p:cNvSpPr>
            <a:spLocks noEditPoints="1"/>
          </p:cNvSpPr>
          <p:nvPr/>
        </p:nvSpPr>
        <p:spPr bwMode="auto">
          <a:xfrm>
            <a:off x="5735728" y="3465310"/>
            <a:ext cx="912187" cy="914189"/>
          </a:xfrm>
          <a:custGeom>
            <a:avLst/>
            <a:gdLst>
              <a:gd name="T0" fmla="*/ 274 w 274"/>
              <a:gd name="T1" fmla="*/ 155 h 275"/>
              <a:gd name="T2" fmla="*/ 274 w 274"/>
              <a:gd name="T3" fmla="*/ 120 h 275"/>
              <a:gd name="T4" fmla="*/ 247 w 274"/>
              <a:gd name="T5" fmla="*/ 120 h 275"/>
              <a:gd name="T6" fmla="*/ 241 w 274"/>
              <a:gd name="T7" fmla="*/ 97 h 275"/>
              <a:gd name="T8" fmla="*/ 265 w 274"/>
              <a:gd name="T9" fmla="*/ 84 h 275"/>
              <a:gd name="T10" fmla="*/ 247 w 274"/>
              <a:gd name="T11" fmla="*/ 54 h 275"/>
              <a:gd name="T12" fmla="*/ 224 w 274"/>
              <a:gd name="T13" fmla="*/ 67 h 275"/>
              <a:gd name="T14" fmla="*/ 207 w 274"/>
              <a:gd name="T15" fmla="*/ 51 h 275"/>
              <a:gd name="T16" fmla="*/ 221 w 274"/>
              <a:gd name="T17" fmla="*/ 27 h 275"/>
              <a:gd name="T18" fmla="*/ 191 w 274"/>
              <a:gd name="T19" fmla="*/ 10 h 275"/>
              <a:gd name="T20" fmla="*/ 177 w 274"/>
              <a:gd name="T21" fmla="*/ 34 h 275"/>
              <a:gd name="T22" fmla="*/ 154 w 274"/>
              <a:gd name="T23" fmla="*/ 27 h 275"/>
              <a:gd name="T24" fmla="*/ 154 w 274"/>
              <a:gd name="T25" fmla="*/ 0 h 275"/>
              <a:gd name="T26" fmla="*/ 120 w 274"/>
              <a:gd name="T27" fmla="*/ 0 h 275"/>
              <a:gd name="T28" fmla="*/ 120 w 274"/>
              <a:gd name="T29" fmla="*/ 27 h 275"/>
              <a:gd name="T30" fmla="*/ 97 w 274"/>
              <a:gd name="T31" fmla="*/ 34 h 275"/>
              <a:gd name="T32" fmla="*/ 83 w 274"/>
              <a:gd name="T33" fmla="*/ 10 h 275"/>
              <a:gd name="T34" fmla="*/ 54 w 274"/>
              <a:gd name="T35" fmla="*/ 27 h 275"/>
              <a:gd name="T36" fmla="*/ 67 w 274"/>
              <a:gd name="T37" fmla="*/ 51 h 275"/>
              <a:gd name="T38" fmla="*/ 50 w 274"/>
              <a:gd name="T39" fmla="*/ 67 h 275"/>
              <a:gd name="T40" fmla="*/ 27 w 274"/>
              <a:gd name="T41" fmla="*/ 54 h 275"/>
              <a:gd name="T42" fmla="*/ 10 w 274"/>
              <a:gd name="T43" fmla="*/ 84 h 275"/>
              <a:gd name="T44" fmla="*/ 33 w 274"/>
              <a:gd name="T45" fmla="*/ 97 h 275"/>
              <a:gd name="T46" fmla="*/ 27 w 274"/>
              <a:gd name="T47" fmla="*/ 120 h 275"/>
              <a:gd name="T48" fmla="*/ 0 w 274"/>
              <a:gd name="T49" fmla="*/ 120 h 275"/>
              <a:gd name="T50" fmla="*/ 0 w 274"/>
              <a:gd name="T51" fmla="*/ 155 h 275"/>
              <a:gd name="T52" fmla="*/ 27 w 274"/>
              <a:gd name="T53" fmla="*/ 155 h 275"/>
              <a:gd name="T54" fmla="*/ 33 w 274"/>
              <a:gd name="T55" fmla="*/ 178 h 275"/>
              <a:gd name="T56" fmla="*/ 10 w 274"/>
              <a:gd name="T57" fmla="*/ 191 h 275"/>
              <a:gd name="T58" fmla="*/ 27 w 274"/>
              <a:gd name="T59" fmla="*/ 221 h 275"/>
              <a:gd name="T60" fmla="*/ 50 w 274"/>
              <a:gd name="T61" fmla="*/ 207 h 275"/>
              <a:gd name="T62" fmla="*/ 67 w 274"/>
              <a:gd name="T63" fmla="*/ 224 h 275"/>
              <a:gd name="T64" fmla="*/ 54 w 274"/>
              <a:gd name="T65" fmla="*/ 248 h 275"/>
              <a:gd name="T66" fmla="*/ 83 w 274"/>
              <a:gd name="T67" fmla="*/ 265 h 275"/>
              <a:gd name="T68" fmla="*/ 97 w 274"/>
              <a:gd name="T69" fmla="*/ 241 h 275"/>
              <a:gd name="T70" fmla="*/ 120 w 274"/>
              <a:gd name="T71" fmla="*/ 247 h 275"/>
              <a:gd name="T72" fmla="*/ 120 w 274"/>
              <a:gd name="T73" fmla="*/ 275 h 275"/>
              <a:gd name="T74" fmla="*/ 154 w 274"/>
              <a:gd name="T75" fmla="*/ 275 h 275"/>
              <a:gd name="T76" fmla="*/ 154 w 274"/>
              <a:gd name="T77" fmla="*/ 247 h 275"/>
              <a:gd name="T78" fmla="*/ 177 w 274"/>
              <a:gd name="T79" fmla="*/ 241 h 275"/>
              <a:gd name="T80" fmla="*/ 191 w 274"/>
              <a:gd name="T81" fmla="*/ 265 h 275"/>
              <a:gd name="T82" fmla="*/ 221 w 274"/>
              <a:gd name="T83" fmla="*/ 248 h 275"/>
              <a:gd name="T84" fmla="*/ 207 w 274"/>
              <a:gd name="T85" fmla="*/ 224 h 275"/>
              <a:gd name="T86" fmla="*/ 224 w 274"/>
              <a:gd name="T87" fmla="*/ 207 h 275"/>
              <a:gd name="T88" fmla="*/ 247 w 274"/>
              <a:gd name="T89" fmla="*/ 221 h 275"/>
              <a:gd name="T90" fmla="*/ 265 w 274"/>
              <a:gd name="T91" fmla="*/ 191 h 275"/>
              <a:gd name="T92" fmla="*/ 241 w 274"/>
              <a:gd name="T93" fmla="*/ 178 h 275"/>
              <a:gd name="T94" fmla="*/ 247 w 274"/>
              <a:gd name="T95" fmla="*/ 155 h 275"/>
              <a:gd name="T96" fmla="*/ 274 w 274"/>
              <a:gd name="T97" fmla="*/ 155 h 275"/>
              <a:gd name="T98" fmla="*/ 137 w 274"/>
              <a:gd name="T99" fmla="*/ 215 h 275"/>
              <a:gd name="T100" fmla="*/ 60 w 274"/>
              <a:gd name="T101" fmla="*/ 137 h 275"/>
              <a:gd name="T102" fmla="*/ 137 w 274"/>
              <a:gd name="T103" fmla="*/ 60 h 275"/>
              <a:gd name="T104" fmla="*/ 214 w 274"/>
              <a:gd name="T105" fmla="*/ 137 h 275"/>
              <a:gd name="T106" fmla="*/ 137 w 274"/>
              <a:gd name="T107" fmla="*/ 215 h 2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274" h="275">
                <a:moveTo>
                  <a:pt x="274" y="155"/>
                </a:moveTo>
                <a:cubicBezTo>
                  <a:pt x="274" y="120"/>
                  <a:pt x="274" y="120"/>
                  <a:pt x="274" y="120"/>
                </a:cubicBezTo>
                <a:cubicBezTo>
                  <a:pt x="247" y="120"/>
                  <a:pt x="247" y="120"/>
                  <a:pt x="247" y="120"/>
                </a:cubicBezTo>
                <a:cubicBezTo>
                  <a:pt x="246" y="112"/>
                  <a:pt x="244" y="105"/>
                  <a:pt x="241" y="97"/>
                </a:cubicBezTo>
                <a:cubicBezTo>
                  <a:pt x="265" y="84"/>
                  <a:pt x="265" y="84"/>
                  <a:pt x="265" y="84"/>
                </a:cubicBezTo>
                <a:cubicBezTo>
                  <a:pt x="247" y="54"/>
                  <a:pt x="247" y="54"/>
                  <a:pt x="247" y="54"/>
                </a:cubicBezTo>
                <a:cubicBezTo>
                  <a:pt x="224" y="67"/>
                  <a:pt x="224" y="67"/>
                  <a:pt x="224" y="67"/>
                </a:cubicBezTo>
                <a:cubicBezTo>
                  <a:pt x="219" y="61"/>
                  <a:pt x="213" y="56"/>
                  <a:pt x="207" y="51"/>
                </a:cubicBezTo>
                <a:cubicBezTo>
                  <a:pt x="221" y="27"/>
                  <a:pt x="221" y="27"/>
                  <a:pt x="221" y="27"/>
                </a:cubicBezTo>
                <a:cubicBezTo>
                  <a:pt x="191" y="10"/>
                  <a:pt x="191" y="10"/>
                  <a:pt x="191" y="10"/>
                </a:cubicBezTo>
                <a:cubicBezTo>
                  <a:pt x="177" y="34"/>
                  <a:pt x="177" y="34"/>
                  <a:pt x="177" y="34"/>
                </a:cubicBezTo>
                <a:cubicBezTo>
                  <a:pt x="170" y="31"/>
                  <a:pt x="162" y="29"/>
                  <a:pt x="154" y="27"/>
                </a:cubicBezTo>
                <a:cubicBezTo>
                  <a:pt x="154" y="0"/>
                  <a:pt x="154" y="0"/>
                  <a:pt x="154" y="0"/>
                </a:cubicBezTo>
                <a:cubicBezTo>
                  <a:pt x="120" y="0"/>
                  <a:pt x="120" y="0"/>
                  <a:pt x="120" y="0"/>
                </a:cubicBezTo>
                <a:cubicBezTo>
                  <a:pt x="120" y="27"/>
                  <a:pt x="120" y="27"/>
                  <a:pt x="120" y="27"/>
                </a:cubicBezTo>
                <a:cubicBezTo>
                  <a:pt x="112" y="29"/>
                  <a:pt x="104" y="31"/>
                  <a:pt x="97" y="34"/>
                </a:cubicBezTo>
                <a:cubicBezTo>
                  <a:pt x="83" y="10"/>
                  <a:pt x="83" y="10"/>
                  <a:pt x="83" y="10"/>
                </a:cubicBezTo>
                <a:cubicBezTo>
                  <a:pt x="54" y="27"/>
                  <a:pt x="54" y="27"/>
                  <a:pt x="54" y="27"/>
                </a:cubicBezTo>
                <a:cubicBezTo>
                  <a:pt x="67" y="51"/>
                  <a:pt x="67" y="51"/>
                  <a:pt x="67" y="51"/>
                </a:cubicBezTo>
                <a:cubicBezTo>
                  <a:pt x="61" y="56"/>
                  <a:pt x="55" y="61"/>
                  <a:pt x="50" y="67"/>
                </a:cubicBezTo>
                <a:cubicBezTo>
                  <a:pt x="27" y="54"/>
                  <a:pt x="27" y="54"/>
                  <a:pt x="27" y="54"/>
                </a:cubicBezTo>
                <a:cubicBezTo>
                  <a:pt x="10" y="84"/>
                  <a:pt x="10" y="84"/>
                  <a:pt x="10" y="84"/>
                </a:cubicBezTo>
                <a:cubicBezTo>
                  <a:pt x="33" y="97"/>
                  <a:pt x="33" y="97"/>
                  <a:pt x="33" y="97"/>
                </a:cubicBezTo>
                <a:cubicBezTo>
                  <a:pt x="30" y="105"/>
                  <a:pt x="28" y="112"/>
                  <a:pt x="27" y="120"/>
                </a:cubicBezTo>
                <a:cubicBezTo>
                  <a:pt x="0" y="120"/>
                  <a:pt x="0" y="120"/>
                  <a:pt x="0" y="120"/>
                </a:cubicBezTo>
                <a:cubicBezTo>
                  <a:pt x="0" y="155"/>
                  <a:pt x="0" y="155"/>
                  <a:pt x="0" y="155"/>
                </a:cubicBezTo>
                <a:cubicBezTo>
                  <a:pt x="27" y="155"/>
                  <a:pt x="27" y="155"/>
                  <a:pt x="27" y="155"/>
                </a:cubicBezTo>
                <a:cubicBezTo>
                  <a:pt x="28" y="163"/>
                  <a:pt x="30" y="170"/>
                  <a:pt x="33" y="178"/>
                </a:cubicBezTo>
                <a:cubicBezTo>
                  <a:pt x="10" y="191"/>
                  <a:pt x="10" y="191"/>
                  <a:pt x="10" y="191"/>
                </a:cubicBezTo>
                <a:cubicBezTo>
                  <a:pt x="27" y="221"/>
                  <a:pt x="27" y="221"/>
                  <a:pt x="27" y="221"/>
                </a:cubicBezTo>
                <a:cubicBezTo>
                  <a:pt x="50" y="207"/>
                  <a:pt x="50" y="207"/>
                  <a:pt x="50" y="207"/>
                </a:cubicBezTo>
                <a:cubicBezTo>
                  <a:pt x="55" y="214"/>
                  <a:pt x="61" y="219"/>
                  <a:pt x="67" y="224"/>
                </a:cubicBezTo>
                <a:cubicBezTo>
                  <a:pt x="54" y="248"/>
                  <a:pt x="54" y="248"/>
                  <a:pt x="54" y="248"/>
                </a:cubicBezTo>
                <a:cubicBezTo>
                  <a:pt x="83" y="265"/>
                  <a:pt x="83" y="265"/>
                  <a:pt x="83" y="265"/>
                </a:cubicBezTo>
                <a:cubicBezTo>
                  <a:pt x="97" y="241"/>
                  <a:pt x="97" y="241"/>
                  <a:pt x="97" y="241"/>
                </a:cubicBezTo>
                <a:cubicBezTo>
                  <a:pt x="104" y="244"/>
                  <a:pt x="112" y="246"/>
                  <a:pt x="120" y="247"/>
                </a:cubicBezTo>
                <a:cubicBezTo>
                  <a:pt x="120" y="275"/>
                  <a:pt x="120" y="275"/>
                  <a:pt x="120" y="275"/>
                </a:cubicBezTo>
                <a:cubicBezTo>
                  <a:pt x="154" y="275"/>
                  <a:pt x="154" y="275"/>
                  <a:pt x="154" y="275"/>
                </a:cubicBezTo>
                <a:cubicBezTo>
                  <a:pt x="154" y="247"/>
                  <a:pt x="154" y="247"/>
                  <a:pt x="154" y="247"/>
                </a:cubicBezTo>
                <a:cubicBezTo>
                  <a:pt x="162" y="246"/>
                  <a:pt x="170" y="244"/>
                  <a:pt x="177" y="241"/>
                </a:cubicBezTo>
                <a:cubicBezTo>
                  <a:pt x="191" y="265"/>
                  <a:pt x="191" y="265"/>
                  <a:pt x="191" y="265"/>
                </a:cubicBezTo>
                <a:cubicBezTo>
                  <a:pt x="221" y="248"/>
                  <a:pt x="221" y="248"/>
                  <a:pt x="221" y="248"/>
                </a:cubicBezTo>
                <a:cubicBezTo>
                  <a:pt x="207" y="224"/>
                  <a:pt x="207" y="224"/>
                  <a:pt x="207" y="224"/>
                </a:cubicBezTo>
                <a:cubicBezTo>
                  <a:pt x="213" y="219"/>
                  <a:pt x="219" y="214"/>
                  <a:pt x="224" y="207"/>
                </a:cubicBezTo>
                <a:cubicBezTo>
                  <a:pt x="247" y="221"/>
                  <a:pt x="247" y="221"/>
                  <a:pt x="247" y="221"/>
                </a:cubicBezTo>
                <a:cubicBezTo>
                  <a:pt x="265" y="191"/>
                  <a:pt x="265" y="191"/>
                  <a:pt x="265" y="191"/>
                </a:cubicBezTo>
                <a:cubicBezTo>
                  <a:pt x="241" y="178"/>
                  <a:pt x="241" y="178"/>
                  <a:pt x="241" y="178"/>
                </a:cubicBezTo>
                <a:cubicBezTo>
                  <a:pt x="244" y="170"/>
                  <a:pt x="246" y="163"/>
                  <a:pt x="247" y="155"/>
                </a:cubicBezTo>
                <a:cubicBezTo>
                  <a:pt x="274" y="155"/>
                  <a:pt x="274" y="155"/>
                  <a:pt x="274" y="155"/>
                </a:cubicBezTo>
                <a:close/>
                <a:moveTo>
                  <a:pt x="137" y="215"/>
                </a:moveTo>
                <a:cubicBezTo>
                  <a:pt x="95" y="215"/>
                  <a:pt x="60" y="180"/>
                  <a:pt x="60" y="137"/>
                </a:cubicBezTo>
                <a:cubicBezTo>
                  <a:pt x="60" y="95"/>
                  <a:pt x="95" y="60"/>
                  <a:pt x="137" y="60"/>
                </a:cubicBezTo>
                <a:cubicBezTo>
                  <a:pt x="180" y="60"/>
                  <a:pt x="214" y="95"/>
                  <a:pt x="214" y="137"/>
                </a:cubicBezTo>
                <a:cubicBezTo>
                  <a:pt x="214" y="180"/>
                  <a:pt x="180" y="215"/>
                  <a:pt x="137" y="215"/>
                </a:cubicBezTo>
                <a:close/>
              </a:path>
            </a:pathLst>
          </a:custGeom>
          <a:solidFill>
            <a:srgbClr val="AFABAB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228" name="Freeform 227"/>
          <p:cNvSpPr>
            <a:spLocks/>
          </p:cNvSpPr>
          <p:nvPr/>
        </p:nvSpPr>
        <p:spPr bwMode="auto">
          <a:xfrm>
            <a:off x="6378975" y="3145205"/>
            <a:ext cx="381164" cy="383836"/>
          </a:xfrm>
          <a:custGeom>
            <a:avLst/>
            <a:gdLst>
              <a:gd name="T0" fmla="*/ 66 w 141"/>
              <a:gd name="T1" fmla="*/ 135 h 142"/>
              <a:gd name="T2" fmla="*/ 54 w 141"/>
              <a:gd name="T3" fmla="*/ 140 h 142"/>
              <a:gd name="T4" fmla="*/ 49 w 141"/>
              <a:gd name="T5" fmla="*/ 132 h 142"/>
              <a:gd name="T6" fmla="*/ 42 w 141"/>
              <a:gd name="T7" fmla="*/ 129 h 142"/>
              <a:gd name="T8" fmla="*/ 29 w 141"/>
              <a:gd name="T9" fmla="*/ 128 h 142"/>
              <a:gd name="T10" fmla="*/ 28 w 141"/>
              <a:gd name="T11" fmla="*/ 119 h 142"/>
              <a:gd name="T12" fmla="*/ 22 w 141"/>
              <a:gd name="T13" fmla="*/ 114 h 142"/>
              <a:gd name="T14" fmla="*/ 10 w 141"/>
              <a:gd name="T15" fmla="*/ 108 h 142"/>
              <a:gd name="T16" fmla="*/ 12 w 141"/>
              <a:gd name="T17" fmla="*/ 99 h 142"/>
              <a:gd name="T18" fmla="*/ 10 w 141"/>
              <a:gd name="T19" fmla="*/ 92 h 142"/>
              <a:gd name="T20" fmla="*/ 1 w 141"/>
              <a:gd name="T21" fmla="*/ 82 h 142"/>
              <a:gd name="T22" fmla="*/ 6 w 141"/>
              <a:gd name="T23" fmla="*/ 75 h 142"/>
              <a:gd name="T24" fmla="*/ 6 w 141"/>
              <a:gd name="T25" fmla="*/ 67 h 142"/>
              <a:gd name="T26" fmla="*/ 1 w 141"/>
              <a:gd name="T27" fmla="*/ 60 h 142"/>
              <a:gd name="T28" fmla="*/ 10 w 141"/>
              <a:gd name="T29" fmla="*/ 50 h 142"/>
              <a:gd name="T30" fmla="*/ 12 w 141"/>
              <a:gd name="T31" fmla="*/ 43 h 142"/>
              <a:gd name="T32" fmla="*/ 10 w 141"/>
              <a:gd name="T33" fmla="*/ 34 h 142"/>
              <a:gd name="T34" fmla="*/ 22 w 141"/>
              <a:gd name="T35" fmla="*/ 29 h 142"/>
              <a:gd name="T36" fmla="*/ 28 w 141"/>
              <a:gd name="T37" fmla="*/ 23 h 142"/>
              <a:gd name="T38" fmla="*/ 29 w 141"/>
              <a:gd name="T39" fmla="*/ 14 h 142"/>
              <a:gd name="T40" fmla="*/ 42 w 141"/>
              <a:gd name="T41" fmla="*/ 13 h 142"/>
              <a:gd name="T42" fmla="*/ 49 w 141"/>
              <a:gd name="T43" fmla="*/ 10 h 142"/>
              <a:gd name="T44" fmla="*/ 54 w 141"/>
              <a:gd name="T45" fmla="*/ 2 h 142"/>
              <a:gd name="T46" fmla="*/ 66 w 141"/>
              <a:gd name="T47" fmla="*/ 7 h 142"/>
              <a:gd name="T48" fmla="*/ 73 w 141"/>
              <a:gd name="T49" fmla="*/ 0 h 142"/>
              <a:gd name="T50" fmla="*/ 79 w 141"/>
              <a:gd name="T51" fmla="*/ 7 h 142"/>
              <a:gd name="T52" fmla="*/ 87 w 141"/>
              <a:gd name="T53" fmla="*/ 9 h 142"/>
              <a:gd name="T54" fmla="*/ 100 w 141"/>
              <a:gd name="T55" fmla="*/ 7 h 142"/>
              <a:gd name="T56" fmla="*/ 103 w 141"/>
              <a:gd name="T57" fmla="*/ 16 h 142"/>
              <a:gd name="T58" fmla="*/ 109 w 141"/>
              <a:gd name="T59" fmla="*/ 20 h 142"/>
              <a:gd name="T60" fmla="*/ 122 w 141"/>
              <a:gd name="T61" fmla="*/ 23 h 142"/>
              <a:gd name="T62" fmla="*/ 122 w 141"/>
              <a:gd name="T63" fmla="*/ 32 h 142"/>
              <a:gd name="T64" fmla="*/ 126 w 141"/>
              <a:gd name="T65" fmla="*/ 39 h 142"/>
              <a:gd name="T66" fmla="*/ 137 w 141"/>
              <a:gd name="T67" fmla="*/ 47 h 142"/>
              <a:gd name="T68" fmla="*/ 133 w 141"/>
              <a:gd name="T69" fmla="*/ 55 h 142"/>
              <a:gd name="T70" fmla="*/ 134 w 141"/>
              <a:gd name="T71" fmla="*/ 62 h 142"/>
              <a:gd name="T72" fmla="*/ 141 w 141"/>
              <a:gd name="T73" fmla="*/ 71 h 142"/>
              <a:gd name="T74" fmla="*/ 134 w 141"/>
              <a:gd name="T75" fmla="*/ 80 h 142"/>
              <a:gd name="T76" fmla="*/ 133 w 141"/>
              <a:gd name="T77" fmla="*/ 87 h 142"/>
              <a:gd name="T78" fmla="*/ 137 w 141"/>
              <a:gd name="T79" fmla="*/ 95 h 142"/>
              <a:gd name="T80" fmla="*/ 126 w 141"/>
              <a:gd name="T81" fmla="*/ 103 h 142"/>
              <a:gd name="T82" fmla="*/ 122 w 141"/>
              <a:gd name="T83" fmla="*/ 110 h 142"/>
              <a:gd name="T84" fmla="*/ 122 w 141"/>
              <a:gd name="T85" fmla="*/ 119 h 142"/>
              <a:gd name="T86" fmla="*/ 109 w 141"/>
              <a:gd name="T87" fmla="*/ 122 h 142"/>
              <a:gd name="T88" fmla="*/ 103 w 141"/>
              <a:gd name="T89" fmla="*/ 126 h 142"/>
              <a:gd name="T90" fmla="*/ 100 w 141"/>
              <a:gd name="T91" fmla="*/ 135 h 142"/>
              <a:gd name="T92" fmla="*/ 87 w 141"/>
              <a:gd name="T93" fmla="*/ 133 h 142"/>
              <a:gd name="T94" fmla="*/ 79 w 141"/>
              <a:gd name="T95" fmla="*/ 135 h 142"/>
              <a:gd name="T96" fmla="*/ 73 w 141"/>
              <a:gd name="T97" fmla="*/ 142 h 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41" h="142">
                <a:moveTo>
                  <a:pt x="70" y="142"/>
                </a:moveTo>
                <a:cubicBezTo>
                  <a:pt x="69" y="142"/>
                  <a:pt x="68" y="142"/>
                  <a:pt x="67" y="142"/>
                </a:cubicBezTo>
                <a:cubicBezTo>
                  <a:pt x="67" y="135"/>
                  <a:pt x="67" y="135"/>
                  <a:pt x="67" y="135"/>
                </a:cubicBezTo>
                <a:cubicBezTo>
                  <a:pt x="66" y="135"/>
                  <a:pt x="66" y="135"/>
                  <a:pt x="66" y="135"/>
                </a:cubicBezTo>
                <a:cubicBezTo>
                  <a:pt x="65" y="135"/>
                  <a:pt x="63" y="135"/>
                  <a:pt x="62" y="135"/>
                </a:cubicBezTo>
                <a:cubicBezTo>
                  <a:pt x="61" y="135"/>
                  <a:pt x="61" y="135"/>
                  <a:pt x="61" y="135"/>
                </a:cubicBezTo>
                <a:cubicBezTo>
                  <a:pt x="60" y="141"/>
                  <a:pt x="60" y="141"/>
                  <a:pt x="60" y="141"/>
                </a:cubicBezTo>
                <a:cubicBezTo>
                  <a:pt x="58" y="141"/>
                  <a:pt x="56" y="140"/>
                  <a:pt x="54" y="140"/>
                </a:cubicBezTo>
                <a:cubicBezTo>
                  <a:pt x="54" y="133"/>
                  <a:pt x="54" y="133"/>
                  <a:pt x="54" y="133"/>
                </a:cubicBezTo>
                <a:cubicBezTo>
                  <a:pt x="54" y="133"/>
                  <a:pt x="54" y="133"/>
                  <a:pt x="54" y="133"/>
                </a:cubicBezTo>
                <a:cubicBezTo>
                  <a:pt x="52" y="133"/>
                  <a:pt x="51" y="132"/>
                  <a:pt x="50" y="132"/>
                </a:cubicBezTo>
                <a:cubicBezTo>
                  <a:pt x="49" y="132"/>
                  <a:pt x="49" y="132"/>
                  <a:pt x="49" y="132"/>
                </a:cubicBezTo>
                <a:cubicBezTo>
                  <a:pt x="46" y="137"/>
                  <a:pt x="46" y="137"/>
                  <a:pt x="46" y="137"/>
                </a:cubicBezTo>
                <a:cubicBezTo>
                  <a:pt x="44" y="137"/>
                  <a:pt x="42" y="136"/>
                  <a:pt x="41" y="135"/>
                </a:cubicBezTo>
                <a:cubicBezTo>
                  <a:pt x="42" y="129"/>
                  <a:pt x="42" y="129"/>
                  <a:pt x="42" y="129"/>
                </a:cubicBezTo>
                <a:cubicBezTo>
                  <a:pt x="42" y="129"/>
                  <a:pt x="42" y="129"/>
                  <a:pt x="42" y="129"/>
                </a:cubicBezTo>
                <a:cubicBezTo>
                  <a:pt x="41" y="128"/>
                  <a:pt x="39" y="127"/>
                  <a:pt x="38" y="127"/>
                </a:cubicBezTo>
                <a:cubicBezTo>
                  <a:pt x="38" y="126"/>
                  <a:pt x="38" y="126"/>
                  <a:pt x="38" y="126"/>
                </a:cubicBezTo>
                <a:cubicBezTo>
                  <a:pt x="34" y="131"/>
                  <a:pt x="34" y="131"/>
                  <a:pt x="34" y="131"/>
                </a:cubicBezTo>
                <a:cubicBezTo>
                  <a:pt x="32" y="130"/>
                  <a:pt x="30" y="129"/>
                  <a:pt x="29" y="128"/>
                </a:cubicBezTo>
                <a:cubicBezTo>
                  <a:pt x="32" y="122"/>
                  <a:pt x="32" y="122"/>
                  <a:pt x="32" y="122"/>
                </a:cubicBezTo>
                <a:cubicBezTo>
                  <a:pt x="31" y="122"/>
                  <a:pt x="31" y="122"/>
                  <a:pt x="31" y="122"/>
                </a:cubicBezTo>
                <a:cubicBezTo>
                  <a:pt x="30" y="121"/>
                  <a:pt x="29" y="120"/>
                  <a:pt x="28" y="119"/>
                </a:cubicBezTo>
                <a:cubicBezTo>
                  <a:pt x="28" y="119"/>
                  <a:pt x="28" y="119"/>
                  <a:pt x="28" y="119"/>
                </a:cubicBezTo>
                <a:cubicBezTo>
                  <a:pt x="23" y="123"/>
                  <a:pt x="23" y="123"/>
                  <a:pt x="23" y="123"/>
                </a:cubicBezTo>
                <a:cubicBezTo>
                  <a:pt x="21" y="122"/>
                  <a:pt x="20" y="120"/>
                  <a:pt x="18" y="119"/>
                </a:cubicBezTo>
                <a:cubicBezTo>
                  <a:pt x="22" y="114"/>
                  <a:pt x="22" y="114"/>
                  <a:pt x="22" y="114"/>
                </a:cubicBezTo>
                <a:cubicBezTo>
                  <a:pt x="22" y="114"/>
                  <a:pt x="22" y="114"/>
                  <a:pt x="22" y="114"/>
                </a:cubicBezTo>
                <a:cubicBezTo>
                  <a:pt x="21" y="112"/>
                  <a:pt x="20" y="111"/>
                  <a:pt x="19" y="110"/>
                </a:cubicBezTo>
                <a:cubicBezTo>
                  <a:pt x="19" y="110"/>
                  <a:pt x="19" y="110"/>
                  <a:pt x="19" y="110"/>
                </a:cubicBezTo>
                <a:cubicBezTo>
                  <a:pt x="13" y="113"/>
                  <a:pt x="13" y="113"/>
                  <a:pt x="13" y="113"/>
                </a:cubicBezTo>
                <a:cubicBezTo>
                  <a:pt x="12" y="111"/>
                  <a:pt x="11" y="109"/>
                  <a:pt x="10" y="108"/>
                </a:cubicBezTo>
                <a:cubicBezTo>
                  <a:pt x="15" y="104"/>
                  <a:pt x="15" y="104"/>
                  <a:pt x="15" y="104"/>
                </a:cubicBezTo>
                <a:cubicBezTo>
                  <a:pt x="15" y="103"/>
                  <a:pt x="15" y="103"/>
                  <a:pt x="15" y="103"/>
                </a:cubicBezTo>
                <a:cubicBezTo>
                  <a:pt x="14" y="102"/>
                  <a:pt x="13" y="101"/>
                  <a:pt x="13" y="99"/>
                </a:cubicBezTo>
                <a:cubicBezTo>
                  <a:pt x="12" y="99"/>
                  <a:pt x="12" y="99"/>
                  <a:pt x="12" y="99"/>
                </a:cubicBezTo>
                <a:cubicBezTo>
                  <a:pt x="6" y="101"/>
                  <a:pt x="6" y="101"/>
                  <a:pt x="6" y="101"/>
                </a:cubicBezTo>
                <a:cubicBezTo>
                  <a:pt x="5" y="99"/>
                  <a:pt x="5" y="97"/>
                  <a:pt x="4" y="95"/>
                </a:cubicBezTo>
                <a:cubicBezTo>
                  <a:pt x="10" y="92"/>
                  <a:pt x="10" y="92"/>
                  <a:pt x="10" y="92"/>
                </a:cubicBezTo>
                <a:cubicBezTo>
                  <a:pt x="10" y="92"/>
                  <a:pt x="10" y="92"/>
                  <a:pt x="10" y="92"/>
                </a:cubicBezTo>
                <a:cubicBezTo>
                  <a:pt x="9" y="90"/>
                  <a:pt x="9" y="89"/>
                  <a:pt x="8" y="88"/>
                </a:cubicBezTo>
                <a:cubicBezTo>
                  <a:pt x="8" y="87"/>
                  <a:pt x="8" y="87"/>
                  <a:pt x="8" y="87"/>
                </a:cubicBezTo>
                <a:cubicBezTo>
                  <a:pt x="2" y="88"/>
                  <a:pt x="2" y="88"/>
                  <a:pt x="2" y="88"/>
                </a:cubicBezTo>
                <a:cubicBezTo>
                  <a:pt x="1" y="86"/>
                  <a:pt x="1" y="84"/>
                  <a:pt x="1" y="82"/>
                </a:cubicBezTo>
                <a:cubicBezTo>
                  <a:pt x="7" y="80"/>
                  <a:pt x="7" y="80"/>
                  <a:pt x="7" y="80"/>
                </a:cubicBezTo>
                <a:cubicBezTo>
                  <a:pt x="7" y="80"/>
                  <a:pt x="7" y="80"/>
                  <a:pt x="7" y="80"/>
                </a:cubicBezTo>
                <a:cubicBezTo>
                  <a:pt x="6" y="78"/>
                  <a:pt x="6" y="77"/>
                  <a:pt x="6" y="75"/>
                </a:cubicBezTo>
                <a:cubicBezTo>
                  <a:pt x="6" y="75"/>
                  <a:pt x="6" y="75"/>
                  <a:pt x="6" y="75"/>
                </a:cubicBezTo>
                <a:cubicBezTo>
                  <a:pt x="0" y="74"/>
                  <a:pt x="0" y="74"/>
                  <a:pt x="0" y="74"/>
                </a:cubicBezTo>
                <a:cubicBezTo>
                  <a:pt x="0" y="73"/>
                  <a:pt x="0" y="72"/>
                  <a:pt x="0" y="71"/>
                </a:cubicBezTo>
                <a:cubicBezTo>
                  <a:pt x="0" y="70"/>
                  <a:pt x="0" y="69"/>
                  <a:pt x="0" y="68"/>
                </a:cubicBezTo>
                <a:cubicBezTo>
                  <a:pt x="6" y="67"/>
                  <a:pt x="6" y="67"/>
                  <a:pt x="6" y="67"/>
                </a:cubicBezTo>
                <a:cubicBezTo>
                  <a:pt x="6" y="67"/>
                  <a:pt x="6" y="67"/>
                  <a:pt x="6" y="67"/>
                </a:cubicBezTo>
                <a:cubicBezTo>
                  <a:pt x="6" y="65"/>
                  <a:pt x="6" y="64"/>
                  <a:pt x="7" y="62"/>
                </a:cubicBezTo>
                <a:cubicBezTo>
                  <a:pt x="7" y="62"/>
                  <a:pt x="7" y="62"/>
                  <a:pt x="7" y="62"/>
                </a:cubicBezTo>
                <a:cubicBezTo>
                  <a:pt x="1" y="60"/>
                  <a:pt x="1" y="60"/>
                  <a:pt x="1" y="60"/>
                </a:cubicBezTo>
                <a:cubicBezTo>
                  <a:pt x="1" y="58"/>
                  <a:pt x="1" y="56"/>
                  <a:pt x="2" y="54"/>
                </a:cubicBezTo>
                <a:cubicBezTo>
                  <a:pt x="8" y="55"/>
                  <a:pt x="8" y="55"/>
                  <a:pt x="8" y="55"/>
                </a:cubicBezTo>
                <a:cubicBezTo>
                  <a:pt x="8" y="54"/>
                  <a:pt x="8" y="54"/>
                  <a:pt x="8" y="54"/>
                </a:cubicBezTo>
                <a:cubicBezTo>
                  <a:pt x="9" y="53"/>
                  <a:pt x="9" y="52"/>
                  <a:pt x="10" y="50"/>
                </a:cubicBezTo>
                <a:cubicBezTo>
                  <a:pt x="10" y="50"/>
                  <a:pt x="10" y="50"/>
                  <a:pt x="10" y="50"/>
                </a:cubicBezTo>
                <a:cubicBezTo>
                  <a:pt x="4" y="47"/>
                  <a:pt x="4" y="47"/>
                  <a:pt x="4" y="47"/>
                </a:cubicBezTo>
                <a:cubicBezTo>
                  <a:pt x="5" y="45"/>
                  <a:pt x="5" y="43"/>
                  <a:pt x="6" y="41"/>
                </a:cubicBezTo>
                <a:cubicBezTo>
                  <a:pt x="12" y="43"/>
                  <a:pt x="12" y="43"/>
                  <a:pt x="12" y="43"/>
                </a:cubicBezTo>
                <a:cubicBezTo>
                  <a:pt x="13" y="43"/>
                  <a:pt x="13" y="43"/>
                  <a:pt x="13" y="43"/>
                </a:cubicBezTo>
                <a:cubicBezTo>
                  <a:pt x="13" y="41"/>
                  <a:pt x="14" y="40"/>
                  <a:pt x="15" y="39"/>
                </a:cubicBezTo>
                <a:cubicBezTo>
                  <a:pt x="15" y="38"/>
                  <a:pt x="15" y="38"/>
                  <a:pt x="15" y="38"/>
                </a:cubicBezTo>
                <a:cubicBezTo>
                  <a:pt x="10" y="34"/>
                  <a:pt x="10" y="34"/>
                  <a:pt x="10" y="34"/>
                </a:cubicBezTo>
                <a:cubicBezTo>
                  <a:pt x="11" y="33"/>
                  <a:pt x="12" y="31"/>
                  <a:pt x="13" y="29"/>
                </a:cubicBezTo>
                <a:cubicBezTo>
                  <a:pt x="19" y="32"/>
                  <a:pt x="19" y="32"/>
                  <a:pt x="19" y="32"/>
                </a:cubicBezTo>
                <a:cubicBezTo>
                  <a:pt x="19" y="32"/>
                  <a:pt x="19" y="32"/>
                  <a:pt x="19" y="32"/>
                </a:cubicBezTo>
                <a:cubicBezTo>
                  <a:pt x="20" y="31"/>
                  <a:pt x="21" y="30"/>
                  <a:pt x="22" y="29"/>
                </a:cubicBezTo>
                <a:cubicBezTo>
                  <a:pt x="22" y="28"/>
                  <a:pt x="22" y="28"/>
                  <a:pt x="22" y="28"/>
                </a:cubicBezTo>
                <a:cubicBezTo>
                  <a:pt x="18" y="23"/>
                  <a:pt x="18" y="23"/>
                  <a:pt x="18" y="23"/>
                </a:cubicBezTo>
                <a:cubicBezTo>
                  <a:pt x="20" y="22"/>
                  <a:pt x="21" y="20"/>
                  <a:pt x="23" y="19"/>
                </a:cubicBezTo>
                <a:cubicBezTo>
                  <a:pt x="28" y="23"/>
                  <a:pt x="28" y="23"/>
                  <a:pt x="28" y="23"/>
                </a:cubicBezTo>
                <a:cubicBezTo>
                  <a:pt x="28" y="23"/>
                  <a:pt x="28" y="23"/>
                  <a:pt x="28" y="23"/>
                </a:cubicBezTo>
                <a:cubicBezTo>
                  <a:pt x="29" y="22"/>
                  <a:pt x="30" y="21"/>
                  <a:pt x="31" y="20"/>
                </a:cubicBezTo>
                <a:cubicBezTo>
                  <a:pt x="32" y="20"/>
                  <a:pt x="32" y="20"/>
                  <a:pt x="32" y="20"/>
                </a:cubicBezTo>
                <a:cubicBezTo>
                  <a:pt x="29" y="14"/>
                  <a:pt x="29" y="14"/>
                  <a:pt x="29" y="14"/>
                </a:cubicBezTo>
                <a:cubicBezTo>
                  <a:pt x="30" y="13"/>
                  <a:pt x="32" y="12"/>
                  <a:pt x="34" y="11"/>
                </a:cubicBezTo>
                <a:cubicBezTo>
                  <a:pt x="38" y="16"/>
                  <a:pt x="38" y="16"/>
                  <a:pt x="38" y="16"/>
                </a:cubicBezTo>
                <a:cubicBezTo>
                  <a:pt x="38" y="15"/>
                  <a:pt x="38" y="15"/>
                  <a:pt x="38" y="15"/>
                </a:cubicBezTo>
                <a:cubicBezTo>
                  <a:pt x="39" y="15"/>
                  <a:pt x="41" y="14"/>
                  <a:pt x="42" y="13"/>
                </a:cubicBezTo>
                <a:cubicBezTo>
                  <a:pt x="42" y="13"/>
                  <a:pt x="42" y="13"/>
                  <a:pt x="42" y="13"/>
                </a:cubicBezTo>
                <a:cubicBezTo>
                  <a:pt x="41" y="7"/>
                  <a:pt x="41" y="7"/>
                  <a:pt x="41" y="7"/>
                </a:cubicBezTo>
                <a:cubicBezTo>
                  <a:pt x="42" y="6"/>
                  <a:pt x="44" y="5"/>
                  <a:pt x="46" y="5"/>
                </a:cubicBezTo>
                <a:cubicBezTo>
                  <a:pt x="49" y="10"/>
                  <a:pt x="49" y="10"/>
                  <a:pt x="49" y="10"/>
                </a:cubicBezTo>
                <a:cubicBezTo>
                  <a:pt x="50" y="10"/>
                  <a:pt x="50" y="10"/>
                  <a:pt x="50" y="10"/>
                </a:cubicBezTo>
                <a:cubicBezTo>
                  <a:pt x="51" y="10"/>
                  <a:pt x="52" y="9"/>
                  <a:pt x="54" y="9"/>
                </a:cubicBezTo>
                <a:cubicBezTo>
                  <a:pt x="54" y="9"/>
                  <a:pt x="54" y="9"/>
                  <a:pt x="54" y="9"/>
                </a:cubicBezTo>
                <a:cubicBezTo>
                  <a:pt x="54" y="2"/>
                  <a:pt x="54" y="2"/>
                  <a:pt x="54" y="2"/>
                </a:cubicBezTo>
                <a:cubicBezTo>
                  <a:pt x="56" y="2"/>
                  <a:pt x="58" y="1"/>
                  <a:pt x="60" y="1"/>
                </a:cubicBezTo>
                <a:cubicBezTo>
                  <a:pt x="61" y="7"/>
                  <a:pt x="61" y="7"/>
                  <a:pt x="61" y="7"/>
                </a:cubicBezTo>
                <a:cubicBezTo>
                  <a:pt x="62" y="7"/>
                  <a:pt x="62" y="7"/>
                  <a:pt x="62" y="7"/>
                </a:cubicBezTo>
                <a:cubicBezTo>
                  <a:pt x="63" y="7"/>
                  <a:pt x="65" y="7"/>
                  <a:pt x="66" y="7"/>
                </a:cubicBezTo>
                <a:cubicBezTo>
                  <a:pt x="67" y="7"/>
                  <a:pt x="67" y="7"/>
                  <a:pt x="67" y="7"/>
                </a:cubicBezTo>
                <a:cubicBezTo>
                  <a:pt x="67" y="0"/>
                  <a:pt x="67" y="0"/>
                  <a:pt x="67" y="0"/>
                </a:cubicBezTo>
                <a:cubicBezTo>
                  <a:pt x="68" y="0"/>
                  <a:pt x="69" y="0"/>
                  <a:pt x="70" y="0"/>
                </a:cubicBezTo>
                <a:cubicBezTo>
                  <a:pt x="71" y="0"/>
                  <a:pt x="72" y="0"/>
                  <a:pt x="73" y="0"/>
                </a:cubicBezTo>
                <a:cubicBezTo>
                  <a:pt x="74" y="7"/>
                  <a:pt x="74" y="7"/>
                  <a:pt x="74" y="7"/>
                </a:cubicBezTo>
                <a:cubicBezTo>
                  <a:pt x="74" y="7"/>
                  <a:pt x="74" y="7"/>
                  <a:pt x="74" y="7"/>
                </a:cubicBezTo>
                <a:cubicBezTo>
                  <a:pt x="76" y="7"/>
                  <a:pt x="77" y="7"/>
                  <a:pt x="79" y="7"/>
                </a:cubicBezTo>
                <a:cubicBezTo>
                  <a:pt x="79" y="7"/>
                  <a:pt x="79" y="7"/>
                  <a:pt x="79" y="7"/>
                </a:cubicBezTo>
                <a:cubicBezTo>
                  <a:pt x="81" y="1"/>
                  <a:pt x="81" y="1"/>
                  <a:pt x="81" y="1"/>
                </a:cubicBezTo>
                <a:cubicBezTo>
                  <a:pt x="83" y="1"/>
                  <a:pt x="85" y="2"/>
                  <a:pt x="87" y="2"/>
                </a:cubicBezTo>
                <a:cubicBezTo>
                  <a:pt x="87" y="9"/>
                  <a:pt x="87" y="9"/>
                  <a:pt x="87" y="9"/>
                </a:cubicBezTo>
                <a:cubicBezTo>
                  <a:pt x="87" y="9"/>
                  <a:pt x="87" y="9"/>
                  <a:pt x="87" y="9"/>
                </a:cubicBezTo>
                <a:cubicBezTo>
                  <a:pt x="88" y="9"/>
                  <a:pt x="90" y="10"/>
                  <a:pt x="91" y="10"/>
                </a:cubicBezTo>
                <a:cubicBezTo>
                  <a:pt x="92" y="10"/>
                  <a:pt x="92" y="10"/>
                  <a:pt x="92" y="10"/>
                </a:cubicBezTo>
                <a:cubicBezTo>
                  <a:pt x="95" y="5"/>
                  <a:pt x="95" y="5"/>
                  <a:pt x="95" y="5"/>
                </a:cubicBezTo>
                <a:cubicBezTo>
                  <a:pt x="96" y="5"/>
                  <a:pt x="98" y="6"/>
                  <a:pt x="100" y="7"/>
                </a:cubicBezTo>
                <a:cubicBezTo>
                  <a:pt x="98" y="13"/>
                  <a:pt x="98" y="13"/>
                  <a:pt x="98" y="13"/>
                </a:cubicBezTo>
                <a:cubicBezTo>
                  <a:pt x="99" y="13"/>
                  <a:pt x="99" y="13"/>
                  <a:pt x="99" y="13"/>
                </a:cubicBezTo>
                <a:cubicBezTo>
                  <a:pt x="100" y="14"/>
                  <a:pt x="101" y="15"/>
                  <a:pt x="103" y="15"/>
                </a:cubicBezTo>
                <a:cubicBezTo>
                  <a:pt x="103" y="16"/>
                  <a:pt x="103" y="16"/>
                  <a:pt x="103" y="16"/>
                </a:cubicBezTo>
                <a:cubicBezTo>
                  <a:pt x="107" y="11"/>
                  <a:pt x="107" y="11"/>
                  <a:pt x="107" y="11"/>
                </a:cubicBezTo>
                <a:cubicBezTo>
                  <a:pt x="109" y="12"/>
                  <a:pt x="111" y="13"/>
                  <a:pt x="112" y="14"/>
                </a:cubicBezTo>
                <a:cubicBezTo>
                  <a:pt x="109" y="20"/>
                  <a:pt x="109" y="20"/>
                  <a:pt x="109" y="20"/>
                </a:cubicBezTo>
                <a:cubicBezTo>
                  <a:pt x="109" y="20"/>
                  <a:pt x="109" y="20"/>
                  <a:pt x="109" y="20"/>
                </a:cubicBezTo>
                <a:cubicBezTo>
                  <a:pt x="111" y="21"/>
                  <a:pt x="112" y="22"/>
                  <a:pt x="113" y="23"/>
                </a:cubicBezTo>
                <a:cubicBezTo>
                  <a:pt x="113" y="23"/>
                  <a:pt x="113" y="23"/>
                  <a:pt x="113" y="23"/>
                </a:cubicBezTo>
                <a:cubicBezTo>
                  <a:pt x="118" y="19"/>
                  <a:pt x="118" y="19"/>
                  <a:pt x="118" y="19"/>
                </a:cubicBezTo>
                <a:cubicBezTo>
                  <a:pt x="120" y="20"/>
                  <a:pt x="121" y="22"/>
                  <a:pt x="122" y="23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9" y="29"/>
                  <a:pt x="119" y="29"/>
                  <a:pt x="119" y="29"/>
                </a:cubicBezTo>
                <a:cubicBezTo>
                  <a:pt x="120" y="30"/>
                  <a:pt x="121" y="31"/>
                  <a:pt x="121" y="32"/>
                </a:cubicBezTo>
                <a:cubicBezTo>
                  <a:pt x="122" y="32"/>
                  <a:pt x="122" y="32"/>
                  <a:pt x="122" y="32"/>
                </a:cubicBezTo>
                <a:cubicBezTo>
                  <a:pt x="127" y="29"/>
                  <a:pt x="127" y="29"/>
                  <a:pt x="127" y="29"/>
                </a:cubicBezTo>
                <a:cubicBezTo>
                  <a:pt x="129" y="31"/>
                  <a:pt x="130" y="33"/>
                  <a:pt x="131" y="34"/>
                </a:cubicBezTo>
                <a:cubicBezTo>
                  <a:pt x="126" y="38"/>
                  <a:pt x="126" y="38"/>
                  <a:pt x="126" y="38"/>
                </a:cubicBezTo>
                <a:cubicBezTo>
                  <a:pt x="126" y="39"/>
                  <a:pt x="126" y="39"/>
                  <a:pt x="126" y="39"/>
                </a:cubicBezTo>
                <a:cubicBezTo>
                  <a:pt x="127" y="40"/>
                  <a:pt x="128" y="41"/>
                  <a:pt x="128" y="43"/>
                </a:cubicBezTo>
                <a:cubicBezTo>
                  <a:pt x="128" y="43"/>
                  <a:pt x="128" y="43"/>
                  <a:pt x="128" y="43"/>
                </a:cubicBezTo>
                <a:cubicBezTo>
                  <a:pt x="134" y="41"/>
                  <a:pt x="134" y="41"/>
                  <a:pt x="134" y="41"/>
                </a:cubicBezTo>
                <a:cubicBezTo>
                  <a:pt x="135" y="43"/>
                  <a:pt x="136" y="45"/>
                  <a:pt x="137" y="47"/>
                </a:cubicBezTo>
                <a:cubicBezTo>
                  <a:pt x="131" y="50"/>
                  <a:pt x="131" y="50"/>
                  <a:pt x="131" y="50"/>
                </a:cubicBezTo>
                <a:cubicBezTo>
                  <a:pt x="131" y="50"/>
                  <a:pt x="131" y="50"/>
                  <a:pt x="131" y="50"/>
                </a:cubicBezTo>
                <a:cubicBezTo>
                  <a:pt x="132" y="52"/>
                  <a:pt x="132" y="53"/>
                  <a:pt x="133" y="54"/>
                </a:cubicBezTo>
                <a:cubicBezTo>
                  <a:pt x="133" y="55"/>
                  <a:pt x="133" y="55"/>
                  <a:pt x="133" y="55"/>
                </a:cubicBezTo>
                <a:cubicBezTo>
                  <a:pt x="139" y="54"/>
                  <a:pt x="139" y="54"/>
                  <a:pt x="139" y="54"/>
                </a:cubicBezTo>
                <a:cubicBezTo>
                  <a:pt x="140" y="56"/>
                  <a:pt x="140" y="58"/>
                  <a:pt x="140" y="60"/>
                </a:cubicBezTo>
                <a:cubicBezTo>
                  <a:pt x="134" y="62"/>
                  <a:pt x="134" y="62"/>
                  <a:pt x="134" y="62"/>
                </a:cubicBezTo>
                <a:cubicBezTo>
                  <a:pt x="134" y="62"/>
                  <a:pt x="134" y="62"/>
                  <a:pt x="134" y="62"/>
                </a:cubicBezTo>
                <a:cubicBezTo>
                  <a:pt x="134" y="64"/>
                  <a:pt x="134" y="65"/>
                  <a:pt x="135" y="67"/>
                </a:cubicBezTo>
                <a:cubicBezTo>
                  <a:pt x="135" y="67"/>
                  <a:pt x="135" y="67"/>
                  <a:pt x="135" y="67"/>
                </a:cubicBezTo>
                <a:cubicBezTo>
                  <a:pt x="141" y="68"/>
                  <a:pt x="141" y="68"/>
                  <a:pt x="141" y="68"/>
                </a:cubicBezTo>
                <a:cubicBezTo>
                  <a:pt x="141" y="69"/>
                  <a:pt x="141" y="70"/>
                  <a:pt x="141" y="71"/>
                </a:cubicBezTo>
                <a:cubicBezTo>
                  <a:pt x="141" y="72"/>
                  <a:pt x="141" y="73"/>
                  <a:pt x="141" y="74"/>
                </a:cubicBezTo>
                <a:cubicBezTo>
                  <a:pt x="135" y="75"/>
                  <a:pt x="135" y="75"/>
                  <a:pt x="135" y="75"/>
                </a:cubicBezTo>
                <a:cubicBezTo>
                  <a:pt x="135" y="75"/>
                  <a:pt x="135" y="75"/>
                  <a:pt x="135" y="75"/>
                </a:cubicBezTo>
                <a:cubicBezTo>
                  <a:pt x="134" y="77"/>
                  <a:pt x="134" y="78"/>
                  <a:pt x="134" y="80"/>
                </a:cubicBezTo>
                <a:cubicBezTo>
                  <a:pt x="134" y="80"/>
                  <a:pt x="134" y="80"/>
                  <a:pt x="134" y="80"/>
                </a:cubicBezTo>
                <a:cubicBezTo>
                  <a:pt x="140" y="82"/>
                  <a:pt x="140" y="82"/>
                  <a:pt x="140" y="82"/>
                </a:cubicBezTo>
                <a:cubicBezTo>
                  <a:pt x="140" y="84"/>
                  <a:pt x="140" y="86"/>
                  <a:pt x="139" y="88"/>
                </a:cubicBezTo>
                <a:cubicBezTo>
                  <a:pt x="133" y="87"/>
                  <a:pt x="133" y="87"/>
                  <a:pt x="133" y="87"/>
                </a:cubicBezTo>
                <a:cubicBezTo>
                  <a:pt x="133" y="88"/>
                  <a:pt x="133" y="88"/>
                  <a:pt x="133" y="88"/>
                </a:cubicBezTo>
                <a:cubicBezTo>
                  <a:pt x="132" y="89"/>
                  <a:pt x="132" y="90"/>
                  <a:pt x="131" y="92"/>
                </a:cubicBezTo>
                <a:cubicBezTo>
                  <a:pt x="131" y="92"/>
                  <a:pt x="131" y="92"/>
                  <a:pt x="131" y="92"/>
                </a:cubicBezTo>
                <a:cubicBezTo>
                  <a:pt x="137" y="95"/>
                  <a:pt x="137" y="95"/>
                  <a:pt x="137" y="95"/>
                </a:cubicBezTo>
                <a:cubicBezTo>
                  <a:pt x="136" y="97"/>
                  <a:pt x="135" y="99"/>
                  <a:pt x="134" y="101"/>
                </a:cubicBezTo>
                <a:cubicBezTo>
                  <a:pt x="128" y="99"/>
                  <a:pt x="128" y="99"/>
                  <a:pt x="128" y="99"/>
                </a:cubicBezTo>
                <a:cubicBezTo>
                  <a:pt x="128" y="99"/>
                  <a:pt x="128" y="99"/>
                  <a:pt x="128" y="99"/>
                </a:cubicBezTo>
                <a:cubicBezTo>
                  <a:pt x="128" y="101"/>
                  <a:pt x="127" y="102"/>
                  <a:pt x="126" y="103"/>
                </a:cubicBezTo>
                <a:cubicBezTo>
                  <a:pt x="126" y="104"/>
                  <a:pt x="126" y="104"/>
                  <a:pt x="126" y="104"/>
                </a:cubicBezTo>
                <a:cubicBezTo>
                  <a:pt x="131" y="108"/>
                  <a:pt x="131" y="108"/>
                  <a:pt x="131" y="108"/>
                </a:cubicBezTo>
                <a:cubicBezTo>
                  <a:pt x="130" y="109"/>
                  <a:pt x="129" y="111"/>
                  <a:pt x="127" y="113"/>
                </a:cubicBezTo>
                <a:cubicBezTo>
                  <a:pt x="122" y="110"/>
                  <a:pt x="122" y="110"/>
                  <a:pt x="122" y="110"/>
                </a:cubicBezTo>
                <a:cubicBezTo>
                  <a:pt x="121" y="110"/>
                  <a:pt x="121" y="110"/>
                  <a:pt x="121" y="110"/>
                </a:cubicBezTo>
                <a:cubicBezTo>
                  <a:pt x="121" y="111"/>
                  <a:pt x="120" y="112"/>
                  <a:pt x="119" y="114"/>
                </a:cubicBezTo>
                <a:cubicBezTo>
                  <a:pt x="118" y="114"/>
                  <a:pt x="118" y="114"/>
                  <a:pt x="118" y="114"/>
                </a:cubicBezTo>
                <a:cubicBezTo>
                  <a:pt x="122" y="119"/>
                  <a:pt x="122" y="119"/>
                  <a:pt x="122" y="119"/>
                </a:cubicBezTo>
                <a:cubicBezTo>
                  <a:pt x="121" y="120"/>
                  <a:pt x="120" y="122"/>
                  <a:pt x="118" y="123"/>
                </a:cubicBezTo>
                <a:cubicBezTo>
                  <a:pt x="113" y="119"/>
                  <a:pt x="113" y="119"/>
                  <a:pt x="113" y="119"/>
                </a:cubicBezTo>
                <a:cubicBezTo>
                  <a:pt x="113" y="119"/>
                  <a:pt x="113" y="119"/>
                  <a:pt x="113" y="119"/>
                </a:cubicBezTo>
                <a:cubicBezTo>
                  <a:pt x="112" y="120"/>
                  <a:pt x="111" y="121"/>
                  <a:pt x="109" y="122"/>
                </a:cubicBezTo>
                <a:cubicBezTo>
                  <a:pt x="109" y="122"/>
                  <a:pt x="109" y="122"/>
                  <a:pt x="109" y="122"/>
                </a:cubicBezTo>
                <a:cubicBezTo>
                  <a:pt x="112" y="128"/>
                  <a:pt x="112" y="128"/>
                  <a:pt x="112" y="128"/>
                </a:cubicBezTo>
                <a:cubicBezTo>
                  <a:pt x="111" y="129"/>
                  <a:pt x="109" y="130"/>
                  <a:pt x="107" y="131"/>
                </a:cubicBezTo>
                <a:cubicBezTo>
                  <a:pt x="103" y="126"/>
                  <a:pt x="103" y="126"/>
                  <a:pt x="103" y="126"/>
                </a:cubicBezTo>
                <a:cubicBezTo>
                  <a:pt x="103" y="127"/>
                  <a:pt x="103" y="127"/>
                  <a:pt x="103" y="127"/>
                </a:cubicBezTo>
                <a:cubicBezTo>
                  <a:pt x="101" y="127"/>
                  <a:pt x="100" y="128"/>
                  <a:pt x="99" y="129"/>
                </a:cubicBezTo>
                <a:cubicBezTo>
                  <a:pt x="98" y="129"/>
                  <a:pt x="98" y="129"/>
                  <a:pt x="98" y="129"/>
                </a:cubicBezTo>
                <a:cubicBezTo>
                  <a:pt x="100" y="135"/>
                  <a:pt x="100" y="135"/>
                  <a:pt x="100" y="135"/>
                </a:cubicBezTo>
                <a:cubicBezTo>
                  <a:pt x="98" y="136"/>
                  <a:pt x="96" y="137"/>
                  <a:pt x="95" y="137"/>
                </a:cubicBezTo>
                <a:cubicBezTo>
                  <a:pt x="92" y="132"/>
                  <a:pt x="92" y="132"/>
                  <a:pt x="92" y="132"/>
                </a:cubicBezTo>
                <a:cubicBezTo>
                  <a:pt x="91" y="132"/>
                  <a:pt x="91" y="132"/>
                  <a:pt x="91" y="132"/>
                </a:cubicBezTo>
                <a:cubicBezTo>
                  <a:pt x="90" y="132"/>
                  <a:pt x="88" y="133"/>
                  <a:pt x="87" y="133"/>
                </a:cubicBezTo>
                <a:cubicBezTo>
                  <a:pt x="87" y="133"/>
                  <a:pt x="87" y="133"/>
                  <a:pt x="87" y="133"/>
                </a:cubicBezTo>
                <a:cubicBezTo>
                  <a:pt x="87" y="140"/>
                  <a:pt x="87" y="140"/>
                  <a:pt x="87" y="140"/>
                </a:cubicBezTo>
                <a:cubicBezTo>
                  <a:pt x="85" y="140"/>
                  <a:pt x="83" y="141"/>
                  <a:pt x="81" y="141"/>
                </a:cubicBezTo>
                <a:cubicBezTo>
                  <a:pt x="79" y="135"/>
                  <a:pt x="79" y="135"/>
                  <a:pt x="79" y="135"/>
                </a:cubicBezTo>
                <a:cubicBezTo>
                  <a:pt x="79" y="135"/>
                  <a:pt x="79" y="135"/>
                  <a:pt x="79" y="135"/>
                </a:cubicBezTo>
                <a:cubicBezTo>
                  <a:pt x="77" y="135"/>
                  <a:pt x="76" y="135"/>
                  <a:pt x="74" y="135"/>
                </a:cubicBezTo>
                <a:cubicBezTo>
                  <a:pt x="74" y="135"/>
                  <a:pt x="74" y="135"/>
                  <a:pt x="74" y="135"/>
                </a:cubicBezTo>
                <a:cubicBezTo>
                  <a:pt x="73" y="142"/>
                  <a:pt x="73" y="142"/>
                  <a:pt x="73" y="142"/>
                </a:cubicBezTo>
                <a:cubicBezTo>
                  <a:pt x="72" y="142"/>
                  <a:pt x="71" y="142"/>
                  <a:pt x="70" y="142"/>
                </a:cubicBezTo>
                <a:close/>
              </a:path>
            </a:pathLst>
          </a:custGeom>
          <a:solidFill>
            <a:srgbClr val="AFABAB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229" name="Freeform 6"/>
          <p:cNvSpPr>
            <a:spLocks/>
          </p:cNvSpPr>
          <p:nvPr/>
        </p:nvSpPr>
        <p:spPr bwMode="auto">
          <a:xfrm>
            <a:off x="5443759" y="5243255"/>
            <a:ext cx="1289034" cy="182998"/>
          </a:xfrm>
          <a:custGeom>
            <a:avLst/>
            <a:gdLst>
              <a:gd name="T0" fmla="*/ 52 w 56"/>
              <a:gd name="T1" fmla="*/ 0 h 8"/>
              <a:gd name="T2" fmla="*/ 4 w 56"/>
              <a:gd name="T3" fmla="*/ 0 h 8"/>
              <a:gd name="T4" fmla="*/ 0 w 56"/>
              <a:gd name="T5" fmla="*/ 4 h 8"/>
              <a:gd name="T6" fmla="*/ 4 w 56"/>
              <a:gd name="T7" fmla="*/ 8 h 8"/>
              <a:gd name="T8" fmla="*/ 52 w 56"/>
              <a:gd name="T9" fmla="*/ 8 h 8"/>
              <a:gd name="T10" fmla="*/ 56 w 56"/>
              <a:gd name="T11" fmla="*/ 4 h 8"/>
              <a:gd name="T12" fmla="*/ 52 w 56"/>
              <a:gd name="T13" fmla="*/ 0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6" h="8">
                <a:moveTo>
                  <a:pt x="52" y="0"/>
                </a:moveTo>
                <a:cubicBezTo>
                  <a:pt x="4" y="0"/>
                  <a:pt x="4" y="0"/>
                  <a:pt x="4" y="0"/>
                </a:cubicBezTo>
                <a:cubicBezTo>
                  <a:pt x="2" y="0"/>
                  <a:pt x="0" y="2"/>
                  <a:pt x="0" y="4"/>
                </a:cubicBezTo>
                <a:cubicBezTo>
                  <a:pt x="0" y="6"/>
                  <a:pt x="2" y="8"/>
                  <a:pt x="4" y="8"/>
                </a:cubicBezTo>
                <a:cubicBezTo>
                  <a:pt x="52" y="8"/>
                  <a:pt x="52" y="8"/>
                  <a:pt x="52" y="8"/>
                </a:cubicBezTo>
                <a:cubicBezTo>
                  <a:pt x="54" y="8"/>
                  <a:pt x="56" y="6"/>
                  <a:pt x="56" y="4"/>
                </a:cubicBezTo>
                <a:cubicBezTo>
                  <a:pt x="56" y="2"/>
                  <a:pt x="54" y="0"/>
                  <a:pt x="52" y="0"/>
                </a:cubicBezTo>
                <a:close/>
              </a:path>
            </a:pathLst>
          </a:custGeom>
          <a:solidFill>
            <a:srgbClr val="AFABAB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230" name="Freeform 7"/>
          <p:cNvSpPr>
            <a:spLocks/>
          </p:cNvSpPr>
          <p:nvPr/>
        </p:nvSpPr>
        <p:spPr bwMode="auto">
          <a:xfrm>
            <a:off x="5443759" y="5609252"/>
            <a:ext cx="1289034" cy="182998"/>
          </a:xfrm>
          <a:custGeom>
            <a:avLst/>
            <a:gdLst>
              <a:gd name="T0" fmla="*/ 52 w 56"/>
              <a:gd name="T1" fmla="*/ 0 h 8"/>
              <a:gd name="T2" fmla="*/ 4 w 56"/>
              <a:gd name="T3" fmla="*/ 0 h 8"/>
              <a:gd name="T4" fmla="*/ 0 w 56"/>
              <a:gd name="T5" fmla="*/ 4 h 8"/>
              <a:gd name="T6" fmla="*/ 4 w 56"/>
              <a:gd name="T7" fmla="*/ 8 h 8"/>
              <a:gd name="T8" fmla="*/ 52 w 56"/>
              <a:gd name="T9" fmla="*/ 8 h 8"/>
              <a:gd name="T10" fmla="*/ 56 w 56"/>
              <a:gd name="T11" fmla="*/ 4 h 8"/>
              <a:gd name="T12" fmla="*/ 52 w 56"/>
              <a:gd name="T13" fmla="*/ 0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6" h="8">
                <a:moveTo>
                  <a:pt x="52" y="0"/>
                </a:moveTo>
                <a:cubicBezTo>
                  <a:pt x="4" y="0"/>
                  <a:pt x="4" y="0"/>
                  <a:pt x="4" y="0"/>
                </a:cubicBezTo>
                <a:cubicBezTo>
                  <a:pt x="2" y="0"/>
                  <a:pt x="0" y="2"/>
                  <a:pt x="0" y="4"/>
                </a:cubicBezTo>
                <a:cubicBezTo>
                  <a:pt x="0" y="6"/>
                  <a:pt x="2" y="8"/>
                  <a:pt x="4" y="8"/>
                </a:cubicBezTo>
                <a:cubicBezTo>
                  <a:pt x="52" y="8"/>
                  <a:pt x="52" y="8"/>
                  <a:pt x="52" y="8"/>
                </a:cubicBezTo>
                <a:cubicBezTo>
                  <a:pt x="54" y="8"/>
                  <a:pt x="56" y="6"/>
                  <a:pt x="56" y="4"/>
                </a:cubicBezTo>
                <a:cubicBezTo>
                  <a:pt x="56" y="2"/>
                  <a:pt x="54" y="0"/>
                  <a:pt x="52" y="0"/>
                </a:cubicBezTo>
                <a:close/>
              </a:path>
            </a:pathLst>
          </a:custGeom>
          <a:solidFill>
            <a:srgbClr val="AFABAB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231" name="Freeform 8"/>
          <p:cNvSpPr>
            <a:spLocks/>
          </p:cNvSpPr>
          <p:nvPr/>
        </p:nvSpPr>
        <p:spPr bwMode="auto">
          <a:xfrm>
            <a:off x="5443759" y="5977261"/>
            <a:ext cx="1289034" cy="548994"/>
          </a:xfrm>
          <a:custGeom>
            <a:avLst/>
            <a:gdLst>
              <a:gd name="T0" fmla="*/ 52 w 56"/>
              <a:gd name="T1" fmla="*/ 0 h 24"/>
              <a:gd name="T2" fmla="*/ 4 w 56"/>
              <a:gd name="T3" fmla="*/ 0 h 24"/>
              <a:gd name="T4" fmla="*/ 0 w 56"/>
              <a:gd name="T5" fmla="*/ 4 h 24"/>
              <a:gd name="T6" fmla="*/ 4 w 56"/>
              <a:gd name="T7" fmla="*/ 8 h 24"/>
              <a:gd name="T8" fmla="*/ 24 w 56"/>
              <a:gd name="T9" fmla="*/ 8 h 24"/>
              <a:gd name="T10" fmla="*/ 24 w 56"/>
              <a:gd name="T11" fmla="*/ 20 h 24"/>
              <a:gd name="T12" fmla="*/ 28 w 56"/>
              <a:gd name="T13" fmla="*/ 24 h 24"/>
              <a:gd name="T14" fmla="*/ 32 w 56"/>
              <a:gd name="T15" fmla="*/ 20 h 24"/>
              <a:gd name="T16" fmla="*/ 32 w 56"/>
              <a:gd name="T17" fmla="*/ 8 h 24"/>
              <a:gd name="T18" fmla="*/ 52 w 56"/>
              <a:gd name="T19" fmla="*/ 8 h 24"/>
              <a:gd name="T20" fmla="*/ 56 w 56"/>
              <a:gd name="T21" fmla="*/ 4 h 24"/>
              <a:gd name="T22" fmla="*/ 52 w 56"/>
              <a:gd name="T23" fmla="*/ 0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56" h="24">
                <a:moveTo>
                  <a:pt x="52" y="0"/>
                </a:moveTo>
                <a:cubicBezTo>
                  <a:pt x="4" y="0"/>
                  <a:pt x="4" y="0"/>
                  <a:pt x="4" y="0"/>
                </a:cubicBezTo>
                <a:cubicBezTo>
                  <a:pt x="2" y="0"/>
                  <a:pt x="0" y="2"/>
                  <a:pt x="0" y="4"/>
                </a:cubicBezTo>
                <a:cubicBezTo>
                  <a:pt x="0" y="6"/>
                  <a:pt x="2" y="8"/>
                  <a:pt x="4" y="8"/>
                </a:cubicBezTo>
                <a:cubicBezTo>
                  <a:pt x="24" y="8"/>
                  <a:pt x="24" y="8"/>
                  <a:pt x="24" y="8"/>
                </a:cubicBezTo>
                <a:cubicBezTo>
                  <a:pt x="24" y="20"/>
                  <a:pt x="24" y="20"/>
                  <a:pt x="24" y="20"/>
                </a:cubicBezTo>
                <a:cubicBezTo>
                  <a:pt x="24" y="22"/>
                  <a:pt x="26" y="24"/>
                  <a:pt x="28" y="24"/>
                </a:cubicBezTo>
                <a:cubicBezTo>
                  <a:pt x="30" y="24"/>
                  <a:pt x="32" y="22"/>
                  <a:pt x="32" y="20"/>
                </a:cubicBezTo>
                <a:cubicBezTo>
                  <a:pt x="32" y="8"/>
                  <a:pt x="32" y="8"/>
                  <a:pt x="32" y="8"/>
                </a:cubicBezTo>
                <a:cubicBezTo>
                  <a:pt x="52" y="8"/>
                  <a:pt x="52" y="8"/>
                  <a:pt x="52" y="8"/>
                </a:cubicBezTo>
                <a:cubicBezTo>
                  <a:pt x="54" y="8"/>
                  <a:pt x="56" y="6"/>
                  <a:pt x="56" y="4"/>
                </a:cubicBezTo>
                <a:cubicBezTo>
                  <a:pt x="56" y="2"/>
                  <a:pt x="54" y="0"/>
                  <a:pt x="52" y="0"/>
                </a:cubicBezTo>
                <a:close/>
              </a:path>
            </a:pathLst>
          </a:custGeom>
          <a:solidFill>
            <a:srgbClr val="AFABAB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248" name="Rectangle 247"/>
          <p:cNvSpPr/>
          <p:nvPr>
            <p:custDataLst>
              <p:tags r:id="rId1"/>
            </p:custDataLst>
          </p:nvPr>
        </p:nvSpPr>
        <p:spPr>
          <a:xfrm>
            <a:off x="5690338" y="1745148"/>
            <a:ext cx="811323" cy="461665"/>
          </a:xfrm>
          <a:prstGeom prst="rect">
            <a:avLst/>
          </a:prstGeom>
          <a:effectLst/>
        </p:spPr>
        <p:txBody>
          <a:bodyPr wrap="square" anchor="ctr">
            <a:spAutoFit/>
          </a:bodyPr>
          <a:lstStyle/>
          <a:p>
            <a:pPr algn="ctr"/>
            <a:r>
              <a:rPr lang="en-US" sz="1200" b="1" dirty="0">
                <a:solidFill>
                  <a:prstClr val="white"/>
                </a:solidFill>
              </a:rPr>
              <a:t>LOREM IPSUM</a:t>
            </a:r>
          </a:p>
        </p:txBody>
      </p:sp>
      <p:sp>
        <p:nvSpPr>
          <p:cNvPr id="249" name="Rectangle 248"/>
          <p:cNvSpPr/>
          <p:nvPr>
            <p:custDataLst>
              <p:tags r:id="rId2"/>
            </p:custDataLst>
          </p:nvPr>
        </p:nvSpPr>
        <p:spPr>
          <a:xfrm>
            <a:off x="1497234" y="2337039"/>
            <a:ext cx="2657996" cy="707886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r"/>
            <a:r>
              <a:rPr lang="en-US" sz="1000" dirty="0"/>
              <a:t>Lorem </a:t>
            </a:r>
            <a:r>
              <a:rPr lang="en-US" sz="1000" dirty="0" err="1"/>
              <a:t>Ipsum</a:t>
            </a:r>
            <a:r>
              <a:rPr lang="en-US" sz="1000" dirty="0"/>
              <a:t> is simply dummy text of the printing and typesetting industry. Lorem </a:t>
            </a:r>
            <a:r>
              <a:rPr lang="en-US" sz="1000" dirty="0" err="1"/>
              <a:t>Ipsum</a:t>
            </a:r>
            <a:r>
              <a:rPr lang="en-US" sz="1000" dirty="0"/>
              <a:t> has been the industry's standard dummy text ever since the 1500s.</a:t>
            </a:r>
          </a:p>
        </p:txBody>
      </p:sp>
      <p:sp>
        <p:nvSpPr>
          <p:cNvPr id="250" name="Rectangle 249"/>
          <p:cNvSpPr/>
          <p:nvPr>
            <p:custDataLst>
              <p:tags r:id="rId3"/>
            </p:custDataLst>
          </p:nvPr>
        </p:nvSpPr>
        <p:spPr>
          <a:xfrm>
            <a:off x="8036771" y="2337039"/>
            <a:ext cx="2657996" cy="707886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r>
              <a:rPr lang="en-US" sz="1000" dirty="0"/>
              <a:t>Lorem </a:t>
            </a:r>
            <a:r>
              <a:rPr lang="en-US" sz="1000" dirty="0" err="1"/>
              <a:t>Ipsum</a:t>
            </a:r>
            <a:r>
              <a:rPr lang="en-US" sz="1000" dirty="0"/>
              <a:t> is simply dummy text of the printing and typesetting industry. Lorem </a:t>
            </a:r>
            <a:r>
              <a:rPr lang="en-US" sz="1000" dirty="0" err="1"/>
              <a:t>Ipsum</a:t>
            </a:r>
            <a:r>
              <a:rPr lang="en-US" sz="1000" dirty="0"/>
              <a:t> has been the industry's standard dummy text ever since the 1500s.</a:t>
            </a:r>
          </a:p>
        </p:txBody>
      </p:sp>
      <p:sp>
        <p:nvSpPr>
          <p:cNvPr id="251" name="Rectangle 250"/>
          <p:cNvSpPr/>
          <p:nvPr>
            <p:custDataLst>
              <p:tags r:id="rId4"/>
            </p:custDataLst>
          </p:nvPr>
        </p:nvSpPr>
        <p:spPr>
          <a:xfrm>
            <a:off x="1723320" y="4281433"/>
            <a:ext cx="2657996" cy="707886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r"/>
            <a:r>
              <a:rPr lang="en-US" sz="1000" dirty="0"/>
              <a:t>Lorem </a:t>
            </a:r>
            <a:r>
              <a:rPr lang="en-US" sz="1000" dirty="0" err="1"/>
              <a:t>Ipsum</a:t>
            </a:r>
            <a:r>
              <a:rPr lang="en-US" sz="1000" dirty="0"/>
              <a:t> is simply dummy text of the printing and typesetting industry. Lorem </a:t>
            </a:r>
            <a:r>
              <a:rPr lang="en-US" sz="1000" dirty="0" err="1"/>
              <a:t>Ipsum</a:t>
            </a:r>
            <a:r>
              <a:rPr lang="en-US" sz="1000" dirty="0"/>
              <a:t> has been the industry's standard dummy text ever since the 1500s.</a:t>
            </a:r>
          </a:p>
        </p:txBody>
      </p:sp>
      <p:sp>
        <p:nvSpPr>
          <p:cNvPr id="252" name="Rectangle 251"/>
          <p:cNvSpPr/>
          <p:nvPr>
            <p:custDataLst>
              <p:tags r:id="rId5"/>
            </p:custDataLst>
          </p:nvPr>
        </p:nvSpPr>
        <p:spPr>
          <a:xfrm>
            <a:off x="7810685" y="4281433"/>
            <a:ext cx="2657996" cy="707886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r>
              <a:rPr lang="en-US" sz="1000" dirty="0"/>
              <a:t>Lorem </a:t>
            </a:r>
            <a:r>
              <a:rPr lang="en-US" sz="1000" dirty="0" err="1"/>
              <a:t>Ipsum</a:t>
            </a:r>
            <a:r>
              <a:rPr lang="en-US" sz="1000" dirty="0"/>
              <a:t> is simply dummy text of the printing and typesetting industry. Lorem </a:t>
            </a:r>
            <a:r>
              <a:rPr lang="en-US" sz="1000" dirty="0" err="1"/>
              <a:t>Ipsum</a:t>
            </a:r>
            <a:r>
              <a:rPr lang="en-US" sz="1000" dirty="0"/>
              <a:t> has been the industry's standard dummy text ever since the 1500s.</a:t>
            </a:r>
          </a:p>
        </p:txBody>
      </p:sp>
      <p:grpSp>
        <p:nvGrpSpPr>
          <p:cNvPr id="254" name="Group 253"/>
          <p:cNvGrpSpPr/>
          <p:nvPr/>
        </p:nvGrpSpPr>
        <p:grpSpPr>
          <a:xfrm>
            <a:off x="4723270" y="2576015"/>
            <a:ext cx="285750" cy="285750"/>
            <a:chOff x="2046288" y="2765425"/>
            <a:chExt cx="285750" cy="285750"/>
          </a:xfrm>
          <a:solidFill>
            <a:schemeClr val="bg1"/>
          </a:solidFill>
        </p:grpSpPr>
        <p:sp>
          <p:nvSpPr>
            <p:cNvPr id="255" name="Freeform 114"/>
            <p:cNvSpPr>
              <a:spLocks noEditPoints="1"/>
            </p:cNvSpPr>
            <p:nvPr/>
          </p:nvSpPr>
          <p:spPr bwMode="auto">
            <a:xfrm>
              <a:off x="2141538" y="2784475"/>
              <a:ext cx="95250" cy="38100"/>
            </a:xfrm>
            <a:custGeom>
              <a:avLst/>
              <a:gdLst>
                <a:gd name="T0" fmla="*/ 30 w 298"/>
                <a:gd name="T1" fmla="*/ 30 h 120"/>
                <a:gd name="T2" fmla="*/ 268 w 298"/>
                <a:gd name="T3" fmla="*/ 30 h 120"/>
                <a:gd name="T4" fmla="*/ 268 w 298"/>
                <a:gd name="T5" fmla="*/ 90 h 120"/>
                <a:gd name="T6" fmla="*/ 30 w 298"/>
                <a:gd name="T7" fmla="*/ 90 h 120"/>
                <a:gd name="T8" fmla="*/ 30 w 298"/>
                <a:gd name="T9" fmla="*/ 30 h 120"/>
                <a:gd name="T10" fmla="*/ 15 w 298"/>
                <a:gd name="T11" fmla="*/ 120 h 120"/>
                <a:gd name="T12" fmla="*/ 283 w 298"/>
                <a:gd name="T13" fmla="*/ 120 h 120"/>
                <a:gd name="T14" fmla="*/ 287 w 298"/>
                <a:gd name="T15" fmla="*/ 119 h 120"/>
                <a:gd name="T16" fmla="*/ 290 w 298"/>
                <a:gd name="T17" fmla="*/ 119 h 120"/>
                <a:gd name="T18" fmla="*/ 292 w 298"/>
                <a:gd name="T19" fmla="*/ 116 h 120"/>
                <a:gd name="T20" fmla="*/ 294 w 298"/>
                <a:gd name="T21" fmla="*/ 115 h 120"/>
                <a:gd name="T22" fmla="*/ 296 w 298"/>
                <a:gd name="T23" fmla="*/ 113 h 120"/>
                <a:gd name="T24" fmla="*/ 297 w 298"/>
                <a:gd name="T25" fmla="*/ 110 h 120"/>
                <a:gd name="T26" fmla="*/ 298 w 298"/>
                <a:gd name="T27" fmla="*/ 108 h 120"/>
                <a:gd name="T28" fmla="*/ 298 w 298"/>
                <a:gd name="T29" fmla="*/ 105 h 120"/>
                <a:gd name="T30" fmla="*/ 298 w 298"/>
                <a:gd name="T31" fmla="*/ 15 h 120"/>
                <a:gd name="T32" fmla="*/ 298 w 298"/>
                <a:gd name="T33" fmla="*/ 12 h 120"/>
                <a:gd name="T34" fmla="*/ 297 w 298"/>
                <a:gd name="T35" fmla="*/ 9 h 120"/>
                <a:gd name="T36" fmla="*/ 296 w 298"/>
                <a:gd name="T37" fmla="*/ 6 h 120"/>
                <a:gd name="T38" fmla="*/ 294 w 298"/>
                <a:gd name="T39" fmla="*/ 4 h 120"/>
                <a:gd name="T40" fmla="*/ 292 w 298"/>
                <a:gd name="T41" fmla="*/ 2 h 120"/>
                <a:gd name="T42" fmla="*/ 290 w 298"/>
                <a:gd name="T43" fmla="*/ 1 h 120"/>
                <a:gd name="T44" fmla="*/ 287 w 298"/>
                <a:gd name="T45" fmla="*/ 0 h 120"/>
                <a:gd name="T46" fmla="*/ 283 w 298"/>
                <a:gd name="T47" fmla="*/ 0 h 120"/>
                <a:gd name="T48" fmla="*/ 15 w 298"/>
                <a:gd name="T49" fmla="*/ 0 h 120"/>
                <a:gd name="T50" fmla="*/ 11 w 298"/>
                <a:gd name="T51" fmla="*/ 0 h 120"/>
                <a:gd name="T52" fmla="*/ 8 w 298"/>
                <a:gd name="T53" fmla="*/ 1 h 120"/>
                <a:gd name="T54" fmla="*/ 6 w 298"/>
                <a:gd name="T55" fmla="*/ 2 h 120"/>
                <a:gd name="T56" fmla="*/ 4 w 298"/>
                <a:gd name="T57" fmla="*/ 4 h 120"/>
                <a:gd name="T58" fmla="*/ 2 w 298"/>
                <a:gd name="T59" fmla="*/ 6 h 120"/>
                <a:gd name="T60" fmla="*/ 1 w 298"/>
                <a:gd name="T61" fmla="*/ 9 h 120"/>
                <a:gd name="T62" fmla="*/ 0 w 298"/>
                <a:gd name="T63" fmla="*/ 12 h 120"/>
                <a:gd name="T64" fmla="*/ 0 w 298"/>
                <a:gd name="T65" fmla="*/ 15 h 120"/>
                <a:gd name="T66" fmla="*/ 0 w 298"/>
                <a:gd name="T67" fmla="*/ 105 h 120"/>
                <a:gd name="T68" fmla="*/ 0 w 298"/>
                <a:gd name="T69" fmla="*/ 108 h 120"/>
                <a:gd name="T70" fmla="*/ 1 w 298"/>
                <a:gd name="T71" fmla="*/ 110 h 120"/>
                <a:gd name="T72" fmla="*/ 2 w 298"/>
                <a:gd name="T73" fmla="*/ 113 h 120"/>
                <a:gd name="T74" fmla="*/ 4 w 298"/>
                <a:gd name="T75" fmla="*/ 115 h 120"/>
                <a:gd name="T76" fmla="*/ 6 w 298"/>
                <a:gd name="T77" fmla="*/ 116 h 120"/>
                <a:gd name="T78" fmla="*/ 8 w 298"/>
                <a:gd name="T79" fmla="*/ 119 h 120"/>
                <a:gd name="T80" fmla="*/ 11 w 298"/>
                <a:gd name="T81" fmla="*/ 119 h 120"/>
                <a:gd name="T82" fmla="*/ 15 w 298"/>
                <a:gd name="T83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98" h="120">
                  <a:moveTo>
                    <a:pt x="30" y="30"/>
                  </a:moveTo>
                  <a:lnTo>
                    <a:pt x="268" y="30"/>
                  </a:lnTo>
                  <a:lnTo>
                    <a:pt x="268" y="90"/>
                  </a:lnTo>
                  <a:lnTo>
                    <a:pt x="30" y="90"/>
                  </a:lnTo>
                  <a:lnTo>
                    <a:pt x="30" y="30"/>
                  </a:lnTo>
                  <a:close/>
                  <a:moveTo>
                    <a:pt x="15" y="120"/>
                  </a:moveTo>
                  <a:lnTo>
                    <a:pt x="283" y="120"/>
                  </a:lnTo>
                  <a:lnTo>
                    <a:pt x="287" y="119"/>
                  </a:lnTo>
                  <a:lnTo>
                    <a:pt x="290" y="119"/>
                  </a:lnTo>
                  <a:lnTo>
                    <a:pt x="292" y="116"/>
                  </a:lnTo>
                  <a:lnTo>
                    <a:pt x="294" y="115"/>
                  </a:lnTo>
                  <a:lnTo>
                    <a:pt x="296" y="113"/>
                  </a:lnTo>
                  <a:lnTo>
                    <a:pt x="297" y="110"/>
                  </a:lnTo>
                  <a:lnTo>
                    <a:pt x="298" y="108"/>
                  </a:lnTo>
                  <a:lnTo>
                    <a:pt x="298" y="105"/>
                  </a:lnTo>
                  <a:lnTo>
                    <a:pt x="298" y="15"/>
                  </a:lnTo>
                  <a:lnTo>
                    <a:pt x="298" y="12"/>
                  </a:lnTo>
                  <a:lnTo>
                    <a:pt x="297" y="9"/>
                  </a:lnTo>
                  <a:lnTo>
                    <a:pt x="296" y="6"/>
                  </a:lnTo>
                  <a:lnTo>
                    <a:pt x="294" y="4"/>
                  </a:lnTo>
                  <a:lnTo>
                    <a:pt x="292" y="2"/>
                  </a:lnTo>
                  <a:lnTo>
                    <a:pt x="290" y="1"/>
                  </a:lnTo>
                  <a:lnTo>
                    <a:pt x="287" y="0"/>
                  </a:lnTo>
                  <a:lnTo>
                    <a:pt x="283" y="0"/>
                  </a:lnTo>
                  <a:lnTo>
                    <a:pt x="15" y="0"/>
                  </a:lnTo>
                  <a:lnTo>
                    <a:pt x="11" y="0"/>
                  </a:lnTo>
                  <a:lnTo>
                    <a:pt x="8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05"/>
                  </a:lnTo>
                  <a:lnTo>
                    <a:pt x="0" y="108"/>
                  </a:lnTo>
                  <a:lnTo>
                    <a:pt x="1" y="110"/>
                  </a:lnTo>
                  <a:lnTo>
                    <a:pt x="2" y="113"/>
                  </a:lnTo>
                  <a:lnTo>
                    <a:pt x="4" y="115"/>
                  </a:lnTo>
                  <a:lnTo>
                    <a:pt x="6" y="116"/>
                  </a:lnTo>
                  <a:lnTo>
                    <a:pt x="8" y="119"/>
                  </a:lnTo>
                  <a:lnTo>
                    <a:pt x="11" y="119"/>
                  </a:lnTo>
                  <a:lnTo>
                    <a:pt x="15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6" name="Freeform 115"/>
            <p:cNvSpPr>
              <a:spLocks/>
            </p:cNvSpPr>
            <p:nvPr/>
          </p:nvSpPr>
          <p:spPr bwMode="auto">
            <a:xfrm>
              <a:off x="2122488" y="2984500"/>
              <a:ext cx="38100" cy="9525"/>
            </a:xfrm>
            <a:custGeom>
              <a:avLst/>
              <a:gdLst>
                <a:gd name="T0" fmla="*/ 105 w 120"/>
                <a:gd name="T1" fmla="*/ 0 h 30"/>
                <a:gd name="T2" fmla="*/ 15 w 120"/>
                <a:gd name="T3" fmla="*/ 0 h 30"/>
                <a:gd name="T4" fmla="*/ 11 w 120"/>
                <a:gd name="T5" fmla="*/ 0 h 30"/>
                <a:gd name="T6" fmla="*/ 8 w 120"/>
                <a:gd name="T7" fmla="*/ 1 h 30"/>
                <a:gd name="T8" fmla="*/ 6 w 120"/>
                <a:gd name="T9" fmla="*/ 2 h 30"/>
                <a:gd name="T10" fmla="*/ 4 w 120"/>
                <a:gd name="T11" fmla="*/ 4 h 30"/>
                <a:gd name="T12" fmla="*/ 2 w 120"/>
                <a:gd name="T13" fmla="*/ 6 h 30"/>
                <a:gd name="T14" fmla="*/ 1 w 120"/>
                <a:gd name="T15" fmla="*/ 10 h 30"/>
                <a:gd name="T16" fmla="*/ 0 w 120"/>
                <a:gd name="T17" fmla="*/ 12 h 30"/>
                <a:gd name="T18" fmla="*/ 0 w 120"/>
                <a:gd name="T19" fmla="*/ 15 h 30"/>
                <a:gd name="T20" fmla="*/ 0 w 120"/>
                <a:gd name="T21" fmla="*/ 18 h 30"/>
                <a:gd name="T22" fmla="*/ 1 w 120"/>
                <a:gd name="T23" fmla="*/ 21 h 30"/>
                <a:gd name="T24" fmla="*/ 2 w 120"/>
                <a:gd name="T25" fmla="*/ 24 h 30"/>
                <a:gd name="T26" fmla="*/ 4 w 120"/>
                <a:gd name="T27" fmla="*/ 26 h 30"/>
                <a:gd name="T28" fmla="*/ 6 w 120"/>
                <a:gd name="T29" fmla="*/ 28 h 30"/>
                <a:gd name="T30" fmla="*/ 8 w 120"/>
                <a:gd name="T31" fmla="*/ 29 h 30"/>
                <a:gd name="T32" fmla="*/ 11 w 120"/>
                <a:gd name="T33" fmla="*/ 30 h 30"/>
                <a:gd name="T34" fmla="*/ 15 w 120"/>
                <a:gd name="T35" fmla="*/ 30 h 30"/>
                <a:gd name="T36" fmla="*/ 105 w 120"/>
                <a:gd name="T37" fmla="*/ 30 h 30"/>
                <a:gd name="T38" fmla="*/ 107 w 120"/>
                <a:gd name="T39" fmla="*/ 30 h 30"/>
                <a:gd name="T40" fmla="*/ 110 w 120"/>
                <a:gd name="T41" fmla="*/ 29 h 30"/>
                <a:gd name="T42" fmla="*/ 112 w 120"/>
                <a:gd name="T43" fmla="*/ 28 h 30"/>
                <a:gd name="T44" fmla="*/ 114 w 120"/>
                <a:gd name="T45" fmla="*/ 26 h 30"/>
                <a:gd name="T46" fmla="*/ 116 w 120"/>
                <a:gd name="T47" fmla="*/ 24 h 30"/>
                <a:gd name="T48" fmla="*/ 117 w 120"/>
                <a:gd name="T49" fmla="*/ 21 h 30"/>
                <a:gd name="T50" fmla="*/ 118 w 120"/>
                <a:gd name="T51" fmla="*/ 18 h 30"/>
                <a:gd name="T52" fmla="*/ 120 w 120"/>
                <a:gd name="T53" fmla="*/ 15 h 30"/>
                <a:gd name="T54" fmla="*/ 118 w 120"/>
                <a:gd name="T55" fmla="*/ 12 h 30"/>
                <a:gd name="T56" fmla="*/ 117 w 120"/>
                <a:gd name="T57" fmla="*/ 10 h 30"/>
                <a:gd name="T58" fmla="*/ 116 w 120"/>
                <a:gd name="T59" fmla="*/ 6 h 30"/>
                <a:gd name="T60" fmla="*/ 114 w 120"/>
                <a:gd name="T61" fmla="*/ 4 h 30"/>
                <a:gd name="T62" fmla="*/ 112 w 120"/>
                <a:gd name="T63" fmla="*/ 2 h 30"/>
                <a:gd name="T64" fmla="*/ 110 w 120"/>
                <a:gd name="T65" fmla="*/ 1 h 30"/>
                <a:gd name="T66" fmla="*/ 107 w 120"/>
                <a:gd name="T67" fmla="*/ 0 h 30"/>
                <a:gd name="T68" fmla="*/ 105 w 120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0" h="30">
                  <a:moveTo>
                    <a:pt x="105" y="0"/>
                  </a:moveTo>
                  <a:lnTo>
                    <a:pt x="15" y="0"/>
                  </a:lnTo>
                  <a:lnTo>
                    <a:pt x="11" y="0"/>
                  </a:lnTo>
                  <a:lnTo>
                    <a:pt x="8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10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1"/>
                  </a:lnTo>
                  <a:lnTo>
                    <a:pt x="2" y="24"/>
                  </a:lnTo>
                  <a:lnTo>
                    <a:pt x="4" y="26"/>
                  </a:lnTo>
                  <a:lnTo>
                    <a:pt x="6" y="28"/>
                  </a:lnTo>
                  <a:lnTo>
                    <a:pt x="8" y="29"/>
                  </a:lnTo>
                  <a:lnTo>
                    <a:pt x="11" y="30"/>
                  </a:lnTo>
                  <a:lnTo>
                    <a:pt x="15" y="30"/>
                  </a:lnTo>
                  <a:lnTo>
                    <a:pt x="105" y="30"/>
                  </a:lnTo>
                  <a:lnTo>
                    <a:pt x="107" y="30"/>
                  </a:lnTo>
                  <a:lnTo>
                    <a:pt x="110" y="29"/>
                  </a:lnTo>
                  <a:lnTo>
                    <a:pt x="112" y="28"/>
                  </a:lnTo>
                  <a:lnTo>
                    <a:pt x="114" y="26"/>
                  </a:lnTo>
                  <a:lnTo>
                    <a:pt x="116" y="24"/>
                  </a:lnTo>
                  <a:lnTo>
                    <a:pt x="117" y="21"/>
                  </a:lnTo>
                  <a:lnTo>
                    <a:pt x="118" y="18"/>
                  </a:lnTo>
                  <a:lnTo>
                    <a:pt x="120" y="15"/>
                  </a:lnTo>
                  <a:lnTo>
                    <a:pt x="118" y="12"/>
                  </a:lnTo>
                  <a:lnTo>
                    <a:pt x="117" y="10"/>
                  </a:lnTo>
                  <a:lnTo>
                    <a:pt x="116" y="6"/>
                  </a:lnTo>
                  <a:lnTo>
                    <a:pt x="114" y="4"/>
                  </a:lnTo>
                  <a:lnTo>
                    <a:pt x="112" y="2"/>
                  </a:lnTo>
                  <a:lnTo>
                    <a:pt x="110" y="1"/>
                  </a:lnTo>
                  <a:lnTo>
                    <a:pt x="107" y="0"/>
                  </a:lnTo>
                  <a:lnTo>
                    <a:pt x="10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7" name="Freeform 116"/>
            <p:cNvSpPr>
              <a:spLocks/>
            </p:cNvSpPr>
            <p:nvPr/>
          </p:nvSpPr>
          <p:spPr bwMode="auto">
            <a:xfrm>
              <a:off x="2217738" y="2984500"/>
              <a:ext cx="38100" cy="9525"/>
            </a:xfrm>
            <a:custGeom>
              <a:avLst/>
              <a:gdLst>
                <a:gd name="T0" fmla="*/ 105 w 120"/>
                <a:gd name="T1" fmla="*/ 0 h 30"/>
                <a:gd name="T2" fmla="*/ 15 w 120"/>
                <a:gd name="T3" fmla="*/ 0 h 30"/>
                <a:gd name="T4" fmla="*/ 12 w 120"/>
                <a:gd name="T5" fmla="*/ 0 h 30"/>
                <a:gd name="T6" fmla="*/ 10 w 120"/>
                <a:gd name="T7" fmla="*/ 1 h 30"/>
                <a:gd name="T8" fmla="*/ 7 w 120"/>
                <a:gd name="T9" fmla="*/ 2 h 30"/>
                <a:gd name="T10" fmla="*/ 5 w 120"/>
                <a:gd name="T11" fmla="*/ 4 h 30"/>
                <a:gd name="T12" fmla="*/ 4 w 120"/>
                <a:gd name="T13" fmla="*/ 6 h 30"/>
                <a:gd name="T14" fmla="*/ 1 w 120"/>
                <a:gd name="T15" fmla="*/ 10 h 30"/>
                <a:gd name="T16" fmla="*/ 1 w 120"/>
                <a:gd name="T17" fmla="*/ 12 h 30"/>
                <a:gd name="T18" fmla="*/ 0 w 120"/>
                <a:gd name="T19" fmla="*/ 15 h 30"/>
                <a:gd name="T20" fmla="*/ 1 w 120"/>
                <a:gd name="T21" fmla="*/ 18 h 30"/>
                <a:gd name="T22" fmla="*/ 1 w 120"/>
                <a:gd name="T23" fmla="*/ 21 h 30"/>
                <a:gd name="T24" fmla="*/ 4 w 120"/>
                <a:gd name="T25" fmla="*/ 24 h 30"/>
                <a:gd name="T26" fmla="*/ 5 w 120"/>
                <a:gd name="T27" fmla="*/ 26 h 30"/>
                <a:gd name="T28" fmla="*/ 7 w 120"/>
                <a:gd name="T29" fmla="*/ 28 h 30"/>
                <a:gd name="T30" fmla="*/ 10 w 120"/>
                <a:gd name="T31" fmla="*/ 29 h 30"/>
                <a:gd name="T32" fmla="*/ 12 w 120"/>
                <a:gd name="T33" fmla="*/ 30 h 30"/>
                <a:gd name="T34" fmla="*/ 15 w 120"/>
                <a:gd name="T35" fmla="*/ 30 h 30"/>
                <a:gd name="T36" fmla="*/ 105 w 120"/>
                <a:gd name="T37" fmla="*/ 30 h 30"/>
                <a:gd name="T38" fmla="*/ 108 w 120"/>
                <a:gd name="T39" fmla="*/ 30 h 30"/>
                <a:gd name="T40" fmla="*/ 112 w 120"/>
                <a:gd name="T41" fmla="*/ 29 h 30"/>
                <a:gd name="T42" fmla="*/ 114 w 120"/>
                <a:gd name="T43" fmla="*/ 28 h 30"/>
                <a:gd name="T44" fmla="*/ 116 w 120"/>
                <a:gd name="T45" fmla="*/ 26 h 30"/>
                <a:gd name="T46" fmla="*/ 118 w 120"/>
                <a:gd name="T47" fmla="*/ 24 h 30"/>
                <a:gd name="T48" fmla="*/ 119 w 120"/>
                <a:gd name="T49" fmla="*/ 21 h 30"/>
                <a:gd name="T50" fmla="*/ 120 w 120"/>
                <a:gd name="T51" fmla="*/ 18 h 30"/>
                <a:gd name="T52" fmla="*/ 120 w 120"/>
                <a:gd name="T53" fmla="*/ 15 h 30"/>
                <a:gd name="T54" fmla="*/ 120 w 120"/>
                <a:gd name="T55" fmla="*/ 12 h 30"/>
                <a:gd name="T56" fmla="*/ 119 w 120"/>
                <a:gd name="T57" fmla="*/ 10 h 30"/>
                <a:gd name="T58" fmla="*/ 118 w 120"/>
                <a:gd name="T59" fmla="*/ 6 h 30"/>
                <a:gd name="T60" fmla="*/ 116 w 120"/>
                <a:gd name="T61" fmla="*/ 4 h 30"/>
                <a:gd name="T62" fmla="*/ 114 w 120"/>
                <a:gd name="T63" fmla="*/ 2 h 30"/>
                <a:gd name="T64" fmla="*/ 112 w 120"/>
                <a:gd name="T65" fmla="*/ 1 h 30"/>
                <a:gd name="T66" fmla="*/ 108 w 120"/>
                <a:gd name="T67" fmla="*/ 0 h 30"/>
                <a:gd name="T68" fmla="*/ 105 w 120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0" h="30">
                  <a:moveTo>
                    <a:pt x="105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7" y="2"/>
                  </a:lnTo>
                  <a:lnTo>
                    <a:pt x="5" y="4"/>
                  </a:lnTo>
                  <a:lnTo>
                    <a:pt x="4" y="6"/>
                  </a:lnTo>
                  <a:lnTo>
                    <a:pt x="1" y="10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1" y="18"/>
                  </a:lnTo>
                  <a:lnTo>
                    <a:pt x="1" y="21"/>
                  </a:lnTo>
                  <a:lnTo>
                    <a:pt x="4" y="24"/>
                  </a:lnTo>
                  <a:lnTo>
                    <a:pt x="5" y="26"/>
                  </a:lnTo>
                  <a:lnTo>
                    <a:pt x="7" y="28"/>
                  </a:lnTo>
                  <a:lnTo>
                    <a:pt x="10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105" y="30"/>
                  </a:lnTo>
                  <a:lnTo>
                    <a:pt x="108" y="30"/>
                  </a:lnTo>
                  <a:lnTo>
                    <a:pt x="112" y="29"/>
                  </a:lnTo>
                  <a:lnTo>
                    <a:pt x="114" y="28"/>
                  </a:lnTo>
                  <a:lnTo>
                    <a:pt x="116" y="26"/>
                  </a:lnTo>
                  <a:lnTo>
                    <a:pt x="118" y="24"/>
                  </a:lnTo>
                  <a:lnTo>
                    <a:pt x="119" y="21"/>
                  </a:lnTo>
                  <a:lnTo>
                    <a:pt x="120" y="18"/>
                  </a:lnTo>
                  <a:lnTo>
                    <a:pt x="120" y="15"/>
                  </a:lnTo>
                  <a:lnTo>
                    <a:pt x="120" y="12"/>
                  </a:lnTo>
                  <a:lnTo>
                    <a:pt x="119" y="10"/>
                  </a:lnTo>
                  <a:lnTo>
                    <a:pt x="118" y="6"/>
                  </a:lnTo>
                  <a:lnTo>
                    <a:pt x="116" y="4"/>
                  </a:lnTo>
                  <a:lnTo>
                    <a:pt x="114" y="2"/>
                  </a:lnTo>
                  <a:lnTo>
                    <a:pt x="112" y="1"/>
                  </a:lnTo>
                  <a:lnTo>
                    <a:pt x="108" y="0"/>
                  </a:lnTo>
                  <a:lnTo>
                    <a:pt x="10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8" name="Freeform 117"/>
            <p:cNvSpPr>
              <a:spLocks noEditPoints="1"/>
            </p:cNvSpPr>
            <p:nvPr/>
          </p:nvSpPr>
          <p:spPr bwMode="auto">
            <a:xfrm>
              <a:off x="2046288" y="2765425"/>
              <a:ext cx="285750" cy="285750"/>
            </a:xfrm>
            <a:custGeom>
              <a:avLst/>
              <a:gdLst>
                <a:gd name="T0" fmla="*/ 868 w 898"/>
                <a:gd name="T1" fmla="*/ 268 h 898"/>
                <a:gd name="T2" fmla="*/ 204 w 898"/>
                <a:gd name="T3" fmla="*/ 807 h 898"/>
                <a:gd name="T4" fmla="*/ 186 w 898"/>
                <a:gd name="T5" fmla="*/ 793 h 898"/>
                <a:gd name="T6" fmla="*/ 180 w 898"/>
                <a:gd name="T7" fmla="*/ 598 h 898"/>
                <a:gd name="T8" fmla="*/ 715 w 898"/>
                <a:gd name="T9" fmla="*/ 788 h 898"/>
                <a:gd name="T10" fmla="*/ 698 w 898"/>
                <a:gd name="T11" fmla="*/ 805 h 898"/>
                <a:gd name="T12" fmla="*/ 598 w 898"/>
                <a:gd name="T13" fmla="*/ 868 h 898"/>
                <a:gd name="T14" fmla="*/ 300 w 898"/>
                <a:gd name="T15" fmla="*/ 868 h 898"/>
                <a:gd name="T16" fmla="*/ 300 w 898"/>
                <a:gd name="T17" fmla="*/ 868 h 898"/>
                <a:gd name="T18" fmla="*/ 622 w 898"/>
                <a:gd name="T19" fmla="*/ 32 h 898"/>
                <a:gd name="T20" fmla="*/ 665 w 898"/>
                <a:gd name="T21" fmla="*/ 50 h 898"/>
                <a:gd name="T22" fmla="*/ 698 w 898"/>
                <a:gd name="T23" fmla="*/ 83 h 898"/>
                <a:gd name="T24" fmla="*/ 716 w 898"/>
                <a:gd name="T25" fmla="*/ 126 h 898"/>
                <a:gd name="T26" fmla="*/ 180 w 898"/>
                <a:gd name="T27" fmla="*/ 210 h 898"/>
                <a:gd name="T28" fmla="*/ 185 w 898"/>
                <a:gd name="T29" fmla="*/ 114 h 898"/>
                <a:gd name="T30" fmla="*/ 208 w 898"/>
                <a:gd name="T31" fmla="*/ 74 h 898"/>
                <a:gd name="T32" fmla="*/ 243 w 898"/>
                <a:gd name="T33" fmla="*/ 45 h 898"/>
                <a:gd name="T34" fmla="*/ 287 w 898"/>
                <a:gd name="T35" fmla="*/ 30 h 898"/>
                <a:gd name="T36" fmla="*/ 718 w 898"/>
                <a:gd name="T37" fmla="*/ 568 h 898"/>
                <a:gd name="T38" fmla="*/ 30 w 898"/>
                <a:gd name="T39" fmla="*/ 508 h 898"/>
                <a:gd name="T40" fmla="*/ 883 w 898"/>
                <a:gd name="T41" fmla="*/ 239 h 898"/>
                <a:gd name="T42" fmla="*/ 747 w 898"/>
                <a:gd name="T43" fmla="*/ 135 h 898"/>
                <a:gd name="T44" fmla="*/ 730 w 898"/>
                <a:gd name="T45" fmla="*/ 79 h 898"/>
                <a:gd name="T46" fmla="*/ 694 w 898"/>
                <a:gd name="T47" fmla="*/ 34 h 898"/>
                <a:gd name="T48" fmla="*/ 642 w 898"/>
                <a:gd name="T49" fmla="*/ 6 h 898"/>
                <a:gd name="T50" fmla="*/ 300 w 898"/>
                <a:gd name="T51" fmla="*/ 0 h 898"/>
                <a:gd name="T52" fmla="*/ 242 w 898"/>
                <a:gd name="T53" fmla="*/ 12 h 898"/>
                <a:gd name="T54" fmla="*/ 194 w 898"/>
                <a:gd name="T55" fmla="*/ 44 h 898"/>
                <a:gd name="T56" fmla="*/ 161 w 898"/>
                <a:gd name="T57" fmla="*/ 92 h 898"/>
                <a:gd name="T58" fmla="*/ 150 w 898"/>
                <a:gd name="T59" fmla="*/ 150 h 898"/>
                <a:gd name="T60" fmla="*/ 12 w 898"/>
                <a:gd name="T61" fmla="*/ 240 h 898"/>
                <a:gd name="T62" fmla="*/ 2 w 898"/>
                <a:gd name="T63" fmla="*/ 246 h 898"/>
                <a:gd name="T64" fmla="*/ 0 w 898"/>
                <a:gd name="T65" fmla="*/ 523 h 898"/>
                <a:gd name="T66" fmla="*/ 4 w 898"/>
                <a:gd name="T67" fmla="*/ 534 h 898"/>
                <a:gd name="T68" fmla="*/ 15 w 898"/>
                <a:gd name="T69" fmla="*/ 538 h 898"/>
                <a:gd name="T70" fmla="*/ 113 w 898"/>
                <a:gd name="T71" fmla="*/ 536 h 898"/>
                <a:gd name="T72" fmla="*/ 120 w 898"/>
                <a:gd name="T73" fmla="*/ 526 h 898"/>
                <a:gd name="T74" fmla="*/ 150 w 898"/>
                <a:gd name="T75" fmla="*/ 778 h 898"/>
                <a:gd name="T76" fmla="*/ 155 w 898"/>
                <a:gd name="T77" fmla="*/ 799 h 898"/>
                <a:gd name="T78" fmla="*/ 187 w 898"/>
                <a:gd name="T79" fmla="*/ 833 h 898"/>
                <a:gd name="T80" fmla="*/ 210 w 898"/>
                <a:gd name="T81" fmla="*/ 838 h 898"/>
                <a:gd name="T82" fmla="*/ 212 w 898"/>
                <a:gd name="T83" fmla="*/ 891 h 898"/>
                <a:gd name="T84" fmla="*/ 221 w 898"/>
                <a:gd name="T85" fmla="*/ 897 h 898"/>
                <a:gd name="T86" fmla="*/ 320 w 898"/>
                <a:gd name="T87" fmla="*/ 897 h 898"/>
                <a:gd name="T88" fmla="*/ 327 w 898"/>
                <a:gd name="T89" fmla="*/ 888 h 898"/>
                <a:gd name="T90" fmla="*/ 568 w 898"/>
                <a:gd name="T91" fmla="*/ 838 h 898"/>
                <a:gd name="T92" fmla="*/ 572 w 898"/>
                <a:gd name="T93" fmla="*/ 891 h 898"/>
                <a:gd name="T94" fmla="*/ 580 w 898"/>
                <a:gd name="T95" fmla="*/ 897 h 898"/>
                <a:gd name="T96" fmla="*/ 680 w 898"/>
                <a:gd name="T97" fmla="*/ 897 h 898"/>
                <a:gd name="T98" fmla="*/ 687 w 898"/>
                <a:gd name="T99" fmla="*/ 888 h 898"/>
                <a:gd name="T100" fmla="*/ 694 w 898"/>
                <a:gd name="T101" fmla="*/ 837 h 898"/>
                <a:gd name="T102" fmla="*/ 720 w 898"/>
                <a:gd name="T103" fmla="*/ 826 h 898"/>
                <a:gd name="T104" fmla="*/ 745 w 898"/>
                <a:gd name="T105" fmla="*/ 794 h 898"/>
                <a:gd name="T106" fmla="*/ 748 w 898"/>
                <a:gd name="T107" fmla="*/ 268 h 898"/>
                <a:gd name="T108" fmla="*/ 779 w 898"/>
                <a:gd name="T109" fmla="*/ 530 h 898"/>
                <a:gd name="T110" fmla="*/ 788 w 898"/>
                <a:gd name="T111" fmla="*/ 537 h 898"/>
                <a:gd name="T112" fmla="*/ 886 w 898"/>
                <a:gd name="T113" fmla="*/ 538 h 898"/>
                <a:gd name="T114" fmla="*/ 895 w 898"/>
                <a:gd name="T115" fmla="*/ 532 h 898"/>
                <a:gd name="T116" fmla="*/ 898 w 898"/>
                <a:gd name="T117" fmla="*/ 253 h 898"/>
                <a:gd name="T118" fmla="*/ 894 w 898"/>
                <a:gd name="T119" fmla="*/ 244 h 898"/>
                <a:gd name="T120" fmla="*/ 883 w 898"/>
                <a:gd name="T121" fmla="*/ 239 h 8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98" h="898">
                  <a:moveTo>
                    <a:pt x="868" y="508"/>
                  </a:moveTo>
                  <a:lnTo>
                    <a:pt x="808" y="508"/>
                  </a:lnTo>
                  <a:lnTo>
                    <a:pt x="808" y="268"/>
                  </a:lnTo>
                  <a:lnTo>
                    <a:pt x="868" y="268"/>
                  </a:lnTo>
                  <a:lnTo>
                    <a:pt x="868" y="508"/>
                  </a:lnTo>
                  <a:close/>
                  <a:moveTo>
                    <a:pt x="688" y="808"/>
                  </a:moveTo>
                  <a:lnTo>
                    <a:pt x="210" y="808"/>
                  </a:lnTo>
                  <a:lnTo>
                    <a:pt x="204" y="807"/>
                  </a:lnTo>
                  <a:lnTo>
                    <a:pt x="199" y="805"/>
                  </a:lnTo>
                  <a:lnTo>
                    <a:pt x="195" y="802"/>
                  </a:lnTo>
                  <a:lnTo>
                    <a:pt x="189" y="797"/>
                  </a:lnTo>
                  <a:lnTo>
                    <a:pt x="186" y="793"/>
                  </a:lnTo>
                  <a:lnTo>
                    <a:pt x="182" y="788"/>
                  </a:lnTo>
                  <a:lnTo>
                    <a:pt x="180" y="783"/>
                  </a:lnTo>
                  <a:lnTo>
                    <a:pt x="180" y="778"/>
                  </a:lnTo>
                  <a:lnTo>
                    <a:pt x="180" y="598"/>
                  </a:lnTo>
                  <a:lnTo>
                    <a:pt x="718" y="598"/>
                  </a:lnTo>
                  <a:lnTo>
                    <a:pt x="718" y="778"/>
                  </a:lnTo>
                  <a:lnTo>
                    <a:pt x="717" y="783"/>
                  </a:lnTo>
                  <a:lnTo>
                    <a:pt x="715" y="788"/>
                  </a:lnTo>
                  <a:lnTo>
                    <a:pt x="712" y="793"/>
                  </a:lnTo>
                  <a:lnTo>
                    <a:pt x="708" y="797"/>
                  </a:lnTo>
                  <a:lnTo>
                    <a:pt x="703" y="802"/>
                  </a:lnTo>
                  <a:lnTo>
                    <a:pt x="698" y="805"/>
                  </a:lnTo>
                  <a:lnTo>
                    <a:pt x="694" y="807"/>
                  </a:lnTo>
                  <a:lnTo>
                    <a:pt x="688" y="808"/>
                  </a:lnTo>
                  <a:close/>
                  <a:moveTo>
                    <a:pt x="658" y="868"/>
                  </a:moveTo>
                  <a:lnTo>
                    <a:pt x="598" y="868"/>
                  </a:lnTo>
                  <a:lnTo>
                    <a:pt x="598" y="838"/>
                  </a:lnTo>
                  <a:lnTo>
                    <a:pt x="658" y="838"/>
                  </a:lnTo>
                  <a:lnTo>
                    <a:pt x="658" y="868"/>
                  </a:lnTo>
                  <a:close/>
                  <a:moveTo>
                    <a:pt x="300" y="868"/>
                  </a:moveTo>
                  <a:lnTo>
                    <a:pt x="240" y="868"/>
                  </a:lnTo>
                  <a:lnTo>
                    <a:pt x="240" y="838"/>
                  </a:lnTo>
                  <a:lnTo>
                    <a:pt x="300" y="838"/>
                  </a:lnTo>
                  <a:lnTo>
                    <a:pt x="300" y="868"/>
                  </a:lnTo>
                  <a:close/>
                  <a:moveTo>
                    <a:pt x="300" y="30"/>
                  </a:moveTo>
                  <a:lnTo>
                    <a:pt x="598" y="30"/>
                  </a:lnTo>
                  <a:lnTo>
                    <a:pt x="610" y="30"/>
                  </a:lnTo>
                  <a:lnTo>
                    <a:pt x="622" y="32"/>
                  </a:lnTo>
                  <a:lnTo>
                    <a:pt x="634" y="35"/>
                  </a:lnTo>
                  <a:lnTo>
                    <a:pt x="644" y="39"/>
                  </a:lnTo>
                  <a:lnTo>
                    <a:pt x="655" y="45"/>
                  </a:lnTo>
                  <a:lnTo>
                    <a:pt x="665" y="50"/>
                  </a:lnTo>
                  <a:lnTo>
                    <a:pt x="674" y="58"/>
                  </a:lnTo>
                  <a:lnTo>
                    <a:pt x="683" y="65"/>
                  </a:lnTo>
                  <a:lnTo>
                    <a:pt x="690" y="74"/>
                  </a:lnTo>
                  <a:lnTo>
                    <a:pt x="698" y="83"/>
                  </a:lnTo>
                  <a:lnTo>
                    <a:pt x="703" y="93"/>
                  </a:lnTo>
                  <a:lnTo>
                    <a:pt x="709" y="104"/>
                  </a:lnTo>
                  <a:lnTo>
                    <a:pt x="713" y="114"/>
                  </a:lnTo>
                  <a:lnTo>
                    <a:pt x="716" y="126"/>
                  </a:lnTo>
                  <a:lnTo>
                    <a:pt x="717" y="137"/>
                  </a:lnTo>
                  <a:lnTo>
                    <a:pt x="718" y="150"/>
                  </a:lnTo>
                  <a:lnTo>
                    <a:pt x="718" y="210"/>
                  </a:lnTo>
                  <a:lnTo>
                    <a:pt x="180" y="210"/>
                  </a:lnTo>
                  <a:lnTo>
                    <a:pt x="180" y="150"/>
                  </a:lnTo>
                  <a:lnTo>
                    <a:pt x="180" y="137"/>
                  </a:lnTo>
                  <a:lnTo>
                    <a:pt x="182" y="126"/>
                  </a:lnTo>
                  <a:lnTo>
                    <a:pt x="185" y="114"/>
                  </a:lnTo>
                  <a:lnTo>
                    <a:pt x="189" y="104"/>
                  </a:lnTo>
                  <a:lnTo>
                    <a:pt x="194" y="93"/>
                  </a:lnTo>
                  <a:lnTo>
                    <a:pt x="200" y="83"/>
                  </a:lnTo>
                  <a:lnTo>
                    <a:pt x="208" y="74"/>
                  </a:lnTo>
                  <a:lnTo>
                    <a:pt x="215" y="65"/>
                  </a:lnTo>
                  <a:lnTo>
                    <a:pt x="224" y="58"/>
                  </a:lnTo>
                  <a:lnTo>
                    <a:pt x="233" y="50"/>
                  </a:lnTo>
                  <a:lnTo>
                    <a:pt x="243" y="45"/>
                  </a:lnTo>
                  <a:lnTo>
                    <a:pt x="254" y="39"/>
                  </a:lnTo>
                  <a:lnTo>
                    <a:pt x="264" y="35"/>
                  </a:lnTo>
                  <a:lnTo>
                    <a:pt x="275" y="32"/>
                  </a:lnTo>
                  <a:lnTo>
                    <a:pt x="287" y="30"/>
                  </a:lnTo>
                  <a:lnTo>
                    <a:pt x="300" y="30"/>
                  </a:lnTo>
                  <a:close/>
                  <a:moveTo>
                    <a:pt x="180" y="239"/>
                  </a:moveTo>
                  <a:lnTo>
                    <a:pt x="718" y="239"/>
                  </a:lnTo>
                  <a:lnTo>
                    <a:pt x="718" y="568"/>
                  </a:lnTo>
                  <a:lnTo>
                    <a:pt x="180" y="568"/>
                  </a:lnTo>
                  <a:lnTo>
                    <a:pt x="180" y="239"/>
                  </a:lnTo>
                  <a:close/>
                  <a:moveTo>
                    <a:pt x="90" y="508"/>
                  </a:moveTo>
                  <a:lnTo>
                    <a:pt x="30" y="508"/>
                  </a:lnTo>
                  <a:lnTo>
                    <a:pt x="30" y="268"/>
                  </a:lnTo>
                  <a:lnTo>
                    <a:pt x="90" y="268"/>
                  </a:lnTo>
                  <a:lnTo>
                    <a:pt x="90" y="508"/>
                  </a:lnTo>
                  <a:close/>
                  <a:moveTo>
                    <a:pt x="883" y="239"/>
                  </a:moveTo>
                  <a:lnTo>
                    <a:pt x="793" y="239"/>
                  </a:lnTo>
                  <a:lnTo>
                    <a:pt x="748" y="239"/>
                  </a:lnTo>
                  <a:lnTo>
                    <a:pt x="748" y="150"/>
                  </a:lnTo>
                  <a:lnTo>
                    <a:pt x="747" y="135"/>
                  </a:lnTo>
                  <a:lnTo>
                    <a:pt x="745" y="120"/>
                  </a:lnTo>
                  <a:lnTo>
                    <a:pt x="742" y="106"/>
                  </a:lnTo>
                  <a:lnTo>
                    <a:pt x="736" y="92"/>
                  </a:lnTo>
                  <a:lnTo>
                    <a:pt x="730" y="79"/>
                  </a:lnTo>
                  <a:lnTo>
                    <a:pt x="723" y="66"/>
                  </a:lnTo>
                  <a:lnTo>
                    <a:pt x="714" y="54"/>
                  </a:lnTo>
                  <a:lnTo>
                    <a:pt x="704" y="44"/>
                  </a:lnTo>
                  <a:lnTo>
                    <a:pt x="694" y="34"/>
                  </a:lnTo>
                  <a:lnTo>
                    <a:pt x="682" y="25"/>
                  </a:lnTo>
                  <a:lnTo>
                    <a:pt x="669" y="18"/>
                  </a:lnTo>
                  <a:lnTo>
                    <a:pt x="656" y="12"/>
                  </a:lnTo>
                  <a:lnTo>
                    <a:pt x="642" y="6"/>
                  </a:lnTo>
                  <a:lnTo>
                    <a:pt x="628" y="3"/>
                  </a:lnTo>
                  <a:lnTo>
                    <a:pt x="613" y="1"/>
                  </a:lnTo>
                  <a:lnTo>
                    <a:pt x="598" y="0"/>
                  </a:lnTo>
                  <a:lnTo>
                    <a:pt x="300" y="0"/>
                  </a:lnTo>
                  <a:lnTo>
                    <a:pt x="285" y="1"/>
                  </a:lnTo>
                  <a:lnTo>
                    <a:pt x="270" y="3"/>
                  </a:lnTo>
                  <a:lnTo>
                    <a:pt x="256" y="6"/>
                  </a:lnTo>
                  <a:lnTo>
                    <a:pt x="242" y="12"/>
                  </a:lnTo>
                  <a:lnTo>
                    <a:pt x="229" y="18"/>
                  </a:lnTo>
                  <a:lnTo>
                    <a:pt x="216" y="25"/>
                  </a:lnTo>
                  <a:lnTo>
                    <a:pt x="204" y="34"/>
                  </a:lnTo>
                  <a:lnTo>
                    <a:pt x="194" y="44"/>
                  </a:lnTo>
                  <a:lnTo>
                    <a:pt x="184" y="54"/>
                  </a:lnTo>
                  <a:lnTo>
                    <a:pt x="175" y="66"/>
                  </a:lnTo>
                  <a:lnTo>
                    <a:pt x="168" y="79"/>
                  </a:lnTo>
                  <a:lnTo>
                    <a:pt x="161" y="92"/>
                  </a:lnTo>
                  <a:lnTo>
                    <a:pt x="156" y="106"/>
                  </a:lnTo>
                  <a:lnTo>
                    <a:pt x="153" y="120"/>
                  </a:lnTo>
                  <a:lnTo>
                    <a:pt x="151" y="135"/>
                  </a:lnTo>
                  <a:lnTo>
                    <a:pt x="150" y="150"/>
                  </a:lnTo>
                  <a:lnTo>
                    <a:pt x="150" y="239"/>
                  </a:lnTo>
                  <a:lnTo>
                    <a:pt x="105" y="239"/>
                  </a:lnTo>
                  <a:lnTo>
                    <a:pt x="15" y="239"/>
                  </a:lnTo>
                  <a:lnTo>
                    <a:pt x="12" y="240"/>
                  </a:lnTo>
                  <a:lnTo>
                    <a:pt x="9" y="241"/>
                  </a:lnTo>
                  <a:lnTo>
                    <a:pt x="6" y="242"/>
                  </a:lnTo>
                  <a:lnTo>
                    <a:pt x="4" y="244"/>
                  </a:lnTo>
                  <a:lnTo>
                    <a:pt x="2" y="246"/>
                  </a:lnTo>
                  <a:lnTo>
                    <a:pt x="1" y="248"/>
                  </a:lnTo>
                  <a:lnTo>
                    <a:pt x="0" y="251"/>
                  </a:lnTo>
                  <a:lnTo>
                    <a:pt x="0" y="253"/>
                  </a:lnTo>
                  <a:lnTo>
                    <a:pt x="0" y="523"/>
                  </a:lnTo>
                  <a:lnTo>
                    <a:pt x="0" y="526"/>
                  </a:lnTo>
                  <a:lnTo>
                    <a:pt x="1" y="530"/>
                  </a:lnTo>
                  <a:lnTo>
                    <a:pt x="2" y="532"/>
                  </a:lnTo>
                  <a:lnTo>
                    <a:pt x="4" y="534"/>
                  </a:lnTo>
                  <a:lnTo>
                    <a:pt x="6" y="536"/>
                  </a:lnTo>
                  <a:lnTo>
                    <a:pt x="9" y="537"/>
                  </a:lnTo>
                  <a:lnTo>
                    <a:pt x="12" y="538"/>
                  </a:lnTo>
                  <a:lnTo>
                    <a:pt x="15" y="538"/>
                  </a:lnTo>
                  <a:lnTo>
                    <a:pt x="105" y="538"/>
                  </a:lnTo>
                  <a:lnTo>
                    <a:pt x="108" y="538"/>
                  </a:lnTo>
                  <a:lnTo>
                    <a:pt x="110" y="537"/>
                  </a:lnTo>
                  <a:lnTo>
                    <a:pt x="113" y="536"/>
                  </a:lnTo>
                  <a:lnTo>
                    <a:pt x="115" y="534"/>
                  </a:lnTo>
                  <a:lnTo>
                    <a:pt x="117" y="532"/>
                  </a:lnTo>
                  <a:lnTo>
                    <a:pt x="119" y="530"/>
                  </a:lnTo>
                  <a:lnTo>
                    <a:pt x="120" y="526"/>
                  </a:lnTo>
                  <a:lnTo>
                    <a:pt x="120" y="523"/>
                  </a:lnTo>
                  <a:lnTo>
                    <a:pt x="120" y="268"/>
                  </a:lnTo>
                  <a:lnTo>
                    <a:pt x="150" y="268"/>
                  </a:lnTo>
                  <a:lnTo>
                    <a:pt x="150" y="778"/>
                  </a:lnTo>
                  <a:lnTo>
                    <a:pt x="150" y="783"/>
                  </a:lnTo>
                  <a:lnTo>
                    <a:pt x="151" y="789"/>
                  </a:lnTo>
                  <a:lnTo>
                    <a:pt x="153" y="794"/>
                  </a:lnTo>
                  <a:lnTo>
                    <a:pt x="155" y="799"/>
                  </a:lnTo>
                  <a:lnTo>
                    <a:pt x="160" y="810"/>
                  </a:lnTo>
                  <a:lnTo>
                    <a:pt x="169" y="819"/>
                  </a:lnTo>
                  <a:lnTo>
                    <a:pt x="178" y="826"/>
                  </a:lnTo>
                  <a:lnTo>
                    <a:pt x="187" y="833"/>
                  </a:lnTo>
                  <a:lnTo>
                    <a:pt x="193" y="835"/>
                  </a:lnTo>
                  <a:lnTo>
                    <a:pt x="198" y="836"/>
                  </a:lnTo>
                  <a:lnTo>
                    <a:pt x="204" y="837"/>
                  </a:lnTo>
                  <a:lnTo>
                    <a:pt x="210" y="838"/>
                  </a:lnTo>
                  <a:lnTo>
                    <a:pt x="210" y="883"/>
                  </a:lnTo>
                  <a:lnTo>
                    <a:pt x="210" y="886"/>
                  </a:lnTo>
                  <a:lnTo>
                    <a:pt x="211" y="888"/>
                  </a:lnTo>
                  <a:lnTo>
                    <a:pt x="212" y="891"/>
                  </a:lnTo>
                  <a:lnTo>
                    <a:pt x="214" y="894"/>
                  </a:lnTo>
                  <a:lnTo>
                    <a:pt x="216" y="895"/>
                  </a:lnTo>
                  <a:lnTo>
                    <a:pt x="218" y="897"/>
                  </a:lnTo>
                  <a:lnTo>
                    <a:pt x="221" y="897"/>
                  </a:lnTo>
                  <a:lnTo>
                    <a:pt x="225" y="898"/>
                  </a:lnTo>
                  <a:lnTo>
                    <a:pt x="315" y="898"/>
                  </a:lnTo>
                  <a:lnTo>
                    <a:pt x="317" y="897"/>
                  </a:lnTo>
                  <a:lnTo>
                    <a:pt x="320" y="897"/>
                  </a:lnTo>
                  <a:lnTo>
                    <a:pt x="322" y="895"/>
                  </a:lnTo>
                  <a:lnTo>
                    <a:pt x="324" y="894"/>
                  </a:lnTo>
                  <a:lnTo>
                    <a:pt x="326" y="891"/>
                  </a:lnTo>
                  <a:lnTo>
                    <a:pt x="327" y="888"/>
                  </a:lnTo>
                  <a:lnTo>
                    <a:pt x="329" y="886"/>
                  </a:lnTo>
                  <a:lnTo>
                    <a:pt x="330" y="883"/>
                  </a:lnTo>
                  <a:lnTo>
                    <a:pt x="330" y="838"/>
                  </a:lnTo>
                  <a:lnTo>
                    <a:pt x="568" y="838"/>
                  </a:lnTo>
                  <a:lnTo>
                    <a:pt x="568" y="883"/>
                  </a:lnTo>
                  <a:lnTo>
                    <a:pt x="569" y="886"/>
                  </a:lnTo>
                  <a:lnTo>
                    <a:pt x="569" y="888"/>
                  </a:lnTo>
                  <a:lnTo>
                    <a:pt x="572" y="891"/>
                  </a:lnTo>
                  <a:lnTo>
                    <a:pt x="573" y="894"/>
                  </a:lnTo>
                  <a:lnTo>
                    <a:pt x="575" y="895"/>
                  </a:lnTo>
                  <a:lnTo>
                    <a:pt x="578" y="897"/>
                  </a:lnTo>
                  <a:lnTo>
                    <a:pt x="580" y="897"/>
                  </a:lnTo>
                  <a:lnTo>
                    <a:pt x="583" y="898"/>
                  </a:lnTo>
                  <a:lnTo>
                    <a:pt x="673" y="898"/>
                  </a:lnTo>
                  <a:lnTo>
                    <a:pt x="676" y="897"/>
                  </a:lnTo>
                  <a:lnTo>
                    <a:pt x="680" y="897"/>
                  </a:lnTo>
                  <a:lnTo>
                    <a:pt x="682" y="895"/>
                  </a:lnTo>
                  <a:lnTo>
                    <a:pt x="684" y="894"/>
                  </a:lnTo>
                  <a:lnTo>
                    <a:pt x="686" y="891"/>
                  </a:lnTo>
                  <a:lnTo>
                    <a:pt x="687" y="888"/>
                  </a:lnTo>
                  <a:lnTo>
                    <a:pt x="688" y="886"/>
                  </a:lnTo>
                  <a:lnTo>
                    <a:pt x="688" y="883"/>
                  </a:lnTo>
                  <a:lnTo>
                    <a:pt x="688" y="838"/>
                  </a:lnTo>
                  <a:lnTo>
                    <a:pt x="694" y="837"/>
                  </a:lnTo>
                  <a:lnTo>
                    <a:pt x="699" y="836"/>
                  </a:lnTo>
                  <a:lnTo>
                    <a:pt x="704" y="835"/>
                  </a:lnTo>
                  <a:lnTo>
                    <a:pt x="710" y="833"/>
                  </a:lnTo>
                  <a:lnTo>
                    <a:pt x="720" y="826"/>
                  </a:lnTo>
                  <a:lnTo>
                    <a:pt x="729" y="819"/>
                  </a:lnTo>
                  <a:lnTo>
                    <a:pt x="736" y="810"/>
                  </a:lnTo>
                  <a:lnTo>
                    <a:pt x="743" y="799"/>
                  </a:lnTo>
                  <a:lnTo>
                    <a:pt x="745" y="794"/>
                  </a:lnTo>
                  <a:lnTo>
                    <a:pt x="747" y="789"/>
                  </a:lnTo>
                  <a:lnTo>
                    <a:pt x="748" y="783"/>
                  </a:lnTo>
                  <a:lnTo>
                    <a:pt x="748" y="778"/>
                  </a:lnTo>
                  <a:lnTo>
                    <a:pt x="748" y="268"/>
                  </a:lnTo>
                  <a:lnTo>
                    <a:pt x="778" y="268"/>
                  </a:lnTo>
                  <a:lnTo>
                    <a:pt x="778" y="523"/>
                  </a:lnTo>
                  <a:lnTo>
                    <a:pt x="778" y="526"/>
                  </a:lnTo>
                  <a:lnTo>
                    <a:pt x="779" y="530"/>
                  </a:lnTo>
                  <a:lnTo>
                    <a:pt x="780" y="532"/>
                  </a:lnTo>
                  <a:lnTo>
                    <a:pt x="782" y="534"/>
                  </a:lnTo>
                  <a:lnTo>
                    <a:pt x="785" y="536"/>
                  </a:lnTo>
                  <a:lnTo>
                    <a:pt x="788" y="537"/>
                  </a:lnTo>
                  <a:lnTo>
                    <a:pt x="790" y="538"/>
                  </a:lnTo>
                  <a:lnTo>
                    <a:pt x="793" y="538"/>
                  </a:lnTo>
                  <a:lnTo>
                    <a:pt x="883" y="538"/>
                  </a:lnTo>
                  <a:lnTo>
                    <a:pt x="886" y="538"/>
                  </a:lnTo>
                  <a:lnTo>
                    <a:pt x="888" y="537"/>
                  </a:lnTo>
                  <a:lnTo>
                    <a:pt x="892" y="536"/>
                  </a:lnTo>
                  <a:lnTo>
                    <a:pt x="894" y="534"/>
                  </a:lnTo>
                  <a:lnTo>
                    <a:pt x="895" y="532"/>
                  </a:lnTo>
                  <a:lnTo>
                    <a:pt x="897" y="530"/>
                  </a:lnTo>
                  <a:lnTo>
                    <a:pt x="898" y="526"/>
                  </a:lnTo>
                  <a:lnTo>
                    <a:pt x="898" y="523"/>
                  </a:lnTo>
                  <a:lnTo>
                    <a:pt x="898" y="253"/>
                  </a:lnTo>
                  <a:lnTo>
                    <a:pt x="898" y="251"/>
                  </a:lnTo>
                  <a:lnTo>
                    <a:pt x="897" y="248"/>
                  </a:lnTo>
                  <a:lnTo>
                    <a:pt x="895" y="246"/>
                  </a:lnTo>
                  <a:lnTo>
                    <a:pt x="894" y="244"/>
                  </a:lnTo>
                  <a:lnTo>
                    <a:pt x="892" y="242"/>
                  </a:lnTo>
                  <a:lnTo>
                    <a:pt x="888" y="241"/>
                  </a:lnTo>
                  <a:lnTo>
                    <a:pt x="886" y="240"/>
                  </a:lnTo>
                  <a:lnTo>
                    <a:pt x="883" y="2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59" name="Group 258"/>
          <p:cNvGrpSpPr/>
          <p:nvPr/>
        </p:nvGrpSpPr>
        <p:grpSpPr>
          <a:xfrm>
            <a:off x="4766323" y="3841144"/>
            <a:ext cx="285750" cy="200025"/>
            <a:chOff x="5467350" y="3421063"/>
            <a:chExt cx="285750" cy="200025"/>
          </a:xfrm>
          <a:solidFill>
            <a:schemeClr val="bg1"/>
          </a:solidFill>
        </p:grpSpPr>
        <p:sp>
          <p:nvSpPr>
            <p:cNvPr id="260" name="Freeform 102"/>
            <p:cNvSpPr>
              <a:spLocks/>
            </p:cNvSpPr>
            <p:nvPr/>
          </p:nvSpPr>
          <p:spPr bwMode="auto">
            <a:xfrm>
              <a:off x="5695950" y="3459163"/>
              <a:ext cx="57150" cy="61913"/>
            </a:xfrm>
            <a:custGeom>
              <a:avLst/>
              <a:gdLst>
                <a:gd name="T0" fmla="*/ 165 w 180"/>
                <a:gd name="T1" fmla="*/ 90 h 195"/>
                <a:gd name="T2" fmla="*/ 84 w 180"/>
                <a:gd name="T3" fmla="*/ 90 h 195"/>
                <a:gd name="T4" fmla="*/ 28 w 180"/>
                <a:gd name="T5" fmla="*/ 8 h 195"/>
                <a:gd name="T6" fmla="*/ 26 w 180"/>
                <a:gd name="T7" fmla="*/ 6 h 195"/>
                <a:gd name="T8" fmla="*/ 24 w 180"/>
                <a:gd name="T9" fmla="*/ 4 h 195"/>
                <a:gd name="T10" fmla="*/ 22 w 180"/>
                <a:gd name="T11" fmla="*/ 2 h 195"/>
                <a:gd name="T12" fmla="*/ 18 w 180"/>
                <a:gd name="T13" fmla="*/ 2 h 195"/>
                <a:gd name="T14" fmla="*/ 15 w 180"/>
                <a:gd name="T15" fmla="*/ 0 h 195"/>
                <a:gd name="T16" fmla="*/ 13 w 180"/>
                <a:gd name="T17" fmla="*/ 2 h 195"/>
                <a:gd name="T18" fmla="*/ 10 w 180"/>
                <a:gd name="T19" fmla="*/ 2 h 195"/>
                <a:gd name="T20" fmla="*/ 7 w 180"/>
                <a:gd name="T21" fmla="*/ 4 h 195"/>
                <a:gd name="T22" fmla="*/ 4 w 180"/>
                <a:gd name="T23" fmla="*/ 6 h 195"/>
                <a:gd name="T24" fmla="*/ 2 w 180"/>
                <a:gd name="T25" fmla="*/ 8 h 195"/>
                <a:gd name="T26" fmla="*/ 1 w 180"/>
                <a:gd name="T27" fmla="*/ 10 h 195"/>
                <a:gd name="T28" fmla="*/ 0 w 180"/>
                <a:gd name="T29" fmla="*/ 13 h 195"/>
                <a:gd name="T30" fmla="*/ 0 w 180"/>
                <a:gd name="T31" fmla="*/ 15 h 195"/>
                <a:gd name="T32" fmla="*/ 0 w 180"/>
                <a:gd name="T33" fmla="*/ 19 h 195"/>
                <a:gd name="T34" fmla="*/ 1 w 180"/>
                <a:gd name="T35" fmla="*/ 22 h 195"/>
                <a:gd name="T36" fmla="*/ 3 w 180"/>
                <a:gd name="T37" fmla="*/ 24 h 195"/>
                <a:gd name="T38" fmla="*/ 57 w 180"/>
                <a:gd name="T39" fmla="*/ 105 h 195"/>
                <a:gd name="T40" fmla="*/ 3 w 180"/>
                <a:gd name="T41" fmla="*/ 171 h 195"/>
                <a:gd name="T42" fmla="*/ 2 w 180"/>
                <a:gd name="T43" fmla="*/ 174 h 195"/>
                <a:gd name="T44" fmla="*/ 1 w 180"/>
                <a:gd name="T45" fmla="*/ 176 h 195"/>
                <a:gd name="T46" fmla="*/ 0 w 180"/>
                <a:gd name="T47" fmla="*/ 179 h 195"/>
                <a:gd name="T48" fmla="*/ 0 w 180"/>
                <a:gd name="T49" fmla="*/ 182 h 195"/>
                <a:gd name="T50" fmla="*/ 1 w 180"/>
                <a:gd name="T51" fmla="*/ 185 h 195"/>
                <a:gd name="T52" fmla="*/ 2 w 180"/>
                <a:gd name="T53" fmla="*/ 188 h 195"/>
                <a:gd name="T54" fmla="*/ 3 w 180"/>
                <a:gd name="T55" fmla="*/ 190 h 195"/>
                <a:gd name="T56" fmla="*/ 5 w 180"/>
                <a:gd name="T57" fmla="*/ 192 h 195"/>
                <a:gd name="T58" fmla="*/ 8 w 180"/>
                <a:gd name="T59" fmla="*/ 194 h 195"/>
                <a:gd name="T60" fmla="*/ 11 w 180"/>
                <a:gd name="T61" fmla="*/ 194 h 195"/>
                <a:gd name="T62" fmla="*/ 13 w 180"/>
                <a:gd name="T63" fmla="*/ 195 h 195"/>
                <a:gd name="T64" fmla="*/ 15 w 180"/>
                <a:gd name="T65" fmla="*/ 195 h 195"/>
                <a:gd name="T66" fmla="*/ 18 w 180"/>
                <a:gd name="T67" fmla="*/ 194 h 195"/>
                <a:gd name="T68" fmla="*/ 22 w 180"/>
                <a:gd name="T69" fmla="*/ 194 h 195"/>
                <a:gd name="T70" fmla="*/ 25 w 180"/>
                <a:gd name="T71" fmla="*/ 192 h 195"/>
                <a:gd name="T72" fmla="*/ 27 w 180"/>
                <a:gd name="T73" fmla="*/ 191 h 195"/>
                <a:gd name="T74" fmla="*/ 83 w 180"/>
                <a:gd name="T75" fmla="*/ 120 h 195"/>
                <a:gd name="T76" fmla="*/ 165 w 180"/>
                <a:gd name="T77" fmla="*/ 120 h 195"/>
                <a:gd name="T78" fmla="*/ 168 w 180"/>
                <a:gd name="T79" fmla="*/ 120 h 195"/>
                <a:gd name="T80" fmla="*/ 170 w 180"/>
                <a:gd name="T81" fmla="*/ 119 h 195"/>
                <a:gd name="T82" fmla="*/ 174 w 180"/>
                <a:gd name="T83" fmla="*/ 118 h 195"/>
                <a:gd name="T84" fmla="*/ 176 w 180"/>
                <a:gd name="T85" fmla="*/ 116 h 195"/>
                <a:gd name="T86" fmla="*/ 178 w 180"/>
                <a:gd name="T87" fmla="*/ 114 h 195"/>
                <a:gd name="T88" fmla="*/ 179 w 180"/>
                <a:gd name="T89" fmla="*/ 112 h 195"/>
                <a:gd name="T90" fmla="*/ 180 w 180"/>
                <a:gd name="T91" fmla="*/ 109 h 195"/>
                <a:gd name="T92" fmla="*/ 180 w 180"/>
                <a:gd name="T93" fmla="*/ 105 h 195"/>
                <a:gd name="T94" fmla="*/ 180 w 180"/>
                <a:gd name="T95" fmla="*/ 102 h 195"/>
                <a:gd name="T96" fmla="*/ 179 w 180"/>
                <a:gd name="T97" fmla="*/ 100 h 195"/>
                <a:gd name="T98" fmla="*/ 178 w 180"/>
                <a:gd name="T99" fmla="*/ 97 h 195"/>
                <a:gd name="T100" fmla="*/ 176 w 180"/>
                <a:gd name="T101" fmla="*/ 95 h 195"/>
                <a:gd name="T102" fmla="*/ 174 w 180"/>
                <a:gd name="T103" fmla="*/ 93 h 195"/>
                <a:gd name="T104" fmla="*/ 170 w 180"/>
                <a:gd name="T105" fmla="*/ 91 h 195"/>
                <a:gd name="T106" fmla="*/ 168 w 180"/>
                <a:gd name="T107" fmla="*/ 90 h 195"/>
                <a:gd name="T108" fmla="*/ 165 w 180"/>
                <a:gd name="T109" fmla="*/ 9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80" h="195">
                  <a:moveTo>
                    <a:pt x="165" y="90"/>
                  </a:moveTo>
                  <a:lnTo>
                    <a:pt x="84" y="90"/>
                  </a:lnTo>
                  <a:lnTo>
                    <a:pt x="28" y="8"/>
                  </a:lnTo>
                  <a:lnTo>
                    <a:pt x="26" y="6"/>
                  </a:lnTo>
                  <a:lnTo>
                    <a:pt x="24" y="4"/>
                  </a:lnTo>
                  <a:lnTo>
                    <a:pt x="22" y="2"/>
                  </a:lnTo>
                  <a:lnTo>
                    <a:pt x="18" y="2"/>
                  </a:lnTo>
                  <a:lnTo>
                    <a:pt x="15" y="0"/>
                  </a:lnTo>
                  <a:lnTo>
                    <a:pt x="13" y="2"/>
                  </a:lnTo>
                  <a:lnTo>
                    <a:pt x="10" y="2"/>
                  </a:lnTo>
                  <a:lnTo>
                    <a:pt x="7" y="4"/>
                  </a:lnTo>
                  <a:lnTo>
                    <a:pt x="4" y="6"/>
                  </a:lnTo>
                  <a:lnTo>
                    <a:pt x="2" y="8"/>
                  </a:lnTo>
                  <a:lnTo>
                    <a:pt x="1" y="10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0" y="19"/>
                  </a:lnTo>
                  <a:lnTo>
                    <a:pt x="1" y="22"/>
                  </a:lnTo>
                  <a:lnTo>
                    <a:pt x="3" y="24"/>
                  </a:lnTo>
                  <a:lnTo>
                    <a:pt x="57" y="105"/>
                  </a:lnTo>
                  <a:lnTo>
                    <a:pt x="3" y="171"/>
                  </a:lnTo>
                  <a:lnTo>
                    <a:pt x="2" y="174"/>
                  </a:lnTo>
                  <a:lnTo>
                    <a:pt x="1" y="176"/>
                  </a:lnTo>
                  <a:lnTo>
                    <a:pt x="0" y="179"/>
                  </a:lnTo>
                  <a:lnTo>
                    <a:pt x="0" y="182"/>
                  </a:lnTo>
                  <a:lnTo>
                    <a:pt x="1" y="185"/>
                  </a:lnTo>
                  <a:lnTo>
                    <a:pt x="2" y="188"/>
                  </a:lnTo>
                  <a:lnTo>
                    <a:pt x="3" y="190"/>
                  </a:lnTo>
                  <a:lnTo>
                    <a:pt x="5" y="192"/>
                  </a:lnTo>
                  <a:lnTo>
                    <a:pt x="8" y="194"/>
                  </a:lnTo>
                  <a:lnTo>
                    <a:pt x="11" y="194"/>
                  </a:lnTo>
                  <a:lnTo>
                    <a:pt x="13" y="195"/>
                  </a:lnTo>
                  <a:lnTo>
                    <a:pt x="15" y="195"/>
                  </a:lnTo>
                  <a:lnTo>
                    <a:pt x="18" y="194"/>
                  </a:lnTo>
                  <a:lnTo>
                    <a:pt x="22" y="194"/>
                  </a:lnTo>
                  <a:lnTo>
                    <a:pt x="25" y="192"/>
                  </a:lnTo>
                  <a:lnTo>
                    <a:pt x="27" y="191"/>
                  </a:lnTo>
                  <a:lnTo>
                    <a:pt x="83" y="120"/>
                  </a:lnTo>
                  <a:lnTo>
                    <a:pt x="165" y="120"/>
                  </a:lnTo>
                  <a:lnTo>
                    <a:pt x="168" y="120"/>
                  </a:lnTo>
                  <a:lnTo>
                    <a:pt x="170" y="119"/>
                  </a:lnTo>
                  <a:lnTo>
                    <a:pt x="174" y="118"/>
                  </a:lnTo>
                  <a:lnTo>
                    <a:pt x="176" y="116"/>
                  </a:lnTo>
                  <a:lnTo>
                    <a:pt x="178" y="114"/>
                  </a:lnTo>
                  <a:lnTo>
                    <a:pt x="179" y="112"/>
                  </a:lnTo>
                  <a:lnTo>
                    <a:pt x="180" y="109"/>
                  </a:lnTo>
                  <a:lnTo>
                    <a:pt x="180" y="105"/>
                  </a:lnTo>
                  <a:lnTo>
                    <a:pt x="180" y="102"/>
                  </a:lnTo>
                  <a:lnTo>
                    <a:pt x="179" y="100"/>
                  </a:lnTo>
                  <a:lnTo>
                    <a:pt x="178" y="97"/>
                  </a:lnTo>
                  <a:lnTo>
                    <a:pt x="176" y="95"/>
                  </a:lnTo>
                  <a:lnTo>
                    <a:pt x="174" y="93"/>
                  </a:lnTo>
                  <a:lnTo>
                    <a:pt x="170" y="91"/>
                  </a:lnTo>
                  <a:lnTo>
                    <a:pt x="168" y="90"/>
                  </a:lnTo>
                  <a:lnTo>
                    <a:pt x="165" y="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1" name="Freeform 103"/>
            <p:cNvSpPr>
              <a:spLocks/>
            </p:cNvSpPr>
            <p:nvPr/>
          </p:nvSpPr>
          <p:spPr bwMode="auto">
            <a:xfrm>
              <a:off x="5586413" y="3516313"/>
              <a:ext cx="19050" cy="9525"/>
            </a:xfrm>
            <a:custGeom>
              <a:avLst/>
              <a:gdLst>
                <a:gd name="T0" fmla="*/ 15 w 60"/>
                <a:gd name="T1" fmla="*/ 0 h 30"/>
                <a:gd name="T2" fmla="*/ 12 w 60"/>
                <a:gd name="T3" fmla="*/ 0 h 30"/>
                <a:gd name="T4" fmla="*/ 9 w 60"/>
                <a:gd name="T5" fmla="*/ 1 h 30"/>
                <a:gd name="T6" fmla="*/ 7 w 60"/>
                <a:gd name="T7" fmla="*/ 2 h 30"/>
                <a:gd name="T8" fmla="*/ 5 w 60"/>
                <a:gd name="T9" fmla="*/ 5 h 30"/>
                <a:gd name="T10" fmla="*/ 3 w 60"/>
                <a:gd name="T11" fmla="*/ 7 h 30"/>
                <a:gd name="T12" fmla="*/ 2 w 60"/>
                <a:gd name="T13" fmla="*/ 10 h 30"/>
                <a:gd name="T14" fmla="*/ 0 w 60"/>
                <a:gd name="T15" fmla="*/ 12 h 30"/>
                <a:gd name="T16" fmla="*/ 0 w 60"/>
                <a:gd name="T17" fmla="*/ 15 h 30"/>
                <a:gd name="T18" fmla="*/ 0 w 60"/>
                <a:gd name="T19" fmla="*/ 18 h 30"/>
                <a:gd name="T20" fmla="*/ 2 w 60"/>
                <a:gd name="T21" fmla="*/ 21 h 30"/>
                <a:gd name="T22" fmla="*/ 3 w 60"/>
                <a:gd name="T23" fmla="*/ 24 h 30"/>
                <a:gd name="T24" fmla="*/ 5 w 60"/>
                <a:gd name="T25" fmla="*/ 26 h 30"/>
                <a:gd name="T26" fmla="*/ 7 w 60"/>
                <a:gd name="T27" fmla="*/ 27 h 30"/>
                <a:gd name="T28" fmla="*/ 9 w 60"/>
                <a:gd name="T29" fmla="*/ 29 h 30"/>
                <a:gd name="T30" fmla="*/ 12 w 60"/>
                <a:gd name="T31" fmla="*/ 29 h 30"/>
                <a:gd name="T32" fmla="*/ 15 w 60"/>
                <a:gd name="T33" fmla="*/ 30 h 30"/>
                <a:gd name="T34" fmla="*/ 45 w 60"/>
                <a:gd name="T35" fmla="*/ 30 h 30"/>
                <a:gd name="T36" fmla="*/ 48 w 60"/>
                <a:gd name="T37" fmla="*/ 29 h 30"/>
                <a:gd name="T38" fmla="*/ 51 w 60"/>
                <a:gd name="T39" fmla="*/ 29 h 30"/>
                <a:gd name="T40" fmla="*/ 53 w 60"/>
                <a:gd name="T41" fmla="*/ 27 h 30"/>
                <a:gd name="T42" fmla="*/ 55 w 60"/>
                <a:gd name="T43" fmla="*/ 26 h 30"/>
                <a:gd name="T44" fmla="*/ 57 w 60"/>
                <a:gd name="T45" fmla="*/ 24 h 30"/>
                <a:gd name="T46" fmla="*/ 58 w 60"/>
                <a:gd name="T47" fmla="*/ 21 h 30"/>
                <a:gd name="T48" fmla="*/ 59 w 60"/>
                <a:gd name="T49" fmla="*/ 18 h 30"/>
                <a:gd name="T50" fmla="*/ 60 w 60"/>
                <a:gd name="T51" fmla="*/ 15 h 30"/>
                <a:gd name="T52" fmla="*/ 59 w 60"/>
                <a:gd name="T53" fmla="*/ 12 h 30"/>
                <a:gd name="T54" fmla="*/ 58 w 60"/>
                <a:gd name="T55" fmla="*/ 10 h 30"/>
                <a:gd name="T56" fmla="*/ 57 w 60"/>
                <a:gd name="T57" fmla="*/ 7 h 30"/>
                <a:gd name="T58" fmla="*/ 55 w 60"/>
                <a:gd name="T59" fmla="*/ 5 h 30"/>
                <a:gd name="T60" fmla="*/ 53 w 60"/>
                <a:gd name="T61" fmla="*/ 2 h 30"/>
                <a:gd name="T62" fmla="*/ 51 w 60"/>
                <a:gd name="T63" fmla="*/ 1 h 30"/>
                <a:gd name="T64" fmla="*/ 48 w 60"/>
                <a:gd name="T65" fmla="*/ 0 h 30"/>
                <a:gd name="T66" fmla="*/ 45 w 60"/>
                <a:gd name="T67" fmla="*/ 0 h 30"/>
                <a:gd name="T68" fmla="*/ 15 w 60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" h="30">
                  <a:moveTo>
                    <a:pt x="15" y="0"/>
                  </a:moveTo>
                  <a:lnTo>
                    <a:pt x="12" y="0"/>
                  </a:lnTo>
                  <a:lnTo>
                    <a:pt x="9" y="1"/>
                  </a:lnTo>
                  <a:lnTo>
                    <a:pt x="7" y="2"/>
                  </a:lnTo>
                  <a:lnTo>
                    <a:pt x="5" y="5"/>
                  </a:lnTo>
                  <a:lnTo>
                    <a:pt x="3" y="7"/>
                  </a:lnTo>
                  <a:lnTo>
                    <a:pt x="2" y="10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2" y="21"/>
                  </a:lnTo>
                  <a:lnTo>
                    <a:pt x="3" y="24"/>
                  </a:lnTo>
                  <a:lnTo>
                    <a:pt x="5" y="26"/>
                  </a:lnTo>
                  <a:lnTo>
                    <a:pt x="7" y="27"/>
                  </a:lnTo>
                  <a:lnTo>
                    <a:pt x="9" y="29"/>
                  </a:lnTo>
                  <a:lnTo>
                    <a:pt x="12" y="29"/>
                  </a:lnTo>
                  <a:lnTo>
                    <a:pt x="15" y="30"/>
                  </a:lnTo>
                  <a:lnTo>
                    <a:pt x="45" y="30"/>
                  </a:lnTo>
                  <a:lnTo>
                    <a:pt x="48" y="29"/>
                  </a:lnTo>
                  <a:lnTo>
                    <a:pt x="51" y="29"/>
                  </a:lnTo>
                  <a:lnTo>
                    <a:pt x="53" y="27"/>
                  </a:lnTo>
                  <a:lnTo>
                    <a:pt x="55" y="26"/>
                  </a:lnTo>
                  <a:lnTo>
                    <a:pt x="57" y="24"/>
                  </a:lnTo>
                  <a:lnTo>
                    <a:pt x="58" y="21"/>
                  </a:lnTo>
                  <a:lnTo>
                    <a:pt x="59" y="18"/>
                  </a:lnTo>
                  <a:lnTo>
                    <a:pt x="60" y="15"/>
                  </a:lnTo>
                  <a:lnTo>
                    <a:pt x="59" y="12"/>
                  </a:lnTo>
                  <a:lnTo>
                    <a:pt x="58" y="10"/>
                  </a:lnTo>
                  <a:lnTo>
                    <a:pt x="57" y="7"/>
                  </a:lnTo>
                  <a:lnTo>
                    <a:pt x="55" y="5"/>
                  </a:lnTo>
                  <a:lnTo>
                    <a:pt x="53" y="2"/>
                  </a:lnTo>
                  <a:lnTo>
                    <a:pt x="51" y="1"/>
                  </a:lnTo>
                  <a:lnTo>
                    <a:pt x="48" y="0"/>
                  </a:lnTo>
                  <a:lnTo>
                    <a:pt x="45" y="0"/>
                  </a:ln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2" name="Freeform 104"/>
            <p:cNvSpPr>
              <a:spLocks noEditPoints="1"/>
            </p:cNvSpPr>
            <p:nvPr/>
          </p:nvSpPr>
          <p:spPr bwMode="auto">
            <a:xfrm>
              <a:off x="5467350" y="3421063"/>
              <a:ext cx="233363" cy="200025"/>
            </a:xfrm>
            <a:custGeom>
              <a:avLst/>
              <a:gdLst>
                <a:gd name="T0" fmla="*/ 419 w 733"/>
                <a:gd name="T1" fmla="*/ 179 h 628"/>
                <a:gd name="T2" fmla="*/ 129 w 733"/>
                <a:gd name="T3" fmla="*/ 598 h 628"/>
                <a:gd name="T4" fmla="*/ 729 w 733"/>
                <a:gd name="T5" fmla="*/ 55 h 628"/>
                <a:gd name="T6" fmla="*/ 733 w 733"/>
                <a:gd name="T7" fmla="*/ 41 h 628"/>
                <a:gd name="T8" fmla="*/ 725 w 733"/>
                <a:gd name="T9" fmla="*/ 31 h 628"/>
                <a:gd name="T10" fmla="*/ 388 w 733"/>
                <a:gd name="T11" fmla="*/ 11 h 628"/>
                <a:gd name="T12" fmla="*/ 380 w 733"/>
                <a:gd name="T13" fmla="*/ 1 h 628"/>
                <a:gd name="T14" fmla="*/ 366 w 733"/>
                <a:gd name="T15" fmla="*/ 3 h 628"/>
                <a:gd name="T16" fmla="*/ 359 w 733"/>
                <a:gd name="T17" fmla="*/ 15 h 628"/>
                <a:gd name="T18" fmla="*/ 6 w 733"/>
                <a:gd name="T19" fmla="*/ 33 h 628"/>
                <a:gd name="T20" fmla="*/ 0 w 733"/>
                <a:gd name="T21" fmla="*/ 45 h 628"/>
                <a:gd name="T22" fmla="*/ 6 w 733"/>
                <a:gd name="T23" fmla="*/ 57 h 628"/>
                <a:gd name="T24" fmla="*/ 359 w 733"/>
                <a:gd name="T25" fmla="*/ 89 h 628"/>
                <a:gd name="T26" fmla="*/ 304 w 733"/>
                <a:gd name="T27" fmla="*/ 94 h 628"/>
                <a:gd name="T28" fmla="*/ 300 w 733"/>
                <a:gd name="T29" fmla="*/ 179 h 628"/>
                <a:gd name="T30" fmla="*/ 233 w 733"/>
                <a:gd name="T31" fmla="*/ 188 h 628"/>
                <a:gd name="T32" fmla="*/ 172 w 733"/>
                <a:gd name="T33" fmla="*/ 212 h 628"/>
                <a:gd name="T34" fmla="*/ 93 w 733"/>
                <a:gd name="T35" fmla="*/ 270 h 628"/>
                <a:gd name="T36" fmla="*/ 43 w 733"/>
                <a:gd name="T37" fmla="*/ 345 h 628"/>
                <a:gd name="T38" fmla="*/ 30 w 733"/>
                <a:gd name="T39" fmla="*/ 395 h 628"/>
                <a:gd name="T40" fmla="*/ 35 w 733"/>
                <a:gd name="T41" fmla="*/ 461 h 628"/>
                <a:gd name="T42" fmla="*/ 56 w 733"/>
                <a:gd name="T43" fmla="*/ 522 h 628"/>
                <a:gd name="T44" fmla="*/ 92 w 733"/>
                <a:gd name="T45" fmla="*/ 562 h 628"/>
                <a:gd name="T46" fmla="*/ 30 w 733"/>
                <a:gd name="T47" fmla="*/ 596 h 628"/>
                <a:gd name="T48" fmla="*/ 21 w 733"/>
                <a:gd name="T49" fmla="*/ 585 h 628"/>
                <a:gd name="T50" fmla="*/ 6 w 733"/>
                <a:gd name="T51" fmla="*/ 586 h 628"/>
                <a:gd name="T52" fmla="*/ 0 w 733"/>
                <a:gd name="T53" fmla="*/ 598 h 628"/>
                <a:gd name="T54" fmla="*/ 13 w 733"/>
                <a:gd name="T55" fmla="*/ 624 h 628"/>
                <a:gd name="T56" fmla="*/ 482 w 733"/>
                <a:gd name="T57" fmla="*/ 628 h 628"/>
                <a:gd name="T58" fmla="*/ 492 w 733"/>
                <a:gd name="T59" fmla="*/ 619 h 628"/>
                <a:gd name="T60" fmla="*/ 491 w 733"/>
                <a:gd name="T61" fmla="*/ 605 h 628"/>
                <a:gd name="T62" fmla="*/ 479 w 733"/>
                <a:gd name="T63" fmla="*/ 598 h 628"/>
                <a:gd name="T64" fmla="*/ 410 w 733"/>
                <a:gd name="T65" fmla="*/ 553 h 628"/>
                <a:gd name="T66" fmla="*/ 447 w 733"/>
                <a:gd name="T67" fmla="*/ 520 h 628"/>
                <a:gd name="T68" fmla="*/ 497 w 733"/>
                <a:gd name="T69" fmla="*/ 430 h 628"/>
                <a:gd name="T70" fmla="*/ 522 w 733"/>
                <a:gd name="T71" fmla="*/ 326 h 628"/>
                <a:gd name="T72" fmla="*/ 686 w 733"/>
                <a:gd name="T73" fmla="*/ 277 h 628"/>
                <a:gd name="T74" fmla="*/ 687 w 733"/>
                <a:gd name="T75" fmla="*/ 263 h 628"/>
                <a:gd name="T76" fmla="*/ 675 w 733"/>
                <a:gd name="T77" fmla="*/ 254 h 628"/>
                <a:gd name="T78" fmla="*/ 498 w 733"/>
                <a:gd name="T79" fmla="*/ 305 h 628"/>
                <a:gd name="T80" fmla="*/ 486 w 733"/>
                <a:gd name="T81" fmla="*/ 359 h 628"/>
                <a:gd name="T82" fmla="*/ 455 w 733"/>
                <a:gd name="T83" fmla="*/ 452 h 628"/>
                <a:gd name="T84" fmla="*/ 413 w 733"/>
                <a:gd name="T85" fmla="*/ 512 h 628"/>
                <a:gd name="T86" fmla="*/ 371 w 733"/>
                <a:gd name="T87" fmla="*/ 538 h 628"/>
                <a:gd name="T88" fmla="*/ 95 w 733"/>
                <a:gd name="T89" fmla="*/ 526 h 628"/>
                <a:gd name="T90" fmla="*/ 73 w 733"/>
                <a:gd name="T91" fmla="*/ 486 h 628"/>
                <a:gd name="T92" fmla="*/ 61 w 733"/>
                <a:gd name="T93" fmla="*/ 428 h 628"/>
                <a:gd name="T94" fmla="*/ 63 w 733"/>
                <a:gd name="T95" fmla="*/ 380 h 628"/>
                <a:gd name="T96" fmla="*/ 103 w 733"/>
                <a:gd name="T97" fmla="*/ 305 h 628"/>
                <a:gd name="T98" fmla="*/ 187 w 733"/>
                <a:gd name="T99" fmla="*/ 237 h 628"/>
                <a:gd name="T100" fmla="*/ 276 w 733"/>
                <a:gd name="T101" fmla="*/ 210 h 628"/>
                <a:gd name="T102" fmla="*/ 673 w 733"/>
                <a:gd name="T103" fmla="*/ 209 h 628"/>
                <a:gd name="T104" fmla="*/ 686 w 733"/>
                <a:gd name="T105" fmla="*/ 203 h 628"/>
                <a:gd name="T106" fmla="*/ 687 w 733"/>
                <a:gd name="T107" fmla="*/ 189 h 628"/>
                <a:gd name="T108" fmla="*/ 676 w 733"/>
                <a:gd name="T109" fmla="*/ 179 h 628"/>
                <a:gd name="T110" fmla="*/ 447 w 733"/>
                <a:gd name="T111" fmla="*/ 99 h 628"/>
                <a:gd name="T112" fmla="*/ 437 w 733"/>
                <a:gd name="T113" fmla="*/ 89 h 6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33" h="628">
                  <a:moveTo>
                    <a:pt x="419" y="179"/>
                  </a:moveTo>
                  <a:lnTo>
                    <a:pt x="329" y="179"/>
                  </a:lnTo>
                  <a:lnTo>
                    <a:pt x="329" y="119"/>
                  </a:lnTo>
                  <a:lnTo>
                    <a:pt x="419" y="119"/>
                  </a:lnTo>
                  <a:lnTo>
                    <a:pt x="419" y="179"/>
                  </a:lnTo>
                  <a:close/>
                  <a:moveTo>
                    <a:pt x="129" y="598"/>
                  </a:moveTo>
                  <a:lnTo>
                    <a:pt x="144" y="568"/>
                  </a:lnTo>
                  <a:lnTo>
                    <a:pt x="350" y="568"/>
                  </a:lnTo>
                  <a:lnTo>
                    <a:pt x="365" y="598"/>
                  </a:lnTo>
                  <a:lnTo>
                    <a:pt x="129" y="598"/>
                  </a:lnTo>
                  <a:close/>
                  <a:moveTo>
                    <a:pt x="718" y="60"/>
                  </a:moveTo>
                  <a:lnTo>
                    <a:pt x="721" y="60"/>
                  </a:lnTo>
                  <a:lnTo>
                    <a:pt x="725" y="58"/>
                  </a:lnTo>
                  <a:lnTo>
                    <a:pt x="727" y="57"/>
                  </a:lnTo>
                  <a:lnTo>
                    <a:pt x="729" y="55"/>
                  </a:lnTo>
                  <a:lnTo>
                    <a:pt x="731" y="53"/>
                  </a:lnTo>
                  <a:lnTo>
                    <a:pt x="732" y="51"/>
                  </a:lnTo>
                  <a:lnTo>
                    <a:pt x="733" y="48"/>
                  </a:lnTo>
                  <a:lnTo>
                    <a:pt x="733" y="45"/>
                  </a:lnTo>
                  <a:lnTo>
                    <a:pt x="733" y="41"/>
                  </a:lnTo>
                  <a:lnTo>
                    <a:pt x="732" y="39"/>
                  </a:lnTo>
                  <a:lnTo>
                    <a:pt x="731" y="37"/>
                  </a:lnTo>
                  <a:lnTo>
                    <a:pt x="729" y="34"/>
                  </a:lnTo>
                  <a:lnTo>
                    <a:pt x="727" y="33"/>
                  </a:lnTo>
                  <a:lnTo>
                    <a:pt x="725" y="31"/>
                  </a:lnTo>
                  <a:lnTo>
                    <a:pt x="721" y="30"/>
                  </a:lnTo>
                  <a:lnTo>
                    <a:pt x="718" y="30"/>
                  </a:lnTo>
                  <a:lnTo>
                    <a:pt x="389" y="30"/>
                  </a:lnTo>
                  <a:lnTo>
                    <a:pt x="389" y="15"/>
                  </a:lnTo>
                  <a:lnTo>
                    <a:pt x="388" y="11"/>
                  </a:lnTo>
                  <a:lnTo>
                    <a:pt x="388" y="9"/>
                  </a:lnTo>
                  <a:lnTo>
                    <a:pt x="386" y="7"/>
                  </a:lnTo>
                  <a:lnTo>
                    <a:pt x="385" y="4"/>
                  </a:lnTo>
                  <a:lnTo>
                    <a:pt x="382" y="3"/>
                  </a:lnTo>
                  <a:lnTo>
                    <a:pt x="380" y="1"/>
                  </a:lnTo>
                  <a:lnTo>
                    <a:pt x="377" y="0"/>
                  </a:lnTo>
                  <a:lnTo>
                    <a:pt x="374" y="0"/>
                  </a:lnTo>
                  <a:lnTo>
                    <a:pt x="371" y="0"/>
                  </a:lnTo>
                  <a:lnTo>
                    <a:pt x="368" y="1"/>
                  </a:lnTo>
                  <a:lnTo>
                    <a:pt x="366" y="3"/>
                  </a:lnTo>
                  <a:lnTo>
                    <a:pt x="364" y="4"/>
                  </a:lnTo>
                  <a:lnTo>
                    <a:pt x="362" y="7"/>
                  </a:lnTo>
                  <a:lnTo>
                    <a:pt x="361" y="9"/>
                  </a:lnTo>
                  <a:lnTo>
                    <a:pt x="359" y="12"/>
                  </a:lnTo>
                  <a:lnTo>
                    <a:pt x="359" y="15"/>
                  </a:lnTo>
                  <a:lnTo>
                    <a:pt x="359" y="30"/>
                  </a:lnTo>
                  <a:lnTo>
                    <a:pt x="15" y="30"/>
                  </a:lnTo>
                  <a:lnTo>
                    <a:pt x="12" y="30"/>
                  </a:lnTo>
                  <a:lnTo>
                    <a:pt x="9" y="31"/>
                  </a:lnTo>
                  <a:lnTo>
                    <a:pt x="6" y="33"/>
                  </a:lnTo>
                  <a:lnTo>
                    <a:pt x="4" y="34"/>
                  </a:lnTo>
                  <a:lnTo>
                    <a:pt x="3" y="37"/>
                  </a:lnTo>
                  <a:lnTo>
                    <a:pt x="1" y="39"/>
                  </a:lnTo>
                  <a:lnTo>
                    <a:pt x="0" y="41"/>
                  </a:lnTo>
                  <a:lnTo>
                    <a:pt x="0" y="45"/>
                  </a:lnTo>
                  <a:lnTo>
                    <a:pt x="0" y="48"/>
                  </a:lnTo>
                  <a:lnTo>
                    <a:pt x="1" y="51"/>
                  </a:lnTo>
                  <a:lnTo>
                    <a:pt x="3" y="53"/>
                  </a:lnTo>
                  <a:lnTo>
                    <a:pt x="4" y="55"/>
                  </a:lnTo>
                  <a:lnTo>
                    <a:pt x="6" y="57"/>
                  </a:lnTo>
                  <a:lnTo>
                    <a:pt x="9" y="58"/>
                  </a:lnTo>
                  <a:lnTo>
                    <a:pt x="12" y="60"/>
                  </a:lnTo>
                  <a:lnTo>
                    <a:pt x="15" y="60"/>
                  </a:lnTo>
                  <a:lnTo>
                    <a:pt x="359" y="60"/>
                  </a:lnTo>
                  <a:lnTo>
                    <a:pt x="359" y="89"/>
                  </a:lnTo>
                  <a:lnTo>
                    <a:pt x="315" y="89"/>
                  </a:lnTo>
                  <a:lnTo>
                    <a:pt x="311" y="89"/>
                  </a:lnTo>
                  <a:lnTo>
                    <a:pt x="308" y="91"/>
                  </a:lnTo>
                  <a:lnTo>
                    <a:pt x="306" y="93"/>
                  </a:lnTo>
                  <a:lnTo>
                    <a:pt x="304" y="94"/>
                  </a:lnTo>
                  <a:lnTo>
                    <a:pt x="302" y="96"/>
                  </a:lnTo>
                  <a:lnTo>
                    <a:pt x="301" y="99"/>
                  </a:lnTo>
                  <a:lnTo>
                    <a:pt x="300" y="101"/>
                  </a:lnTo>
                  <a:lnTo>
                    <a:pt x="300" y="104"/>
                  </a:lnTo>
                  <a:lnTo>
                    <a:pt x="300" y="179"/>
                  </a:lnTo>
                  <a:lnTo>
                    <a:pt x="286" y="179"/>
                  </a:lnTo>
                  <a:lnTo>
                    <a:pt x="273" y="180"/>
                  </a:lnTo>
                  <a:lnTo>
                    <a:pt x="259" y="183"/>
                  </a:lnTo>
                  <a:lnTo>
                    <a:pt x="246" y="185"/>
                  </a:lnTo>
                  <a:lnTo>
                    <a:pt x="233" y="188"/>
                  </a:lnTo>
                  <a:lnTo>
                    <a:pt x="220" y="191"/>
                  </a:lnTo>
                  <a:lnTo>
                    <a:pt x="209" y="195"/>
                  </a:lnTo>
                  <a:lnTo>
                    <a:pt x="196" y="200"/>
                  </a:lnTo>
                  <a:lnTo>
                    <a:pt x="184" y="205"/>
                  </a:lnTo>
                  <a:lnTo>
                    <a:pt x="172" y="212"/>
                  </a:lnTo>
                  <a:lnTo>
                    <a:pt x="161" y="217"/>
                  </a:lnTo>
                  <a:lnTo>
                    <a:pt x="151" y="224"/>
                  </a:lnTo>
                  <a:lnTo>
                    <a:pt x="129" y="238"/>
                  </a:lnTo>
                  <a:lnTo>
                    <a:pt x="110" y="254"/>
                  </a:lnTo>
                  <a:lnTo>
                    <a:pt x="93" y="270"/>
                  </a:lnTo>
                  <a:lnTo>
                    <a:pt x="77" y="289"/>
                  </a:lnTo>
                  <a:lnTo>
                    <a:pt x="63" y="307"/>
                  </a:lnTo>
                  <a:lnTo>
                    <a:pt x="51" y="326"/>
                  </a:lnTo>
                  <a:lnTo>
                    <a:pt x="47" y="336"/>
                  </a:lnTo>
                  <a:lnTo>
                    <a:pt x="43" y="345"/>
                  </a:lnTo>
                  <a:lnTo>
                    <a:pt x="38" y="356"/>
                  </a:lnTo>
                  <a:lnTo>
                    <a:pt x="35" y="366"/>
                  </a:lnTo>
                  <a:lnTo>
                    <a:pt x="33" y="375"/>
                  </a:lnTo>
                  <a:lnTo>
                    <a:pt x="31" y="385"/>
                  </a:lnTo>
                  <a:lnTo>
                    <a:pt x="30" y="395"/>
                  </a:lnTo>
                  <a:lnTo>
                    <a:pt x="30" y="404"/>
                  </a:lnTo>
                  <a:lnTo>
                    <a:pt x="30" y="418"/>
                  </a:lnTo>
                  <a:lnTo>
                    <a:pt x="31" y="432"/>
                  </a:lnTo>
                  <a:lnTo>
                    <a:pt x="33" y="447"/>
                  </a:lnTo>
                  <a:lnTo>
                    <a:pt x="35" y="461"/>
                  </a:lnTo>
                  <a:lnTo>
                    <a:pt x="38" y="474"/>
                  </a:lnTo>
                  <a:lnTo>
                    <a:pt x="42" y="487"/>
                  </a:lnTo>
                  <a:lnTo>
                    <a:pt x="46" y="499"/>
                  </a:lnTo>
                  <a:lnTo>
                    <a:pt x="50" y="511"/>
                  </a:lnTo>
                  <a:lnTo>
                    <a:pt x="56" y="522"/>
                  </a:lnTo>
                  <a:lnTo>
                    <a:pt x="62" y="533"/>
                  </a:lnTo>
                  <a:lnTo>
                    <a:pt x="68" y="541"/>
                  </a:lnTo>
                  <a:lnTo>
                    <a:pt x="76" y="550"/>
                  </a:lnTo>
                  <a:lnTo>
                    <a:pt x="83" y="556"/>
                  </a:lnTo>
                  <a:lnTo>
                    <a:pt x="92" y="562"/>
                  </a:lnTo>
                  <a:lnTo>
                    <a:pt x="101" y="566"/>
                  </a:lnTo>
                  <a:lnTo>
                    <a:pt x="111" y="568"/>
                  </a:lnTo>
                  <a:lnTo>
                    <a:pt x="95" y="598"/>
                  </a:lnTo>
                  <a:lnTo>
                    <a:pt x="30" y="598"/>
                  </a:lnTo>
                  <a:lnTo>
                    <a:pt x="30" y="596"/>
                  </a:lnTo>
                  <a:lnTo>
                    <a:pt x="29" y="593"/>
                  </a:lnTo>
                  <a:lnTo>
                    <a:pt x="28" y="590"/>
                  </a:lnTo>
                  <a:lnTo>
                    <a:pt x="25" y="588"/>
                  </a:lnTo>
                  <a:lnTo>
                    <a:pt x="23" y="586"/>
                  </a:lnTo>
                  <a:lnTo>
                    <a:pt x="21" y="585"/>
                  </a:lnTo>
                  <a:lnTo>
                    <a:pt x="18" y="584"/>
                  </a:lnTo>
                  <a:lnTo>
                    <a:pt x="15" y="583"/>
                  </a:lnTo>
                  <a:lnTo>
                    <a:pt x="12" y="584"/>
                  </a:lnTo>
                  <a:lnTo>
                    <a:pt x="9" y="585"/>
                  </a:lnTo>
                  <a:lnTo>
                    <a:pt x="6" y="586"/>
                  </a:lnTo>
                  <a:lnTo>
                    <a:pt x="4" y="588"/>
                  </a:lnTo>
                  <a:lnTo>
                    <a:pt x="3" y="590"/>
                  </a:lnTo>
                  <a:lnTo>
                    <a:pt x="1" y="593"/>
                  </a:lnTo>
                  <a:lnTo>
                    <a:pt x="0" y="596"/>
                  </a:lnTo>
                  <a:lnTo>
                    <a:pt x="0" y="598"/>
                  </a:lnTo>
                  <a:lnTo>
                    <a:pt x="1" y="605"/>
                  </a:lnTo>
                  <a:lnTo>
                    <a:pt x="2" y="611"/>
                  </a:lnTo>
                  <a:lnTo>
                    <a:pt x="4" y="616"/>
                  </a:lnTo>
                  <a:lnTo>
                    <a:pt x="8" y="620"/>
                  </a:lnTo>
                  <a:lnTo>
                    <a:pt x="13" y="624"/>
                  </a:lnTo>
                  <a:lnTo>
                    <a:pt x="17" y="627"/>
                  </a:lnTo>
                  <a:lnTo>
                    <a:pt x="23" y="628"/>
                  </a:lnTo>
                  <a:lnTo>
                    <a:pt x="30" y="628"/>
                  </a:lnTo>
                  <a:lnTo>
                    <a:pt x="479" y="628"/>
                  </a:lnTo>
                  <a:lnTo>
                    <a:pt x="482" y="628"/>
                  </a:lnTo>
                  <a:lnTo>
                    <a:pt x="485" y="627"/>
                  </a:lnTo>
                  <a:lnTo>
                    <a:pt x="487" y="626"/>
                  </a:lnTo>
                  <a:lnTo>
                    <a:pt x="489" y="624"/>
                  </a:lnTo>
                  <a:lnTo>
                    <a:pt x="491" y="621"/>
                  </a:lnTo>
                  <a:lnTo>
                    <a:pt x="492" y="619"/>
                  </a:lnTo>
                  <a:lnTo>
                    <a:pt x="493" y="616"/>
                  </a:lnTo>
                  <a:lnTo>
                    <a:pt x="494" y="613"/>
                  </a:lnTo>
                  <a:lnTo>
                    <a:pt x="493" y="611"/>
                  </a:lnTo>
                  <a:lnTo>
                    <a:pt x="492" y="608"/>
                  </a:lnTo>
                  <a:lnTo>
                    <a:pt x="491" y="605"/>
                  </a:lnTo>
                  <a:lnTo>
                    <a:pt x="489" y="603"/>
                  </a:lnTo>
                  <a:lnTo>
                    <a:pt x="487" y="601"/>
                  </a:lnTo>
                  <a:lnTo>
                    <a:pt x="485" y="600"/>
                  </a:lnTo>
                  <a:lnTo>
                    <a:pt x="482" y="599"/>
                  </a:lnTo>
                  <a:lnTo>
                    <a:pt x="479" y="598"/>
                  </a:lnTo>
                  <a:lnTo>
                    <a:pt x="398" y="598"/>
                  </a:lnTo>
                  <a:lnTo>
                    <a:pt x="382" y="567"/>
                  </a:lnTo>
                  <a:lnTo>
                    <a:pt x="392" y="563"/>
                  </a:lnTo>
                  <a:lnTo>
                    <a:pt x="401" y="558"/>
                  </a:lnTo>
                  <a:lnTo>
                    <a:pt x="410" y="553"/>
                  </a:lnTo>
                  <a:lnTo>
                    <a:pt x="418" y="548"/>
                  </a:lnTo>
                  <a:lnTo>
                    <a:pt x="426" y="541"/>
                  </a:lnTo>
                  <a:lnTo>
                    <a:pt x="433" y="535"/>
                  </a:lnTo>
                  <a:lnTo>
                    <a:pt x="441" y="527"/>
                  </a:lnTo>
                  <a:lnTo>
                    <a:pt x="447" y="520"/>
                  </a:lnTo>
                  <a:lnTo>
                    <a:pt x="459" y="503"/>
                  </a:lnTo>
                  <a:lnTo>
                    <a:pt x="471" y="486"/>
                  </a:lnTo>
                  <a:lnTo>
                    <a:pt x="480" y="467"/>
                  </a:lnTo>
                  <a:lnTo>
                    <a:pt x="489" y="449"/>
                  </a:lnTo>
                  <a:lnTo>
                    <a:pt x="497" y="430"/>
                  </a:lnTo>
                  <a:lnTo>
                    <a:pt x="503" y="412"/>
                  </a:lnTo>
                  <a:lnTo>
                    <a:pt x="508" y="393"/>
                  </a:lnTo>
                  <a:lnTo>
                    <a:pt x="513" y="376"/>
                  </a:lnTo>
                  <a:lnTo>
                    <a:pt x="519" y="347"/>
                  </a:lnTo>
                  <a:lnTo>
                    <a:pt x="522" y="326"/>
                  </a:lnTo>
                  <a:lnTo>
                    <a:pt x="677" y="284"/>
                  </a:lnTo>
                  <a:lnTo>
                    <a:pt x="681" y="283"/>
                  </a:lnTo>
                  <a:lnTo>
                    <a:pt x="683" y="282"/>
                  </a:lnTo>
                  <a:lnTo>
                    <a:pt x="685" y="280"/>
                  </a:lnTo>
                  <a:lnTo>
                    <a:pt x="686" y="277"/>
                  </a:lnTo>
                  <a:lnTo>
                    <a:pt x="688" y="275"/>
                  </a:lnTo>
                  <a:lnTo>
                    <a:pt x="688" y="271"/>
                  </a:lnTo>
                  <a:lnTo>
                    <a:pt x="688" y="269"/>
                  </a:lnTo>
                  <a:lnTo>
                    <a:pt x="688" y="266"/>
                  </a:lnTo>
                  <a:lnTo>
                    <a:pt x="687" y="263"/>
                  </a:lnTo>
                  <a:lnTo>
                    <a:pt x="685" y="261"/>
                  </a:lnTo>
                  <a:lnTo>
                    <a:pt x="683" y="258"/>
                  </a:lnTo>
                  <a:lnTo>
                    <a:pt x="681" y="256"/>
                  </a:lnTo>
                  <a:lnTo>
                    <a:pt x="679" y="255"/>
                  </a:lnTo>
                  <a:lnTo>
                    <a:pt x="675" y="254"/>
                  </a:lnTo>
                  <a:lnTo>
                    <a:pt x="672" y="254"/>
                  </a:lnTo>
                  <a:lnTo>
                    <a:pt x="670" y="255"/>
                  </a:lnTo>
                  <a:lnTo>
                    <a:pt x="505" y="300"/>
                  </a:lnTo>
                  <a:lnTo>
                    <a:pt x="501" y="302"/>
                  </a:lnTo>
                  <a:lnTo>
                    <a:pt x="498" y="305"/>
                  </a:lnTo>
                  <a:lnTo>
                    <a:pt x="495" y="308"/>
                  </a:lnTo>
                  <a:lnTo>
                    <a:pt x="494" y="312"/>
                  </a:lnTo>
                  <a:lnTo>
                    <a:pt x="493" y="322"/>
                  </a:lnTo>
                  <a:lnTo>
                    <a:pt x="489" y="344"/>
                  </a:lnTo>
                  <a:lnTo>
                    <a:pt x="486" y="359"/>
                  </a:lnTo>
                  <a:lnTo>
                    <a:pt x="482" y="375"/>
                  </a:lnTo>
                  <a:lnTo>
                    <a:pt x="476" y="395"/>
                  </a:lnTo>
                  <a:lnTo>
                    <a:pt x="471" y="413"/>
                  </a:lnTo>
                  <a:lnTo>
                    <a:pt x="463" y="433"/>
                  </a:lnTo>
                  <a:lnTo>
                    <a:pt x="455" y="452"/>
                  </a:lnTo>
                  <a:lnTo>
                    <a:pt x="445" y="471"/>
                  </a:lnTo>
                  <a:lnTo>
                    <a:pt x="433" y="489"/>
                  </a:lnTo>
                  <a:lnTo>
                    <a:pt x="427" y="496"/>
                  </a:lnTo>
                  <a:lnTo>
                    <a:pt x="421" y="505"/>
                  </a:lnTo>
                  <a:lnTo>
                    <a:pt x="413" y="512"/>
                  </a:lnTo>
                  <a:lnTo>
                    <a:pt x="406" y="519"/>
                  </a:lnTo>
                  <a:lnTo>
                    <a:pt x="398" y="525"/>
                  </a:lnTo>
                  <a:lnTo>
                    <a:pt x="389" y="530"/>
                  </a:lnTo>
                  <a:lnTo>
                    <a:pt x="381" y="535"/>
                  </a:lnTo>
                  <a:lnTo>
                    <a:pt x="371" y="538"/>
                  </a:lnTo>
                  <a:lnTo>
                    <a:pt x="120" y="538"/>
                  </a:lnTo>
                  <a:lnTo>
                    <a:pt x="113" y="538"/>
                  </a:lnTo>
                  <a:lnTo>
                    <a:pt x="107" y="535"/>
                  </a:lnTo>
                  <a:lnTo>
                    <a:pt x="101" y="532"/>
                  </a:lnTo>
                  <a:lnTo>
                    <a:pt x="95" y="526"/>
                  </a:lnTo>
                  <a:lnTo>
                    <a:pt x="90" y="520"/>
                  </a:lnTo>
                  <a:lnTo>
                    <a:pt x="85" y="512"/>
                  </a:lnTo>
                  <a:lnTo>
                    <a:pt x="81" y="505"/>
                  </a:lnTo>
                  <a:lnTo>
                    <a:pt x="77" y="495"/>
                  </a:lnTo>
                  <a:lnTo>
                    <a:pt x="73" y="486"/>
                  </a:lnTo>
                  <a:lnTo>
                    <a:pt x="69" y="475"/>
                  </a:lnTo>
                  <a:lnTo>
                    <a:pt x="66" y="463"/>
                  </a:lnTo>
                  <a:lnTo>
                    <a:pt x="64" y="452"/>
                  </a:lnTo>
                  <a:lnTo>
                    <a:pt x="62" y="441"/>
                  </a:lnTo>
                  <a:lnTo>
                    <a:pt x="61" y="428"/>
                  </a:lnTo>
                  <a:lnTo>
                    <a:pt x="60" y="416"/>
                  </a:lnTo>
                  <a:lnTo>
                    <a:pt x="60" y="404"/>
                  </a:lnTo>
                  <a:lnTo>
                    <a:pt x="60" y="396"/>
                  </a:lnTo>
                  <a:lnTo>
                    <a:pt x="61" y="387"/>
                  </a:lnTo>
                  <a:lnTo>
                    <a:pt x="63" y="380"/>
                  </a:lnTo>
                  <a:lnTo>
                    <a:pt x="65" y="371"/>
                  </a:lnTo>
                  <a:lnTo>
                    <a:pt x="71" y="354"/>
                  </a:lnTo>
                  <a:lnTo>
                    <a:pt x="79" y="338"/>
                  </a:lnTo>
                  <a:lnTo>
                    <a:pt x="90" y="321"/>
                  </a:lnTo>
                  <a:lnTo>
                    <a:pt x="103" y="305"/>
                  </a:lnTo>
                  <a:lnTo>
                    <a:pt x="116" y="290"/>
                  </a:lnTo>
                  <a:lnTo>
                    <a:pt x="133" y="275"/>
                  </a:lnTo>
                  <a:lnTo>
                    <a:pt x="150" y="261"/>
                  </a:lnTo>
                  <a:lnTo>
                    <a:pt x="168" y="248"/>
                  </a:lnTo>
                  <a:lnTo>
                    <a:pt x="187" y="237"/>
                  </a:lnTo>
                  <a:lnTo>
                    <a:pt x="209" y="228"/>
                  </a:lnTo>
                  <a:lnTo>
                    <a:pt x="230" y="220"/>
                  </a:lnTo>
                  <a:lnTo>
                    <a:pt x="252" y="214"/>
                  </a:lnTo>
                  <a:lnTo>
                    <a:pt x="264" y="212"/>
                  </a:lnTo>
                  <a:lnTo>
                    <a:pt x="276" y="210"/>
                  </a:lnTo>
                  <a:lnTo>
                    <a:pt x="288" y="209"/>
                  </a:lnTo>
                  <a:lnTo>
                    <a:pt x="300" y="209"/>
                  </a:lnTo>
                  <a:lnTo>
                    <a:pt x="315" y="209"/>
                  </a:lnTo>
                  <a:lnTo>
                    <a:pt x="434" y="209"/>
                  </a:lnTo>
                  <a:lnTo>
                    <a:pt x="673" y="209"/>
                  </a:lnTo>
                  <a:lnTo>
                    <a:pt x="676" y="209"/>
                  </a:lnTo>
                  <a:lnTo>
                    <a:pt x="680" y="208"/>
                  </a:lnTo>
                  <a:lnTo>
                    <a:pt x="682" y="207"/>
                  </a:lnTo>
                  <a:lnTo>
                    <a:pt x="684" y="205"/>
                  </a:lnTo>
                  <a:lnTo>
                    <a:pt x="686" y="203"/>
                  </a:lnTo>
                  <a:lnTo>
                    <a:pt x="687" y="201"/>
                  </a:lnTo>
                  <a:lnTo>
                    <a:pt x="688" y="198"/>
                  </a:lnTo>
                  <a:lnTo>
                    <a:pt x="688" y="194"/>
                  </a:lnTo>
                  <a:lnTo>
                    <a:pt x="688" y="191"/>
                  </a:lnTo>
                  <a:lnTo>
                    <a:pt x="687" y="189"/>
                  </a:lnTo>
                  <a:lnTo>
                    <a:pt x="686" y="186"/>
                  </a:lnTo>
                  <a:lnTo>
                    <a:pt x="684" y="184"/>
                  </a:lnTo>
                  <a:lnTo>
                    <a:pt x="682" y="182"/>
                  </a:lnTo>
                  <a:lnTo>
                    <a:pt x="680" y="180"/>
                  </a:lnTo>
                  <a:lnTo>
                    <a:pt x="676" y="179"/>
                  </a:lnTo>
                  <a:lnTo>
                    <a:pt x="673" y="179"/>
                  </a:lnTo>
                  <a:lnTo>
                    <a:pt x="449" y="179"/>
                  </a:lnTo>
                  <a:lnTo>
                    <a:pt x="449" y="104"/>
                  </a:lnTo>
                  <a:lnTo>
                    <a:pt x="448" y="101"/>
                  </a:lnTo>
                  <a:lnTo>
                    <a:pt x="447" y="99"/>
                  </a:lnTo>
                  <a:lnTo>
                    <a:pt x="446" y="96"/>
                  </a:lnTo>
                  <a:lnTo>
                    <a:pt x="444" y="94"/>
                  </a:lnTo>
                  <a:lnTo>
                    <a:pt x="442" y="93"/>
                  </a:lnTo>
                  <a:lnTo>
                    <a:pt x="440" y="91"/>
                  </a:lnTo>
                  <a:lnTo>
                    <a:pt x="437" y="89"/>
                  </a:lnTo>
                  <a:lnTo>
                    <a:pt x="434" y="89"/>
                  </a:lnTo>
                  <a:lnTo>
                    <a:pt x="389" y="89"/>
                  </a:lnTo>
                  <a:lnTo>
                    <a:pt x="389" y="60"/>
                  </a:lnTo>
                  <a:lnTo>
                    <a:pt x="718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3" name="Freeform 105"/>
            <p:cNvSpPr>
              <a:spLocks noEditPoints="1"/>
            </p:cNvSpPr>
            <p:nvPr/>
          </p:nvSpPr>
          <p:spPr bwMode="auto">
            <a:xfrm>
              <a:off x="5505450" y="3506788"/>
              <a:ext cx="47625" cy="47625"/>
            </a:xfrm>
            <a:custGeom>
              <a:avLst/>
              <a:gdLst>
                <a:gd name="T0" fmla="*/ 120 w 150"/>
                <a:gd name="T1" fmla="*/ 120 h 150"/>
                <a:gd name="T2" fmla="*/ 31 w 150"/>
                <a:gd name="T3" fmla="*/ 120 h 150"/>
                <a:gd name="T4" fmla="*/ 33 w 150"/>
                <a:gd name="T5" fmla="*/ 112 h 150"/>
                <a:gd name="T6" fmla="*/ 35 w 150"/>
                <a:gd name="T7" fmla="*/ 104 h 150"/>
                <a:gd name="T8" fmla="*/ 38 w 150"/>
                <a:gd name="T9" fmla="*/ 97 h 150"/>
                <a:gd name="T10" fmla="*/ 41 w 150"/>
                <a:gd name="T11" fmla="*/ 89 h 150"/>
                <a:gd name="T12" fmla="*/ 46 w 150"/>
                <a:gd name="T13" fmla="*/ 83 h 150"/>
                <a:gd name="T14" fmla="*/ 51 w 150"/>
                <a:gd name="T15" fmla="*/ 75 h 150"/>
                <a:gd name="T16" fmla="*/ 56 w 150"/>
                <a:gd name="T17" fmla="*/ 69 h 150"/>
                <a:gd name="T18" fmla="*/ 62 w 150"/>
                <a:gd name="T19" fmla="*/ 62 h 150"/>
                <a:gd name="T20" fmla="*/ 68 w 150"/>
                <a:gd name="T21" fmla="*/ 57 h 150"/>
                <a:gd name="T22" fmla="*/ 75 w 150"/>
                <a:gd name="T23" fmla="*/ 52 h 150"/>
                <a:gd name="T24" fmla="*/ 81 w 150"/>
                <a:gd name="T25" fmla="*/ 46 h 150"/>
                <a:gd name="T26" fmla="*/ 89 w 150"/>
                <a:gd name="T27" fmla="*/ 42 h 150"/>
                <a:gd name="T28" fmla="*/ 96 w 150"/>
                <a:gd name="T29" fmla="*/ 39 h 150"/>
                <a:gd name="T30" fmla="*/ 104 w 150"/>
                <a:gd name="T31" fmla="*/ 36 h 150"/>
                <a:gd name="T32" fmla="*/ 111 w 150"/>
                <a:gd name="T33" fmla="*/ 33 h 150"/>
                <a:gd name="T34" fmla="*/ 120 w 150"/>
                <a:gd name="T35" fmla="*/ 31 h 150"/>
                <a:gd name="T36" fmla="*/ 120 w 150"/>
                <a:gd name="T37" fmla="*/ 120 h 150"/>
                <a:gd name="T38" fmla="*/ 0 w 150"/>
                <a:gd name="T39" fmla="*/ 135 h 150"/>
                <a:gd name="T40" fmla="*/ 0 w 150"/>
                <a:gd name="T41" fmla="*/ 138 h 150"/>
                <a:gd name="T42" fmla="*/ 1 w 150"/>
                <a:gd name="T43" fmla="*/ 141 h 150"/>
                <a:gd name="T44" fmla="*/ 2 w 150"/>
                <a:gd name="T45" fmla="*/ 144 h 150"/>
                <a:gd name="T46" fmla="*/ 4 w 150"/>
                <a:gd name="T47" fmla="*/ 146 h 150"/>
                <a:gd name="T48" fmla="*/ 6 w 150"/>
                <a:gd name="T49" fmla="*/ 147 h 150"/>
                <a:gd name="T50" fmla="*/ 9 w 150"/>
                <a:gd name="T51" fmla="*/ 149 h 150"/>
                <a:gd name="T52" fmla="*/ 11 w 150"/>
                <a:gd name="T53" fmla="*/ 149 h 150"/>
                <a:gd name="T54" fmla="*/ 15 w 150"/>
                <a:gd name="T55" fmla="*/ 150 h 150"/>
                <a:gd name="T56" fmla="*/ 135 w 150"/>
                <a:gd name="T57" fmla="*/ 150 h 150"/>
                <a:gd name="T58" fmla="*/ 138 w 150"/>
                <a:gd name="T59" fmla="*/ 149 h 150"/>
                <a:gd name="T60" fmla="*/ 140 w 150"/>
                <a:gd name="T61" fmla="*/ 149 h 150"/>
                <a:gd name="T62" fmla="*/ 143 w 150"/>
                <a:gd name="T63" fmla="*/ 147 h 150"/>
                <a:gd name="T64" fmla="*/ 145 w 150"/>
                <a:gd name="T65" fmla="*/ 146 h 150"/>
                <a:gd name="T66" fmla="*/ 146 w 150"/>
                <a:gd name="T67" fmla="*/ 144 h 150"/>
                <a:gd name="T68" fmla="*/ 148 w 150"/>
                <a:gd name="T69" fmla="*/ 141 h 150"/>
                <a:gd name="T70" fmla="*/ 150 w 150"/>
                <a:gd name="T71" fmla="*/ 138 h 150"/>
                <a:gd name="T72" fmla="*/ 150 w 150"/>
                <a:gd name="T73" fmla="*/ 135 h 150"/>
                <a:gd name="T74" fmla="*/ 150 w 150"/>
                <a:gd name="T75" fmla="*/ 15 h 150"/>
                <a:gd name="T76" fmla="*/ 150 w 150"/>
                <a:gd name="T77" fmla="*/ 12 h 150"/>
                <a:gd name="T78" fmla="*/ 148 w 150"/>
                <a:gd name="T79" fmla="*/ 10 h 150"/>
                <a:gd name="T80" fmla="*/ 146 w 150"/>
                <a:gd name="T81" fmla="*/ 7 h 150"/>
                <a:gd name="T82" fmla="*/ 145 w 150"/>
                <a:gd name="T83" fmla="*/ 5 h 150"/>
                <a:gd name="T84" fmla="*/ 143 w 150"/>
                <a:gd name="T85" fmla="*/ 2 h 150"/>
                <a:gd name="T86" fmla="*/ 140 w 150"/>
                <a:gd name="T87" fmla="*/ 1 h 150"/>
                <a:gd name="T88" fmla="*/ 138 w 150"/>
                <a:gd name="T89" fmla="*/ 0 h 150"/>
                <a:gd name="T90" fmla="*/ 135 w 150"/>
                <a:gd name="T91" fmla="*/ 0 h 150"/>
                <a:gd name="T92" fmla="*/ 122 w 150"/>
                <a:gd name="T93" fmla="*/ 0 h 150"/>
                <a:gd name="T94" fmla="*/ 109 w 150"/>
                <a:gd name="T95" fmla="*/ 2 h 150"/>
                <a:gd name="T96" fmla="*/ 96 w 150"/>
                <a:gd name="T97" fmla="*/ 7 h 150"/>
                <a:gd name="T98" fmla="*/ 83 w 150"/>
                <a:gd name="T99" fmla="*/ 11 h 150"/>
                <a:gd name="T100" fmla="*/ 71 w 150"/>
                <a:gd name="T101" fmla="*/ 17 h 150"/>
                <a:gd name="T102" fmla="*/ 61 w 150"/>
                <a:gd name="T103" fmla="*/ 24 h 150"/>
                <a:gd name="T104" fmla="*/ 50 w 150"/>
                <a:gd name="T105" fmla="*/ 32 h 150"/>
                <a:gd name="T106" fmla="*/ 40 w 150"/>
                <a:gd name="T107" fmla="*/ 41 h 150"/>
                <a:gd name="T108" fmla="*/ 32 w 150"/>
                <a:gd name="T109" fmla="*/ 51 h 150"/>
                <a:gd name="T110" fmla="*/ 23 w 150"/>
                <a:gd name="T111" fmla="*/ 61 h 150"/>
                <a:gd name="T112" fmla="*/ 17 w 150"/>
                <a:gd name="T113" fmla="*/ 72 h 150"/>
                <a:gd name="T114" fmla="*/ 10 w 150"/>
                <a:gd name="T115" fmla="*/ 84 h 150"/>
                <a:gd name="T116" fmla="*/ 6 w 150"/>
                <a:gd name="T117" fmla="*/ 97 h 150"/>
                <a:gd name="T118" fmla="*/ 3 w 150"/>
                <a:gd name="T119" fmla="*/ 108 h 150"/>
                <a:gd name="T120" fmla="*/ 1 w 150"/>
                <a:gd name="T121" fmla="*/ 121 h 150"/>
                <a:gd name="T122" fmla="*/ 0 w 150"/>
                <a:gd name="T123" fmla="*/ 13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0" h="150">
                  <a:moveTo>
                    <a:pt x="120" y="120"/>
                  </a:moveTo>
                  <a:lnTo>
                    <a:pt x="31" y="120"/>
                  </a:lnTo>
                  <a:lnTo>
                    <a:pt x="33" y="112"/>
                  </a:lnTo>
                  <a:lnTo>
                    <a:pt x="35" y="104"/>
                  </a:lnTo>
                  <a:lnTo>
                    <a:pt x="38" y="97"/>
                  </a:lnTo>
                  <a:lnTo>
                    <a:pt x="41" y="89"/>
                  </a:lnTo>
                  <a:lnTo>
                    <a:pt x="46" y="83"/>
                  </a:lnTo>
                  <a:lnTo>
                    <a:pt x="51" y="75"/>
                  </a:lnTo>
                  <a:lnTo>
                    <a:pt x="56" y="69"/>
                  </a:lnTo>
                  <a:lnTo>
                    <a:pt x="62" y="62"/>
                  </a:lnTo>
                  <a:lnTo>
                    <a:pt x="68" y="57"/>
                  </a:lnTo>
                  <a:lnTo>
                    <a:pt x="75" y="52"/>
                  </a:lnTo>
                  <a:lnTo>
                    <a:pt x="81" y="46"/>
                  </a:lnTo>
                  <a:lnTo>
                    <a:pt x="89" y="42"/>
                  </a:lnTo>
                  <a:lnTo>
                    <a:pt x="96" y="39"/>
                  </a:lnTo>
                  <a:lnTo>
                    <a:pt x="104" y="36"/>
                  </a:lnTo>
                  <a:lnTo>
                    <a:pt x="111" y="33"/>
                  </a:lnTo>
                  <a:lnTo>
                    <a:pt x="120" y="31"/>
                  </a:lnTo>
                  <a:lnTo>
                    <a:pt x="120" y="120"/>
                  </a:lnTo>
                  <a:close/>
                  <a:moveTo>
                    <a:pt x="0" y="135"/>
                  </a:moveTo>
                  <a:lnTo>
                    <a:pt x="0" y="138"/>
                  </a:lnTo>
                  <a:lnTo>
                    <a:pt x="1" y="141"/>
                  </a:lnTo>
                  <a:lnTo>
                    <a:pt x="2" y="144"/>
                  </a:lnTo>
                  <a:lnTo>
                    <a:pt x="4" y="146"/>
                  </a:lnTo>
                  <a:lnTo>
                    <a:pt x="6" y="147"/>
                  </a:lnTo>
                  <a:lnTo>
                    <a:pt x="9" y="149"/>
                  </a:lnTo>
                  <a:lnTo>
                    <a:pt x="11" y="149"/>
                  </a:lnTo>
                  <a:lnTo>
                    <a:pt x="15" y="150"/>
                  </a:lnTo>
                  <a:lnTo>
                    <a:pt x="135" y="150"/>
                  </a:lnTo>
                  <a:lnTo>
                    <a:pt x="138" y="149"/>
                  </a:lnTo>
                  <a:lnTo>
                    <a:pt x="140" y="149"/>
                  </a:lnTo>
                  <a:lnTo>
                    <a:pt x="143" y="147"/>
                  </a:lnTo>
                  <a:lnTo>
                    <a:pt x="145" y="146"/>
                  </a:lnTo>
                  <a:lnTo>
                    <a:pt x="146" y="144"/>
                  </a:lnTo>
                  <a:lnTo>
                    <a:pt x="148" y="141"/>
                  </a:lnTo>
                  <a:lnTo>
                    <a:pt x="150" y="138"/>
                  </a:lnTo>
                  <a:lnTo>
                    <a:pt x="150" y="135"/>
                  </a:lnTo>
                  <a:lnTo>
                    <a:pt x="150" y="15"/>
                  </a:lnTo>
                  <a:lnTo>
                    <a:pt x="150" y="12"/>
                  </a:lnTo>
                  <a:lnTo>
                    <a:pt x="148" y="10"/>
                  </a:lnTo>
                  <a:lnTo>
                    <a:pt x="146" y="7"/>
                  </a:lnTo>
                  <a:lnTo>
                    <a:pt x="145" y="5"/>
                  </a:lnTo>
                  <a:lnTo>
                    <a:pt x="143" y="2"/>
                  </a:lnTo>
                  <a:lnTo>
                    <a:pt x="140" y="1"/>
                  </a:lnTo>
                  <a:lnTo>
                    <a:pt x="138" y="0"/>
                  </a:lnTo>
                  <a:lnTo>
                    <a:pt x="135" y="0"/>
                  </a:lnTo>
                  <a:lnTo>
                    <a:pt x="122" y="0"/>
                  </a:lnTo>
                  <a:lnTo>
                    <a:pt x="109" y="2"/>
                  </a:lnTo>
                  <a:lnTo>
                    <a:pt x="96" y="7"/>
                  </a:lnTo>
                  <a:lnTo>
                    <a:pt x="83" y="11"/>
                  </a:lnTo>
                  <a:lnTo>
                    <a:pt x="71" y="17"/>
                  </a:lnTo>
                  <a:lnTo>
                    <a:pt x="61" y="24"/>
                  </a:lnTo>
                  <a:lnTo>
                    <a:pt x="50" y="32"/>
                  </a:lnTo>
                  <a:lnTo>
                    <a:pt x="40" y="41"/>
                  </a:lnTo>
                  <a:lnTo>
                    <a:pt x="32" y="51"/>
                  </a:lnTo>
                  <a:lnTo>
                    <a:pt x="23" y="61"/>
                  </a:lnTo>
                  <a:lnTo>
                    <a:pt x="17" y="72"/>
                  </a:lnTo>
                  <a:lnTo>
                    <a:pt x="10" y="84"/>
                  </a:lnTo>
                  <a:lnTo>
                    <a:pt x="6" y="97"/>
                  </a:lnTo>
                  <a:lnTo>
                    <a:pt x="3" y="108"/>
                  </a:lnTo>
                  <a:lnTo>
                    <a:pt x="1" y="121"/>
                  </a:lnTo>
                  <a:lnTo>
                    <a:pt x="0" y="1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64" name="Freeform 136"/>
          <p:cNvSpPr>
            <a:spLocks noEditPoints="1"/>
          </p:cNvSpPr>
          <p:nvPr/>
        </p:nvSpPr>
        <p:spPr bwMode="auto">
          <a:xfrm>
            <a:off x="7177296" y="2665776"/>
            <a:ext cx="285750" cy="180975"/>
          </a:xfrm>
          <a:custGeom>
            <a:avLst/>
            <a:gdLst>
              <a:gd name="T0" fmla="*/ 659 w 899"/>
              <a:gd name="T1" fmla="*/ 514 h 567"/>
              <a:gd name="T2" fmla="*/ 605 w 899"/>
              <a:gd name="T3" fmla="*/ 443 h 567"/>
              <a:gd name="T4" fmla="*/ 615 w 899"/>
              <a:gd name="T5" fmla="*/ 339 h 567"/>
              <a:gd name="T6" fmla="*/ 676 w 899"/>
              <a:gd name="T7" fmla="*/ 382 h 567"/>
              <a:gd name="T8" fmla="*/ 740 w 899"/>
              <a:gd name="T9" fmla="*/ 416 h 567"/>
              <a:gd name="T10" fmla="*/ 748 w 899"/>
              <a:gd name="T11" fmla="*/ 398 h 567"/>
              <a:gd name="T12" fmla="*/ 709 w 899"/>
              <a:gd name="T13" fmla="*/ 270 h 567"/>
              <a:gd name="T14" fmla="*/ 798 w 899"/>
              <a:gd name="T15" fmla="*/ 284 h 567"/>
              <a:gd name="T16" fmla="*/ 858 w 899"/>
              <a:gd name="T17" fmla="*/ 351 h 567"/>
              <a:gd name="T18" fmla="*/ 862 w 899"/>
              <a:gd name="T19" fmla="*/ 443 h 567"/>
              <a:gd name="T20" fmla="*/ 809 w 899"/>
              <a:gd name="T21" fmla="*/ 514 h 567"/>
              <a:gd name="T22" fmla="*/ 410 w 899"/>
              <a:gd name="T23" fmla="*/ 377 h 567"/>
              <a:gd name="T24" fmla="*/ 315 w 899"/>
              <a:gd name="T25" fmla="*/ 337 h 567"/>
              <a:gd name="T26" fmla="*/ 383 w 899"/>
              <a:gd name="T27" fmla="*/ 388 h 567"/>
              <a:gd name="T28" fmla="*/ 274 w 899"/>
              <a:gd name="T29" fmla="*/ 325 h 567"/>
              <a:gd name="T30" fmla="*/ 151 w 899"/>
              <a:gd name="T31" fmla="*/ 537 h 567"/>
              <a:gd name="T32" fmla="*/ 70 w 899"/>
              <a:gd name="T33" fmla="*/ 498 h 567"/>
              <a:gd name="T34" fmla="*/ 31 w 899"/>
              <a:gd name="T35" fmla="*/ 416 h 567"/>
              <a:gd name="T36" fmla="*/ 53 w 899"/>
              <a:gd name="T37" fmla="*/ 328 h 567"/>
              <a:gd name="T38" fmla="*/ 125 w 899"/>
              <a:gd name="T39" fmla="*/ 274 h 567"/>
              <a:gd name="T40" fmla="*/ 221 w 899"/>
              <a:gd name="T41" fmla="*/ 281 h 567"/>
              <a:gd name="T42" fmla="*/ 158 w 899"/>
              <a:gd name="T43" fmla="*/ 416 h 567"/>
              <a:gd name="T44" fmla="*/ 284 w 899"/>
              <a:gd name="T45" fmla="*/ 465 h 567"/>
              <a:gd name="T46" fmla="*/ 225 w 899"/>
              <a:gd name="T47" fmla="*/ 523 h 567"/>
              <a:gd name="T48" fmla="*/ 720 w 899"/>
              <a:gd name="T49" fmla="*/ 238 h 567"/>
              <a:gd name="T50" fmla="*/ 740 w 899"/>
              <a:gd name="T51" fmla="*/ 92 h 567"/>
              <a:gd name="T52" fmla="*/ 750 w 899"/>
              <a:gd name="T53" fmla="*/ 119 h 567"/>
              <a:gd name="T54" fmla="*/ 721 w 899"/>
              <a:gd name="T55" fmla="*/ 133 h 567"/>
              <a:gd name="T56" fmla="*/ 704 w 899"/>
              <a:gd name="T57" fmla="*/ 149 h 567"/>
              <a:gd name="T58" fmla="*/ 717 w 899"/>
              <a:gd name="T59" fmla="*/ 163 h 567"/>
              <a:gd name="T60" fmla="*/ 766 w 899"/>
              <a:gd name="T61" fmla="*/ 146 h 567"/>
              <a:gd name="T62" fmla="*/ 780 w 899"/>
              <a:gd name="T63" fmla="*/ 98 h 567"/>
              <a:gd name="T64" fmla="*/ 631 w 899"/>
              <a:gd name="T65" fmla="*/ 43 h 567"/>
              <a:gd name="T66" fmla="*/ 614 w 899"/>
              <a:gd name="T67" fmla="*/ 58 h 567"/>
              <a:gd name="T68" fmla="*/ 329 w 899"/>
              <a:gd name="T69" fmla="*/ 58 h 567"/>
              <a:gd name="T70" fmla="*/ 344 w 899"/>
              <a:gd name="T71" fmla="*/ 39 h 567"/>
              <a:gd name="T72" fmla="*/ 226 w 899"/>
              <a:gd name="T73" fmla="*/ 0 h 567"/>
              <a:gd name="T74" fmla="*/ 210 w 899"/>
              <a:gd name="T75" fmla="*/ 10 h 567"/>
              <a:gd name="T76" fmla="*/ 241 w 899"/>
              <a:gd name="T77" fmla="*/ 35 h 567"/>
              <a:gd name="T78" fmla="*/ 193 w 899"/>
              <a:gd name="T79" fmla="*/ 240 h 567"/>
              <a:gd name="T80" fmla="*/ 101 w 899"/>
              <a:gd name="T81" fmla="*/ 251 h 567"/>
              <a:gd name="T82" fmla="*/ 21 w 899"/>
              <a:gd name="T83" fmla="*/ 325 h 567"/>
              <a:gd name="T84" fmla="*/ 4 w 899"/>
              <a:gd name="T85" fmla="*/ 436 h 567"/>
              <a:gd name="T86" fmla="*/ 60 w 899"/>
              <a:gd name="T87" fmla="*/ 529 h 567"/>
              <a:gd name="T88" fmla="*/ 165 w 899"/>
              <a:gd name="T89" fmla="*/ 567 h 567"/>
              <a:gd name="T90" fmla="*/ 265 w 899"/>
              <a:gd name="T91" fmla="*/ 534 h 567"/>
              <a:gd name="T92" fmla="*/ 323 w 899"/>
              <a:gd name="T93" fmla="*/ 448 h 567"/>
              <a:gd name="T94" fmla="*/ 415 w 899"/>
              <a:gd name="T95" fmla="*/ 415 h 567"/>
              <a:gd name="T96" fmla="*/ 611 w 899"/>
              <a:gd name="T97" fmla="*/ 294 h 567"/>
              <a:gd name="T98" fmla="*/ 575 w 899"/>
              <a:gd name="T99" fmla="*/ 359 h 567"/>
              <a:gd name="T100" fmla="*/ 576 w 899"/>
              <a:gd name="T101" fmla="*/ 451 h 567"/>
              <a:gd name="T102" fmla="*/ 642 w 899"/>
              <a:gd name="T103" fmla="*/ 539 h 567"/>
              <a:gd name="T104" fmla="*/ 751 w 899"/>
              <a:gd name="T105" fmla="*/ 567 h 567"/>
              <a:gd name="T106" fmla="*/ 850 w 899"/>
              <a:gd name="T107" fmla="*/ 519 h 567"/>
              <a:gd name="T108" fmla="*/ 898 w 899"/>
              <a:gd name="T109" fmla="*/ 419 h 567"/>
              <a:gd name="T110" fmla="*/ 870 w 899"/>
              <a:gd name="T111" fmla="*/ 311 h 567"/>
              <a:gd name="T112" fmla="*/ 783 w 899"/>
              <a:gd name="T113" fmla="*/ 246 h 5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899" h="567">
                <a:moveTo>
                  <a:pt x="734" y="537"/>
                </a:moveTo>
                <a:lnTo>
                  <a:pt x="720" y="537"/>
                </a:lnTo>
                <a:lnTo>
                  <a:pt x="707" y="535"/>
                </a:lnTo>
                <a:lnTo>
                  <a:pt x="694" y="532"/>
                </a:lnTo>
                <a:lnTo>
                  <a:pt x="681" y="527"/>
                </a:lnTo>
                <a:lnTo>
                  <a:pt x="670" y="521"/>
                </a:lnTo>
                <a:lnTo>
                  <a:pt x="659" y="514"/>
                </a:lnTo>
                <a:lnTo>
                  <a:pt x="648" y="507"/>
                </a:lnTo>
                <a:lnTo>
                  <a:pt x="638" y="498"/>
                </a:lnTo>
                <a:lnTo>
                  <a:pt x="630" y="489"/>
                </a:lnTo>
                <a:lnTo>
                  <a:pt x="622" y="478"/>
                </a:lnTo>
                <a:lnTo>
                  <a:pt x="615" y="467"/>
                </a:lnTo>
                <a:lnTo>
                  <a:pt x="610" y="456"/>
                </a:lnTo>
                <a:lnTo>
                  <a:pt x="605" y="443"/>
                </a:lnTo>
                <a:lnTo>
                  <a:pt x="602" y="430"/>
                </a:lnTo>
                <a:lnTo>
                  <a:pt x="600" y="416"/>
                </a:lnTo>
                <a:lnTo>
                  <a:pt x="599" y="403"/>
                </a:lnTo>
                <a:lnTo>
                  <a:pt x="600" y="386"/>
                </a:lnTo>
                <a:lnTo>
                  <a:pt x="603" y="369"/>
                </a:lnTo>
                <a:lnTo>
                  <a:pt x="608" y="354"/>
                </a:lnTo>
                <a:lnTo>
                  <a:pt x="615" y="339"/>
                </a:lnTo>
                <a:lnTo>
                  <a:pt x="623" y="325"/>
                </a:lnTo>
                <a:lnTo>
                  <a:pt x="634" y="313"/>
                </a:lnTo>
                <a:lnTo>
                  <a:pt x="645" y="301"/>
                </a:lnTo>
                <a:lnTo>
                  <a:pt x="658" y="292"/>
                </a:lnTo>
                <a:lnTo>
                  <a:pt x="674" y="375"/>
                </a:lnTo>
                <a:lnTo>
                  <a:pt x="675" y="379"/>
                </a:lnTo>
                <a:lnTo>
                  <a:pt x="676" y="382"/>
                </a:lnTo>
                <a:lnTo>
                  <a:pt x="678" y="384"/>
                </a:lnTo>
                <a:lnTo>
                  <a:pt x="680" y="386"/>
                </a:lnTo>
                <a:lnTo>
                  <a:pt x="725" y="416"/>
                </a:lnTo>
                <a:lnTo>
                  <a:pt x="729" y="417"/>
                </a:lnTo>
                <a:lnTo>
                  <a:pt x="734" y="418"/>
                </a:lnTo>
                <a:lnTo>
                  <a:pt x="737" y="417"/>
                </a:lnTo>
                <a:lnTo>
                  <a:pt x="740" y="416"/>
                </a:lnTo>
                <a:lnTo>
                  <a:pt x="743" y="415"/>
                </a:lnTo>
                <a:lnTo>
                  <a:pt x="747" y="412"/>
                </a:lnTo>
                <a:lnTo>
                  <a:pt x="748" y="408"/>
                </a:lnTo>
                <a:lnTo>
                  <a:pt x="749" y="405"/>
                </a:lnTo>
                <a:lnTo>
                  <a:pt x="749" y="403"/>
                </a:lnTo>
                <a:lnTo>
                  <a:pt x="749" y="400"/>
                </a:lnTo>
                <a:lnTo>
                  <a:pt x="748" y="398"/>
                </a:lnTo>
                <a:lnTo>
                  <a:pt x="747" y="395"/>
                </a:lnTo>
                <a:lnTo>
                  <a:pt x="744" y="392"/>
                </a:lnTo>
                <a:lnTo>
                  <a:pt x="742" y="390"/>
                </a:lnTo>
                <a:lnTo>
                  <a:pt x="703" y="364"/>
                </a:lnTo>
                <a:lnTo>
                  <a:pt x="686" y="277"/>
                </a:lnTo>
                <a:lnTo>
                  <a:pt x="697" y="274"/>
                </a:lnTo>
                <a:lnTo>
                  <a:pt x="709" y="270"/>
                </a:lnTo>
                <a:lnTo>
                  <a:pt x="721" y="268"/>
                </a:lnTo>
                <a:lnTo>
                  <a:pt x="734" y="268"/>
                </a:lnTo>
                <a:lnTo>
                  <a:pt x="748" y="268"/>
                </a:lnTo>
                <a:lnTo>
                  <a:pt x="761" y="270"/>
                </a:lnTo>
                <a:lnTo>
                  <a:pt x="773" y="274"/>
                </a:lnTo>
                <a:lnTo>
                  <a:pt x="786" y="279"/>
                </a:lnTo>
                <a:lnTo>
                  <a:pt x="798" y="284"/>
                </a:lnTo>
                <a:lnTo>
                  <a:pt x="809" y="291"/>
                </a:lnTo>
                <a:lnTo>
                  <a:pt x="819" y="299"/>
                </a:lnTo>
                <a:lnTo>
                  <a:pt x="829" y="308"/>
                </a:lnTo>
                <a:lnTo>
                  <a:pt x="838" y="317"/>
                </a:lnTo>
                <a:lnTo>
                  <a:pt x="845" y="328"/>
                </a:lnTo>
                <a:lnTo>
                  <a:pt x="853" y="339"/>
                </a:lnTo>
                <a:lnTo>
                  <a:pt x="858" y="351"/>
                </a:lnTo>
                <a:lnTo>
                  <a:pt x="862" y="362"/>
                </a:lnTo>
                <a:lnTo>
                  <a:pt x="865" y="375"/>
                </a:lnTo>
                <a:lnTo>
                  <a:pt x="868" y="389"/>
                </a:lnTo>
                <a:lnTo>
                  <a:pt x="869" y="403"/>
                </a:lnTo>
                <a:lnTo>
                  <a:pt x="868" y="416"/>
                </a:lnTo>
                <a:lnTo>
                  <a:pt x="865" y="430"/>
                </a:lnTo>
                <a:lnTo>
                  <a:pt x="862" y="443"/>
                </a:lnTo>
                <a:lnTo>
                  <a:pt x="858" y="456"/>
                </a:lnTo>
                <a:lnTo>
                  <a:pt x="853" y="467"/>
                </a:lnTo>
                <a:lnTo>
                  <a:pt x="845" y="478"/>
                </a:lnTo>
                <a:lnTo>
                  <a:pt x="838" y="489"/>
                </a:lnTo>
                <a:lnTo>
                  <a:pt x="829" y="498"/>
                </a:lnTo>
                <a:lnTo>
                  <a:pt x="819" y="507"/>
                </a:lnTo>
                <a:lnTo>
                  <a:pt x="809" y="514"/>
                </a:lnTo>
                <a:lnTo>
                  <a:pt x="798" y="521"/>
                </a:lnTo>
                <a:lnTo>
                  <a:pt x="786" y="527"/>
                </a:lnTo>
                <a:lnTo>
                  <a:pt x="773" y="532"/>
                </a:lnTo>
                <a:lnTo>
                  <a:pt x="761" y="535"/>
                </a:lnTo>
                <a:lnTo>
                  <a:pt x="748" y="537"/>
                </a:lnTo>
                <a:lnTo>
                  <a:pt x="734" y="537"/>
                </a:lnTo>
                <a:close/>
                <a:moveTo>
                  <a:pt x="410" y="377"/>
                </a:moveTo>
                <a:lnTo>
                  <a:pt x="331" y="178"/>
                </a:lnTo>
                <a:lnTo>
                  <a:pt x="612" y="178"/>
                </a:lnTo>
                <a:lnTo>
                  <a:pt x="410" y="377"/>
                </a:lnTo>
                <a:close/>
                <a:moveTo>
                  <a:pt x="329" y="388"/>
                </a:moveTo>
                <a:lnTo>
                  <a:pt x="326" y="370"/>
                </a:lnTo>
                <a:lnTo>
                  <a:pt x="322" y="353"/>
                </a:lnTo>
                <a:lnTo>
                  <a:pt x="315" y="337"/>
                </a:lnTo>
                <a:lnTo>
                  <a:pt x="308" y="322"/>
                </a:lnTo>
                <a:lnTo>
                  <a:pt x="298" y="307"/>
                </a:lnTo>
                <a:lnTo>
                  <a:pt x="287" y="294"/>
                </a:lnTo>
                <a:lnTo>
                  <a:pt x="276" y="282"/>
                </a:lnTo>
                <a:lnTo>
                  <a:pt x="263" y="271"/>
                </a:lnTo>
                <a:lnTo>
                  <a:pt x="307" y="198"/>
                </a:lnTo>
                <a:lnTo>
                  <a:pt x="383" y="388"/>
                </a:lnTo>
                <a:lnTo>
                  <a:pt x="329" y="388"/>
                </a:lnTo>
                <a:close/>
                <a:moveTo>
                  <a:pt x="299" y="388"/>
                </a:moveTo>
                <a:lnTo>
                  <a:pt x="191" y="388"/>
                </a:lnTo>
                <a:lnTo>
                  <a:pt x="247" y="296"/>
                </a:lnTo>
                <a:lnTo>
                  <a:pt x="257" y="306"/>
                </a:lnTo>
                <a:lnTo>
                  <a:pt x="266" y="315"/>
                </a:lnTo>
                <a:lnTo>
                  <a:pt x="274" y="325"/>
                </a:lnTo>
                <a:lnTo>
                  <a:pt x="282" y="337"/>
                </a:lnTo>
                <a:lnTo>
                  <a:pt x="288" y="349"/>
                </a:lnTo>
                <a:lnTo>
                  <a:pt x="293" y="360"/>
                </a:lnTo>
                <a:lnTo>
                  <a:pt x="297" y="374"/>
                </a:lnTo>
                <a:lnTo>
                  <a:pt x="299" y="388"/>
                </a:lnTo>
                <a:close/>
                <a:moveTo>
                  <a:pt x="165" y="537"/>
                </a:moveTo>
                <a:lnTo>
                  <a:pt x="151" y="537"/>
                </a:lnTo>
                <a:lnTo>
                  <a:pt x="137" y="535"/>
                </a:lnTo>
                <a:lnTo>
                  <a:pt x="125" y="532"/>
                </a:lnTo>
                <a:lnTo>
                  <a:pt x="113" y="527"/>
                </a:lnTo>
                <a:lnTo>
                  <a:pt x="101" y="521"/>
                </a:lnTo>
                <a:lnTo>
                  <a:pt x="89" y="514"/>
                </a:lnTo>
                <a:lnTo>
                  <a:pt x="80" y="507"/>
                </a:lnTo>
                <a:lnTo>
                  <a:pt x="70" y="498"/>
                </a:lnTo>
                <a:lnTo>
                  <a:pt x="61" y="489"/>
                </a:lnTo>
                <a:lnTo>
                  <a:pt x="53" y="478"/>
                </a:lnTo>
                <a:lnTo>
                  <a:pt x="46" y="467"/>
                </a:lnTo>
                <a:lnTo>
                  <a:pt x="41" y="456"/>
                </a:lnTo>
                <a:lnTo>
                  <a:pt x="37" y="443"/>
                </a:lnTo>
                <a:lnTo>
                  <a:pt x="32" y="430"/>
                </a:lnTo>
                <a:lnTo>
                  <a:pt x="31" y="416"/>
                </a:lnTo>
                <a:lnTo>
                  <a:pt x="30" y="403"/>
                </a:lnTo>
                <a:lnTo>
                  <a:pt x="31" y="389"/>
                </a:lnTo>
                <a:lnTo>
                  <a:pt x="32" y="375"/>
                </a:lnTo>
                <a:lnTo>
                  <a:pt x="37" y="362"/>
                </a:lnTo>
                <a:lnTo>
                  <a:pt x="41" y="351"/>
                </a:lnTo>
                <a:lnTo>
                  <a:pt x="46" y="339"/>
                </a:lnTo>
                <a:lnTo>
                  <a:pt x="53" y="328"/>
                </a:lnTo>
                <a:lnTo>
                  <a:pt x="61" y="317"/>
                </a:lnTo>
                <a:lnTo>
                  <a:pt x="70" y="308"/>
                </a:lnTo>
                <a:lnTo>
                  <a:pt x="80" y="299"/>
                </a:lnTo>
                <a:lnTo>
                  <a:pt x="89" y="291"/>
                </a:lnTo>
                <a:lnTo>
                  <a:pt x="101" y="284"/>
                </a:lnTo>
                <a:lnTo>
                  <a:pt x="113" y="279"/>
                </a:lnTo>
                <a:lnTo>
                  <a:pt x="125" y="274"/>
                </a:lnTo>
                <a:lnTo>
                  <a:pt x="137" y="270"/>
                </a:lnTo>
                <a:lnTo>
                  <a:pt x="151" y="268"/>
                </a:lnTo>
                <a:lnTo>
                  <a:pt x="165" y="268"/>
                </a:lnTo>
                <a:lnTo>
                  <a:pt x="180" y="268"/>
                </a:lnTo>
                <a:lnTo>
                  <a:pt x="194" y="271"/>
                </a:lnTo>
                <a:lnTo>
                  <a:pt x="208" y="276"/>
                </a:lnTo>
                <a:lnTo>
                  <a:pt x="221" y="281"/>
                </a:lnTo>
                <a:lnTo>
                  <a:pt x="152" y="396"/>
                </a:lnTo>
                <a:lnTo>
                  <a:pt x="150" y="399"/>
                </a:lnTo>
                <a:lnTo>
                  <a:pt x="150" y="403"/>
                </a:lnTo>
                <a:lnTo>
                  <a:pt x="150" y="406"/>
                </a:lnTo>
                <a:lnTo>
                  <a:pt x="152" y="411"/>
                </a:lnTo>
                <a:lnTo>
                  <a:pt x="155" y="413"/>
                </a:lnTo>
                <a:lnTo>
                  <a:pt x="158" y="416"/>
                </a:lnTo>
                <a:lnTo>
                  <a:pt x="161" y="417"/>
                </a:lnTo>
                <a:lnTo>
                  <a:pt x="165" y="418"/>
                </a:lnTo>
                <a:lnTo>
                  <a:pt x="299" y="418"/>
                </a:lnTo>
                <a:lnTo>
                  <a:pt x="297" y="430"/>
                </a:lnTo>
                <a:lnTo>
                  <a:pt x="294" y="442"/>
                </a:lnTo>
                <a:lnTo>
                  <a:pt x="289" y="453"/>
                </a:lnTo>
                <a:lnTo>
                  <a:pt x="284" y="465"/>
                </a:lnTo>
                <a:lnTo>
                  <a:pt x="279" y="475"/>
                </a:lnTo>
                <a:lnTo>
                  <a:pt x="271" y="486"/>
                </a:lnTo>
                <a:lnTo>
                  <a:pt x="264" y="494"/>
                </a:lnTo>
                <a:lnTo>
                  <a:pt x="255" y="503"/>
                </a:lnTo>
                <a:lnTo>
                  <a:pt x="246" y="510"/>
                </a:lnTo>
                <a:lnTo>
                  <a:pt x="236" y="518"/>
                </a:lnTo>
                <a:lnTo>
                  <a:pt x="225" y="523"/>
                </a:lnTo>
                <a:lnTo>
                  <a:pt x="215" y="528"/>
                </a:lnTo>
                <a:lnTo>
                  <a:pt x="203" y="532"/>
                </a:lnTo>
                <a:lnTo>
                  <a:pt x="190" y="535"/>
                </a:lnTo>
                <a:lnTo>
                  <a:pt x="178" y="537"/>
                </a:lnTo>
                <a:lnTo>
                  <a:pt x="165" y="537"/>
                </a:lnTo>
                <a:close/>
                <a:moveTo>
                  <a:pt x="734" y="238"/>
                </a:moveTo>
                <a:lnTo>
                  <a:pt x="720" y="238"/>
                </a:lnTo>
                <a:lnTo>
                  <a:pt x="706" y="240"/>
                </a:lnTo>
                <a:lnTo>
                  <a:pt x="693" y="244"/>
                </a:lnTo>
                <a:lnTo>
                  <a:pt x="680" y="247"/>
                </a:lnTo>
                <a:lnTo>
                  <a:pt x="647" y="77"/>
                </a:lnTo>
                <a:lnTo>
                  <a:pt x="732" y="88"/>
                </a:lnTo>
                <a:lnTo>
                  <a:pt x="736" y="90"/>
                </a:lnTo>
                <a:lnTo>
                  <a:pt x="740" y="92"/>
                </a:lnTo>
                <a:lnTo>
                  <a:pt x="743" y="94"/>
                </a:lnTo>
                <a:lnTo>
                  <a:pt x="747" y="97"/>
                </a:lnTo>
                <a:lnTo>
                  <a:pt x="749" y="101"/>
                </a:lnTo>
                <a:lnTo>
                  <a:pt x="751" y="106"/>
                </a:lnTo>
                <a:lnTo>
                  <a:pt x="751" y="110"/>
                </a:lnTo>
                <a:lnTo>
                  <a:pt x="751" y="115"/>
                </a:lnTo>
                <a:lnTo>
                  <a:pt x="750" y="119"/>
                </a:lnTo>
                <a:lnTo>
                  <a:pt x="748" y="123"/>
                </a:lnTo>
                <a:lnTo>
                  <a:pt x="744" y="126"/>
                </a:lnTo>
                <a:lnTo>
                  <a:pt x="740" y="129"/>
                </a:lnTo>
                <a:lnTo>
                  <a:pt x="736" y="131"/>
                </a:lnTo>
                <a:lnTo>
                  <a:pt x="731" y="133"/>
                </a:lnTo>
                <a:lnTo>
                  <a:pt x="726" y="133"/>
                </a:lnTo>
                <a:lnTo>
                  <a:pt x="721" y="133"/>
                </a:lnTo>
                <a:lnTo>
                  <a:pt x="714" y="134"/>
                </a:lnTo>
                <a:lnTo>
                  <a:pt x="710" y="137"/>
                </a:lnTo>
                <a:lnTo>
                  <a:pt x="708" y="139"/>
                </a:lnTo>
                <a:lnTo>
                  <a:pt x="706" y="141"/>
                </a:lnTo>
                <a:lnTo>
                  <a:pt x="705" y="144"/>
                </a:lnTo>
                <a:lnTo>
                  <a:pt x="704" y="146"/>
                </a:lnTo>
                <a:lnTo>
                  <a:pt x="704" y="149"/>
                </a:lnTo>
                <a:lnTo>
                  <a:pt x="704" y="153"/>
                </a:lnTo>
                <a:lnTo>
                  <a:pt x="705" y="155"/>
                </a:lnTo>
                <a:lnTo>
                  <a:pt x="707" y="157"/>
                </a:lnTo>
                <a:lnTo>
                  <a:pt x="709" y="159"/>
                </a:lnTo>
                <a:lnTo>
                  <a:pt x="711" y="161"/>
                </a:lnTo>
                <a:lnTo>
                  <a:pt x="713" y="162"/>
                </a:lnTo>
                <a:lnTo>
                  <a:pt x="717" y="163"/>
                </a:lnTo>
                <a:lnTo>
                  <a:pt x="722" y="163"/>
                </a:lnTo>
                <a:lnTo>
                  <a:pt x="727" y="163"/>
                </a:lnTo>
                <a:lnTo>
                  <a:pt x="733" y="163"/>
                </a:lnTo>
                <a:lnTo>
                  <a:pt x="739" y="162"/>
                </a:lnTo>
                <a:lnTo>
                  <a:pt x="749" y="158"/>
                </a:lnTo>
                <a:lnTo>
                  <a:pt x="758" y="153"/>
                </a:lnTo>
                <a:lnTo>
                  <a:pt x="766" y="146"/>
                </a:lnTo>
                <a:lnTo>
                  <a:pt x="773" y="138"/>
                </a:lnTo>
                <a:lnTo>
                  <a:pt x="776" y="133"/>
                </a:lnTo>
                <a:lnTo>
                  <a:pt x="778" y="129"/>
                </a:lnTo>
                <a:lnTo>
                  <a:pt x="780" y="124"/>
                </a:lnTo>
                <a:lnTo>
                  <a:pt x="781" y="118"/>
                </a:lnTo>
                <a:lnTo>
                  <a:pt x="781" y="108"/>
                </a:lnTo>
                <a:lnTo>
                  <a:pt x="780" y="98"/>
                </a:lnTo>
                <a:lnTo>
                  <a:pt x="776" y="88"/>
                </a:lnTo>
                <a:lnTo>
                  <a:pt x="770" y="80"/>
                </a:lnTo>
                <a:lnTo>
                  <a:pt x="764" y="72"/>
                </a:lnTo>
                <a:lnTo>
                  <a:pt x="755" y="66"/>
                </a:lnTo>
                <a:lnTo>
                  <a:pt x="747" y="61"/>
                </a:lnTo>
                <a:lnTo>
                  <a:pt x="736" y="58"/>
                </a:lnTo>
                <a:lnTo>
                  <a:pt x="631" y="43"/>
                </a:lnTo>
                <a:lnTo>
                  <a:pt x="628" y="43"/>
                </a:lnTo>
                <a:lnTo>
                  <a:pt x="625" y="45"/>
                </a:lnTo>
                <a:lnTo>
                  <a:pt x="621" y="46"/>
                </a:lnTo>
                <a:lnTo>
                  <a:pt x="618" y="48"/>
                </a:lnTo>
                <a:lnTo>
                  <a:pt x="616" y="51"/>
                </a:lnTo>
                <a:lnTo>
                  <a:pt x="615" y="54"/>
                </a:lnTo>
                <a:lnTo>
                  <a:pt x="614" y="58"/>
                </a:lnTo>
                <a:lnTo>
                  <a:pt x="614" y="62"/>
                </a:lnTo>
                <a:lnTo>
                  <a:pt x="631" y="148"/>
                </a:lnTo>
                <a:lnTo>
                  <a:pt x="319" y="148"/>
                </a:lnTo>
                <a:lnTo>
                  <a:pt x="278" y="45"/>
                </a:lnTo>
                <a:lnTo>
                  <a:pt x="326" y="58"/>
                </a:lnTo>
                <a:lnTo>
                  <a:pt x="328" y="58"/>
                </a:lnTo>
                <a:lnTo>
                  <a:pt x="329" y="58"/>
                </a:lnTo>
                <a:lnTo>
                  <a:pt x="334" y="57"/>
                </a:lnTo>
                <a:lnTo>
                  <a:pt x="339" y="56"/>
                </a:lnTo>
                <a:lnTo>
                  <a:pt x="342" y="53"/>
                </a:lnTo>
                <a:lnTo>
                  <a:pt x="344" y="48"/>
                </a:lnTo>
                <a:lnTo>
                  <a:pt x="344" y="46"/>
                </a:lnTo>
                <a:lnTo>
                  <a:pt x="344" y="42"/>
                </a:lnTo>
                <a:lnTo>
                  <a:pt x="344" y="39"/>
                </a:lnTo>
                <a:lnTo>
                  <a:pt x="343" y="37"/>
                </a:lnTo>
                <a:lnTo>
                  <a:pt x="341" y="34"/>
                </a:lnTo>
                <a:lnTo>
                  <a:pt x="339" y="33"/>
                </a:lnTo>
                <a:lnTo>
                  <a:pt x="337" y="31"/>
                </a:lnTo>
                <a:lnTo>
                  <a:pt x="333" y="30"/>
                </a:lnTo>
                <a:lnTo>
                  <a:pt x="228" y="0"/>
                </a:lnTo>
                <a:lnTo>
                  <a:pt x="226" y="0"/>
                </a:lnTo>
                <a:lnTo>
                  <a:pt x="223" y="0"/>
                </a:lnTo>
                <a:lnTo>
                  <a:pt x="220" y="0"/>
                </a:lnTo>
                <a:lnTo>
                  <a:pt x="218" y="1"/>
                </a:lnTo>
                <a:lnTo>
                  <a:pt x="216" y="3"/>
                </a:lnTo>
                <a:lnTo>
                  <a:pt x="213" y="5"/>
                </a:lnTo>
                <a:lnTo>
                  <a:pt x="211" y="7"/>
                </a:lnTo>
                <a:lnTo>
                  <a:pt x="210" y="10"/>
                </a:lnTo>
                <a:lnTo>
                  <a:pt x="210" y="14"/>
                </a:lnTo>
                <a:lnTo>
                  <a:pt x="210" y="16"/>
                </a:lnTo>
                <a:lnTo>
                  <a:pt x="210" y="19"/>
                </a:lnTo>
                <a:lnTo>
                  <a:pt x="211" y="21"/>
                </a:lnTo>
                <a:lnTo>
                  <a:pt x="216" y="25"/>
                </a:lnTo>
                <a:lnTo>
                  <a:pt x="221" y="28"/>
                </a:lnTo>
                <a:lnTo>
                  <a:pt x="241" y="35"/>
                </a:lnTo>
                <a:lnTo>
                  <a:pt x="293" y="161"/>
                </a:lnTo>
                <a:lnTo>
                  <a:pt x="237" y="256"/>
                </a:lnTo>
                <a:lnTo>
                  <a:pt x="228" y="252"/>
                </a:lnTo>
                <a:lnTo>
                  <a:pt x="220" y="248"/>
                </a:lnTo>
                <a:lnTo>
                  <a:pt x="211" y="245"/>
                </a:lnTo>
                <a:lnTo>
                  <a:pt x="203" y="243"/>
                </a:lnTo>
                <a:lnTo>
                  <a:pt x="193" y="240"/>
                </a:lnTo>
                <a:lnTo>
                  <a:pt x="183" y="239"/>
                </a:lnTo>
                <a:lnTo>
                  <a:pt x="175" y="238"/>
                </a:lnTo>
                <a:lnTo>
                  <a:pt x="165" y="238"/>
                </a:lnTo>
                <a:lnTo>
                  <a:pt x="148" y="239"/>
                </a:lnTo>
                <a:lnTo>
                  <a:pt x="132" y="241"/>
                </a:lnTo>
                <a:lnTo>
                  <a:pt x="116" y="246"/>
                </a:lnTo>
                <a:lnTo>
                  <a:pt x="101" y="251"/>
                </a:lnTo>
                <a:lnTo>
                  <a:pt x="86" y="259"/>
                </a:lnTo>
                <a:lnTo>
                  <a:pt x="73" y="266"/>
                </a:lnTo>
                <a:lnTo>
                  <a:pt x="60" y="276"/>
                </a:lnTo>
                <a:lnTo>
                  <a:pt x="49" y="286"/>
                </a:lnTo>
                <a:lnTo>
                  <a:pt x="38" y="298"/>
                </a:lnTo>
                <a:lnTo>
                  <a:pt x="28" y="311"/>
                </a:lnTo>
                <a:lnTo>
                  <a:pt x="21" y="325"/>
                </a:lnTo>
                <a:lnTo>
                  <a:pt x="13" y="339"/>
                </a:lnTo>
                <a:lnTo>
                  <a:pt x="8" y="354"/>
                </a:lnTo>
                <a:lnTo>
                  <a:pt x="4" y="370"/>
                </a:lnTo>
                <a:lnTo>
                  <a:pt x="1" y="386"/>
                </a:lnTo>
                <a:lnTo>
                  <a:pt x="0" y="403"/>
                </a:lnTo>
                <a:lnTo>
                  <a:pt x="1" y="419"/>
                </a:lnTo>
                <a:lnTo>
                  <a:pt x="4" y="436"/>
                </a:lnTo>
                <a:lnTo>
                  <a:pt x="8" y="451"/>
                </a:lnTo>
                <a:lnTo>
                  <a:pt x="13" y="467"/>
                </a:lnTo>
                <a:lnTo>
                  <a:pt x="21" y="481"/>
                </a:lnTo>
                <a:lnTo>
                  <a:pt x="28" y="495"/>
                </a:lnTo>
                <a:lnTo>
                  <a:pt x="38" y="507"/>
                </a:lnTo>
                <a:lnTo>
                  <a:pt x="49" y="519"/>
                </a:lnTo>
                <a:lnTo>
                  <a:pt x="60" y="529"/>
                </a:lnTo>
                <a:lnTo>
                  <a:pt x="73" y="539"/>
                </a:lnTo>
                <a:lnTo>
                  <a:pt x="86" y="548"/>
                </a:lnTo>
                <a:lnTo>
                  <a:pt x="101" y="554"/>
                </a:lnTo>
                <a:lnTo>
                  <a:pt x="116" y="559"/>
                </a:lnTo>
                <a:lnTo>
                  <a:pt x="132" y="564"/>
                </a:lnTo>
                <a:lnTo>
                  <a:pt x="148" y="567"/>
                </a:lnTo>
                <a:lnTo>
                  <a:pt x="165" y="567"/>
                </a:lnTo>
                <a:lnTo>
                  <a:pt x="181" y="567"/>
                </a:lnTo>
                <a:lnTo>
                  <a:pt x="196" y="565"/>
                </a:lnTo>
                <a:lnTo>
                  <a:pt x="211" y="560"/>
                </a:lnTo>
                <a:lnTo>
                  <a:pt x="225" y="555"/>
                </a:lnTo>
                <a:lnTo>
                  <a:pt x="239" y="550"/>
                </a:lnTo>
                <a:lnTo>
                  <a:pt x="252" y="542"/>
                </a:lnTo>
                <a:lnTo>
                  <a:pt x="265" y="534"/>
                </a:lnTo>
                <a:lnTo>
                  <a:pt x="277" y="524"/>
                </a:lnTo>
                <a:lnTo>
                  <a:pt x="286" y="513"/>
                </a:lnTo>
                <a:lnTo>
                  <a:pt x="296" y="502"/>
                </a:lnTo>
                <a:lnTo>
                  <a:pt x="304" y="490"/>
                </a:lnTo>
                <a:lnTo>
                  <a:pt x="312" y="476"/>
                </a:lnTo>
                <a:lnTo>
                  <a:pt x="318" y="462"/>
                </a:lnTo>
                <a:lnTo>
                  <a:pt x="323" y="448"/>
                </a:lnTo>
                <a:lnTo>
                  <a:pt x="327" y="433"/>
                </a:lnTo>
                <a:lnTo>
                  <a:pt x="329" y="418"/>
                </a:lnTo>
                <a:lnTo>
                  <a:pt x="404" y="418"/>
                </a:lnTo>
                <a:lnTo>
                  <a:pt x="406" y="417"/>
                </a:lnTo>
                <a:lnTo>
                  <a:pt x="409" y="417"/>
                </a:lnTo>
                <a:lnTo>
                  <a:pt x="413" y="416"/>
                </a:lnTo>
                <a:lnTo>
                  <a:pt x="415" y="415"/>
                </a:lnTo>
                <a:lnTo>
                  <a:pt x="640" y="194"/>
                </a:lnTo>
                <a:lnTo>
                  <a:pt x="652" y="261"/>
                </a:lnTo>
                <a:lnTo>
                  <a:pt x="643" y="266"/>
                </a:lnTo>
                <a:lnTo>
                  <a:pt x="634" y="273"/>
                </a:lnTo>
                <a:lnTo>
                  <a:pt x="626" y="279"/>
                </a:lnTo>
                <a:lnTo>
                  <a:pt x="618" y="286"/>
                </a:lnTo>
                <a:lnTo>
                  <a:pt x="611" y="294"/>
                </a:lnTo>
                <a:lnTo>
                  <a:pt x="604" y="303"/>
                </a:lnTo>
                <a:lnTo>
                  <a:pt x="598" y="311"/>
                </a:lnTo>
                <a:lnTo>
                  <a:pt x="592" y="320"/>
                </a:lnTo>
                <a:lnTo>
                  <a:pt x="587" y="329"/>
                </a:lnTo>
                <a:lnTo>
                  <a:pt x="583" y="339"/>
                </a:lnTo>
                <a:lnTo>
                  <a:pt x="579" y="349"/>
                </a:lnTo>
                <a:lnTo>
                  <a:pt x="575" y="359"/>
                </a:lnTo>
                <a:lnTo>
                  <a:pt x="572" y="370"/>
                </a:lnTo>
                <a:lnTo>
                  <a:pt x="571" y="381"/>
                </a:lnTo>
                <a:lnTo>
                  <a:pt x="570" y="391"/>
                </a:lnTo>
                <a:lnTo>
                  <a:pt x="569" y="403"/>
                </a:lnTo>
                <a:lnTo>
                  <a:pt x="570" y="419"/>
                </a:lnTo>
                <a:lnTo>
                  <a:pt x="572" y="436"/>
                </a:lnTo>
                <a:lnTo>
                  <a:pt x="576" y="451"/>
                </a:lnTo>
                <a:lnTo>
                  <a:pt x="582" y="467"/>
                </a:lnTo>
                <a:lnTo>
                  <a:pt x="589" y="481"/>
                </a:lnTo>
                <a:lnTo>
                  <a:pt x="597" y="495"/>
                </a:lnTo>
                <a:lnTo>
                  <a:pt x="606" y="507"/>
                </a:lnTo>
                <a:lnTo>
                  <a:pt x="617" y="519"/>
                </a:lnTo>
                <a:lnTo>
                  <a:pt x="629" y="529"/>
                </a:lnTo>
                <a:lnTo>
                  <a:pt x="642" y="539"/>
                </a:lnTo>
                <a:lnTo>
                  <a:pt x="656" y="548"/>
                </a:lnTo>
                <a:lnTo>
                  <a:pt x="670" y="554"/>
                </a:lnTo>
                <a:lnTo>
                  <a:pt x="685" y="559"/>
                </a:lnTo>
                <a:lnTo>
                  <a:pt x="701" y="564"/>
                </a:lnTo>
                <a:lnTo>
                  <a:pt x="717" y="567"/>
                </a:lnTo>
                <a:lnTo>
                  <a:pt x="734" y="567"/>
                </a:lnTo>
                <a:lnTo>
                  <a:pt x="751" y="567"/>
                </a:lnTo>
                <a:lnTo>
                  <a:pt x="767" y="564"/>
                </a:lnTo>
                <a:lnTo>
                  <a:pt x="783" y="559"/>
                </a:lnTo>
                <a:lnTo>
                  <a:pt x="798" y="554"/>
                </a:lnTo>
                <a:lnTo>
                  <a:pt x="812" y="548"/>
                </a:lnTo>
                <a:lnTo>
                  <a:pt x="826" y="539"/>
                </a:lnTo>
                <a:lnTo>
                  <a:pt x="839" y="529"/>
                </a:lnTo>
                <a:lnTo>
                  <a:pt x="850" y="519"/>
                </a:lnTo>
                <a:lnTo>
                  <a:pt x="861" y="507"/>
                </a:lnTo>
                <a:lnTo>
                  <a:pt x="870" y="495"/>
                </a:lnTo>
                <a:lnTo>
                  <a:pt x="878" y="481"/>
                </a:lnTo>
                <a:lnTo>
                  <a:pt x="886" y="467"/>
                </a:lnTo>
                <a:lnTo>
                  <a:pt x="891" y="451"/>
                </a:lnTo>
                <a:lnTo>
                  <a:pt x="895" y="436"/>
                </a:lnTo>
                <a:lnTo>
                  <a:pt x="898" y="419"/>
                </a:lnTo>
                <a:lnTo>
                  <a:pt x="899" y="403"/>
                </a:lnTo>
                <a:lnTo>
                  <a:pt x="898" y="386"/>
                </a:lnTo>
                <a:lnTo>
                  <a:pt x="895" y="370"/>
                </a:lnTo>
                <a:lnTo>
                  <a:pt x="891" y="354"/>
                </a:lnTo>
                <a:lnTo>
                  <a:pt x="886" y="339"/>
                </a:lnTo>
                <a:lnTo>
                  <a:pt x="878" y="325"/>
                </a:lnTo>
                <a:lnTo>
                  <a:pt x="870" y="311"/>
                </a:lnTo>
                <a:lnTo>
                  <a:pt x="861" y="298"/>
                </a:lnTo>
                <a:lnTo>
                  <a:pt x="850" y="286"/>
                </a:lnTo>
                <a:lnTo>
                  <a:pt x="839" y="276"/>
                </a:lnTo>
                <a:lnTo>
                  <a:pt x="826" y="266"/>
                </a:lnTo>
                <a:lnTo>
                  <a:pt x="812" y="259"/>
                </a:lnTo>
                <a:lnTo>
                  <a:pt x="798" y="251"/>
                </a:lnTo>
                <a:lnTo>
                  <a:pt x="783" y="246"/>
                </a:lnTo>
                <a:lnTo>
                  <a:pt x="767" y="241"/>
                </a:lnTo>
                <a:lnTo>
                  <a:pt x="751" y="239"/>
                </a:lnTo>
                <a:lnTo>
                  <a:pt x="734" y="23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265" name="Group 264"/>
          <p:cNvGrpSpPr/>
          <p:nvPr/>
        </p:nvGrpSpPr>
        <p:grpSpPr>
          <a:xfrm>
            <a:off x="7158057" y="3793519"/>
            <a:ext cx="238125" cy="285750"/>
            <a:chOff x="5505450" y="2765425"/>
            <a:chExt cx="238125" cy="285750"/>
          </a:xfrm>
          <a:solidFill>
            <a:schemeClr val="bg1"/>
          </a:solidFill>
        </p:grpSpPr>
        <p:sp>
          <p:nvSpPr>
            <p:cNvPr id="266" name="Freeform 128"/>
            <p:cNvSpPr>
              <a:spLocks/>
            </p:cNvSpPr>
            <p:nvPr/>
          </p:nvSpPr>
          <p:spPr bwMode="auto">
            <a:xfrm>
              <a:off x="5586413" y="2851150"/>
              <a:ext cx="76200" cy="9525"/>
            </a:xfrm>
            <a:custGeom>
              <a:avLst/>
              <a:gdLst>
                <a:gd name="T0" fmla="*/ 239 w 239"/>
                <a:gd name="T1" fmla="*/ 15 h 30"/>
                <a:gd name="T2" fmla="*/ 239 w 239"/>
                <a:gd name="T3" fmla="*/ 13 h 30"/>
                <a:gd name="T4" fmla="*/ 238 w 239"/>
                <a:gd name="T5" fmla="*/ 10 h 30"/>
                <a:gd name="T6" fmla="*/ 237 w 239"/>
                <a:gd name="T7" fmla="*/ 8 h 30"/>
                <a:gd name="T8" fmla="*/ 235 w 239"/>
                <a:gd name="T9" fmla="*/ 6 h 30"/>
                <a:gd name="T10" fmla="*/ 233 w 239"/>
                <a:gd name="T11" fmla="*/ 4 h 30"/>
                <a:gd name="T12" fmla="*/ 231 w 239"/>
                <a:gd name="T13" fmla="*/ 3 h 30"/>
                <a:gd name="T14" fmla="*/ 227 w 239"/>
                <a:gd name="T15" fmla="*/ 2 h 30"/>
                <a:gd name="T16" fmla="*/ 224 w 239"/>
                <a:gd name="T17" fmla="*/ 0 h 30"/>
                <a:gd name="T18" fmla="*/ 15 w 239"/>
                <a:gd name="T19" fmla="*/ 0 h 30"/>
                <a:gd name="T20" fmla="*/ 12 w 239"/>
                <a:gd name="T21" fmla="*/ 2 h 30"/>
                <a:gd name="T22" fmla="*/ 9 w 239"/>
                <a:gd name="T23" fmla="*/ 3 h 30"/>
                <a:gd name="T24" fmla="*/ 7 w 239"/>
                <a:gd name="T25" fmla="*/ 4 h 30"/>
                <a:gd name="T26" fmla="*/ 5 w 239"/>
                <a:gd name="T27" fmla="*/ 6 h 30"/>
                <a:gd name="T28" fmla="*/ 3 w 239"/>
                <a:gd name="T29" fmla="*/ 8 h 30"/>
                <a:gd name="T30" fmla="*/ 2 w 239"/>
                <a:gd name="T31" fmla="*/ 10 h 30"/>
                <a:gd name="T32" fmla="*/ 0 w 239"/>
                <a:gd name="T33" fmla="*/ 13 h 30"/>
                <a:gd name="T34" fmla="*/ 0 w 239"/>
                <a:gd name="T35" fmla="*/ 15 h 30"/>
                <a:gd name="T36" fmla="*/ 0 w 239"/>
                <a:gd name="T37" fmla="*/ 19 h 30"/>
                <a:gd name="T38" fmla="*/ 2 w 239"/>
                <a:gd name="T39" fmla="*/ 22 h 30"/>
                <a:gd name="T40" fmla="*/ 3 w 239"/>
                <a:gd name="T41" fmla="*/ 25 h 30"/>
                <a:gd name="T42" fmla="*/ 5 w 239"/>
                <a:gd name="T43" fmla="*/ 27 h 30"/>
                <a:gd name="T44" fmla="*/ 7 w 239"/>
                <a:gd name="T45" fmla="*/ 28 h 30"/>
                <a:gd name="T46" fmla="*/ 9 w 239"/>
                <a:gd name="T47" fmla="*/ 29 h 30"/>
                <a:gd name="T48" fmla="*/ 12 w 239"/>
                <a:gd name="T49" fmla="*/ 30 h 30"/>
                <a:gd name="T50" fmla="*/ 15 w 239"/>
                <a:gd name="T51" fmla="*/ 30 h 30"/>
                <a:gd name="T52" fmla="*/ 224 w 239"/>
                <a:gd name="T53" fmla="*/ 30 h 30"/>
                <a:gd name="T54" fmla="*/ 227 w 239"/>
                <a:gd name="T55" fmla="*/ 30 h 30"/>
                <a:gd name="T56" fmla="*/ 231 w 239"/>
                <a:gd name="T57" fmla="*/ 29 h 30"/>
                <a:gd name="T58" fmla="*/ 233 w 239"/>
                <a:gd name="T59" fmla="*/ 28 h 30"/>
                <a:gd name="T60" fmla="*/ 235 w 239"/>
                <a:gd name="T61" fmla="*/ 27 h 30"/>
                <a:gd name="T62" fmla="*/ 237 w 239"/>
                <a:gd name="T63" fmla="*/ 25 h 30"/>
                <a:gd name="T64" fmla="*/ 238 w 239"/>
                <a:gd name="T65" fmla="*/ 22 h 30"/>
                <a:gd name="T66" fmla="*/ 239 w 239"/>
                <a:gd name="T67" fmla="*/ 19 h 30"/>
                <a:gd name="T68" fmla="*/ 239 w 239"/>
                <a:gd name="T69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9" h="30">
                  <a:moveTo>
                    <a:pt x="239" y="15"/>
                  </a:moveTo>
                  <a:lnTo>
                    <a:pt x="239" y="13"/>
                  </a:lnTo>
                  <a:lnTo>
                    <a:pt x="238" y="10"/>
                  </a:lnTo>
                  <a:lnTo>
                    <a:pt x="237" y="8"/>
                  </a:lnTo>
                  <a:lnTo>
                    <a:pt x="235" y="6"/>
                  </a:lnTo>
                  <a:lnTo>
                    <a:pt x="233" y="4"/>
                  </a:lnTo>
                  <a:lnTo>
                    <a:pt x="231" y="3"/>
                  </a:lnTo>
                  <a:lnTo>
                    <a:pt x="227" y="2"/>
                  </a:lnTo>
                  <a:lnTo>
                    <a:pt x="224" y="0"/>
                  </a:lnTo>
                  <a:lnTo>
                    <a:pt x="15" y="0"/>
                  </a:lnTo>
                  <a:lnTo>
                    <a:pt x="12" y="2"/>
                  </a:lnTo>
                  <a:lnTo>
                    <a:pt x="9" y="3"/>
                  </a:lnTo>
                  <a:lnTo>
                    <a:pt x="7" y="4"/>
                  </a:lnTo>
                  <a:lnTo>
                    <a:pt x="5" y="6"/>
                  </a:lnTo>
                  <a:lnTo>
                    <a:pt x="3" y="8"/>
                  </a:lnTo>
                  <a:lnTo>
                    <a:pt x="2" y="10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0" y="19"/>
                  </a:lnTo>
                  <a:lnTo>
                    <a:pt x="2" y="22"/>
                  </a:lnTo>
                  <a:lnTo>
                    <a:pt x="3" y="25"/>
                  </a:lnTo>
                  <a:lnTo>
                    <a:pt x="5" y="27"/>
                  </a:lnTo>
                  <a:lnTo>
                    <a:pt x="7" y="28"/>
                  </a:lnTo>
                  <a:lnTo>
                    <a:pt x="9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224" y="30"/>
                  </a:lnTo>
                  <a:lnTo>
                    <a:pt x="227" y="30"/>
                  </a:lnTo>
                  <a:lnTo>
                    <a:pt x="231" y="29"/>
                  </a:lnTo>
                  <a:lnTo>
                    <a:pt x="233" y="28"/>
                  </a:lnTo>
                  <a:lnTo>
                    <a:pt x="235" y="27"/>
                  </a:lnTo>
                  <a:lnTo>
                    <a:pt x="237" y="25"/>
                  </a:lnTo>
                  <a:lnTo>
                    <a:pt x="238" y="22"/>
                  </a:lnTo>
                  <a:lnTo>
                    <a:pt x="239" y="19"/>
                  </a:lnTo>
                  <a:lnTo>
                    <a:pt x="239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7" name="Freeform 129"/>
            <p:cNvSpPr>
              <a:spLocks noEditPoints="1"/>
            </p:cNvSpPr>
            <p:nvPr/>
          </p:nvSpPr>
          <p:spPr bwMode="auto">
            <a:xfrm>
              <a:off x="5505450" y="2765425"/>
              <a:ext cx="238125" cy="285750"/>
            </a:xfrm>
            <a:custGeom>
              <a:avLst/>
              <a:gdLst>
                <a:gd name="T0" fmla="*/ 485 w 748"/>
                <a:gd name="T1" fmla="*/ 867 h 898"/>
                <a:gd name="T2" fmla="*/ 449 w 748"/>
                <a:gd name="T3" fmla="*/ 843 h 898"/>
                <a:gd name="T4" fmla="*/ 423 w 748"/>
                <a:gd name="T5" fmla="*/ 781 h 898"/>
                <a:gd name="T6" fmla="*/ 548 w 748"/>
                <a:gd name="T7" fmla="*/ 774 h 898"/>
                <a:gd name="T8" fmla="*/ 508 w 748"/>
                <a:gd name="T9" fmla="*/ 838 h 898"/>
                <a:gd name="T10" fmla="*/ 275 w 748"/>
                <a:gd name="T11" fmla="*/ 867 h 898"/>
                <a:gd name="T12" fmla="*/ 239 w 748"/>
                <a:gd name="T13" fmla="*/ 843 h 898"/>
                <a:gd name="T14" fmla="*/ 197 w 748"/>
                <a:gd name="T15" fmla="*/ 772 h 898"/>
                <a:gd name="T16" fmla="*/ 335 w 748"/>
                <a:gd name="T17" fmla="*/ 774 h 898"/>
                <a:gd name="T18" fmla="*/ 299 w 748"/>
                <a:gd name="T19" fmla="*/ 838 h 898"/>
                <a:gd name="T20" fmla="*/ 183 w 748"/>
                <a:gd name="T21" fmla="*/ 236 h 898"/>
                <a:gd name="T22" fmla="*/ 533 w 748"/>
                <a:gd name="T23" fmla="*/ 210 h 898"/>
                <a:gd name="T24" fmla="*/ 568 w 748"/>
                <a:gd name="T25" fmla="*/ 390 h 898"/>
                <a:gd name="T26" fmla="*/ 329 w 748"/>
                <a:gd name="T27" fmla="*/ 90 h 898"/>
                <a:gd name="T28" fmla="*/ 389 w 748"/>
                <a:gd name="T29" fmla="*/ 378 h 898"/>
                <a:gd name="T30" fmla="*/ 720 w 748"/>
                <a:gd name="T31" fmla="*/ 829 h 898"/>
                <a:gd name="T32" fmla="*/ 705 w 748"/>
                <a:gd name="T33" fmla="*/ 863 h 898"/>
                <a:gd name="T34" fmla="*/ 663 w 748"/>
                <a:gd name="T35" fmla="*/ 854 h 898"/>
                <a:gd name="T36" fmla="*/ 650 w 748"/>
                <a:gd name="T37" fmla="*/ 803 h 898"/>
                <a:gd name="T38" fmla="*/ 606 w 748"/>
                <a:gd name="T39" fmla="*/ 766 h 898"/>
                <a:gd name="T40" fmla="*/ 687 w 748"/>
                <a:gd name="T41" fmla="*/ 448 h 898"/>
                <a:gd name="T42" fmla="*/ 702 w 748"/>
                <a:gd name="T43" fmla="*/ 429 h 898"/>
                <a:gd name="T44" fmla="*/ 598 w 748"/>
                <a:gd name="T45" fmla="*/ 246 h 898"/>
                <a:gd name="T46" fmla="*/ 571 w 748"/>
                <a:gd name="T47" fmla="*/ 197 h 898"/>
                <a:gd name="T48" fmla="*/ 448 w 748"/>
                <a:gd name="T49" fmla="*/ 180 h 898"/>
                <a:gd name="T50" fmla="*/ 436 w 748"/>
                <a:gd name="T51" fmla="*/ 0 h 898"/>
                <a:gd name="T52" fmla="*/ 301 w 748"/>
                <a:gd name="T53" fmla="*/ 9 h 898"/>
                <a:gd name="T54" fmla="*/ 196 w 748"/>
                <a:gd name="T55" fmla="*/ 185 h 898"/>
                <a:gd name="T56" fmla="*/ 155 w 748"/>
                <a:gd name="T57" fmla="*/ 226 h 898"/>
                <a:gd name="T58" fmla="*/ 51 w 748"/>
                <a:gd name="T59" fmla="*/ 423 h 898"/>
                <a:gd name="T60" fmla="*/ 48 w 748"/>
                <a:gd name="T61" fmla="*/ 443 h 898"/>
                <a:gd name="T62" fmla="*/ 141 w 748"/>
                <a:gd name="T63" fmla="*/ 767 h 898"/>
                <a:gd name="T64" fmla="*/ 100 w 748"/>
                <a:gd name="T65" fmla="*/ 799 h 898"/>
                <a:gd name="T66" fmla="*/ 87 w 748"/>
                <a:gd name="T67" fmla="*/ 850 h 898"/>
                <a:gd name="T68" fmla="*/ 48 w 748"/>
                <a:gd name="T69" fmla="*/ 865 h 898"/>
                <a:gd name="T70" fmla="*/ 29 w 748"/>
                <a:gd name="T71" fmla="*/ 833 h 898"/>
                <a:gd name="T72" fmla="*/ 9 w 748"/>
                <a:gd name="T73" fmla="*/ 824 h 898"/>
                <a:gd name="T74" fmla="*/ 1 w 748"/>
                <a:gd name="T75" fmla="*/ 850 h 898"/>
                <a:gd name="T76" fmla="*/ 26 w 748"/>
                <a:gd name="T77" fmla="*/ 887 h 898"/>
                <a:gd name="T78" fmla="*/ 71 w 748"/>
                <a:gd name="T79" fmla="*/ 896 h 898"/>
                <a:gd name="T80" fmla="*/ 109 w 748"/>
                <a:gd name="T81" fmla="*/ 871 h 898"/>
                <a:gd name="T82" fmla="*/ 123 w 748"/>
                <a:gd name="T83" fmla="*/ 821 h 898"/>
                <a:gd name="T84" fmla="*/ 182 w 748"/>
                <a:gd name="T85" fmla="*/ 796 h 898"/>
                <a:gd name="T86" fmla="*/ 211 w 748"/>
                <a:gd name="T87" fmla="*/ 850 h 898"/>
                <a:gd name="T88" fmla="*/ 235 w 748"/>
                <a:gd name="T89" fmla="*/ 887 h 898"/>
                <a:gd name="T90" fmla="*/ 281 w 748"/>
                <a:gd name="T91" fmla="*/ 896 h 898"/>
                <a:gd name="T92" fmla="*/ 319 w 748"/>
                <a:gd name="T93" fmla="*/ 871 h 898"/>
                <a:gd name="T94" fmla="*/ 333 w 748"/>
                <a:gd name="T95" fmla="*/ 821 h 898"/>
                <a:gd name="T96" fmla="*/ 392 w 748"/>
                <a:gd name="T97" fmla="*/ 796 h 898"/>
                <a:gd name="T98" fmla="*/ 420 w 748"/>
                <a:gd name="T99" fmla="*/ 850 h 898"/>
                <a:gd name="T100" fmla="*/ 445 w 748"/>
                <a:gd name="T101" fmla="*/ 887 h 898"/>
                <a:gd name="T102" fmla="*/ 491 w 748"/>
                <a:gd name="T103" fmla="*/ 896 h 898"/>
                <a:gd name="T104" fmla="*/ 529 w 748"/>
                <a:gd name="T105" fmla="*/ 871 h 898"/>
                <a:gd name="T106" fmla="*/ 542 w 748"/>
                <a:gd name="T107" fmla="*/ 821 h 898"/>
                <a:gd name="T108" fmla="*/ 601 w 748"/>
                <a:gd name="T109" fmla="*/ 796 h 898"/>
                <a:gd name="T110" fmla="*/ 629 w 748"/>
                <a:gd name="T111" fmla="*/ 850 h 898"/>
                <a:gd name="T112" fmla="*/ 655 w 748"/>
                <a:gd name="T113" fmla="*/ 887 h 898"/>
                <a:gd name="T114" fmla="*/ 700 w 748"/>
                <a:gd name="T115" fmla="*/ 896 h 898"/>
                <a:gd name="T116" fmla="*/ 737 w 748"/>
                <a:gd name="T117" fmla="*/ 871 h 898"/>
                <a:gd name="T118" fmla="*/ 747 w 748"/>
                <a:gd name="T119" fmla="*/ 833 h 8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48" h="898">
                  <a:moveTo>
                    <a:pt x="508" y="838"/>
                  </a:moveTo>
                  <a:lnTo>
                    <a:pt x="508" y="843"/>
                  </a:lnTo>
                  <a:lnTo>
                    <a:pt x="506" y="850"/>
                  </a:lnTo>
                  <a:lnTo>
                    <a:pt x="504" y="854"/>
                  </a:lnTo>
                  <a:lnTo>
                    <a:pt x="500" y="858"/>
                  </a:lnTo>
                  <a:lnTo>
                    <a:pt x="495" y="863"/>
                  </a:lnTo>
                  <a:lnTo>
                    <a:pt x="490" y="865"/>
                  </a:lnTo>
                  <a:lnTo>
                    <a:pt x="485" y="867"/>
                  </a:lnTo>
                  <a:lnTo>
                    <a:pt x="478" y="868"/>
                  </a:lnTo>
                  <a:lnTo>
                    <a:pt x="473" y="867"/>
                  </a:lnTo>
                  <a:lnTo>
                    <a:pt x="468" y="865"/>
                  </a:lnTo>
                  <a:lnTo>
                    <a:pt x="462" y="863"/>
                  </a:lnTo>
                  <a:lnTo>
                    <a:pt x="458" y="858"/>
                  </a:lnTo>
                  <a:lnTo>
                    <a:pt x="454" y="854"/>
                  </a:lnTo>
                  <a:lnTo>
                    <a:pt x="451" y="850"/>
                  </a:lnTo>
                  <a:lnTo>
                    <a:pt x="449" y="843"/>
                  </a:lnTo>
                  <a:lnTo>
                    <a:pt x="448" y="838"/>
                  </a:lnTo>
                  <a:lnTo>
                    <a:pt x="448" y="830"/>
                  </a:lnTo>
                  <a:lnTo>
                    <a:pt x="447" y="824"/>
                  </a:lnTo>
                  <a:lnTo>
                    <a:pt x="446" y="819"/>
                  </a:lnTo>
                  <a:lnTo>
                    <a:pt x="444" y="812"/>
                  </a:lnTo>
                  <a:lnTo>
                    <a:pt x="439" y="800"/>
                  </a:lnTo>
                  <a:lnTo>
                    <a:pt x="431" y="790"/>
                  </a:lnTo>
                  <a:lnTo>
                    <a:pt x="423" y="781"/>
                  </a:lnTo>
                  <a:lnTo>
                    <a:pt x="413" y="774"/>
                  </a:lnTo>
                  <a:lnTo>
                    <a:pt x="406" y="770"/>
                  </a:lnTo>
                  <a:lnTo>
                    <a:pt x="401" y="768"/>
                  </a:lnTo>
                  <a:lnTo>
                    <a:pt x="395" y="766"/>
                  </a:lnTo>
                  <a:lnTo>
                    <a:pt x="388" y="764"/>
                  </a:lnTo>
                  <a:lnTo>
                    <a:pt x="389" y="485"/>
                  </a:lnTo>
                  <a:lnTo>
                    <a:pt x="607" y="553"/>
                  </a:lnTo>
                  <a:lnTo>
                    <a:pt x="548" y="774"/>
                  </a:lnTo>
                  <a:lnTo>
                    <a:pt x="539" y="778"/>
                  </a:lnTo>
                  <a:lnTo>
                    <a:pt x="532" y="784"/>
                  </a:lnTo>
                  <a:lnTo>
                    <a:pt x="525" y="792"/>
                  </a:lnTo>
                  <a:lnTo>
                    <a:pt x="519" y="799"/>
                  </a:lnTo>
                  <a:lnTo>
                    <a:pt x="515" y="808"/>
                  </a:lnTo>
                  <a:lnTo>
                    <a:pt x="511" y="818"/>
                  </a:lnTo>
                  <a:lnTo>
                    <a:pt x="509" y="827"/>
                  </a:lnTo>
                  <a:lnTo>
                    <a:pt x="508" y="838"/>
                  </a:lnTo>
                  <a:close/>
                  <a:moveTo>
                    <a:pt x="299" y="838"/>
                  </a:moveTo>
                  <a:lnTo>
                    <a:pt x="298" y="843"/>
                  </a:lnTo>
                  <a:lnTo>
                    <a:pt x="296" y="850"/>
                  </a:lnTo>
                  <a:lnTo>
                    <a:pt x="294" y="854"/>
                  </a:lnTo>
                  <a:lnTo>
                    <a:pt x="290" y="858"/>
                  </a:lnTo>
                  <a:lnTo>
                    <a:pt x="286" y="863"/>
                  </a:lnTo>
                  <a:lnTo>
                    <a:pt x="281" y="865"/>
                  </a:lnTo>
                  <a:lnTo>
                    <a:pt x="275" y="867"/>
                  </a:lnTo>
                  <a:lnTo>
                    <a:pt x="269" y="868"/>
                  </a:lnTo>
                  <a:lnTo>
                    <a:pt x="263" y="867"/>
                  </a:lnTo>
                  <a:lnTo>
                    <a:pt x="258" y="865"/>
                  </a:lnTo>
                  <a:lnTo>
                    <a:pt x="252" y="863"/>
                  </a:lnTo>
                  <a:lnTo>
                    <a:pt x="248" y="858"/>
                  </a:lnTo>
                  <a:lnTo>
                    <a:pt x="244" y="854"/>
                  </a:lnTo>
                  <a:lnTo>
                    <a:pt x="242" y="850"/>
                  </a:lnTo>
                  <a:lnTo>
                    <a:pt x="239" y="843"/>
                  </a:lnTo>
                  <a:lnTo>
                    <a:pt x="239" y="838"/>
                  </a:lnTo>
                  <a:lnTo>
                    <a:pt x="238" y="825"/>
                  </a:lnTo>
                  <a:lnTo>
                    <a:pt x="235" y="814"/>
                  </a:lnTo>
                  <a:lnTo>
                    <a:pt x="231" y="804"/>
                  </a:lnTo>
                  <a:lnTo>
                    <a:pt x="224" y="793"/>
                  </a:lnTo>
                  <a:lnTo>
                    <a:pt x="216" y="784"/>
                  </a:lnTo>
                  <a:lnTo>
                    <a:pt x="207" y="777"/>
                  </a:lnTo>
                  <a:lnTo>
                    <a:pt x="197" y="772"/>
                  </a:lnTo>
                  <a:lnTo>
                    <a:pt x="186" y="767"/>
                  </a:lnTo>
                  <a:lnTo>
                    <a:pt x="133" y="553"/>
                  </a:lnTo>
                  <a:lnTo>
                    <a:pt x="359" y="485"/>
                  </a:lnTo>
                  <a:lnTo>
                    <a:pt x="359" y="764"/>
                  </a:lnTo>
                  <a:lnTo>
                    <a:pt x="353" y="766"/>
                  </a:lnTo>
                  <a:lnTo>
                    <a:pt x="347" y="768"/>
                  </a:lnTo>
                  <a:lnTo>
                    <a:pt x="341" y="770"/>
                  </a:lnTo>
                  <a:lnTo>
                    <a:pt x="335" y="774"/>
                  </a:lnTo>
                  <a:lnTo>
                    <a:pt x="325" y="781"/>
                  </a:lnTo>
                  <a:lnTo>
                    <a:pt x="317" y="790"/>
                  </a:lnTo>
                  <a:lnTo>
                    <a:pt x="309" y="800"/>
                  </a:lnTo>
                  <a:lnTo>
                    <a:pt x="304" y="812"/>
                  </a:lnTo>
                  <a:lnTo>
                    <a:pt x="302" y="819"/>
                  </a:lnTo>
                  <a:lnTo>
                    <a:pt x="301" y="824"/>
                  </a:lnTo>
                  <a:lnTo>
                    <a:pt x="299" y="830"/>
                  </a:lnTo>
                  <a:lnTo>
                    <a:pt x="299" y="838"/>
                  </a:lnTo>
                  <a:close/>
                  <a:moveTo>
                    <a:pt x="359" y="378"/>
                  </a:moveTo>
                  <a:lnTo>
                    <a:pt x="359" y="453"/>
                  </a:lnTo>
                  <a:lnTo>
                    <a:pt x="126" y="524"/>
                  </a:lnTo>
                  <a:lnTo>
                    <a:pt x="106" y="438"/>
                  </a:lnTo>
                  <a:lnTo>
                    <a:pt x="359" y="378"/>
                  </a:lnTo>
                  <a:close/>
                  <a:moveTo>
                    <a:pt x="180" y="253"/>
                  </a:moveTo>
                  <a:lnTo>
                    <a:pt x="181" y="245"/>
                  </a:lnTo>
                  <a:lnTo>
                    <a:pt x="183" y="236"/>
                  </a:lnTo>
                  <a:lnTo>
                    <a:pt x="187" y="229"/>
                  </a:lnTo>
                  <a:lnTo>
                    <a:pt x="192" y="222"/>
                  </a:lnTo>
                  <a:lnTo>
                    <a:pt x="199" y="217"/>
                  </a:lnTo>
                  <a:lnTo>
                    <a:pt x="206" y="213"/>
                  </a:lnTo>
                  <a:lnTo>
                    <a:pt x="215" y="210"/>
                  </a:lnTo>
                  <a:lnTo>
                    <a:pt x="224" y="210"/>
                  </a:lnTo>
                  <a:lnTo>
                    <a:pt x="523" y="210"/>
                  </a:lnTo>
                  <a:lnTo>
                    <a:pt x="533" y="210"/>
                  </a:lnTo>
                  <a:lnTo>
                    <a:pt x="541" y="213"/>
                  </a:lnTo>
                  <a:lnTo>
                    <a:pt x="549" y="217"/>
                  </a:lnTo>
                  <a:lnTo>
                    <a:pt x="555" y="222"/>
                  </a:lnTo>
                  <a:lnTo>
                    <a:pt x="561" y="229"/>
                  </a:lnTo>
                  <a:lnTo>
                    <a:pt x="565" y="236"/>
                  </a:lnTo>
                  <a:lnTo>
                    <a:pt x="567" y="245"/>
                  </a:lnTo>
                  <a:lnTo>
                    <a:pt x="568" y="253"/>
                  </a:lnTo>
                  <a:lnTo>
                    <a:pt x="568" y="390"/>
                  </a:lnTo>
                  <a:lnTo>
                    <a:pt x="374" y="343"/>
                  </a:lnTo>
                  <a:lnTo>
                    <a:pt x="180" y="390"/>
                  </a:lnTo>
                  <a:lnTo>
                    <a:pt x="180" y="253"/>
                  </a:lnTo>
                  <a:close/>
                  <a:moveTo>
                    <a:pt x="329" y="90"/>
                  </a:moveTo>
                  <a:lnTo>
                    <a:pt x="418" y="90"/>
                  </a:lnTo>
                  <a:lnTo>
                    <a:pt x="418" y="180"/>
                  </a:lnTo>
                  <a:lnTo>
                    <a:pt x="329" y="180"/>
                  </a:lnTo>
                  <a:lnTo>
                    <a:pt x="329" y="90"/>
                  </a:lnTo>
                  <a:close/>
                  <a:moveTo>
                    <a:pt x="418" y="30"/>
                  </a:moveTo>
                  <a:lnTo>
                    <a:pt x="418" y="60"/>
                  </a:lnTo>
                  <a:lnTo>
                    <a:pt x="329" y="60"/>
                  </a:lnTo>
                  <a:lnTo>
                    <a:pt x="329" y="30"/>
                  </a:lnTo>
                  <a:lnTo>
                    <a:pt x="418" y="30"/>
                  </a:lnTo>
                  <a:close/>
                  <a:moveTo>
                    <a:pt x="614" y="524"/>
                  </a:moveTo>
                  <a:lnTo>
                    <a:pt x="389" y="453"/>
                  </a:lnTo>
                  <a:lnTo>
                    <a:pt x="389" y="378"/>
                  </a:lnTo>
                  <a:lnTo>
                    <a:pt x="638" y="438"/>
                  </a:lnTo>
                  <a:lnTo>
                    <a:pt x="614" y="524"/>
                  </a:lnTo>
                  <a:close/>
                  <a:moveTo>
                    <a:pt x="733" y="823"/>
                  </a:moveTo>
                  <a:lnTo>
                    <a:pt x="730" y="823"/>
                  </a:lnTo>
                  <a:lnTo>
                    <a:pt x="728" y="824"/>
                  </a:lnTo>
                  <a:lnTo>
                    <a:pt x="724" y="825"/>
                  </a:lnTo>
                  <a:lnTo>
                    <a:pt x="722" y="827"/>
                  </a:lnTo>
                  <a:lnTo>
                    <a:pt x="720" y="829"/>
                  </a:lnTo>
                  <a:lnTo>
                    <a:pt x="719" y="833"/>
                  </a:lnTo>
                  <a:lnTo>
                    <a:pt x="718" y="835"/>
                  </a:lnTo>
                  <a:lnTo>
                    <a:pt x="718" y="838"/>
                  </a:lnTo>
                  <a:lnTo>
                    <a:pt x="718" y="843"/>
                  </a:lnTo>
                  <a:lnTo>
                    <a:pt x="716" y="850"/>
                  </a:lnTo>
                  <a:lnTo>
                    <a:pt x="713" y="854"/>
                  </a:lnTo>
                  <a:lnTo>
                    <a:pt x="709" y="858"/>
                  </a:lnTo>
                  <a:lnTo>
                    <a:pt x="705" y="863"/>
                  </a:lnTo>
                  <a:lnTo>
                    <a:pt x="700" y="865"/>
                  </a:lnTo>
                  <a:lnTo>
                    <a:pt x="694" y="867"/>
                  </a:lnTo>
                  <a:lnTo>
                    <a:pt x="688" y="868"/>
                  </a:lnTo>
                  <a:lnTo>
                    <a:pt x="683" y="867"/>
                  </a:lnTo>
                  <a:lnTo>
                    <a:pt x="676" y="865"/>
                  </a:lnTo>
                  <a:lnTo>
                    <a:pt x="672" y="863"/>
                  </a:lnTo>
                  <a:lnTo>
                    <a:pt x="667" y="858"/>
                  </a:lnTo>
                  <a:lnTo>
                    <a:pt x="663" y="854"/>
                  </a:lnTo>
                  <a:lnTo>
                    <a:pt x="660" y="850"/>
                  </a:lnTo>
                  <a:lnTo>
                    <a:pt x="659" y="843"/>
                  </a:lnTo>
                  <a:lnTo>
                    <a:pt x="658" y="838"/>
                  </a:lnTo>
                  <a:lnTo>
                    <a:pt x="658" y="830"/>
                  </a:lnTo>
                  <a:lnTo>
                    <a:pt x="657" y="823"/>
                  </a:lnTo>
                  <a:lnTo>
                    <a:pt x="655" y="815"/>
                  </a:lnTo>
                  <a:lnTo>
                    <a:pt x="653" y="809"/>
                  </a:lnTo>
                  <a:lnTo>
                    <a:pt x="650" y="803"/>
                  </a:lnTo>
                  <a:lnTo>
                    <a:pt x="645" y="796"/>
                  </a:lnTo>
                  <a:lnTo>
                    <a:pt x="641" y="791"/>
                  </a:lnTo>
                  <a:lnTo>
                    <a:pt x="637" y="785"/>
                  </a:lnTo>
                  <a:lnTo>
                    <a:pt x="631" y="780"/>
                  </a:lnTo>
                  <a:lnTo>
                    <a:pt x="625" y="776"/>
                  </a:lnTo>
                  <a:lnTo>
                    <a:pt x="620" y="772"/>
                  </a:lnTo>
                  <a:lnTo>
                    <a:pt x="612" y="768"/>
                  </a:lnTo>
                  <a:lnTo>
                    <a:pt x="606" y="766"/>
                  </a:lnTo>
                  <a:lnTo>
                    <a:pt x="598" y="764"/>
                  </a:lnTo>
                  <a:lnTo>
                    <a:pt x="591" y="763"/>
                  </a:lnTo>
                  <a:lnTo>
                    <a:pt x="583" y="763"/>
                  </a:lnTo>
                  <a:lnTo>
                    <a:pt x="582" y="764"/>
                  </a:lnTo>
                  <a:lnTo>
                    <a:pt x="581" y="764"/>
                  </a:lnTo>
                  <a:lnTo>
                    <a:pt x="668" y="444"/>
                  </a:lnTo>
                  <a:lnTo>
                    <a:pt x="685" y="448"/>
                  </a:lnTo>
                  <a:lnTo>
                    <a:pt x="687" y="448"/>
                  </a:lnTo>
                  <a:lnTo>
                    <a:pt x="688" y="448"/>
                  </a:lnTo>
                  <a:lnTo>
                    <a:pt x="693" y="447"/>
                  </a:lnTo>
                  <a:lnTo>
                    <a:pt x="698" y="445"/>
                  </a:lnTo>
                  <a:lnTo>
                    <a:pt x="701" y="442"/>
                  </a:lnTo>
                  <a:lnTo>
                    <a:pt x="703" y="438"/>
                  </a:lnTo>
                  <a:lnTo>
                    <a:pt x="703" y="434"/>
                  </a:lnTo>
                  <a:lnTo>
                    <a:pt x="703" y="431"/>
                  </a:lnTo>
                  <a:lnTo>
                    <a:pt x="702" y="429"/>
                  </a:lnTo>
                  <a:lnTo>
                    <a:pt x="701" y="426"/>
                  </a:lnTo>
                  <a:lnTo>
                    <a:pt x="699" y="424"/>
                  </a:lnTo>
                  <a:lnTo>
                    <a:pt x="697" y="423"/>
                  </a:lnTo>
                  <a:lnTo>
                    <a:pt x="694" y="420"/>
                  </a:lnTo>
                  <a:lnTo>
                    <a:pt x="691" y="420"/>
                  </a:lnTo>
                  <a:lnTo>
                    <a:pt x="598" y="398"/>
                  </a:lnTo>
                  <a:lnTo>
                    <a:pt x="598" y="253"/>
                  </a:lnTo>
                  <a:lnTo>
                    <a:pt x="598" y="246"/>
                  </a:lnTo>
                  <a:lnTo>
                    <a:pt x="597" y="240"/>
                  </a:lnTo>
                  <a:lnTo>
                    <a:pt x="595" y="232"/>
                  </a:lnTo>
                  <a:lnTo>
                    <a:pt x="593" y="226"/>
                  </a:lnTo>
                  <a:lnTo>
                    <a:pt x="590" y="219"/>
                  </a:lnTo>
                  <a:lnTo>
                    <a:pt x="585" y="213"/>
                  </a:lnTo>
                  <a:lnTo>
                    <a:pt x="581" y="206"/>
                  </a:lnTo>
                  <a:lnTo>
                    <a:pt x="577" y="201"/>
                  </a:lnTo>
                  <a:lnTo>
                    <a:pt x="571" y="197"/>
                  </a:lnTo>
                  <a:lnTo>
                    <a:pt x="565" y="192"/>
                  </a:lnTo>
                  <a:lnTo>
                    <a:pt x="560" y="188"/>
                  </a:lnTo>
                  <a:lnTo>
                    <a:pt x="553" y="185"/>
                  </a:lnTo>
                  <a:lnTo>
                    <a:pt x="546" y="183"/>
                  </a:lnTo>
                  <a:lnTo>
                    <a:pt x="538" y="181"/>
                  </a:lnTo>
                  <a:lnTo>
                    <a:pt x="531" y="180"/>
                  </a:lnTo>
                  <a:lnTo>
                    <a:pt x="523" y="180"/>
                  </a:lnTo>
                  <a:lnTo>
                    <a:pt x="448" y="180"/>
                  </a:lnTo>
                  <a:lnTo>
                    <a:pt x="448" y="15"/>
                  </a:lnTo>
                  <a:lnTo>
                    <a:pt x="448" y="12"/>
                  </a:lnTo>
                  <a:lnTo>
                    <a:pt x="447" y="9"/>
                  </a:lnTo>
                  <a:lnTo>
                    <a:pt x="446" y="6"/>
                  </a:lnTo>
                  <a:lnTo>
                    <a:pt x="444" y="4"/>
                  </a:lnTo>
                  <a:lnTo>
                    <a:pt x="442" y="2"/>
                  </a:lnTo>
                  <a:lnTo>
                    <a:pt x="440" y="1"/>
                  </a:lnTo>
                  <a:lnTo>
                    <a:pt x="436" y="0"/>
                  </a:lnTo>
                  <a:lnTo>
                    <a:pt x="433" y="0"/>
                  </a:lnTo>
                  <a:lnTo>
                    <a:pt x="314" y="0"/>
                  </a:lnTo>
                  <a:lnTo>
                    <a:pt x="311" y="0"/>
                  </a:lnTo>
                  <a:lnTo>
                    <a:pt x="308" y="1"/>
                  </a:lnTo>
                  <a:lnTo>
                    <a:pt x="306" y="2"/>
                  </a:lnTo>
                  <a:lnTo>
                    <a:pt x="304" y="4"/>
                  </a:lnTo>
                  <a:lnTo>
                    <a:pt x="302" y="6"/>
                  </a:lnTo>
                  <a:lnTo>
                    <a:pt x="301" y="9"/>
                  </a:lnTo>
                  <a:lnTo>
                    <a:pt x="299" y="12"/>
                  </a:lnTo>
                  <a:lnTo>
                    <a:pt x="299" y="15"/>
                  </a:lnTo>
                  <a:lnTo>
                    <a:pt x="299" y="180"/>
                  </a:lnTo>
                  <a:lnTo>
                    <a:pt x="224" y="180"/>
                  </a:lnTo>
                  <a:lnTo>
                    <a:pt x="217" y="180"/>
                  </a:lnTo>
                  <a:lnTo>
                    <a:pt x="209" y="181"/>
                  </a:lnTo>
                  <a:lnTo>
                    <a:pt x="202" y="183"/>
                  </a:lnTo>
                  <a:lnTo>
                    <a:pt x="196" y="185"/>
                  </a:lnTo>
                  <a:lnTo>
                    <a:pt x="188" y="188"/>
                  </a:lnTo>
                  <a:lnTo>
                    <a:pt x="183" y="192"/>
                  </a:lnTo>
                  <a:lnTo>
                    <a:pt x="176" y="197"/>
                  </a:lnTo>
                  <a:lnTo>
                    <a:pt x="171" y="201"/>
                  </a:lnTo>
                  <a:lnTo>
                    <a:pt x="167" y="206"/>
                  </a:lnTo>
                  <a:lnTo>
                    <a:pt x="162" y="213"/>
                  </a:lnTo>
                  <a:lnTo>
                    <a:pt x="158" y="219"/>
                  </a:lnTo>
                  <a:lnTo>
                    <a:pt x="155" y="226"/>
                  </a:lnTo>
                  <a:lnTo>
                    <a:pt x="153" y="232"/>
                  </a:lnTo>
                  <a:lnTo>
                    <a:pt x="151" y="240"/>
                  </a:lnTo>
                  <a:lnTo>
                    <a:pt x="150" y="246"/>
                  </a:lnTo>
                  <a:lnTo>
                    <a:pt x="150" y="253"/>
                  </a:lnTo>
                  <a:lnTo>
                    <a:pt x="150" y="398"/>
                  </a:lnTo>
                  <a:lnTo>
                    <a:pt x="56" y="420"/>
                  </a:lnTo>
                  <a:lnTo>
                    <a:pt x="53" y="420"/>
                  </a:lnTo>
                  <a:lnTo>
                    <a:pt x="51" y="423"/>
                  </a:lnTo>
                  <a:lnTo>
                    <a:pt x="49" y="424"/>
                  </a:lnTo>
                  <a:lnTo>
                    <a:pt x="47" y="426"/>
                  </a:lnTo>
                  <a:lnTo>
                    <a:pt x="46" y="429"/>
                  </a:lnTo>
                  <a:lnTo>
                    <a:pt x="45" y="431"/>
                  </a:lnTo>
                  <a:lnTo>
                    <a:pt x="45" y="434"/>
                  </a:lnTo>
                  <a:lnTo>
                    <a:pt x="45" y="438"/>
                  </a:lnTo>
                  <a:lnTo>
                    <a:pt x="46" y="441"/>
                  </a:lnTo>
                  <a:lnTo>
                    <a:pt x="48" y="443"/>
                  </a:lnTo>
                  <a:lnTo>
                    <a:pt x="50" y="445"/>
                  </a:lnTo>
                  <a:lnTo>
                    <a:pt x="52" y="446"/>
                  </a:lnTo>
                  <a:lnTo>
                    <a:pt x="57" y="448"/>
                  </a:lnTo>
                  <a:lnTo>
                    <a:pt x="63" y="448"/>
                  </a:lnTo>
                  <a:lnTo>
                    <a:pt x="76" y="445"/>
                  </a:lnTo>
                  <a:lnTo>
                    <a:pt x="155" y="764"/>
                  </a:lnTo>
                  <a:lnTo>
                    <a:pt x="147" y="765"/>
                  </a:lnTo>
                  <a:lnTo>
                    <a:pt x="141" y="767"/>
                  </a:lnTo>
                  <a:lnTo>
                    <a:pt x="135" y="769"/>
                  </a:lnTo>
                  <a:lnTo>
                    <a:pt x="129" y="773"/>
                  </a:lnTo>
                  <a:lnTo>
                    <a:pt x="123" y="776"/>
                  </a:lnTo>
                  <a:lnTo>
                    <a:pt x="117" y="780"/>
                  </a:lnTo>
                  <a:lnTo>
                    <a:pt x="113" y="784"/>
                  </a:lnTo>
                  <a:lnTo>
                    <a:pt x="108" y="789"/>
                  </a:lnTo>
                  <a:lnTo>
                    <a:pt x="105" y="794"/>
                  </a:lnTo>
                  <a:lnTo>
                    <a:pt x="100" y="799"/>
                  </a:lnTo>
                  <a:lnTo>
                    <a:pt x="97" y="805"/>
                  </a:lnTo>
                  <a:lnTo>
                    <a:pt x="95" y="811"/>
                  </a:lnTo>
                  <a:lnTo>
                    <a:pt x="93" y="818"/>
                  </a:lnTo>
                  <a:lnTo>
                    <a:pt x="91" y="824"/>
                  </a:lnTo>
                  <a:lnTo>
                    <a:pt x="90" y="830"/>
                  </a:lnTo>
                  <a:lnTo>
                    <a:pt x="90" y="838"/>
                  </a:lnTo>
                  <a:lnTo>
                    <a:pt x="89" y="843"/>
                  </a:lnTo>
                  <a:lnTo>
                    <a:pt x="87" y="850"/>
                  </a:lnTo>
                  <a:lnTo>
                    <a:pt x="84" y="854"/>
                  </a:lnTo>
                  <a:lnTo>
                    <a:pt x="81" y="858"/>
                  </a:lnTo>
                  <a:lnTo>
                    <a:pt x="77" y="863"/>
                  </a:lnTo>
                  <a:lnTo>
                    <a:pt x="71" y="865"/>
                  </a:lnTo>
                  <a:lnTo>
                    <a:pt x="66" y="867"/>
                  </a:lnTo>
                  <a:lnTo>
                    <a:pt x="60" y="868"/>
                  </a:lnTo>
                  <a:lnTo>
                    <a:pt x="53" y="867"/>
                  </a:lnTo>
                  <a:lnTo>
                    <a:pt x="48" y="865"/>
                  </a:lnTo>
                  <a:lnTo>
                    <a:pt x="42" y="863"/>
                  </a:lnTo>
                  <a:lnTo>
                    <a:pt x="38" y="858"/>
                  </a:lnTo>
                  <a:lnTo>
                    <a:pt x="35" y="854"/>
                  </a:lnTo>
                  <a:lnTo>
                    <a:pt x="32" y="850"/>
                  </a:lnTo>
                  <a:lnTo>
                    <a:pt x="31" y="843"/>
                  </a:lnTo>
                  <a:lnTo>
                    <a:pt x="30" y="838"/>
                  </a:lnTo>
                  <a:lnTo>
                    <a:pt x="30" y="835"/>
                  </a:lnTo>
                  <a:lnTo>
                    <a:pt x="29" y="833"/>
                  </a:lnTo>
                  <a:lnTo>
                    <a:pt x="27" y="829"/>
                  </a:lnTo>
                  <a:lnTo>
                    <a:pt x="25" y="827"/>
                  </a:lnTo>
                  <a:lnTo>
                    <a:pt x="23" y="825"/>
                  </a:lnTo>
                  <a:lnTo>
                    <a:pt x="20" y="824"/>
                  </a:lnTo>
                  <a:lnTo>
                    <a:pt x="18" y="823"/>
                  </a:lnTo>
                  <a:lnTo>
                    <a:pt x="15" y="823"/>
                  </a:lnTo>
                  <a:lnTo>
                    <a:pt x="11" y="823"/>
                  </a:lnTo>
                  <a:lnTo>
                    <a:pt x="9" y="824"/>
                  </a:lnTo>
                  <a:lnTo>
                    <a:pt x="6" y="825"/>
                  </a:lnTo>
                  <a:lnTo>
                    <a:pt x="4" y="827"/>
                  </a:lnTo>
                  <a:lnTo>
                    <a:pt x="2" y="829"/>
                  </a:lnTo>
                  <a:lnTo>
                    <a:pt x="1" y="833"/>
                  </a:lnTo>
                  <a:lnTo>
                    <a:pt x="0" y="835"/>
                  </a:lnTo>
                  <a:lnTo>
                    <a:pt x="0" y="838"/>
                  </a:lnTo>
                  <a:lnTo>
                    <a:pt x="0" y="843"/>
                  </a:lnTo>
                  <a:lnTo>
                    <a:pt x="1" y="850"/>
                  </a:lnTo>
                  <a:lnTo>
                    <a:pt x="3" y="855"/>
                  </a:lnTo>
                  <a:lnTo>
                    <a:pt x="4" y="860"/>
                  </a:lnTo>
                  <a:lnTo>
                    <a:pt x="7" y="866"/>
                  </a:lnTo>
                  <a:lnTo>
                    <a:pt x="10" y="871"/>
                  </a:lnTo>
                  <a:lnTo>
                    <a:pt x="14" y="875"/>
                  </a:lnTo>
                  <a:lnTo>
                    <a:pt x="17" y="880"/>
                  </a:lnTo>
                  <a:lnTo>
                    <a:pt x="21" y="884"/>
                  </a:lnTo>
                  <a:lnTo>
                    <a:pt x="26" y="887"/>
                  </a:lnTo>
                  <a:lnTo>
                    <a:pt x="31" y="890"/>
                  </a:lnTo>
                  <a:lnTo>
                    <a:pt x="36" y="893"/>
                  </a:lnTo>
                  <a:lnTo>
                    <a:pt x="41" y="895"/>
                  </a:lnTo>
                  <a:lnTo>
                    <a:pt x="48" y="896"/>
                  </a:lnTo>
                  <a:lnTo>
                    <a:pt x="53" y="897"/>
                  </a:lnTo>
                  <a:lnTo>
                    <a:pt x="60" y="898"/>
                  </a:lnTo>
                  <a:lnTo>
                    <a:pt x="66" y="897"/>
                  </a:lnTo>
                  <a:lnTo>
                    <a:pt x="71" y="896"/>
                  </a:lnTo>
                  <a:lnTo>
                    <a:pt x="78" y="895"/>
                  </a:lnTo>
                  <a:lnTo>
                    <a:pt x="83" y="893"/>
                  </a:lnTo>
                  <a:lnTo>
                    <a:pt x="89" y="890"/>
                  </a:lnTo>
                  <a:lnTo>
                    <a:pt x="93" y="887"/>
                  </a:lnTo>
                  <a:lnTo>
                    <a:pt x="98" y="884"/>
                  </a:lnTo>
                  <a:lnTo>
                    <a:pt x="101" y="880"/>
                  </a:lnTo>
                  <a:lnTo>
                    <a:pt x="106" y="875"/>
                  </a:lnTo>
                  <a:lnTo>
                    <a:pt x="109" y="871"/>
                  </a:lnTo>
                  <a:lnTo>
                    <a:pt x="112" y="866"/>
                  </a:lnTo>
                  <a:lnTo>
                    <a:pt x="114" y="860"/>
                  </a:lnTo>
                  <a:lnTo>
                    <a:pt x="116" y="855"/>
                  </a:lnTo>
                  <a:lnTo>
                    <a:pt x="118" y="850"/>
                  </a:lnTo>
                  <a:lnTo>
                    <a:pt x="120" y="843"/>
                  </a:lnTo>
                  <a:lnTo>
                    <a:pt x="120" y="838"/>
                  </a:lnTo>
                  <a:lnTo>
                    <a:pt x="121" y="828"/>
                  </a:lnTo>
                  <a:lnTo>
                    <a:pt x="123" y="821"/>
                  </a:lnTo>
                  <a:lnTo>
                    <a:pt x="127" y="813"/>
                  </a:lnTo>
                  <a:lnTo>
                    <a:pt x="132" y="806"/>
                  </a:lnTo>
                  <a:lnTo>
                    <a:pt x="139" y="800"/>
                  </a:lnTo>
                  <a:lnTo>
                    <a:pt x="147" y="796"/>
                  </a:lnTo>
                  <a:lnTo>
                    <a:pt x="155" y="794"/>
                  </a:lnTo>
                  <a:lnTo>
                    <a:pt x="165" y="793"/>
                  </a:lnTo>
                  <a:lnTo>
                    <a:pt x="173" y="794"/>
                  </a:lnTo>
                  <a:lnTo>
                    <a:pt x="182" y="796"/>
                  </a:lnTo>
                  <a:lnTo>
                    <a:pt x="189" y="800"/>
                  </a:lnTo>
                  <a:lnTo>
                    <a:pt x="196" y="806"/>
                  </a:lnTo>
                  <a:lnTo>
                    <a:pt x="202" y="813"/>
                  </a:lnTo>
                  <a:lnTo>
                    <a:pt x="205" y="821"/>
                  </a:lnTo>
                  <a:lnTo>
                    <a:pt x="208" y="828"/>
                  </a:lnTo>
                  <a:lnTo>
                    <a:pt x="209" y="838"/>
                  </a:lnTo>
                  <a:lnTo>
                    <a:pt x="209" y="843"/>
                  </a:lnTo>
                  <a:lnTo>
                    <a:pt x="211" y="850"/>
                  </a:lnTo>
                  <a:lnTo>
                    <a:pt x="212" y="855"/>
                  </a:lnTo>
                  <a:lnTo>
                    <a:pt x="214" y="860"/>
                  </a:lnTo>
                  <a:lnTo>
                    <a:pt x="216" y="866"/>
                  </a:lnTo>
                  <a:lnTo>
                    <a:pt x="219" y="871"/>
                  </a:lnTo>
                  <a:lnTo>
                    <a:pt x="222" y="875"/>
                  </a:lnTo>
                  <a:lnTo>
                    <a:pt x="227" y="880"/>
                  </a:lnTo>
                  <a:lnTo>
                    <a:pt x="231" y="884"/>
                  </a:lnTo>
                  <a:lnTo>
                    <a:pt x="235" y="887"/>
                  </a:lnTo>
                  <a:lnTo>
                    <a:pt x="241" y="890"/>
                  </a:lnTo>
                  <a:lnTo>
                    <a:pt x="246" y="893"/>
                  </a:lnTo>
                  <a:lnTo>
                    <a:pt x="251" y="895"/>
                  </a:lnTo>
                  <a:lnTo>
                    <a:pt x="257" y="896"/>
                  </a:lnTo>
                  <a:lnTo>
                    <a:pt x="263" y="897"/>
                  </a:lnTo>
                  <a:lnTo>
                    <a:pt x="269" y="898"/>
                  </a:lnTo>
                  <a:lnTo>
                    <a:pt x="275" y="897"/>
                  </a:lnTo>
                  <a:lnTo>
                    <a:pt x="281" y="896"/>
                  </a:lnTo>
                  <a:lnTo>
                    <a:pt x="287" y="895"/>
                  </a:lnTo>
                  <a:lnTo>
                    <a:pt x="292" y="893"/>
                  </a:lnTo>
                  <a:lnTo>
                    <a:pt x="297" y="890"/>
                  </a:lnTo>
                  <a:lnTo>
                    <a:pt x="303" y="887"/>
                  </a:lnTo>
                  <a:lnTo>
                    <a:pt x="307" y="884"/>
                  </a:lnTo>
                  <a:lnTo>
                    <a:pt x="311" y="880"/>
                  </a:lnTo>
                  <a:lnTo>
                    <a:pt x="315" y="875"/>
                  </a:lnTo>
                  <a:lnTo>
                    <a:pt x="319" y="871"/>
                  </a:lnTo>
                  <a:lnTo>
                    <a:pt x="322" y="866"/>
                  </a:lnTo>
                  <a:lnTo>
                    <a:pt x="324" y="860"/>
                  </a:lnTo>
                  <a:lnTo>
                    <a:pt x="326" y="855"/>
                  </a:lnTo>
                  <a:lnTo>
                    <a:pt x="327" y="850"/>
                  </a:lnTo>
                  <a:lnTo>
                    <a:pt x="328" y="843"/>
                  </a:lnTo>
                  <a:lnTo>
                    <a:pt x="329" y="838"/>
                  </a:lnTo>
                  <a:lnTo>
                    <a:pt x="329" y="828"/>
                  </a:lnTo>
                  <a:lnTo>
                    <a:pt x="333" y="821"/>
                  </a:lnTo>
                  <a:lnTo>
                    <a:pt x="337" y="813"/>
                  </a:lnTo>
                  <a:lnTo>
                    <a:pt x="342" y="806"/>
                  </a:lnTo>
                  <a:lnTo>
                    <a:pt x="349" y="800"/>
                  </a:lnTo>
                  <a:lnTo>
                    <a:pt x="356" y="796"/>
                  </a:lnTo>
                  <a:lnTo>
                    <a:pt x="365" y="794"/>
                  </a:lnTo>
                  <a:lnTo>
                    <a:pt x="374" y="793"/>
                  </a:lnTo>
                  <a:lnTo>
                    <a:pt x="383" y="794"/>
                  </a:lnTo>
                  <a:lnTo>
                    <a:pt x="392" y="796"/>
                  </a:lnTo>
                  <a:lnTo>
                    <a:pt x="399" y="800"/>
                  </a:lnTo>
                  <a:lnTo>
                    <a:pt x="405" y="806"/>
                  </a:lnTo>
                  <a:lnTo>
                    <a:pt x="411" y="813"/>
                  </a:lnTo>
                  <a:lnTo>
                    <a:pt x="415" y="821"/>
                  </a:lnTo>
                  <a:lnTo>
                    <a:pt x="418" y="828"/>
                  </a:lnTo>
                  <a:lnTo>
                    <a:pt x="418" y="838"/>
                  </a:lnTo>
                  <a:lnTo>
                    <a:pt x="419" y="843"/>
                  </a:lnTo>
                  <a:lnTo>
                    <a:pt x="420" y="850"/>
                  </a:lnTo>
                  <a:lnTo>
                    <a:pt x="421" y="855"/>
                  </a:lnTo>
                  <a:lnTo>
                    <a:pt x="424" y="860"/>
                  </a:lnTo>
                  <a:lnTo>
                    <a:pt x="426" y="866"/>
                  </a:lnTo>
                  <a:lnTo>
                    <a:pt x="429" y="871"/>
                  </a:lnTo>
                  <a:lnTo>
                    <a:pt x="432" y="875"/>
                  </a:lnTo>
                  <a:lnTo>
                    <a:pt x="436" y="880"/>
                  </a:lnTo>
                  <a:lnTo>
                    <a:pt x="441" y="884"/>
                  </a:lnTo>
                  <a:lnTo>
                    <a:pt x="445" y="887"/>
                  </a:lnTo>
                  <a:lnTo>
                    <a:pt x="450" y="890"/>
                  </a:lnTo>
                  <a:lnTo>
                    <a:pt x="456" y="893"/>
                  </a:lnTo>
                  <a:lnTo>
                    <a:pt x="461" y="895"/>
                  </a:lnTo>
                  <a:lnTo>
                    <a:pt x="466" y="896"/>
                  </a:lnTo>
                  <a:lnTo>
                    <a:pt x="473" y="897"/>
                  </a:lnTo>
                  <a:lnTo>
                    <a:pt x="478" y="898"/>
                  </a:lnTo>
                  <a:lnTo>
                    <a:pt x="485" y="897"/>
                  </a:lnTo>
                  <a:lnTo>
                    <a:pt x="491" y="896"/>
                  </a:lnTo>
                  <a:lnTo>
                    <a:pt x="496" y="895"/>
                  </a:lnTo>
                  <a:lnTo>
                    <a:pt x="502" y="893"/>
                  </a:lnTo>
                  <a:lnTo>
                    <a:pt x="507" y="890"/>
                  </a:lnTo>
                  <a:lnTo>
                    <a:pt x="512" y="887"/>
                  </a:lnTo>
                  <a:lnTo>
                    <a:pt x="517" y="884"/>
                  </a:lnTo>
                  <a:lnTo>
                    <a:pt x="521" y="880"/>
                  </a:lnTo>
                  <a:lnTo>
                    <a:pt x="525" y="875"/>
                  </a:lnTo>
                  <a:lnTo>
                    <a:pt x="529" y="871"/>
                  </a:lnTo>
                  <a:lnTo>
                    <a:pt x="532" y="866"/>
                  </a:lnTo>
                  <a:lnTo>
                    <a:pt x="534" y="860"/>
                  </a:lnTo>
                  <a:lnTo>
                    <a:pt x="536" y="855"/>
                  </a:lnTo>
                  <a:lnTo>
                    <a:pt x="537" y="850"/>
                  </a:lnTo>
                  <a:lnTo>
                    <a:pt x="538" y="843"/>
                  </a:lnTo>
                  <a:lnTo>
                    <a:pt x="538" y="838"/>
                  </a:lnTo>
                  <a:lnTo>
                    <a:pt x="539" y="828"/>
                  </a:lnTo>
                  <a:lnTo>
                    <a:pt x="542" y="821"/>
                  </a:lnTo>
                  <a:lnTo>
                    <a:pt x="546" y="813"/>
                  </a:lnTo>
                  <a:lnTo>
                    <a:pt x="552" y="806"/>
                  </a:lnTo>
                  <a:lnTo>
                    <a:pt x="559" y="800"/>
                  </a:lnTo>
                  <a:lnTo>
                    <a:pt x="566" y="796"/>
                  </a:lnTo>
                  <a:lnTo>
                    <a:pt x="575" y="794"/>
                  </a:lnTo>
                  <a:lnTo>
                    <a:pt x="583" y="793"/>
                  </a:lnTo>
                  <a:lnTo>
                    <a:pt x="593" y="794"/>
                  </a:lnTo>
                  <a:lnTo>
                    <a:pt x="601" y="796"/>
                  </a:lnTo>
                  <a:lnTo>
                    <a:pt x="609" y="800"/>
                  </a:lnTo>
                  <a:lnTo>
                    <a:pt x="615" y="806"/>
                  </a:lnTo>
                  <a:lnTo>
                    <a:pt x="621" y="813"/>
                  </a:lnTo>
                  <a:lnTo>
                    <a:pt x="625" y="821"/>
                  </a:lnTo>
                  <a:lnTo>
                    <a:pt x="627" y="828"/>
                  </a:lnTo>
                  <a:lnTo>
                    <a:pt x="628" y="838"/>
                  </a:lnTo>
                  <a:lnTo>
                    <a:pt x="628" y="843"/>
                  </a:lnTo>
                  <a:lnTo>
                    <a:pt x="629" y="850"/>
                  </a:lnTo>
                  <a:lnTo>
                    <a:pt x="631" y="855"/>
                  </a:lnTo>
                  <a:lnTo>
                    <a:pt x="633" y="860"/>
                  </a:lnTo>
                  <a:lnTo>
                    <a:pt x="636" y="866"/>
                  </a:lnTo>
                  <a:lnTo>
                    <a:pt x="639" y="871"/>
                  </a:lnTo>
                  <a:lnTo>
                    <a:pt x="642" y="875"/>
                  </a:lnTo>
                  <a:lnTo>
                    <a:pt x="646" y="880"/>
                  </a:lnTo>
                  <a:lnTo>
                    <a:pt x="651" y="884"/>
                  </a:lnTo>
                  <a:lnTo>
                    <a:pt x="655" y="887"/>
                  </a:lnTo>
                  <a:lnTo>
                    <a:pt x="659" y="890"/>
                  </a:lnTo>
                  <a:lnTo>
                    <a:pt x="665" y="893"/>
                  </a:lnTo>
                  <a:lnTo>
                    <a:pt x="670" y="895"/>
                  </a:lnTo>
                  <a:lnTo>
                    <a:pt x="676" y="896"/>
                  </a:lnTo>
                  <a:lnTo>
                    <a:pt x="682" y="897"/>
                  </a:lnTo>
                  <a:lnTo>
                    <a:pt x="688" y="898"/>
                  </a:lnTo>
                  <a:lnTo>
                    <a:pt x="694" y="897"/>
                  </a:lnTo>
                  <a:lnTo>
                    <a:pt x="700" y="896"/>
                  </a:lnTo>
                  <a:lnTo>
                    <a:pt x="706" y="895"/>
                  </a:lnTo>
                  <a:lnTo>
                    <a:pt x="712" y="893"/>
                  </a:lnTo>
                  <a:lnTo>
                    <a:pt x="717" y="890"/>
                  </a:lnTo>
                  <a:lnTo>
                    <a:pt x="721" y="887"/>
                  </a:lnTo>
                  <a:lnTo>
                    <a:pt x="727" y="884"/>
                  </a:lnTo>
                  <a:lnTo>
                    <a:pt x="731" y="880"/>
                  </a:lnTo>
                  <a:lnTo>
                    <a:pt x="734" y="875"/>
                  </a:lnTo>
                  <a:lnTo>
                    <a:pt x="737" y="871"/>
                  </a:lnTo>
                  <a:lnTo>
                    <a:pt x="741" y="866"/>
                  </a:lnTo>
                  <a:lnTo>
                    <a:pt x="744" y="860"/>
                  </a:lnTo>
                  <a:lnTo>
                    <a:pt x="746" y="855"/>
                  </a:lnTo>
                  <a:lnTo>
                    <a:pt x="747" y="850"/>
                  </a:lnTo>
                  <a:lnTo>
                    <a:pt x="748" y="843"/>
                  </a:lnTo>
                  <a:lnTo>
                    <a:pt x="748" y="838"/>
                  </a:lnTo>
                  <a:lnTo>
                    <a:pt x="748" y="835"/>
                  </a:lnTo>
                  <a:lnTo>
                    <a:pt x="747" y="833"/>
                  </a:lnTo>
                  <a:lnTo>
                    <a:pt x="746" y="829"/>
                  </a:lnTo>
                  <a:lnTo>
                    <a:pt x="744" y="827"/>
                  </a:lnTo>
                  <a:lnTo>
                    <a:pt x="742" y="825"/>
                  </a:lnTo>
                  <a:lnTo>
                    <a:pt x="738" y="824"/>
                  </a:lnTo>
                  <a:lnTo>
                    <a:pt x="736" y="823"/>
                  </a:lnTo>
                  <a:lnTo>
                    <a:pt x="733" y="8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59122123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Rectangle 121">
            <a:extLst>
              <a:ext uri="{FF2B5EF4-FFF2-40B4-BE49-F238E27FC236}">
                <a16:creationId xmlns:a16="http://schemas.microsoft.com/office/drawing/2014/main" id="{26519E81-C48F-4DC1-8447-5AA3137BE5EE}"/>
              </a:ext>
            </a:extLst>
          </p:cNvPr>
          <p:cNvSpPr/>
          <p:nvPr/>
        </p:nvSpPr>
        <p:spPr>
          <a:xfrm>
            <a:off x="6553200" y="260191"/>
            <a:ext cx="5638800" cy="6850560"/>
          </a:xfrm>
          <a:prstGeom prst="rect">
            <a:avLst/>
          </a:prstGeom>
          <a:solidFill>
            <a:srgbClr val="DCEC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4A23E82-4ADA-4290-A732-46C59CED37BE}"/>
              </a:ext>
            </a:extLst>
          </p:cNvPr>
          <p:cNvSpPr/>
          <p:nvPr/>
        </p:nvSpPr>
        <p:spPr>
          <a:xfrm>
            <a:off x="7064944" y="848715"/>
            <a:ext cx="4513667" cy="258532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With a full team of designers, we produce hundreds of thousands of slides each year, in dozens of languages, for thousands of clients around the world.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14E8360-63F3-4F18-817E-6FBC4551EF0D}"/>
              </a:ext>
            </a:extLst>
          </p:cNvPr>
          <p:cNvSpPr/>
          <p:nvPr/>
        </p:nvSpPr>
        <p:spPr>
          <a:xfrm>
            <a:off x="7064944" y="3685471"/>
            <a:ext cx="3307591" cy="147732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468DC3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Get Started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298F209-5475-4EE8-82B8-E06B477AE492}"/>
              </a:ext>
            </a:extLst>
          </p:cNvPr>
          <p:cNvGrpSpPr/>
          <p:nvPr/>
        </p:nvGrpSpPr>
        <p:grpSpPr>
          <a:xfrm>
            <a:off x="495298" y="500591"/>
            <a:ext cx="5543552" cy="5949434"/>
            <a:chOff x="371248" y="367458"/>
            <a:chExt cx="5791652" cy="6215699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CD845A77-C33E-4B0F-92C8-5FF58F25D5BB}"/>
                </a:ext>
              </a:extLst>
            </p:cNvPr>
            <p:cNvGrpSpPr/>
            <p:nvPr/>
          </p:nvGrpSpPr>
          <p:grpSpPr>
            <a:xfrm>
              <a:off x="383468" y="2256268"/>
              <a:ext cx="5779430" cy="1621673"/>
              <a:chOff x="392993" y="2284440"/>
              <a:chExt cx="5779430" cy="1621673"/>
            </a:xfrm>
          </p:grpSpPr>
          <p:pic>
            <p:nvPicPr>
              <p:cNvPr id="40" name="Picture 39">
                <a:extLst>
                  <a:ext uri="{FF2B5EF4-FFF2-40B4-BE49-F238E27FC236}">
                    <a16:creationId xmlns:a16="http://schemas.microsoft.com/office/drawing/2014/main" id="{E5A8486D-6564-4EC8-AC45-70E000CC592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435" t="7099" r="67646" b="5151"/>
              <a:stretch/>
            </p:blipFill>
            <p:spPr>
              <a:xfrm>
                <a:off x="392993" y="2284440"/>
                <a:ext cx="1425080" cy="1412810"/>
              </a:xfrm>
              <a:custGeom>
                <a:avLst/>
                <a:gdLst>
                  <a:gd name="connsiteX0" fmla="*/ 0 w 1425080"/>
                  <a:gd name="connsiteY0" fmla="*/ 0 h 1412810"/>
                  <a:gd name="connsiteX1" fmla="*/ 1425080 w 1425080"/>
                  <a:gd name="connsiteY1" fmla="*/ 0 h 1412810"/>
                  <a:gd name="connsiteX2" fmla="*/ 1425080 w 1425080"/>
                  <a:gd name="connsiteY2" fmla="*/ 1412810 h 1412810"/>
                  <a:gd name="connsiteX3" fmla="*/ 0 w 1425080"/>
                  <a:gd name="connsiteY3" fmla="*/ 1412810 h 14128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25080" h="1412810">
                    <a:moveTo>
                      <a:pt x="0" y="0"/>
                    </a:moveTo>
                    <a:lnTo>
                      <a:pt x="1425080" y="0"/>
                    </a:lnTo>
                    <a:lnTo>
                      <a:pt x="1425080" y="1412810"/>
                    </a:lnTo>
                    <a:lnTo>
                      <a:pt x="0" y="1412810"/>
                    </a:lnTo>
                    <a:close/>
                  </a:path>
                </a:pathLst>
              </a:custGeom>
            </p:spPr>
          </p:pic>
          <p:pic>
            <p:nvPicPr>
              <p:cNvPr id="38" name="Picture 37">
                <a:extLst>
                  <a:ext uri="{FF2B5EF4-FFF2-40B4-BE49-F238E27FC236}">
                    <a16:creationId xmlns:a16="http://schemas.microsoft.com/office/drawing/2014/main" id="{4B3E1175-FC7B-4851-8C36-C1A36B45F86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2987" t="13143" r="-2475" b="8671"/>
              <a:stretch/>
            </p:blipFill>
            <p:spPr>
              <a:xfrm>
                <a:off x="1797650" y="2297936"/>
                <a:ext cx="4374773" cy="1608177"/>
              </a:xfrm>
              <a:custGeom>
                <a:avLst/>
                <a:gdLst>
                  <a:gd name="connsiteX0" fmla="*/ 0 w 4374773"/>
                  <a:gd name="connsiteY0" fmla="*/ 0 h 1741864"/>
                  <a:gd name="connsiteX1" fmla="*/ 4374773 w 4374773"/>
                  <a:gd name="connsiteY1" fmla="*/ 0 h 1741864"/>
                  <a:gd name="connsiteX2" fmla="*/ 4374773 w 4374773"/>
                  <a:gd name="connsiteY2" fmla="*/ 1741864 h 1741864"/>
                  <a:gd name="connsiteX3" fmla="*/ 0 w 4374773"/>
                  <a:gd name="connsiteY3" fmla="*/ 1741864 h 1741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74773" h="1741864">
                    <a:moveTo>
                      <a:pt x="0" y="0"/>
                    </a:moveTo>
                    <a:lnTo>
                      <a:pt x="4374773" y="0"/>
                    </a:lnTo>
                    <a:lnTo>
                      <a:pt x="4374773" y="1741864"/>
                    </a:lnTo>
                    <a:lnTo>
                      <a:pt x="0" y="1741864"/>
                    </a:lnTo>
                    <a:close/>
                  </a:path>
                </a:pathLst>
              </a:custGeom>
            </p:spPr>
          </p:pic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3264E504-EEA2-4C9F-B38C-F1B0FEEF4CAC}"/>
                </a:ext>
              </a:extLst>
            </p:cNvPr>
            <p:cNvGrpSpPr/>
            <p:nvPr/>
          </p:nvGrpSpPr>
          <p:grpSpPr>
            <a:xfrm>
              <a:off x="383467" y="367458"/>
              <a:ext cx="5779433" cy="1528842"/>
              <a:chOff x="392992" y="527185"/>
              <a:chExt cx="5779433" cy="1528842"/>
            </a:xfrm>
          </p:grpSpPr>
          <p:pic>
            <p:nvPicPr>
              <p:cNvPr id="68" name="Picture 67">
                <a:extLst>
                  <a:ext uri="{FF2B5EF4-FFF2-40B4-BE49-F238E27FC236}">
                    <a16:creationId xmlns:a16="http://schemas.microsoft.com/office/drawing/2014/main" id="{1B273EAB-7E0C-4A47-9226-FC530BF43B0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5468" t="-6003" r="66869" b="-3962"/>
              <a:stretch/>
            </p:blipFill>
            <p:spPr>
              <a:xfrm>
                <a:off x="392992" y="527185"/>
                <a:ext cx="1425080" cy="1412811"/>
              </a:xfrm>
              <a:custGeom>
                <a:avLst/>
                <a:gdLst>
                  <a:gd name="connsiteX0" fmla="*/ 0 w 917575"/>
                  <a:gd name="connsiteY0" fmla="*/ 0 h 909675"/>
                  <a:gd name="connsiteX1" fmla="*/ 917575 w 917575"/>
                  <a:gd name="connsiteY1" fmla="*/ 0 h 909675"/>
                  <a:gd name="connsiteX2" fmla="*/ 917575 w 917575"/>
                  <a:gd name="connsiteY2" fmla="*/ 909675 h 909675"/>
                  <a:gd name="connsiteX3" fmla="*/ 0 w 917575"/>
                  <a:gd name="connsiteY3" fmla="*/ 909675 h 909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7575" h="909675">
                    <a:moveTo>
                      <a:pt x="0" y="0"/>
                    </a:moveTo>
                    <a:lnTo>
                      <a:pt x="917575" y="0"/>
                    </a:lnTo>
                    <a:lnTo>
                      <a:pt x="917575" y="909675"/>
                    </a:lnTo>
                    <a:lnTo>
                      <a:pt x="0" y="909675"/>
                    </a:lnTo>
                    <a:close/>
                  </a:path>
                </a:pathLst>
              </a:custGeom>
            </p:spPr>
          </p:pic>
          <p:pic>
            <p:nvPicPr>
              <p:cNvPr id="63" name="Picture 62">
                <a:extLst>
                  <a:ext uri="{FF2B5EF4-FFF2-40B4-BE49-F238E27FC236}">
                    <a16:creationId xmlns:a16="http://schemas.microsoft.com/office/drawing/2014/main" id="{EB88A6E0-C2AC-4059-820F-FC3B91E21A2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3956" t="4006" r="2305" b="6680"/>
              <a:stretch/>
            </p:blipFill>
            <p:spPr>
              <a:xfrm>
                <a:off x="1797651" y="527185"/>
                <a:ext cx="4374774" cy="1528842"/>
              </a:xfrm>
              <a:custGeom>
                <a:avLst/>
                <a:gdLst>
                  <a:gd name="connsiteX0" fmla="*/ 0 w 4095065"/>
                  <a:gd name="connsiteY0" fmla="*/ 0 h 909675"/>
                  <a:gd name="connsiteX1" fmla="*/ 4095065 w 4095065"/>
                  <a:gd name="connsiteY1" fmla="*/ 0 h 909675"/>
                  <a:gd name="connsiteX2" fmla="*/ 4095065 w 4095065"/>
                  <a:gd name="connsiteY2" fmla="*/ 909675 h 909675"/>
                  <a:gd name="connsiteX3" fmla="*/ 0 w 4095065"/>
                  <a:gd name="connsiteY3" fmla="*/ 909675 h 909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095065" h="909675">
                    <a:moveTo>
                      <a:pt x="0" y="0"/>
                    </a:moveTo>
                    <a:lnTo>
                      <a:pt x="4095065" y="0"/>
                    </a:lnTo>
                    <a:lnTo>
                      <a:pt x="4095065" y="909675"/>
                    </a:lnTo>
                    <a:lnTo>
                      <a:pt x="0" y="909675"/>
                    </a:lnTo>
                    <a:close/>
                  </a:path>
                </a:pathLst>
              </a:custGeom>
            </p:spPr>
          </p:pic>
        </p:grp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C6A72FD5-B3CB-4D7F-8642-AD1B2BE936F6}"/>
                </a:ext>
              </a:extLst>
            </p:cNvPr>
            <p:cNvGrpSpPr/>
            <p:nvPr/>
          </p:nvGrpSpPr>
          <p:grpSpPr>
            <a:xfrm>
              <a:off x="401564" y="4237908"/>
              <a:ext cx="5743239" cy="2345249"/>
              <a:chOff x="411089" y="4191148"/>
              <a:chExt cx="5743239" cy="2345249"/>
            </a:xfrm>
          </p:grpSpPr>
          <p:pic>
            <p:nvPicPr>
              <p:cNvPr id="66" name="Picture 65">
                <a:extLst>
                  <a:ext uri="{FF2B5EF4-FFF2-40B4-BE49-F238E27FC236}">
                    <a16:creationId xmlns:a16="http://schemas.microsoft.com/office/drawing/2014/main" id="{22BFEC5D-EDEB-4EE8-8037-3E3F984559B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2768" t="9595" r="-1553" b="5072"/>
              <a:stretch/>
            </p:blipFill>
            <p:spPr>
              <a:xfrm>
                <a:off x="1779555" y="4191148"/>
                <a:ext cx="4374773" cy="2345249"/>
              </a:xfrm>
              <a:custGeom>
                <a:avLst/>
                <a:gdLst>
                  <a:gd name="connsiteX0" fmla="*/ 0 w 4095065"/>
                  <a:gd name="connsiteY0" fmla="*/ 0 h 909675"/>
                  <a:gd name="connsiteX1" fmla="*/ 4095065 w 4095065"/>
                  <a:gd name="connsiteY1" fmla="*/ 0 h 909675"/>
                  <a:gd name="connsiteX2" fmla="*/ 4095065 w 4095065"/>
                  <a:gd name="connsiteY2" fmla="*/ 909675 h 909675"/>
                  <a:gd name="connsiteX3" fmla="*/ 0 w 4095065"/>
                  <a:gd name="connsiteY3" fmla="*/ 909675 h 909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095065" h="909675">
                    <a:moveTo>
                      <a:pt x="0" y="0"/>
                    </a:moveTo>
                    <a:lnTo>
                      <a:pt x="4095065" y="0"/>
                    </a:lnTo>
                    <a:lnTo>
                      <a:pt x="4095065" y="909675"/>
                    </a:lnTo>
                    <a:lnTo>
                      <a:pt x="0" y="909675"/>
                    </a:lnTo>
                    <a:close/>
                  </a:path>
                </a:pathLst>
              </a:custGeom>
            </p:spPr>
          </p:pic>
          <p:pic>
            <p:nvPicPr>
              <p:cNvPr id="74" name="Picture 73">
                <a:extLst>
                  <a:ext uri="{FF2B5EF4-FFF2-40B4-BE49-F238E27FC236}">
                    <a16:creationId xmlns:a16="http://schemas.microsoft.com/office/drawing/2014/main" id="{C809BBA1-2476-435D-9D8F-C8B938E8EE1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159" t="3031" r="67137" b="28821"/>
              <a:stretch/>
            </p:blipFill>
            <p:spPr>
              <a:xfrm>
                <a:off x="411089" y="4298666"/>
                <a:ext cx="1425082" cy="1412811"/>
              </a:xfrm>
              <a:custGeom>
                <a:avLst/>
                <a:gdLst>
                  <a:gd name="connsiteX0" fmla="*/ 0 w 917575"/>
                  <a:gd name="connsiteY0" fmla="*/ 0 h 909675"/>
                  <a:gd name="connsiteX1" fmla="*/ 917575 w 917575"/>
                  <a:gd name="connsiteY1" fmla="*/ 0 h 909675"/>
                  <a:gd name="connsiteX2" fmla="*/ 917575 w 917575"/>
                  <a:gd name="connsiteY2" fmla="*/ 909675 h 909675"/>
                  <a:gd name="connsiteX3" fmla="*/ 0 w 917575"/>
                  <a:gd name="connsiteY3" fmla="*/ 909675 h 909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7575" h="909675">
                    <a:moveTo>
                      <a:pt x="0" y="0"/>
                    </a:moveTo>
                    <a:lnTo>
                      <a:pt x="917575" y="0"/>
                    </a:lnTo>
                    <a:lnTo>
                      <a:pt x="917575" y="909675"/>
                    </a:lnTo>
                    <a:lnTo>
                      <a:pt x="0" y="909675"/>
                    </a:lnTo>
                    <a:close/>
                  </a:path>
                </a:pathLst>
              </a:custGeom>
            </p:spPr>
          </p:pic>
        </p:grp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51050D9D-4058-4D45-A51D-AB2BBB5F8A79}"/>
                </a:ext>
              </a:extLst>
            </p:cNvPr>
            <p:cNvCxnSpPr>
              <a:cxnSpLocks/>
            </p:cNvCxnSpPr>
            <p:nvPr/>
          </p:nvCxnSpPr>
          <p:spPr>
            <a:xfrm>
              <a:off x="371248" y="4057925"/>
              <a:ext cx="579015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61D2AF1F-4132-440F-9D32-9AF207CE1448}"/>
                </a:ext>
              </a:extLst>
            </p:cNvPr>
            <p:cNvCxnSpPr>
              <a:cxnSpLocks/>
            </p:cNvCxnSpPr>
            <p:nvPr/>
          </p:nvCxnSpPr>
          <p:spPr>
            <a:xfrm>
              <a:off x="371248" y="2076284"/>
              <a:ext cx="579015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56FB6ED9-4944-4C39-B3F1-D940C9ED2E39}"/>
              </a:ext>
            </a:extLst>
          </p:cNvPr>
          <p:cNvGrpSpPr/>
          <p:nvPr/>
        </p:nvGrpSpPr>
        <p:grpSpPr>
          <a:xfrm>
            <a:off x="10928712" y="6378850"/>
            <a:ext cx="947290" cy="270982"/>
            <a:chOff x="4103688" y="-2378075"/>
            <a:chExt cx="1309687" cy="374650"/>
          </a:xfrm>
          <a:solidFill>
            <a:srgbClr val="468DC3"/>
          </a:solidFill>
        </p:grpSpPr>
        <p:sp>
          <p:nvSpPr>
            <p:cNvPr id="93" name="Freeform 254">
              <a:extLst>
                <a:ext uri="{FF2B5EF4-FFF2-40B4-BE49-F238E27FC236}">
                  <a16:creationId xmlns:a16="http://schemas.microsoft.com/office/drawing/2014/main" id="{73820BC4-C177-49E8-B574-9F605AACCC1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3688" y="-2374900"/>
              <a:ext cx="182562" cy="288925"/>
            </a:xfrm>
            <a:custGeom>
              <a:avLst/>
              <a:gdLst>
                <a:gd name="T0" fmla="*/ 43 w 61"/>
                <a:gd name="T1" fmla="*/ 47 h 95"/>
                <a:gd name="T2" fmla="*/ 30 w 61"/>
                <a:gd name="T3" fmla="*/ 55 h 95"/>
                <a:gd name="T4" fmla="*/ 11 w 61"/>
                <a:gd name="T5" fmla="*/ 83 h 95"/>
                <a:gd name="T6" fmla="*/ 11 w 61"/>
                <a:gd name="T7" fmla="*/ 85 h 95"/>
                <a:gd name="T8" fmla="*/ 57 w 61"/>
                <a:gd name="T9" fmla="*/ 85 h 95"/>
                <a:gd name="T10" fmla="*/ 60 w 61"/>
                <a:gd name="T11" fmla="*/ 88 h 95"/>
                <a:gd name="T12" fmla="*/ 60 w 61"/>
                <a:gd name="T13" fmla="*/ 93 h 95"/>
                <a:gd name="T14" fmla="*/ 57 w 61"/>
                <a:gd name="T15" fmla="*/ 95 h 95"/>
                <a:gd name="T16" fmla="*/ 3 w 61"/>
                <a:gd name="T17" fmla="*/ 95 h 95"/>
                <a:gd name="T18" fmla="*/ 0 w 61"/>
                <a:gd name="T19" fmla="*/ 93 h 95"/>
                <a:gd name="T20" fmla="*/ 0 w 61"/>
                <a:gd name="T21" fmla="*/ 83 h 95"/>
                <a:gd name="T22" fmla="*/ 21 w 61"/>
                <a:gd name="T23" fmla="*/ 49 h 95"/>
                <a:gd name="T24" fmla="*/ 35 w 61"/>
                <a:gd name="T25" fmla="*/ 40 h 95"/>
                <a:gd name="T26" fmla="*/ 49 w 61"/>
                <a:gd name="T27" fmla="*/ 22 h 95"/>
                <a:gd name="T28" fmla="*/ 28 w 61"/>
                <a:gd name="T29" fmla="*/ 9 h 95"/>
                <a:gd name="T30" fmla="*/ 4 w 61"/>
                <a:gd name="T31" fmla="*/ 11 h 95"/>
                <a:gd name="T32" fmla="*/ 3 w 61"/>
                <a:gd name="T33" fmla="*/ 11 h 95"/>
                <a:gd name="T34" fmla="*/ 1 w 61"/>
                <a:gd name="T35" fmla="*/ 9 h 95"/>
                <a:gd name="T36" fmla="*/ 1 w 61"/>
                <a:gd name="T37" fmla="*/ 4 h 95"/>
                <a:gd name="T38" fmla="*/ 4 w 61"/>
                <a:gd name="T39" fmla="*/ 2 h 95"/>
                <a:gd name="T40" fmla="*/ 28 w 61"/>
                <a:gd name="T41" fmla="*/ 0 h 95"/>
                <a:gd name="T42" fmla="*/ 61 w 61"/>
                <a:gd name="T43" fmla="*/ 22 h 95"/>
                <a:gd name="T44" fmla="*/ 43 w 61"/>
                <a:gd name="T45" fmla="*/ 47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1" h="95">
                  <a:moveTo>
                    <a:pt x="43" y="47"/>
                  </a:moveTo>
                  <a:cubicBezTo>
                    <a:pt x="30" y="55"/>
                    <a:pt x="30" y="55"/>
                    <a:pt x="30" y="55"/>
                  </a:cubicBezTo>
                  <a:cubicBezTo>
                    <a:pt x="15" y="65"/>
                    <a:pt x="11" y="72"/>
                    <a:pt x="11" y="83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59" y="85"/>
                    <a:pt x="60" y="86"/>
                    <a:pt x="60" y="88"/>
                  </a:cubicBezTo>
                  <a:cubicBezTo>
                    <a:pt x="60" y="93"/>
                    <a:pt x="60" y="93"/>
                    <a:pt x="60" y="93"/>
                  </a:cubicBezTo>
                  <a:cubicBezTo>
                    <a:pt x="60" y="95"/>
                    <a:pt x="59" y="95"/>
                    <a:pt x="57" y="95"/>
                  </a:cubicBezTo>
                  <a:cubicBezTo>
                    <a:pt x="3" y="95"/>
                    <a:pt x="3" y="95"/>
                    <a:pt x="3" y="95"/>
                  </a:cubicBezTo>
                  <a:cubicBezTo>
                    <a:pt x="1" y="95"/>
                    <a:pt x="0" y="94"/>
                    <a:pt x="0" y="93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69"/>
                    <a:pt x="6" y="58"/>
                    <a:pt x="21" y="49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46" y="33"/>
                    <a:pt x="49" y="30"/>
                    <a:pt x="49" y="22"/>
                  </a:cubicBezTo>
                  <a:cubicBezTo>
                    <a:pt x="49" y="13"/>
                    <a:pt x="43" y="9"/>
                    <a:pt x="28" y="9"/>
                  </a:cubicBezTo>
                  <a:cubicBezTo>
                    <a:pt x="21" y="9"/>
                    <a:pt x="12" y="10"/>
                    <a:pt x="4" y="11"/>
                  </a:cubicBezTo>
                  <a:cubicBezTo>
                    <a:pt x="4" y="11"/>
                    <a:pt x="4" y="11"/>
                    <a:pt x="3" y="11"/>
                  </a:cubicBezTo>
                  <a:cubicBezTo>
                    <a:pt x="2" y="11"/>
                    <a:pt x="1" y="10"/>
                    <a:pt x="1" y="9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3"/>
                    <a:pt x="3" y="2"/>
                    <a:pt x="4" y="2"/>
                  </a:cubicBezTo>
                  <a:cubicBezTo>
                    <a:pt x="11" y="0"/>
                    <a:pt x="20" y="0"/>
                    <a:pt x="28" y="0"/>
                  </a:cubicBezTo>
                  <a:cubicBezTo>
                    <a:pt x="51" y="0"/>
                    <a:pt x="61" y="7"/>
                    <a:pt x="61" y="22"/>
                  </a:cubicBezTo>
                  <a:cubicBezTo>
                    <a:pt x="61" y="33"/>
                    <a:pt x="56" y="39"/>
                    <a:pt x="43" y="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4" name="Freeform 255">
              <a:extLst>
                <a:ext uri="{FF2B5EF4-FFF2-40B4-BE49-F238E27FC236}">
                  <a16:creationId xmlns:a16="http://schemas.microsoft.com/office/drawing/2014/main" id="{137DFC2F-F31C-415D-BC34-733E075AE5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08463" y="-2308225"/>
              <a:ext cx="211137" cy="304800"/>
            </a:xfrm>
            <a:custGeom>
              <a:avLst/>
              <a:gdLst>
                <a:gd name="T0" fmla="*/ 68 w 70"/>
                <a:gd name="T1" fmla="*/ 74 h 100"/>
                <a:gd name="T2" fmla="*/ 56 w 70"/>
                <a:gd name="T3" fmla="*/ 74 h 100"/>
                <a:gd name="T4" fmla="*/ 56 w 70"/>
                <a:gd name="T5" fmla="*/ 98 h 100"/>
                <a:gd name="T6" fmla="*/ 54 w 70"/>
                <a:gd name="T7" fmla="*/ 100 h 100"/>
                <a:gd name="T8" fmla="*/ 46 w 70"/>
                <a:gd name="T9" fmla="*/ 100 h 100"/>
                <a:gd name="T10" fmla="*/ 44 w 70"/>
                <a:gd name="T11" fmla="*/ 98 h 100"/>
                <a:gd name="T12" fmla="*/ 44 w 70"/>
                <a:gd name="T13" fmla="*/ 74 h 100"/>
                <a:gd name="T14" fmla="*/ 5 w 70"/>
                <a:gd name="T15" fmla="*/ 74 h 100"/>
                <a:gd name="T16" fmla="*/ 0 w 70"/>
                <a:gd name="T17" fmla="*/ 68 h 100"/>
                <a:gd name="T18" fmla="*/ 0 w 70"/>
                <a:gd name="T19" fmla="*/ 63 h 100"/>
                <a:gd name="T20" fmla="*/ 1 w 70"/>
                <a:gd name="T21" fmla="*/ 58 h 100"/>
                <a:gd name="T22" fmla="*/ 41 w 70"/>
                <a:gd name="T23" fmla="*/ 2 h 100"/>
                <a:gd name="T24" fmla="*/ 45 w 70"/>
                <a:gd name="T25" fmla="*/ 0 h 100"/>
                <a:gd name="T26" fmla="*/ 52 w 70"/>
                <a:gd name="T27" fmla="*/ 0 h 100"/>
                <a:gd name="T28" fmla="*/ 56 w 70"/>
                <a:gd name="T29" fmla="*/ 3 h 100"/>
                <a:gd name="T30" fmla="*/ 56 w 70"/>
                <a:gd name="T31" fmla="*/ 63 h 100"/>
                <a:gd name="T32" fmla="*/ 68 w 70"/>
                <a:gd name="T33" fmla="*/ 63 h 100"/>
                <a:gd name="T34" fmla="*/ 70 w 70"/>
                <a:gd name="T35" fmla="*/ 66 h 100"/>
                <a:gd name="T36" fmla="*/ 70 w 70"/>
                <a:gd name="T37" fmla="*/ 71 h 100"/>
                <a:gd name="T38" fmla="*/ 68 w 70"/>
                <a:gd name="T39" fmla="*/ 74 h 100"/>
                <a:gd name="T40" fmla="*/ 44 w 70"/>
                <a:gd name="T41" fmla="*/ 17 h 100"/>
                <a:gd name="T42" fmla="*/ 43 w 70"/>
                <a:gd name="T43" fmla="*/ 17 h 100"/>
                <a:gd name="T44" fmla="*/ 43 w 70"/>
                <a:gd name="T45" fmla="*/ 17 h 100"/>
                <a:gd name="T46" fmla="*/ 42 w 70"/>
                <a:gd name="T47" fmla="*/ 17 h 100"/>
                <a:gd name="T48" fmla="*/ 11 w 70"/>
                <a:gd name="T49" fmla="*/ 61 h 100"/>
                <a:gd name="T50" fmla="*/ 11 w 70"/>
                <a:gd name="T51" fmla="*/ 63 h 100"/>
                <a:gd name="T52" fmla="*/ 12 w 70"/>
                <a:gd name="T53" fmla="*/ 63 h 100"/>
                <a:gd name="T54" fmla="*/ 44 w 70"/>
                <a:gd name="T55" fmla="*/ 63 h 100"/>
                <a:gd name="T56" fmla="*/ 44 w 70"/>
                <a:gd name="T57" fmla="*/ 17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0" h="100">
                  <a:moveTo>
                    <a:pt x="68" y="74"/>
                  </a:moveTo>
                  <a:cubicBezTo>
                    <a:pt x="56" y="74"/>
                    <a:pt x="56" y="74"/>
                    <a:pt x="56" y="74"/>
                  </a:cubicBezTo>
                  <a:cubicBezTo>
                    <a:pt x="56" y="98"/>
                    <a:pt x="56" y="98"/>
                    <a:pt x="56" y="98"/>
                  </a:cubicBezTo>
                  <a:cubicBezTo>
                    <a:pt x="56" y="99"/>
                    <a:pt x="55" y="100"/>
                    <a:pt x="54" y="100"/>
                  </a:cubicBezTo>
                  <a:cubicBezTo>
                    <a:pt x="46" y="100"/>
                    <a:pt x="46" y="100"/>
                    <a:pt x="46" y="100"/>
                  </a:cubicBezTo>
                  <a:cubicBezTo>
                    <a:pt x="44" y="100"/>
                    <a:pt x="44" y="99"/>
                    <a:pt x="44" y="98"/>
                  </a:cubicBezTo>
                  <a:cubicBezTo>
                    <a:pt x="44" y="74"/>
                    <a:pt x="44" y="74"/>
                    <a:pt x="44" y="74"/>
                  </a:cubicBezTo>
                  <a:cubicBezTo>
                    <a:pt x="5" y="74"/>
                    <a:pt x="5" y="74"/>
                    <a:pt x="5" y="74"/>
                  </a:cubicBezTo>
                  <a:cubicBezTo>
                    <a:pt x="1" y="74"/>
                    <a:pt x="0" y="72"/>
                    <a:pt x="0" y="68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1"/>
                    <a:pt x="0" y="60"/>
                    <a:pt x="1" y="58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41" y="1"/>
                    <a:pt x="42" y="0"/>
                    <a:pt x="45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5" y="0"/>
                    <a:pt x="56" y="1"/>
                    <a:pt x="56" y="3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68" y="63"/>
                    <a:pt x="68" y="63"/>
                    <a:pt x="68" y="63"/>
                  </a:cubicBezTo>
                  <a:cubicBezTo>
                    <a:pt x="69" y="63"/>
                    <a:pt x="70" y="64"/>
                    <a:pt x="70" y="66"/>
                  </a:cubicBezTo>
                  <a:cubicBezTo>
                    <a:pt x="70" y="71"/>
                    <a:pt x="70" y="71"/>
                    <a:pt x="70" y="71"/>
                  </a:cubicBezTo>
                  <a:cubicBezTo>
                    <a:pt x="70" y="73"/>
                    <a:pt x="69" y="74"/>
                    <a:pt x="68" y="74"/>
                  </a:cubicBezTo>
                  <a:close/>
                  <a:moveTo>
                    <a:pt x="44" y="17"/>
                  </a:moveTo>
                  <a:cubicBezTo>
                    <a:pt x="44" y="17"/>
                    <a:pt x="44" y="17"/>
                    <a:pt x="43" y="17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3" y="17"/>
                    <a:pt x="42" y="17"/>
                    <a:pt x="42" y="17"/>
                  </a:cubicBezTo>
                  <a:cubicBezTo>
                    <a:pt x="11" y="61"/>
                    <a:pt x="11" y="61"/>
                    <a:pt x="11" y="61"/>
                  </a:cubicBezTo>
                  <a:cubicBezTo>
                    <a:pt x="11" y="62"/>
                    <a:pt x="11" y="62"/>
                    <a:pt x="11" y="63"/>
                  </a:cubicBezTo>
                  <a:cubicBezTo>
                    <a:pt x="11" y="63"/>
                    <a:pt x="11" y="63"/>
                    <a:pt x="12" y="63"/>
                  </a:cubicBezTo>
                  <a:cubicBezTo>
                    <a:pt x="44" y="63"/>
                    <a:pt x="44" y="63"/>
                    <a:pt x="44" y="63"/>
                  </a:cubicBezTo>
                  <a:lnTo>
                    <a:pt x="44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5" name="Freeform 256">
              <a:extLst>
                <a:ext uri="{FF2B5EF4-FFF2-40B4-BE49-F238E27FC236}">
                  <a16:creationId xmlns:a16="http://schemas.microsoft.com/office/drawing/2014/main" id="{2F17AE13-EE80-4D63-86B9-BDDD46D74B7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5025" y="-2374900"/>
              <a:ext cx="34925" cy="292100"/>
            </a:xfrm>
            <a:custGeom>
              <a:avLst/>
              <a:gdLst>
                <a:gd name="T0" fmla="*/ 11 w 12"/>
                <a:gd name="T1" fmla="*/ 95 h 96"/>
                <a:gd name="T2" fmla="*/ 10 w 12"/>
                <a:gd name="T3" fmla="*/ 96 h 96"/>
                <a:gd name="T4" fmla="*/ 3 w 12"/>
                <a:gd name="T5" fmla="*/ 96 h 96"/>
                <a:gd name="T6" fmla="*/ 1 w 12"/>
                <a:gd name="T7" fmla="*/ 95 h 96"/>
                <a:gd name="T8" fmla="*/ 0 w 12"/>
                <a:gd name="T9" fmla="*/ 93 h 96"/>
                <a:gd name="T10" fmla="*/ 0 w 12"/>
                <a:gd name="T11" fmla="*/ 2 h 96"/>
                <a:gd name="T12" fmla="*/ 1 w 12"/>
                <a:gd name="T13" fmla="*/ 1 h 96"/>
                <a:gd name="T14" fmla="*/ 3 w 12"/>
                <a:gd name="T15" fmla="*/ 0 h 96"/>
                <a:gd name="T16" fmla="*/ 10 w 12"/>
                <a:gd name="T17" fmla="*/ 0 h 96"/>
                <a:gd name="T18" fmla="*/ 11 w 12"/>
                <a:gd name="T19" fmla="*/ 1 h 96"/>
                <a:gd name="T20" fmla="*/ 12 w 12"/>
                <a:gd name="T21" fmla="*/ 2 h 96"/>
                <a:gd name="T22" fmla="*/ 12 w 12"/>
                <a:gd name="T23" fmla="*/ 93 h 96"/>
                <a:gd name="T24" fmla="*/ 11 w 12"/>
                <a:gd name="T25" fmla="*/ 9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96">
                  <a:moveTo>
                    <a:pt x="11" y="95"/>
                  </a:moveTo>
                  <a:cubicBezTo>
                    <a:pt x="11" y="95"/>
                    <a:pt x="10" y="96"/>
                    <a:pt x="10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2" y="96"/>
                    <a:pt x="1" y="95"/>
                    <a:pt x="1" y="95"/>
                  </a:cubicBezTo>
                  <a:cubicBezTo>
                    <a:pt x="0" y="94"/>
                    <a:pt x="0" y="94"/>
                    <a:pt x="0" y="9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1" y="0"/>
                    <a:pt x="11" y="1"/>
                  </a:cubicBezTo>
                  <a:cubicBezTo>
                    <a:pt x="12" y="1"/>
                    <a:pt x="12" y="2"/>
                    <a:pt x="12" y="2"/>
                  </a:cubicBezTo>
                  <a:cubicBezTo>
                    <a:pt x="12" y="93"/>
                    <a:pt x="12" y="93"/>
                    <a:pt x="12" y="93"/>
                  </a:cubicBezTo>
                  <a:cubicBezTo>
                    <a:pt x="12" y="94"/>
                    <a:pt x="12" y="94"/>
                    <a:pt x="11" y="9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6" name="Freeform 257">
              <a:extLst>
                <a:ext uri="{FF2B5EF4-FFF2-40B4-BE49-F238E27FC236}">
                  <a16:creationId xmlns:a16="http://schemas.microsoft.com/office/drawing/2014/main" id="{A1B8A2FB-8732-414D-A4E3-094F84A120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43450" y="-2378075"/>
              <a:ext cx="36512" cy="295275"/>
            </a:xfrm>
            <a:custGeom>
              <a:avLst/>
              <a:gdLst>
                <a:gd name="T0" fmla="*/ 11 w 12"/>
                <a:gd name="T1" fmla="*/ 15 h 97"/>
                <a:gd name="T2" fmla="*/ 9 w 12"/>
                <a:gd name="T3" fmla="*/ 15 h 97"/>
                <a:gd name="T4" fmla="*/ 3 w 12"/>
                <a:gd name="T5" fmla="*/ 15 h 97"/>
                <a:gd name="T6" fmla="*/ 1 w 12"/>
                <a:gd name="T7" fmla="*/ 15 h 97"/>
                <a:gd name="T8" fmla="*/ 0 w 12"/>
                <a:gd name="T9" fmla="*/ 13 h 97"/>
                <a:gd name="T10" fmla="*/ 0 w 12"/>
                <a:gd name="T11" fmla="*/ 3 h 97"/>
                <a:gd name="T12" fmla="*/ 1 w 12"/>
                <a:gd name="T13" fmla="*/ 1 h 97"/>
                <a:gd name="T14" fmla="*/ 3 w 12"/>
                <a:gd name="T15" fmla="*/ 0 h 97"/>
                <a:gd name="T16" fmla="*/ 9 w 12"/>
                <a:gd name="T17" fmla="*/ 0 h 97"/>
                <a:gd name="T18" fmla="*/ 11 w 12"/>
                <a:gd name="T19" fmla="*/ 1 h 97"/>
                <a:gd name="T20" fmla="*/ 12 w 12"/>
                <a:gd name="T21" fmla="*/ 3 h 97"/>
                <a:gd name="T22" fmla="*/ 12 w 12"/>
                <a:gd name="T23" fmla="*/ 13 h 97"/>
                <a:gd name="T24" fmla="*/ 11 w 12"/>
                <a:gd name="T25" fmla="*/ 15 h 97"/>
                <a:gd name="T26" fmla="*/ 11 w 12"/>
                <a:gd name="T27" fmla="*/ 96 h 97"/>
                <a:gd name="T28" fmla="*/ 9 w 12"/>
                <a:gd name="T29" fmla="*/ 97 h 97"/>
                <a:gd name="T30" fmla="*/ 3 w 12"/>
                <a:gd name="T31" fmla="*/ 97 h 97"/>
                <a:gd name="T32" fmla="*/ 1 w 12"/>
                <a:gd name="T33" fmla="*/ 96 h 97"/>
                <a:gd name="T34" fmla="*/ 0 w 12"/>
                <a:gd name="T35" fmla="*/ 94 h 97"/>
                <a:gd name="T36" fmla="*/ 0 w 12"/>
                <a:gd name="T37" fmla="*/ 29 h 97"/>
                <a:gd name="T38" fmla="*/ 1 w 12"/>
                <a:gd name="T39" fmla="*/ 27 h 97"/>
                <a:gd name="T40" fmla="*/ 3 w 12"/>
                <a:gd name="T41" fmla="*/ 27 h 97"/>
                <a:gd name="T42" fmla="*/ 9 w 12"/>
                <a:gd name="T43" fmla="*/ 27 h 97"/>
                <a:gd name="T44" fmla="*/ 11 w 12"/>
                <a:gd name="T45" fmla="*/ 27 h 97"/>
                <a:gd name="T46" fmla="*/ 12 w 12"/>
                <a:gd name="T47" fmla="*/ 29 h 97"/>
                <a:gd name="T48" fmla="*/ 12 w 12"/>
                <a:gd name="T49" fmla="*/ 94 h 97"/>
                <a:gd name="T50" fmla="*/ 11 w 12"/>
                <a:gd name="T51" fmla="*/ 96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" h="97">
                  <a:moveTo>
                    <a:pt x="11" y="15"/>
                  </a:moveTo>
                  <a:cubicBezTo>
                    <a:pt x="11" y="15"/>
                    <a:pt x="10" y="15"/>
                    <a:pt x="9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2" y="15"/>
                    <a:pt x="1" y="15"/>
                    <a:pt x="1" y="15"/>
                  </a:cubicBezTo>
                  <a:cubicBezTo>
                    <a:pt x="0" y="14"/>
                    <a:pt x="0" y="14"/>
                    <a:pt x="0" y="1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0"/>
                    <a:pt x="11" y="0"/>
                    <a:pt x="11" y="1"/>
                  </a:cubicBezTo>
                  <a:cubicBezTo>
                    <a:pt x="12" y="1"/>
                    <a:pt x="12" y="2"/>
                    <a:pt x="12" y="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4"/>
                    <a:pt x="12" y="14"/>
                    <a:pt x="11" y="15"/>
                  </a:cubicBezTo>
                  <a:close/>
                  <a:moveTo>
                    <a:pt x="11" y="96"/>
                  </a:moveTo>
                  <a:cubicBezTo>
                    <a:pt x="10" y="96"/>
                    <a:pt x="10" y="97"/>
                    <a:pt x="9" y="97"/>
                  </a:cubicBezTo>
                  <a:cubicBezTo>
                    <a:pt x="3" y="97"/>
                    <a:pt x="3" y="97"/>
                    <a:pt x="3" y="97"/>
                  </a:cubicBezTo>
                  <a:cubicBezTo>
                    <a:pt x="2" y="97"/>
                    <a:pt x="1" y="96"/>
                    <a:pt x="1" y="96"/>
                  </a:cubicBezTo>
                  <a:cubicBezTo>
                    <a:pt x="0" y="95"/>
                    <a:pt x="0" y="95"/>
                    <a:pt x="0" y="94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8"/>
                    <a:pt x="0" y="28"/>
                    <a:pt x="1" y="27"/>
                  </a:cubicBezTo>
                  <a:cubicBezTo>
                    <a:pt x="1" y="27"/>
                    <a:pt x="2" y="27"/>
                    <a:pt x="3" y="27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10" y="27"/>
                    <a:pt x="10" y="27"/>
                    <a:pt x="11" y="27"/>
                  </a:cubicBezTo>
                  <a:cubicBezTo>
                    <a:pt x="11" y="28"/>
                    <a:pt x="12" y="28"/>
                    <a:pt x="12" y="29"/>
                  </a:cubicBezTo>
                  <a:cubicBezTo>
                    <a:pt x="12" y="94"/>
                    <a:pt x="12" y="94"/>
                    <a:pt x="12" y="94"/>
                  </a:cubicBezTo>
                  <a:cubicBezTo>
                    <a:pt x="12" y="95"/>
                    <a:pt x="11" y="95"/>
                    <a:pt x="11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7" name="Freeform 258">
              <a:extLst>
                <a:ext uri="{FF2B5EF4-FFF2-40B4-BE49-F238E27FC236}">
                  <a16:creationId xmlns:a16="http://schemas.microsoft.com/office/drawing/2014/main" id="{5BE0B229-8A14-4FE7-ABC2-5C80BBE560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30763" y="-2374900"/>
              <a:ext cx="171450" cy="295275"/>
            </a:xfrm>
            <a:custGeom>
              <a:avLst/>
              <a:gdLst>
                <a:gd name="T0" fmla="*/ 56 w 57"/>
                <a:gd name="T1" fmla="*/ 93 h 97"/>
                <a:gd name="T2" fmla="*/ 54 w 57"/>
                <a:gd name="T3" fmla="*/ 94 h 97"/>
                <a:gd name="T4" fmla="*/ 41 w 57"/>
                <a:gd name="T5" fmla="*/ 96 h 97"/>
                <a:gd name="T6" fmla="*/ 29 w 57"/>
                <a:gd name="T7" fmla="*/ 97 h 97"/>
                <a:gd name="T8" fmla="*/ 16 w 57"/>
                <a:gd name="T9" fmla="*/ 94 h 97"/>
                <a:gd name="T10" fmla="*/ 7 w 57"/>
                <a:gd name="T11" fmla="*/ 88 h 97"/>
                <a:gd name="T12" fmla="*/ 2 w 57"/>
                <a:gd name="T13" fmla="*/ 78 h 97"/>
                <a:gd name="T14" fmla="*/ 0 w 57"/>
                <a:gd name="T15" fmla="*/ 65 h 97"/>
                <a:gd name="T16" fmla="*/ 0 w 57"/>
                <a:gd name="T17" fmla="*/ 56 h 97"/>
                <a:gd name="T18" fmla="*/ 7 w 57"/>
                <a:gd name="T19" fmla="*/ 33 h 97"/>
                <a:gd name="T20" fmla="*/ 29 w 57"/>
                <a:gd name="T21" fmla="*/ 25 h 97"/>
                <a:gd name="T22" fmla="*/ 37 w 57"/>
                <a:gd name="T23" fmla="*/ 25 h 97"/>
                <a:gd name="T24" fmla="*/ 45 w 57"/>
                <a:gd name="T25" fmla="*/ 26 h 97"/>
                <a:gd name="T26" fmla="*/ 45 w 57"/>
                <a:gd name="T27" fmla="*/ 2 h 97"/>
                <a:gd name="T28" fmla="*/ 46 w 57"/>
                <a:gd name="T29" fmla="*/ 1 h 97"/>
                <a:gd name="T30" fmla="*/ 47 w 57"/>
                <a:gd name="T31" fmla="*/ 0 h 97"/>
                <a:gd name="T32" fmla="*/ 54 w 57"/>
                <a:gd name="T33" fmla="*/ 0 h 97"/>
                <a:gd name="T34" fmla="*/ 56 w 57"/>
                <a:gd name="T35" fmla="*/ 1 h 97"/>
                <a:gd name="T36" fmla="*/ 57 w 57"/>
                <a:gd name="T37" fmla="*/ 2 h 97"/>
                <a:gd name="T38" fmla="*/ 57 w 57"/>
                <a:gd name="T39" fmla="*/ 91 h 97"/>
                <a:gd name="T40" fmla="*/ 56 w 57"/>
                <a:gd name="T41" fmla="*/ 93 h 97"/>
                <a:gd name="T42" fmla="*/ 45 w 57"/>
                <a:gd name="T43" fmla="*/ 35 h 97"/>
                <a:gd name="T44" fmla="*/ 37 w 57"/>
                <a:gd name="T45" fmla="*/ 35 h 97"/>
                <a:gd name="T46" fmla="*/ 29 w 57"/>
                <a:gd name="T47" fmla="*/ 35 h 97"/>
                <a:gd name="T48" fmla="*/ 16 w 57"/>
                <a:gd name="T49" fmla="*/ 40 h 97"/>
                <a:gd name="T50" fmla="*/ 12 w 57"/>
                <a:gd name="T51" fmla="*/ 56 h 97"/>
                <a:gd name="T52" fmla="*/ 12 w 57"/>
                <a:gd name="T53" fmla="*/ 65 h 97"/>
                <a:gd name="T54" fmla="*/ 16 w 57"/>
                <a:gd name="T55" fmla="*/ 81 h 97"/>
                <a:gd name="T56" fmla="*/ 29 w 57"/>
                <a:gd name="T57" fmla="*/ 87 h 97"/>
                <a:gd name="T58" fmla="*/ 37 w 57"/>
                <a:gd name="T59" fmla="*/ 86 h 97"/>
                <a:gd name="T60" fmla="*/ 45 w 57"/>
                <a:gd name="T61" fmla="*/ 86 h 97"/>
                <a:gd name="T62" fmla="*/ 45 w 57"/>
                <a:gd name="T63" fmla="*/ 35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7" h="97">
                  <a:moveTo>
                    <a:pt x="56" y="93"/>
                  </a:moveTo>
                  <a:cubicBezTo>
                    <a:pt x="56" y="94"/>
                    <a:pt x="55" y="94"/>
                    <a:pt x="54" y="94"/>
                  </a:cubicBezTo>
                  <a:cubicBezTo>
                    <a:pt x="50" y="95"/>
                    <a:pt x="46" y="96"/>
                    <a:pt x="41" y="96"/>
                  </a:cubicBezTo>
                  <a:cubicBezTo>
                    <a:pt x="37" y="96"/>
                    <a:pt x="33" y="97"/>
                    <a:pt x="29" y="97"/>
                  </a:cubicBezTo>
                  <a:cubicBezTo>
                    <a:pt x="24" y="97"/>
                    <a:pt x="20" y="96"/>
                    <a:pt x="16" y="94"/>
                  </a:cubicBezTo>
                  <a:cubicBezTo>
                    <a:pt x="13" y="93"/>
                    <a:pt x="10" y="91"/>
                    <a:pt x="7" y="88"/>
                  </a:cubicBezTo>
                  <a:cubicBezTo>
                    <a:pt x="5" y="85"/>
                    <a:pt x="3" y="82"/>
                    <a:pt x="2" y="78"/>
                  </a:cubicBezTo>
                  <a:cubicBezTo>
                    <a:pt x="1" y="74"/>
                    <a:pt x="0" y="70"/>
                    <a:pt x="0" y="6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46"/>
                    <a:pt x="3" y="38"/>
                    <a:pt x="7" y="33"/>
                  </a:cubicBezTo>
                  <a:cubicBezTo>
                    <a:pt x="12" y="27"/>
                    <a:pt x="19" y="25"/>
                    <a:pt x="29" y="25"/>
                  </a:cubicBezTo>
                  <a:cubicBezTo>
                    <a:pt x="31" y="25"/>
                    <a:pt x="34" y="25"/>
                    <a:pt x="37" y="25"/>
                  </a:cubicBezTo>
                  <a:cubicBezTo>
                    <a:pt x="40" y="25"/>
                    <a:pt x="42" y="26"/>
                    <a:pt x="45" y="26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5" y="2"/>
                    <a:pt x="45" y="1"/>
                    <a:pt x="46" y="1"/>
                  </a:cubicBezTo>
                  <a:cubicBezTo>
                    <a:pt x="46" y="0"/>
                    <a:pt x="47" y="0"/>
                    <a:pt x="47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5" y="0"/>
                    <a:pt x="56" y="0"/>
                    <a:pt x="56" y="1"/>
                  </a:cubicBezTo>
                  <a:cubicBezTo>
                    <a:pt x="56" y="1"/>
                    <a:pt x="57" y="2"/>
                    <a:pt x="57" y="2"/>
                  </a:cubicBezTo>
                  <a:cubicBezTo>
                    <a:pt x="57" y="91"/>
                    <a:pt x="57" y="91"/>
                    <a:pt x="57" y="91"/>
                  </a:cubicBezTo>
                  <a:cubicBezTo>
                    <a:pt x="57" y="92"/>
                    <a:pt x="57" y="93"/>
                    <a:pt x="56" y="93"/>
                  </a:cubicBezTo>
                  <a:close/>
                  <a:moveTo>
                    <a:pt x="45" y="35"/>
                  </a:moveTo>
                  <a:cubicBezTo>
                    <a:pt x="43" y="35"/>
                    <a:pt x="40" y="35"/>
                    <a:pt x="37" y="35"/>
                  </a:cubicBezTo>
                  <a:cubicBezTo>
                    <a:pt x="34" y="35"/>
                    <a:pt x="31" y="35"/>
                    <a:pt x="29" y="35"/>
                  </a:cubicBezTo>
                  <a:cubicBezTo>
                    <a:pt x="23" y="35"/>
                    <a:pt x="18" y="36"/>
                    <a:pt x="16" y="40"/>
                  </a:cubicBezTo>
                  <a:cubicBezTo>
                    <a:pt x="13" y="44"/>
                    <a:pt x="12" y="49"/>
                    <a:pt x="12" y="56"/>
                  </a:cubicBezTo>
                  <a:cubicBezTo>
                    <a:pt x="12" y="65"/>
                    <a:pt x="12" y="65"/>
                    <a:pt x="12" y="65"/>
                  </a:cubicBezTo>
                  <a:cubicBezTo>
                    <a:pt x="12" y="72"/>
                    <a:pt x="13" y="77"/>
                    <a:pt x="16" y="81"/>
                  </a:cubicBezTo>
                  <a:cubicBezTo>
                    <a:pt x="18" y="85"/>
                    <a:pt x="23" y="87"/>
                    <a:pt x="29" y="87"/>
                  </a:cubicBezTo>
                  <a:cubicBezTo>
                    <a:pt x="32" y="87"/>
                    <a:pt x="34" y="87"/>
                    <a:pt x="37" y="86"/>
                  </a:cubicBezTo>
                  <a:cubicBezTo>
                    <a:pt x="40" y="86"/>
                    <a:pt x="43" y="86"/>
                    <a:pt x="45" y="86"/>
                  </a:cubicBezTo>
                  <a:lnTo>
                    <a:pt x="45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8" name="Freeform 259">
              <a:extLst>
                <a:ext uri="{FF2B5EF4-FFF2-40B4-BE49-F238E27FC236}">
                  <a16:creationId xmlns:a16="http://schemas.microsoft.com/office/drawing/2014/main" id="{CAECD71B-075B-4260-8514-D7E858871AC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46663" y="-2298700"/>
              <a:ext cx="180975" cy="219075"/>
            </a:xfrm>
            <a:custGeom>
              <a:avLst/>
              <a:gdLst>
                <a:gd name="T0" fmla="*/ 57 w 60"/>
                <a:gd name="T1" fmla="*/ 39 h 72"/>
                <a:gd name="T2" fmla="*/ 12 w 60"/>
                <a:gd name="T3" fmla="*/ 39 h 72"/>
                <a:gd name="T4" fmla="*/ 12 w 60"/>
                <a:gd name="T5" fmla="*/ 41 h 72"/>
                <a:gd name="T6" fmla="*/ 17 w 60"/>
                <a:gd name="T7" fmla="*/ 57 h 72"/>
                <a:gd name="T8" fmla="*/ 31 w 60"/>
                <a:gd name="T9" fmla="*/ 62 h 72"/>
                <a:gd name="T10" fmla="*/ 43 w 60"/>
                <a:gd name="T11" fmla="*/ 61 h 72"/>
                <a:gd name="T12" fmla="*/ 55 w 60"/>
                <a:gd name="T13" fmla="*/ 60 h 72"/>
                <a:gd name="T14" fmla="*/ 55 w 60"/>
                <a:gd name="T15" fmla="*/ 60 h 72"/>
                <a:gd name="T16" fmla="*/ 57 w 60"/>
                <a:gd name="T17" fmla="*/ 61 h 72"/>
                <a:gd name="T18" fmla="*/ 57 w 60"/>
                <a:gd name="T19" fmla="*/ 62 h 72"/>
                <a:gd name="T20" fmla="*/ 57 w 60"/>
                <a:gd name="T21" fmla="*/ 66 h 72"/>
                <a:gd name="T22" fmla="*/ 57 w 60"/>
                <a:gd name="T23" fmla="*/ 68 h 72"/>
                <a:gd name="T24" fmla="*/ 55 w 60"/>
                <a:gd name="T25" fmla="*/ 69 h 72"/>
                <a:gd name="T26" fmla="*/ 43 w 60"/>
                <a:gd name="T27" fmla="*/ 71 h 72"/>
                <a:gd name="T28" fmla="*/ 31 w 60"/>
                <a:gd name="T29" fmla="*/ 72 h 72"/>
                <a:gd name="T30" fmla="*/ 20 w 60"/>
                <a:gd name="T31" fmla="*/ 70 h 72"/>
                <a:gd name="T32" fmla="*/ 10 w 60"/>
                <a:gd name="T33" fmla="*/ 65 h 72"/>
                <a:gd name="T34" fmla="*/ 3 w 60"/>
                <a:gd name="T35" fmla="*/ 56 h 72"/>
                <a:gd name="T36" fmla="*/ 0 w 60"/>
                <a:gd name="T37" fmla="*/ 41 h 72"/>
                <a:gd name="T38" fmla="*/ 0 w 60"/>
                <a:gd name="T39" fmla="*/ 29 h 72"/>
                <a:gd name="T40" fmla="*/ 8 w 60"/>
                <a:gd name="T41" fmla="*/ 8 h 72"/>
                <a:gd name="T42" fmla="*/ 30 w 60"/>
                <a:gd name="T43" fmla="*/ 0 h 72"/>
                <a:gd name="T44" fmla="*/ 43 w 60"/>
                <a:gd name="T45" fmla="*/ 2 h 72"/>
                <a:gd name="T46" fmla="*/ 52 w 60"/>
                <a:gd name="T47" fmla="*/ 8 h 72"/>
                <a:gd name="T48" fmla="*/ 58 w 60"/>
                <a:gd name="T49" fmla="*/ 17 h 72"/>
                <a:gd name="T50" fmla="*/ 60 w 60"/>
                <a:gd name="T51" fmla="*/ 29 h 72"/>
                <a:gd name="T52" fmla="*/ 60 w 60"/>
                <a:gd name="T53" fmla="*/ 36 h 72"/>
                <a:gd name="T54" fmla="*/ 57 w 60"/>
                <a:gd name="T55" fmla="*/ 39 h 72"/>
                <a:gd name="T56" fmla="*/ 48 w 60"/>
                <a:gd name="T57" fmla="*/ 29 h 72"/>
                <a:gd name="T58" fmla="*/ 43 w 60"/>
                <a:gd name="T59" fmla="*/ 14 h 72"/>
                <a:gd name="T60" fmla="*/ 30 w 60"/>
                <a:gd name="T61" fmla="*/ 10 h 72"/>
                <a:gd name="T62" fmla="*/ 17 w 60"/>
                <a:gd name="T63" fmla="*/ 14 h 72"/>
                <a:gd name="T64" fmla="*/ 12 w 60"/>
                <a:gd name="T65" fmla="*/ 29 h 72"/>
                <a:gd name="T66" fmla="*/ 12 w 60"/>
                <a:gd name="T67" fmla="*/ 31 h 72"/>
                <a:gd name="T68" fmla="*/ 48 w 60"/>
                <a:gd name="T69" fmla="*/ 31 h 72"/>
                <a:gd name="T70" fmla="*/ 48 w 60"/>
                <a:gd name="T71" fmla="*/ 29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0" h="72">
                  <a:moveTo>
                    <a:pt x="57" y="39"/>
                  </a:moveTo>
                  <a:cubicBezTo>
                    <a:pt x="12" y="39"/>
                    <a:pt x="12" y="39"/>
                    <a:pt x="12" y="39"/>
                  </a:cubicBezTo>
                  <a:cubicBezTo>
                    <a:pt x="12" y="41"/>
                    <a:pt x="12" y="41"/>
                    <a:pt x="12" y="41"/>
                  </a:cubicBezTo>
                  <a:cubicBezTo>
                    <a:pt x="12" y="49"/>
                    <a:pt x="14" y="54"/>
                    <a:pt x="17" y="57"/>
                  </a:cubicBezTo>
                  <a:cubicBezTo>
                    <a:pt x="20" y="60"/>
                    <a:pt x="25" y="62"/>
                    <a:pt x="31" y="62"/>
                  </a:cubicBezTo>
                  <a:cubicBezTo>
                    <a:pt x="35" y="62"/>
                    <a:pt x="39" y="62"/>
                    <a:pt x="43" y="61"/>
                  </a:cubicBezTo>
                  <a:cubicBezTo>
                    <a:pt x="48" y="61"/>
                    <a:pt x="51" y="61"/>
                    <a:pt x="55" y="60"/>
                  </a:cubicBezTo>
                  <a:cubicBezTo>
                    <a:pt x="55" y="60"/>
                    <a:pt x="55" y="60"/>
                    <a:pt x="55" y="60"/>
                  </a:cubicBezTo>
                  <a:cubicBezTo>
                    <a:pt x="56" y="60"/>
                    <a:pt x="56" y="60"/>
                    <a:pt x="57" y="61"/>
                  </a:cubicBezTo>
                  <a:cubicBezTo>
                    <a:pt x="57" y="61"/>
                    <a:pt x="57" y="61"/>
                    <a:pt x="57" y="62"/>
                  </a:cubicBezTo>
                  <a:cubicBezTo>
                    <a:pt x="57" y="66"/>
                    <a:pt x="57" y="66"/>
                    <a:pt x="57" y="66"/>
                  </a:cubicBezTo>
                  <a:cubicBezTo>
                    <a:pt x="57" y="67"/>
                    <a:pt x="57" y="68"/>
                    <a:pt x="57" y="68"/>
                  </a:cubicBezTo>
                  <a:cubicBezTo>
                    <a:pt x="56" y="69"/>
                    <a:pt x="56" y="69"/>
                    <a:pt x="55" y="69"/>
                  </a:cubicBezTo>
                  <a:cubicBezTo>
                    <a:pt x="51" y="70"/>
                    <a:pt x="47" y="71"/>
                    <a:pt x="43" y="71"/>
                  </a:cubicBezTo>
                  <a:cubicBezTo>
                    <a:pt x="39" y="71"/>
                    <a:pt x="35" y="72"/>
                    <a:pt x="31" y="72"/>
                  </a:cubicBezTo>
                  <a:cubicBezTo>
                    <a:pt x="27" y="72"/>
                    <a:pt x="23" y="71"/>
                    <a:pt x="20" y="70"/>
                  </a:cubicBezTo>
                  <a:cubicBezTo>
                    <a:pt x="16" y="69"/>
                    <a:pt x="13" y="67"/>
                    <a:pt x="10" y="65"/>
                  </a:cubicBezTo>
                  <a:cubicBezTo>
                    <a:pt x="7" y="63"/>
                    <a:pt x="5" y="60"/>
                    <a:pt x="3" y="56"/>
                  </a:cubicBezTo>
                  <a:cubicBezTo>
                    <a:pt x="1" y="52"/>
                    <a:pt x="0" y="47"/>
                    <a:pt x="0" y="41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3" y="13"/>
                    <a:pt x="8" y="8"/>
                  </a:cubicBezTo>
                  <a:cubicBezTo>
                    <a:pt x="13" y="2"/>
                    <a:pt x="20" y="0"/>
                    <a:pt x="30" y="0"/>
                  </a:cubicBezTo>
                  <a:cubicBezTo>
                    <a:pt x="35" y="0"/>
                    <a:pt x="39" y="0"/>
                    <a:pt x="43" y="2"/>
                  </a:cubicBezTo>
                  <a:cubicBezTo>
                    <a:pt x="47" y="3"/>
                    <a:pt x="50" y="5"/>
                    <a:pt x="52" y="8"/>
                  </a:cubicBezTo>
                  <a:cubicBezTo>
                    <a:pt x="55" y="10"/>
                    <a:pt x="56" y="14"/>
                    <a:pt x="58" y="17"/>
                  </a:cubicBezTo>
                  <a:cubicBezTo>
                    <a:pt x="59" y="21"/>
                    <a:pt x="60" y="25"/>
                    <a:pt x="60" y="29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60" y="38"/>
                    <a:pt x="59" y="39"/>
                    <a:pt x="57" y="39"/>
                  </a:cubicBezTo>
                  <a:close/>
                  <a:moveTo>
                    <a:pt x="48" y="29"/>
                  </a:moveTo>
                  <a:cubicBezTo>
                    <a:pt x="48" y="22"/>
                    <a:pt x="46" y="17"/>
                    <a:pt x="43" y="14"/>
                  </a:cubicBezTo>
                  <a:cubicBezTo>
                    <a:pt x="40" y="11"/>
                    <a:pt x="36" y="10"/>
                    <a:pt x="30" y="10"/>
                  </a:cubicBezTo>
                  <a:cubicBezTo>
                    <a:pt x="24" y="10"/>
                    <a:pt x="20" y="11"/>
                    <a:pt x="17" y="14"/>
                  </a:cubicBezTo>
                  <a:cubicBezTo>
                    <a:pt x="14" y="18"/>
                    <a:pt x="12" y="23"/>
                    <a:pt x="12" y="29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48" y="31"/>
                    <a:pt x="48" y="31"/>
                    <a:pt x="48" y="31"/>
                  </a:cubicBezTo>
                  <a:lnTo>
                    <a:pt x="48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9" name="Freeform 260">
              <a:extLst>
                <a:ext uri="{FF2B5EF4-FFF2-40B4-BE49-F238E27FC236}">
                  <a16:creationId xmlns:a16="http://schemas.microsoft.com/office/drawing/2014/main" id="{57AD8954-8543-4956-A614-5669BF8231E2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5738" y="-2298700"/>
              <a:ext cx="147637" cy="219075"/>
            </a:xfrm>
            <a:custGeom>
              <a:avLst/>
              <a:gdLst>
                <a:gd name="T0" fmla="*/ 49 w 49"/>
                <a:gd name="T1" fmla="*/ 53 h 72"/>
                <a:gd name="T2" fmla="*/ 42 w 49"/>
                <a:gd name="T3" fmla="*/ 67 h 72"/>
                <a:gd name="T4" fmla="*/ 24 w 49"/>
                <a:gd name="T5" fmla="*/ 72 h 72"/>
                <a:gd name="T6" fmla="*/ 20 w 49"/>
                <a:gd name="T7" fmla="*/ 71 h 72"/>
                <a:gd name="T8" fmla="*/ 14 w 49"/>
                <a:gd name="T9" fmla="*/ 71 h 72"/>
                <a:gd name="T10" fmla="*/ 8 w 49"/>
                <a:gd name="T11" fmla="*/ 70 h 72"/>
                <a:gd name="T12" fmla="*/ 3 w 49"/>
                <a:gd name="T13" fmla="*/ 70 h 72"/>
                <a:gd name="T14" fmla="*/ 0 w 49"/>
                <a:gd name="T15" fmla="*/ 67 h 72"/>
                <a:gd name="T16" fmla="*/ 0 w 49"/>
                <a:gd name="T17" fmla="*/ 63 h 72"/>
                <a:gd name="T18" fmla="*/ 1 w 49"/>
                <a:gd name="T19" fmla="*/ 61 h 72"/>
                <a:gd name="T20" fmla="*/ 3 w 49"/>
                <a:gd name="T21" fmla="*/ 61 h 72"/>
                <a:gd name="T22" fmla="*/ 3 w 49"/>
                <a:gd name="T23" fmla="*/ 61 h 72"/>
                <a:gd name="T24" fmla="*/ 8 w 49"/>
                <a:gd name="T25" fmla="*/ 61 h 72"/>
                <a:gd name="T26" fmla="*/ 14 w 49"/>
                <a:gd name="T27" fmla="*/ 62 h 72"/>
                <a:gd name="T28" fmla="*/ 20 w 49"/>
                <a:gd name="T29" fmla="*/ 62 h 72"/>
                <a:gd name="T30" fmla="*/ 24 w 49"/>
                <a:gd name="T31" fmla="*/ 62 h 72"/>
                <a:gd name="T32" fmla="*/ 34 w 49"/>
                <a:gd name="T33" fmla="*/ 60 h 72"/>
                <a:gd name="T34" fmla="*/ 37 w 49"/>
                <a:gd name="T35" fmla="*/ 53 h 72"/>
                <a:gd name="T36" fmla="*/ 35 w 49"/>
                <a:gd name="T37" fmla="*/ 48 h 72"/>
                <a:gd name="T38" fmla="*/ 27 w 49"/>
                <a:gd name="T39" fmla="*/ 42 h 72"/>
                <a:gd name="T40" fmla="*/ 14 w 49"/>
                <a:gd name="T41" fmla="*/ 35 h 72"/>
                <a:gd name="T42" fmla="*/ 4 w 49"/>
                <a:gd name="T43" fmla="*/ 27 h 72"/>
                <a:gd name="T44" fmla="*/ 0 w 49"/>
                <a:gd name="T45" fmla="*/ 17 h 72"/>
                <a:gd name="T46" fmla="*/ 2 w 49"/>
                <a:gd name="T47" fmla="*/ 8 h 72"/>
                <a:gd name="T48" fmla="*/ 7 w 49"/>
                <a:gd name="T49" fmla="*/ 3 h 72"/>
                <a:gd name="T50" fmla="*/ 15 w 49"/>
                <a:gd name="T51" fmla="*/ 0 h 72"/>
                <a:gd name="T52" fmla="*/ 24 w 49"/>
                <a:gd name="T53" fmla="*/ 0 h 72"/>
                <a:gd name="T54" fmla="*/ 35 w 49"/>
                <a:gd name="T55" fmla="*/ 0 h 72"/>
                <a:gd name="T56" fmla="*/ 45 w 49"/>
                <a:gd name="T57" fmla="*/ 1 h 72"/>
                <a:gd name="T58" fmla="*/ 48 w 49"/>
                <a:gd name="T59" fmla="*/ 4 h 72"/>
                <a:gd name="T60" fmla="*/ 48 w 49"/>
                <a:gd name="T61" fmla="*/ 8 h 72"/>
                <a:gd name="T62" fmla="*/ 45 w 49"/>
                <a:gd name="T63" fmla="*/ 10 h 72"/>
                <a:gd name="T64" fmla="*/ 45 w 49"/>
                <a:gd name="T65" fmla="*/ 10 h 72"/>
                <a:gd name="T66" fmla="*/ 36 w 49"/>
                <a:gd name="T67" fmla="*/ 10 h 72"/>
                <a:gd name="T68" fmla="*/ 24 w 49"/>
                <a:gd name="T69" fmla="*/ 9 h 72"/>
                <a:gd name="T70" fmla="*/ 15 w 49"/>
                <a:gd name="T71" fmla="*/ 11 h 72"/>
                <a:gd name="T72" fmla="*/ 12 w 49"/>
                <a:gd name="T73" fmla="*/ 17 h 72"/>
                <a:gd name="T74" fmla="*/ 14 w 49"/>
                <a:gd name="T75" fmla="*/ 22 h 72"/>
                <a:gd name="T76" fmla="*/ 21 w 49"/>
                <a:gd name="T77" fmla="*/ 26 h 72"/>
                <a:gd name="T78" fmla="*/ 34 w 49"/>
                <a:gd name="T79" fmla="*/ 34 h 72"/>
                <a:gd name="T80" fmla="*/ 46 w 49"/>
                <a:gd name="T81" fmla="*/ 43 h 72"/>
                <a:gd name="T82" fmla="*/ 49 w 49"/>
                <a:gd name="T83" fmla="*/ 53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9" h="72">
                  <a:moveTo>
                    <a:pt x="49" y="53"/>
                  </a:moveTo>
                  <a:cubicBezTo>
                    <a:pt x="49" y="59"/>
                    <a:pt x="47" y="64"/>
                    <a:pt x="42" y="67"/>
                  </a:cubicBezTo>
                  <a:cubicBezTo>
                    <a:pt x="38" y="70"/>
                    <a:pt x="32" y="72"/>
                    <a:pt x="24" y="72"/>
                  </a:cubicBezTo>
                  <a:cubicBezTo>
                    <a:pt x="23" y="72"/>
                    <a:pt x="21" y="71"/>
                    <a:pt x="20" y="71"/>
                  </a:cubicBezTo>
                  <a:cubicBezTo>
                    <a:pt x="18" y="71"/>
                    <a:pt x="16" y="71"/>
                    <a:pt x="14" y="71"/>
                  </a:cubicBezTo>
                  <a:cubicBezTo>
                    <a:pt x="12" y="71"/>
                    <a:pt x="10" y="71"/>
                    <a:pt x="8" y="70"/>
                  </a:cubicBezTo>
                  <a:cubicBezTo>
                    <a:pt x="6" y="70"/>
                    <a:pt x="5" y="70"/>
                    <a:pt x="3" y="70"/>
                  </a:cubicBezTo>
                  <a:cubicBezTo>
                    <a:pt x="1" y="69"/>
                    <a:pt x="0" y="68"/>
                    <a:pt x="0" y="67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2"/>
                    <a:pt x="0" y="62"/>
                    <a:pt x="1" y="61"/>
                  </a:cubicBezTo>
                  <a:cubicBezTo>
                    <a:pt x="1" y="61"/>
                    <a:pt x="2" y="61"/>
                    <a:pt x="3" y="61"/>
                  </a:cubicBezTo>
                  <a:cubicBezTo>
                    <a:pt x="3" y="61"/>
                    <a:pt x="3" y="61"/>
                    <a:pt x="3" y="61"/>
                  </a:cubicBezTo>
                  <a:cubicBezTo>
                    <a:pt x="5" y="61"/>
                    <a:pt x="6" y="61"/>
                    <a:pt x="8" y="61"/>
                  </a:cubicBezTo>
                  <a:cubicBezTo>
                    <a:pt x="10" y="61"/>
                    <a:pt x="12" y="62"/>
                    <a:pt x="14" y="62"/>
                  </a:cubicBezTo>
                  <a:cubicBezTo>
                    <a:pt x="16" y="62"/>
                    <a:pt x="18" y="62"/>
                    <a:pt x="20" y="62"/>
                  </a:cubicBezTo>
                  <a:cubicBezTo>
                    <a:pt x="21" y="62"/>
                    <a:pt x="23" y="62"/>
                    <a:pt x="24" y="62"/>
                  </a:cubicBezTo>
                  <a:cubicBezTo>
                    <a:pt x="28" y="62"/>
                    <a:pt x="32" y="61"/>
                    <a:pt x="34" y="60"/>
                  </a:cubicBezTo>
                  <a:cubicBezTo>
                    <a:pt x="36" y="59"/>
                    <a:pt x="37" y="57"/>
                    <a:pt x="37" y="53"/>
                  </a:cubicBezTo>
                  <a:cubicBezTo>
                    <a:pt x="37" y="51"/>
                    <a:pt x="37" y="49"/>
                    <a:pt x="35" y="48"/>
                  </a:cubicBezTo>
                  <a:cubicBezTo>
                    <a:pt x="34" y="47"/>
                    <a:pt x="31" y="45"/>
                    <a:pt x="27" y="42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0" y="32"/>
                    <a:pt x="6" y="30"/>
                    <a:pt x="4" y="27"/>
                  </a:cubicBezTo>
                  <a:cubicBezTo>
                    <a:pt x="1" y="24"/>
                    <a:pt x="0" y="21"/>
                    <a:pt x="0" y="17"/>
                  </a:cubicBezTo>
                  <a:cubicBezTo>
                    <a:pt x="0" y="13"/>
                    <a:pt x="1" y="11"/>
                    <a:pt x="2" y="8"/>
                  </a:cubicBezTo>
                  <a:cubicBezTo>
                    <a:pt x="3" y="6"/>
                    <a:pt x="5" y="5"/>
                    <a:pt x="7" y="3"/>
                  </a:cubicBezTo>
                  <a:cubicBezTo>
                    <a:pt x="9" y="2"/>
                    <a:pt x="12" y="1"/>
                    <a:pt x="15" y="0"/>
                  </a:cubicBezTo>
                  <a:cubicBezTo>
                    <a:pt x="18" y="0"/>
                    <a:pt x="21" y="0"/>
                    <a:pt x="24" y="0"/>
                  </a:cubicBezTo>
                  <a:cubicBezTo>
                    <a:pt x="28" y="0"/>
                    <a:pt x="32" y="0"/>
                    <a:pt x="35" y="0"/>
                  </a:cubicBezTo>
                  <a:cubicBezTo>
                    <a:pt x="39" y="0"/>
                    <a:pt x="42" y="1"/>
                    <a:pt x="45" y="1"/>
                  </a:cubicBezTo>
                  <a:cubicBezTo>
                    <a:pt x="47" y="2"/>
                    <a:pt x="48" y="2"/>
                    <a:pt x="48" y="4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48" y="10"/>
                    <a:pt x="47" y="10"/>
                    <a:pt x="45" y="10"/>
                  </a:cubicBezTo>
                  <a:cubicBezTo>
                    <a:pt x="45" y="10"/>
                    <a:pt x="45" y="10"/>
                    <a:pt x="45" y="10"/>
                  </a:cubicBezTo>
                  <a:cubicBezTo>
                    <a:pt x="43" y="10"/>
                    <a:pt x="40" y="10"/>
                    <a:pt x="36" y="10"/>
                  </a:cubicBezTo>
                  <a:cubicBezTo>
                    <a:pt x="32" y="9"/>
                    <a:pt x="28" y="9"/>
                    <a:pt x="24" y="9"/>
                  </a:cubicBezTo>
                  <a:cubicBezTo>
                    <a:pt x="21" y="9"/>
                    <a:pt x="18" y="10"/>
                    <a:pt x="15" y="11"/>
                  </a:cubicBezTo>
                  <a:cubicBezTo>
                    <a:pt x="13" y="11"/>
                    <a:pt x="12" y="13"/>
                    <a:pt x="12" y="17"/>
                  </a:cubicBezTo>
                  <a:cubicBezTo>
                    <a:pt x="12" y="19"/>
                    <a:pt x="13" y="20"/>
                    <a:pt x="14" y="22"/>
                  </a:cubicBezTo>
                  <a:cubicBezTo>
                    <a:pt x="16" y="23"/>
                    <a:pt x="18" y="25"/>
                    <a:pt x="21" y="26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40" y="37"/>
                    <a:pt x="44" y="40"/>
                    <a:pt x="46" y="43"/>
                  </a:cubicBezTo>
                  <a:cubicBezTo>
                    <a:pt x="48" y="46"/>
                    <a:pt x="49" y="49"/>
                    <a:pt x="49" y="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0" name="Rectangle 261">
              <a:extLst>
                <a:ext uri="{FF2B5EF4-FFF2-40B4-BE49-F238E27FC236}">
                  <a16:creationId xmlns:a16="http://schemas.microsoft.com/office/drawing/2014/main" id="{F9B089D1-FDAF-4A0F-BD3D-664DD198D2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10075" y="-2116138"/>
              <a:ext cx="165100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1" name="Freeform 262">
              <a:extLst>
                <a:ext uri="{FF2B5EF4-FFF2-40B4-BE49-F238E27FC236}">
                  <a16:creationId xmlns:a16="http://schemas.microsoft.com/office/drawing/2014/main" id="{75596C62-BF8E-4158-84B8-949CCA5F54D5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9600" y="-2374900"/>
              <a:ext cx="168275" cy="292100"/>
            </a:xfrm>
            <a:custGeom>
              <a:avLst/>
              <a:gdLst>
                <a:gd name="T0" fmla="*/ 7 w 56"/>
                <a:gd name="T1" fmla="*/ 5 h 96"/>
                <a:gd name="T2" fmla="*/ 30 w 56"/>
                <a:gd name="T3" fmla="*/ 0 h 96"/>
                <a:gd name="T4" fmla="*/ 41 w 56"/>
                <a:gd name="T5" fmla="*/ 0 h 96"/>
                <a:gd name="T6" fmla="*/ 52 w 56"/>
                <a:gd name="T7" fmla="*/ 2 h 96"/>
                <a:gd name="T8" fmla="*/ 54 w 56"/>
                <a:gd name="T9" fmla="*/ 3 h 96"/>
                <a:gd name="T10" fmla="*/ 54 w 56"/>
                <a:gd name="T11" fmla="*/ 5 h 96"/>
                <a:gd name="T12" fmla="*/ 54 w 56"/>
                <a:gd name="T13" fmla="*/ 9 h 96"/>
                <a:gd name="T14" fmla="*/ 52 w 56"/>
                <a:gd name="T15" fmla="*/ 12 h 96"/>
                <a:gd name="T16" fmla="*/ 52 w 56"/>
                <a:gd name="T17" fmla="*/ 12 h 96"/>
                <a:gd name="T18" fmla="*/ 41 w 56"/>
                <a:gd name="T19" fmla="*/ 10 h 96"/>
                <a:gd name="T20" fmla="*/ 30 w 56"/>
                <a:gd name="T21" fmla="*/ 10 h 96"/>
                <a:gd name="T22" fmla="*/ 15 w 56"/>
                <a:gd name="T23" fmla="*/ 13 h 96"/>
                <a:gd name="T24" fmla="*/ 11 w 56"/>
                <a:gd name="T25" fmla="*/ 23 h 96"/>
                <a:gd name="T26" fmla="*/ 11 w 56"/>
                <a:gd name="T27" fmla="*/ 28 h 96"/>
                <a:gd name="T28" fmla="*/ 13 w 56"/>
                <a:gd name="T29" fmla="*/ 32 h 96"/>
                <a:gd name="T30" fmla="*/ 17 w 56"/>
                <a:gd name="T31" fmla="*/ 36 h 96"/>
                <a:gd name="T32" fmla="*/ 24 w 56"/>
                <a:gd name="T33" fmla="*/ 41 h 96"/>
                <a:gd name="T34" fmla="*/ 36 w 56"/>
                <a:gd name="T35" fmla="*/ 49 h 96"/>
                <a:gd name="T36" fmla="*/ 51 w 56"/>
                <a:gd name="T37" fmla="*/ 65 h 96"/>
                <a:gd name="T38" fmla="*/ 56 w 56"/>
                <a:gd name="T39" fmla="*/ 83 h 96"/>
                <a:gd name="T40" fmla="*/ 56 w 56"/>
                <a:gd name="T41" fmla="*/ 93 h 96"/>
                <a:gd name="T42" fmla="*/ 55 w 56"/>
                <a:gd name="T43" fmla="*/ 95 h 96"/>
                <a:gd name="T44" fmla="*/ 53 w 56"/>
                <a:gd name="T45" fmla="*/ 96 h 96"/>
                <a:gd name="T46" fmla="*/ 3 w 56"/>
                <a:gd name="T47" fmla="*/ 96 h 96"/>
                <a:gd name="T48" fmla="*/ 2 w 56"/>
                <a:gd name="T49" fmla="*/ 95 h 96"/>
                <a:gd name="T50" fmla="*/ 1 w 56"/>
                <a:gd name="T51" fmla="*/ 93 h 96"/>
                <a:gd name="T52" fmla="*/ 1 w 56"/>
                <a:gd name="T53" fmla="*/ 88 h 96"/>
                <a:gd name="T54" fmla="*/ 2 w 56"/>
                <a:gd name="T55" fmla="*/ 86 h 96"/>
                <a:gd name="T56" fmla="*/ 3 w 56"/>
                <a:gd name="T57" fmla="*/ 85 h 96"/>
                <a:gd name="T58" fmla="*/ 46 w 56"/>
                <a:gd name="T59" fmla="*/ 85 h 96"/>
                <a:gd name="T60" fmla="*/ 46 w 56"/>
                <a:gd name="T61" fmla="*/ 83 h 96"/>
                <a:gd name="T62" fmla="*/ 45 w 56"/>
                <a:gd name="T63" fmla="*/ 75 h 96"/>
                <a:gd name="T64" fmla="*/ 42 w 56"/>
                <a:gd name="T65" fmla="*/ 69 h 96"/>
                <a:gd name="T66" fmla="*/ 37 w 56"/>
                <a:gd name="T67" fmla="*/ 62 h 96"/>
                <a:gd name="T68" fmla="*/ 28 w 56"/>
                <a:gd name="T69" fmla="*/ 56 h 96"/>
                <a:gd name="T70" fmla="*/ 16 w 56"/>
                <a:gd name="T71" fmla="*/ 47 h 96"/>
                <a:gd name="T72" fmla="*/ 3 w 56"/>
                <a:gd name="T73" fmla="*/ 36 h 96"/>
                <a:gd name="T74" fmla="*/ 0 w 56"/>
                <a:gd name="T75" fmla="*/ 23 h 96"/>
                <a:gd name="T76" fmla="*/ 7 w 56"/>
                <a:gd name="T77" fmla="*/ 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6" h="96">
                  <a:moveTo>
                    <a:pt x="7" y="5"/>
                  </a:moveTo>
                  <a:cubicBezTo>
                    <a:pt x="12" y="2"/>
                    <a:pt x="19" y="0"/>
                    <a:pt x="30" y="0"/>
                  </a:cubicBezTo>
                  <a:cubicBezTo>
                    <a:pt x="33" y="0"/>
                    <a:pt x="37" y="0"/>
                    <a:pt x="41" y="0"/>
                  </a:cubicBezTo>
                  <a:cubicBezTo>
                    <a:pt x="45" y="1"/>
                    <a:pt x="49" y="1"/>
                    <a:pt x="52" y="2"/>
                  </a:cubicBezTo>
                  <a:cubicBezTo>
                    <a:pt x="53" y="3"/>
                    <a:pt x="53" y="3"/>
                    <a:pt x="54" y="3"/>
                  </a:cubicBezTo>
                  <a:cubicBezTo>
                    <a:pt x="54" y="3"/>
                    <a:pt x="54" y="4"/>
                    <a:pt x="54" y="5"/>
                  </a:cubicBezTo>
                  <a:cubicBezTo>
                    <a:pt x="54" y="9"/>
                    <a:pt x="54" y="9"/>
                    <a:pt x="54" y="9"/>
                  </a:cubicBezTo>
                  <a:cubicBezTo>
                    <a:pt x="54" y="11"/>
                    <a:pt x="54" y="12"/>
                    <a:pt x="52" y="12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48" y="11"/>
                    <a:pt x="45" y="11"/>
                    <a:pt x="41" y="10"/>
                  </a:cubicBezTo>
                  <a:cubicBezTo>
                    <a:pt x="37" y="10"/>
                    <a:pt x="33" y="10"/>
                    <a:pt x="30" y="10"/>
                  </a:cubicBezTo>
                  <a:cubicBezTo>
                    <a:pt x="23" y="10"/>
                    <a:pt x="18" y="11"/>
                    <a:pt x="15" y="13"/>
                  </a:cubicBezTo>
                  <a:cubicBezTo>
                    <a:pt x="12" y="15"/>
                    <a:pt x="11" y="18"/>
                    <a:pt x="11" y="23"/>
                  </a:cubicBezTo>
                  <a:cubicBezTo>
                    <a:pt x="11" y="25"/>
                    <a:pt x="11" y="26"/>
                    <a:pt x="11" y="28"/>
                  </a:cubicBezTo>
                  <a:cubicBezTo>
                    <a:pt x="12" y="29"/>
                    <a:pt x="12" y="31"/>
                    <a:pt x="13" y="32"/>
                  </a:cubicBezTo>
                  <a:cubicBezTo>
                    <a:pt x="14" y="33"/>
                    <a:pt x="16" y="35"/>
                    <a:pt x="17" y="36"/>
                  </a:cubicBezTo>
                  <a:cubicBezTo>
                    <a:pt x="19" y="37"/>
                    <a:pt x="21" y="39"/>
                    <a:pt x="24" y="41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43" y="54"/>
                    <a:pt x="48" y="59"/>
                    <a:pt x="51" y="65"/>
                  </a:cubicBezTo>
                  <a:cubicBezTo>
                    <a:pt x="54" y="70"/>
                    <a:pt x="56" y="76"/>
                    <a:pt x="56" y="83"/>
                  </a:cubicBezTo>
                  <a:cubicBezTo>
                    <a:pt x="56" y="93"/>
                    <a:pt x="56" y="93"/>
                    <a:pt x="56" y="93"/>
                  </a:cubicBezTo>
                  <a:cubicBezTo>
                    <a:pt x="56" y="94"/>
                    <a:pt x="56" y="94"/>
                    <a:pt x="55" y="95"/>
                  </a:cubicBezTo>
                  <a:cubicBezTo>
                    <a:pt x="55" y="95"/>
                    <a:pt x="54" y="96"/>
                    <a:pt x="53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3" y="96"/>
                    <a:pt x="2" y="95"/>
                    <a:pt x="2" y="95"/>
                  </a:cubicBezTo>
                  <a:cubicBezTo>
                    <a:pt x="1" y="94"/>
                    <a:pt x="1" y="94"/>
                    <a:pt x="1" y="93"/>
                  </a:cubicBezTo>
                  <a:cubicBezTo>
                    <a:pt x="1" y="88"/>
                    <a:pt x="1" y="88"/>
                    <a:pt x="1" y="88"/>
                  </a:cubicBezTo>
                  <a:cubicBezTo>
                    <a:pt x="1" y="87"/>
                    <a:pt x="1" y="86"/>
                    <a:pt x="2" y="86"/>
                  </a:cubicBezTo>
                  <a:cubicBezTo>
                    <a:pt x="2" y="86"/>
                    <a:pt x="3" y="85"/>
                    <a:pt x="3" y="85"/>
                  </a:cubicBezTo>
                  <a:cubicBezTo>
                    <a:pt x="46" y="85"/>
                    <a:pt x="46" y="85"/>
                    <a:pt x="46" y="85"/>
                  </a:cubicBezTo>
                  <a:cubicBezTo>
                    <a:pt x="46" y="83"/>
                    <a:pt x="46" y="83"/>
                    <a:pt x="46" y="83"/>
                  </a:cubicBezTo>
                  <a:cubicBezTo>
                    <a:pt x="46" y="80"/>
                    <a:pt x="46" y="77"/>
                    <a:pt x="45" y="75"/>
                  </a:cubicBezTo>
                  <a:cubicBezTo>
                    <a:pt x="44" y="73"/>
                    <a:pt x="44" y="71"/>
                    <a:pt x="42" y="69"/>
                  </a:cubicBezTo>
                  <a:cubicBezTo>
                    <a:pt x="41" y="66"/>
                    <a:pt x="39" y="64"/>
                    <a:pt x="37" y="62"/>
                  </a:cubicBezTo>
                  <a:cubicBezTo>
                    <a:pt x="35" y="60"/>
                    <a:pt x="32" y="58"/>
                    <a:pt x="28" y="56"/>
                  </a:cubicBezTo>
                  <a:cubicBezTo>
                    <a:pt x="16" y="47"/>
                    <a:pt x="16" y="47"/>
                    <a:pt x="16" y="47"/>
                  </a:cubicBezTo>
                  <a:cubicBezTo>
                    <a:pt x="10" y="43"/>
                    <a:pt x="6" y="39"/>
                    <a:pt x="3" y="36"/>
                  </a:cubicBezTo>
                  <a:cubicBezTo>
                    <a:pt x="1" y="32"/>
                    <a:pt x="0" y="28"/>
                    <a:pt x="0" y="23"/>
                  </a:cubicBezTo>
                  <a:cubicBezTo>
                    <a:pt x="0" y="15"/>
                    <a:pt x="2" y="9"/>
                    <a:pt x="7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7235DBE7-9C8E-4A39-B93C-90B4970974DE}"/>
              </a:ext>
            </a:extLst>
          </p:cNvPr>
          <p:cNvSpPr/>
          <p:nvPr/>
        </p:nvSpPr>
        <p:spPr>
          <a:xfrm>
            <a:off x="7064944" y="4424135"/>
            <a:ext cx="4811058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Go to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24Slides.com/</a:t>
            </a:r>
            <a:r>
              <a:rPr kumimoji="0" lang="id-ID" sz="18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order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to find out more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83D65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8064810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Picture 43">
            <a:extLst>
              <a:ext uri="{FF2B5EF4-FFF2-40B4-BE49-F238E27FC236}">
                <a16:creationId xmlns:a16="http://schemas.microsoft.com/office/drawing/2014/main" id="{3C9E2E5C-1108-47F0-B48E-FBF94171174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826" t="4428" r="8727" b="5454"/>
          <a:stretch/>
        </p:blipFill>
        <p:spPr>
          <a:xfrm>
            <a:off x="2720985" y="2336141"/>
            <a:ext cx="2453800" cy="2185721"/>
          </a:xfrm>
          <a:custGeom>
            <a:avLst/>
            <a:gdLst>
              <a:gd name="connsiteX0" fmla="*/ 0 w 2453800"/>
              <a:gd name="connsiteY0" fmla="*/ 0 h 2185721"/>
              <a:gd name="connsiteX1" fmla="*/ 2453800 w 2453800"/>
              <a:gd name="connsiteY1" fmla="*/ 0 h 2185721"/>
              <a:gd name="connsiteX2" fmla="*/ 2453800 w 2453800"/>
              <a:gd name="connsiteY2" fmla="*/ 2185721 h 2185721"/>
              <a:gd name="connsiteX3" fmla="*/ 0 w 2453800"/>
              <a:gd name="connsiteY3" fmla="*/ 2185721 h 2185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53800" h="2185721">
                <a:moveTo>
                  <a:pt x="0" y="0"/>
                </a:moveTo>
                <a:lnTo>
                  <a:pt x="2453800" y="0"/>
                </a:lnTo>
                <a:lnTo>
                  <a:pt x="2453800" y="2185721"/>
                </a:lnTo>
                <a:lnTo>
                  <a:pt x="0" y="2185721"/>
                </a:lnTo>
                <a:close/>
              </a:path>
            </a:pathLst>
          </a:cu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5B725929-9054-438F-9944-BFEBF692986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829" t="22024" r="10679" b="12072"/>
          <a:stretch/>
        </p:blipFill>
        <p:spPr>
          <a:xfrm>
            <a:off x="131535" y="2336141"/>
            <a:ext cx="2453800" cy="2185721"/>
          </a:xfrm>
          <a:custGeom>
            <a:avLst/>
            <a:gdLst>
              <a:gd name="connsiteX0" fmla="*/ 0 w 2453800"/>
              <a:gd name="connsiteY0" fmla="*/ 0 h 2185721"/>
              <a:gd name="connsiteX1" fmla="*/ 2453800 w 2453800"/>
              <a:gd name="connsiteY1" fmla="*/ 0 h 2185721"/>
              <a:gd name="connsiteX2" fmla="*/ 2453800 w 2453800"/>
              <a:gd name="connsiteY2" fmla="*/ 2185721 h 2185721"/>
              <a:gd name="connsiteX3" fmla="*/ 0 w 2453800"/>
              <a:gd name="connsiteY3" fmla="*/ 2185721 h 2185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53800" h="2185721">
                <a:moveTo>
                  <a:pt x="0" y="0"/>
                </a:moveTo>
                <a:lnTo>
                  <a:pt x="2453800" y="0"/>
                </a:lnTo>
                <a:lnTo>
                  <a:pt x="2453800" y="2185721"/>
                </a:lnTo>
                <a:lnTo>
                  <a:pt x="0" y="2185721"/>
                </a:lnTo>
                <a:close/>
              </a:path>
            </a:pathLst>
          </a:cu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58357A94-6A53-422A-96F7-5785CBA48D77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42" t="6460" r="21326"/>
          <a:stretch/>
        </p:blipFill>
        <p:spPr>
          <a:xfrm>
            <a:off x="5740314" y="159336"/>
            <a:ext cx="2023922" cy="2044522"/>
          </a:xfrm>
          <a:custGeom>
            <a:avLst/>
            <a:gdLst>
              <a:gd name="connsiteX0" fmla="*/ 0 w 2023922"/>
              <a:gd name="connsiteY0" fmla="*/ 0 h 2044522"/>
              <a:gd name="connsiteX1" fmla="*/ 2023922 w 2023922"/>
              <a:gd name="connsiteY1" fmla="*/ 0 h 2044522"/>
              <a:gd name="connsiteX2" fmla="*/ 2023922 w 2023922"/>
              <a:gd name="connsiteY2" fmla="*/ 2044522 h 2044522"/>
              <a:gd name="connsiteX3" fmla="*/ 0 w 2023922"/>
              <a:gd name="connsiteY3" fmla="*/ 2044522 h 20445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23922" h="2044522">
                <a:moveTo>
                  <a:pt x="0" y="0"/>
                </a:moveTo>
                <a:lnTo>
                  <a:pt x="2023922" y="0"/>
                </a:lnTo>
                <a:lnTo>
                  <a:pt x="2023922" y="2044522"/>
                </a:lnTo>
                <a:lnTo>
                  <a:pt x="0" y="2044522"/>
                </a:lnTo>
                <a:close/>
              </a:path>
            </a:pathLst>
          </a:cu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7E72D3E7-1F53-43A3-9F20-38AAA2821DE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307" t="3912" r="18906" b="16599"/>
          <a:stretch>
            <a:fillRect/>
          </a:stretch>
        </p:blipFill>
        <p:spPr>
          <a:xfrm>
            <a:off x="131536" y="4654143"/>
            <a:ext cx="2050379" cy="2044522"/>
          </a:xfrm>
          <a:custGeom>
            <a:avLst/>
            <a:gdLst>
              <a:gd name="connsiteX0" fmla="*/ 0 w 2050379"/>
              <a:gd name="connsiteY0" fmla="*/ 0 h 2044522"/>
              <a:gd name="connsiteX1" fmla="*/ 2050379 w 2050379"/>
              <a:gd name="connsiteY1" fmla="*/ 0 h 2044522"/>
              <a:gd name="connsiteX2" fmla="*/ 2050379 w 2050379"/>
              <a:gd name="connsiteY2" fmla="*/ 2044522 h 2044522"/>
              <a:gd name="connsiteX3" fmla="*/ 0 w 2050379"/>
              <a:gd name="connsiteY3" fmla="*/ 2044522 h 20445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50379" h="2044522">
                <a:moveTo>
                  <a:pt x="0" y="0"/>
                </a:moveTo>
                <a:lnTo>
                  <a:pt x="2050379" y="0"/>
                </a:lnTo>
                <a:lnTo>
                  <a:pt x="2050379" y="2044522"/>
                </a:lnTo>
                <a:lnTo>
                  <a:pt x="0" y="2044522"/>
                </a:lnTo>
                <a:close/>
              </a:path>
            </a:pathLst>
          </a:cu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FEC489BB-6D23-4BB2-858F-AE041FC3FC8E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47" t="19290" r="7444" b="31187"/>
          <a:stretch/>
        </p:blipFill>
        <p:spPr>
          <a:xfrm>
            <a:off x="2314197" y="4654143"/>
            <a:ext cx="5450039" cy="2044522"/>
          </a:xfrm>
          <a:custGeom>
            <a:avLst/>
            <a:gdLst>
              <a:gd name="connsiteX0" fmla="*/ 0 w 5450039"/>
              <a:gd name="connsiteY0" fmla="*/ 0 h 2044522"/>
              <a:gd name="connsiteX1" fmla="*/ 5450039 w 5450039"/>
              <a:gd name="connsiteY1" fmla="*/ 0 h 2044522"/>
              <a:gd name="connsiteX2" fmla="*/ 5450039 w 5450039"/>
              <a:gd name="connsiteY2" fmla="*/ 2044522 h 2044522"/>
              <a:gd name="connsiteX3" fmla="*/ 0 w 5450039"/>
              <a:gd name="connsiteY3" fmla="*/ 2044522 h 20445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50039" h="2044522">
                <a:moveTo>
                  <a:pt x="0" y="0"/>
                </a:moveTo>
                <a:lnTo>
                  <a:pt x="5450039" y="0"/>
                </a:lnTo>
                <a:lnTo>
                  <a:pt x="5450039" y="2044522"/>
                </a:lnTo>
                <a:lnTo>
                  <a:pt x="0" y="2044522"/>
                </a:lnTo>
                <a:close/>
              </a:path>
            </a:pathLst>
          </a:cu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52676595-1315-465C-A114-1CCD8090608A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62" t="27252" r="38219" b="2059"/>
          <a:stretch/>
        </p:blipFill>
        <p:spPr>
          <a:xfrm>
            <a:off x="5310436" y="2336140"/>
            <a:ext cx="2453800" cy="2185721"/>
          </a:xfrm>
          <a:custGeom>
            <a:avLst/>
            <a:gdLst>
              <a:gd name="connsiteX0" fmla="*/ 0 w 2453800"/>
              <a:gd name="connsiteY0" fmla="*/ 0 h 2185721"/>
              <a:gd name="connsiteX1" fmla="*/ 2453800 w 2453800"/>
              <a:gd name="connsiteY1" fmla="*/ 0 h 2185721"/>
              <a:gd name="connsiteX2" fmla="*/ 2453800 w 2453800"/>
              <a:gd name="connsiteY2" fmla="*/ 2185721 h 2185721"/>
              <a:gd name="connsiteX3" fmla="*/ 0 w 2453800"/>
              <a:gd name="connsiteY3" fmla="*/ 2185721 h 2185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53800" h="2185721">
                <a:moveTo>
                  <a:pt x="0" y="0"/>
                </a:moveTo>
                <a:lnTo>
                  <a:pt x="2453800" y="0"/>
                </a:lnTo>
                <a:lnTo>
                  <a:pt x="2453800" y="2185721"/>
                </a:lnTo>
                <a:lnTo>
                  <a:pt x="0" y="2185721"/>
                </a:lnTo>
                <a:close/>
              </a:path>
            </a:pathLst>
          </a:cu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BCD47C97-207D-449D-AF17-F0F84072BFE1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54" t="30804" r="3054" b="16617"/>
          <a:stretch/>
        </p:blipFill>
        <p:spPr>
          <a:xfrm>
            <a:off x="131536" y="159336"/>
            <a:ext cx="5476496" cy="2044522"/>
          </a:xfrm>
          <a:custGeom>
            <a:avLst/>
            <a:gdLst>
              <a:gd name="connsiteX0" fmla="*/ 0 w 5476496"/>
              <a:gd name="connsiteY0" fmla="*/ 0 h 2044522"/>
              <a:gd name="connsiteX1" fmla="*/ 5476496 w 5476496"/>
              <a:gd name="connsiteY1" fmla="*/ 0 h 2044522"/>
              <a:gd name="connsiteX2" fmla="*/ 5476496 w 5476496"/>
              <a:gd name="connsiteY2" fmla="*/ 2044522 h 2044522"/>
              <a:gd name="connsiteX3" fmla="*/ 0 w 5476496"/>
              <a:gd name="connsiteY3" fmla="*/ 2044522 h 20445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76496" h="2044522">
                <a:moveTo>
                  <a:pt x="0" y="0"/>
                </a:moveTo>
                <a:lnTo>
                  <a:pt x="5476496" y="0"/>
                </a:lnTo>
                <a:lnTo>
                  <a:pt x="5476496" y="2044522"/>
                </a:lnTo>
                <a:lnTo>
                  <a:pt x="0" y="2044522"/>
                </a:lnTo>
                <a:close/>
              </a:path>
            </a:pathLst>
          </a:custGeom>
        </p:spPr>
      </p:pic>
      <p:grpSp>
        <p:nvGrpSpPr>
          <p:cNvPr id="46" name="Group 45">
            <a:extLst>
              <a:ext uri="{FF2B5EF4-FFF2-40B4-BE49-F238E27FC236}">
                <a16:creationId xmlns:a16="http://schemas.microsoft.com/office/drawing/2014/main" id="{C730B6A0-6895-4C19-8272-B4F32875D307}"/>
              </a:ext>
            </a:extLst>
          </p:cNvPr>
          <p:cNvGrpSpPr/>
          <p:nvPr/>
        </p:nvGrpSpPr>
        <p:grpSpPr>
          <a:xfrm>
            <a:off x="10928712" y="6378850"/>
            <a:ext cx="947290" cy="270982"/>
            <a:chOff x="4103688" y="-2378075"/>
            <a:chExt cx="1309687" cy="374650"/>
          </a:xfrm>
          <a:solidFill>
            <a:srgbClr val="468DC3"/>
          </a:solidFill>
        </p:grpSpPr>
        <p:sp>
          <p:nvSpPr>
            <p:cNvPr id="47" name="Freeform 254">
              <a:extLst>
                <a:ext uri="{FF2B5EF4-FFF2-40B4-BE49-F238E27FC236}">
                  <a16:creationId xmlns:a16="http://schemas.microsoft.com/office/drawing/2014/main" id="{2C71E541-C077-487E-ADF3-6D2D8ED5689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3688" y="-2374900"/>
              <a:ext cx="182562" cy="288925"/>
            </a:xfrm>
            <a:custGeom>
              <a:avLst/>
              <a:gdLst>
                <a:gd name="T0" fmla="*/ 43 w 61"/>
                <a:gd name="T1" fmla="*/ 47 h 95"/>
                <a:gd name="T2" fmla="*/ 30 w 61"/>
                <a:gd name="T3" fmla="*/ 55 h 95"/>
                <a:gd name="T4" fmla="*/ 11 w 61"/>
                <a:gd name="T5" fmla="*/ 83 h 95"/>
                <a:gd name="T6" fmla="*/ 11 w 61"/>
                <a:gd name="T7" fmla="*/ 85 h 95"/>
                <a:gd name="T8" fmla="*/ 57 w 61"/>
                <a:gd name="T9" fmla="*/ 85 h 95"/>
                <a:gd name="T10" fmla="*/ 60 w 61"/>
                <a:gd name="T11" fmla="*/ 88 h 95"/>
                <a:gd name="T12" fmla="*/ 60 w 61"/>
                <a:gd name="T13" fmla="*/ 93 h 95"/>
                <a:gd name="T14" fmla="*/ 57 w 61"/>
                <a:gd name="T15" fmla="*/ 95 h 95"/>
                <a:gd name="T16" fmla="*/ 3 w 61"/>
                <a:gd name="T17" fmla="*/ 95 h 95"/>
                <a:gd name="T18" fmla="*/ 0 w 61"/>
                <a:gd name="T19" fmla="*/ 93 h 95"/>
                <a:gd name="T20" fmla="*/ 0 w 61"/>
                <a:gd name="T21" fmla="*/ 83 h 95"/>
                <a:gd name="T22" fmla="*/ 21 w 61"/>
                <a:gd name="T23" fmla="*/ 49 h 95"/>
                <a:gd name="T24" fmla="*/ 35 w 61"/>
                <a:gd name="T25" fmla="*/ 40 h 95"/>
                <a:gd name="T26" fmla="*/ 49 w 61"/>
                <a:gd name="T27" fmla="*/ 22 h 95"/>
                <a:gd name="T28" fmla="*/ 28 w 61"/>
                <a:gd name="T29" fmla="*/ 9 h 95"/>
                <a:gd name="T30" fmla="*/ 4 w 61"/>
                <a:gd name="T31" fmla="*/ 11 h 95"/>
                <a:gd name="T32" fmla="*/ 3 w 61"/>
                <a:gd name="T33" fmla="*/ 11 h 95"/>
                <a:gd name="T34" fmla="*/ 1 w 61"/>
                <a:gd name="T35" fmla="*/ 9 h 95"/>
                <a:gd name="T36" fmla="*/ 1 w 61"/>
                <a:gd name="T37" fmla="*/ 4 h 95"/>
                <a:gd name="T38" fmla="*/ 4 w 61"/>
                <a:gd name="T39" fmla="*/ 2 h 95"/>
                <a:gd name="T40" fmla="*/ 28 w 61"/>
                <a:gd name="T41" fmla="*/ 0 h 95"/>
                <a:gd name="T42" fmla="*/ 61 w 61"/>
                <a:gd name="T43" fmla="*/ 22 h 95"/>
                <a:gd name="T44" fmla="*/ 43 w 61"/>
                <a:gd name="T45" fmla="*/ 47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1" h="95">
                  <a:moveTo>
                    <a:pt x="43" y="47"/>
                  </a:moveTo>
                  <a:cubicBezTo>
                    <a:pt x="30" y="55"/>
                    <a:pt x="30" y="55"/>
                    <a:pt x="30" y="55"/>
                  </a:cubicBezTo>
                  <a:cubicBezTo>
                    <a:pt x="15" y="65"/>
                    <a:pt x="11" y="72"/>
                    <a:pt x="11" y="83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59" y="85"/>
                    <a:pt x="60" y="86"/>
                    <a:pt x="60" y="88"/>
                  </a:cubicBezTo>
                  <a:cubicBezTo>
                    <a:pt x="60" y="93"/>
                    <a:pt x="60" y="93"/>
                    <a:pt x="60" y="93"/>
                  </a:cubicBezTo>
                  <a:cubicBezTo>
                    <a:pt x="60" y="95"/>
                    <a:pt x="59" y="95"/>
                    <a:pt x="57" y="95"/>
                  </a:cubicBezTo>
                  <a:cubicBezTo>
                    <a:pt x="3" y="95"/>
                    <a:pt x="3" y="95"/>
                    <a:pt x="3" y="95"/>
                  </a:cubicBezTo>
                  <a:cubicBezTo>
                    <a:pt x="1" y="95"/>
                    <a:pt x="0" y="94"/>
                    <a:pt x="0" y="93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69"/>
                    <a:pt x="6" y="58"/>
                    <a:pt x="21" y="49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46" y="33"/>
                    <a:pt x="49" y="30"/>
                    <a:pt x="49" y="22"/>
                  </a:cubicBezTo>
                  <a:cubicBezTo>
                    <a:pt x="49" y="13"/>
                    <a:pt x="43" y="9"/>
                    <a:pt x="28" y="9"/>
                  </a:cubicBezTo>
                  <a:cubicBezTo>
                    <a:pt x="21" y="9"/>
                    <a:pt x="12" y="10"/>
                    <a:pt x="4" y="11"/>
                  </a:cubicBezTo>
                  <a:cubicBezTo>
                    <a:pt x="4" y="11"/>
                    <a:pt x="4" y="11"/>
                    <a:pt x="3" y="11"/>
                  </a:cubicBezTo>
                  <a:cubicBezTo>
                    <a:pt x="2" y="11"/>
                    <a:pt x="1" y="10"/>
                    <a:pt x="1" y="9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3"/>
                    <a:pt x="3" y="2"/>
                    <a:pt x="4" y="2"/>
                  </a:cubicBezTo>
                  <a:cubicBezTo>
                    <a:pt x="11" y="0"/>
                    <a:pt x="20" y="0"/>
                    <a:pt x="28" y="0"/>
                  </a:cubicBezTo>
                  <a:cubicBezTo>
                    <a:pt x="51" y="0"/>
                    <a:pt x="61" y="7"/>
                    <a:pt x="61" y="22"/>
                  </a:cubicBezTo>
                  <a:cubicBezTo>
                    <a:pt x="61" y="33"/>
                    <a:pt x="56" y="39"/>
                    <a:pt x="43" y="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Freeform 255">
              <a:extLst>
                <a:ext uri="{FF2B5EF4-FFF2-40B4-BE49-F238E27FC236}">
                  <a16:creationId xmlns:a16="http://schemas.microsoft.com/office/drawing/2014/main" id="{57AE4BE3-F3F1-406C-B966-79ED4DA14D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08463" y="-2308225"/>
              <a:ext cx="211137" cy="304800"/>
            </a:xfrm>
            <a:custGeom>
              <a:avLst/>
              <a:gdLst>
                <a:gd name="T0" fmla="*/ 68 w 70"/>
                <a:gd name="T1" fmla="*/ 74 h 100"/>
                <a:gd name="T2" fmla="*/ 56 w 70"/>
                <a:gd name="T3" fmla="*/ 74 h 100"/>
                <a:gd name="T4" fmla="*/ 56 w 70"/>
                <a:gd name="T5" fmla="*/ 98 h 100"/>
                <a:gd name="T6" fmla="*/ 54 w 70"/>
                <a:gd name="T7" fmla="*/ 100 h 100"/>
                <a:gd name="T8" fmla="*/ 46 w 70"/>
                <a:gd name="T9" fmla="*/ 100 h 100"/>
                <a:gd name="T10" fmla="*/ 44 w 70"/>
                <a:gd name="T11" fmla="*/ 98 h 100"/>
                <a:gd name="T12" fmla="*/ 44 w 70"/>
                <a:gd name="T13" fmla="*/ 74 h 100"/>
                <a:gd name="T14" fmla="*/ 5 w 70"/>
                <a:gd name="T15" fmla="*/ 74 h 100"/>
                <a:gd name="T16" fmla="*/ 0 w 70"/>
                <a:gd name="T17" fmla="*/ 68 h 100"/>
                <a:gd name="T18" fmla="*/ 0 w 70"/>
                <a:gd name="T19" fmla="*/ 63 h 100"/>
                <a:gd name="T20" fmla="*/ 1 w 70"/>
                <a:gd name="T21" fmla="*/ 58 h 100"/>
                <a:gd name="T22" fmla="*/ 41 w 70"/>
                <a:gd name="T23" fmla="*/ 2 h 100"/>
                <a:gd name="T24" fmla="*/ 45 w 70"/>
                <a:gd name="T25" fmla="*/ 0 h 100"/>
                <a:gd name="T26" fmla="*/ 52 w 70"/>
                <a:gd name="T27" fmla="*/ 0 h 100"/>
                <a:gd name="T28" fmla="*/ 56 w 70"/>
                <a:gd name="T29" fmla="*/ 3 h 100"/>
                <a:gd name="T30" fmla="*/ 56 w 70"/>
                <a:gd name="T31" fmla="*/ 63 h 100"/>
                <a:gd name="T32" fmla="*/ 68 w 70"/>
                <a:gd name="T33" fmla="*/ 63 h 100"/>
                <a:gd name="T34" fmla="*/ 70 w 70"/>
                <a:gd name="T35" fmla="*/ 66 h 100"/>
                <a:gd name="T36" fmla="*/ 70 w 70"/>
                <a:gd name="T37" fmla="*/ 71 h 100"/>
                <a:gd name="T38" fmla="*/ 68 w 70"/>
                <a:gd name="T39" fmla="*/ 74 h 100"/>
                <a:gd name="T40" fmla="*/ 44 w 70"/>
                <a:gd name="T41" fmla="*/ 17 h 100"/>
                <a:gd name="T42" fmla="*/ 43 w 70"/>
                <a:gd name="T43" fmla="*/ 17 h 100"/>
                <a:gd name="T44" fmla="*/ 43 w 70"/>
                <a:gd name="T45" fmla="*/ 17 h 100"/>
                <a:gd name="T46" fmla="*/ 42 w 70"/>
                <a:gd name="T47" fmla="*/ 17 h 100"/>
                <a:gd name="T48" fmla="*/ 11 w 70"/>
                <a:gd name="T49" fmla="*/ 61 h 100"/>
                <a:gd name="T50" fmla="*/ 11 w 70"/>
                <a:gd name="T51" fmla="*/ 63 h 100"/>
                <a:gd name="T52" fmla="*/ 12 w 70"/>
                <a:gd name="T53" fmla="*/ 63 h 100"/>
                <a:gd name="T54" fmla="*/ 44 w 70"/>
                <a:gd name="T55" fmla="*/ 63 h 100"/>
                <a:gd name="T56" fmla="*/ 44 w 70"/>
                <a:gd name="T57" fmla="*/ 17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0" h="100">
                  <a:moveTo>
                    <a:pt x="68" y="74"/>
                  </a:moveTo>
                  <a:cubicBezTo>
                    <a:pt x="56" y="74"/>
                    <a:pt x="56" y="74"/>
                    <a:pt x="56" y="74"/>
                  </a:cubicBezTo>
                  <a:cubicBezTo>
                    <a:pt x="56" y="98"/>
                    <a:pt x="56" y="98"/>
                    <a:pt x="56" y="98"/>
                  </a:cubicBezTo>
                  <a:cubicBezTo>
                    <a:pt x="56" y="99"/>
                    <a:pt x="55" y="100"/>
                    <a:pt x="54" y="100"/>
                  </a:cubicBezTo>
                  <a:cubicBezTo>
                    <a:pt x="46" y="100"/>
                    <a:pt x="46" y="100"/>
                    <a:pt x="46" y="100"/>
                  </a:cubicBezTo>
                  <a:cubicBezTo>
                    <a:pt x="44" y="100"/>
                    <a:pt x="44" y="99"/>
                    <a:pt x="44" y="98"/>
                  </a:cubicBezTo>
                  <a:cubicBezTo>
                    <a:pt x="44" y="74"/>
                    <a:pt x="44" y="74"/>
                    <a:pt x="44" y="74"/>
                  </a:cubicBezTo>
                  <a:cubicBezTo>
                    <a:pt x="5" y="74"/>
                    <a:pt x="5" y="74"/>
                    <a:pt x="5" y="74"/>
                  </a:cubicBezTo>
                  <a:cubicBezTo>
                    <a:pt x="1" y="74"/>
                    <a:pt x="0" y="72"/>
                    <a:pt x="0" y="68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1"/>
                    <a:pt x="0" y="60"/>
                    <a:pt x="1" y="58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41" y="1"/>
                    <a:pt x="42" y="0"/>
                    <a:pt x="45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5" y="0"/>
                    <a:pt x="56" y="1"/>
                    <a:pt x="56" y="3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68" y="63"/>
                    <a:pt x="68" y="63"/>
                    <a:pt x="68" y="63"/>
                  </a:cubicBezTo>
                  <a:cubicBezTo>
                    <a:pt x="69" y="63"/>
                    <a:pt x="70" y="64"/>
                    <a:pt x="70" y="66"/>
                  </a:cubicBezTo>
                  <a:cubicBezTo>
                    <a:pt x="70" y="71"/>
                    <a:pt x="70" y="71"/>
                    <a:pt x="70" y="71"/>
                  </a:cubicBezTo>
                  <a:cubicBezTo>
                    <a:pt x="70" y="73"/>
                    <a:pt x="69" y="74"/>
                    <a:pt x="68" y="74"/>
                  </a:cubicBezTo>
                  <a:close/>
                  <a:moveTo>
                    <a:pt x="44" y="17"/>
                  </a:moveTo>
                  <a:cubicBezTo>
                    <a:pt x="44" y="17"/>
                    <a:pt x="44" y="17"/>
                    <a:pt x="43" y="17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3" y="17"/>
                    <a:pt x="42" y="17"/>
                    <a:pt x="42" y="17"/>
                  </a:cubicBezTo>
                  <a:cubicBezTo>
                    <a:pt x="11" y="61"/>
                    <a:pt x="11" y="61"/>
                    <a:pt x="11" y="61"/>
                  </a:cubicBezTo>
                  <a:cubicBezTo>
                    <a:pt x="11" y="62"/>
                    <a:pt x="11" y="62"/>
                    <a:pt x="11" y="63"/>
                  </a:cubicBezTo>
                  <a:cubicBezTo>
                    <a:pt x="11" y="63"/>
                    <a:pt x="11" y="63"/>
                    <a:pt x="12" y="63"/>
                  </a:cubicBezTo>
                  <a:cubicBezTo>
                    <a:pt x="44" y="63"/>
                    <a:pt x="44" y="63"/>
                    <a:pt x="44" y="63"/>
                  </a:cubicBezTo>
                  <a:lnTo>
                    <a:pt x="44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Freeform 256">
              <a:extLst>
                <a:ext uri="{FF2B5EF4-FFF2-40B4-BE49-F238E27FC236}">
                  <a16:creationId xmlns:a16="http://schemas.microsoft.com/office/drawing/2014/main" id="{95194608-4FB4-43F9-9488-8616552608DD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5025" y="-2374900"/>
              <a:ext cx="34925" cy="292100"/>
            </a:xfrm>
            <a:custGeom>
              <a:avLst/>
              <a:gdLst>
                <a:gd name="T0" fmla="*/ 11 w 12"/>
                <a:gd name="T1" fmla="*/ 95 h 96"/>
                <a:gd name="T2" fmla="*/ 10 w 12"/>
                <a:gd name="T3" fmla="*/ 96 h 96"/>
                <a:gd name="T4" fmla="*/ 3 w 12"/>
                <a:gd name="T5" fmla="*/ 96 h 96"/>
                <a:gd name="T6" fmla="*/ 1 w 12"/>
                <a:gd name="T7" fmla="*/ 95 h 96"/>
                <a:gd name="T8" fmla="*/ 0 w 12"/>
                <a:gd name="T9" fmla="*/ 93 h 96"/>
                <a:gd name="T10" fmla="*/ 0 w 12"/>
                <a:gd name="T11" fmla="*/ 2 h 96"/>
                <a:gd name="T12" fmla="*/ 1 w 12"/>
                <a:gd name="T13" fmla="*/ 1 h 96"/>
                <a:gd name="T14" fmla="*/ 3 w 12"/>
                <a:gd name="T15" fmla="*/ 0 h 96"/>
                <a:gd name="T16" fmla="*/ 10 w 12"/>
                <a:gd name="T17" fmla="*/ 0 h 96"/>
                <a:gd name="T18" fmla="*/ 11 w 12"/>
                <a:gd name="T19" fmla="*/ 1 h 96"/>
                <a:gd name="T20" fmla="*/ 12 w 12"/>
                <a:gd name="T21" fmla="*/ 2 h 96"/>
                <a:gd name="T22" fmla="*/ 12 w 12"/>
                <a:gd name="T23" fmla="*/ 93 h 96"/>
                <a:gd name="T24" fmla="*/ 11 w 12"/>
                <a:gd name="T25" fmla="*/ 9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96">
                  <a:moveTo>
                    <a:pt x="11" y="95"/>
                  </a:moveTo>
                  <a:cubicBezTo>
                    <a:pt x="11" y="95"/>
                    <a:pt x="10" y="96"/>
                    <a:pt x="10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2" y="96"/>
                    <a:pt x="1" y="95"/>
                    <a:pt x="1" y="95"/>
                  </a:cubicBezTo>
                  <a:cubicBezTo>
                    <a:pt x="0" y="94"/>
                    <a:pt x="0" y="94"/>
                    <a:pt x="0" y="9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1" y="0"/>
                    <a:pt x="11" y="1"/>
                  </a:cubicBezTo>
                  <a:cubicBezTo>
                    <a:pt x="12" y="1"/>
                    <a:pt x="12" y="2"/>
                    <a:pt x="12" y="2"/>
                  </a:cubicBezTo>
                  <a:cubicBezTo>
                    <a:pt x="12" y="93"/>
                    <a:pt x="12" y="93"/>
                    <a:pt x="12" y="93"/>
                  </a:cubicBezTo>
                  <a:cubicBezTo>
                    <a:pt x="12" y="94"/>
                    <a:pt x="12" y="94"/>
                    <a:pt x="11" y="9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Freeform 257">
              <a:extLst>
                <a:ext uri="{FF2B5EF4-FFF2-40B4-BE49-F238E27FC236}">
                  <a16:creationId xmlns:a16="http://schemas.microsoft.com/office/drawing/2014/main" id="{8C9375EB-E1ED-461B-AC2A-ECB2D9B8507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43450" y="-2378075"/>
              <a:ext cx="36512" cy="295275"/>
            </a:xfrm>
            <a:custGeom>
              <a:avLst/>
              <a:gdLst>
                <a:gd name="T0" fmla="*/ 11 w 12"/>
                <a:gd name="T1" fmla="*/ 15 h 97"/>
                <a:gd name="T2" fmla="*/ 9 w 12"/>
                <a:gd name="T3" fmla="*/ 15 h 97"/>
                <a:gd name="T4" fmla="*/ 3 w 12"/>
                <a:gd name="T5" fmla="*/ 15 h 97"/>
                <a:gd name="T6" fmla="*/ 1 w 12"/>
                <a:gd name="T7" fmla="*/ 15 h 97"/>
                <a:gd name="T8" fmla="*/ 0 w 12"/>
                <a:gd name="T9" fmla="*/ 13 h 97"/>
                <a:gd name="T10" fmla="*/ 0 w 12"/>
                <a:gd name="T11" fmla="*/ 3 h 97"/>
                <a:gd name="T12" fmla="*/ 1 w 12"/>
                <a:gd name="T13" fmla="*/ 1 h 97"/>
                <a:gd name="T14" fmla="*/ 3 w 12"/>
                <a:gd name="T15" fmla="*/ 0 h 97"/>
                <a:gd name="T16" fmla="*/ 9 w 12"/>
                <a:gd name="T17" fmla="*/ 0 h 97"/>
                <a:gd name="T18" fmla="*/ 11 w 12"/>
                <a:gd name="T19" fmla="*/ 1 h 97"/>
                <a:gd name="T20" fmla="*/ 12 w 12"/>
                <a:gd name="T21" fmla="*/ 3 h 97"/>
                <a:gd name="T22" fmla="*/ 12 w 12"/>
                <a:gd name="T23" fmla="*/ 13 h 97"/>
                <a:gd name="T24" fmla="*/ 11 w 12"/>
                <a:gd name="T25" fmla="*/ 15 h 97"/>
                <a:gd name="T26" fmla="*/ 11 w 12"/>
                <a:gd name="T27" fmla="*/ 96 h 97"/>
                <a:gd name="T28" fmla="*/ 9 w 12"/>
                <a:gd name="T29" fmla="*/ 97 h 97"/>
                <a:gd name="T30" fmla="*/ 3 w 12"/>
                <a:gd name="T31" fmla="*/ 97 h 97"/>
                <a:gd name="T32" fmla="*/ 1 w 12"/>
                <a:gd name="T33" fmla="*/ 96 h 97"/>
                <a:gd name="T34" fmla="*/ 0 w 12"/>
                <a:gd name="T35" fmla="*/ 94 h 97"/>
                <a:gd name="T36" fmla="*/ 0 w 12"/>
                <a:gd name="T37" fmla="*/ 29 h 97"/>
                <a:gd name="T38" fmla="*/ 1 w 12"/>
                <a:gd name="T39" fmla="*/ 27 h 97"/>
                <a:gd name="T40" fmla="*/ 3 w 12"/>
                <a:gd name="T41" fmla="*/ 27 h 97"/>
                <a:gd name="T42" fmla="*/ 9 w 12"/>
                <a:gd name="T43" fmla="*/ 27 h 97"/>
                <a:gd name="T44" fmla="*/ 11 w 12"/>
                <a:gd name="T45" fmla="*/ 27 h 97"/>
                <a:gd name="T46" fmla="*/ 12 w 12"/>
                <a:gd name="T47" fmla="*/ 29 h 97"/>
                <a:gd name="T48" fmla="*/ 12 w 12"/>
                <a:gd name="T49" fmla="*/ 94 h 97"/>
                <a:gd name="T50" fmla="*/ 11 w 12"/>
                <a:gd name="T51" fmla="*/ 96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" h="97">
                  <a:moveTo>
                    <a:pt x="11" y="15"/>
                  </a:moveTo>
                  <a:cubicBezTo>
                    <a:pt x="11" y="15"/>
                    <a:pt x="10" y="15"/>
                    <a:pt x="9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2" y="15"/>
                    <a:pt x="1" y="15"/>
                    <a:pt x="1" y="15"/>
                  </a:cubicBezTo>
                  <a:cubicBezTo>
                    <a:pt x="0" y="14"/>
                    <a:pt x="0" y="14"/>
                    <a:pt x="0" y="1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0"/>
                    <a:pt x="11" y="0"/>
                    <a:pt x="11" y="1"/>
                  </a:cubicBezTo>
                  <a:cubicBezTo>
                    <a:pt x="12" y="1"/>
                    <a:pt x="12" y="2"/>
                    <a:pt x="12" y="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4"/>
                    <a:pt x="12" y="14"/>
                    <a:pt x="11" y="15"/>
                  </a:cubicBezTo>
                  <a:close/>
                  <a:moveTo>
                    <a:pt x="11" y="96"/>
                  </a:moveTo>
                  <a:cubicBezTo>
                    <a:pt x="10" y="96"/>
                    <a:pt x="10" y="97"/>
                    <a:pt x="9" y="97"/>
                  </a:cubicBezTo>
                  <a:cubicBezTo>
                    <a:pt x="3" y="97"/>
                    <a:pt x="3" y="97"/>
                    <a:pt x="3" y="97"/>
                  </a:cubicBezTo>
                  <a:cubicBezTo>
                    <a:pt x="2" y="97"/>
                    <a:pt x="1" y="96"/>
                    <a:pt x="1" y="96"/>
                  </a:cubicBezTo>
                  <a:cubicBezTo>
                    <a:pt x="0" y="95"/>
                    <a:pt x="0" y="95"/>
                    <a:pt x="0" y="94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8"/>
                    <a:pt x="0" y="28"/>
                    <a:pt x="1" y="27"/>
                  </a:cubicBezTo>
                  <a:cubicBezTo>
                    <a:pt x="1" y="27"/>
                    <a:pt x="2" y="27"/>
                    <a:pt x="3" y="27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10" y="27"/>
                    <a:pt x="10" y="27"/>
                    <a:pt x="11" y="27"/>
                  </a:cubicBezTo>
                  <a:cubicBezTo>
                    <a:pt x="11" y="28"/>
                    <a:pt x="12" y="28"/>
                    <a:pt x="12" y="29"/>
                  </a:cubicBezTo>
                  <a:cubicBezTo>
                    <a:pt x="12" y="94"/>
                    <a:pt x="12" y="94"/>
                    <a:pt x="12" y="94"/>
                  </a:cubicBezTo>
                  <a:cubicBezTo>
                    <a:pt x="12" y="95"/>
                    <a:pt x="11" y="95"/>
                    <a:pt x="11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Freeform 258">
              <a:extLst>
                <a:ext uri="{FF2B5EF4-FFF2-40B4-BE49-F238E27FC236}">
                  <a16:creationId xmlns:a16="http://schemas.microsoft.com/office/drawing/2014/main" id="{3053A9B4-E757-4B0D-8721-A291D9A713D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30763" y="-2374900"/>
              <a:ext cx="171450" cy="295275"/>
            </a:xfrm>
            <a:custGeom>
              <a:avLst/>
              <a:gdLst>
                <a:gd name="T0" fmla="*/ 56 w 57"/>
                <a:gd name="T1" fmla="*/ 93 h 97"/>
                <a:gd name="T2" fmla="*/ 54 w 57"/>
                <a:gd name="T3" fmla="*/ 94 h 97"/>
                <a:gd name="T4" fmla="*/ 41 w 57"/>
                <a:gd name="T5" fmla="*/ 96 h 97"/>
                <a:gd name="T6" fmla="*/ 29 w 57"/>
                <a:gd name="T7" fmla="*/ 97 h 97"/>
                <a:gd name="T8" fmla="*/ 16 w 57"/>
                <a:gd name="T9" fmla="*/ 94 h 97"/>
                <a:gd name="T10" fmla="*/ 7 w 57"/>
                <a:gd name="T11" fmla="*/ 88 h 97"/>
                <a:gd name="T12" fmla="*/ 2 w 57"/>
                <a:gd name="T13" fmla="*/ 78 h 97"/>
                <a:gd name="T14" fmla="*/ 0 w 57"/>
                <a:gd name="T15" fmla="*/ 65 h 97"/>
                <a:gd name="T16" fmla="*/ 0 w 57"/>
                <a:gd name="T17" fmla="*/ 56 h 97"/>
                <a:gd name="T18" fmla="*/ 7 w 57"/>
                <a:gd name="T19" fmla="*/ 33 h 97"/>
                <a:gd name="T20" fmla="*/ 29 w 57"/>
                <a:gd name="T21" fmla="*/ 25 h 97"/>
                <a:gd name="T22" fmla="*/ 37 w 57"/>
                <a:gd name="T23" fmla="*/ 25 h 97"/>
                <a:gd name="T24" fmla="*/ 45 w 57"/>
                <a:gd name="T25" fmla="*/ 26 h 97"/>
                <a:gd name="T26" fmla="*/ 45 w 57"/>
                <a:gd name="T27" fmla="*/ 2 h 97"/>
                <a:gd name="T28" fmla="*/ 46 w 57"/>
                <a:gd name="T29" fmla="*/ 1 h 97"/>
                <a:gd name="T30" fmla="*/ 47 w 57"/>
                <a:gd name="T31" fmla="*/ 0 h 97"/>
                <a:gd name="T32" fmla="*/ 54 w 57"/>
                <a:gd name="T33" fmla="*/ 0 h 97"/>
                <a:gd name="T34" fmla="*/ 56 w 57"/>
                <a:gd name="T35" fmla="*/ 1 h 97"/>
                <a:gd name="T36" fmla="*/ 57 w 57"/>
                <a:gd name="T37" fmla="*/ 2 h 97"/>
                <a:gd name="T38" fmla="*/ 57 w 57"/>
                <a:gd name="T39" fmla="*/ 91 h 97"/>
                <a:gd name="T40" fmla="*/ 56 w 57"/>
                <a:gd name="T41" fmla="*/ 93 h 97"/>
                <a:gd name="T42" fmla="*/ 45 w 57"/>
                <a:gd name="T43" fmla="*/ 35 h 97"/>
                <a:gd name="T44" fmla="*/ 37 w 57"/>
                <a:gd name="T45" fmla="*/ 35 h 97"/>
                <a:gd name="T46" fmla="*/ 29 w 57"/>
                <a:gd name="T47" fmla="*/ 35 h 97"/>
                <a:gd name="T48" fmla="*/ 16 w 57"/>
                <a:gd name="T49" fmla="*/ 40 h 97"/>
                <a:gd name="T50" fmla="*/ 12 w 57"/>
                <a:gd name="T51" fmla="*/ 56 h 97"/>
                <a:gd name="T52" fmla="*/ 12 w 57"/>
                <a:gd name="T53" fmla="*/ 65 h 97"/>
                <a:gd name="T54" fmla="*/ 16 w 57"/>
                <a:gd name="T55" fmla="*/ 81 h 97"/>
                <a:gd name="T56" fmla="*/ 29 w 57"/>
                <a:gd name="T57" fmla="*/ 87 h 97"/>
                <a:gd name="T58" fmla="*/ 37 w 57"/>
                <a:gd name="T59" fmla="*/ 86 h 97"/>
                <a:gd name="T60" fmla="*/ 45 w 57"/>
                <a:gd name="T61" fmla="*/ 86 h 97"/>
                <a:gd name="T62" fmla="*/ 45 w 57"/>
                <a:gd name="T63" fmla="*/ 35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7" h="97">
                  <a:moveTo>
                    <a:pt x="56" y="93"/>
                  </a:moveTo>
                  <a:cubicBezTo>
                    <a:pt x="56" y="94"/>
                    <a:pt x="55" y="94"/>
                    <a:pt x="54" y="94"/>
                  </a:cubicBezTo>
                  <a:cubicBezTo>
                    <a:pt x="50" y="95"/>
                    <a:pt x="46" y="96"/>
                    <a:pt x="41" y="96"/>
                  </a:cubicBezTo>
                  <a:cubicBezTo>
                    <a:pt x="37" y="96"/>
                    <a:pt x="33" y="97"/>
                    <a:pt x="29" y="97"/>
                  </a:cubicBezTo>
                  <a:cubicBezTo>
                    <a:pt x="24" y="97"/>
                    <a:pt x="20" y="96"/>
                    <a:pt x="16" y="94"/>
                  </a:cubicBezTo>
                  <a:cubicBezTo>
                    <a:pt x="13" y="93"/>
                    <a:pt x="10" y="91"/>
                    <a:pt x="7" y="88"/>
                  </a:cubicBezTo>
                  <a:cubicBezTo>
                    <a:pt x="5" y="85"/>
                    <a:pt x="3" y="82"/>
                    <a:pt x="2" y="78"/>
                  </a:cubicBezTo>
                  <a:cubicBezTo>
                    <a:pt x="1" y="74"/>
                    <a:pt x="0" y="70"/>
                    <a:pt x="0" y="6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46"/>
                    <a:pt x="3" y="38"/>
                    <a:pt x="7" y="33"/>
                  </a:cubicBezTo>
                  <a:cubicBezTo>
                    <a:pt x="12" y="27"/>
                    <a:pt x="19" y="25"/>
                    <a:pt x="29" y="25"/>
                  </a:cubicBezTo>
                  <a:cubicBezTo>
                    <a:pt x="31" y="25"/>
                    <a:pt x="34" y="25"/>
                    <a:pt x="37" y="25"/>
                  </a:cubicBezTo>
                  <a:cubicBezTo>
                    <a:pt x="40" y="25"/>
                    <a:pt x="42" y="26"/>
                    <a:pt x="45" y="26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5" y="2"/>
                    <a:pt x="45" y="1"/>
                    <a:pt x="46" y="1"/>
                  </a:cubicBezTo>
                  <a:cubicBezTo>
                    <a:pt x="46" y="0"/>
                    <a:pt x="47" y="0"/>
                    <a:pt x="47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5" y="0"/>
                    <a:pt x="56" y="0"/>
                    <a:pt x="56" y="1"/>
                  </a:cubicBezTo>
                  <a:cubicBezTo>
                    <a:pt x="56" y="1"/>
                    <a:pt x="57" y="2"/>
                    <a:pt x="57" y="2"/>
                  </a:cubicBezTo>
                  <a:cubicBezTo>
                    <a:pt x="57" y="91"/>
                    <a:pt x="57" y="91"/>
                    <a:pt x="57" y="91"/>
                  </a:cubicBezTo>
                  <a:cubicBezTo>
                    <a:pt x="57" y="92"/>
                    <a:pt x="57" y="93"/>
                    <a:pt x="56" y="93"/>
                  </a:cubicBezTo>
                  <a:close/>
                  <a:moveTo>
                    <a:pt x="45" y="35"/>
                  </a:moveTo>
                  <a:cubicBezTo>
                    <a:pt x="43" y="35"/>
                    <a:pt x="40" y="35"/>
                    <a:pt x="37" y="35"/>
                  </a:cubicBezTo>
                  <a:cubicBezTo>
                    <a:pt x="34" y="35"/>
                    <a:pt x="31" y="35"/>
                    <a:pt x="29" y="35"/>
                  </a:cubicBezTo>
                  <a:cubicBezTo>
                    <a:pt x="23" y="35"/>
                    <a:pt x="18" y="36"/>
                    <a:pt x="16" y="40"/>
                  </a:cubicBezTo>
                  <a:cubicBezTo>
                    <a:pt x="13" y="44"/>
                    <a:pt x="12" y="49"/>
                    <a:pt x="12" y="56"/>
                  </a:cubicBezTo>
                  <a:cubicBezTo>
                    <a:pt x="12" y="65"/>
                    <a:pt x="12" y="65"/>
                    <a:pt x="12" y="65"/>
                  </a:cubicBezTo>
                  <a:cubicBezTo>
                    <a:pt x="12" y="72"/>
                    <a:pt x="13" y="77"/>
                    <a:pt x="16" y="81"/>
                  </a:cubicBezTo>
                  <a:cubicBezTo>
                    <a:pt x="18" y="85"/>
                    <a:pt x="23" y="87"/>
                    <a:pt x="29" y="87"/>
                  </a:cubicBezTo>
                  <a:cubicBezTo>
                    <a:pt x="32" y="87"/>
                    <a:pt x="34" y="87"/>
                    <a:pt x="37" y="86"/>
                  </a:cubicBezTo>
                  <a:cubicBezTo>
                    <a:pt x="40" y="86"/>
                    <a:pt x="43" y="86"/>
                    <a:pt x="45" y="86"/>
                  </a:cubicBezTo>
                  <a:lnTo>
                    <a:pt x="45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" name="Freeform 259">
              <a:extLst>
                <a:ext uri="{FF2B5EF4-FFF2-40B4-BE49-F238E27FC236}">
                  <a16:creationId xmlns:a16="http://schemas.microsoft.com/office/drawing/2014/main" id="{AB57744B-1BC2-4D8C-92C6-F9D0C7C6E9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46663" y="-2298700"/>
              <a:ext cx="180975" cy="219075"/>
            </a:xfrm>
            <a:custGeom>
              <a:avLst/>
              <a:gdLst>
                <a:gd name="T0" fmla="*/ 57 w 60"/>
                <a:gd name="T1" fmla="*/ 39 h 72"/>
                <a:gd name="T2" fmla="*/ 12 w 60"/>
                <a:gd name="T3" fmla="*/ 39 h 72"/>
                <a:gd name="T4" fmla="*/ 12 w 60"/>
                <a:gd name="T5" fmla="*/ 41 h 72"/>
                <a:gd name="T6" fmla="*/ 17 w 60"/>
                <a:gd name="T7" fmla="*/ 57 h 72"/>
                <a:gd name="T8" fmla="*/ 31 w 60"/>
                <a:gd name="T9" fmla="*/ 62 h 72"/>
                <a:gd name="T10" fmla="*/ 43 w 60"/>
                <a:gd name="T11" fmla="*/ 61 h 72"/>
                <a:gd name="T12" fmla="*/ 55 w 60"/>
                <a:gd name="T13" fmla="*/ 60 h 72"/>
                <a:gd name="T14" fmla="*/ 55 w 60"/>
                <a:gd name="T15" fmla="*/ 60 h 72"/>
                <a:gd name="T16" fmla="*/ 57 w 60"/>
                <a:gd name="T17" fmla="*/ 61 h 72"/>
                <a:gd name="T18" fmla="*/ 57 w 60"/>
                <a:gd name="T19" fmla="*/ 62 h 72"/>
                <a:gd name="T20" fmla="*/ 57 w 60"/>
                <a:gd name="T21" fmla="*/ 66 h 72"/>
                <a:gd name="T22" fmla="*/ 57 w 60"/>
                <a:gd name="T23" fmla="*/ 68 h 72"/>
                <a:gd name="T24" fmla="*/ 55 w 60"/>
                <a:gd name="T25" fmla="*/ 69 h 72"/>
                <a:gd name="T26" fmla="*/ 43 w 60"/>
                <a:gd name="T27" fmla="*/ 71 h 72"/>
                <a:gd name="T28" fmla="*/ 31 w 60"/>
                <a:gd name="T29" fmla="*/ 72 h 72"/>
                <a:gd name="T30" fmla="*/ 20 w 60"/>
                <a:gd name="T31" fmla="*/ 70 h 72"/>
                <a:gd name="T32" fmla="*/ 10 w 60"/>
                <a:gd name="T33" fmla="*/ 65 h 72"/>
                <a:gd name="T34" fmla="*/ 3 w 60"/>
                <a:gd name="T35" fmla="*/ 56 h 72"/>
                <a:gd name="T36" fmla="*/ 0 w 60"/>
                <a:gd name="T37" fmla="*/ 41 h 72"/>
                <a:gd name="T38" fmla="*/ 0 w 60"/>
                <a:gd name="T39" fmla="*/ 29 h 72"/>
                <a:gd name="T40" fmla="*/ 8 w 60"/>
                <a:gd name="T41" fmla="*/ 8 h 72"/>
                <a:gd name="T42" fmla="*/ 30 w 60"/>
                <a:gd name="T43" fmla="*/ 0 h 72"/>
                <a:gd name="T44" fmla="*/ 43 w 60"/>
                <a:gd name="T45" fmla="*/ 2 h 72"/>
                <a:gd name="T46" fmla="*/ 52 w 60"/>
                <a:gd name="T47" fmla="*/ 8 h 72"/>
                <a:gd name="T48" fmla="*/ 58 w 60"/>
                <a:gd name="T49" fmla="*/ 17 h 72"/>
                <a:gd name="T50" fmla="*/ 60 w 60"/>
                <a:gd name="T51" fmla="*/ 29 h 72"/>
                <a:gd name="T52" fmla="*/ 60 w 60"/>
                <a:gd name="T53" fmla="*/ 36 h 72"/>
                <a:gd name="T54" fmla="*/ 57 w 60"/>
                <a:gd name="T55" fmla="*/ 39 h 72"/>
                <a:gd name="T56" fmla="*/ 48 w 60"/>
                <a:gd name="T57" fmla="*/ 29 h 72"/>
                <a:gd name="T58" fmla="*/ 43 w 60"/>
                <a:gd name="T59" fmla="*/ 14 h 72"/>
                <a:gd name="T60" fmla="*/ 30 w 60"/>
                <a:gd name="T61" fmla="*/ 10 h 72"/>
                <a:gd name="T62" fmla="*/ 17 w 60"/>
                <a:gd name="T63" fmla="*/ 14 h 72"/>
                <a:gd name="T64" fmla="*/ 12 w 60"/>
                <a:gd name="T65" fmla="*/ 29 h 72"/>
                <a:gd name="T66" fmla="*/ 12 w 60"/>
                <a:gd name="T67" fmla="*/ 31 h 72"/>
                <a:gd name="T68" fmla="*/ 48 w 60"/>
                <a:gd name="T69" fmla="*/ 31 h 72"/>
                <a:gd name="T70" fmla="*/ 48 w 60"/>
                <a:gd name="T71" fmla="*/ 29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0" h="72">
                  <a:moveTo>
                    <a:pt x="57" y="39"/>
                  </a:moveTo>
                  <a:cubicBezTo>
                    <a:pt x="12" y="39"/>
                    <a:pt x="12" y="39"/>
                    <a:pt x="12" y="39"/>
                  </a:cubicBezTo>
                  <a:cubicBezTo>
                    <a:pt x="12" y="41"/>
                    <a:pt x="12" y="41"/>
                    <a:pt x="12" y="41"/>
                  </a:cubicBezTo>
                  <a:cubicBezTo>
                    <a:pt x="12" y="49"/>
                    <a:pt x="14" y="54"/>
                    <a:pt x="17" y="57"/>
                  </a:cubicBezTo>
                  <a:cubicBezTo>
                    <a:pt x="20" y="60"/>
                    <a:pt x="25" y="62"/>
                    <a:pt x="31" y="62"/>
                  </a:cubicBezTo>
                  <a:cubicBezTo>
                    <a:pt x="35" y="62"/>
                    <a:pt x="39" y="62"/>
                    <a:pt x="43" y="61"/>
                  </a:cubicBezTo>
                  <a:cubicBezTo>
                    <a:pt x="48" y="61"/>
                    <a:pt x="51" y="61"/>
                    <a:pt x="55" y="60"/>
                  </a:cubicBezTo>
                  <a:cubicBezTo>
                    <a:pt x="55" y="60"/>
                    <a:pt x="55" y="60"/>
                    <a:pt x="55" y="60"/>
                  </a:cubicBezTo>
                  <a:cubicBezTo>
                    <a:pt x="56" y="60"/>
                    <a:pt x="56" y="60"/>
                    <a:pt x="57" y="61"/>
                  </a:cubicBezTo>
                  <a:cubicBezTo>
                    <a:pt x="57" y="61"/>
                    <a:pt x="57" y="61"/>
                    <a:pt x="57" y="62"/>
                  </a:cubicBezTo>
                  <a:cubicBezTo>
                    <a:pt x="57" y="66"/>
                    <a:pt x="57" y="66"/>
                    <a:pt x="57" y="66"/>
                  </a:cubicBezTo>
                  <a:cubicBezTo>
                    <a:pt x="57" y="67"/>
                    <a:pt x="57" y="68"/>
                    <a:pt x="57" y="68"/>
                  </a:cubicBezTo>
                  <a:cubicBezTo>
                    <a:pt x="56" y="69"/>
                    <a:pt x="56" y="69"/>
                    <a:pt x="55" y="69"/>
                  </a:cubicBezTo>
                  <a:cubicBezTo>
                    <a:pt x="51" y="70"/>
                    <a:pt x="47" y="71"/>
                    <a:pt x="43" y="71"/>
                  </a:cubicBezTo>
                  <a:cubicBezTo>
                    <a:pt x="39" y="71"/>
                    <a:pt x="35" y="72"/>
                    <a:pt x="31" y="72"/>
                  </a:cubicBezTo>
                  <a:cubicBezTo>
                    <a:pt x="27" y="72"/>
                    <a:pt x="23" y="71"/>
                    <a:pt x="20" y="70"/>
                  </a:cubicBezTo>
                  <a:cubicBezTo>
                    <a:pt x="16" y="69"/>
                    <a:pt x="13" y="67"/>
                    <a:pt x="10" y="65"/>
                  </a:cubicBezTo>
                  <a:cubicBezTo>
                    <a:pt x="7" y="63"/>
                    <a:pt x="5" y="60"/>
                    <a:pt x="3" y="56"/>
                  </a:cubicBezTo>
                  <a:cubicBezTo>
                    <a:pt x="1" y="52"/>
                    <a:pt x="0" y="47"/>
                    <a:pt x="0" y="41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3" y="13"/>
                    <a:pt x="8" y="8"/>
                  </a:cubicBezTo>
                  <a:cubicBezTo>
                    <a:pt x="13" y="2"/>
                    <a:pt x="20" y="0"/>
                    <a:pt x="30" y="0"/>
                  </a:cubicBezTo>
                  <a:cubicBezTo>
                    <a:pt x="35" y="0"/>
                    <a:pt x="39" y="0"/>
                    <a:pt x="43" y="2"/>
                  </a:cubicBezTo>
                  <a:cubicBezTo>
                    <a:pt x="47" y="3"/>
                    <a:pt x="50" y="5"/>
                    <a:pt x="52" y="8"/>
                  </a:cubicBezTo>
                  <a:cubicBezTo>
                    <a:pt x="55" y="10"/>
                    <a:pt x="56" y="14"/>
                    <a:pt x="58" y="17"/>
                  </a:cubicBezTo>
                  <a:cubicBezTo>
                    <a:pt x="59" y="21"/>
                    <a:pt x="60" y="25"/>
                    <a:pt x="60" y="29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60" y="38"/>
                    <a:pt x="59" y="39"/>
                    <a:pt x="57" y="39"/>
                  </a:cubicBezTo>
                  <a:close/>
                  <a:moveTo>
                    <a:pt x="48" y="29"/>
                  </a:moveTo>
                  <a:cubicBezTo>
                    <a:pt x="48" y="22"/>
                    <a:pt x="46" y="17"/>
                    <a:pt x="43" y="14"/>
                  </a:cubicBezTo>
                  <a:cubicBezTo>
                    <a:pt x="40" y="11"/>
                    <a:pt x="36" y="10"/>
                    <a:pt x="30" y="10"/>
                  </a:cubicBezTo>
                  <a:cubicBezTo>
                    <a:pt x="24" y="10"/>
                    <a:pt x="20" y="11"/>
                    <a:pt x="17" y="14"/>
                  </a:cubicBezTo>
                  <a:cubicBezTo>
                    <a:pt x="14" y="18"/>
                    <a:pt x="12" y="23"/>
                    <a:pt x="12" y="29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48" y="31"/>
                    <a:pt x="48" y="31"/>
                    <a:pt x="48" y="31"/>
                  </a:cubicBezTo>
                  <a:lnTo>
                    <a:pt x="48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" name="Freeform 260">
              <a:extLst>
                <a:ext uri="{FF2B5EF4-FFF2-40B4-BE49-F238E27FC236}">
                  <a16:creationId xmlns:a16="http://schemas.microsoft.com/office/drawing/2014/main" id="{141BCB33-DD14-4558-B5A9-340C860D3DAB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5738" y="-2298700"/>
              <a:ext cx="147637" cy="219075"/>
            </a:xfrm>
            <a:custGeom>
              <a:avLst/>
              <a:gdLst>
                <a:gd name="T0" fmla="*/ 49 w 49"/>
                <a:gd name="T1" fmla="*/ 53 h 72"/>
                <a:gd name="T2" fmla="*/ 42 w 49"/>
                <a:gd name="T3" fmla="*/ 67 h 72"/>
                <a:gd name="T4" fmla="*/ 24 w 49"/>
                <a:gd name="T5" fmla="*/ 72 h 72"/>
                <a:gd name="T6" fmla="*/ 20 w 49"/>
                <a:gd name="T7" fmla="*/ 71 h 72"/>
                <a:gd name="T8" fmla="*/ 14 w 49"/>
                <a:gd name="T9" fmla="*/ 71 h 72"/>
                <a:gd name="T10" fmla="*/ 8 w 49"/>
                <a:gd name="T11" fmla="*/ 70 h 72"/>
                <a:gd name="T12" fmla="*/ 3 w 49"/>
                <a:gd name="T13" fmla="*/ 70 h 72"/>
                <a:gd name="T14" fmla="*/ 0 w 49"/>
                <a:gd name="T15" fmla="*/ 67 h 72"/>
                <a:gd name="T16" fmla="*/ 0 w 49"/>
                <a:gd name="T17" fmla="*/ 63 h 72"/>
                <a:gd name="T18" fmla="*/ 1 w 49"/>
                <a:gd name="T19" fmla="*/ 61 h 72"/>
                <a:gd name="T20" fmla="*/ 3 w 49"/>
                <a:gd name="T21" fmla="*/ 61 h 72"/>
                <a:gd name="T22" fmla="*/ 3 w 49"/>
                <a:gd name="T23" fmla="*/ 61 h 72"/>
                <a:gd name="T24" fmla="*/ 8 w 49"/>
                <a:gd name="T25" fmla="*/ 61 h 72"/>
                <a:gd name="T26" fmla="*/ 14 w 49"/>
                <a:gd name="T27" fmla="*/ 62 h 72"/>
                <a:gd name="T28" fmla="*/ 20 w 49"/>
                <a:gd name="T29" fmla="*/ 62 h 72"/>
                <a:gd name="T30" fmla="*/ 24 w 49"/>
                <a:gd name="T31" fmla="*/ 62 h 72"/>
                <a:gd name="T32" fmla="*/ 34 w 49"/>
                <a:gd name="T33" fmla="*/ 60 h 72"/>
                <a:gd name="T34" fmla="*/ 37 w 49"/>
                <a:gd name="T35" fmla="*/ 53 h 72"/>
                <a:gd name="T36" fmla="*/ 35 w 49"/>
                <a:gd name="T37" fmla="*/ 48 h 72"/>
                <a:gd name="T38" fmla="*/ 27 w 49"/>
                <a:gd name="T39" fmla="*/ 42 h 72"/>
                <a:gd name="T40" fmla="*/ 14 w 49"/>
                <a:gd name="T41" fmla="*/ 35 h 72"/>
                <a:gd name="T42" fmla="*/ 4 w 49"/>
                <a:gd name="T43" fmla="*/ 27 h 72"/>
                <a:gd name="T44" fmla="*/ 0 w 49"/>
                <a:gd name="T45" fmla="*/ 17 h 72"/>
                <a:gd name="T46" fmla="*/ 2 w 49"/>
                <a:gd name="T47" fmla="*/ 8 h 72"/>
                <a:gd name="T48" fmla="*/ 7 w 49"/>
                <a:gd name="T49" fmla="*/ 3 h 72"/>
                <a:gd name="T50" fmla="*/ 15 w 49"/>
                <a:gd name="T51" fmla="*/ 0 h 72"/>
                <a:gd name="T52" fmla="*/ 24 w 49"/>
                <a:gd name="T53" fmla="*/ 0 h 72"/>
                <a:gd name="T54" fmla="*/ 35 w 49"/>
                <a:gd name="T55" fmla="*/ 0 h 72"/>
                <a:gd name="T56" fmla="*/ 45 w 49"/>
                <a:gd name="T57" fmla="*/ 1 h 72"/>
                <a:gd name="T58" fmla="*/ 48 w 49"/>
                <a:gd name="T59" fmla="*/ 4 h 72"/>
                <a:gd name="T60" fmla="*/ 48 w 49"/>
                <a:gd name="T61" fmla="*/ 8 h 72"/>
                <a:gd name="T62" fmla="*/ 45 w 49"/>
                <a:gd name="T63" fmla="*/ 10 h 72"/>
                <a:gd name="T64" fmla="*/ 45 w 49"/>
                <a:gd name="T65" fmla="*/ 10 h 72"/>
                <a:gd name="T66" fmla="*/ 36 w 49"/>
                <a:gd name="T67" fmla="*/ 10 h 72"/>
                <a:gd name="T68" fmla="*/ 24 w 49"/>
                <a:gd name="T69" fmla="*/ 9 h 72"/>
                <a:gd name="T70" fmla="*/ 15 w 49"/>
                <a:gd name="T71" fmla="*/ 11 h 72"/>
                <a:gd name="T72" fmla="*/ 12 w 49"/>
                <a:gd name="T73" fmla="*/ 17 h 72"/>
                <a:gd name="T74" fmla="*/ 14 w 49"/>
                <a:gd name="T75" fmla="*/ 22 h 72"/>
                <a:gd name="T76" fmla="*/ 21 w 49"/>
                <a:gd name="T77" fmla="*/ 26 h 72"/>
                <a:gd name="T78" fmla="*/ 34 w 49"/>
                <a:gd name="T79" fmla="*/ 34 h 72"/>
                <a:gd name="T80" fmla="*/ 46 w 49"/>
                <a:gd name="T81" fmla="*/ 43 h 72"/>
                <a:gd name="T82" fmla="*/ 49 w 49"/>
                <a:gd name="T83" fmla="*/ 53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9" h="72">
                  <a:moveTo>
                    <a:pt x="49" y="53"/>
                  </a:moveTo>
                  <a:cubicBezTo>
                    <a:pt x="49" y="59"/>
                    <a:pt x="47" y="64"/>
                    <a:pt x="42" y="67"/>
                  </a:cubicBezTo>
                  <a:cubicBezTo>
                    <a:pt x="38" y="70"/>
                    <a:pt x="32" y="72"/>
                    <a:pt x="24" y="72"/>
                  </a:cubicBezTo>
                  <a:cubicBezTo>
                    <a:pt x="23" y="72"/>
                    <a:pt x="21" y="71"/>
                    <a:pt x="20" y="71"/>
                  </a:cubicBezTo>
                  <a:cubicBezTo>
                    <a:pt x="18" y="71"/>
                    <a:pt x="16" y="71"/>
                    <a:pt x="14" y="71"/>
                  </a:cubicBezTo>
                  <a:cubicBezTo>
                    <a:pt x="12" y="71"/>
                    <a:pt x="10" y="71"/>
                    <a:pt x="8" y="70"/>
                  </a:cubicBezTo>
                  <a:cubicBezTo>
                    <a:pt x="6" y="70"/>
                    <a:pt x="5" y="70"/>
                    <a:pt x="3" y="70"/>
                  </a:cubicBezTo>
                  <a:cubicBezTo>
                    <a:pt x="1" y="69"/>
                    <a:pt x="0" y="68"/>
                    <a:pt x="0" y="67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2"/>
                    <a:pt x="0" y="62"/>
                    <a:pt x="1" y="61"/>
                  </a:cubicBezTo>
                  <a:cubicBezTo>
                    <a:pt x="1" y="61"/>
                    <a:pt x="2" y="61"/>
                    <a:pt x="3" y="61"/>
                  </a:cubicBezTo>
                  <a:cubicBezTo>
                    <a:pt x="3" y="61"/>
                    <a:pt x="3" y="61"/>
                    <a:pt x="3" y="61"/>
                  </a:cubicBezTo>
                  <a:cubicBezTo>
                    <a:pt x="5" y="61"/>
                    <a:pt x="6" y="61"/>
                    <a:pt x="8" y="61"/>
                  </a:cubicBezTo>
                  <a:cubicBezTo>
                    <a:pt x="10" y="61"/>
                    <a:pt x="12" y="62"/>
                    <a:pt x="14" y="62"/>
                  </a:cubicBezTo>
                  <a:cubicBezTo>
                    <a:pt x="16" y="62"/>
                    <a:pt x="18" y="62"/>
                    <a:pt x="20" y="62"/>
                  </a:cubicBezTo>
                  <a:cubicBezTo>
                    <a:pt x="21" y="62"/>
                    <a:pt x="23" y="62"/>
                    <a:pt x="24" y="62"/>
                  </a:cubicBezTo>
                  <a:cubicBezTo>
                    <a:pt x="28" y="62"/>
                    <a:pt x="32" y="61"/>
                    <a:pt x="34" y="60"/>
                  </a:cubicBezTo>
                  <a:cubicBezTo>
                    <a:pt x="36" y="59"/>
                    <a:pt x="37" y="57"/>
                    <a:pt x="37" y="53"/>
                  </a:cubicBezTo>
                  <a:cubicBezTo>
                    <a:pt x="37" y="51"/>
                    <a:pt x="37" y="49"/>
                    <a:pt x="35" y="48"/>
                  </a:cubicBezTo>
                  <a:cubicBezTo>
                    <a:pt x="34" y="47"/>
                    <a:pt x="31" y="45"/>
                    <a:pt x="27" y="42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0" y="32"/>
                    <a:pt x="6" y="30"/>
                    <a:pt x="4" y="27"/>
                  </a:cubicBezTo>
                  <a:cubicBezTo>
                    <a:pt x="1" y="24"/>
                    <a:pt x="0" y="21"/>
                    <a:pt x="0" y="17"/>
                  </a:cubicBezTo>
                  <a:cubicBezTo>
                    <a:pt x="0" y="13"/>
                    <a:pt x="1" y="11"/>
                    <a:pt x="2" y="8"/>
                  </a:cubicBezTo>
                  <a:cubicBezTo>
                    <a:pt x="3" y="6"/>
                    <a:pt x="5" y="5"/>
                    <a:pt x="7" y="3"/>
                  </a:cubicBezTo>
                  <a:cubicBezTo>
                    <a:pt x="9" y="2"/>
                    <a:pt x="12" y="1"/>
                    <a:pt x="15" y="0"/>
                  </a:cubicBezTo>
                  <a:cubicBezTo>
                    <a:pt x="18" y="0"/>
                    <a:pt x="21" y="0"/>
                    <a:pt x="24" y="0"/>
                  </a:cubicBezTo>
                  <a:cubicBezTo>
                    <a:pt x="28" y="0"/>
                    <a:pt x="32" y="0"/>
                    <a:pt x="35" y="0"/>
                  </a:cubicBezTo>
                  <a:cubicBezTo>
                    <a:pt x="39" y="0"/>
                    <a:pt x="42" y="1"/>
                    <a:pt x="45" y="1"/>
                  </a:cubicBezTo>
                  <a:cubicBezTo>
                    <a:pt x="47" y="2"/>
                    <a:pt x="48" y="2"/>
                    <a:pt x="48" y="4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48" y="10"/>
                    <a:pt x="47" y="10"/>
                    <a:pt x="45" y="10"/>
                  </a:cubicBezTo>
                  <a:cubicBezTo>
                    <a:pt x="45" y="10"/>
                    <a:pt x="45" y="10"/>
                    <a:pt x="45" y="10"/>
                  </a:cubicBezTo>
                  <a:cubicBezTo>
                    <a:pt x="43" y="10"/>
                    <a:pt x="40" y="10"/>
                    <a:pt x="36" y="10"/>
                  </a:cubicBezTo>
                  <a:cubicBezTo>
                    <a:pt x="32" y="9"/>
                    <a:pt x="28" y="9"/>
                    <a:pt x="24" y="9"/>
                  </a:cubicBezTo>
                  <a:cubicBezTo>
                    <a:pt x="21" y="9"/>
                    <a:pt x="18" y="10"/>
                    <a:pt x="15" y="11"/>
                  </a:cubicBezTo>
                  <a:cubicBezTo>
                    <a:pt x="13" y="11"/>
                    <a:pt x="12" y="13"/>
                    <a:pt x="12" y="17"/>
                  </a:cubicBezTo>
                  <a:cubicBezTo>
                    <a:pt x="12" y="19"/>
                    <a:pt x="13" y="20"/>
                    <a:pt x="14" y="22"/>
                  </a:cubicBezTo>
                  <a:cubicBezTo>
                    <a:pt x="16" y="23"/>
                    <a:pt x="18" y="25"/>
                    <a:pt x="21" y="26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40" y="37"/>
                    <a:pt x="44" y="40"/>
                    <a:pt x="46" y="43"/>
                  </a:cubicBezTo>
                  <a:cubicBezTo>
                    <a:pt x="48" y="46"/>
                    <a:pt x="49" y="49"/>
                    <a:pt x="49" y="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" name="Rectangle 261">
              <a:extLst>
                <a:ext uri="{FF2B5EF4-FFF2-40B4-BE49-F238E27FC236}">
                  <a16:creationId xmlns:a16="http://schemas.microsoft.com/office/drawing/2014/main" id="{7D5DADA4-8E5D-41C3-BA31-B662805427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10075" y="-2116138"/>
              <a:ext cx="165100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" name="Freeform 262">
              <a:extLst>
                <a:ext uri="{FF2B5EF4-FFF2-40B4-BE49-F238E27FC236}">
                  <a16:creationId xmlns:a16="http://schemas.microsoft.com/office/drawing/2014/main" id="{879E09DE-5F13-4BB6-88CF-074BC7521AB5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9600" y="-2374900"/>
              <a:ext cx="168275" cy="292100"/>
            </a:xfrm>
            <a:custGeom>
              <a:avLst/>
              <a:gdLst>
                <a:gd name="T0" fmla="*/ 7 w 56"/>
                <a:gd name="T1" fmla="*/ 5 h 96"/>
                <a:gd name="T2" fmla="*/ 30 w 56"/>
                <a:gd name="T3" fmla="*/ 0 h 96"/>
                <a:gd name="T4" fmla="*/ 41 w 56"/>
                <a:gd name="T5" fmla="*/ 0 h 96"/>
                <a:gd name="T6" fmla="*/ 52 w 56"/>
                <a:gd name="T7" fmla="*/ 2 h 96"/>
                <a:gd name="T8" fmla="*/ 54 w 56"/>
                <a:gd name="T9" fmla="*/ 3 h 96"/>
                <a:gd name="T10" fmla="*/ 54 w 56"/>
                <a:gd name="T11" fmla="*/ 5 h 96"/>
                <a:gd name="T12" fmla="*/ 54 w 56"/>
                <a:gd name="T13" fmla="*/ 9 h 96"/>
                <a:gd name="T14" fmla="*/ 52 w 56"/>
                <a:gd name="T15" fmla="*/ 12 h 96"/>
                <a:gd name="T16" fmla="*/ 52 w 56"/>
                <a:gd name="T17" fmla="*/ 12 h 96"/>
                <a:gd name="T18" fmla="*/ 41 w 56"/>
                <a:gd name="T19" fmla="*/ 10 h 96"/>
                <a:gd name="T20" fmla="*/ 30 w 56"/>
                <a:gd name="T21" fmla="*/ 10 h 96"/>
                <a:gd name="T22" fmla="*/ 15 w 56"/>
                <a:gd name="T23" fmla="*/ 13 h 96"/>
                <a:gd name="T24" fmla="*/ 11 w 56"/>
                <a:gd name="T25" fmla="*/ 23 h 96"/>
                <a:gd name="T26" fmla="*/ 11 w 56"/>
                <a:gd name="T27" fmla="*/ 28 h 96"/>
                <a:gd name="T28" fmla="*/ 13 w 56"/>
                <a:gd name="T29" fmla="*/ 32 h 96"/>
                <a:gd name="T30" fmla="*/ 17 w 56"/>
                <a:gd name="T31" fmla="*/ 36 h 96"/>
                <a:gd name="T32" fmla="*/ 24 w 56"/>
                <a:gd name="T33" fmla="*/ 41 h 96"/>
                <a:gd name="T34" fmla="*/ 36 w 56"/>
                <a:gd name="T35" fmla="*/ 49 h 96"/>
                <a:gd name="T36" fmla="*/ 51 w 56"/>
                <a:gd name="T37" fmla="*/ 65 h 96"/>
                <a:gd name="T38" fmla="*/ 56 w 56"/>
                <a:gd name="T39" fmla="*/ 83 h 96"/>
                <a:gd name="T40" fmla="*/ 56 w 56"/>
                <a:gd name="T41" fmla="*/ 93 h 96"/>
                <a:gd name="T42" fmla="*/ 55 w 56"/>
                <a:gd name="T43" fmla="*/ 95 h 96"/>
                <a:gd name="T44" fmla="*/ 53 w 56"/>
                <a:gd name="T45" fmla="*/ 96 h 96"/>
                <a:gd name="T46" fmla="*/ 3 w 56"/>
                <a:gd name="T47" fmla="*/ 96 h 96"/>
                <a:gd name="T48" fmla="*/ 2 w 56"/>
                <a:gd name="T49" fmla="*/ 95 h 96"/>
                <a:gd name="T50" fmla="*/ 1 w 56"/>
                <a:gd name="T51" fmla="*/ 93 h 96"/>
                <a:gd name="T52" fmla="*/ 1 w 56"/>
                <a:gd name="T53" fmla="*/ 88 h 96"/>
                <a:gd name="T54" fmla="*/ 2 w 56"/>
                <a:gd name="T55" fmla="*/ 86 h 96"/>
                <a:gd name="T56" fmla="*/ 3 w 56"/>
                <a:gd name="T57" fmla="*/ 85 h 96"/>
                <a:gd name="T58" fmla="*/ 46 w 56"/>
                <a:gd name="T59" fmla="*/ 85 h 96"/>
                <a:gd name="T60" fmla="*/ 46 w 56"/>
                <a:gd name="T61" fmla="*/ 83 h 96"/>
                <a:gd name="T62" fmla="*/ 45 w 56"/>
                <a:gd name="T63" fmla="*/ 75 h 96"/>
                <a:gd name="T64" fmla="*/ 42 w 56"/>
                <a:gd name="T65" fmla="*/ 69 h 96"/>
                <a:gd name="T66" fmla="*/ 37 w 56"/>
                <a:gd name="T67" fmla="*/ 62 h 96"/>
                <a:gd name="T68" fmla="*/ 28 w 56"/>
                <a:gd name="T69" fmla="*/ 56 h 96"/>
                <a:gd name="T70" fmla="*/ 16 w 56"/>
                <a:gd name="T71" fmla="*/ 47 h 96"/>
                <a:gd name="T72" fmla="*/ 3 w 56"/>
                <a:gd name="T73" fmla="*/ 36 h 96"/>
                <a:gd name="T74" fmla="*/ 0 w 56"/>
                <a:gd name="T75" fmla="*/ 23 h 96"/>
                <a:gd name="T76" fmla="*/ 7 w 56"/>
                <a:gd name="T77" fmla="*/ 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6" h="96">
                  <a:moveTo>
                    <a:pt x="7" y="5"/>
                  </a:moveTo>
                  <a:cubicBezTo>
                    <a:pt x="12" y="2"/>
                    <a:pt x="19" y="0"/>
                    <a:pt x="30" y="0"/>
                  </a:cubicBezTo>
                  <a:cubicBezTo>
                    <a:pt x="33" y="0"/>
                    <a:pt x="37" y="0"/>
                    <a:pt x="41" y="0"/>
                  </a:cubicBezTo>
                  <a:cubicBezTo>
                    <a:pt x="45" y="1"/>
                    <a:pt x="49" y="1"/>
                    <a:pt x="52" y="2"/>
                  </a:cubicBezTo>
                  <a:cubicBezTo>
                    <a:pt x="53" y="3"/>
                    <a:pt x="53" y="3"/>
                    <a:pt x="54" y="3"/>
                  </a:cubicBezTo>
                  <a:cubicBezTo>
                    <a:pt x="54" y="3"/>
                    <a:pt x="54" y="4"/>
                    <a:pt x="54" y="5"/>
                  </a:cubicBezTo>
                  <a:cubicBezTo>
                    <a:pt x="54" y="9"/>
                    <a:pt x="54" y="9"/>
                    <a:pt x="54" y="9"/>
                  </a:cubicBezTo>
                  <a:cubicBezTo>
                    <a:pt x="54" y="11"/>
                    <a:pt x="54" y="12"/>
                    <a:pt x="52" y="12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48" y="11"/>
                    <a:pt x="45" y="11"/>
                    <a:pt x="41" y="10"/>
                  </a:cubicBezTo>
                  <a:cubicBezTo>
                    <a:pt x="37" y="10"/>
                    <a:pt x="33" y="10"/>
                    <a:pt x="30" y="10"/>
                  </a:cubicBezTo>
                  <a:cubicBezTo>
                    <a:pt x="23" y="10"/>
                    <a:pt x="18" y="11"/>
                    <a:pt x="15" y="13"/>
                  </a:cubicBezTo>
                  <a:cubicBezTo>
                    <a:pt x="12" y="15"/>
                    <a:pt x="11" y="18"/>
                    <a:pt x="11" y="23"/>
                  </a:cubicBezTo>
                  <a:cubicBezTo>
                    <a:pt x="11" y="25"/>
                    <a:pt x="11" y="26"/>
                    <a:pt x="11" y="28"/>
                  </a:cubicBezTo>
                  <a:cubicBezTo>
                    <a:pt x="12" y="29"/>
                    <a:pt x="12" y="31"/>
                    <a:pt x="13" y="32"/>
                  </a:cubicBezTo>
                  <a:cubicBezTo>
                    <a:pt x="14" y="33"/>
                    <a:pt x="16" y="35"/>
                    <a:pt x="17" y="36"/>
                  </a:cubicBezTo>
                  <a:cubicBezTo>
                    <a:pt x="19" y="37"/>
                    <a:pt x="21" y="39"/>
                    <a:pt x="24" y="41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43" y="54"/>
                    <a:pt x="48" y="59"/>
                    <a:pt x="51" y="65"/>
                  </a:cubicBezTo>
                  <a:cubicBezTo>
                    <a:pt x="54" y="70"/>
                    <a:pt x="56" y="76"/>
                    <a:pt x="56" y="83"/>
                  </a:cubicBezTo>
                  <a:cubicBezTo>
                    <a:pt x="56" y="93"/>
                    <a:pt x="56" y="93"/>
                    <a:pt x="56" y="93"/>
                  </a:cubicBezTo>
                  <a:cubicBezTo>
                    <a:pt x="56" y="94"/>
                    <a:pt x="56" y="94"/>
                    <a:pt x="55" y="95"/>
                  </a:cubicBezTo>
                  <a:cubicBezTo>
                    <a:pt x="55" y="95"/>
                    <a:pt x="54" y="96"/>
                    <a:pt x="53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3" y="96"/>
                    <a:pt x="2" y="95"/>
                    <a:pt x="2" y="95"/>
                  </a:cubicBezTo>
                  <a:cubicBezTo>
                    <a:pt x="1" y="94"/>
                    <a:pt x="1" y="94"/>
                    <a:pt x="1" y="93"/>
                  </a:cubicBezTo>
                  <a:cubicBezTo>
                    <a:pt x="1" y="88"/>
                    <a:pt x="1" y="88"/>
                    <a:pt x="1" y="88"/>
                  </a:cubicBezTo>
                  <a:cubicBezTo>
                    <a:pt x="1" y="87"/>
                    <a:pt x="1" y="86"/>
                    <a:pt x="2" y="86"/>
                  </a:cubicBezTo>
                  <a:cubicBezTo>
                    <a:pt x="2" y="86"/>
                    <a:pt x="3" y="85"/>
                    <a:pt x="3" y="85"/>
                  </a:cubicBezTo>
                  <a:cubicBezTo>
                    <a:pt x="46" y="85"/>
                    <a:pt x="46" y="85"/>
                    <a:pt x="46" y="85"/>
                  </a:cubicBezTo>
                  <a:cubicBezTo>
                    <a:pt x="46" y="83"/>
                    <a:pt x="46" y="83"/>
                    <a:pt x="46" y="83"/>
                  </a:cubicBezTo>
                  <a:cubicBezTo>
                    <a:pt x="46" y="80"/>
                    <a:pt x="46" y="77"/>
                    <a:pt x="45" y="75"/>
                  </a:cubicBezTo>
                  <a:cubicBezTo>
                    <a:pt x="44" y="73"/>
                    <a:pt x="44" y="71"/>
                    <a:pt x="42" y="69"/>
                  </a:cubicBezTo>
                  <a:cubicBezTo>
                    <a:pt x="41" y="66"/>
                    <a:pt x="39" y="64"/>
                    <a:pt x="37" y="62"/>
                  </a:cubicBezTo>
                  <a:cubicBezTo>
                    <a:pt x="35" y="60"/>
                    <a:pt x="32" y="58"/>
                    <a:pt x="28" y="56"/>
                  </a:cubicBezTo>
                  <a:cubicBezTo>
                    <a:pt x="16" y="47"/>
                    <a:pt x="16" y="47"/>
                    <a:pt x="16" y="47"/>
                  </a:cubicBezTo>
                  <a:cubicBezTo>
                    <a:pt x="10" y="43"/>
                    <a:pt x="6" y="39"/>
                    <a:pt x="3" y="36"/>
                  </a:cubicBezTo>
                  <a:cubicBezTo>
                    <a:pt x="1" y="32"/>
                    <a:pt x="0" y="28"/>
                    <a:pt x="0" y="23"/>
                  </a:cubicBezTo>
                  <a:cubicBezTo>
                    <a:pt x="0" y="15"/>
                    <a:pt x="2" y="9"/>
                    <a:pt x="7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2" name="Rectangle 21">
            <a:extLst>
              <a:ext uri="{FF2B5EF4-FFF2-40B4-BE49-F238E27FC236}">
                <a16:creationId xmlns:a16="http://schemas.microsoft.com/office/drawing/2014/main" id="{79FE5283-B009-4EE3-A9B2-2F7A4D62AD40}"/>
              </a:ext>
            </a:extLst>
          </p:cNvPr>
          <p:cNvSpPr/>
          <p:nvPr/>
        </p:nvSpPr>
        <p:spPr>
          <a:xfrm>
            <a:off x="8223823" y="720198"/>
            <a:ext cx="3167626" cy="129266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Empowering Talent In Emerging Market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63B2F05-B9A4-42FA-9DE1-4E4B120E90EB}"/>
              </a:ext>
            </a:extLst>
          </p:cNvPr>
          <p:cNvSpPr/>
          <p:nvPr/>
        </p:nvSpPr>
        <p:spPr>
          <a:xfrm>
            <a:off x="8223822" y="2351591"/>
            <a:ext cx="3167627" cy="32316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nlike traditional outsourcing, we want to provide extraordinary to our customers by investing our profits into the design talent in Indonesia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83D6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hether it’s by educating our employees with our in house academy or by simply providing an incredible work environment with in-house gym, full health care, nutritional food and frequent social activities, we’re fully committed to empowering talents in emerging market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83D6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e’re leaders In redefining the traditional approach of outsourcing.</a:t>
            </a:r>
          </a:p>
        </p:txBody>
      </p:sp>
    </p:spTree>
    <p:extLst>
      <p:ext uri="{BB962C8B-B14F-4D97-AF65-F5344CB8AC3E}">
        <p14:creationId xmlns:p14="http://schemas.microsoft.com/office/powerpoint/2010/main" val="23357879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9" name="Group 178">
            <a:extLst>
              <a:ext uri="{FF2B5EF4-FFF2-40B4-BE49-F238E27FC236}">
                <a16:creationId xmlns:a16="http://schemas.microsoft.com/office/drawing/2014/main" id="{32BD925E-0CE8-4479-AE6E-09E372CA2F19}"/>
              </a:ext>
            </a:extLst>
          </p:cNvPr>
          <p:cNvGrpSpPr/>
          <p:nvPr/>
        </p:nvGrpSpPr>
        <p:grpSpPr>
          <a:xfrm>
            <a:off x="1938308" y="4774358"/>
            <a:ext cx="8315383" cy="908475"/>
            <a:chOff x="1715637" y="4908708"/>
            <a:chExt cx="8315383" cy="908475"/>
          </a:xfrm>
        </p:grpSpPr>
        <p:grpSp>
          <p:nvGrpSpPr>
            <p:cNvPr id="178" name="Group 177">
              <a:extLst>
                <a:ext uri="{FF2B5EF4-FFF2-40B4-BE49-F238E27FC236}">
                  <a16:creationId xmlns:a16="http://schemas.microsoft.com/office/drawing/2014/main" id="{4A0C7763-58C7-4971-85F2-47EB4C2FD1C7}"/>
                </a:ext>
              </a:extLst>
            </p:cNvPr>
            <p:cNvGrpSpPr/>
            <p:nvPr/>
          </p:nvGrpSpPr>
          <p:grpSpPr>
            <a:xfrm>
              <a:off x="1715637" y="5113940"/>
              <a:ext cx="8315383" cy="703243"/>
              <a:chOff x="407242" y="5207636"/>
              <a:chExt cx="8315383" cy="703243"/>
            </a:xfrm>
          </p:grpSpPr>
          <p:pic>
            <p:nvPicPr>
              <p:cNvPr id="20" name="Picture 19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44144" y="5601841"/>
                <a:ext cx="3388816" cy="261050"/>
              </a:xfrm>
              <a:prstGeom prst="rect">
                <a:avLst/>
              </a:prstGeom>
            </p:spPr>
          </p:pic>
          <p:pic>
            <p:nvPicPr>
              <p:cNvPr id="21" name="Picture 20"/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07242" y="5353156"/>
                <a:ext cx="3505467" cy="270036"/>
              </a:xfrm>
              <a:prstGeom prst="rect">
                <a:avLst/>
              </a:prstGeom>
            </p:spPr>
          </p:pic>
          <p:pic>
            <p:nvPicPr>
              <p:cNvPr id="34" name="Picture 33"/>
              <p:cNvPicPr>
                <a:picLocks noChangeAspect="1"/>
              </p:cNvPicPr>
              <p:nvPr/>
            </p:nvPicPr>
            <p:blipFill>
              <a:blip r:embed="rId5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4881962" y="5438321"/>
                <a:ext cx="324541" cy="95886"/>
              </a:xfrm>
              <a:prstGeom prst="rect">
                <a:avLst/>
              </a:prstGeom>
            </p:spPr>
          </p:pic>
          <p:pic>
            <p:nvPicPr>
              <p:cNvPr id="35" name="Picture 34"/>
              <p:cNvPicPr>
                <a:picLocks noChangeAspect="1"/>
              </p:cNvPicPr>
              <p:nvPr/>
            </p:nvPicPr>
            <p:blipFill>
              <a:blip r:embed="rId6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4334094" y="5699241"/>
                <a:ext cx="510796" cy="109758"/>
              </a:xfrm>
              <a:prstGeom prst="rect">
                <a:avLst/>
              </a:prstGeom>
            </p:spPr>
          </p:pic>
          <p:pic>
            <p:nvPicPr>
              <p:cNvPr id="45" name="Picture 44"/>
              <p:cNvPicPr>
                <a:picLocks noChangeAspect="1"/>
              </p:cNvPicPr>
              <p:nvPr/>
            </p:nvPicPr>
            <p:blipFill>
              <a:blip r:embed="rId7" cstate="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064727" y="5207636"/>
                <a:ext cx="745507" cy="521855"/>
              </a:xfrm>
              <a:prstGeom prst="rect">
                <a:avLst/>
              </a:prstGeom>
            </p:spPr>
          </p:pic>
          <p:pic>
            <p:nvPicPr>
              <p:cNvPr id="43" name="Picture 42"/>
              <p:cNvPicPr>
                <a:picLocks noChangeAspect="1"/>
              </p:cNvPicPr>
              <p:nvPr/>
            </p:nvPicPr>
            <p:blipFill rotWithShape="1">
              <a:blip r:embed="rId8" cstate="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28593" b="28061"/>
              <a:stretch/>
            </p:blipFill>
            <p:spPr>
              <a:xfrm>
                <a:off x="6613249" y="5678706"/>
                <a:ext cx="1019828" cy="207812"/>
              </a:xfrm>
              <a:prstGeom prst="rect">
                <a:avLst/>
              </a:prstGeom>
            </p:spPr>
          </p:pic>
          <p:pic>
            <p:nvPicPr>
              <p:cNvPr id="42" name="Picture 41"/>
              <p:cNvPicPr>
                <a:picLocks noChangeAspect="1"/>
              </p:cNvPicPr>
              <p:nvPr/>
            </p:nvPicPr>
            <p:blipFill>
              <a:blip r:embed="rId9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596903" y="5650502"/>
                <a:ext cx="1094595" cy="158497"/>
              </a:xfrm>
              <a:prstGeom prst="rect">
                <a:avLst/>
              </a:prstGeom>
            </p:spPr>
          </p:pic>
          <p:pic>
            <p:nvPicPr>
              <p:cNvPr id="41" name="Picture 40"/>
              <p:cNvPicPr>
                <a:picLocks noChangeAspect="1"/>
              </p:cNvPicPr>
              <p:nvPr/>
            </p:nvPicPr>
            <p:blipFill>
              <a:blip r:embed="rId10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039723" y="5345024"/>
                <a:ext cx="682902" cy="517867"/>
              </a:xfrm>
              <a:prstGeom prst="rect">
                <a:avLst/>
              </a:prstGeom>
            </p:spPr>
          </p:pic>
          <p:pic>
            <p:nvPicPr>
              <p:cNvPr id="33" name="Picture 32"/>
              <p:cNvPicPr>
                <a:picLocks noChangeAspect="1"/>
              </p:cNvPicPr>
              <p:nvPr/>
            </p:nvPicPr>
            <p:blipFill>
              <a:blip r:embed="rId11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7516975" y="5627366"/>
                <a:ext cx="436325" cy="240853"/>
              </a:xfrm>
              <a:prstGeom prst="rect">
                <a:avLst/>
              </a:prstGeom>
            </p:spPr>
          </p:pic>
          <p:pic>
            <p:nvPicPr>
              <p:cNvPr id="46" name="Picture 45"/>
              <p:cNvPicPr>
                <a:picLocks noChangeAspect="1"/>
              </p:cNvPicPr>
              <p:nvPr/>
            </p:nvPicPr>
            <p:blipFill>
              <a:blip r:embed="rId12" cstate="print">
                <a:extLst>
                  <a:ext uri="{BEBA8EAE-BF5A-486C-A8C5-ECC9F3942E4B}">
                    <a14:imgProps xmlns:a14="http://schemas.microsoft.com/office/drawing/2010/main">
                      <a14:imgLayer r:embed="rId13">
                        <a14:imgEffect>
                          <a14:saturation sat="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984382" y="5455054"/>
                <a:ext cx="699423" cy="64257"/>
              </a:xfrm>
              <a:prstGeom prst="rect">
                <a:avLst/>
              </a:prstGeom>
            </p:spPr>
          </p:pic>
          <p:pic>
            <p:nvPicPr>
              <p:cNvPr id="47" name="Picture 46"/>
              <p:cNvPicPr>
                <a:picLocks noChangeAspect="1"/>
              </p:cNvPicPr>
              <p:nvPr/>
            </p:nvPicPr>
            <p:blipFill>
              <a:blip r:embed="rId14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5300540" y="5343036"/>
                <a:ext cx="737634" cy="193217"/>
              </a:xfrm>
              <a:prstGeom prst="rect">
                <a:avLst/>
              </a:prstGeom>
            </p:spPr>
          </p:pic>
          <p:pic>
            <p:nvPicPr>
              <p:cNvPr id="48" name="Picture 47"/>
              <p:cNvPicPr>
                <a:picLocks noChangeAspect="1"/>
              </p:cNvPicPr>
              <p:nvPr/>
            </p:nvPicPr>
            <p:blipFill>
              <a:blip r:embed="rId15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919649" y="5298338"/>
                <a:ext cx="959088" cy="340452"/>
              </a:xfrm>
              <a:prstGeom prst="rect">
                <a:avLst/>
              </a:prstGeom>
            </p:spPr>
          </p:pic>
          <p:pic>
            <p:nvPicPr>
              <p:cNvPr id="49" name="Picture 48"/>
              <p:cNvPicPr>
                <a:picLocks noChangeAspect="1"/>
              </p:cNvPicPr>
              <p:nvPr/>
            </p:nvPicPr>
            <p:blipFill>
              <a:blip r:embed="rId16" cstate="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894805" y="5599122"/>
                <a:ext cx="415676" cy="311757"/>
              </a:xfrm>
              <a:prstGeom prst="rect">
                <a:avLst/>
              </a:prstGeom>
            </p:spPr>
          </p:pic>
          <p:pic>
            <p:nvPicPr>
              <p:cNvPr id="50" name="Picture 49"/>
              <p:cNvPicPr>
                <a:picLocks noChangeAspect="1"/>
              </p:cNvPicPr>
              <p:nvPr/>
            </p:nvPicPr>
            <p:blipFill>
              <a:blip r:embed="rId17" cstate="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049540" y="5699241"/>
                <a:ext cx="435442" cy="97104"/>
              </a:xfrm>
              <a:prstGeom prst="rect">
                <a:avLst/>
              </a:prstGeom>
            </p:spPr>
          </p:pic>
        </p:grpSp>
        <p:sp>
          <p:nvSpPr>
            <p:cNvPr id="51" name="TextBox 50"/>
            <p:cNvSpPr txBox="1"/>
            <p:nvPr/>
          </p:nvSpPr>
          <p:spPr>
            <a:xfrm>
              <a:off x="5349787" y="4908708"/>
              <a:ext cx="1047083" cy="215444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algn="ctr">
                <a:defRPr sz="1400">
                  <a:solidFill>
                    <a:srgbClr val="083D65"/>
                  </a:solidFill>
                  <a:latin typeface="Segoe UI" panose="020B0502040204020203" pitchFamily="34" charset="0"/>
                  <a:cs typeface="Segoe UI" panose="020B0502040204020203" pitchFamily="34" charset="0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83D65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As used by</a:t>
              </a:r>
            </a:p>
          </p:txBody>
        </p:sp>
      </p:grpSp>
      <p:sp>
        <p:nvSpPr>
          <p:cNvPr id="44" name="Rectangle 43">
            <a:extLst>
              <a:ext uri="{FF2B5EF4-FFF2-40B4-BE49-F238E27FC236}">
                <a16:creationId xmlns:a16="http://schemas.microsoft.com/office/drawing/2014/main" id="{1AA2A670-4772-4504-9A86-BE460BACA39F}"/>
              </a:ext>
            </a:extLst>
          </p:cNvPr>
          <p:cNvSpPr/>
          <p:nvPr/>
        </p:nvSpPr>
        <p:spPr>
          <a:xfrm>
            <a:off x="2732747" y="530093"/>
            <a:ext cx="6726506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 SOLUTION FOR YOUR ENTIRE TEAM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B9810A48-58EE-4653-9094-4015568448A4}"/>
              </a:ext>
            </a:extLst>
          </p:cNvPr>
          <p:cNvSpPr/>
          <p:nvPr/>
        </p:nvSpPr>
        <p:spPr>
          <a:xfrm>
            <a:off x="672664" y="1371075"/>
            <a:ext cx="2360745" cy="73866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 w="22225"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$899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AE18B150-0A63-4BDA-9D00-C2EAC0C3644D}"/>
              </a:ext>
            </a:extLst>
          </p:cNvPr>
          <p:cNvSpPr/>
          <p:nvPr/>
        </p:nvSpPr>
        <p:spPr>
          <a:xfrm>
            <a:off x="1566636" y="2270553"/>
            <a:ext cx="753413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onth</a:t>
            </a: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5C998BA0-6D9C-4E71-AABD-0B1CE27665CD}"/>
              </a:ext>
            </a:extLst>
          </p:cNvPr>
          <p:cNvSpPr/>
          <p:nvPr/>
        </p:nvSpPr>
        <p:spPr>
          <a:xfrm>
            <a:off x="883750" y="2614527"/>
            <a:ext cx="1938573" cy="165647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10 Slides / day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From $4.5 per slide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24 hour turn around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edicated Team</a:t>
            </a:r>
          </a:p>
        </p:txBody>
      </p:sp>
      <p:grpSp>
        <p:nvGrpSpPr>
          <p:cNvPr id="218" name="Group 217">
            <a:extLst>
              <a:ext uri="{FF2B5EF4-FFF2-40B4-BE49-F238E27FC236}">
                <a16:creationId xmlns:a16="http://schemas.microsoft.com/office/drawing/2014/main" id="{7D2AC6DF-FF9A-488F-9123-53AA85D9365B}"/>
              </a:ext>
            </a:extLst>
          </p:cNvPr>
          <p:cNvGrpSpPr/>
          <p:nvPr/>
        </p:nvGrpSpPr>
        <p:grpSpPr>
          <a:xfrm>
            <a:off x="600617" y="1217205"/>
            <a:ext cx="2504839" cy="3373586"/>
            <a:chOff x="600617" y="1217205"/>
            <a:chExt cx="2504839" cy="3373586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FFF60778-A552-4178-967A-D6012B06C7A5}"/>
                </a:ext>
              </a:extLst>
            </p:cNvPr>
            <p:cNvSpPr/>
            <p:nvPr/>
          </p:nvSpPr>
          <p:spPr>
            <a:xfrm>
              <a:off x="600617" y="4545072"/>
              <a:ext cx="2504839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C018E09C-793B-4B90-8ABF-2FDE455E5932}"/>
                </a:ext>
              </a:extLst>
            </p:cNvPr>
            <p:cNvSpPr/>
            <p:nvPr/>
          </p:nvSpPr>
          <p:spPr>
            <a:xfrm>
              <a:off x="600617" y="1217205"/>
              <a:ext cx="2504839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3" name="Rectangle 72">
            <a:extLst>
              <a:ext uri="{FF2B5EF4-FFF2-40B4-BE49-F238E27FC236}">
                <a16:creationId xmlns:a16="http://schemas.microsoft.com/office/drawing/2014/main" id="{A4577D3E-B848-40A4-BDA3-371D139FFCD7}"/>
              </a:ext>
            </a:extLst>
          </p:cNvPr>
          <p:cNvSpPr/>
          <p:nvPr/>
        </p:nvSpPr>
        <p:spPr>
          <a:xfrm>
            <a:off x="3363956" y="1371073"/>
            <a:ext cx="2153840" cy="73866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 w="22225"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$1,900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BD332408-7260-462F-AD7D-949F359D495F}"/>
              </a:ext>
            </a:extLst>
          </p:cNvPr>
          <p:cNvSpPr/>
          <p:nvPr/>
        </p:nvSpPr>
        <p:spPr>
          <a:xfrm>
            <a:off x="4126466" y="2215788"/>
            <a:ext cx="753413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onth</a:t>
            </a: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9AD4C567-68CB-4D4E-B46F-AE6B623D0433}"/>
              </a:ext>
            </a:extLst>
          </p:cNvPr>
          <p:cNvSpPr/>
          <p:nvPr/>
        </p:nvSpPr>
        <p:spPr>
          <a:xfrm>
            <a:off x="3443580" y="2614527"/>
            <a:ext cx="1938573" cy="165647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25 Slides / day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From $3.8 per slide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24 hour turn around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edicated Team</a:t>
            </a:r>
          </a:p>
        </p:txBody>
      </p:sp>
      <p:grpSp>
        <p:nvGrpSpPr>
          <p:cNvPr id="216" name="Group 215">
            <a:extLst>
              <a:ext uri="{FF2B5EF4-FFF2-40B4-BE49-F238E27FC236}">
                <a16:creationId xmlns:a16="http://schemas.microsoft.com/office/drawing/2014/main" id="{A4AD765A-A9FC-4380-B5C5-AA23BE3F2EC4}"/>
              </a:ext>
            </a:extLst>
          </p:cNvPr>
          <p:cNvGrpSpPr/>
          <p:nvPr/>
        </p:nvGrpSpPr>
        <p:grpSpPr>
          <a:xfrm>
            <a:off x="3188457" y="1217205"/>
            <a:ext cx="2504839" cy="3373586"/>
            <a:chOff x="3188457" y="1217205"/>
            <a:chExt cx="2504839" cy="3373586"/>
          </a:xfrm>
        </p:grpSpPr>
        <p:sp>
          <p:nvSpPr>
            <p:cNvPr id="166" name="Rectangle 165">
              <a:extLst>
                <a:ext uri="{FF2B5EF4-FFF2-40B4-BE49-F238E27FC236}">
                  <a16:creationId xmlns:a16="http://schemas.microsoft.com/office/drawing/2014/main" id="{187C9854-6707-49B5-AAB0-8B1D104C416C}"/>
                </a:ext>
              </a:extLst>
            </p:cNvPr>
            <p:cNvSpPr/>
            <p:nvPr/>
          </p:nvSpPr>
          <p:spPr>
            <a:xfrm>
              <a:off x="3188457" y="4545072"/>
              <a:ext cx="2504839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9" name="Rectangle 168">
              <a:extLst>
                <a:ext uri="{FF2B5EF4-FFF2-40B4-BE49-F238E27FC236}">
                  <a16:creationId xmlns:a16="http://schemas.microsoft.com/office/drawing/2014/main" id="{0F3AED94-9359-4B1F-8C66-3940EF11161C}"/>
                </a:ext>
              </a:extLst>
            </p:cNvPr>
            <p:cNvSpPr/>
            <p:nvPr/>
          </p:nvSpPr>
          <p:spPr>
            <a:xfrm>
              <a:off x="3188457" y="1217205"/>
              <a:ext cx="2504839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6" name="Rectangle 75">
            <a:extLst>
              <a:ext uri="{FF2B5EF4-FFF2-40B4-BE49-F238E27FC236}">
                <a16:creationId xmlns:a16="http://schemas.microsoft.com/office/drawing/2014/main" id="{D0F8E0FA-CCB1-49A3-A9B0-3F4C9A67031D}"/>
              </a:ext>
            </a:extLst>
          </p:cNvPr>
          <p:cNvSpPr/>
          <p:nvPr/>
        </p:nvSpPr>
        <p:spPr>
          <a:xfrm>
            <a:off x="5943601" y="1367030"/>
            <a:ext cx="2214068" cy="73866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 w="22225"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$3,900</a:t>
            </a: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8B28A30F-72A1-42C4-A692-7D530C4C9432}"/>
              </a:ext>
            </a:extLst>
          </p:cNvPr>
          <p:cNvSpPr/>
          <p:nvPr/>
        </p:nvSpPr>
        <p:spPr>
          <a:xfrm>
            <a:off x="6652009" y="2215788"/>
            <a:ext cx="753413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onth</a:t>
            </a: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8F2E9147-0F90-4A93-A6A8-A2641F87607B}"/>
              </a:ext>
            </a:extLst>
          </p:cNvPr>
          <p:cNvSpPr/>
          <p:nvPr/>
        </p:nvSpPr>
        <p:spPr>
          <a:xfrm>
            <a:off x="6059428" y="2614527"/>
            <a:ext cx="1938573" cy="165647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60 Slides / day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From $3.2 per slide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24 hour turn around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edicated Team</a:t>
            </a:r>
          </a:p>
        </p:txBody>
      </p:sp>
      <p:grpSp>
        <p:nvGrpSpPr>
          <p:cNvPr id="215" name="Group 214">
            <a:extLst>
              <a:ext uri="{FF2B5EF4-FFF2-40B4-BE49-F238E27FC236}">
                <a16:creationId xmlns:a16="http://schemas.microsoft.com/office/drawing/2014/main" id="{EBF79B94-9DA8-473D-907F-927F10FFAFC1}"/>
              </a:ext>
            </a:extLst>
          </p:cNvPr>
          <p:cNvGrpSpPr/>
          <p:nvPr/>
        </p:nvGrpSpPr>
        <p:grpSpPr>
          <a:xfrm>
            <a:off x="5776296" y="1217205"/>
            <a:ext cx="2504839" cy="3373586"/>
            <a:chOff x="5776296" y="1217205"/>
            <a:chExt cx="2504839" cy="3373586"/>
          </a:xfrm>
        </p:grpSpPr>
        <p:sp>
          <p:nvSpPr>
            <p:cNvPr id="167" name="Rectangle 166">
              <a:extLst>
                <a:ext uri="{FF2B5EF4-FFF2-40B4-BE49-F238E27FC236}">
                  <a16:creationId xmlns:a16="http://schemas.microsoft.com/office/drawing/2014/main" id="{77D988CC-9B88-413E-93C2-C869C58096EA}"/>
                </a:ext>
              </a:extLst>
            </p:cNvPr>
            <p:cNvSpPr/>
            <p:nvPr/>
          </p:nvSpPr>
          <p:spPr>
            <a:xfrm>
              <a:off x="5776296" y="4545072"/>
              <a:ext cx="2504839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0" name="Rectangle 169">
              <a:extLst>
                <a:ext uri="{FF2B5EF4-FFF2-40B4-BE49-F238E27FC236}">
                  <a16:creationId xmlns:a16="http://schemas.microsoft.com/office/drawing/2014/main" id="{533D9528-ECF4-4BA2-B405-B2CEB02B7987}"/>
                </a:ext>
              </a:extLst>
            </p:cNvPr>
            <p:cNvSpPr/>
            <p:nvPr/>
          </p:nvSpPr>
          <p:spPr>
            <a:xfrm>
              <a:off x="5776296" y="1217205"/>
              <a:ext cx="2504839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09" name="Group 208">
            <a:extLst>
              <a:ext uri="{FF2B5EF4-FFF2-40B4-BE49-F238E27FC236}">
                <a16:creationId xmlns:a16="http://schemas.microsoft.com/office/drawing/2014/main" id="{B62136CF-26D1-4E3C-A6C7-CF76DF49877A}"/>
              </a:ext>
            </a:extLst>
          </p:cNvPr>
          <p:cNvGrpSpPr/>
          <p:nvPr/>
        </p:nvGrpSpPr>
        <p:grpSpPr>
          <a:xfrm>
            <a:off x="8386621" y="1217205"/>
            <a:ext cx="3134032" cy="3373586"/>
            <a:chOff x="8575598" y="1339841"/>
            <a:chExt cx="2988302" cy="3373586"/>
          </a:xfrm>
        </p:grpSpPr>
        <p:sp>
          <p:nvSpPr>
            <p:cNvPr id="171" name="Rectangle 170">
              <a:extLst>
                <a:ext uri="{FF2B5EF4-FFF2-40B4-BE49-F238E27FC236}">
                  <a16:creationId xmlns:a16="http://schemas.microsoft.com/office/drawing/2014/main" id="{95C9B982-0181-4CF4-8DC6-5A27C0EB2B38}"/>
                </a:ext>
              </a:extLst>
            </p:cNvPr>
            <p:cNvSpPr/>
            <p:nvPr/>
          </p:nvSpPr>
          <p:spPr>
            <a:xfrm>
              <a:off x="8575599" y="4667708"/>
              <a:ext cx="2988301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2" name="Rectangle 171">
              <a:extLst>
                <a:ext uri="{FF2B5EF4-FFF2-40B4-BE49-F238E27FC236}">
                  <a16:creationId xmlns:a16="http://schemas.microsoft.com/office/drawing/2014/main" id="{6E863F44-D1D6-46E5-928B-2C8B5D8D5E1A}"/>
                </a:ext>
              </a:extLst>
            </p:cNvPr>
            <p:cNvSpPr/>
            <p:nvPr/>
          </p:nvSpPr>
          <p:spPr>
            <a:xfrm>
              <a:off x="8575598" y="1339841"/>
              <a:ext cx="2988301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81" name="Rectangle 80">
            <a:extLst>
              <a:ext uri="{FF2B5EF4-FFF2-40B4-BE49-F238E27FC236}">
                <a16:creationId xmlns:a16="http://schemas.microsoft.com/office/drawing/2014/main" id="{9E872107-4427-4CB1-85DD-A1628A5A5DD7}"/>
              </a:ext>
            </a:extLst>
          </p:cNvPr>
          <p:cNvSpPr/>
          <p:nvPr/>
        </p:nvSpPr>
        <p:spPr>
          <a:xfrm>
            <a:off x="8451712" y="1439378"/>
            <a:ext cx="3003850" cy="61555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 w="15875"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ENTERPRISE</a:t>
            </a:r>
          </a:p>
        </p:txBody>
      </p: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DD940FEB-1A4B-411C-B871-96146C6667B5}"/>
              </a:ext>
            </a:extLst>
          </p:cNvPr>
          <p:cNvGrpSpPr/>
          <p:nvPr/>
        </p:nvGrpSpPr>
        <p:grpSpPr>
          <a:xfrm>
            <a:off x="9254030" y="2112168"/>
            <a:ext cx="1394505" cy="1320877"/>
            <a:chOff x="5232563" y="1693503"/>
            <a:chExt cx="1726417" cy="1635263"/>
          </a:xfrm>
        </p:grpSpPr>
        <p:sp>
          <p:nvSpPr>
            <p:cNvPr id="124" name="Freeform 84">
              <a:extLst>
                <a:ext uri="{FF2B5EF4-FFF2-40B4-BE49-F238E27FC236}">
                  <a16:creationId xmlns:a16="http://schemas.microsoft.com/office/drawing/2014/main" id="{CBA217BF-C4C0-4BDA-91AA-17D44242DA3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43582" y="1705023"/>
              <a:ext cx="1613726" cy="1612224"/>
            </a:xfrm>
            <a:custGeom>
              <a:avLst/>
              <a:gdLst>
                <a:gd name="T0" fmla="*/ 1715 w 1715"/>
                <a:gd name="T1" fmla="*/ 857 h 1715"/>
                <a:gd name="T2" fmla="*/ 1681 w 1715"/>
                <a:gd name="T3" fmla="*/ 1098 h 1715"/>
                <a:gd name="T4" fmla="*/ 1239 w 1715"/>
                <a:gd name="T5" fmla="*/ 1626 h 1715"/>
                <a:gd name="T6" fmla="*/ 858 w 1715"/>
                <a:gd name="T7" fmla="*/ 1715 h 1715"/>
                <a:gd name="T8" fmla="*/ 0 w 1715"/>
                <a:gd name="T9" fmla="*/ 857 h 1715"/>
                <a:gd name="T10" fmla="*/ 858 w 1715"/>
                <a:gd name="T11" fmla="*/ 0 h 1715"/>
                <a:gd name="T12" fmla="*/ 1715 w 1715"/>
                <a:gd name="T13" fmla="*/ 857 h 17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15" h="1715">
                  <a:moveTo>
                    <a:pt x="1715" y="857"/>
                  </a:moveTo>
                  <a:cubicBezTo>
                    <a:pt x="1715" y="941"/>
                    <a:pt x="1703" y="1021"/>
                    <a:pt x="1681" y="1098"/>
                  </a:cubicBezTo>
                  <a:cubicBezTo>
                    <a:pt x="1614" y="1329"/>
                    <a:pt x="1451" y="1520"/>
                    <a:pt x="1239" y="1626"/>
                  </a:cubicBezTo>
                  <a:cubicBezTo>
                    <a:pt x="1124" y="1683"/>
                    <a:pt x="994" y="1715"/>
                    <a:pt x="858" y="1715"/>
                  </a:cubicBezTo>
                  <a:cubicBezTo>
                    <a:pt x="384" y="1715"/>
                    <a:pt x="0" y="1331"/>
                    <a:pt x="0" y="857"/>
                  </a:cubicBezTo>
                  <a:cubicBezTo>
                    <a:pt x="0" y="384"/>
                    <a:pt x="384" y="0"/>
                    <a:pt x="858" y="0"/>
                  </a:cubicBezTo>
                  <a:cubicBezTo>
                    <a:pt x="1331" y="0"/>
                    <a:pt x="1715" y="384"/>
                    <a:pt x="1715" y="857"/>
                  </a:cubicBezTo>
                </a:path>
              </a:pathLst>
            </a:custGeom>
            <a:solidFill>
              <a:srgbClr val="E4F3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5" name="Freeform 85">
              <a:extLst>
                <a:ext uri="{FF2B5EF4-FFF2-40B4-BE49-F238E27FC236}">
                  <a16:creationId xmlns:a16="http://schemas.microsoft.com/office/drawing/2014/main" id="{4BE3CEA2-0D1E-471C-B4D7-D052E2FAD5E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32563" y="1693503"/>
              <a:ext cx="1635764" cy="1635263"/>
            </a:xfrm>
            <a:custGeom>
              <a:avLst/>
              <a:gdLst>
                <a:gd name="T0" fmla="*/ 1727 w 1739"/>
                <a:gd name="T1" fmla="*/ 869 h 1739"/>
                <a:gd name="T2" fmla="*/ 1715 w 1739"/>
                <a:gd name="T3" fmla="*/ 869 h 1739"/>
                <a:gd name="T4" fmla="*/ 1681 w 1739"/>
                <a:gd name="T5" fmla="*/ 1106 h 1739"/>
                <a:gd name="T6" fmla="*/ 1245 w 1739"/>
                <a:gd name="T7" fmla="*/ 1627 h 1739"/>
                <a:gd name="T8" fmla="*/ 870 w 1739"/>
                <a:gd name="T9" fmla="*/ 1715 h 1739"/>
                <a:gd name="T10" fmla="*/ 272 w 1739"/>
                <a:gd name="T11" fmla="*/ 1467 h 1739"/>
                <a:gd name="T12" fmla="*/ 24 w 1739"/>
                <a:gd name="T13" fmla="*/ 869 h 1739"/>
                <a:gd name="T14" fmla="*/ 272 w 1739"/>
                <a:gd name="T15" fmla="*/ 272 h 1739"/>
                <a:gd name="T16" fmla="*/ 870 w 1739"/>
                <a:gd name="T17" fmla="*/ 24 h 1739"/>
                <a:gd name="T18" fmla="*/ 1467 w 1739"/>
                <a:gd name="T19" fmla="*/ 272 h 1739"/>
                <a:gd name="T20" fmla="*/ 1715 w 1739"/>
                <a:gd name="T21" fmla="*/ 869 h 1739"/>
                <a:gd name="T22" fmla="*/ 1727 w 1739"/>
                <a:gd name="T23" fmla="*/ 869 h 1739"/>
                <a:gd name="T24" fmla="*/ 1739 w 1739"/>
                <a:gd name="T25" fmla="*/ 869 h 1739"/>
                <a:gd name="T26" fmla="*/ 870 w 1739"/>
                <a:gd name="T27" fmla="*/ 0 h 1739"/>
                <a:gd name="T28" fmla="*/ 0 w 1739"/>
                <a:gd name="T29" fmla="*/ 869 h 1739"/>
                <a:gd name="T30" fmla="*/ 870 w 1739"/>
                <a:gd name="T31" fmla="*/ 1739 h 1739"/>
                <a:gd name="T32" fmla="*/ 1256 w 1739"/>
                <a:gd name="T33" fmla="*/ 1649 h 1739"/>
                <a:gd name="T34" fmla="*/ 1704 w 1739"/>
                <a:gd name="T35" fmla="*/ 1113 h 1739"/>
                <a:gd name="T36" fmla="*/ 1739 w 1739"/>
                <a:gd name="T37" fmla="*/ 869 h 1739"/>
                <a:gd name="T38" fmla="*/ 1727 w 1739"/>
                <a:gd name="T39" fmla="*/ 869 h 17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739" h="1739">
                  <a:moveTo>
                    <a:pt x="1727" y="869"/>
                  </a:moveTo>
                  <a:cubicBezTo>
                    <a:pt x="1715" y="869"/>
                    <a:pt x="1715" y="869"/>
                    <a:pt x="1715" y="869"/>
                  </a:cubicBezTo>
                  <a:cubicBezTo>
                    <a:pt x="1715" y="952"/>
                    <a:pt x="1703" y="1031"/>
                    <a:pt x="1681" y="1106"/>
                  </a:cubicBezTo>
                  <a:cubicBezTo>
                    <a:pt x="1615" y="1335"/>
                    <a:pt x="1455" y="1523"/>
                    <a:pt x="1245" y="1627"/>
                  </a:cubicBezTo>
                  <a:cubicBezTo>
                    <a:pt x="1132" y="1683"/>
                    <a:pt x="1005" y="1715"/>
                    <a:pt x="870" y="1715"/>
                  </a:cubicBezTo>
                  <a:cubicBezTo>
                    <a:pt x="636" y="1715"/>
                    <a:pt x="425" y="1620"/>
                    <a:pt x="272" y="1467"/>
                  </a:cubicBezTo>
                  <a:cubicBezTo>
                    <a:pt x="119" y="1314"/>
                    <a:pt x="24" y="1103"/>
                    <a:pt x="24" y="869"/>
                  </a:cubicBezTo>
                  <a:cubicBezTo>
                    <a:pt x="24" y="636"/>
                    <a:pt x="119" y="425"/>
                    <a:pt x="272" y="272"/>
                  </a:cubicBezTo>
                  <a:cubicBezTo>
                    <a:pt x="425" y="119"/>
                    <a:pt x="636" y="24"/>
                    <a:pt x="870" y="24"/>
                  </a:cubicBezTo>
                  <a:cubicBezTo>
                    <a:pt x="1103" y="24"/>
                    <a:pt x="1314" y="119"/>
                    <a:pt x="1467" y="272"/>
                  </a:cubicBezTo>
                  <a:cubicBezTo>
                    <a:pt x="1620" y="425"/>
                    <a:pt x="1715" y="636"/>
                    <a:pt x="1715" y="869"/>
                  </a:cubicBezTo>
                  <a:cubicBezTo>
                    <a:pt x="1727" y="869"/>
                    <a:pt x="1727" y="869"/>
                    <a:pt x="1727" y="869"/>
                  </a:cubicBezTo>
                  <a:cubicBezTo>
                    <a:pt x="1739" y="869"/>
                    <a:pt x="1739" y="869"/>
                    <a:pt x="1739" y="869"/>
                  </a:cubicBezTo>
                  <a:cubicBezTo>
                    <a:pt x="1739" y="389"/>
                    <a:pt x="1350" y="0"/>
                    <a:pt x="870" y="0"/>
                  </a:cubicBezTo>
                  <a:cubicBezTo>
                    <a:pt x="389" y="0"/>
                    <a:pt x="0" y="389"/>
                    <a:pt x="0" y="869"/>
                  </a:cubicBezTo>
                  <a:cubicBezTo>
                    <a:pt x="0" y="1350"/>
                    <a:pt x="389" y="1739"/>
                    <a:pt x="870" y="1739"/>
                  </a:cubicBezTo>
                  <a:cubicBezTo>
                    <a:pt x="1008" y="1739"/>
                    <a:pt x="1139" y="1706"/>
                    <a:pt x="1256" y="1649"/>
                  </a:cubicBezTo>
                  <a:cubicBezTo>
                    <a:pt x="1471" y="1542"/>
                    <a:pt x="1636" y="1348"/>
                    <a:pt x="1704" y="1113"/>
                  </a:cubicBezTo>
                  <a:cubicBezTo>
                    <a:pt x="1727" y="1036"/>
                    <a:pt x="1739" y="954"/>
                    <a:pt x="1739" y="869"/>
                  </a:cubicBezTo>
                  <a:cubicBezTo>
                    <a:pt x="1727" y="869"/>
                    <a:pt x="1727" y="869"/>
                    <a:pt x="1727" y="869"/>
                  </a:cubicBezTo>
                </a:path>
              </a:pathLst>
            </a:custGeom>
            <a:solidFill>
              <a:srgbClr val="7AC2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6" name="Freeform 86">
              <a:extLst>
                <a:ext uri="{FF2B5EF4-FFF2-40B4-BE49-F238E27FC236}">
                  <a16:creationId xmlns:a16="http://schemas.microsoft.com/office/drawing/2014/main" id="{3989C1E3-EDE2-4CE5-9DCF-1E90047E2B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368793" y="1829733"/>
              <a:ext cx="1363303" cy="1362803"/>
            </a:xfrm>
            <a:custGeom>
              <a:avLst/>
              <a:gdLst>
                <a:gd name="T0" fmla="*/ 1449 w 1449"/>
                <a:gd name="T1" fmla="*/ 724 h 1449"/>
                <a:gd name="T2" fmla="*/ 1251 w 1449"/>
                <a:gd name="T3" fmla="*/ 1221 h 1449"/>
                <a:gd name="T4" fmla="*/ 725 w 1449"/>
                <a:gd name="T5" fmla="*/ 1449 h 1449"/>
                <a:gd name="T6" fmla="*/ 198 w 1449"/>
                <a:gd name="T7" fmla="*/ 1221 h 1449"/>
                <a:gd name="T8" fmla="*/ 0 w 1449"/>
                <a:gd name="T9" fmla="*/ 724 h 1449"/>
                <a:gd name="T10" fmla="*/ 725 w 1449"/>
                <a:gd name="T11" fmla="*/ 0 h 1449"/>
                <a:gd name="T12" fmla="*/ 1449 w 1449"/>
                <a:gd name="T13" fmla="*/ 724 h 1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49" h="1449">
                  <a:moveTo>
                    <a:pt x="1449" y="724"/>
                  </a:moveTo>
                  <a:cubicBezTo>
                    <a:pt x="1449" y="917"/>
                    <a:pt x="1374" y="1092"/>
                    <a:pt x="1251" y="1221"/>
                  </a:cubicBezTo>
                  <a:cubicBezTo>
                    <a:pt x="1119" y="1361"/>
                    <a:pt x="932" y="1449"/>
                    <a:pt x="725" y="1449"/>
                  </a:cubicBezTo>
                  <a:cubicBezTo>
                    <a:pt x="517" y="1449"/>
                    <a:pt x="330" y="1361"/>
                    <a:pt x="198" y="1221"/>
                  </a:cubicBezTo>
                  <a:cubicBezTo>
                    <a:pt x="75" y="1092"/>
                    <a:pt x="0" y="917"/>
                    <a:pt x="0" y="724"/>
                  </a:cubicBezTo>
                  <a:cubicBezTo>
                    <a:pt x="0" y="324"/>
                    <a:pt x="325" y="0"/>
                    <a:pt x="725" y="0"/>
                  </a:cubicBezTo>
                  <a:cubicBezTo>
                    <a:pt x="1125" y="0"/>
                    <a:pt x="1449" y="324"/>
                    <a:pt x="1449" y="7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7" name="Freeform 87">
              <a:extLst>
                <a:ext uri="{FF2B5EF4-FFF2-40B4-BE49-F238E27FC236}">
                  <a16:creationId xmlns:a16="http://schemas.microsoft.com/office/drawing/2014/main" id="{106160D0-FC9B-498A-988D-81860EC39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57775" y="1818715"/>
              <a:ext cx="1385842" cy="1384840"/>
            </a:xfrm>
            <a:custGeom>
              <a:avLst/>
              <a:gdLst>
                <a:gd name="T0" fmla="*/ 1461 w 1473"/>
                <a:gd name="T1" fmla="*/ 736 h 1473"/>
                <a:gd name="T2" fmla="*/ 1449 w 1473"/>
                <a:gd name="T3" fmla="*/ 736 h 1473"/>
                <a:gd name="T4" fmla="*/ 1255 w 1473"/>
                <a:gd name="T5" fmla="*/ 1225 h 1473"/>
                <a:gd name="T6" fmla="*/ 737 w 1473"/>
                <a:gd name="T7" fmla="*/ 1449 h 1473"/>
                <a:gd name="T8" fmla="*/ 219 w 1473"/>
                <a:gd name="T9" fmla="*/ 1225 h 1473"/>
                <a:gd name="T10" fmla="*/ 24 w 1473"/>
                <a:gd name="T11" fmla="*/ 736 h 1473"/>
                <a:gd name="T12" fmla="*/ 233 w 1473"/>
                <a:gd name="T13" fmla="*/ 233 h 1473"/>
                <a:gd name="T14" fmla="*/ 737 w 1473"/>
                <a:gd name="T15" fmla="*/ 24 h 1473"/>
                <a:gd name="T16" fmla="*/ 1240 w 1473"/>
                <a:gd name="T17" fmla="*/ 233 h 1473"/>
                <a:gd name="T18" fmla="*/ 1449 w 1473"/>
                <a:gd name="T19" fmla="*/ 736 h 1473"/>
                <a:gd name="T20" fmla="*/ 1461 w 1473"/>
                <a:gd name="T21" fmla="*/ 736 h 1473"/>
                <a:gd name="T22" fmla="*/ 1473 w 1473"/>
                <a:gd name="T23" fmla="*/ 736 h 1473"/>
                <a:gd name="T24" fmla="*/ 737 w 1473"/>
                <a:gd name="T25" fmla="*/ 0 h 1473"/>
                <a:gd name="T26" fmla="*/ 0 w 1473"/>
                <a:gd name="T27" fmla="*/ 736 h 1473"/>
                <a:gd name="T28" fmla="*/ 201 w 1473"/>
                <a:gd name="T29" fmla="*/ 1242 h 1473"/>
                <a:gd name="T30" fmla="*/ 737 w 1473"/>
                <a:gd name="T31" fmla="*/ 1473 h 1473"/>
                <a:gd name="T32" fmla="*/ 1272 w 1473"/>
                <a:gd name="T33" fmla="*/ 1242 h 1473"/>
                <a:gd name="T34" fmla="*/ 1473 w 1473"/>
                <a:gd name="T35" fmla="*/ 736 h 1473"/>
                <a:gd name="T36" fmla="*/ 1461 w 1473"/>
                <a:gd name="T37" fmla="*/ 736 h 1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73" h="1473">
                  <a:moveTo>
                    <a:pt x="1461" y="736"/>
                  </a:moveTo>
                  <a:cubicBezTo>
                    <a:pt x="1449" y="736"/>
                    <a:pt x="1449" y="736"/>
                    <a:pt x="1449" y="736"/>
                  </a:cubicBezTo>
                  <a:cubicBezTo>
                    <a:pt x="1449" y="926"/>
                    <a:pt x="1375" y="1098"/>
                    <a:pt x="1255" y="1225"/>
                  </a:cubicBezTo>
                  <a:cubicBezTo>
                    <a:pt x="1125" y="1363"/>
                    <a:pt x="941" y="1449"/>
                    <a:pt x="737" y="1449"/>
                  </a:cubicBezTo>
                  <a:cubicBezTo>
                    <a:pt x="532" y="1449"/>
                    <a:pt x="348" y="1363"/>
                    <a:pt x="219" y="1225"/>
                  </a:cubicBezTo>
                  <a:cubicBezTo>
                    <a:pt x="98" y="1098"/>
                    <a:pt x="24" y="926"/>
                    <a:pt x="24" y="736"/>
                  </a:cubicBezTo>
                  <a:cubicBezTo>
                    <a:pt x="24" y="540"/>
                    <a:pt x="104" y="362"/>
                    <a:pt x="233" y="233"/>
                  </a:cubicBezTo>
                  <a:cubicBezTo>
                    <a:pt x="362" y="104"/>
                    <a:pt x="540" y="24"/>
                    <a:pt x="737" y="24"/>
                  </a:cubicBezTo>
                  <a:cubicBezTo>
                    <a:pt x="933" y="24"/>
                    <a:pt x="1111" y="104"/>
                    <a:pt x="1240" y="233"/>
                  </a:cubicBezTo>
                  <a:cubicBezTo>
                    <a:pt x="1369" y="362"/>
                    <a:pt x="1449" y="540"/>
                    <a:pt x="1449" y="736"/>
                  </a:cubicBezTo>
                  <a:cubicBezTo>
                    <a:pt x="1461" y="736"/>
                    <a:pt x="1461" y="736"/>
                    <a:pt x="1461" y="736"/>
                  </a:cubicBezTo>
                  <a:cubicBezTo>
                    <a:pt x="1473" y="736"/>
                    <a:pt x="1473" y="736"/>
                    <a:pt x="1473" y="736"/>
                  </a:cubicBezTo>
                  <a:cubicBezTo>
                    <a:pt x="1473" y="330"/>
                    <a:pt x="1143" y="0"/>
                    <a:pt x="737" y="0"/>
                  </a:cubicBezTo>
                  <a:cubicBezTo>
                    <a:pt x="330" y="0"/>
                    <a:pt x="0" y="330"/>
                    <a:pt x="0" y="736"/>
                  </a:cubicBezTo>
                  <a:cubicBezTo>
                    <a:pt x="0" y="932"/>
                    <a:pt x="77" y="1110"/>
                    <a:pt x="201" y="1242"/>
                  </a:cubicBezTo>
                  <a:cubicBezTo>
                    <a:pt x="335" y="1384"/>
                    <a:pt x="526" y="1473"/>
                    <a:pt x="737" y="1473"/>
                  </a:cubicBezTo>
                  <a:cubicBezTo>
                    <a:pt x="948" y="1473"/>
                    <a:pt x="1138" y="1384"/>
                    <a:pt x="1272" y="1242"/>
                  </a:cubicBezTo>
                  <a:cubicBezTo>
                    <a:pt x="1397" y="1110"/>
                    <a:pt x="1473" y="932"/>
                    <a:pt x="1473" y="736"/>
                  </a:cubicBezTo>
                  <a:cubicBezTo>
                    <a:pt x="1461" y="736"/>
                    <a:pt x="1461" y="736"/>
                    <a:pt x="1461" y="736"/>
                  </a:cubicBezTo>
                </a:path>
              </a:pathLst>
            </a:custGeom>
            <a:solidFill>
              <a:srgbClr val="7AC2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8" name="Freeform 88">
              <a:extLst>
                <a:ext uri="{FF2B5EF4-FFF2-40B4-BE49-F238E27FC236}">
                  <a16:creationId xmlns:a16="http://schemas.microsoft.com/office/drawing/2014/main" id="{C379A26A-8A8E-4DDC-84AB-2FA394940093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5108" y="2978174"/>
              <a:ext cx="990674" cy="214362"/>
            </a:xfrm>
            <a:custGeom>
              <a:avLst/>
              <a:gdLst>
                <a:gd name="T0" fmla="*/ 1053 w 1053"/>
                <a:gd name="T1" fmla="*/ 0 h 228"/>
                <a:gd name="T2" fmla="*/ 527 w 1053"/>
                <a:gd name="T3" fmla="*/ 228 h 228"/>
                <a:gd name="T4" fmla="*/ 0 w 1053"/>
                <a:gd name="T5" fmla="*/ 0 h 228"/>
                <a:gd name="T6" fmla="*/ 1053 w 1053"/>
                <a:gd name="T7" fmla="*/ 0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53" h="228">
                  <a:moveTo>
                    <a:pt x="1053" y="0"/>
                  </a:moveTo>
                  <a:cubicBezTo>
                    <a:pt x="921" y="140"/>
                    <a:pt x="734" y="228"/>
                    <a:pt x="527" y="228"/>
                  </a:cubicBezTo>
                  <a:cubicBezTo>
                    <a:pt x="319" y="228"/>
                    <a:pt x="132" y="140"/>
                    <a:pt x="0" y="0"/>
                  </a:cubicBezTo>
                  <a:cubicBezTo>
                    <a:pt x="1053" y="0"/>
                    <a:pt x="1053" y="0"/>
                    <a:pt x="1053" y="0"/>
                  </a:cubicBezTo>
                </a:path>
              </a:pathLst>
            </a:custGeom>
            <a:solidFill>
              <a:srgbClr val="AFD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9" name="Freeform 89">
              <a:extLst>
                <a:ext uri="{FF2B5EF4-FFF2-40B4-BE49-F238E27FC236}">
                  <a16:creationId xmlns:a16="http://schemas.microsoft.com/office/drawing/2014/main" id="{D083AB2F-6BDC-4CB4-B761-6C7CCEBCC81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088" y="2966654"/>
              <a:ext cx="1014714" cy="236900"/>
            </a:xfrm>
            <a:custGeom>
              <a:avLst/>
              <a:gdLst>
                <a:gd name="T0" fmla="*/ 1066 w 1079"/>
                <a:gd name="T1" fmla="*/ 12 h 252"/>
                <a:gd name="T2" fmla="*/ 1058 w 1079"/>
                <a:gd name="T3" fmla="*/ 4 h 252"/>
                <a:gd name="T4" fmla="*/ 540 w 1079"/>
                <a:gd name="T5" fmla="*/ 228 h 252"/>
                <a:gd name="T6" fmla="*/ 22 w 1079"/>
                <a:gd name="T7" fmla="*/ 4 h 252"/>
                <a:gd name="T8" fmla="*/ 13 w 1079"/>
                <a:gd name="T9" fmla="*/ 12 h 252"/>
                <a:gd name="T10" fmla="*/ 13 w 1079"/>
                <a:gd name="T11" fmla="*/ 24 h 252"/>
                <a:gd name="T12" fmla="*/ 1066 w 1079"/>
                <a:gd name="T13" fmla="*/ 24 h 252"/>
                <a:gd name="T14" fmla="*/ 1066 w 1079"/>
                <a:gd name="T15" fmla="*/ 12 h 252"/>
                <a:gd name="T16" fmla="*/ 1058 w 1079"/>
                <a:gd name="T17" fmla="*/ 4 h 252"/>
                <a:gd name="T18" fmla="*/ 1066 w 1079"/>
                <a:gd name="T19" fmla="*/ 12 h 252"/>
                <a:gd name="T20" fmla="*/ 1066 w 1079"/>
                <a:gd name="T21" fmla="*/ 0 h 252"/>
                <a:gd name="T22" fmla="*/ 13 w 1079"/>
                <a:gd name="T23" fmla="*/ 0 h 252"/>
                <a:gd name="T24" fmla="*/ 2 w 1079"/>
                <a:gd name="T25" fmla="*/ 8 h 252"/>
                <a:gd name="T26" fmla="*/ 4 w 1079"/>
                <a:gd name="T27" fmla="*/ 21 h 252"/>
                <a:gd name="T28" fmla="*/ 540 w 1079"/>
                <a:gd name="T29" fmla="*/ 252 h 252"/>
                <a:gd name="T30" fmla="*/ 1075 w 1079"/>
                <a:gd name="T31" fmla="*/ 21 h 252"/>
                <a:gd name="T32" fmla="*/ 1077 w 1079"/>
                <a:gd name="T33" fmla="*/ 8 h 252"/>
                <a:gd name="T34" fmla="*/ 1066 w 1079"/>
                <a:gd name="T35" fmla="*/ 0 h 252"/>
                <a:gd name="T36" fmla="*/ 1066 w 1079"/>
                <a:gd name="T37" fmla="*/ 12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79" h="252">
                  <a:moveTo>
                    <a:pt x="1066" y="12"/>
                  </a:moveTo>
                  <a:cubicBezTo>
                    <a:pt x="1058" y="4"/>
                    <a:pt x="1058" y="4"/>
                    <a:pt x="1058" y="4"/>
                  </a:cubicBezTo>
                  <a:cubicBezTo>
                    <a:pt x="928" y="142"/>
                    <a:pt x="744" y="228"/>
                    <a:pt x="540" y="228"/>
                  </a:cubicBezTo>
                  <a:cubicBezTo>
                    <a:pt x="335" y="228"/>
                    <a:pt x="151" y="142"/>
                    <a:pt x="22" y="4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066" y="24"/>
                    <a:pt x="1066" y="24"/>
                    <a:pt x="1066" y="24"/>
                  </a:cubicBezTo>
                  <a:cubicBezTo>
                    <a:pt x="1066" y="12"/>
                    <a:pt x="1066" y="12"/>
                    <a:pt x="1066" y="12"/>
                  </a:cubicBezTo>
                  <a:cubicBezTo>
                    <a:pt x="1058" y="4"/>
                    <a:pt x="1058" y="4"/>
                    <a:pt x="1058" y="4"/>
                  </a:cubicBezTo>
                  <a:cubicBezTo>
                    <a:pt x="1066" y="12"/>
                    <a:pt x="1066" y="12"/>
                    <a:pt x="1066" y="12"/>
                  </a:cubicBezTo>
                  <a:cubicBezTo>
                    <a:pt x="1066" y="0"/>
                    <a:pt x="1066" y="0"/>
                    <a:pt x="1066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8" y="0"/>
                    <a:pt x="4" y="3"/>
                    <a:pt x="2" y="8"/>
                  </a:cubicBezTo>
                  <a:cubicBezTo>
                    <a:pt x="0" y="12"/>
                    <a:pt x="1" y="17"/>
                    <a:pt x="4" y="21"/>
                  </a:cubicBezTo>
                  <a:cubicBezTo>
                    <a:pt x="138" y="163"/>
                    <a:pt x="329" y="252"/>
                    <a:pt x="540" y="252"/>
                  </a:cubicBezTo>
                  <a:cubicBezTo>
                    <a:pt x="751" y="252"/>
                    <a:pt x="941" y="163"/>
                    <a:pt x="1075" y="21"/>
                  </a:cubicBezTo>
                  <a:cubicBezTo>
                    <a:pt x="1078" y="17"/>
                    <a:pt x="1079" y="12"/>
                    <a:pt x="1077" y="8"/>
                  </a:cubicBezTo>
                  <a:cubicBezTo>
                    <a:pt x="1076" y="3"/>
                    <a:pt x="1071" y="0"/>
                    <a:pt x="1066" y="0"/>
                  </a:cubicBezTo>
                  <a:cubicBezTo>
                    <a:pt x="1066" y="12"/>
                    <a:pt x="1066" y="12"/>
                    <a:pt x="1066" y="12"/>
                  </a:cubicBezTo>
                </a:path>
              </a:pathLst>
            </a:custGeom>
            <a:solidFill>
              <a:srgbClr val="7AC2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0" name="Freeform 90">
              <a:extLst>
                <a:ext uri="{FF2B5EF4-FFF2-40B4-BE49-F238E27FC236}">
                  <a16:creationId xmlns:a16="http://schemas.microsoft.com/office/drawing/2014/main" id="{0C9480A9-EA90-4B04-ABD6-F0F7A7B2E5B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0743" y="2772827"/>
              <a:ext cx="266951" cy="159770"/>
            </a:xfrm>
            <a:custGeom>
              <a:avLst/>
              <a:gdLst>
                <a:gd name="T0" fmla="*/ 67 w 533"/>
                <a:gd name="T1" fmla="*/ 0 h 319"/>
                <a:gd name="T2" fmla="*/ 465 w 533"/>
                <a:gd name="T3" fmla="*/ 0 h 319"/>
                <a:gd name="T4" fmla="*/ 533 w 533"/>
                <a:gd name="T5" fmla="*/ 319 h 319"/>
                <a:gd name="T6" fmla="*/ 0 w 533"/>
                <a:gd name="T7" fmla="*/ 319 h 319"/>
                <a:gd name="T8" fmla="*/ 67 w 533"/>
                <a:gd name="T9" fmla="*/ 0 h 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3" h="319">
                  <a:moveTo>
                    <a:pt x="67" y="0"/>
                  </a:moveTo>
                  <a:lnTo>
                    <a:pt x="465" y="0"/>
                  </a:lnTo>
                  <a:lnTo>
                    <a:pt x="533" y="319"/>
                  </a:lnTo>
                  <a:lnTo>
                    <a:pt x="0" y="319"/>
                  </a:lnTo>
                  <a:lnTo>
                    <a:pt x="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1" name="Freeform 91">
              <a:extLst>
                <a:ext uri="{FF2B5EF4-FFF2-40B4-BE49-F238E27FC236}">
                  <a16:creationId xmlns:a16="http://schemas.microsoft.com/office/drawing/2014/main" id="{0008157F-50EF-4617-90BD-04CD457B0F4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9223" y="2761808"/>
              <a:ext cx="290491" cy="182308"/>
            </a:xfrm>
            <a:custGeom>
              <a:avLst/>
              <a:gdLst>
                <a:gd name="T0" fmla="*/ 48 w 309"/>
                <a:gd name="T1" fmla="*/ 12 h 194"/>
                <a:gd name="T2" fmla="*/ 48 w 309"/>
                <a:gd name="T3" fmla="*/ 24 h 194"/>
                <a:gd name="T4" fmla="*/ 250 w 309"/>
                <a:gd name="T5" fmla="*/ 24 h 194"/>
                <a:gd name="T6" fmla="*/ 281 w 309"/>
                <a:gd name="T7" fmla="*/ 170 h 194"/>
                <a:gd name="T8" fmla="*/ 27 w 309"/>
                <a:gd name="T9" fmla="*/ 170 h 194"/>
                <a:gd name="T10" fmla="*/ 60 w 309"/>
                <a:gd name="T11" fmla="*/ 14 h 194"/>
                <a:gd name="T12" fmla="*/ 48 w 309"/>
                <a:gd name="T13" fmla="*/ 12 h 194"/>
                <a:gd name="T14" fmla="*/ 48 w 309"/>
                <a:gd name="T15" fmla="*/ 24 h 194"/>
                <a:gd name="T16" fmla="*/ 48 w 309"/>
                <a:gd name="T17" fmla="*/ 12 h 194"/>
                <a:gd name="T18" fmla="*/ 36 w 309"/>
                <a:gd name="T19" fmla="*/ 9 h 194"/>
                <a:gd name="T20" fmla="*/ 0 w 309"/>
                <a:gd name="T21" fmla="*/ 179 h 194"/>
                <a:gd name="T22" fmla="*/ 3 w 309"/>
                <a:gd name="T23" fmla="*/ 189 h 194"/>
                <a:gd name="T24" fmla="*/ 12 w 309"/>
                <a:gd name="T25" fmla="*/ 194 h 194"/>
                <a:gd name="T26" fmla="*/ 296 w 309"/>
                <a:gd name="T27" fmla="*/ 194 h 194"/>
                <a:gd name="T28" fmla="*/ 305 w 309"/>
                <a:gd name="T29" fmla="*/ 189 h 194"/>
                <a:gd name="T30" fmla="*/ 308 w 309"/>
                <a:gd name="T31" fmla="*/ 179 h 194"/>
                <a:gd name="T32" fmla="*/ 272 w 309"/>
                <a:gd name="T33" fmla="*/ 9 h 194"/>
                <a:gd name="T34" fmla="*/ 260 w 309"/>
                <a:gd name="T35" fmla="*/ 0 h 194"/>
                <a:gd name="T36" fmla="*/ 48 w 309"/>
                <a:gd name="T37" fmla="*/ 0 h 194"/>
                <a:gd name="T38" fmla="*/ 36 w 309"/>
                <a:gd name="T39" fmla="*/ 9 h 194"/>
                <a:gd name="T40" fmla="*/ 48 w 309"/>
                <a:gd name="T41" fmla="*/ 12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09" h="194">
                  <a:moveTo>
                    <a:pt x="48" y="12"/>
                  </a:moveTo>
                  <a:cubicBezTo>
                    <a:pt x="48" y="24"/>
                    <a:pt x="48" y="24"/>
                    <a:pt x="48" y="24"/>
                  </a:cubicBezTo>
                  <a:cubicBezTo>
                    <a:pt x="250" y="24"/>
                    <a:pt x="250" y="24"/>
                    <a:pt x="250" y="24"/>
                  </a:cubicBezTo>
                  <a:cubicBezTo>
                    <a:pt x="281" y="170"/>
                    <a:pt x="281" y="170"/>
                    <a:pt x="281" y="170"/>
                  </a:cubicBezTo>
                  <a:cubicBezTo>
                    <a:pt x="27" y="170"/>
                    <a:pt x="27" y="170"/>
                    <a:pt x="27" y="170"/>
                  </a:cubicBezTo>
                  <a:cubicBezTo>
                    <a:pt x="60" y="14"/>
                    <a:pt x="60" y="14"/>
                    <a:pt x="60" y="14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48" y="24"/>
                    <a:pt x="48" y="24"/>
                    <a:pt x="48" y="24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36" y="9"/>
                    <a:pt x="36" y="9"/>
                    <a:pt x="36" y="9"/>
                  </a:cubicBezTo>
                  <a:cubicBezTo>
                    <a:pt x="0" y="179"/>
                    <a:pt x="0" y="179"/>
                    <a:pt x="0" y="179"/>
                  </a:cubicBezTo>
                  <a:cubicBezTo>
                    <a:pt x="0" y="183"/>
                    <a:pt x="1" y="186"/>
                    <a:pt x="3" y="189"/>
                  </a:cubicBezTo>
                  <a:cubicBezTo>
                    <a:pt x="5" y="192"/>
                    <a:pt x="9" y="194"/>
                    <a:pt x="12" y="194"/>
                  </a:cubicBezTo>
                  <a:cubicBezTo>
                    <a:pt x="296" y="194"/>
                    <a:pt x="296" y="194"/>
                    <a:pt x="296" y="194"/>
                  </a:cubicBezTo>
                  <a:cubicBezTo>
                    <a:pt x="300" y="194"/>
                    <a:pt x="303" y="192"/>
                    <a:pt x="305" y="189"/>
                  </a:cubicBezTo>
                  <a:cubicBezTo>
                    <a:pt x="308" y="186"/>
                    <a:pt x="309" y="183"/>
                    <a:pt x="308" y="179"/>
                  </a:cubicBezTo>
                  <a:cubicBezTo>
                    <a:pt x="272" y="9"/>
                    <a:pt x="272" y="9"/>
                    <a:pt x="272" y="9"/>
                  </a:cubicBezTo>
                  <a:cubicBezTo>
                    <a:pt x="271" y="4"/>
                    <a:pt x="266" y="0"/>
                    <a:pt x="26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2" y="0"/>
                    <a:pt x="38" y="4"/>
                    <a:pt x="36" y="9"/>
                  </a:cubicBezTo>
                  <a:lnTo>
                    <a:pt x="48" y="12"/>
                  </a:lnTo>
                  <a:close/>
                </a:path>
              </a:pathLst>
            </a:custGeom>
            <a:solidFill>
              <a:srgbClr val="7AC2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2" name="Freeform 92">
              <a:extLst>
                <a:ext uri="{FF2B5EF4-FFF2-40B4-BE49-F238E27FC236}">
                  <a16:creationId xmlns:a16="http://schemas.microsoft.com/office/drawing/2014/main" id="{D61BFAA6-FE39-4E09-9192-3B9F85B7CA06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6730" y="1968718"/>
              <a:ext cx="1190011" cy="855946"/>
            </a:xfrm>
            <a:custGeom>
              <a:avLst/>
              <a:gdLst>
                <a:gd name="T0" fmla="*/ 1265 w 1265"/>
                <a:gd name="T1" fmla="*/ 78 h 910"/>
                <a:gd name="T2" fmla="*/ 1265 w 1265"/>
                <a:gd name="T3" fmla="*/ 832 h 910"/>
                <a:gd name="T4" fmla="*/ 1187 w 1265"/>
                <a:gd name="T5" fmla="*/ 910 h 910"/>
                <a:gd name="T6" fmla="*/ 78 w 1265"/>
                <a:gd name="T7" fmla="*/ 910 h 910"/>
                <a:gd name="T8" fmla="*/ 0 w 1265"/>
                <a:gd name="T9" fmla="*/ 832 h 910"/>
                <a:gd name="T10" fmla="*/ 0 w 1265"/>
                <a:gd name="T11" fmla="*/ 78 h 910"/>
                <a:gd name="T12" fmla="*/ 78 w 1265"/>
                <a:gd name="T13" fmla="*/ 0 h 910"/>
                <a:gd name="T14" fmla="*/ 1187 w 1265"/>
                <a:gd name="T15" fmla="*/ 0 h 910"/>
                <a:gd name="T16" fmla="*/ 1265 w 1265"/>
                <a:gd name="T17" fmla="*/ 78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65" h="910">
                  <a:moveTo>
                    <a:pt x="1265" y="78"/>
                  </a:moveTo>
                  <a:cubicBezTo>
                    <a:pt x="1265" y="832"/>
                    <a:pt x="1265" y="832"/>
                    <a:pt x="1265" y="832"/>
                  </a:cubicBezTo>
                  <a:cubicBezTo>
                    <a:pt x="1265" y="875"/>
                    <a:pt x="1230" y="910"/>
                    <a:pt x="1187" y="910"/>
                  </a:cubicBezTo>
                  <a:cubicBezTo>
                    <a:pt x="78" y="910"/>
                    <a:pt x="78" y="910"/>
                    <a:pt x="78" y="910"/>
                  </a:cubicBezTo>
                  <a:cubicBezTo>
                    <a:pt x="35" y="910"/>
                    <a:pt x="0" y="875"/>
                    <a:pt x="0" y="8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35"/>
                    <a:pt x="35" y="0"/>
                    <a:pt x="78" y="0"/>
                  </a:cubicBezTo>
                  <a:cubicBezTo>
                    <a:pt x="1187" y="0"/>
                    <a:pt x="1187" y="0"/>
                    <a:pt x="1187" y="0"/>
                  </a:cubicBezTo>
                  <a:cubicBezTo>
                    <a:pt x="1230" y="0"/>
                    <a:pt x="1265" y="35"/>
                    <a:pt x="1265" y="78"/>
                  </a:cubicBezTo>
                </a:path>
              </a:pathLst>
            </a:custGeom>
            <a:solidFill>
              <a:srgbClr val="E4F3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3" name="Freeform 93">
              <a:extLst>
                <a:ext uri="{FF2B5EF4-FFF2-40B4-BE49-F238E27FC236}">
                  <a16:creationId xmlns:a16="http://schemas.microsoft.com/office/drawing/2014/main" id="{785D87E3-A055-4C98-963A-1EA0291A92BF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3920" y="1963459"/>
              <a:ext cx="1213049" cy="877984"/>
            </a:xfrm>
            <a:custGeom>
              <a:avLst/>
              <a:gdLst>
                <a:gd name="T0" fmla="*/ 1277 w 1289"/>
                <a:gd name="T1" fmla="*/ 90 h 934"/>
                <a:gd name="T2" fmla="*/ 1265 w 1289"/>
                <a:gd name="T3" fmla="*/ 90 h 934"/>
                <a:gd name="T4" fmla="*/ 1265 w 1289"/>
                <a:gd name="T5" fmla="*/ 844 h 934"/>
                <a:gd name="T6" fmla="*/ 1246 w 1289"/>
                <a:gd name="T7" fmla="*/ 891 h 934"/>
                <a:gd name="T8" fmla="*/ 1199 w 1289"/>
                <a:gd name="T9" fmla="*/ 910 h 934"/>
                <a:gd name="T10" fmla="*/ 90 w 1289"/>
                <a:gd name="T11" fmla="*/ 910 h 934"/>
                <a:gd name="T12" fmla="*/ 43 w 1289"/>
                <a:gd name="T13" fmla="*/ 891 h 934"/>
                <a:gd name="T14" fmla="*/ 24 w 1289"/>
                <a:gd name="T15" fmla="*/ 844 h 934"/>
                <a:gd name="T16" fmla="*/ 24 w 1289"/>
                <a:gd name="T17" fmla="*/ 90 h 934"/>
                <a:gd name="T18" fmla="*/ 43 w 1289"/>
                <a:gd name="T19" fmla="*/ 43 h 934"/>
                <a:gd name="T20" fmla="*/ 90 w 1289"/>
                <a:gd name="T21" fmla="*/ 24 h 934"/>
                <a:gd name="T22" fmla="*/ 1199 w 1289"/>
                <a:gd name="T23" fmla="*/ 24 h 934"/>
                <a:gd name="T24" fmla="*/ 1246 w 1289"/>
                <a:gd name="T25" fmla="*/ 43 h 934"/>
                <a:gd name="T26" fmla="*/ 1265 w 1289"/>
                <a:gd name="T27" fmla="*/ 90 h 934"/>
                <a:gd name="T28" fmla="*/ 1277 w 1289"/>
                <a:gd name="T29" fmla="*/ 90 h 934"/>
                <a:gd name="T30" fmla="*/ 1289 w 1289"/>
                <a:gd name="T31" fmla="*/ 90 h 934"/>
                <a:gd name="T32" fmla="*/ 1263 w 1289"/>
                <a:gd name="T33" fmla="*/ 27 h 934"/>
                <a:gd name="T34" fmla="*/ 1199 w 1289"/>
                <a:gd name="T35" fmla="*/ 0 h 934"/>
                <a:gd name="T36" fmla="*/ 90 w 1289"/>
                <a:gd name="T37" fmla="*/ 0 h 934"/>
                <a:gd name="T38" fmla="*/ 26 w 1289"/>
                <a:gd name="T39" fmla="*/ 27 h 934"/>
                <a:gd name="T40" fmla="*/ 0 w 1289"/>
                <a:gd name="T41" fmla="*/ 90 h 934"/>
                <a:gd name="T42" fmla="*/ 0 w 1289"/>
                <a:gd name="T43" fmla="*/ 844 h 934"/>
                <a:gd name="T44" fmla="*/ 26 w 1289"/>
                <a:gd name="T45" fmla="*/ 908 h 934"/>
                <a:gd name="T46" fmla="*/ 90 w 1289"/>
                <a:gd name="T47" fmla="*/ 934 h 934"/>
                <a:gd name="T48" fmla="*/ 1199 w 1289"/>
                <a:gd name="T49" fmla="*/ 934 h 934"/>
                <a:gd name="T50" fmla="*/ 1263 w 1289"/>
                <a:gd name="T51" fmla="*/ 908 h 934"/>
                <a:gd name="T52" fmla="*/ 1289 w 1289"/>
                <a:gd name="T53" fmla="*/ 844 h 934"/>
                <a:gd name="T54" fmla="*/ 1289 w 1289"/>
                <a:gd name="T55" fmla="*/ 90 h 934"/>
                <a:gd name="T56" fmla="*/ 1277 w 1289"/>
                <a:gd name="T57" fmla="*/ 90 h 9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89" h="934">
                  <a:moveTo>
                    <a:pt x="1277" y="90"/>
                  </a:moveTo>
                  <a:cubicBezTo>
                    <a:pt x="1265" y="90"/>
                    <a:pt x="1265" y="90"/>
                    <a:pt x="1265" y="90"/>
                  </a:cubicBezTo>
                  <a:cubicBezTo>
                    <a:pt x="1265" y="844"/>
                    <a:pt x="1265" y="844"/>
                    <a:pt x="1265" y="844"/>
                  </a:cubicBezTo>
                  <a:cubicBezTo>
                    <a:pt x="1265" y="862"/>
                    <a:pt x="1258" y="879"/>
                    <a:pt x="1246" y="891"/>
                  </a:cubicBezTo>
                  <a:cubicBezTo>
                    <a:pt x="1234" y="903"/>
                    <a:pt x="1217" y="910"/>
                    <a:pt x="1199" y="910"/>
                  </a:cubicBezTo>
                  <a:cubicBezTo>
                    <a:pt x="90" y="910"/>
                    <a:pt x="90" y="910"/>
                    <a:pt x="90" y="910"/>
                  </a:cubicBezTo>
                  <a:cubicBezTo>
                    <a:pt x="72" y="910"/>
                    <a:pt x="55" y="903"/>
                    <a:pt x="43" y="891"/>
                  </a:cubicBezTo>
                  <a:cubicBezTo>
                    <a:pt x="31" y="879"/>
                    <a:pt x="24" y="862"/>
                    <a:pt x="24" y="844"/>
                  </a:cubicBezTo>
                  <a:cubicBezTo>
                    <a:pt x="24" y="90"/>
                    <a:pt x="24" y="90"/>
                    <a:pt x="24" y="90"/>
                  </a:cubicBezTo>
                  <a:cubicBezTo>
                    <a:pt x="24" y="72"/>
                    <a:pt x="31" y="55"/>
                    <a:pt x="43" y="43"/>
                  </a:cubicBezTo>
                  <a:cubicBezTo>
                    <a:pt x="55" y="32"/>
                    <a:pt x="72" y="24"/>
                    <a:pt x="90" y="24"/>
                  </a:cubicBezTo>
                  <a:cubicBezTo>
                    <a:pt x="1199" y="24"/>
                    <a:pt x="1199" y="24"/>
                    <a:pt x="1199" y="24"/>
                  </a:cubicBezTo>
                  <a:cubicBezTo>
                    <a:pt x="1217" y="24"/>
                    <a:pt x="1234" y="32"/>
                    <a:pt x="1246" y="43"/>
                  </a:cubicBezTo>
                  <a:cubicBezTo>
                    <a:pt x="1258" y="55"/>
                    <a:pt x="1265" y="72"/>
                    <a:pt x="1265" y="90"/>
                  </a:cubicBezTo>
                  <a:cubicBezTo>
                    <a:pt x="1277" y="90"/>
                    <a:pt x="1277" y="90"/>
                    <a:pt x="1277" y="90"/>
                  </a:cubicBezTo>
                  <a:cubicBezTo>
                    <a:pt x="1289" y="90"/>
                    <a:pt x="1289" y="90"/>
                    <a:pt x="1289" y="90"/>
                  </a:cubicBezTo>
                  <a:cubicBezTo>
                    <a:pt x="1289" y="65"/>
                    <a:pt x="1279" y="43"/>
                    <a:pt x="1263" y="27"/>
                  </a:cubicBezTo>
                  <a:cubicBezTo>
                    <a:pt x="1247" y="10"/>
                    <a:pt x="1224" y="0"/>
                    <a:pt x="1199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65" y="0"/>
                    <a:pt x="43" y="10"/>
                    <a:pt x="26" y="27"/>
                  </a:cubicBezTo>
                  <a:cubicBezTo>
                    <a:pt x="10" y="43"/>
                    <a:pt x="0" y="65"/>
                    <a:pt x="0" y="90"/>
                  </a:cubicBezTo>
                  <a:cubicBezTo>
                    <a:pt x="0" y="844"/>
                    <a:pt x="0" y="844"/>
                    <a:pt x="0" y="844"/>
                  </a:cubicBezTo>
                  <a:cubicBezTo>
                    <a:pt x="0" y="869"/>
                    <a:pt x="10" y="891"/>
                    <a:pt x="26" y="908"/>
                  </a:cubicBezTo>
                  <a:cubicBezTo>
                    <a:pt x="43" y="924"/>
                    <a:pt x="65" y="934"/>
                    <a:pt x="90" y="934"/>
                  </a:cubicBezTo>
                  <a:cubicBezTo>
                    <a:pt x="1199" y="934"/>
                    <a:pt x="1199" y="934"/>
                    <a:pt x="1199" y="934"/>
                  </a:cubicBezTo>
                  <a:cubicBezTo>
                    <a:pt x="1224" y="934"/>
                    <a:pt x="1247" y="924"/>
                    <a:pt x="1263" y="908"/>
                  </a:cubicBezTo>
                  <a:cubicBezTo>
                    <a:pt x="1279" y="891"/>
                    <a:pt x="1289" y="869"/>
                    <a:pt x="1289" y="844"/>
                  </a:cubicBezTo>
                  <a:cubicBezTo>
                    <a:pt x="1289" y="90"/>
                    <a:pt x="1289" y="90"/>
                    <a:pt x="1289" y="90"/>
                  </a:cubicBezTo>
                  <a:cubicBezTo>
                    <a:pt x="1277" y="90"/>
                    <a:pt x="1277" y="90"/>
                    <a:pt x="1277" y="90"/>
                  </a:cubicBezTo>
                </a:path>
              </a:pathLst>
            </a:custGeom>
            <a:solidFill>
              <a:srgbClr val="7AC2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4" name="Freeform 96">
              <a:extLst>
                <a:ext uri="{FF2B5EF4-FFF2-40B4-BE49-F238E27FC236}">
                  <a16:creationId xmlns:a16="http://schemas.microsoft.com/office/drawing/2014/main" id="{A706FEF7-5DA8-4B9C-98FE-FDF8D9AC3A6F}"/>
                </a:ext>
              </a:extLst>
            </p:cNvPr>
            <p:cNvSpPr>
              <a:spLocks/>
            </p:cNvSpPr>
            <p:nvPr/>
          </p:nvSpPr>
          <p:spPr bwMode="auto">
            <a:xfrm>
              <a:off x="5455439" y="2670654"/>
              <a:ext cx="1190011" cy="159770"/>
            </a:xfrm>
            <a:custGeom>
              <a:avLst/>
              <a:gdLst>
                <a:gd name="T0" fmla="*/ 1265 w 1265"/>
                <a:gd name="T1" fmla="*/ 0 h 170"/>
                <a:gd name="T2" fmla="*/ 1265 w 1265"/>
                <a:gd name="T3" fmla="*/ 92 h 170"/>
                <a:gd name="T4" fmla="*/ 1187 w 1265"/>
                <a:gd name="T5" fmla="*/ 170 h 170"/>
                <a:gd name="T6" fmla="*/ 78 w 1265"/>
                <a:gd name="T7" fmla="*/ 170 h 170"/>
                <a:gd name="T8" fmla="*/ 0 w 1265"/>
                <a:gd name="T9" fmla="*/ 92 h 170"/>
                <a:gd name="T10" fmla="*/ 0 w 1265"/>
                <a:gd name="T11" fmla="*/ 0 h 170"/>
                <a:gd name="T12" fmla="*/ 1265 w 1265"/>
                <a:gd name="T13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65" h="170">
                  <a:moveTo>
                    <a:pt x="1265" y="0"/>
                  </a:moveTo>
                  <a:cubicBezTo>
                    <a:pt x="1265" y="92"/>
                    <a:pt x="1265" y="92"/>
                    <a:pt x="1265" y="92"/>
                  </a:cubicBezTo>
                  <a:cubicBezTo>
                    <a:pt x="1265" y="135"/>
                    <a:pt x="1230" y="170"/>
                    <a:pt x="1187" y="170"/>
                  </a:cubicBezTo>
                  <a:cubicBezTo>
                    <a:pt x="78" y="170"/>
                    <a:pt x="78" y="170"/>
                    <a:pt x="78" y="170"/>
                  </a:cubicBezTo>
                  <a:cubicBezTo>
                    <a:pt x="35" y="170"/>
                    <a:pt x="0" y="135"/>
                    <a:pt x="0" y="9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65" y="0"/>
                    <a:pt x="1265" y="0"/>
                    <a:pt x="1265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5" name="Freeform 97">
              <a:extLst>
                <a:ext uri="{FF2B5EF4-FFF2-40B4-BE49-F238E27FC236}">
                  <a16:creationId xmlns:a16="http://schemas.microsoft.com/office/drawing/2014/main" id="{37386908-16D8-4007-8723-414163C59CBB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3920" y="2659134"/>
              <a:ext cx="1213049" cy="182308"/>
            </a:xfrm>
            <a:custGeom>
              <a:avLst/>
              <a:gdLst>
                <a:gd name="T0" fmla="*/ 1277 w 1289"/>
                <a:gd name="T1" fmla="*/ 12 h 194"/>
                <a:gd name="T2" fmla="*/ 1265 w 1289"/>
                <a:gd name="T3" fmla="*/ 12 h 194"/>
                <a:gd name="T4" fmla="*/ 1265 w 1289"/>
                <a:gd name="T5" fmla="*/ 104 h 194"/>
                <a:gd name="T6" fmla="*/ 1246 w 1289"/>
                <a:gd name="T7" fmla="*/ 151 h 194"/>
                <a:gd name="T8" fmla="*/ 1199 w 1289"/>
                <a:gd name="T9" fmla="*/ 170 h 194"/>
                <a:gd name="T10" fmla="*/ 90 w 1289"/>
                <a:gd name="T11" fmla="*/ 170 h 194"/>
                <a:gd name="T12" fmla="*/ 43 w 1289"/>
                <a:gd name="T13" fmla="*/ 151 h 194"/>
                <a:gd name="T14" fmla="*/ 24 w 1289"/>
                <a:gd name="T15" fmla="*/ 104 h 194"/>
                <a:gd name="T16" fmla="*/ 24 w 1289"/>
                <a:gd name="T17" fmla="*/ 24 h 194"/>
                <a:gd name="T18" fmla="*/ 1277 w 1289"/>
                <a:gd name="T19" fmla="*/ 24 h 194"/>
                <a:gd name="T20" fmla="*/ 1277 w 1289"/>
                <a:gd name="T21" fmla="*/ 12 h 194"/>
                <a:gd name="T22" fmla="*/ 1265 w 1289"/>
                <a:gd name="T23" fmla="*/ 12 h 194"/>
                <a:gd name="T24" fmla="*/ 1277 w 1289"/>
                <a:gd name="T25" fmla="*/ 12 h 194"/>
                <a:gd name="T26" fmla="*/ 1277 w 1289"/>
                <a:gd name="T27" fmla="*/ 0 h 194"/>
                <a:gd name="T28" fmla="*/ 12 w 1289"/>
                <a:gd name="T29" fmla="*/ 0 h 194"/>
                <a:gd name="T30" fmla="*/ 4 w 1289"/>
                <a:gd name="T31" fmla="*/ 4 h 194"/>
                <a:gd name="T32" fmla="*/ 0 w 1289"/>
                <a:gd name="T33" fmla="*/ 12 h 194"/>
                <a:gd name="T34" fmla="*/ 0 w 1289"/>
                <a:gd name="T35" fmla="*/ 104 h 194"/>
                <a:gd name="T36" fmla="*/ 26 w 1289"/>
                <a:gd name="T37" fmla="*/ 168 h 194"/>
                <a:gd name="T38" fmla="*/ 90 w 1289"/>
                <a:gd name="T39" fmla="*/ 194 h 194"/>
                <a:gd name="T40" fmla="*/ 1199 w 1289"/>
                <a:gd name="T41" fmla="*/ 194 h 194"/>
                <a:gd name="T42" fmla="*/ 1263 w 1289"/>
                <a:gd name="T43" fmla="*/ 168 h 194"/>
                <a:gd name="T44" fmla="*/ 1289 w 1289"/>
                <a:gd name="T45" fmla="*/ 104 h 194"/>
                <a:gd name="T46" fmla="*/ 1289 w 1289"/>
                <a:gd name="T47" fmla="*/ 12 h 194"/>
                <a:gd name="T48" fmla="*/ 1286 w 1289"/>
                <a:gd name="T49" fmla="*/ 4 h 194"/>
                <a:gd name="T50" fmla="*/ 1277 w 1289"/>
                <a:gd name="T51" fmla="*/ 0 h 194"/>
                <a:gd name="T52" fmla="*/ 1277 w 1289"/>
                <a:gd name="T53" fmla="*/ 12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289" h="194">
                  <a:moveTo>
                    <a:pt x="1277" y="12"/>
                  </a:moveTo>
                  <a:cubicBezTo>
                    <a:pt x="1265" y="12"/>
                    <a:pt x="1265" y="12"/>
                    <a:pt x="1265" y="12"/>
                  </a:cubicBezTo>
                  <a:cubicBezTo>
                    <a:pt x="1265" y="104"/>
                    <a:pt x="1265" y="104"/>
                    <a:pt x="1265" y="104"/>
                  </a:cubicBezTo>
                  <a:cubicBezTo>
                    <a:pt x="1265" y="122"/>
                    <a:pt x="1258" y="139"/>
                    <a:pt x="1246" y="151"/>
                  </a:cubicBezTo>
                  <a:cubicBezTo>
                    <a:pt x="1234" y="163"/>
                    <a:pt x="1217" y="170"/>
                    <a:pt x="1199" y="170"/>
                  </a:cubicBezTo>
                  <a:cubicBezTo>
                    <a:pt x="90" y="170"/>
                    <a:pt x="90" y="170"/>
                    <a:pt x="90" y="170"/>
                  </a:cubicBezTo>
                  <a:cubicBezTo>
                    <a:pt x="72" y="170"/>
                    <a:pt x="55" y="163"/>
                    <a:pt x="43" y="151"/>
                  </a:cubicBezTo>
                  <a:cubicBezTo>
                    <a:pt x="31" y="139"/>
                    <a:pt x="24" y="122"/>
                    <a:pt x="24" y="10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1277" y="24"/>
                    <a:pt x="1277" y="24"/>
                    <a:pt x="1277" y="24"/>
                  </a:cubicBezTo>
                  <a:cubicBezTo>
                    <a:pt x="1277" y="12"/>
                    <a:pt x="1277" y="12"/>
                    <a:pt x="1277" y="12"/>
                  </a:cubicBezTo>
                  <a:cubicBezTo>
                    <a:pt x="1265" y="12"/>
                    <a:pt x="1265" y="12"/>
                    <a:pt x="1265" y="12"/>
                  </a:cubicBezTo>
                  <a:cubicBezTo>
                    <a:pt x="1277" y="12"/>
                    <a:pt x="1277" y="12"/>
                    <a:pt x="1277" y="12"/>
                  </a:cubicBezTo>
                  <a:cubicBezTo>
                    <a:pt x="1277" y="0"/>
                    <a:pt x="1277" y="0"/>
                    <a:pt x="1277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9" y="0"/>
                    <a:pt x="6" y="1"/>
                    <a:pt x="4" y="4"/>
                  </a:cubicBezTo>
                  <a:cubicBezTo>
                    <a:pt x="1" y="6"/>
                    <a:pt x="0" y="9"/>
                    <a:pt x="0" y="12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29"/>
                    <a:pt x="10" y="151"/>
                    <a:pt x="26" y="168"/>
                  </a:cubicBezTo>
                  <a:cubicBezTo>
                    <a:pt x="43" y="184"/>
                    <a:pt x="65" y="194"/>
                    <a:pt x="90" y="194"/>
                  </a:cubicBezTo>
                  <a:cubicBezTo>
                    <a:pt x="1199" y="194"/>
                    <a:pt x="1199" y="194"/>
                    <a:pt x="1199" y="194"/>
                  </a:cubicBezTo>
                  <a:cubicBezTo>
                    <a:pt x="1224" y="194"/>
                    <a:pt x="1247" y="184"/>
                    <a:pt x="1263" y="168"/>
                  </a:cubicBezTo>
                  <a:cubicBezTo>
                    <a:pt x="1279" y="151"/>
                    <a:pt x="1289" y="129"/>
                    <a:pt x="1289" y="104"/>
                  </a:cubicBezTo>
                  <a:cubicBezTo>
                    <a:pt x="1289" y="12"/>
                    <a:pt x="1289" y="12"/>
                    <a:pt x="1289" y="12"/>
                  </a:cubicBezTo>
                  <a:cubicBezTo>
                    <a:pt x="1289" y="9"/>
                    <a:pt x="1288" y="6"/>
                    <a:pt x="1286" y="4"/>
                  </a:cubicBezTo>
                  <a:cubicBezTo>
                    <a:pt x="1283" y="1"/>
                    <a:pt x="1280" y="0"/>
                    <a:pt x="1277" y="0"/>
                  </a:cubicBezTo>
                  <a:cubicBezTo>
                    <a:pt x="1277" y="12"/>
                    <a:pt x="1277" y="12"/>
                    <a:pt x="1277" y="12"/>
                  </a:cubicBezTo>
                </a:path>
              </a:pathLst>
            </a:custGeom>
            <a:solidFill>
              <a:srgbClr val="7AC2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6" name="Oval 98">
              <a:extLst>
                <a:ext uri="{FF2B5EF4-FFF2-40B4-BE49-F238E27FC236}">
                  <a16:creationId xmlns:a16="http://schemas.microsoft.com/office/drawing/2014/main" id="{F988158C-0356-44FF-BA6D-FB9D3CD74B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35920" y="2722241"/>
              <a:ext cx="56596" cy="56596"/>
            </a:xfrm>
            <a:prstGeom prst="ellipse">
              <a:avLst/>
            </a:prstGeom>
            <a:solidFill>
              <a:srgbClr val="AFD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7" name="Rectangle 107">
              <a:extLst>
                <a:ext uri="{FF2B5EF4-FFF2-40B4-BE49-F238E27FC236}">
                  <a16:creationId xmlns:a16="http://schemas.microsoft.com/office/drawing/2014/main" id="{F02632B6-8F2C-4EA8-B770-3399A91E48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56116" y="2932596"/>
              <a:ext cx="415702" cy="45577"/>
            </a:xfrm>
            <a:prstGeom prst="rect">
              <a:avLst/>
            </a:prstGeom>
            <a:solidFill>
              <a:srgbClr val="E4F3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8" name="Freeform 108">
              <a:extLst>
                <a:ext uri="{FF2B5EF4-FFF2-40B4-BE49-F238E27FC236}">
                  <a16:creationId xmlns:a16="http://schemas.microsoft.com/office/drawing/2014/main" id="{FED9B4A5-F499-484A-B76E-5F34DBE56981}"/>
                </a:ext>
              </a:extLst>
            </p:cNvPr>
            <p:cNvSpPr>
              <a:spLocks/>
            </p:cNvSpPr>
            <p:nvPr/>
          </p:nvSpPr>
          <p:spPr bwMode="auto">
            <a:xfrm>
              <a:off x="5845098" y="2921578"/>
              <a:ext cx="438241" cy="67614"/>
            </a:xfrm>
            <a:custGeom>
              <a:avLst/>
              <a:gdLst>
                <a:gd name="T0" fmla="*/ 454 w 466"/>
                <a:gd name="T1" fmla="*/ 60 h 72"/>
                <a:gd name="T2" fmla="*/ 454 w 466"/>
                <a:gd name="T3" fmla="*/ 48 h 72"/>
                <a:gd name="T4" fmla="*/ 24 w 466"/>
                <a:gd name="T5" fmla="*/ 48 h 72"/>
                <a:gd name="T6" fmla="*/ 24 w 466"/>
                <a:gd name="T7" fmla="*/ 24 h 72"/>
                <a:gd name="T8" fmla="*/ 442 w 466"/>
                <a:gd name="T9" fmla="*/ 24 h 72"/>
                <a:gd name="T10" fmla="*/ 442 w 466"/>
                <a:gd name="T11" fmla="*/ 60 h 72"/>
                <a:gd name="T12" fmla="*/ 454 w 466"/>
                <a:gd name="T13" fmla="*/ 60 h 72"/>
                <a:gd name="T14" fmla="*/ 454 w 466"/>
                <a:gd name="T15" fmla="*/ 48 h 72"/>
                <a:gd name="T16" fmla="*/ 454 w 466"/>
                <a:gd name="T17" fmla="*/ 60 h 72"/>
                <a:gd name="T18" fmla="*/ 466 w 466"/>
                <a:gd name="T19" fmla="*/ 60 h 72"/>
                <a:gd name="T20" fmla="*/ 466 w 466"/>
                <a:gd name="T21" fmla="*/ 12 h 72"/>
                <a:gd name="T22" fmla="*/ 462 w 466"/>
                <a:gd name="T23" fmla="*/ 3 h 72"/>
                <a:gd name="T24" fmla="*/ 454 w 466"/>
                <a:gd name="T25" fmla="*/ 0 h 72"/>
                <a:gd name="T26" fmla="*/ 12 w 466"/>
                <a:gd name="T27" fmla="*/ 0 h 72"/>
                <a:gd name="T28" fmla="*/ 4 w 466"/>
                <a:gd name="T29" fmla="*/ 3 h 72"/>
                <a:gd name="T30" fmla="*/ 0 w 466"/>
                <a:gd name="T31" fmla="*/ 12 h 72"/>
                <a:gd name="T32" fmla="*/ 0 w 466"/>
                <a:gd name="T33" fmla="*/ 60 h 72"/>
                <a:gd name="T34" fmla="*/ 4 w 466"/>
                <a:gd name="T35" fmla="*/ 69 h 72"/>
                <a:gd name="T36" fmla="*/ 12 w 466"/>
                <a:gd name="T37" fmla="*/ 72 h 72"/>
                <a:gd name="T38" fmla="*/ 454 w 466"/>
                <a:gd name="T39" fmla="*/ 72 h 72"/>
                <a:gd name="T40" fmla="*/ 462 w 466"/>
                <a:gd name="T41" fmla="*/ 69 h 72"/>
                <a:gd name="T42" fmla="*/ 466 w 466"/>
                <a:gd name="T43" fmla="*/ 60 h 72"/>
                <a:gd name="T44" fmla="*/ 454 w 466"/>
                <a:gd name="T45" fmla="*/ 6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66" h="72">
                  <a:moveTo>
                    <a:pt x="454" y="60"/>
                  </a:moveTo>
                  <a:cubicBezTo>
                    <a:pt x="454" y="48"/>
                    <a:pt x="454" y="48"/>
                    <a:pt x="45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442" y="24"/>
                    <a:pt x="442" y="24"/>
                    <a:pt x="442" y="24"/>
                  </a:cubicBezTo>
                  <a:cubicBezTo>
                    <a:pt x="442" y="60"/>
                    <a:pt x="442" y="60"/>
                    <a:pt x="442" y="60"/>
                  </a:cubicBezTo>
                  <a:cubicBezTo>
                    <a:pt x="454" y="60"/>
                    <a:pt x="454" y="60"/>
                    <a:pt x="454" y="60"/>
                  </a:cubicBezTo>
                  <a:cubicBezTo>
                    <a:pt x="454" y="48"/>
                    <a:pt x="454" y="48"/>
                    <a:pt x="454" y="48"/>
                  </a:cubicBezTo>
                  <a:cubicBezTo>
                    <a:pt x="454" y="60"/>
                    <a:pt x="454" y="60"/>
                    <a:pt x="454" y="60"/>
                  </a:cubicBezTo>
                  <a:cubicBezTo>
                    <a:pt x="466" y="60"/>
                    <a:pt x="466" y="60"/>
                    <a:pt x="466" y="60"/>
                  </a:cubicBezTo>
                  <a:cubicBezTo>
                    <a:pt x="466" y="12"/>
                    <a:pt x="466" y="12"/>
                    <a:pt x="466" y="12"/>
                  </a:cubicBezTo>
                  <a:cubicBezTo>
                    <a:pt x="466" y="8"/>
                    <a:pt x="465" y="5"/>
                    <a:pt x="462" y="3"/>
                  </a:cubicBezTo>
                  <a:cubicBezTo>
                    <a:pt x="460" y="1"/>
                    <a:pt x="457" y="0"/>
                    <a:pt x="454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9" y="0"/>
                    <a:pt x="6" y="1"/>
                    <a:pt x="4" y="3"/>
                  </a:cubicBezTo>
                  <a:cubicBezTo>
                    <a:pt x="2" y="5"/>
                    <a:pt x="0" y="8"/>
                    <a:pt x="0" y="12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64"/>
                    <a:pt x="2" y="67"/>
                    <a:pt x="4" y="69"/>
                  </a:cubicBezTo>
                  <a:cubicBezTo>
                    <a:pt x="6" y="71"/>
                    <a:pt x="9" y="72"/>
                    <a:pt x="12" y="72"/>
                  </a:cubicBezTo>
                  <a:cubicBezTo>
                    <a:pt x="454" y="72"/>
                    <a:pt x="454" y="72"/>
                    <a:pt x="454" y="72"/>
                  </a:cubicBezTo>
                  <a:cubicBezTo>
                    <a:pt x="457" y="72"/>
                    <a:pt x="460" y="71"/>
                    <a:pt x="462" y="69"/>
                  </a:cubicBezTo>
                  <a:cubicBezTo>
                    <a:pt x="465" y="67"/>
                    <a:pt x="466" y="64"/>
                    <a:pt x="466" y="60"/>
                  </a:cubicBezTo>
                  <a:lnTo>
                    <a:pt x="454" y="60"/>
                  </a:lnTo>
                  <a:close/>
                </a:path>
              </a:pathLst>
            </a:custGeom>
            <a:solidFill>
              <a:srgbClr val="7AC2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9" name="Freeform 109">
              <a:extLst>
                <a:ext uri="{FF2B5EF4-FFF2-40B4-BE49-F238E27FC236}">
                  <a16:creationId xmlns:a16="http://schemas.microsoft.com/office/drawing/2014/main" id="{D52D3A63-55DB-4421-BDC7-DC7641095C1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6462" y="2703209"/>
              <a:ext cx="458274" cy="520880"/>
            </a:xfrm>
            <a:custGeom>
              <a:avLst/>
              <a:gdLst>
                <a:gd name="T0" fmla="*/ 382 w 487"/>
                <a:gd name="T1" fmla="*/ 0 h 554"/>
                <a:gd name="T2" fmla="*/ 210 w 487"/>
                <a:gd name="T3" fmla="*/ 301 h 554"/>
                <a:gd name="T4" fmla="*/ 0 w 487"/>
                <a:gd name="T5" fmla="*/ 456 h 554"/>
                <a:gd name="T6" fmla="*/ 48 w 487"/>
                <a:gd name="T7" fmla="*/ 554 h 554"/>
                <a:gd name="T8" fmla="*/ 50 w 487"/>
                <a:gd name="T9" fmla="*/ 553 h 554"/>
                <a:gd name="T10" fmla="*/ 486 w 487"/>
                <a:gd name="T11" fmla="*/ 32 h 554"/>
                <a:gd name="T12" fmla="*/ 487 w 487"/>
                <a:gd name="T13" fmla="*/ 30 h 554"/>
                <a:gd name="T14" fmla="*/ 382 w 487"/>
                <a:gd name="T15" fmla="*/ 0 h 5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7" h="554">
                  <a:moveTo>
                    <a:pt x="382" y="0"/>
                  </a:moveTo>
                  <a:cubicBezTo>
                    <a:pt x="349" y="114"/>
                    <a:pt x="289" y="217"/>
                    <a:pt x="210" y="301"/>
                  </a:cubicBezTo>
                  <a:cubicBezTo>
                    <a:pt x="150" y="364"/>
                    <a:pt x="79" y="417"/>
                    <a:pt x="0" y="456"/>
                  </a:cubicBezTo>
                  <a:cubicBezTo>
                    <a:pt x="11" y="491"/>
                    <a:pt x="27" y="524"/>
                    <a:pt x="48" y="554"/>
                  </a:cubicBezTo>
                  <a:cubicBezTo>
                    <a:pt x="49" y="554"/>
                    <a:pt x="50" y="553"/>
                    <a:pt x="50" y="553"/>
                  </a:cubicBezTo>
                  <a:cubicBezTo>
                    <a:pt x="260" y="449"/>
                    <a:pt x="420" y="261"/>
                    <a:pt x="486" y="32"/>
                  </a:cubicBezTo>
                  <a:cubicBezTo>
                    <a:pt x="487" y="32"/>
                    <a:pt x="487" y="31"/>
                    <a:pt x="487" y="30"/>
                  </a:cubicBezTo>
                  <a:cubicBezTo>
                    <a:pt x="454" y="15"/>
                    <a:pt x="419" y="4"/>
                    <a:pt x="382" y="0"/>
                  </a:cubicBezTo>
                </a:path>
              </a:pathLst>
            </a:custGeom>
            <a:solidFill>
              <a:srgbClr val="CFE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0" name="Freeform 110">
              <a:extLst>
                <a:ext uri="{FF2B5EF4-FFF2-40B4-BE49-F238E27FC236}">
                  <a16:creationId xmlns:a16="http://schemas.microsoft.com/office/drawing/2014/main" id="{2914CFFF-08D5-4594-8B1B-46460A2E9763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2039" y="2731757"/>
              <a:ext cx="423215" cy="501848"/>
            </a:xfrm>
            <a:custGeom>
              <a:avLst/>
              <a:gdLst>
                <a:gd name="T0" fmla="*/ 439 w 450"/>
                <a:gd name="T1" fmla="*/ 0 h 534"/>
                <a:gd name="T2" fmla="*/ 438 w 450"/>
                <a:gd name="T3" fmla="*/ 2 h 534"/>
                <a:gd name="T4" fmla="*/ 2 w 450"/>
                <a:gd name="T5" fmla="*/ 523 h 534"/>
                <a:gd name="T6" fmla="*/ 0 w 450"/>
                <a:gd name="T7" fmla="*/ 524 h 534"/>
                <a:gd name="T8" fmla="*/ 8 w 450"/>
                <a:gd name="T9" fmla="*/ 534 h 534"/>
                <a:gd name="T10" fmla="*/ 450 w 450"/>
                <a:gd name="T11" fmla="*/ 6 h 534"/>
                <a:gd name="T12" fmla="*/ 439 w 450"/>
                <a:gd name="T13" fmla="*/ 0 h 5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0" h="534">
                  <a:moveTo>
                    <a:pt x="439" y="0"/>
                  </a:moveTo>
                  <a:cubicBezTo>
                    <a:pt x="439" y="1"/>
                    <a:pt x="439" y="2"/>
                    <a:pt x="438" y="2"/>
                  </a:cubicBezTo>
                  <a:cubicBezTo>
                    <a:pt x="372" y="231"/>
                    <a:pt x="212" y="419"/>
                    <a:pt x="2" y="523"/>
                  </a:cubicBezTo>
                  <a:cubicBezTo>
                    <a:pt x="2" y="523"/>
                    <a:pt x="1" y="524"/>
                    <a:pt x="0" y="524"/>
                  </a:cubicBezTo>
                  <a:cubicBezTo>
                    <a:pt x="3" y="527"/>
                    <a:pt x="5" y="531"/>
                    <a:pt x="8" y="534"/>
                  </a:cubicBezTo>
                  <a:cubicBezTo>
                    <a:pt x="220" y="428"/>
                    <a:pt x="383" y="237"/>
                    <a:pt x="450" y="6"/>
                  </a:cubicBezTo>
                  <a:cubicBezTo>
                    <a:pt x="446" y="4"/>
                    <a:pt x="443" y="2"/>
                    <a:pt x="439" y="0"/>
                  </a:cubicBezTo>
                </a:path>
              </a:pathLst>
            </a:custGeom>
            <a:solidFill>
              <a:srgbClr val="6FB7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1" name="Freeform 111">
              <a:extLst>
                <a:ext uri="{FF2B5EF4-FFF2-40B4-BE49-F238E27FC236}">
                  <a16:creationId xmlns:a16="http://schemas.microsoft.com/office/drawing/2014/main" id="{E982EB24-631F-4DE7-ACB7-9C50A240F94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7447" y="2700705"/>
              <a:ext cx="346085" cy="265949"/>
            </a:xfrm>
            <a:custGeom>
              <a:avLst/>
              <a:gdLst>
                <a:gd name="T0" fmla="*/ 347 w 368"/>
                <a:gd name="T1" fmla="*/ 0 h 283"/>
                <a:gd name="T2" fmla="*/ 329 w 368"/>
                <a:gd name="T3" fmla="*/ 0 h 283"/>
                <a:gd name="T4" fmla="*/ 329 w 368"/>
                <a:gd name="T5" fmla="*/ 60 h 283"/>
                <a:gd name="T6" fmla="*/ 329 w 368"/>
                <a:gd name="T7" fmla="*/ 60 h 283"/>
                <a:gd name="T8" fmla="*/ 303 w 368"/>
                <a:gd name="T9" fmla="*/ 124 h 283"/>
                <a:gd name="T10" fmla="*/ 239 w 368"/>
                <a:gd name="T11" fmla="*/ 150 h 283"/>
                <a:gd name="T12" fmla="*/ 58 w 368"/>
                <a:gd name="T13" fmla="*/ 150 h 283"/>
                <a:gd name="T14" fmla="*/ 0 w 368"/>
                <a:gd name="T15" fmla="*/ 283 h 283"/>
                <a:gd name="T16" fmla="*/ 206 w 368"/>
                <a:gd name="T17" fmla="*/ 283 h 283"/>
                <a:gd name="T18" fmla="*/ 368 w 368"/>
                <a:gd name="T19" fmla="*/ 0 h 283"/>
                <a:gd name="T20" fmla="*/ 347 w 368"/>
                <a:gd name="T21" fmla="*/ 0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8" h="283">
                  <a:moveTo>
                    <a:pt x="347" y="0"/>
                  </a:moveTo>
                  <a:cubicBezTo>
                    <a:pt x="341" y="0"/>
                    <a:pt x="335" y="0"/>
                    <a:pt x="329" y="0"/>
                  </a:cubicBezTo>
                  <a:cubicBezTo>
                    <a:pt x="329" y="60"/>
                    <a:pt x="329" y="60"/>
                    <a:pt x="329" y="60"/>
                  </a:cubicBezTo>
                  <a:cubicBezTo>
                    <a:pt x="329" y="60"/>
                    <a:pt x="329" y="60"/>
                    <a:pt x="329" y="60"/>
                  </a:cubicBezTo>
                  <a:cubicBezTo>
                    <a:pt x="329" y="85"/>
                    <a:pt x="319" y="107"/>
                    <a:pt x="303" y="124"/>
                  </a:cubicBezTo>
                  <a:cubicBezTo>
                    <a:pt x="287" y="140"/>
                    <a:pt x="264" y="150"/>
                    <a:pt x="239" y="150"/>
                  </a:cubicBezTo>
                  <a:cubicBezTo>
                    <a:pt x="58" y="150"/>
                    <a:pt x="58" y="150"/>
                    <a:pt x="58" y="150"/>
                  </a:cubicBezTo>
                  <a:cubicBezTo>
                    <a:pt x="30" y="189"/>
                    <a:pt x="10" y="235"/>
                    <a:pt x="0" y="283"/>
                  </a:cubicBezTo>
                  <a:cubicBezTo>
                    <a:pt x="206" y="283"/>
                    <a:pt x="206" y="283"/>
                    <a:pt x="206" y="283"/>
                  </a:cubicBezTo>
                  <a:cubicBezTo>
                    <a:pt x="280" y="204"/>
                    <a:pt x="336" y="107"/>
                    <a:pt x="368" y="0"/>
                  </a:cubicBezTo>
                  <a:cubicBezTo>
                    <a:pt x="361" y="0"/>
                    <a:pt x="354" y="0"/>
                    <a:pt x="347" y="0"/>
                  </a:cubicBezTo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2" name="Freeform 112">
              <a:extLst>
                <a:ext uri="{FF2B5EF4-FFF2-40B4-BE49-F238E27FC236}">
                  <a16:creationId xmlns:a16="http://schemas.microsoft.com/office/drawing/2014/main" id="{65F2D363-DF35-4385-9EC0-54E381F079F1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6462" y="2700705"/>
              <a:ext cx="359608" cy="431229"/>
            </a:xfrm>
            <a:custGeom>
              <a:avLst/>
              <a:gdLst>
                <a:gd name="T0" fmla="*/ 358 w 382"/>
                <a:gd name="T1" fmla="*/ 0 h 459"/>
                <a:gd name="T2" fmla="*/ 196 w 382"/>
                <a:gd name="T3" fmla="*/ 283 h 459"/>
                <a:gd name="T4" fmla="*/ 201 w 382"/>
                <a:gd name="T5" fmla="*/ 283 h 459"/>
                <a:gd name="T6" fmla="*/ 212 w 382"/>
                <a:gd name="T7" fmla="*/ 291 h 459"/>
                <a:gd name="T8" fmla="*/ 210 w 382"/>
                <a:gd name="T9" fmla="*/ 304 h 459"/>
                <a:gd name="T10" fmla="*/ 0 w 382"/>
                <a:gd name="T11" fmla="*/ 459 h 459"/>
                <a:gd name="T12" fmla="*/ 0 w 382"/>
                <a:gd name="T13" fmla="*/ 459 h 459"/>
                <a:gd name="T14" fmla="*/ 210 w 382"/>
                <a:gd name="T15" fmla="*/ 304 h 459"/>
                <a:gd name="T16" fmla="*/ 382 w 382"/>
                <a:gd name="T17" fmla="*/ 3 h 459"/>
                <a:gd name="T18" fmla="*/ 358 w 382"/>
                <a:gd name="T19" fmla="*/ 0 h 4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2" h="459">
                  <a:moveTo>
                    <a:pt x="358" y="0"/>
                  </a:moveTo>
                  <a:cubicBezTo>
                    <a:pt x="326" y="107"/>
                    <a:pt x="270" y="204"/>
                    <a:pt x="196" y="283"/>
                  </a:cubicBezTo>
                  <a:cubicBezTo>
                    <a:pt x="201" y="283"/>
                    <a:pt x="201" y="283"/>
                    <a:pt x="201" y="283"/>
                  </a:cubicBezTo>
                  <a:cubicBezTo>
                    <a:pt x="206" y="283"/>
                    <a:pt x="211" y="286"/>
                    <a:pt x="212" y="291"/>
                  </a:cubicBezTo>
                  <a:cubicBezTo>
                    <a:pt x="214" y="295"/>
                    <a:pt x="213" y="300"/>
                    <a:pt x="210" y="304"/>
                  </a:cubicBezTo>
                  <a:cubicBezTo>
                    <a:pt x="150" y="367"/>
                    <a:pt x="79" y="420"/>
                    <a:pt x="0" y="459"/>
                  </a:cubicBezTo>
                  <a:cubicBezTo>
                    <a:pt x="0" y="459"/>
                    <a:pt x="0" y="459"/>
                    <a:pt x="0" y="459"/>
                  </a:cubicBezTo>
                  <a:cubicBezTo>
                    <a:pt x="79" y="420"/>
                    <a:pt x="150" y="367"/>
                    <a:pt x="210" y="304"/>
                  </a:cubicBezTo>
                  <a:cubicBezTo>
                    <a:pt x="289" y="220"/>
                    <a:pt x="349" y="117"/>
                    <a:pt x="382" y="3"/>
                  </a:cubicBezTo>
                  <a:cubicBezTo>
                    <a:pt x="374" y="2"/>
                    <a:pt x="366" y="1"/>
                    <a:pt x="358" y="0"/>
                  </a:cubicBezTo>
                </a:path>
              </a:pathLst>
            </a:custGeom>
            <a:solidFill>
              <a:srgbClr val="6FB7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3" name="Freeform 113">
              <a:extLst>
                <a:ext uri="{FF2B5EF4-FFF2-40B4-BE49-F238E27FC236}">
                  <a16:creationId xmlns:a16="http://schemas.microsoft.com/office/drawing/2014/main" id="{05C0D1F9-B600-43D5-8FE7-3F780326078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1436" y="2989192"/>
              <a:ext cx="177801" cy="121205"/>
            </a:xfrm>
            <a:custGeom>
              <a:avLst/>
              <a:gdLst>
                <a:gd name="T0" fmla="*/ 189 w 189"/>
                <a:gd name="T1" fmla="*/ 0 h 129"/>
                <a:gd name="T2" fmla="*/ 2 w 189"/>
                <a:gd name="T3" fmla="*/ 0 h 129"/>
                <a:gd name="T4" fmla="*/ 0 w 189"/>
                <a:gd name="T5" fmla="*/ 46 h 129"/>
                <a:gd name="T6" fmla="*/ 9 w 189"/>
                <a:gd name="T7" fmla="*/ 129 h 129"/>
                <a:gd name="T8" fmla="*/ 189 w 189"/>
                <a:gd name="T9" fmla="*/ 0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129">
                  <a:moveTo>
                    <a:pt x="189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15"/>
                    <a:pt x="0" y="31"/>
                    <a:pt x="0" y="46"/>
                  </a:cubicBezTo>
                  <a:cubicBezTo>
                    <a:pt x="0" y="75"/>
                    <a:pt x="3" y="102"/>
                    <a:pt x="9" y="129"/>
                  </a:cubicBezTo>
                  <a:cubicBezTo>
                    <a:pt x="76" y="95"/>
                    <a:pt x="136" y="52"/>
                    <a:pt x="189" y="0"/>
                  </a:cubicBezTo>
                </a:path>
              </a:pathLst>
            </a:custGeom>
            <a:solidFill>
              <a:srgbClr val="9FCE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4" name="Freeform 114">
              <a:extLst>
                <a:ext uri="{FF2B5EF4-FFF2-40B4-BE49-F238E27FC236}">
                  <a16:creationId xmlns:a16="http://schemas.microsoft.com/office/drawing/2014/main" id="{2773C1E1-A16F-41D9-87E8-CB1EF42651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43440" y="2966654"/>
              <a:ext cx="214362" cy="165279"/>
            </a:xfrm>
            <a:custGeom>
              <a:avLst/>
              <a:gdLst>
                <a:gd name="T0" fmla="*/ 215 w 228"/>
                <a:gd name="T1" fmla="*/ 12 h 176"/>
                <a:gd name="T2" fmla="*/ 207 w 228"/>
                <a:gd name="T3" fmla="*/ 4 h 176"/>
                <a:gd name="T4" fmla="*/ 215 w 228"/>
                <a:gd name="T5" fmla="*/ 12 h 176"/>
                <a:gd name="T6" fmla="*/ 215 w 228"/>
                <a:gd name="T7" fmla="*/ 0 h 176"/>
                <a:gd name="T8" fmla="*/ 215 w 228"/>
                <a:gd name="T9" fmla="*/ 0 h 176"/>
                <a:gd name="T10" fmla="*/ 210 w 228"/>
                <a:gd name="T11" fmla="*/ 0 h 176"/>
                <a:gd name="T12" fmla="*/ 4 w 228"/>
                <a:gd name="T13" fmla="*/ 0 h 176"/>
                <a:gd name="T14" fmla="*/ 0 w 228"/>
                <a:gd name="T15" fmla="*/ 24 h 176"/>
                <a:gd name="T16" fmla="*/ 187 w 228"/>
                <a:gd name="T17" fmla="*/ 24 h 176"/>
                <a:gd name="T18" fmla="*/ 7 w 228"/>
                <a:gd name="T19" fmla="*/ 153 h 176"/>
                <a:gd name="T20" fmla="*/ 14 w 228"/>
                <a:gd name="T21" fmla="*/ 176 h 176"/>
                <a:gd name="T22" fmla="*/ 224 w 228"/>
                <a:gd name="T23" fmla="*/ 21 h 176"/>
                <a:gd name="T24" fmla="*/ 226 w 228"/>
                <a:gd name="T25" fmla="*/ 8 h 176"/>
                <a:gd name="T26" fmla="*/ 215 w 228"/>
                <a:gd name="T27" fmla="*/ 0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8" h="176">
                  <a:moveTo>
                    <a:pt x="215" y="12"/>
                  </a:moveTo>
                  <a:cubicBezTo>
                    <a:pt x="207" y="4"/>
                    <a:pt x="207" y="4"/>
                    <a:pt x="207" y="4"/>
                  </a:cubicBezTo>
                  <a:cubicBezTo>
                    <a:pt x="215" y="12"/>
                    <a:pt x="215" y="12"/>
                    <a:pt x="215" y="12"/>
                  </a:cubicBezTo>
                  <a:moveTo>
                    <a:pt x="215" y="0"/>
                  </a:moveTo>
                  <a:cubicBezTo>
                    <a:pt x="215" y="0"/>
                    <a:pt x="215" y="0"/>
                    <a:pt x="215" y="0"/>
                  </a:cubicBezTo>
                  <a:cubicBezTo>
                    <a:pt x="210" y="0"/>
                    <a:pt x="210" y="0"/>
                    <a:pt x="21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8"/>
                    <a:pt x="2" y="16"/>
                    <a:pt x="0" y="24"/>
                  </a:cubicBezTo>
                  <a:cubicBezTo>
                    <a:pt x="187" y="24"/>
                    <a:pt x="187" y="24"/>
                    <a:pt x="187" y="24"/>
                  </a:cubicBezTo>
                  <a:cubicBezTo>
                    <a:pt x="134" y="76"/>
                    <a:pt x="74" y="119"/>
                    <a:pt x="7" y="153"/>
                  </a:cubicBezTo>
                  <a:cubicBezTo>
                    <a:pt x="9" y="161"/>
                    <a:pt x="11" y="168"/>
                    <a:pt x="14" y="176"/>
                  </a:cubicBezTo>
                  <a:cubicBezTo>
                    <a:pt x="93" y="137"/>
                    <a:pt x="164" y="84"/>
                    <a:pt x="224" y="21"/>
                  </a:cubicBezTo>
                  <a:cubicBezTo>
                    <a:pt x="227" y="17"/>
                    <a:pt x="228" y="12"/>
                    <a:pt x="226" y="8"/>
                  </a:cubicBezTo>
                  <a:cubicBezTo>
                    <a:pt x="225" y="3"/>
                    <a:pt x="220" y="0"/>
                    <a:pt x="215" y="0"/>
                  </a:cubicBezTo>
                </a:path>
              </a:pathLst>
            </a:custGeom>
            <a:solidFill>
              <a:srgbClr val="6FB7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5" name="Freeform 115">
              <a:extLst>
                <a:ext uri="{FF2B5EF4-FFF2-40B4-BE49-F238E27FC236}">
                  <a16:creationId xmlns:a16="http://schemas.microsoft.com/office/drawing/2014/main" id="{FD9EE5EA-7BD5-4550-8FC4-559B83090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6418567" y="2702708"/>
              <a:ext cx="215865" cy="116196"/>
            </a:xfrm>
            <a:custGeom>
              <a:avLst/>
              <a:gdLst>
                <a:gd name="T0" fmla="*/ 229 w 229"/>
                <a:gd name="T1" fmla="*/ 0 h 124"/>
                <a:gd name="T2" fmla="*/ 0 w 229"/>
                <a:gd name="T3" fmla="*/ 124 h 124"/>
                <a:gd name="T4" fmla="*/ 163 w 229"/>
                <a:gd name="T5" fmla="*/ 124 h 124"/>
                <a:gd name="T6" fmla="*/ 210 w 229"/>
                <a:gd name="T7" fmla="*/ 105 h 124"/>
                <a:gd name="T8" fmla="*/ 229 w 229"/>
                <a:gd name="T9" fmla="*/ 58 h 124"/>
                <a:gd name="T10" fmla="*/ 229 w 229"/>
                <a:gd name="T11" fmla="*/ 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9" h="124">
                  <a:moveTo>
                    <a:pt x="229" y="0"/>
                  </a:moveTo>
                  <a:cubicBezTo>
                    <a:pt x="138" y="11"/>
                    <a:pt x="57" y="57"/>
                    <a:pt x="0" y="124"/>
                  </a:cubicBezTo>
                  <a:cubicBezTo>
                    <a:pt x="163" y="124"/>
                    <a:pt x="163" y="124"/>
                    <a:pt x="163" y="124"/>
                  </a:cubicBezTo>
                  <a:cubicBezTo>
                    <a:pt x="181" y="124"/>
                    <a:pt x="198" y="117"/>
                    <a:pt x="210" y="105"/>
                  </a:cubicBezTo>
                  <a:cubicBezTo>
                    <a:pt x="222" y="93"/>
                    <a:pt x="229" y="76"/>
                    <a:pt x="229" y="58"/>
                  </a:cubicBezTo>
                  <a:cubicBezTo>
                    <a:pt x="229" y="0"/>
                    <a:pt x="229" y="0"/>
                    <a:pt x="229" y="0"/>
                  </a:cubicBezTo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6" name="Freeform 116">
              <a:extLst>
                <a:ext uri="{FF2B5EF4-FFF2-40B4-BE49-F238E27FC236}">
                  <a16:creationId xmlns:a16="http://schemas.microsoft.com/office/drawing/2014/main" id="{1281CACF-A286-40B2-A5F0-E2DFEEF0F5E6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2039" y="2700705"/>
              <a:ext cx="254931" cy="140738"/>
            </a:xfrm>
            <a:custGeom>
              <a:avLst/>
              <a:gdLst>
                <a:gd name="T0" fmla="*/ 271 w 271"/>
                <a:gd name="T1" fmla="*/ 0 h 150"/>
                <a:gd name="T2" fmla="*/ 247 w 271"/>
                <a:gd name="T3" fmla="*/ 2 h 150"/>
                <a:gd name="T4" fmla="*/ 247 w 271"/>
                <a:gd name="T5" fmla="*/ 60 h 150"/>
                <a:gd name="T6" fmla="*/ 228 w 271"/>
                <a:gd name="T7" fmla="*/ 107 h 150"/>
                <a:gd name="T8" fmla="*/ 181 w 271"/>
                <a:gd name="T9" fmla="*/ 126 h 150"/>
                <a:gd name="T10" fmla="*/ 18 w 271"/>
                <a:gd name="T11" fmla="*/ 126 h 150"/>
                <a:gd name="T12" fmla="*/ 0 w 271"/>
                <a:gd name="T13" fmla="*/ 150 h 150"/>
                <a:gd name="T14" fmla="*/ 181 w 271"/>
                <a:gd name="T15" fmla="*/ 150 h 150"/>
                <a:gd name="T16" fmla="*/ 245 w 271"/>
                <a:gd name="T17" fmla="*/ 124 h 150"/>
                <a:gd name="T18" fmla="*/ 271 w 271"/>
                <a:gd name="T19" fmla="*/ 60 h 150"/>
                <a:gd name="T20" fmla="*/ 271 w 271"/>
                <a:gd name="T21" fmla="*/ 60 h 150"/>
                <a:gd name="T22" fmla="*/ 271 w 271"/>
                <a:gd name="T23" fmla="*/ 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1" h="150">
                  <a:moveTo>
                    <a:pt x="271" y="0"/>
                  </a:moveTo>
                  <a:cubicBezTo>
                    <a:pt x="263" y="1"/>
                    <a:pt x="255" y="1"/>
                    <a:pt x="247" y="2"/>
                  </a:cubicBezTo>
                  <a:cubicBezTo>
                    <a:pt x="247" y="60"/>
                    <a:pt x="247" y="60"/>
                    <a:pt x="247" y="60"/>
                  </a:cubicBezTo>
                  <a:cubicBezTo>
                    <a:pt x="247" y="78"/>
                    <a:pt x="240" y="95"/>
                    <a:pt x="228" y="107"/>
                  </a:cubicBezTo>
                  <a:cubicBezTo>
                    <a:pt x="216" y="119"/>
                    <a:pt x="199" y="126"/>
                    <a:pt x="181" y="126"/>
                  </a:cubicBezTo>
                  <a:cubicBezTo>
                    <a:pt x="18" y="126"/>
                    <a:pt x="18" y="126"/>
                    <a:pt x="18" y="126"/>
                  </a:cubicBezTo>
                  <a:cubicBezTo>
                    <a:pt x="12" y="134"/>
                    <a:pt x="6" y="142"/>
                    <a:pt x="0" y="150"/>
                  </a:cubicBezTo>
                  <a:cubicBezTo>
                    <a:pt x="181" y="150"/>
                    <a:pt x="181" y="150"/>
                    <a:pt x="181" y="150"/>
                  </a:cubicBezTo>
                  <a:cubicBezTo>
                    <a:pt x="206" y="150"/>
                    <a:pt x="229" y="140"/>
                    <a:pt x="245" y="124"/>
                  </a:cubicBezTo>
                  <a:cubicBezTo>
                    <a:pt x="261" y="107"/>
                    <a:pt x="271" y="85"/>
                    <a:pt x="271" y="60"/>
                  </a:cubicBezTo>
                  <a:cubicBezTo>
                    <a:pt x="271" y="60"/>
                    <a:pt x="271" y="60"/>
                    <a:pt x="271" y="60"/>
                  </a:cubicBezTo>
                  <a:cubicBezTo>
                    <a:pt x="271" y="0"/>
                    <a:pt x="271" y="0"/>
                    <a:pt x="271" y="0"/>
                  </a:cubicBezTo>
                </a:path>
              </a:pathLst>
            </a:custGeom>
            <a:solidFill>
              <a:srgbClr val="6FB7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7" name="Oval 117">
              <a:extLst>
                <a:ext uri="{FF2B5EF4-FFF2-40B4-BE49-F238E27FC236}">
                  <a16:creationId xmlns:a16="http://schemas.microsoft.com/office/drawing/2014/main" id="{94FCEC4C-8F13-4AD8-9C3E-312F846350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21572" y="2764312"/>
              <a:ext cx="537408" cy="536406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8" name="Freeform 118">
              <a:extLst>
                <a:ext uri="{FF2B5EF4-FFF2-40B4-BE49-F238E27FC236}">
                  <a16:creationId xmlns:a16="http://schemas.microsoft.com/office/drawing/2014/main" id="{43F676ED-978F-445E-B38D-B646834AC50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01707" y="2778837"/>
              <a:ext cx="440244" cy="521882"/>
            </a:xfrm>
            <a:custGeom>
              <a:avLst/>
              <a:gdLst>
                <a:gd name="T0" fmla="*/ 468 w 468"/>
                <a:gd name="T1" fmla="*/ 270 h 555"/>
                <a:gd name="T2" fmla="*/ 183 w 468"/>
                <a:gd name="T3" fmla="*/ 555 h 555"/>
                <a:gd name="T4" fmla="*/ 0 w 468"/>
                <a:gd name="T5" fmla="*/ 489 h 555"/>
                <a:gd name="T6" fmla="*/ 93 w 468"/>
                <a:gd name="T7" fmla="*/ 505 h 555"/>
                <a:gd name="T8" fmla="*/ 378 w 468"/>
                <a:gd name="T9" fmla="*/ 219 h 555"/>
                <a:gd name="T10" fmla="*/ 276 w 468"/>
                <a:gd name="T11" fmla="*/ 0 h 555"/>
                <a:gd name="T12" fmla="*/ 468 w 468"/>
                <a:gd name="T13" fmla="*/ 270 h 5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8" h="555">
                  <a:moveTo>
                    <a:pt x="468" y="270"/>
                  </a:moveTo>
                  <a:cubicBezTo>
                    <a:pt x="468" y="428"/>
                    <a:pt x="340" y="555"/>
                    <a:pt x="183" y="555"/>
                  </a:cubicBezTo>
                  <a:cubicBezTo>
                    <a:pt x="113" y="555"/>
                    <a:pt x="49" y="531"/>
                    <a:pt x="0" y="489"/>
                  </a:cubicBezTo>
                  <a:cubicBezTo>
                    <a:pt x="29" y="499"/>
                    <a:pt x="60" y="505"/>
                    <a:pt x="93" y="505"/>
                  </a:cubicBezTo>
                  <a:cubicBezTo>
                    <a:pt x="250" y="505"/>
                    <a:pt x="378" y="377"/>
                    <a:pt x="378" y="219"/>
                  </a:cubicBezTo>
                  <a:cubicBezTo>
                    <a:pt x="378" y="131"/>
                    <a:pt x="338" y="53"/>
                    <a:pt x="276" y="0"/>
                  </a:cubicBezTo>
                  <a:cubicBezTo>
                    <a:pt x="388" y="39"/>
                    <a:pt x="468" y="145"/>
                    <a:pt x="468" y="270"/>
                  </a:cubicBezTo>
                  <a:close/>
                </a:path>
              </a:pathLst>
            </a:custGeom>
            <a:solidFill>
              <a:srgbClr val="D1E3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9" name="Freeform 119">
              <a:extLst>
                <a:ext uri="{FF2B5EF4-FFF2-40B4-BE49-F238E27FC236}">
                  <a16:creationId xmlns:a16="http://schemas.microsoft.com/office/drawing/2014/main" id="{991B6A65-514F-4350-AF10-ED9FCC8D3AC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3524" y="2753294"/>
              <a:ext cx="559445" cy="558444"/>
            </a:xfrm>
            <a:custGeom>
              <a:avLst/>
              <a:gdLst>
                <a:gd name="T0" fmla="*/ 583 w 595"/>
                <a:gd name="T1" fmla="*/ 297 h 594"/>
                <a:gd name="T2" fmla="*/ 571 w 595"/>
                <a:gd name="T3" fmla="*/ 297 h 594"/>
                <a:gd name="T4" fmla="*/ 491 w 595"/>
                <a:gd name="T5" fmla="*/ 490 h 594"/>
                <a:gd name="T6" fmla="*/ 298 w 595"/>
                <a:gd name="T7" fmla="*/ 570 h 594"/>
                <a:gd name="T8" fmla="*/ 105 w 595"/>
                <a:gd name="T9" fmla="*/ 490 h 594"/>
                <a:gd name="T10" fmla="*/ 24 w 595"/>
                <a:gd name="T11" fmla="*/ 297 h 594"/>
                <a:gd name="T12" fmla="*/ 105 w 595"/>
                <a:gd name="T13" fmla="*/ 104 h 594"/>
                <a:gd name="T14" fmla="*/ 298 w 595"/>
                <a:gd name="T15" fmla="*/ 24 h 594"/>
                <a:gd name="T16" fmla="*/ 491 w 595"/>
                <a:gd name="T17" fmla="*/ 104 h 594"/>
                <a:gd name="T18" fmla="*/ 571 w 595"/>
                <a:gd name="T19" fmla="*/ 297 h 594"/>
                <a:gd name="T20" fmla="*/ 583 w 595"/>
                <a:gd name="T21" fmla="*/ 297 h 594"/>
                <a:gd name="T22" fmla="*/ 595 w 595"/>
                <a:gd name="T23" fmla="*/ 297 h 594"/>
                <a:gd name="T24" fmla="*/ 508 w 595"/>
                <a:gd name="T25" fmla="*/ 87 h 594"/>
                <a:gd name="T26" fmla="*/ 298 w 595"/>
                <a:gd name="T27" fmla="*/ 0 h 594"/>
                <a:gd name="T28" fmla="*/ 88 w 595"/>
                <a:gd name="T29" fmla="*/ 87 h 594"/>
                <a:gd name="T30" fmla="*/ 0 w 595"/>
                <a:gd name="T31" fmla="*/ 297 h 594"/>
                <a:gd name="T32" fmla="*/ 88 w 595"/>
                <a:gd name="T33" fmla="*/ 507 h 594"/>
                <a:gd name="T34" fmla="*/ 298 w 595"/>
                <a:gd name="T35" fmla="*/ 594 h 594"/>
                <a:gd name="T36" fmla="*/ 508 w 595"/>
                <a:gd name="T37" fmla="*/ 507 h 594"/>
                <a:gd name="T38" fmla="*/ 595 w 595"/>
                <a:gd name="T39" fmla="*/ 297 h 594"/>
                <a:gd name="T40" fmla="*/ 583 w 595"/>
                <a:gd name="T41" fmla="*/ 297 h 5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95" h="594">
                  <a:moveTo>
                    <a:pt x="583" y="297"/>
                  </a:moveTo>
                  <a:cubicBezTo>
                    <a:pt x="571" y="297"/>
                    <a:pt x="571" y="297"/>
                    <a:pt x="571" y="297"/>
                  </a:cubicBezTo>
                  <a:cubicBezTo>
                    <a:pt x="571" y="373"/>
                    <a:pt x="541" y="441"/>
                    <a:pt x="491" y="490"/>
                  </a:cubicBezTo>
                  <a:cubicBezTo>
                    <a:pt x="442" y="540"/>
                    <a:pt x="373" y="570"/>
                    <a:pt x="298" y="570"/>
                  </a:cubicBezTo>
                  <a:cubicBezTo>
                    <a:pt x="222" y="570"/>
                    <a:pt x="154" y="540"/>
                    <a:pt x="105" y="490"/>
                  </a:cubicBezTo>
                  <a:cubicBezTo>
                    <a:pt x="55" y="441"/>
                    <a:pt x="24" y="373"/>
                    <a:pt x="24" y="297"/>
                  </a:cubicBezTo>
                  <a:cubicBezTo>
                    <a:pt x="24" y="222"/>
                    <a:pt x="55" y="153"/>
                    <a:pt x="105" y="104"/>
                  </a:cubicBezTo>
                  <a:cubicBezTo>
                    <a:pt x="154" y="54"/>
                    <a:pt x="222" y="24"/>
                    <a:pt x="298" y="24"/>
                  </a:cubicBezTo>
                  <a:cubicBezTo>
                    <a:pt x="373" y="24"/>
                    <a:pt x="442" y="54"/>
                    <a:pt x="491" y="104"/>
                  </a:cubicBezTo>
                  <a:cubicBezTo>
                    <a:pt x="541" y="153"/>
                    <a:pt x="571" y="222"/>
                    <a:pt x="571" y="297"/>
                  </a:cubicBezTo>
                  <a:cubicBezTo>
                    <a:pt x="583" y="297"/>
                    <a:pt x="583" y="297"/>
                    <a:pt x="583" y="297"/>
                  </a:cubicBezTo>
                  <a:cubicBezTo>
                    <a:pt x="595" y="297"/>
                    <a:pt x="595" y="297"/>
                    <a:pt x="595" y="297"/>
                  </a:cubicBezTo>
                  <a:cubicBezTo>
                    <a:pt x="595" y="215"/>
                    <a:pt x="562" y="141"/>
                    <a:pt x="508" y="87"/>
                  </a:cubicBezTo>
                  <a:cubicBezTo>
                    <a:pt x="454" y="33"/>
                    <a:pt x="380" y="0"/>
                    <a:pt x="298" y="0"/>
                  </a:cubicBezTo>
                  <a:cubicBezTo>
                    <a:pt x="216" y="0"/>
                    <a:pt x="141" y="33"/>
                    <a:pt x="88" y="87"/>
                  </a:cubicBezTo>
                  <a:cubicBezTo>
                    <a:pt x="34" y="141"/>
                    <a:pt x="0" y="215"/>
                    <a:pt x="0" y="297"/>
                  </a:cubicBezTo>
                  <a:cubicBezTo>
                    <a:pt x="0" y="379"/>
                    <a:pt x="34" y="454"/>
                    <a:pt x="88" y="507"/>
                  </a:cubicBezTo>
                  <a:cubicBezTo>
                    <a:pt x="141" y="561"/>
                    <a:pt x="216" y="594"/>
                    <a:pt x="298" y="594"/>
                  </a:cubicBezTo>
                  <a:cubicBezTo>
                    <a:pt x="380" y="594"/>
                    <a:pt x="454" y="561"/>
                    <a:pt x="508" y="507"/>
                  </a:cubicBezTo>
                  <a:cubicBezTo>
                    <a:pt x="562" y="454"/>
                    <a:pt x="595" y="379"/>
                    <a:pt x="595" y="297"/>
                  </a:cubicBezTo>
                  <a:lnTo>
                    <a:pt x="583" y="297"/>
                  </a:lnTo>
                  <a:close/>
                </a:path>
              </a:pathLst>
            </a:custGeom>
            <a:solidFill>
              <a:srgbClr val="7AC2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150" name="Group 149">
              <a:extLst>
                <a:ext uri="{FF2B5EF4-FFF2-40B4-BE49-F238E27FC236}">
                  <a16:creationId xmlns:a16="http://schemas.microsoft.com/office/drawing/2014/main" id="{83D9F53E-E0B0-4B5F-94F2-32019F7FBFD8}"/>
                </a:ext>
              </a:extLst>
            </p:cNvPr>
            <p:cNvGrpSpPr/>
            <p:nvPr/>
          </p:nvGrpSpPr>
          <p:grpSpPr>
            <a:xfrm>
              <a:off x="6581671" y="2870913"/>
              <a:ext cx="211138" cy="344488"/>
              <a:chOff x="4613275" y="2108200"/>
              <a:chExt cx="211138" cy="344488"/>
            </a:xfrm>
          </p:grpSpPr>
          <p:sp>
            <p:nvSpPr>
              <p:cNvPr id="158" name="Freeform 233">
                <a:extLst>
                  <a:ext uri="{FF2B5EF4-FFF2-40B4-BE49-F238E27FC236}">
                    <a16:creationId xmlns:a16="http://schemas.microsoft.com/office/drawing/2014/main" id="{81D77E4D-8CB9-4140-9EB0-F069BD9BBF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13275" y="2228850"/>
                <a:ext cx="128588" cy="223838"/>
              </a:xfrm>
              <a:custGeom>
                <a:avLst/>
                <a:gdLst>
                  <a:gd name="T0" fmla="*/ 51 w 81"/>
                  <a:gd name="T1" fmla="*/ 141 h 141"/>
                  <a:gd name="T2" fmla="*/ 33 w 81"/>
                  <a:gd name="T3" fmla="*/ 103 h 141"/>
                  <a:gd name="T4" fmla="*/ 0 w 81"/>
                  <a:gd name="T5" fmla="*/ 129 h 141"/>
                  <a:gd name="T6" fmla="*/ 30 w 81"/>
                  <a:gd name="T7" fmla="*/ 0 h 141"/>
                  <a:gd name="T8" fmla="*/ 81 w 81"/>
                  <a:gd name="T9" fmla="*/ 12 h 141"/>
                  <a:gd name="T10" fmla="*/ 51 w 81"/>
                  <a:gd name="T11" fmla="*/ 141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1" h="141">
                    <a:moveTo>
                      <a:pt x="51" y="141"/>
                    </a:moveTo>
                    <a:lnTo>
                      <a:pt x="33" y="103"/>
                    </a:lnTo>
                    <a:lnTo>
                      <a:pt x="0" y="129"/>
                    </a:lnTo>
                    <a:lnTo>
                      <a:pt x="30" y="0"/>
                    </a:lnTo>
                    <a:lnTo>
                      <a:pt x="81" y="12"/>
                    </a:lnTo>
                    <a:lnTo>
                      <a:pt x="51" y="141"/>
                    </a:lnTo>
                    <a:close/>
                  </a:path>
                </a:pathLst>
              </a:custGeom>
              <a:solidFill>
                <a:srgbClr val="E4F3FE"/>
              </a:solidFill>
              <a:ln w="20638" cap="rnd">
                <a:solidFill>
                  <a:srgbClr val="7AC2F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9" name="Freeform 234">
                <a:extLst>
                  <a:ext uri="{FF2B5EF4-FFF2-40B4-BE49-F238E27FC236}">
                    <a16:creationId xmlns:a16="http://schemas.microsoft.com/office/drawing/2014/main" id="{A4329F6E-23BD-4525-B006-05A8DB591C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95825" y="2228850"/>
                <a:ext cx="128588" cy="223838"/>
              </a:xfrm>
              <a:custGeom>
                <a:avLst/>
                <a:gdLst>
                  <a:gd name="T0" fmla="*/ 30 w 81"/>
                  <a:gd name="T1" fmla="*/ 141 h 141"/>
                  <a:gd name="T2" fmla="*/ 48 w 81"/>
                  <a:gd name="T3" fmla="*/ 103 h 141"/>
                  <a:gd name="T4" fmla="*/ 81 w 81"/>
                  <a:gd name="T5" fmla="*/ 129 h 141"/>
                  <a:gd name="T6" fmla="*/ 51 w 81"/>
                  <a:gd name="T7" fmla="*/ 0 h 141"/>
                  <a:gd name="T8" fmla="*/ 0 w 81"/>
                  <a:gd name="T9" fmla="*/ 12 h 141"/>
                  <a:gd name="T10" fmla="*/ 30 w 81"/>
                  <a:gd name="T11" fmla="*/ 141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1" h="141">
                    <a:moveTo>
                      <a:pt x="30" y="141"/>
                    </a:moveTo>
                    <a:lnTo>
                      <a:pt x="48" y="103"/>
                    </a:lnTo>
                    <a:lnTo>
                      <a:pt x="81" y="129"/>
                    </a:lnTo>
                    <a:lnTo>
                      <a:pt x="51" y="0"/>
                    </a:lnTo>
                    <a:lnTo>
                      <a:pt x="0" y="12"/>
                    </a:lnTo>
                    <a:lnTo>
                      <a:pt x="30" y="141"/>
                    </a:lnTo>
                    <a:close/>
                  </a:path>
                </a:pathLst>
              </a:custGeom>
              <a:solidFill>
                <a:srgbClr val="E4F3FE"/>
              </a:solidFill>
              <a:ln w="20638" cap="rnd">
                <a:solidFill>
                  <a:srgbClr val="7AC2F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0" name="Oval 235">
                <a:extLst>
                  <a:ext uri="{FF2B5EF4-FFF2-40B4-BE49-F238E27FC236}">
                    <a16:creationId xmlns:a16="http://schemas.microsoft.com/office/drawing/2014/main" id="{6C1CDCB2-AC78-4202-9AEC-D4EFEA34E86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13275" y="2108200"/>
                <a:ext cx="211138" cy="209550"/>
              </a:xfrm>
              <a:prstGeom prst="ellipse">
                <a:avLst/>
              </a:prstGeom>
              <a:solidFill>
                <a:srgbClr val="E4F3FE"/>
              </a:solidFill>
              <a:ln w="20638" cap="rnd">
                <a:solidFill>
                  <a:srgbClr val="7AC2F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1" name="Freeform 236">
                <a:extLst>
                  <a:ext uri="{FF2B5EF4-FFF2-40B4-BE49-F238E27FC236}">
                    <a16:creationId xmlns:a16="http://schemas.microsoft.com/office/drawing/2014/main" id="{A00C1D2E-F616-47BB-B4F1-7CAF0CBB05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49788" y="2151063"/>
                <a:ext cx="138113" cy="131763"/>
              </a:xfrm>
              <a:custGeom>
                <a:avLst/>
                <a:gdLst>
                  <a:gd name="T0" fmla="*/ 128 w 169"/>
                  <a:gd name="T1" fmla="*/ 160 h 160"/>
                  <a:gd name="T2" fmla="*/ 121 w 169"/>
                  <a:gd name="T3" fmla="*/ 157 h 160"/>
                  <a:gd name="T4" fmla="*/ 84 w 169"/>
                  <a:gd name="T5" fmla="*/ 131 h 160"/>
                  <a:gd name="T6" fmla="*/ 47 w 169"/>
                  <a:gd name="T7" fmla="*/ 157 h 160"/>
                  <a:gd name="T8" fmla="*/ 40 w 169"/>
                  <a:gd name="T9" fmla="*/ 160 h 160"/>
                  <a:gd name="T10" fmla="*/ 33 w 169"/>
                  <a:gd name="T11" fmla="*/ 157 h 160"/>
                  <a:gd name="T12" fmla="*/ 29 w 169"/>
                  <a:gd name="T13" fmla="*/ 144 h 160"/>
                  <a:gd name="T14" fmla="*/ 43 w 169"/>
                  <a:gd name="T15" fmla="*/ 101 h 160"/>
                  <a:gd name="T16" fmla="*/ 6 w 169"/>
                  <a:gd name="T17" fmla="*/ 74 h 160"/>
                  <a:gd name="T18" fmla="*/ 2 w 169"/>
                  <a:gd name="T19" fmla="*/ 60 h 160"/>
                  <a:gd name="T20" fmla="*/ 13 w 169"/>
                  <a:gd name="T21" fmla="*/ 52 h 160"/>
                  <a:gd name="T22" fmla="*/ 59 w 169"/>
                  <a:gd name="T23" fmla="*/ 52 h 160"/>
                  <a:gd name="T24" fmla="*/ 73 w 169"/>
                  <a:gd name="T25" fmla="*/ 9 h 160"/>
                  <a:gd name="T26" fmla="*/ 84 w 169"/>
                  <a:gd name="T27" fmla="*/ 0 h 160"/>
                  <a:gd name="T28" fmla="*/ 96 w 169"/>
                  <a:gd name="T29" fmla="*/ 9 h 160"/>
                  <a:gd name="T30" fmla="*/ 110 w 169"/>
                  <a:gd name="T31" fmla="*/ 52 h 160"/>
                  <a:gd name="T32" fmla="*/ 156 w 169"/>
                  <a:gd name="T33" fmla="*/ 52 h 160"/>
                  <a:gd name="T34" fmla="*/ 167 w 169"/>
                  <a:gd name="T35" fmla="*/ 60 h 160"/>
                  <a:gd name="T36" fmla="*/ 163 w 169"/>
                  <a:gd name="T37" fmla="*/ 74 h 160"/>
                  <a:gd name="T38" fmla="*/ 126 w 169"/>
                  <a:gd name="T39" fmla="*/ 101 h 160"/>
                  <a:gd name="T40" fmla="*/ 140 w 169"/>
                  <a:gd name="T41" fmla="*/ 144 h 160"/>
                  <a:gd name="T42" fmla="*/ 135 w 169"/>
                  <a:gd name="T43" fmla="*/ 157 h 160"/>
                  <a:gd name="T44" fmla="*/ 128 w 169"/>
                  <a:gd name="T45" fmla="*/ 16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69" h="160">
                    <a:moveTo>
                      <a:pt x="128" y="160"/>
                    </a:moveTo>
                    <a:cubicBezTo>
                      <a:pt x="126" y="160"/>
                      <a:pt x="123" y="159"/>
                      <a:pt x="121" y="157"/>
                    </a:cubicBezTo>
                    <a:cubicBezTo>
                      <a:pt x="84" y="131"/>
                      <a:pt x="84" y="131"/>
                      <a:pt x="84" y="131"/>
                    </a:cubicBezTo>
                    <a:cubicBezTo>
                      <a:pt x="47" y="157"/>
                      <a:pt x="47" y="157"/>
                      <a:pt x="47" y="157"/>
                    </a:cubicBezTo>
                    <a:cubicBezTo>
                      <a:pt x="45" y="159"/>
                      <a:pt x="43" y="160"/>
                      <a:pt x="40" y="160"/>
                    </a:cubicBezTo>
                    <a:cubicBezTo>
                      <a:pt x="38" y="160"/>
                      <a:pt x="35" y="159"/>
                      <a:pt x="33" y="157"/>
                    </a:cubicBezTo>
                    <a:cubicBezTo>
                      <a:pt x="29" y="154"/>
                      <a:pt x="27" y="149"/>
                      <a:pt x="29" y="144"/>
                    </a:cubicBezTo>
                    <a:cubicBezTo>
                      <a:pt x="43" y="101"/>
                      <a:pt x="43" y="101"/>
                      <a:pt x="43" y="101"/>
                    </a:cubicBezTo>
                    <a:cubicBezTo>
                      <a:pt x="6" y="74"/>
                      <a:pt x="6" y="74"/>
                      <a:pt x="6" y="74"/>
                    </a:cubicBezTo>
                    <a:cubicBezTo>
                      <a:pt x="2" y="71"/>
                      <a:pt x="0" y="65"/>
                      <a:pt x="2" y="60"/>
                    </a:cubicBezTo>
                    <a:cubicBezTo>
                      <a:pt x="3" y="55"/>
                      <a:pt x="8" y="52"/>
                      <a:pt x="13" y="52"/>
                    </a:cubicBezTo>
                    <a:cubicBezTo>
                      <a:pt x="59" y="52"/>
                      <a:pt x="59" y="52"/>
                      <a:pt x="59" y="52"/>
                    </a:cubicBezTo>
                    <a:cubicBezTo>
                      <a:pt x="73" y="9"/>
                      <a:pt x="73" y="9"/>
                      <a:pt x="73" y="9"/>
                    </a:cubicBezTo>
                    <a:cubicBezTo>
                      <a:pt x="75" y="4"/>
                      <a:pt x="79" y="0"/>
                      <a:pt x="84" y="0"/>
                    </a:cubicBezTo>
                    <a:cubicBezTo>
                      <a:pt x="90" y="0"/>
                      <a:pt x="94" y="4"/>
                      <a:pt x="96" y="9"/>
                    </a:cubicBezTo>
                    <a:cubicBezTo>
                      <a:pt x="110" y="52"/>
                      <a:pt x="110" y="52"/>
                      <a:pt x="110" y="52"/>
                    </a:cubicBezTo>
                    <a:cubicBezTo>
                      <a:pt x="156" y="52"/>
                      <a:pt x="156" y="52"/>
                      <a:pt x="156" y="52"/>
                    </a:cubicBezTo>
                    <a:cubicBezTo>
                      <a:pt x="161" y="52"/>
                      <a:pt x="165" y="55"/>
                      <a:pt x="167" y="60"/>
                    </a:cubicBezTo>
                    <a:cubicBezTo>
                      <a:pt x="169" y="65"/>
                      <a:pt x="167" y="71"/>
                      <a:pt x="163" y="74"/>
                    </a:cubicBezTo>
                    <a:cubicBezTo>
                      <a:pt x="126" y="101"/>
                      <a:pt x="126" y="101"/>
                      <a:pt x="126" y="101"/>
                    </a:cubicBezTo>
                    <a:cubicBezTo>
                      <a:pt x="140" y="144"/>
                      <a:pt x="140" y="144"/>
                      <a:pt x="140" y="144"/>
                    </a:cubicBezTo>
                    <a:cubicBezTo>
                      <a:pt x="141" y="149"/>
                      <a:pt x="140" y="154"/>
                      <a:pt x="135" y="157"/>
                    </a:cubicBezTo>
                    <a:cubicBezTo>
                      <a:pt x="133" y="159"/>
                      <a:pt x="131" y="160"/>
                      <a:pt x="128" y="160"/>
                    </a:cubicBezTo>
                    <a:close/>
                  </a:path>
                </a:pathLst>
              </a:custGeom>
              <a:solidFill>
                <a:srgbClr val="E4F3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2" name="Freeform 237">
                <a:extLst>
                  <a:ext uri="{FF2B5EF4-FFF2-40B4-BE49-F238E27FC236}">
                    <a16:creationId xmlns:a16="http://schemas.microsoft.com/office/drawing/2014/main" id="{697EAED3-C41C-4A61-933A-E1561CBEBDD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38675" y="2141538"/>
                <a:ext cx="158750" cy="150813"/>
              </a:xfrm>
              <a:custGeom>
                <a:avLst/>
                <a:gdLst>
                  <a:gd name="T0" fmla="*/ 97 w 193"/>
                  <a:gd name="T1" fmla="*/ 24 h 184"/>
                  <a:gd name="T2" fmla="*/ 114 w 193"/>
                  <a:gd name="T3" fmla="*/ 76 h 184"/>
                  <a:gd name="T4" fmla="*/ 169 w 193"/>
                  <a:gd name="T5" fmla="*/ 76 h 184"/>
                  <a:gd name="T6" fmla="*/ 125 w 193"/>
                  <a:gd name="T7" fmla="*/ 108 h 184"/>
                  <a:gd name="T8" fmla="*/ 141 w 193"/>
                  <a:gd name="T9" fmla="*/ 160 h 184"/>
                  <a:gd name="T10" fmla="*/ 97 w 193"/>
                  <a:gd name="T11" fmla="*/ 128 h 184"/>
                  <a:gd name="T12" fmla="*/ 53 w 193"/>
                  <a:gd name="T13" fmla="*/ 160 h 184"/>
                  <a:gd name="T14" fmla="*/ 70 w 193"/>
                  <a:gd name="T15" fmla="*/ 108 h 184"/>
                  <a:gd name="T16" fmla="*/ 26 w 193"/>
                  <a:gd name="T17" fmla="*/ 76 h 184"/>
                  <a:gd name="T18" fmla="*/ 81 w 193"/>
                  <a:gd name="T19" fmla="*/ 76 h 184"/>
                  <a:gd name="T20" fmla="*/ 97 w 193"/>
                  <a:gd name="T21" fmla="*/ 24 h 184"/>
                  <a:gd name="T22" fmla="*/ 169 w 193"/>
                  <a:gd name="T23" fmla="*/ 76 h 184"/>
                  <a:gd name="T24" fmla="*/ 169 w 193"/>
                  <a:gd name="T25" fmla="*/ 76 h 184"/>
                  <a:gd name="T26" fmla="*/ 97 w 193"/>
                  <a:gd name="T27" fmla="*/ 0 h 184"/>
                  <a:gd name="T28" fmla="*/ 75 w 193"/>
                  <a:gd name="T29" fmla="*/ 17 h 184"/>
                  <a:gd name="T30" fmla="*/ 63 w 193"/>
                  <a:gd name="T31" fmla="*/ 52 h 184"/>
                  <a:gd name="T32" fmla="*/ 26 w 193"/>
                  <a:gd name="T33" fmla="*/ 52 h 184"/>
                  <a:gd name="T34" fmla="*/ 3 w 193"/>
                  <a:gd name="T35" fmla="*/ 69 h 184"/>
                  <a:gd name="T36" fmla="*/ 12 w 193"/>
                  <a:gd name="T37" fmla="*/ 95 h 184"/>
                  <a:gd name="T38" fmla="*/ 42 w 193"/>
                  <a:gd name="T39" fmla="*/ 117 h 184"/>
                  <a:gd name="T40" fmla="*/ 31 w 193"/>
                  <a:gd name="T41" fmla="*/ 152 h 184"/>
                  <a:gd name="T42" fmla="*/ 39 w 193"/>
                  <a:gd name="T43" fmla="*/ 179 h 184"/>
                  <a:gd name="T44" fmla="*/ 53 w 193"/>
                  <a:gd name="T45" fmla="*/ 184 h 184"/>
                  <a:gd name="T46" fmla="*/ 68 w 193"/>
                  <a:gd name="T47" fmla="*/ 179 h 184"/>
                  <a:gd name="T48" fmla="*/ 97 w 193"/>
                  <a:gd name="T49" fmla="*/ 157 h 184"/>
                  <a:gd name="T50" fmla="*/ 127 w 193"/>
                  <a:gd name="T51" fmla="*/ 179 h 184"/>
                  <a:gd name="T52" fmla="*/ 141 w 193"/>
                  <a:gd name="T53" fmla="*/ 184 h 184"/>
                  <a:gd name="T54" fmla="*/ 155 w 193"/>
                  <a:gd name="T55" fmla="*/ 179 h 184"/>
                  <a:gd name="T56" fmla="*/ 164 w 193"/>
                  <a:gd name="T57" fmla="*/ 152 h 184"/>
                  <a:gd name="T58" fmla="*/ 153 w 193"/>
                  <a:gd name="T59" fmla="*/ 117 h 184"/>
                  <a:gd name="T60" fmla="*/ 182 w 193"/>
                  <a:gd name="T61" fmla="*/ 96 h 184"/>
                  <a:gd name="T62" fmla="*/ 193 w 193"/>
                  <a:gd name="T63" fmla="*/ 76 h 184"/>
                  <a:gd name="T64" fmla="*/ 169 w 193"/>
                  <a:gd name="T65" fmla="*/ 52 h 184"/>
                  <a:gd name="T66" fmla="*/ 169 w 193"/>
                  <a:gd name="T67" fmla="*/ 52 h 184"/>
                  <a:gd name="T68" fmla="*/ 132 w 193"/>
                  <a:gd name="T69" fmla="*/ 52 h 184"/>
                  <a:gd name="T70" fmla="*/ 120 w 193"/>
                  <a:gd name="T71" fmla="*/ 17 h 184"/>
                  <a:gd name="T72" fmla="*/ 97 w 193"/>
                  <a:gd name="T7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93" h="184">
                    <a:moveTo>
                      <a:pt x="97" y="24"/>
                    </a:moveTo>
                    <a:cubicBezTo>
                      <a:pt x="114" y="76"/>
                      <a:pt x="114" y="76"/>
                      <a:pt x="114" y="76"/>
                    </a:cubicBezTo>
                    <a:cubicBezTo>
                      <a:pt x="169" y="76"/>
                      <a:pt x="169" y="76"/>
                      <a:pt x="169" y="76"/>
                    </a:cubicBezTo>
                    <a:cubicBezTo>
                      <a:pt x="125" y="108"/>
                      <a:pt x="125" y="108"/>
                      <a:pt x="125" y="108"/>
                    </a:cubicBezTo>
                    <a:cubicBezTo>
                      <a:pt x="141" y="160"/>
                      <a:pt x="141" y="160"/>
                      <a:pt x="141" y="160"/>
                    </a:cubicBezTo>
                    <a:cubicBezTo>
                      <a:pt x="97" y="128"/>
                      <a:pt x="97" y="128"/>
                      <a:pt x="97" y="128"/>
                    </a:cubicBezTo>
                    <a:cubicBezTo>
                      <a:pt x="53" y="160"/>
                      <a:pt x="53" y="160"/>
                      <a:pt x="53" y="160"/>
                    </a:cubicBezTo>
                    <a:cubicBezTo>
                      <a:pt x="70" y="108"/>
                      <a:pt x="70" y="108"/>
                      <a:pt x="70" y="108"/>
                    </a:cubicBezTo>
                    <a:cubicBezTo>
                      <a:pt x="26" y="76"/>
                      <a:pt x="26" y="76"/>
                      <a:pt x="26" y="76"/>
                    </a:cubicBezTo>
                    <a:cubicBezTo>
                      <a:pt x="81" y="76"/>
                      <a:pt x="81" y="76"/>
                      <a:pt x="81" y="76"/>
                    </a:cubicBezTo>
                    <a:cubicBezTo>
                      <a:pt x="97" y="24"/>
                      <a:pt x="97" y="24"/>
                      <a:pt x="97" y="24"/>
                    </a:cubicBezTo>
                    <a:moveTo>
                      <a:pt x="169" y="76"/>
                    </a:moveTo>
                    <a:cubicBezTo>
                      <a:pt x="169" y="76"/>
                      <a:pt x="169" y="76"/>
                      <a:pt x="169" y="76"/>
                    </a:cubicBezTo>
                    <a:moveTo>
                      <a:pt x="97" y="0"/>
                    </a:moveTo>
                    <a:cubicBezTo>
                      <a:pt x="87" y="0"/>
                      <a:pt x="78" y="7"/>
                      <a:pt x="75" y="17"/>
                    </a:cubicBezTo>
                    <a:cubicBezTo>
                      <a:pt x="63" y="52"/>
                      <a:pt x="63" y="52"/>
                      <a:pt x="63" y="52"/>
                    </a:cubicBezTo>
                    <a:cubicBezTo>
                      <a:pt x="26" y="52"/>
                      <a:pt x="26" y="52"/>
                      <a:pt x="26" y="52"/>
                    </a:cubicBezTo>
                    <a:cubicBezTo>
                      <a:pt x="16" y="52"/>
                      <a:pt x="7" y="59"/>
                      <a:pt x="3" y="69"/>
                    </a:cubicBezTo>
                    <a:cubicBezTo>
                      <a:pt x="0" y="78"/>
                      <a:pt x="4" y="89"/>
                      <a:pt x="12" y="95"/>
                    </a:cubicBezTo>
                    <a:cubicBezTo>
                      <a:pt x="42" y="117"/>
                      <a:pt x="42" y="117"/>
                      <a:pt x="42" y="117"/>
                    </a:cubicBezTo>
                    <a:cubicBezTo>
                      <a:pt x="31" y="152"/>
                      <a:pt x="31" y="152"/>
                      <a:pt x="31" y="152"/>
                    </a:cubicBezTo>
                    <a:cubicBezTo>
                      <a:pt x="27" y="162"/>
                      <a:pt x="31" y="173"/>
                      <a:pt x="39" y="179"/>
                    </a:cubicBezTo>
                    <a:cubicBezTo>
                      <a:pt x="44" y="182"/>
                      <a:pt x="48" y="184"/>
                      <a:pt x="53" y="184"/>
                    </a:cubicBezTo>
                    <a:cubicBezTo>
                      <a:pt x="58" y="184"/>
                      <a:pt x="63" y="182"/>
                      <a:pt x="68" y="179"/>
                    </a:cubicBezTo>
                    <a:cubicBezTo>
                      <a:pt x="97" y="157"/>
                      <a:pt x="97" y="157"/>
                      <a:pt x="97" y="157"/>
                    </a:cubicBezTo>
                    <a:cubicBezTo>
                      <a:pt x="127" y="179"/>
                      <a:pt x="127" y="179"/>
                      <a:pt x="127" y="179"/>
                    </a:cubicBezTo>
                    <a:cubicBezTo>
                      <a:pt x="131" y="182"/>
                      <a:pt x="136" y="184"/>
                      <a:pt x="141" y="184"/>
                    </a:cubicBezTo>
                    <a:cubicBezTo>
                      <a:pt x="146" y="184"/>
                      <a:pt x="151" y="182"/>
                      <a:pt x="155" y="179"/>
                    </a:cubicBezTo>
                    <a:cubicBezTo>
                      <a:pt x="164" y="173"/>
                      <a:pt x="167" y="162"/>
                      <a:pt x="164" y="152"/>
                    </a:cubicBezTo>
                    <a:cubicBezTo>
                      <a:pt x="153" y="117"/>
                      <a:pt x="153" y="117"/>
                      <a:pt x="153" y="117"/>
                    </a:cubicBezTo>
                    <a:cubicBezTo>
                      <a:pt x="182" y="96"/>
                      <a:pt x="182" y="96"/>
                      <a:pt x="182" y="96"/>
                    </a:cubicBezTo>
                    <a:cubicBezTo>
                      <a:pt x="188" y="91"/>
                      <a:pt x="193" y="84"/>
                      <a:pt x="193" y="76"/>
                    </a:cubicBezTo>
                    <a:cubicBezTo>
                      <a:pt x="193" y="63"/>
                      <a:pt x="182" y="52"/>
                      <a:pt x="169" y="52"/>
                    </a:cubicBezTo>
                    <a:cubicBezTo>
                      <a:pt x="169" y="52"/>
                      <a:pt x="169" y="52"/>
                      <a:pt x="169" y="52"/>
                    </a:cubicBezTo>
                    <a:cubicBezTo>
                      <a:pt x="132" y="52"/>
                      <a:pt x="132" y="52"/>
                      <a:pt x="132" y="52"/>
                    </a:cubicBezTo>
                    <a:cubicBezTo>
                      <a:pt x="120" y="17"/>
                      <a:pt x="120" y="17"/>
                      <a:pt x="120" y="17"/>
                    </a:cubicBezTo>
                    <a:cubicBezTo>
                      <a:pt x="117" y="7"/>
                      <a:pt x="108" y="0"/>
                      <a:pt x="97" y="0"/>
                    </a:cubicBezTo>
                    <a:close/>
                  </a:path>
                </a:pathLst>
              </a:custGeom>
              <a:solidFill>
                <a:srgbClr val="7AC2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151" name="Rectangle 150">
              <a:extLst>
                <a:ext uri="{FF2B5EF4-FFF2-40B4-BE49-F238E27FC236}">
                  <a16:creationId xmlns:a16="http://schemas.microsoft.com/office/drawing/2014/main" id="{A958A9D9-4CEA-48A1-91C4-A00967656F89}"/>
                </a:ext>
              </a:extLst>
            </p:cNvPr>
            <p:cNvSpPr/>
            <p:nvPr/>
          </p:nvSpPr>
          <p:spPr>
            <a:xfrm>
              <a:off x="5528562" y="2045097"/>
              <a:ext cx="1034247" cy="551431"/>
            </a:xfrm>
            <a:prstGeom prst="rect">
              <a:avLst/>
            </a:prstGeom>
            <a:solidFill>
              <a:srgbClr val="FFFFFF"/>
            </a:solidFill>
            <a:ln w="22225">
              <a:solidFill>
                <a:srgbClr val="7AC2F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152" name="Group 151">
              <a:extLst>
                <a:ext uri="{FF2B5EF4-FFF2-40B4-BE49-F238E27FC236}">
                  <a16:creationId xmlns:a16="http://schemas.microsoft.com/office/drawing/2014/main" id="{A386B112-9F22-4E69-8618-44A919C3EF11}"/>
                </a:ext>
              </a:extLst>
            </p:cNvPr>
            <p:cNvGrpSpPr/>
            <p:nvPr/>
          </p:nvGrpSpPr>
          <p:grpSpPr>
            <a:xfrm>
              <a:off x="5941370" y="2165441"/>
              <a:ext cx="211138" cy="344488"/>
              <a:chOff x="4613275" y="2108200"/>
              <a:chExt cx="211138" cy="344488"/>
            </a:xfrm>
          </p:grpSpPr>
          <p:sp>
            <p:nvSpPr>
              <p:cNvPr id="153" name="Freeform 233">
                <a:extLst>
                  <a:ext uri="{FF2B5EF4-FFF2-40B4-BE49-F238E27FC236}">
                    <a16:creationId xmlns:a16="http://schemas.microsoft.com/office/drawing/2014/main" id="{BCCED8B5-5D10-4E40-B23A-14BF5DF592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13275" y="2228850"/>
                <a:ext cx="128588" cy="223838"/>
              </a:xfrm>
              <a:custGeom>
                <a:avLst/>
                <a:gdLst>
                  <a:gd name="T0" fmla="*/ 51 w 81"/>
                  <a:gd name="T1" fmla="*/ 141 h 141"/>
                  <a:gd name="T2" fmla="*/ 33 w 81"/>
                  <a:gd name="T3" fmla="*/ 103 h 141"/>
                  <a:gd name="T4" fmla="*/ 0 w 81"/>
                  <a:gd name="T5" fmla="*/ 129 h 141"/>
                  <a:gd name="T6" fmla="*/ 30 w 81"/>
                  <a:gd name="T7" fmla="*/ 0 h 141"/>
                  <a:gd name="T8" fmla="*/ 81 w 81"/>
                  <a:gd name="T9" fmla="*/ 12 h 141"/>
                  <a:gd name="T10" fmla="*/ 51 w 81"/>
                  <a:gd name="T11" fmla="*/ 141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1" h="141">
                    <a:moveTo>
                      <a:pt x="51" y="141"/>
                    </a:moveTo>
                    <a:lnTo>
                      <a:pt x="33" y="103"/>
                    </a:lnTo>
                    <a:lnTo>
                      <a:pt x="0" y="129"/>
                    </a:lnTo>
                    <a:lnTo>
                      <a:pt x="30" y="0"/>
                    </a:lnTo>
                    <a:lnTo>
                      <a:pt x="81" y="12"/>
                    </a:lnTo>
                    <a:lnTo>
                      <a:pt x="51" y="141"/>
                    </a:lnTo>
                    <a:close/>
                  </a:path>
                </a:pathLst>
              </a:custGeom>
              <a:solidFill>
                <a:srgbClr val="E4F3FE"/>
              </a:solidFill>
              <a:ln w="22225" cap="rnd">
                <a:solidFill>
                  <a:srgbClr val="7AC2F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4" name="Freeform 234">
                <a:extLst>
                  <a:ext uri="{FF2B5EF4-FFF2-40B4-BE49-F238E27FC236}">
                    <a16:creationId xmlns:a16="http://schemas.microsoft.com/office/drawing/2014/main" id="{F215233B-251E-468C-8E9B-9852A00784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95825" y="2228850"/>
                <a:ext cx="128588" cy="223838"/>
              </a:xfrm>
              <a:custGeom>
                <a:avLst/>
                <a:gdLst>
                  <a:gd name="T0" fmla="*/ 30 w 81"/>
                  <a:gd name="T1" fmla="*/ 141 h 141"/>
                  <a:gd name="T2" fmla="*/ 48 w 81"/>
                  <a:gd name="T3" fmla="*/ 103 h 141"/>
                  <a:gd name="T4" fmla="*/ 81 w 81"/>
                  <a:gd name="T5" fmla="*/ 129 h 141"/>
                  <a:gd name="T6" fmla="*/ 51 w 81"/>
                  <a:gd name="T7" fmla="*/ 0 h 141"/>
                  <a:gd name="T8" fmla="*/ 0 w 81"/>
                  <a:gd name="T9" fmla="*/ 12 h 141"/>
                  <a:gd name="T10" fmla="*/ 30 w 81"/>
                  <a:gd name="T11" fmla="*/ 141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1" h="141">
                    <a:moveTo>
                      <a:pt x="30" y="141"/>
                    </a:moveTo>
                    <a:lnTo>
                      <a:pt x="48" y="103"/>
                    </a:lnTo>
                    <a:lnTo>
                      <a:pt x="81" y="129"/>
                    </a:lnTo>
                    <a:lnTo>
                      <a:pt x="51" y="0"/>
                    </a:lnTo>
                    <a:lnTo>
                      <a:pt x="0" y="12"/>
                    </a:lnTo>
                    <a:lnTo>
                      <a:pt x="30" y="141"/>
                    </a:lnTo>
                    <a:close/>
                  </a:path>
                </a:pathLst>
              </a:custGeom>
              <a:solidFill>
                <a:srgbClr val="E4F3FE"/>
              </a:solidFill>
              <a:ln w="22225" cap="rnd">
                <a:solidFill>
                  <a:srgbClr val="7AC2F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5" name="Oval 235">
                <a:extLst>
                  <a:ext uri="{FF2B5EF4-FFF2-40B4-BE49-F238E27FC236}">
                    <a16:creationId xmlns:a16="http://schemas.microsoft.com/office/drawing/2014/main" id="{E71DFECA-A7B2-47F6-864A-4A6B16F59B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13275" y="2108200"/>
                <a:ext cx="211138" cy="209550"/>
              </a:xfrm>
              <a:prstGeom prst="ellipse">
                <a:avLst/>
              </a:prstGeom>
              <a:solidFill>
                <a:srgbClr val="E4F3FE"/>
              </a:solidFill>
              <a:ln w="22225" cap="rnd">
                <a:solidFill>
                  <a:srgbClr val="7AC2F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6" name="Freeform 236">
                <a:extLst>
                  <a:ext uri="{FF2B5EF4-FFF2-40B4-BE49-F238E27FC236}">
                    <a16:creationId xmlns:a16="http://schemas.microsoft.com/office/drawing/2014/main" id="{AEA1B327-C25D-4643-AE55-7D7A792990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49788" y="2151063"/>
                <a:ext cx="138113" cy="131763"/>
              </a:xfrm>
              <a:custGeom>
                <a:avLst/>
                <a:gdLst>
                  <a:gd name="T0" fmla="*/ 128 w 169"/>
                  <a:gd name="T1" fmla="*/ 160 h 160"/>
                  <a:gd name="T2" fmla="*/ 121 w 169"/>
                  <a:gd name="T3" fmla="*/ 157 h 160"/>
                  <a:gd name="T4" fmla="*/ 84 w 169"/>
                  <a:gd name="T5" fmla="*/ 131 h 160"/>
                  <a:gd name="T6" fmla="*/ 47 w 169"/>
                  <a:gd name="T7" fmla="*/ 157 h 160"/>
                  <a:gd name="T8" fmla="*/ 40 w 169"/>
                  <a:gd name="T9" fmla="*/ 160 h 160"/>
                  <a:gd name="T10" fmla="*/ 33 w 169"/>
                  <a:gd name="T11" fmla="*/ 157 h 160"/>
                  <a:gd name="T12" fmla="*/ 29 w 169"/>
                  <a:gd name="T13" fmla="*/ 144 h 160"/>
                  <a:gd name="T14" fmla="*/ 43 w 169"/>
                  <a:gd name="T15" fmla="*/ 101 h 160"/>
                  <a:gd name="T16" fmla="*/ 6 w 169"/>
                  <a:gd name="T17" fmla="*/ 74 h 160"/>
                  <a:gd name="T18" fmla="*/ 2 w 169"/>
                  <a:gd name="T19" fmla="*/ 60 h 160"/>
                  <a:gd name="T20" fmla="*/ 13 w 169"/>
                  <a:gd name="T21" fmla="*/ 52 h 160"/>
                  <a:gd name="T22" fmla="*/ 59 w 169"/>
                  <a:gd name="T23" fmla="*/ 52 h 160"/>
                  <a:gd name="T24" fmla="*/ 73 w 169"/>
                  <a:gd name="T25" fmla="*/ 9 h 160"/>
                  <a:gd name="T26" fmla="*/ 84 w 169"/>
                  <a:gd name="T27" fmla="*/ 0 h 160"/>
                  <a:gd name="T28" fmla="*/ 96 w 169"/>
                  <a:gd name="T29" fmla="*/ 9 h 160"/>
                  <a:gd name="T30" fmla="*/ 110 w 169"/>
                  <a:gd name="T31" fmla="*/ 52 h 160"/>
                  <a:gd name="T32" fmla="*/ 156 w 169"/>
                  <a:gd name="T33" fmla="*/ 52 h 160"/>
                  <a:gd name="T34" fmla="*/ 167 w 169"/>
                  <a:gd name="T35" fmla="*/ 60 h 160"/>
                  <a:gd name="T36" fmla="*/ 163 w 169"/>
                  <a:gd name="T37" fmla="*/ 74 h 160"/>
                  <a:gd name="T38" fmla="*/ 126 w 169"/>
                  <a:gd name="T39" fmla="*/ 101 h 160"/>
                  <a:gd name="T40" fmla="*/ 140 w 169"/>
                  <a:gd name="T41" fmla="*/ 144 h 160"/>
                  <a:gd name="T42" fmla="*/ 135 w 169"/>
                  <a:gd name="T43" fmla="*/ 157 h 160"/>
                  <a:gd name="T44" fmla="*/ 128 w 169"/>
                  <a:gd name="T45" fmla="*/ 16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69" h="160">
                    <a:moveTo>
                      <a:pt x="128" y="160"/>
                    </a:moveTo>
                    <a:cubicBezTo>
                      <a:pt x="126" y="160"/>
                      <a:pt x="123" y="159"/>
                      <a:pt x="121" y="157"/>
                    </a:cubicBezTo>
                    <a:cubicBezTo>
                      <a:pt x="84" y="131"/>
                      <a:pt x="84" y="131"/>
                      <a:pt x="84" y="131"/>
                    </a:cubicBezTo>
                    <a:cubicBezTo>
                      <a:pt x="47" y="157"/>
                      <a:pt x="47" y="157"/>
                      <a:pt x="47" y="157"/>
                    </a:cubicBezTo>
                    <a:cubicBezTo>
                      <a:pt x="45" y="159"/>
                      <a:pt x="43" y="160"/>
                      <a:pt x="40" y="160"/>
                    </a:cubicBezTo>
                    <a:cubicBezTo>
                      <a:pt x="38" y="160"/>
                      <a:pt x="35" y="159"/>
                      <a:pt x="33" y="157"/>
                    </a:cubicBezTo>
                    <a:cubicBezTo>
                      <a:pt x="29" y="154"/>
                      <a:pt x="27" y="149"/>
                      <a:pt x="29" y="144"/>
                    </a:cubicBezTo>
                    <a:cubicBezTo>
                      <a:pt x="43" y="101"/>
                      <a:pt x="43" y="101"/>
                      <a:pt x="43" y="101"/>
                    </a:cubicBezTo>
                    <a:cubicBezTo>
                      <a:pt x="6" y="74"/>
                      <a:pt x="6" y="74"/>
                      <a:pt x="6" y="74"/>
                    </a:cubicBezTo>
                    <a:cubicBezTo>
                      <a:pt x="2" y="71"/>
                      <a:pt x="0" y="65"/>
                      <a:pt x="2" y="60"/>
                    </a:cubicBezTo>
                    <a:cubicBezTo>
                      <a:pt x="3" y="55"/>
                      <a:pt x="8" y="52"/>
                      <a:pt x="13" y="52"/>
                    </a:cubicBezTo>
                    <a:cubicBezTo>
                      <a:pt x="59" y="52"/>
                      <a:pt x="59" y="52"/>
                      <a:pt x="59" y="52"/>
                    </a:cubicBezTo>
                    <a:cubicBezTo>
                      <a:pt x="73" y="9"/>
                      <a:pt x="73" y="9"/>
                      <a:pt x="73" y="9"/>
                    </a:cubicBezTo>
                    <a:cubicBezTo>
                      <a:pt x="75" y="4"/>
                      <a:pt x="79" y="0"/>
                      <a:pt x="84" y="0"/>
                    </a:cubicBezTo>
                    <a:cubicBezTo>
                      <a:pt x="90" y="0"/>
                      <a:pt x="94" y="4"/>
                      <a:pt x="96" y="9"/>
                    </a:cubicBezTo>
                    <a:cubicBezTo>
                      <a:pt x="110" y="52"/>
                      <a:pt x="110" y="52"/>
                      <a:pt x="110" y="52"/>
                    </a:cubicBezTo>
                    <a:cubicBezTo>
                      <a:pt x="156" y="52"/>
                      <a:pt x="156" y="52"/>
                      <a:pt x="156" y="52"/>
                    </a:cubicBezTo>
                    <a:cubicBezTo>
                      <a:pt x="161" y="52"/>
                      <a:pt x="165" y="55"/>
                      <a:pt x="167" y="60"/>
                    </a:cubicBezTo>
                    <a:cubicBezTo>
                      <a:pt x="169" y="65"/>
                      <a:pt x="167" y="71"/>
                      <a:pt x="163" y="74"/>
                    </a:cubicBezTo>
                    <a:cubicBezTo>
                      <a:pt x="126" y="101"/>
                      <a:pt x="126" y="101"/>
                      <a:pt x="126" y="101"/>
                    </a:cubicBezTo>
                    <a:cubicBezTo>
                      <a:pt x="140" y="144"/>
                      <a:pt x="140" y="144"/>
                      <a:pt x="140" y="144"/>
                    </a:cubicBezTo>
                    <a:cubicBezTo>
                      <a:pt x="141" y="149"/>
                      <a:pt x="140" y="154"/>
                      <a:pt x="135" y="157"/>
                    </a:cubicBezTo>
                    <a:cubicBezTo>
                      <a:pt x="133" y="159"/>
                      <a:pt x="131" y="160"/>
                      <a:pt x="128" y="160"/>
                    </a:cubicBezTo>
                    <a:close/>
                  </a:path>
                </a:pathLst>
              </a:custGeom>
              <a:solidFill>
                <a:srgbClr val="E4F3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7" name="Freeform 237">
                <a:extLst>
                  <a:ext uri="{FF2B5EF4-FFF2-40B4-BE49-F238E27FC236}">
                    <a16:creationId xmlns:a16="http://schemas.microsoft.com/office/drawing/2014/main" id="{705CE452-958C-41D9-A3A3-1CCFB38FC5D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38675" y="2141538"/>
                <a:ext cx="158750" cy="150813"/>
              </a:xfrm>
              <a:custGeom>
                <a:avLst/>
                <a:gdLst>
                  <a:gd name="T0" fmla="*/ 97 w 193"/>
                  <a:gd name="T1" fmla="*/ 24 h 184"/>
                  <a:gd name="T2" fmla="*/ 114 w 193"/>
                  <a:gd name="T3" fmla="*/ 76 h 184"/>
                  <a:gd name="T4" fmla="*/ 169 w 193"/>
                  <a:gd name="T5" fmla="*/ 76 h 184"/>
                  <a:gd name="T6" fmla="*/ 125 w 193"/>
                  <a:gd name="T7" fmla="*/ 108 h 184"/>
                  <a:gd name="T8" fmla="*/ 141 w 193"/>
                  <a:gd name="T9" fmla="*/ 160 h 184"/>
                  <a:gd name="T10" fmla="*/ 97 w 193"/>
                  <a:gd name="T11" fmla="*/ 128 h 184"/>
                  <a:gd name="T12" fmla="*/ 53 w 193"/>
                  <a:gd name="T13" fmla="*/ 160 h 184"/>
                  <a:gd name="T14" fmla="*/ 70 w 193"/>
                  <a:gd name="T15" fmla="*/ 108 h 184"/>
                  <a:gd name="T16" fmla="*/ 26 w 193"/>
                  <a:gd name="T17" fmla="*/ 76 h 184"/>
                  <a:gd name="T18" fmla="*/ 81 w 193"/>
                  <a:gd name="T19" fmla="*/ 76 h 184"/>
                  <a:gd name="T20" fmla="*/ 97 w 193"/>
                  <a:gd name="T21" fmla="*/ 24 h 184"/>
                  <a:gd name="T22" fmla="*/ 169 w 193"/>
                  <a:gd name="T23" fmla="*/ 76 h 184"/>
                  <a:gd name="T24" fmla="*/ 169 w 193"/>
                  <a:gd name="T25" fmla="*/ 76 h 184"/>
                  <a:gd name="T26" fmla="*/ 97 w 193"/>
                  <a:gd name="T27" fmla="*/ 0 h 184"/>
                  <a:gd name="T28" fmla="*/ 75 w 193"/>
                  <a:gd name="T29" fmla="*/ 17 h 184"/>
                  <a:gd name="T30" fmla="*/ 63 w 193"/>
                  <a:gd name="T31" fmla="*/ 52 h 184"/>
                  <a:gd name="T32" fmla="*/ 26 w 193"/>
                  <a:gd name="T33" fmla="*/ 52 h 184"/>
                  <a:gd name="T34" fmla="*/ 3 w 193"/>
                  <a:gd name="T35" fmla="*/ 69 h 184"/>
                  <a:gd name="T36" fmla="*/ 12 w 193"/>
                  <a:gd name="T37" fmla="*/ 95 h 184"/>
                  <a:gd name="T38" fmla="*/ 42 w 193"/>
                  <a:gd name="T39" fmla="*/ 117 h 184"/>
                  <a:gd name="T40" fmla="*/ 31 w 193"/>
                  <a:gd name="T41" fmla="*/ 152 h 184"/>
                  <a:gd name="T42" fmla="*/ 39 w 193"/>
                  <a:gd name="T43" fmla="*/ 179 h 184"/>
                  <a:gd name="T44" fmla="*/ 53 w 193"/>
                  <a:gd name="T45" fmla="*/ 184 h 184"/>
                  <a:gd name="T46" fmla="*/ 68 w 193"/>
                  <a:gd name="T47" fmla="*/ 179 h 184"/>
                  <a:gd name="T48" fmla="*/ 97 w 193"/>
                  <a:gd name="T49" fmla="*/ 157 h 184"/>
                  <a:gd name="T50" fmla="*/ 127 w 193"/>
                  <a:gd name="T51" fmla="*/ 179 h 184"/>
                  <a:gd name="T52" fmla="*/ 141 w 193"/>
                  <a:gd name="T53" fmla="*/ 184 h 184"/>
                  <a:gd name="T54" fmla="*/ 155 w 193"/>
                  <a:gd name="T55" fmla="*/ 179 h 184"/>
                  <a:gd name="T56" fmla="*/ 164 w 193"/>
                  <a:gd name="T57" fmla="*/ 152 h 184"/>
                  <a:gd name="T58" fmla="*/ 153 w 193"/>
                  <a:gd name="T59" fmla="*/ 117 h 184"/>
                  <a:gd name="T60" fmla="*/ 182 w 193"/>
                  <a:gd name="T61" fmla="*/ 96 h 184"/>
                  <a:gd name="T62" fmla="*/ 193 w 193"/>
                  <a:gd name="T63" fmla="*/ 76 h 184"/>
                  <a:gd name="T64" fmla="*/ 169 w 193"/>
                  <a:gd name="T65" fmla="*/ 52 h 184"/>
                  <a:gd name="T66" fmla="*/ 169 w 193"/>
                  <a:gd name="T67" fmla="*/ 52 h 184"/>
                  <a:gd name="T68" fmla="*/ 132 w 193"/>
                  <a:gd name="T69" fmla="*/ 52 h 184"/>
                  <a:gd name="T70" fmla="*/ 120 w 193"/>
                  <a:gd name="T71" fmla="*/ 17 h 184"/>
                  <a:gd name="T72" fmla="*/ 97 w 193"/>
                  <a:gd name="T7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93" h="184">
                    <a:moveTo>
                      <a:pt x="97" y="24"/>
                    </a:moveTo>
                    <a:cubicBezTo>
                      <a:pt x="114" y="76"/>
                      <a:pt x="114" y="76"/>
                      <a:pt x="114" y="76"/>
                    </a:cubicBezTo>
                    <a:cubicBezTo>
                      <a:pt x="169" y="76"/>
                      <a:pt x="169" y="76"/>
                      <a:pt x="169" y="76"/>
                    </a:cubicBezTo>
                    <a:cubicBezTo>
                      <a:pt x="125" y="108"/>
                      <a:pt x="125" y="108"/>
                      <a:pt x="125" y="108"/>
                    </a:cubicBezTo>
                    <a:cubicBezTo>
                      <a:pt x="141" y="160"/>
                      <a:pt x="141" y="160"/>
                      <a:pt x="141" y="160"/>
                    </a:cubicBezTo>
                    <a:cubicBezTo>
                      <a:pt x="97" y="128"/>
                      <a:pt x="97" y="128"/>
                      <a:pt x="97" y="128"/>
                    </a:cubicBezTo>
                    <a:cubicBezTo>
                      <a:pt x="53" y="160"/>
                      <a:pt x="53" y="160"/>
                      <a:pt x="53" y="160"/>
                    </a:cubicBezTo>
                    <a:cubicBezTo>
                      <a:pt x="70" y="108"/>
                      <a:pt x="70" y="108"/>
                      <a:pt x="70" y="108"/>
                    </a:cubicBezTo>
                    <a:cubicBezTo>
                      <a:pt x="26" y="76"/>
                      <a:pt x="26" y="76"/>
                      <a:pt x="26" y="76"/>
                    </a:cubicBezTo>
                    <a:cubicBezTo>
                      <a:pt x="81" y="76"/>
                      <a:pt x="81" y="76"/>
                      <a:pt x="81" y="76"/>
                    </a:cubicBezTo>
                    <a:cubicBezTo>
                      <a:pt x="97" y="24"/>
                      <a:pt x="97" y="24"/>
                      <a:pt x="97" y="24"/>
                    </a:cubicBezTo>
                    <a:moveTo>
                      <a:pt x="169" y="76"/>
                    </a:moveTo>
                    <a:cubicBezTo>
                      <a:pt x="169" y="76"/>
                      <a:pt x="169" y="76"/>
                      <a:pt x="169" y="76"/>
                    </a:cubicBezTo>
                    <a:moveTo>
                      <a:pt x="97" y="0"/>
                    </a:moveTo>
                    <a:cubicBezTo>
                      <a:pt x="87" y="0"/>
                      <a:pt x="78" y="7"/>
                      <a:pt x="75" y="17"/>
                    </a:cubicBezTo>
                    <a:cubicBezTo>
                      <a:pt x="63" y="52"/>
                      <a:pt x="63" y="52"/>
                      <a:pt x="63" y="52"/>
                    </a:cubicBezTo>
                    <a:cubicBezTo>
                      <a:pt x="26" y="52"/>
                      <a:pt x="26" y="52"/>
                      <a:pt x="26" y="52"/>
                    </a:cubicBezTo>
                    <a:cubicBezTo>
                      <a:pt x="16" y="52"/>
                      <a:pt x="7" y="59"/>
                      <a:pt x="3" y="69"/>
                    </a:cubicBezTo>
                    <a:cubicBezTo>
                      <a:pt x="0" y="78"/>
                      <a:pt x="4" y="89"/>
                      <a:pt x="12" y="95"/>
                    </a:cubicBezTo>
                    <a:cubicBezTo>
                      <a:pt x="42" y="117"/>
                      <a:pt x="42" y="117"/>
                      <a:pt x="42" y="117"/>
                    </a:cubicBezTo>
                    <a:cubicBezTo>
                      <a:pt x="31" y="152"/>
                      <a:pt x="31" y="152"/>
                      <a:pt x="31" y="152"/>
                    </a:cubicBezTo>
                    <a:cubicBezTo>
                      <a:pt x="27" y="162"/>
                      <a:pt x="31" y="173"/>
                      <a:pt x="39" y="179"/>
                    </a:cubicBezTo>
                    <a:cubicBezTo>
                      <a:pt x="44" y="182"/>
                      <a:pt x="48" y="184"/>
                      <a:pt x="53" y="184"/>
                    </a:cubicBezTo>
                    <a:cubicBezTo>
                      <a:pt x="58" y="184"/>
                      <a:pt x="63" y="182"/>
                      <a:pt x="68" y="179"/>
                    </a:cubicBezTo>
                    <a:cubicBezTo>
                      <a:pt x="97" y="157"/>
                      <a:pt x="97" y="157"/>
                      <a:pt x="97" y="157"/>
                    </a:cubicBezTo>
                    <a:cubicBezTo>
                      <a:pt x="127" y="179"/>
                      <a:pt x="127" y="179"/>
                      <a:pt x="127" y="179"/>
                    </a:cubicBezTo>
                    <a:cubicBezTo>
                      <a:pt x="131" y="182"/>
                      <a:pt x="136" y="184"/>
                      <a:pt x="141" y="184"/>
                    </a:cubicBezTo>
                    <a:cubicBezTo>
                      <a:pt x="146" y="184"/>
                      <a:pt x="151" y="182"/>
                      <a:pt x="155" y="179"/>
                    </a:cubicBezTo>
                    <a:cubicBezTo>
                      <a:pt x="164" y="173"/>
                      <a:pt x="167" y="162"/>
                      <a:pt x="164" y="152"/>
                    </a:cubicBezTo>
                    <a:cubicBezTo>
                      <a:pt x="153" y="117"/>
                      <a:pt x="153" y="117"/>
                      <a:pt x="153" y="117"/>
                    </a:cubicBezTo>
                    <a:cubicBezTo>
                      <a:pt x="182" y="96"/>
                      <a:pt x="182" y="96"/>
                      <a:pt x="182" y="96"/>
                    </a:cubicBezTo>
                    <a:cubicBezTo>
                      <a:pt x="188" y="91"/>
                      <a:pt x="193" y="84"/>
                      <a:pt x="193" y="76"/>
                    </a:cubicBezTo>
                    <a:cubicBezTo>
                      <a:pt x="193" y="63"/>
                      <a:pt x="182" y="52"/>
                      <a:pt x="169" y="52"/>
                    </a:cubicBezTo>
                    <a:cubicBezTo>
                      <a:pt x="169" y="52"/>
                      <a:pt x="169" y="52"/>
                      <a:pt x="169" y="52"/>
                    </a:cubicBezTo>
                    <a:cubicBezTo>
                      <a:pt x="132" y="52"/>
                      <a:pt x="132" y="52"/>
                      <a:pt x="132" y="52"/>
                    </a:cubicBezTo>
                    <a:cubicBezTo>
                      <a:pt x="120" y="17"/>
                      <a:pt x="120" y="17"/>
                      <a:pt x="120" y="17"/>
                    </a:cubicBezTo>
                    <a:cubicBezTo>
                      <a:pt x="117" y="7"/>
                      <a:pt x="108" y="0"/>
                      <a:pt x="97" y="0"/>
                    </a:cubicBezTo>
                    <a:close/>
                  </a:path>
                </a:pathLst>
              </a:custGeom>
              <a:solidFill>
                <a:srgbClr val="7AC2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163" name="Rectangle 162">
            <a:extLst>
              <a:ext uri="{FF2B5EF4-FFF2-40B4-BE49-F238E27FC236}">
                <a16:creationId xmlns:a16="http://schemas.microsoft.com/office/drawing/2014/main" id="{9A254DE9-97CA-44C9-A491-B8D134E3627F}"/>
              </a:ext>
            </a:extLst>
          </p:cNvPr>
          <p:cNvSpPr/>
          <p:nvPr/>
        </p:nvSpPr>
        <p:spPr>
          <a:xfrm>
            <a:off x="8492063" y="3555141"/>
            <a:ext cx="2918438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NEED MORE SLIDES?</a:t>
            </a:r>
          </a:p>
        </p:txBody>
      </p:sp>
      <p:sp>
        <p:nvSpPr>
          <p:cNvPr id="164" name="Rectangle 163">
            <a:extLst>
              <a:ext uri="{FF2B5EF4-FFF2-40B4-BE49-F238E27FC236}">
                <a16:creationId xmlns:a16="http://schemas.microsoft.com/office/drawing/2014/main" id="{D8FA849A-F78C-4CB5-AF83-DB2B6DE7A67A}"/>
              </a:ext>
            </a:extLst>
          </p:cNvPr>
          <p:cNvSpPr/>
          <p:nvPr/>
        </p:nvSpPr>
        <p:spPr>
          <a:xfrm>
            <a:off x="8797990" y="3876180"/>
            <a:ext cx="2306584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sk us about special enterprise pricing.</a:t>
            </a:r>
          </a:p>
        </p:txBody>
      </p:sp>
      <p:sp>
        <p:nvSpPr>
          <p:cNvPr id="184" name="Rounded Rectangle 109">
            <a:extLst>
              <a:ext uri="{FF2B5EF4-FFF2-40B4-BE49-F238E27FC236}">
                <a16:creationId xmlns:a16="http://schemas.microsoft.com/office/drawing/2014/main" id="{FE924B0A-EE56-47DC-A2B2-4E228E4169C0}"/>
              </a:ext>
            </a:extLst>
          </p:cNvPr>
          <p:cNvSpPr/>
          <p:nvPr/>
        </p:nvSpPr>
        <p:spPr>
          <a:xfrm>
            <a:off x="10744964" y="6914539"/>
            <a:ext cx="2094671" cy="354514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grpSp>
        <p:nvGrpSpPr>
          <p:cNvPr id="192" name="Group 191">
            <a:extLst>
              <a:ext uri="{FF2B5EF4-FFF2-40B4-BE49-F238E27FC236}">
                <a16:creationId xmlns:a16="http://schemas.microsoft.com/office/drawing/2014/main" id="{1BED403C-A43A-4B47-BB94-C2A67956DCC4}"/>
              </a:ext>
            </a:extLst>
          </p:cNvPr>
          <p:cNvGrpSpPr/>
          <p:nvPr/>
        </p:nvGrpSpPr>
        <p:grpSpPr>
          <a:xfrm>
            <a:off x="-1" y="4941426"/>
            <a:ext cx="12192000" cy="1909138"/>
            <a:chOff x="0" y="4948862"/>
            <a:chExt cx="12192000" cy="1909138"/>
          </a:xfrm>
        </p:grpSpPr>
        <p:sp>
          <p:nvSpPr>
            <p:cNvPr id="193" name="Freeform: Shape 192">
              <a:extLst>
                <a:ext uri="{FF2B5EF4-FFF2-40B4-BE49-F238E27FC236}">
                  <a16:creationId xmlns:a16="http://schemas.microsoft.com/office/drawing/2014/main" id="{45A43FA3-E6AD-4BC1-8F03-3B181CC959C7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4" name="Freeform: Shape 193">
              <a:extLst>
                <a:ext uri="{FF2B5EF4-FFF2-40B4-BE49-F238E27FC236}">
                  <a16:creationId xmlns:a16="http://schemas.microsoft.com/office/drawing/2014/main" id="{A3F741A2-2517-494A-868D-957D47F779A9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95" name="Group 194">
            <a:extLst>
              <a:ext uri="{FF2B5EF4-FFF2-40B4-BE49-F238E27FC236}">
                <a16:creationId xmlns:a16="http://schemas.microsoft.com/office/drawing/2014/main" id="{4FB97BD3-49D0-466F-B87A-29A1676F7288}"/>
              </a:ext>
            </a:extLst>
          </p:cNvPr>
          <p:cNvGrpSpPr/>
          <p:nvPr/>
        </p:nvGrpSpPr>
        <p:grpSpPr>
          <a:xfrm>
            <a:off x="10928712" y="6378850"/>
            <a:ext cx="947290" cy="270982"/>
            <a:chOff x="4103688" y="-2378075"/>
            <a:chExt cx="1309687" cy="374650"/>
          </a:xfrm>
          <a:solidFill>
            <a:srgbClr val="468DC3"/>
          </a:solidFill>
        </p:grpSpPr>
        <p:sp>
          <p:nvSpPr>
            <p:cNvPr id="196" name="Freeform 254">
              <a:extLst>
                <a:ext uri="{FF2B5EF4-FFF2-40B4-BE49-F238E27FC236}">
                  <a16:creationId xmlns:a16="http://schemas.microsoft.com/office/drawing/2014/main" id="{9F837505-F58C-430A-9373-2F8E4B18E6E4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3688" y="-2374900"/>
              <a:ext cx="182562" cy="288925"/>
            </a:xfrm>
            <a:custGeom>
              <a:avLst/>
              <a:gdLst>
                <a:gd name="T0" fmla="*/ 43 w 61"/>
                <a:gd name="T1" fmla="*/ 47 h 95"/>
                <a:gd name="T2" fmla="*/ 30 w 61"/>
                <a:gd name="T3" fmla="*/ 55 h 95"/>
                <a:gd name="T4" fmla="*/ 11 w 61"/>
                <a:gd name="T5" fmla="*/ 83 h 95"/>
                <a:gd name="T6" fmla="*/ 11 w 61"/>
                <a:gd name="T7" fmla="*/ 85 h 95"/>
                <a:gd name="T8" fmla="*/ 57 w 61"/>
                <a:gd name="T9" fmla="*/ 85 h 95"/>
                <a:gd name="T10" fmla="*/ 60 w 61"/>
                <a:gd name="T11" fmla="*/ 88 h 95"/>
                <a:gd name="T12" fmla="*/ 60 w 61"/>
                <a:gd name="T13" fmla="*/ 93 h 95"/>
                <a:gd name="T14" fmla="*/ 57 w 61"/>
                <a:gd name="T15" fmla="*/ 95 h 95"/>
                <a:gd name="T16" fmla="*/ 3 w 61"/>
                <a:gd name="T17" fmla="*/ 95 h 95"/>
                <a:gd name="T18" fmla="*/ 0 w 61"/>
                <a:gd name="T19" fmla="*/ 93 h 95"/>
                <a:gd name="T20" fmla="*/ 0 w 61"/>
                <a:gd name="T21" fmla="*/ 83 h 95"/>
                <a:gd name="T22" fmla="*/ 21 w 61"/>
                <a:gd name="T23" fmla="*/ 49 h 95"/>
                <a:gd name="T24" fmla="*/ 35 w 61"/>
                <a:gd name="T25" fmla="*/ 40 h 95"/>
                <a:gd name="T26" fmla="*/ 49 w 61"/>
                <a:gd name="T27" fmla="*/ 22 h 95"/>
                <a:gd name="T28" fmla="*/ 28 w 61"/>
                <a:gd name="T29" fmla="*/ 9 h 95"/>
                <a:gd name="T30" fmla="*/ 4 w 61"/>
                <a:gd name="T31" fmla="*/ 11 h 95"/>
                <a:gd name="T32" fmla="*/ 3 w 61"/>
                <a:gd name="T33" fmla="*/ 11 h 95"/>
                <a:gd name="T34" fmla="*/ 1 w 61"/>
                <a:gd name="T35" fmla="*/ 9 h 95"/>
                <a:gd name="T36" fmla="*/ 1 w 61"/>
                <a:gd name="T37" fmla="*/ 4 h 95"/>
                <a:gd name="T38" fmla="*/ 4 w 61"/>
                <a:gd name="T39" fmla="*/ 2 h 95"/>
                <a:gd name="T40" fmla="*/ 28 w 61"/>
                <a:gd name="T41" fmla="*/ 0 h 95"/>
                <a:gd name="T42" fmla="*/ 61 w 61"/>
                <a:gd name="T43" fmla="*/ 22 h 95"/>
                <a:gd name="T44" fmla="*/ 43 w 61"/>
                <a:gd name="T45" fmla="*/ 47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1" h="95">
                  <a:moveTo>
                    <a:pt x="43" y="47"/>
                  </a:moveTo>
                  <a:cubicBezTo>
                    <a:pt x="30" y="55"/>
                    <a:pt x="30" y="55"/>
                    <a:pt x="30" y="55"/>
                  </a:cubicBezTo>
                  <a:cubicBezTo>
                    <a:pt x="15" y="65"/>
                    <a:pt x="11" y="72"/>
                    <a:pt x="11" y="83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59" y="85"/>
                    <a:pt x="60" y="86"/>
                    <a:pt x="60" y="88"/>
                  </a:cubicBezTo>
                  <a:cubicBezTo>
                    <a:pt x="60" y="93"/>
                    <a:pt x="60" y="93"/>
                    <a:pt x="60" y="93"/>
                  </a:cubicBezTo>
                  <a:cubicBezTo>
                    <a:pt x="60" y="95"/>
                    <a:pt x="59" y="95"/>
                    <a:pt x="57" y="95"/>
                  </a:cubicBezTo>
                  <a:cubicBezTo>
                    <a:pt x="3" y="95"/>
                    <a:pt x="3" y="95"/>
                    <a:pt x="3" y="95"/>
                  </a:cubicBezTo>
                  <a:cubicBezTo>
                    <a:pt x="1" y="95"/>
                    <a:pt x="0" y="94"/>
                    <a:pt x="0" y="93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69"/>
                    <a:pt x="6" y="58"/>
                    <a:pt x="21" y="49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46" y="33"/>
                    <a:pt x="49" y="30"/>
                    <a:pt x="49" y="22"/>
                  </a:cubicBezTo>
                  <a:cubicBezTo>
                    <a:pt x="49" y="13"/>
                    <a:pt x="43" y="9"/>
                    <a:pt x="28" y="9"/>
                  </a:cubicBezTo>
                  <a:cubicBezTo>
                    <a:pt x="21" y="9"/>
                    <a:pt x="12" y="10"/>
                    <a:pt x="4" y="11"/>
                  </a:cubicBezTo>
                  <a:cubicBezTo>
                    <a:pt x="4" y="11"/>
                    <a:pt x="4" y="11"/>
                    <a:pt x="3" y="11"/>
                  </a:cubicBezTo>
                  <a:cubicBezTo>
                    <a:pt x="2" y="11"/>
                    <a:pt x="1" y="10"/>
                    <a:pt x="1" y="9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3"/>
                    <a:pt x="3" y="2"/>
                    <a:pt x="4" y="2"/>
                  </a:cubicBezTo>
                  <a:cubicBezTo>
                    <a:pt x="11" y="0"/>
                    <a:pt x="20" y="0"/>
                    <a:pt x="28" y="0"/>
                  </a:cubicBezTo>
                  <a:cubicBezTo>
                    <a:pt x="51" y="0"/>
                    <a:pt x="61" y="7"/>
                    <a:pt x="61" y="22"/>
                  </a:cubicBezTo>
                  <a:cubicBezTo>
                    <a:pt x="61" y="33"/>
                    <a:pt x="56" y="39"/>
                    <a:pt x="43" y="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7" name="Freeform 255">
              <a:extLst>
                <a:ext uri="{FF2B5EF4-FFF2-40B4-BE49-F238E27FC236}">
                  <a16:creationId xmlns:a16="http://schemas.microsoft.com/office/drawing/2014/main" id="{2DC673B3-9598-40CF-9563-7116FF8E1C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08463" y="-2308225"/>
              <a:ext cx="211137" cy="304800"/>
            </a:xfrm>
            <a:custGeom>
              <a:avLst/>
              <a:gdLst>
                <a:gd name="T0" fmla="*/ 68 w 70"/>
                <a:gd name="T1" fmla="*/ 74 h 100"/>
                <a:gd name="T2" fmla="*/ 56 w 70"/>
                <a:gd name="T3" fmla="*/ 74 h 100"/>
                <a:gd name="T4" fmla="*/ 56 w 70"/>
                <a:gd name="T5" fmla="*/ 98 h 100"/>
                <a:gd name="T6" fmla="*/ 54 w 70"/>
                <a:gd name="T7" fmla="*/ 100 h 100"/>
                <a:gd name="T8" fmla="*/ 46 w 70"/>
                <a:gd name="T9" fmla="*/ 100 h 100"/>
                <a:gd name="T10" fmla="*/ 44 w 70"/>
                <a:gd name="T11" fmla="*/ 98 h 100"/>
                <a:gd name="T12" fmla="*/ 44 w 70"/>
                <a:gd name="T13" fmla="*/ 74 h 100"/>
                <a:gd name="T14" fmla="*/ 5 w 70"/>
                <a:gd name="T15" fmla="*/ 74 h 100"/>
                <a:gd name="T16" fmla="*/ 0 w 70"/>
                <a:gd name="T17" fmla="*/ 68 h 100"/>
                <a:gd name="T18" fmla="*/ 0 w 70"/>
                <a:gd name="T19" fmla="*/ 63 h 100"/>
                <a:gd name="T20" fmla="*/ 1 w 70"/>
                <a:gd name="T21" fmla="*/ 58 h 100"/>
                <a:gd name="T22" fmla="*/ 41 w 70"/>
                <a:gd name="T23" fmla="*/ 2 h 100"/>
                <a:gd name="T24" fmla="*/ 45 w 70"/>
                <a:gd name="T25" fmla="*/ 0 h 100"/>
                <a:gd name="T26" fmla="*/ 52 w 70"/>
                <a:gd name="T27" fmla="*/ 0 h 100"/>
                <a:gd name="T28" fmla="*/ 56 w 70"/>
                <a:gd name="T29" fmla="*/ 3 h 100"/>
                <a:gd name="T30" fmla="*/ 56 w 70"/>
                <a:gd name="T31" fmla="*/ 63 h 100"/>
                <a:gd name="T32" fmla="*/ 68 w 70"/>
                <a:gd name="T33" fmla="*/ 63 h 100"/>
                <a:gd name="T34" fmla="*/ 70 w 70"/>
                <a:gd name="T35" fmla="*/ 66 h 100"/>
                <a:gd name="T36" fmla="*/ 70 w 70"/>
                <a:gd name="T37" fmla="*/ 71 h 100"/>
                <a:gd name="T38" fmla="*/ 68 w 70"/>
                <a:gd name="T39" fmla="*/ 74 h 100"/>
                <a:gd name="T40" fmla="*/ 44 w 70"/>
                <a:gd name="T41" fmla="*/ 17 h 100"/>
                <a:gd name="T42" fmla="*/ 43 w 70"/>
                <a:gd name="T43" fmla="*/ 17 h 100"/>
                <a:gd name="T44" fmla="*/ 43 w 70"/>
                <a:gd name="T45" fmla="*/ 17 h 100"/>
                <a:gd name="T46" fmla="*/ 42 w 70"/>
                <a:gd name="T47" fmla="*/ 17 h 100"/>
                <a:gd name="T48" fmla="*/ 11 w 70"/>
                <a:gd name="T49" fmla="*/ 61 h 100"/>
                <a:gd name="T50" fmla="*/ 11 w 70"/>
                <a:gd name="T51" fmla="*/ 63 h 100"/>
                <a:gd name="T52" fmla="*/ 12 w 70"/>
                <a:gd name="T53" fmla="*/ 63 h 100"/>
                <a:gd name="T54" fmla="*/ 44 w 70"/>
                <a:gd name="T55" fmla="*/ 63 h 100"/>
                <a:gd name="T56" fmla="*/ 44 w 70"/>
                <a:gd name="T57" fmla="*/ 17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0" h="100">
                  <a:moveTo>
                    <a:pt x="68" y="74"/>
                  </a:moveTo>
                  <a:cubicBezTo>
                    <a:pt x="56" y="74"/>
                    <a:pt x="56" y="74"/>
                    <a:pt x="56" y="74"/>
                  </a:cubicBezTo>
                  <a:cubicBezTo>
                    <a:pt x="56" y="98"/>
                    <a:pt x="56" y="98"/>
                    <a:pt x="56" y="98"/>
                  </a:cubicBezTo>
                  <a:cubicBezTo>
                    <a:pt x="56" y="99"/>
                    <a:pt x="55" y="100"/>
                    <a:pt x="54" y="100"/>
                  </a:cubicBezTo>
                  <a:cubicBezTo>
                    <a:pt x="46" y="100"/>
                    <a:pt x="46" y="100"/>
                    <a:pt x="46" y="100"/>
                  </a:cubicBezTo>
                  <a:cubicBezTo>
                    <a:pt x="44" y="100"/>
                    <a:pt x="44" y="99"/>
                    <a:pt x="44" y="98"/>
                  </a:cubicBezTo>
                  <a:cubicBezTo>
                    <a:pt x="44" y="74"/>
                    <a:pt x="44" y="74"/>
                    <a:pt x="44" y="74"/>
                  </a:cubicBezTo>
                  <a:cubicBezTo>
                    <a:pt x="5" y="74"/>
                    <a:pt x="5" y="74"/>
                    <a:pt x="5" y="74"/>
                  </a:cubicBezTo>
                  <a:cubicBezTo>
                    <a:pt x="1" y="74"/>
                    <a:pt x="0" y="72"/>
                    <a:pt x="0" y="68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1"/>
                    <a:pt x="0" y="60"/>
                    <a:pt x="1" y="58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41" y="1"/>
                    <a:pt x="42" y="0"/>
                    <a:pt x="45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5" y="0"/>
                    <a:pt x="56" y="1"/>
                    <a:pt x="56" y="3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68" y="63"/>
                    <a:pt x="68" y="63"/>
                    <a:pt x="68" y="63"/>
                  </a:cubicBezTo>
                  <a:cubicBezTo>
                    <a:pt x="69" y="63"/>
                    <a:pt x="70" y="64"/>
                    <a:pt x="70" y="66"/>
                  </a:cubicBezTo>
                  <a:cubicBezTo>
                    <a:pt x="70" y="71"/>
                    <a:pt x="70" y="71"/>
                    <a:pt x="70" y="71"/>
                  </a:cubicBezTo>
                  <a:cubicBezTo>
                    <a:pt x="70" y="73"/>
                    <a:pt x="69" y="74"/>
                    <a:pt x="68" y="74"/>
                  </a:cubicBezTo>
                  <a:close/>
                  <a:moveTo>
                    <a:pt x="44" y="17"/>
                  </a:moveTo>
                  <a:cubicBezTo>
                    <a:pt x="44" y="17"/>
                    <a:pt x="44" y="17"/>
                    <a:pt x="43" y="17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3" y="17"/>
                    <a:pt x="42" y="17"/>
                    <a:pt x="42" y="17"/>
                  </a:cubicBezTo>
                  <a:cubicBezTo>
                    <a:pt x="11" y="61"/>
                    <a:pt x="11" y="61"/>
                    <a:pt x="11" y="61"/>
                  </a:cubicBezTo>
                  <a:cubicBezTo>
                    <a:pt x="11" y="62"/>
                    <a:pt x="11" y="62"/>
                    <a:pt x="11" y="63"/>
                  </a:cubicBezTo>
                  <a:cubicBezTo>
                    <a:pt x="11" y="63"/>
                    <a:pt x="11" y="63"/>
                    <a:pt x="12" y="63"/>
                  </a:cubicBezTo>
                  <a:cubicBezTo>
                    <a:pt x="44" y="63"/>
                    <a:pt x="44" y="63"/>
                    <a:pt x="44" y="63"/>
                  </a:cubicBezTo>
                  <a:lnTo>
                    <a:pt x="44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8" name="Freeform 256">
              <a:extLst>
                <a:ext uri="{FF2B5EF4-FFF2-40B4-BE49-F238E27FC236}">
                  <a16:creationId xmlns:a16="http://schemas.microsoft.com/office/drawing/2014/main" id="{64ED6B7C-5205-4F5A-94CF-B178038719E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5025" y="-2374900"/>
              <a:ext cx="34925" cy="292100"/>
            </a:xfrm>
            <a:custGeom>
              <a:avLst/>
              <a:gdLst>
                <a:gd name="T0" fmla="*/ 11 w 12"/>
                <a:gd name="T1" fmla="*/ 95 h 96"/>
                <a:gd name="T2" fmla="*/ 10 w 12"/>
                <a:gd name="T3" fmla="*/ 96 h 96"/>
                <a:gd name="T4" fmla="*/ 3 w 12"/>
                <a:gd name="T5" fmla="*/ 96 h 96"/>
                <a:gd name="T6" fmla="*/ 1 w 12"/>
                <a:gd name="T7" fmla="*/ 95 h 96"/>
                <a:gd name="T8" fmla="*/ 0 w 12"/>
                <a:gd name="T9" fmla="*/ 93 h 96"/>
                <a:gd name="T10" fmla="*/ 0 w 12"/>
                <a:gd name="T11" fmla="*/ 2 h 96"/>
                <a:gd name="T12" fmla="*/ 1 w 12"/>
                <a:gd name="T13" fmla="*/ 1 h 96"/>
                <a:gd name="T14" fmla="*/ 3 w 12"/>
                <a:gd name="T15" fmla="*/ 0 h 96"/>
                <a:gd name="T16" fmla="*/ 10 w 12"/>
                <a:gd name="T17" fmla="*/ 0 h 96"/>
                <a:gd name="T18" fmla="*/ 11 w 12"/>
                <a:gd name="T19" fmla="*/ 1 h 96"/>
                <a:gd name="T20" fmla="*/ 12 w 12"/>
                <a:gd name="T21" fmla="*/ 2 h 96"/>
                <a:gd name="T22" fmla="*/ 12 w 12"/>
                <a:gd name="T23" fmla="*/ 93 h 96"/>
                <a:gd name="T24" fmla="*/ 11 w 12"/>
                <a:gd name="T25" fmla="*/ 9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96">
                  <a:moveTo>
                    <a:pt x="11" y="95"/>
                  </a:moveTo>
                  <a:cubicBezTo>
                    <a:pt x="11" y="95"/>
                    <a:pt x="10" y="96"/>
                    <a:pt x="10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2" y="96"/>
                    <a:pt x="1" y="95"/>
                    <a:pt x="1" y="95"/>
                  </a:cubicBezTo>
                  <a:cubicBezTo>
                    <a:pt x="0" y="94"/>
                    <a:pt x="0" y="94"/>
                    <a:pt x="0" y="9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1" y="0"/>
                    <a:pt x="11" y="1"/>
                  </a:cubicBezTo>
                  <a:cubicBezTo>
                    <a:pt x="12" y="1"/>
                    <a:pt x="12" y="2"/>
                    <a:pt x="12" y="2"/>
                  </a:cubicBezTo>
                  <a:cubicBezTo>
                    <a:pt x="12" y="93"/>
                    <a:pt x="12" y="93"/>
                    <a:pt x="12" y="93"/>
                  </a:cubicBezTo>
                  <a:cubicBezTo>
                    <a:pt x="12" y="94"/>
                    <a:pt x="12" y="94"/>
                    <a:pt x="11" y="9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9" name="Freeform 257">
              <a:extLst>
                <a:ext uri="{FF2B5EF4-FFF2-40B4-BE49-F238E27FC236}">
                  <a16:creationId xmlns:a16="http://schemas.microsoft.com/office/drawing/2014/main" id="{502E8264-1E78-402C-8062-41904FCF68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43450" y="-2378075"/>
              <a:ext cx="36512" cy="295275"/>
            </a:xfrm>
            <a:custGeom>
              <a:avLst/>
              <a:gdLst>
                <a:gd name="T0" fmla="*/ 11 w 12"/>
                <a:gd name="T1" fmla="*/ 15 h 97"/>
                <a:gd name="T2" fmla="*/ 9 w 12"/>
                <a:gd name="T3" fmla="*/ 15 h 97"/>
                <a:gd name="T4" fmla="*/ 3 w 12"/>
                <a:gd name="T5" fmla="*/ 15 h 97"/>
                <a:gd name="T6" fmla="*/ 1 w 12"/>
                <a:gd name="T7" fmla="*/ 15 h 97"/>
                <a:gd name="T8" fmla="*/ 0 w 12"/>
                <a:gd name="T9" fmla="*/ 13 h 97"/>
                <a:gd name="T10" fmla="*/ 0 w 12"/>
                <a:gd name="T11" fmla="*/ 3 h 97"/>
                <a:gd name="T12" fmla="*/ 1 w 12"/>
                <a:gd name="T13" fmla="*/ 1 h 97"/>
                <a:gd name="T14" fmla="*/ 3 w 12"/>
                <a:gd name="T15" fmla="*/ 0 h 97"/>
                <a:gd name="T16" fmla="*/ 9 w 12"/>
                <a:gd name="T17" fmla="*/ 0 h 97"/>
                <a:gd name="T18" fmla="*/ 11 w 12"/>
                <a:gd name="T19" fmla="*/ 1 h 97"/>
                <a:gd name="T20" fmla="*/ 12 w 12"/>
                <a:gd name="T21" fmla="*/ 3 h 97"/>
                <a:gd name="T22" fmla="*/ 12 w 12"/>
                <a:gd name="T23" fmla="*/ 13 h 97"/>
                <a:gd name="T24" fmla="*/ 11 w 12"/>
                <a:gd name="T25" fmla="*/ 15 h 97"/>
                <a:gd name="T26" fmla="*/ 11 w 12"/>
                <a:gd name="T27" fmla="*/ 96 h 97"/>
                <a:gd name="T28" fmla="*/ 9 w 12"/>
                <a:gd name="T29" fmla="*/ 97 h 97"/>
                <a:gd name="T30" fmla="*/ 3 w 12"/>
                <a:gd name="T31" fmla="*/ 97 h 97"/>
                <a:gd name="T32" fmla="*/ 1 w 12"/>
                <a:gd name="T33" fmla="*/ 96 h 97"/>
                <a:gd name="T34" fmla="*/ 0 w 12"/>
                <a:gd name="T35" fmla="*/ 94 h 97"/>
                <a:gd name="T36" fmla="*/ 0 w 12"/>
                <a:gd name="T37" fmla="*/ 29 h 97"/>
                <a:gd name="T38" fmla="*/ 1 w 12"/>
                <a:gd name="T39" fmla="*/ 27 h 97"/>
                <a:gd name="T40" fmla="*/ 3 w 12"/>
                <a:gd name="T41" fmla="*/ 27 h 97"/>
                <a:gd name="T42" fmla="*/ 9 w 12"/>
                <a:gd name="T43" fmla="*/ 27 h 97"/>
                <a:gd name="T44" fmla="*/ 11 w 12"/>
                <a:gd name="T45" fmla="*/ 27 h 97"/>
                <a:gd name="T46" fmla="*/ 12 w 12"/>
                <a:gd name="T47" fmla="*/ 29 h 97"/>
                <a:gd name="T48" fmla="*/ 12 w 12"/>
                <a:gd name="T49" fmla="*/ 94 h 97"/>
                <a:gd name="T50" fmla="*/ 11 w 12"/>
                <a:gd name="T51" fmla="*/ 96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" h="97">
                  <a:moveTo>
                    <a:pt x="11" y="15"/>
                  </a:moveTo>
                  <a:cubicBezTo>
                    <a:pt x="11" y="15"/>
                    <a:pt x="10" y="15"/>
                    <a:pt x="9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2" y="15"/>
                    <a:pt x="1" y="15"/>
                    <a:pt x="1" y="15"/>
                  </a:cubicBezTo>
                  <a:cubicBezTo>
                    <a:pt x="0" y="14"/>
                    <a:pt x="0" y="14"/>
                    <a:pt x="0" y="1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0"/>
                    <a:pt x="11" y="0"/>
                    <a:pt x="11" y="1"/>
                  </a:cubicBezTo>
                  <a:cubicBezTo>
                    <a:pt x="12" y="1"/>
                    <a:pt x="12" y="2"/>
                    <a:pt x="12" y="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4"/>
                    <a:pt x="12" y="14"/>
                    <a:pt x="11" y="15"/>
                  </a:cubicBezTo>
                  <a:close/>
                  <a:moveTo>
                    <a:pt x="11" y="96"/>
                  </a:moveTo>
                  <a:cubicBezTo>
                    <a:pt x="10" y="96"/>
                    <a:pt x="10" y="97"/>
                    <a:pt x="9" y="97"/>
                  </a:cubicBezTo>
                  <a:cubicBezTo>
                    <a:pt x="3" y="97"/>
                    <a:pt x="3" y="97"/>
                    <a:pt x="3" y="97"/>
                  </a:cubicBezTo>
                  <a:cubicBezTo>
                    <a:pt x="2" y="97"/>
                    <a:pt x="1" y="96"/>
                    <a:pt x="1" y="96"/>
                  </a:cubicBezTo>
                  <a:cubicBezTo>
                    <a:pt x="0" y="95"/>
                    <a:pt x="0" y="95"/>
                    <a:pt x="0" y="94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8"/>
                    <a:pt x="0" y="28"/>
                    <a:pt x="1" y="27"/>
                  </a:cubicBezTo>
                  <a:cubicBezTo>
                    <a:pt x="1" y="27"/>
                    <a:pt x="2" y="27"/>
                    <a:pt x="3" y="27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10" y="27"/>
                    <a:pt x="10" y="27"/>
                    <a:pt x="11" y="27"/>
                  </a:cubicBezTo>
                  <a:cubicBezTo>
                    <a:pt x="11" y="28"/>
                    <a:pt x="12" y="28"/>
                    <a:pt x="12" y="29"/>
                  </a:cubicBezTo>
                  <a:cubicBezTo>
                    <a:pt x="12" y="94"/>
                    <a:pt x="12" y="94"/>
                    <a:pt x="12" y="94"/>
                  </a:cubicBezTo>
                  <a:cubicBezTo>
                    <a:pt x="12" y="95"/>
                    <a:pt x="11" y="95"/>
                    <a:pt x="11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0" name="Freeform 258">
              <a:extLst>
                <a:ext uri="{FF2B5EF4-FFF2-40B4-BE49-F238E27FC236}">
                  <a16:creationId xmlns:a16="http://schemas.microsoft.com/office/drawing/2014/main" id="{647CC5EE-ED70-4B94-9CC8-79E89A43556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30763" y="-2374900"/>
              <a:ext cx="171450" cy="295275"/>
            </a:xfrm>
            <a:custGeom>
              <a:avLst/>
              <a:gdLst>
                <a:gd name="T0" fmla="*/ 56 w 57"/>
                <a:gd name="T1" fmla="*/ 93 h 97"/>
                <a:gd name="T2" fmla="*/ 54 w 57"/>
                <a:gd name="T3" fmla="*/ 94 h 97"/>
                <a:gd name="T4" fmla="*/ 41 w 57"/>
                <a:gd name="T5" fmla="*/ 96 h 97"/>
                <a:gd name="T6" fmla="*/ 29 w 57"/>
                <a:gd name="T7" fmla="*/ 97 h 97"/>
                <a:gd name="T8" fmla="*/ 16 w 57"/>
                <a:gd name="T9" fmla="*/ 94 h 97"/>
                <a:gd name="T10" fmla="*/ 7 w 57"/>
                <a:gd name="T11" fmla="*/ 88 h 97"/>
                <a:gd name="T12" fmla="*/ 2 w 57"/>
                <a:gd name="T13" fmla="*/ 78 h 97"/>
                <a:gd name="T14" fmla="*/ 0 w 57"/>
                <a:gd name="T15" fmla="*/ 65 h 97"/>
                <a:gd name="T16" fmla="*/ 0 w 57"/>
                <a:gd name="T17" fmla="*/ 56 h 97"/>
                <a:gd name="T18" fmla="*/ 7 w 57"/>
                <a:gd name="T19" fmla="*/ 33 h 97"/>
                <a:gd name="T20" fmla="*/ 29 w 57"/>
                <a:gd name="T21" fmla="*/ 25 h 97"/>
                <a:gd name="T22" fmla="*/ 37 w 57"/>
                <a:gd name="T23" fmla="*/ 25 h 97"/>
                <a:gd name="T24" fmla="*/ 45 w 57"/>
                <a:gd name="T25" fmla="*/ 26 h 97"/>
                <a:gd name="T26" fmla="*/ 45 w 57"/>
                <a:gd name="T27" fmla="*/ 2 h 97"/>
                <a:gd name="T28" fmla="*/ 46 w 57"/>
                <a:gd name="T29" fmla="*/ 1 h 97"/>
                <a:gd name="T30" fmla="*/ 47 w 57"/>
                <a:gd name="T31" fmla="*/ 0 h 97"/>
                <a:gd name="T32" fmla="*/ 54 w 57"/>
                <a:gd name="T33" fmla="*/ 0 h 97"/>
                <a:gd name="T34" fmla="*/ 56 w 57"/>
                <a:gd name="T35" fmla="*/ 1 h 97"/>
                <a:gd name="T36" fmla="*/ 57 w 57"/>
                <a:gd name="T37" fmla="*/ 2 h 97"/>
                <a:gd name="T38" fmla="*/ 57 w 57"/>
                <a:gd name="T39" fmla="*/ 91 h 97"/>
                <a:gd name="T40" fmla="*/ 56 w 57"/>
                <a:gd name="T41" fmla="*/ 93 h 97"/>
                <a:gd name="T42" fmla="*/ 45 w 57"/>
                <a:gd name="T43" fmla="*/ 35 h 97"/>
                <a:gd name="T44" fmla="*/ 37 w 57"/>
                <a:gd name="T45" fmla="*/ 35 h 97"/>
                <a:gd name="T46" fmla="*/ 29 w 57"/>
                <a:gd name="T47" fmla="*/ 35 h 97"/>
                <a:gd name="T48" fmla="*/ 16 w 57"/>
                <a:gd name="T49" fmla="*/ 40 h 97"/>
                <a:gd name="T50" fmla="*/ 12 w 57"/>
                <a:gd name="T51" fmla="*/ 56 h 97"/>
                <a:gd name="T52" fmla="*/ 12 w 57"/>
                <a:gd name="T53" fmla="*/ 65 h 97"/>
                <a:gd name="T54" fmla="*/ 16 w 57"/>
                <a:gd name="T55" fmla="*/ 81 h 97"/>
                <a:gd name="T56" fmla="*/ 29 w 57"/>
                <a:gd name="T57" fmla="*/ 87 h 97"/>
                <a:gd name="T58" fmla="*/ 37 w 57"/>
                <a:gd name="T59" fmla="*/ 86 h 97"/>
                <a:gd name="T60" fmla="*/ 45 w 57"/>
                <a:gd name="T61" fmla="*/ 86 h 97"/>
                <a:gd name="T62" fmla="*/ 45 w 57"/>
                <a:gd name="T63" fmla="*/ 35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7" h="97">
                  <a:moveTo>
                    <a:pt x="56" y="93"/>
                  </a:moveTo>
                  <a:cubicBezTo>
                    <a:pt x="56" y="94"/>
                    <a:pt x="55" y="94"/>
                    <a:pt x="54" y="94"/>
                  </a:cubicBezTo>
                  <a:cubicBezTo>
                    <a:pt x="50" y="95"/>
                    <a:pt x="46" y="96"/>
                    <a:pt x="41" y="96"/>
                  </a:cubicBezTo>
                  <a:cubicBezTo>
                    <a:pt x="37" y="96"/>
                    <a:pt x="33" y="97"/>
                    <a:pt x="29" y="97"/>
                  </a:cubicBezTo>
                  <a:cubicBezTo>
                    <a:pt x="24" y="97"/>
                    <a:pt x="20" y="96"/>
                    <a:pt x="16" y="94"/>
                  </a:cubicBezTo>
                  <a:cubicBezTo>
                    <a:pt x="13" y="93"/>
                    <a:pt x="10" y="91"/>
                    <a:pt x="7" y="88"/>
                  </a:cubicBezTo>
                  <a:cubicBezTo>
                    <a:pt x="5" y="85"/>
                    <a:pt x="3" y="82"/>
                    <a:pt x="2" y="78"/>
                  </a:cubicBezTo>
                  <a:cubicBezTo>
                    <a:pt x="1" y="74"/>
                    <a:pt x="0" y="70"/>
                    <a:pt x="0" y="6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46"/>
                    <a:pt x="3" y="38"/>
                    <a:pt x="7" y="33"/>
                  </a:cubicBezTo>
                  <a:cubicBezTo>
                    <a:pt x="12" y="27"/>
                    <a:pt x="19" y="25"/>
                    <a:pt x="29" y="25"/>
                  </a:cubicBezTo>
                  <a:cubicBezTo>
                    <a:pt x="31" y="25"/>
                    <a:pt x="34" y="25"/>
                    <a:pt x="37" y="25"/>
                  </a:cubicBezTo>
                  <a:cubicBezTo>
                    <a:pt x="40" y="25"/>
                    <a:pt x="42" y="26"/>
                    <a:pt x="45" y="26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5" y="2"/>
                    <a:pt x="45" y="1"/>
                    <a:pt x="46" y="1"/>
                  </a:cubicBezTo>
                  <a:cubicBezTo>
                    <a:pt x="46" y="0"/>
                    <a:pt x="47" y="0"/>
                    <a:pt x="47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5" y="0"/>
                    <a:pt x="56" y="0"/>
                    <a:pt x="56" y="1"/>
                  </a:cubicBezTo>
                  <a:cubicBezTo>
                    <a:pt x="56" y="1"/>
                    <a:pt x="57" y="2"/>
                    <a:pt x="57" y="2"/>
                  </a:cubicBezTo>
                  <a:cubicBezTo>
                    <a:pt x="57" y="91"/>
                    <a:pt x="57" y="91"/>
                    <a:pt x="57" y="91"/>
                  </a:cubicBezTo>
                  <a:cubicBezTo>
                    <a:pt x="57" y="92"/>
                    <a:pt x="57" y="93"/>
                    <a:pt x="56" y="93"/>
                  </a:cubicBezTo>
                  <a:close/>
                  <a:moveTo>
                    <a:pt x="45" y="35"/>
                  </a:moveTo>
                  <a:cubicBezTo>
                    <a:pt x="43" y="35"/>
                    <a:pt x="40" y="35"/>
                    <a:pt x="37" y="35"/>
                  </a:cubicBezTo>
                  <a:cubicBezTo>
                    <a:pt x="34" y="35"/>
                    <a:pt x="31" y="35"/>
                    <a:pt x="29" y="35"/>
                  </a:cubicBezTo>
                  <a:cubicBezTo>
                    <a:pt x="23" y="35"/>
                    <a:pt x="18" y="36"/>
                    <a:pt x="16" y="40"/>
                  </a:cubicBezTo>
                  <a:cubicBezTo>
                    <a:pt x="13" y="44"/>
                    <a:pt x="12" y="49"/>
                    <a:pt x="12" y="56"/>
                  </a:cubicBezTo>
                  <a:cubicBezTo>
                    <a:pt x="12" y="65"/>
                    <a:pt x="12" y="65"/>
                    <a:pt x="12" y="65"/>
                  </a:cubicBezTo>
                  <a:cubicBezTo>
                    <a:pt x="12" y="72"/>
                    <a:pt x="13" y="77"/>
                    <a:pt x="16" y="81"/>
                  </a:cubicBezTo>
                  <a:cubicBezTo>
                    <a:pt x="18" y="85"/>
                    <a:pt x="23" y="87"/>
                    <a:pt x="29" y="87"/>
                  </a:cubicBezTo>
                  <a:cubicBezTo>
                    <a:pt x="32" y="87"/>
                    <a:pt x="34" y="87"/>
                    <a:pt x="37" y="86"/>
                  </a:cubicBezTo>
                  <a:cubicBezTo>
                    <a:pt x="40" y="86"/>
                    <a:pt x="43" y="86"/>
                    <a:pt x="45" y="86"/>
                  </a:cubicBezTo>
                  <a:lnTo>
                    <a:pt x="45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1" name="Freeform 259">
              <a:extLst>
                <a:ext uri="{FF2B5EF4-FFF2-40B4-BE49-F238E27FC236}">
                  <a16:creationId xmlns:a16="http://schemas.microsoft.com/office/drawing/2014/main" id="{5DCFFD9E-33C1-45DE-88EB-C3794A3154A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46663" y="-2298700"/>
              <a:ext cx="180975" cy="219075"/>
            </a:xfrm>
            <a:custGeom>
              <a:avLst/>
              <a:gdLst>
                <a:gd name="T0" fmla="*/ 57 w 60"/>
                <a:gd name="T1" fmla="*/ 39 h 72"/>
                <a:gd name="T2" fmla="*/ 12 w 60"/>
                <a:gd name="T3" fmla="*/ 39 h 72"/>
                <a:gd name="T4" fmla="*/ 12 w 60"/>
                <a:gd name="T5" fmla="*/ 41 h 72"/>
                <a:gd name="T6" fmla="*/ 17 w 60"/>
                <a:gd name="T7" fmla="*/ 57 h 72"/>
                <a:gd name="T8" fmla="*/ 31 w 60"/>
                <a:gd name="T9" fmla="*/ 62 h 72"/>
                <a:gd name="T10" fmla="*/ 43 w 60"/>
                <a:gd name="T11" fmla="*/ 61 h 72"/>
                <a:gd name="T12" fmla="*/ 55 w 60"/>
                <a:gd name="T13" fmla="*/ 60 h 72"/>
                <a:gd name="T14" fmla="*/ 55 w 60"/>
                <a:gd name="T15" fmla="*/ 60 h 72"/>
                <a:gd name="T16" fmla="*/ 57 w 60"/>
                <a:gd name="T17" fmla="*/ 61 h 72"/>
                <a:gd name="T18" fmla="*/ 57 w 60"/>
                <a:gd name="T19" fmla="*/ 62 h 72"/>
                <a:gd name="T20" fmla="*/ 57 w 60"/>
                <a:gd name="T21" fmla="*/ 66 h 72"/>
                <a:gd name="T22" fmla="*/ 57 w 60"/>
                <a:gd name="T23" fmla="*/ 68 h 72"/>
                <a:gd name="T24" fmla="*/ 55 w 60"/>
                <a:gd name="T25" fmla="*/ 69 h 72"/>
                <a:gd name="T26" fmla="*/ 43 w 60"/>
                <a:gd name="T27" fmla="*/ 71 h 72"/>
                <a:gd name="T28" fmla="*/ 31 w 60"/>
                <a:gd name="T29" fmla="*/ 72 h 72"/>
                <a:gd name="T30" fmla="*/ 20 w 60"/>
                <a:gd name="T31" fmla="*/ 70 h 72"/>
                <a:gd name="T32" fmla="*/ 10 w 60"/>
                <a:gd name="T33" fmla="*/ 65 h 72"/>
                <a:gd name="T34" fmla="*/ 3 w 60"/>
                <a:gd name="T35" fmla="*/ 56 h 72"/>
                <a:gd name="T36" fmla="*/ 0 w 60"/>
                <a:gd name="T37" fmla="*/ 41 h 72"/>
                <a:gd name="T38" fmla="*/ 0 w 60"/>
                <a:gd name="T39" fmla="*/ 29 h 72"/>
                <a:gd name="T40" fmla="*/ 8 w 60"/>
                <a:gd name="T41" fmla="*/ 8 h 72"/>
                <a:gd name="T42" fmla="*/ 30 w 60"/>
                <a:gd name="T43" fmla="*/ 0 h 72"/>
                <a:gd name="T44" fmla="*/ 43 w 60"/>
                <a:gd name="T45" fmla="*/ 2 h 72"/>
                <a:gd name="T46" fmla="*/ 52 w 60"/>
                <a:gd name="T47" fmla="*/ 8 h 72"/>
                <a:gd name="T48" fmla="*/ 58 w 60"/>
                <a:gd name="T49" fmla="*/ 17 h 72"/>
                <a:gd name="T50" fmla="*/ 60 w 60"/>
                <a:gd name="T51" fmla="*/ 29 h 72"/>
                <a:gd name="T52" fmla="*/ 60 w 60"/>
                <a:gd name="T53" fmla="*/ 36 h 72"/>
                <a:gd name="T54" fmla="*/ 57 w 60"/>
                <a:gd name="T55" fmla="*/ 39 h 72"/>
                <a:gd name="T56" fmla="*/ 48 w 60"/>
                <a:gd name="T57" fmla="*/ 29 h 72"/>
                <a:gd name="T58" fmla="*/ 43 w 60"/>
                <a:gd name="T59" fmla="*/ 14 h 72"/>
                <a:gd name="T60" fmla="*/ 30 w 60"/>
                <a:gd name="T61" fmla="*/ 10 h 72"/>
                <a:gd name="T62" fmla="*/ 17 w 60"/>
                <a:gd name="T63" fmla="*/ 14 h 72"/>
                <a:gd name="T64" fmla="*/ 12 w 60"/>
                <a:gd name="T65" fmla="*/ 29 h 72"/>
                <a:gd name="T66" fmla="*/ 12 w 60"/>
                <a:gd name="T67" fmla="*/ 31 h 72"/>
                <a:gd name="T68" fmla="*/ 48 w 60"/>
                <a:gd name="T69" fmla="*/ 31 h 72"/>
                <a:gd name="T70" fmla="*/ 48 w 60"/>
                <a:gd name="T71" fmla="*/ 29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0" h="72">
                  <a:moveTo>
                    <a:pt x="57" y="39"/>
                  </a:moveTo>
                  <a:cubicBezTo>
                    <a:pt x="12" y="39"/>
                    <a:pt x="12" y="39"/>
                    <a:pt x="12" y="39"/>
                  </a:cubicBezTo>
                  <a:cubicBezTo>
                    <a:pt x="12" y="41"/>
                    <a:pt x="12" y="41"/>
                    <a:pt x="12" y="41"/>
                  </a:cubicBezTo>
                  <a:cubicBezTo>
                    <a:pt x="12" y="49"/>
                    <a:pt x="14" y="54"/>
                    <a:pt x="17" y="57"/>
                  </a:cubicBezTo>
                  <a:cubicBezTo>
                    <a:pt x="20" y="60"/>
                    <a:pt x="25" y="62"/>
                    <a:pt x="31" y="62"/>
                  </a:cubicBezTo>
                  <a:cubicBezTo>
                    <a:pt x="35" y="62"/>
                    <a:pt x="39" y="62"/>
                    <a:pt x="43" y="61"/>
                  </a:cubicBezTo>
                  <a:cubicBezTo>
                    <a:pt x="48" y="61"/>
                    <a:pt x="51" y="61"/>
                    <a:pt x="55" y="60"/>
                  </a:cubicBezTo>
                  <a:cubicBezTo>
                    <a:pt x="55" y="60"/>
                    <a:pt x="55" y="60"/>
                    <a:pt x="55" y="60"/>
                  </a:cubicBezTo>
                  <a:cubicBezTo>
                    <a:pt x="56" y="60"/>
                    <a:pt x="56" y="60"/>
                    <a:pt x="57" y="61"/>
                  </a:cubicBezTo>
                  <a:cubicBezTo>
                    <a:pt x="57" y="61"/>
                    <a:pt x="57" y="61"/>
                    <a:pt x="57" y="62"/>
                  </a:cubicBezTo>
                  <a:cubicBezTo>
                    <a:pt x="57" y="66"/>
                    <a:pt x="57" y="66"/>
                    <a:pt x="57" y="66"/>
                  </a:cubicBezTo>
                  <a:cubicBezTo>
                    <a:pt x="57" y="67"/>
                    <a:pt x="57" y="68"/>
                    <a:pt x="57" y="68"/>
                  </a:cubicBezTo>
                  <a:cubicBezTo>
                    <a:pt x="56" y="69"/>
                    <a:pt x="56" y="69"/>
                    <a:pt x="55" y="69"/>
                  </a:cubicBezTo>
                  <a:cubicBezTo>
                    <a:pt x="51" y="70"/>
                    <a:pt x="47" y="71"/>
                    <a:pt x="43" y="71"/>
                  </a:cubicBezTo>
                  <a:cubicBezTo>
                    <a:pt x="39" y="71"/>
                    <a:pt x="35" y="72"/>
                    <a:pt x="31" y="72"/>
                  </a:cubicBezTo>
                  <a:cubicBezTo>
                    <a:pt x="27" y="72"/>
                    <a:pt x="23" y="71"/>
                    <a:pt x="20" y="70"/>
                  </a:cubicBezTo>
                  <a:cubicBezTo>
                    <a:pt x="16" y="69"/>
                    <a:pt x="13" y="67"/>
                    <a:pt x="10" y="65"/>
                  </a:cubicBezTo>
                  <a:cubicBezTo>
                    <a:pt x="7" y="63"/>
                    <a:pt x="5" y="60"/>
                    <a:pt x="3" y="56"/>
                  </a:cubicBezTo>
                  <a:cubicBezTo>
                    <a:pt x="1" y="52"/>
                    <a:pt x="0" y="47"/>
                    <a:pt x="0" y="41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3" y="13"/>
                    <a:pt x="8" y="8"/>
                  </a:cubicBezTo>
                  <a:cubicBezTo>
                    <a:pt x="13" y="2"/>
                    <a:pt x="20" y="0"/>
                    <a:pt x="30" y="0"/>
                  </a:cubicBezTo>
                  <a:cubicBezTo>
                    <a:pt x="35" y="0"/>
                    <a:pt x="39" y="0"/>
                    <a:pt x="43" y="2"/>
                  </a:cubicBezTo>
                  <a:cubicBezTo>
                    <a:pt x="47" y="3"/>
                    <a:pt x="50" y="5"/>
                    <a:pt x="52" y="8"/>
                  </a:cubicBezTo>
                  <a:cubicBezTo>
                    <a:pt x="55" y="10"/>
                    <a:pt x="56" y="14"/>
                    <a:pt x="58" y="17"/>
                  </a:cubicBezTo>
                  <a:cubicBezTo>
                    <a:pt x="59" y="21"/>
                    <a:pt x="60" y="25"/>
                    <a:pt x="60" y="29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60" y="38"/>
                    <a:pt x="59" y="39"/>
                    <a:pt x="57" y="39"/>
                  </a:cubicBezTo>
                  <a:close/>
                  <a:moveTo>
                    <a:pt x="48" y="29"/>
                  </a:moveTo>
                  <a:cubicBezTo>
                    <a:pt x="48" y="22"/>
                    <a:pt x="46" y="17"/>
                    <a:pt x="43" y="14"/>
                  </a:cubicBezTo>
                  <a:cubicBezTo>
                    <a:pt x="40" y="11"/>
                    <a:pt x="36" y="10"/>
                    <a:pt x="30" y="10"/>
                  </a:cubicBezTo>
                  <a:cubicBezTo>
                    <a:pt x="24" y="10"/>
                    <a:pt x="20" y="11"/>
                    <a:pt x="17" y="14"/>
                  </a:cubicBezTo>
                  <a:cubicBezTo>
                    <a:pt x="14" y="18"/>
                    <a:pt x="12" y="23"/>
                    <a:pt x="12" y="29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48" y="31"/>
                    <a:pt x="48" y="31"/>
                    <a:pt x="48" y="31"/>
                  </a:cubicBezTo>
                  <a:lnTo>
                    <a:pt x="48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2" name="Freeform 260">
              <a:extLst>
                <a:ext uri="{FF2B5EF4-FFF2-40B4-BE49-F238E27FC236}">
                  <a16:creationId xmlns:a16="http://schemas.microsoft.com/office/drawing/2014/main" id="{8D7DE8EB-EA55-4012-A945-DAAAF31F65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5738" y="-2298700"/>
              <a:ext cx="147637" cy="219075"/>
            </a:xfrm>
            <a:custGeom>
              <a:avLst/>
              <a:gdLst>
                <a:gd name="T0" fmla="*/ 49 w 49"/>
                <a:gd name="T1" fmla="*/ 53 h 72"/>
                <a:gd name="T2" fmla="*/ 42 w 49"/>
                <a:gd name="T3" fmla="*/ 67 h 72"/>
                <a:gd name="T4" fmla="*/ 24 w 49"/>
                <a:gd name="T5" fmla="*/ 72 h 72"/>
                <a:gd name="T6" fmla="*/ 20 w 49"/>
                <a:gd name="T7" fmla="*/ 71 h 72"/>
                <a:gd name="T8" fmla="*/ 14 w 49"/>
                <a:gd name="T9" fmla="*/ 71 h 72"/>
                <a:gd name="T10" fmla="*/ 8 w 49"/>
                <a:gd name="T11" fmla="*/ 70 h 72"/>
                <a:gd name="T12" fmla="*/ 3 w 49"/>
                <a:gd name="T13" fmla="*/ 70 h 72"/>
                <a:gd name="T14" fmla="*/ 0 w 49"/>
                <a:gd name="T15" fmla="*/ 67 h 72"/>
                <a:gd name="T16" fmla="*/ 0 w 49"/>
                <a:gd name="T17" fmla="*/ 63 h 72"/>
                <a:gd name="T18" fmla="*/ 1 w 49"/>
                <a:gd name="T19" fmla="*/ 61 h 72"/>
                <a:gd name="T20" fmla="*/ 3 w 49"/>
                <a:gd name="T21" fmla="*/ 61 h 72"/>
                <a:gd name="T22" fmla="*/ 3 w 49"/>
                <a:gd name="T23" fmla="*/ 61 h 72"/>
                <a:gd name="T24" fmla="*/ 8 w 49"/>
                <a:gd name="T25" fmla="*/ 61 h 72"/>
                <a:gd name="T26" fmla="*/ 14 w 49"/>
                <a:gd name="T27" fmla="*/ 62 h 72"/>
                <a:gd name="T28" fmla="*/ 20 w 49"/>
                <a:gd name="T29" fmla="*/ 62 h 72"/>
                <a:gd name="T30" fmla="*/ 24 w 49"/>
                <a:gd name="T31" fmla="*/ 62 h 72"/>
                <a:gd name="T32" fmla="*/ 34 w 49"/>
                <a:gd name="T33" fmla="*/ 60 h 72"/>
                <a:gd name="T34" fmla="*/ 37 w 49"/>
                <a:gd name="T35" fmla="*/ 53 h 72"/>
                <a:gd name="T36" fmla="*/ 35 w 49"/>
                <a:gd name="T37" fmla="*/ 48 h 72"/>
                <a:gd name="T38" fmla="*/ 27 w 49"/>
                <a:gd name="T39" fmla="*/ 42 h 72"/>
                <a:gd name="T40" fmla="*/ 14 w 49"/>
                <a:gd name="T41" fmla="*/ 35 h 72"/>
                <a:gd name="T42" fmla="*/ 4 w 49"/>
                <a:gd name="T43" fmla="*/ 27 h 72"/>
                <a:gd name="T44" fmla="*/ 0 w 49"/>
                <a:gd name="T45" fmla="*/ 17 h 72"/>
                <a:gd name="T46" fmla="*/ 2 w 49"/>
                <a:gd name="T47" fmla="*/ 8 h 72"/>
                <a:gd name="T48" fmla="*/ 7 w 49"/>
                <a:gd name="T49" fmla="*/ 3 h 72"/>
                <a:gd name="T50" fmla="*/ 15 w 49"/>
                <a:gd name="T51" fmla="*/ 0 h 72"/>
                <a:gd name="T52" fmla="*/ 24 w 49"/>
                <a:gd name="T53" fmla="*/ 0 h 72"/>
                <a:gd name="T54" fmla="*/ 35 w 49"/>
                <a:gd name="T55" fmla="*/ 0 h 72"/>
                <a:gd name="T56" fmla="*/ 45 w 49"/>
                <a:gd name="T57" fmla="*/ 1 h 72"/>
                <a:gd name="T58" fmla="*/ 48 w 49"/>
                <a:gd name="T59" fmla="*/ 4 h 72"/>
                <a:gd name="T60" fmla="*/ 48 w 49"/>
                <a:gd name="T61" fmla="*/ 8 h 72"/>
                <a:gd name="T62" fmla="*/ 45 w 49"/>
                <a:gd name="T63" fmla="*/ 10 h 72"/>
                <a:gd name="T64" fmla="*/ 45 w 49"/>
                <a:gd name="T65" fmla="*/ 10 h 72"/>
                <a:gd name="T66" fmla="*/ 36 w 49"/>
                <a:gd name="T67" fmla="*/ 10 h 72"/>
                <a:gd name="T68" fmla="*/ 24 w 49"/>
                <a:gd name="T69" fmla="*/ 9 h 72"/>
                <a:gd name="T70" fmla="*/ 15 w 49"/>
                <a:gd name="T71" fmla="*/ 11 h 72"/>
                <a:gd name="T72" fmla="*/ 12 w 49"/>
                <a:gd name="T73" fmla="*/ 17 h 72"/>
                <a:gd name="T74" fmla="*/ 14 w 49"/>
                <a:gd name="T75" fmla="*/ 22 h 72"/>
                <a:gd name="T76" fmla="*/ 21 w 49"/>
                <a:gd name="T77" fmla="*/ 26 h 72"/>
                <a:gd name="T78" fmla="*/ 34 w 49"/>
                <a:gd name="T79" fmla="*/ 34 h 72"/>
                <a:gd name="T80" fmla="*/ 46 w 49"/>
                <a:gd name="T81" fmla="*/ 43 h 72"/>
                <a:gd name="T82" fmla="*/ 49 w 49"/>
                <a:gd name="T83" fmla="*/ 53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9" h="72">
                  <a:moveTo>
                    <a:pt x="49" y="53"/>
                  </a:moveTo>
                  <a:cubicBezTo>
                    <a:pt x="49" y="59"/>
                    <a:pt x="47" y="64"/>
                    <a:pt x="42" y="67"/>
                  </a:cubicBezTo>
                  <a:cubicBezTo>
                    <a:pt x="38" y="70"/>
                    <a:pt x="32" y="72"/>
                    <a:pt x="24" y="72"/>
                  </a:cubicBezTo>
                  <a:cubicBezTo>
                    <a:pt x="23" y="72"/>
                    <a:pt x="21" y="71"/>
                    <a:pt x="20" y="71"/>
                  </a:cubicBezTo>
                  <a:cubicBezTo>
                    <a:pt x="18" y="71"/>
                    <a:pt x="16" y="71"/>
                    <a:pt x="14" y="71"/>
                  </a:cubicBezTo>
                  <a:cubicBezTo>
                    <a:pt x="12" y="71"/>
                    <a:pt x="10" y="71"/>
                    <a:pt x="8" y="70"/>
                  </a:cubicBezTo>
                  <a:cubicBezTo>
                    <a:pt x="6" y="70"/>
                    <a:pt x="5" y="70"/>
                    <a:pt x="3" y="70"/>
                  </a:cubicBezTo>
                  <a:cubicBezTo>
                    <a:pt x="1" y="69"/>
                    <a:pt x="0" y="68"/>
                    <a:pt x="0" y="67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2"/>
                    <a:pt x="0" y="62"/>
                    <a:pt x="1" y="61"/>
                  </a:cubicBezTo>
                  <a:cubicBezTo>
                    <a:pt x="1" y="61"/>
                    <a:pt x="2" y="61"/>
                    <a:pt x="3" y="61"/>
                  </a:cubicBezTo>
                  <a:cubicBezTo>
                    <a:pt x="3" y="61"/>
                    <a:pt x="3" y="61"/>
                    <a:pt x="3" y="61"/>
                  </a:cubicBezTo>
                  <a:cubicBezTo>
                    <a:pt x="5" y="61"/>
                    <a:pt x="6" y="61"/>
                    <a:pt x="8" y="61"/>
                  </a:cubicBezTo>
                  <a:cubicBezTo>
                    <a:pt x="10" y="61"/>
                    <a:pt x="12" y="62"/>
                    <a:pt x="14" y="62"/>
                  </a:cubicBezTo>
                  <a:cubicBezTo>
                    <a:pt x="16" y="62"/>
                    <a:pt x="18" y="62"/>
                    <a:pt x="20" y="62"/>
                  </a:cubicBezTo>
                  <a:cubicBezTo>
                    <a:pt x="21" y="62"/>
                    <a:pt x="23" y="62"/>
                    <a:pt x="24" y="62"/>
                  </a:cubicBezTo>
                  <a:cubicBezTo>
                    <a:pt x="28" y="62"/>
                    <a:pt x="32" y="61"/>
                    <a:pt x="34" y="60"/>
                  </a:cubicBezTo>
                  <a:cubicBezTo>
                    <a:pt x="36" y="59"/>
                    <a:pt x="37" y="57"/>
                    <a:pt x="37" y="53"/>
                  </a:cubicBezTo>
                  <a:cubicBezTo>
                    <a:pt x="37" y="51"/>
                    <a:pt x="37" y="49"/>
                    <a:pt x="35" y="48"/>
                  </a:cubicBezTo>
                  <a:cubicBezTo>
                    <a:pt x="34" y="47"/>
                    <a:pt x="31" y="45"/>
                    <a:pt x="27" y="42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0" y="32"/>
                    <a:pt x="6" y="30"/>
                    <a:pt x="4" y="27"/>
                  </a:cubicBezTo>
                  <a:cubicBezTo>
                    <a:pt x="1" y="24"/>
                    <a:pt x="0" y="21"/>
                    <a:pt x="0" y="17"/>
                  </a:cubicBezTo>
                  <a:cubicBezTo>
                    <a:pt x="0" y="13"/>
                    <a:pt x="1" y="11"/>
                    <a:pt x="2" y="8"/>
                  </a:cubicBezTo>
                  <a:cubicBezTo>
                    <a:pt x="3" y="6"/>
                    <a:pt x="5" y="5"/>
                    <a:pt x="7" y="3"/>
                  </a:cubicBezTo>
                  <a:cubicBezTo>
                    <a:pt x="9" y="2"/>
                    <a:pt x="12" y="1"/>
                    <a:pt x="15" y="0"/>
                  </a:cubicBezTo>
                  <a:cubicBezTo>
                    <a:pt x="18" y="0"/>
                    <a:pt x="21" y="0"/>
                    <a:pt x="24" y="0"/>
                  </a:cubicBezTo>
                  <a:cubicBezTo>
                    <a:pt x="28" y="0"/>
                    <a:pt x="32" y="0"/>
                    <a:pt x="35" y="0"/>
                  </a:cubicBezTo>
                  <a:cubicBezTo>
                    <a:pt x="39" y="0"/>
                    <a:pt x="42" y="1"/>
                    <a:pt x="45" y="1"/>
                  </a:cubicBezTo>
                  <a:cubicBezTo>
                    <a:pt x="47" y="2"/>
                    <a:pt x="48" y="2"/>
                    <a:pt x="48" y="4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48" y="10"/>
                    <a:pt x="47" y="10"/>
                    <a:pt x="45" y="10"/>
                  </a:cubicBezTo>
                  <a:cubicBezTo>
                    <a:pt x="45" y="10"/>
                    <a:pt x="45" y="10"/>
                    <a:pt x="45" y="10"/>
                  </a:cubicBezTo>
                  <a:cubicBezTo>
                    <a:pt x="43" y="10"/>
                    <a:pt x="40" y="10"/>
                    <a:pt x="36" y="10"/>
                  </a:cubicBezTo>
                  <a:cubicBezTo>
                    <a:pt x="32" y="9"/>
                    <a:pt x="28" y="9"/>
                    <a:pt x="24" y="9"/>
                  </a:cubicBezTo>
                  <a:cubicBezTo>
                    <a:pt x="21" y="9"/>
                    <a:pt x="18" y="10"/>
                    <a:pt x="15" y="11"/>
                  </a:cubicBezTo>
                  <a:cubicBezTo>
                    <a:pt x="13" y="11"/>
                    <a:pt x="12" y="13"/>
                    <a:pt x="12" y="17"/>
                  </a:cubicBezTo>
                  <a:cubicBezTo>
                    <a:pt x="12" y="19"/>
                    <a:pt x="13" y="20"/>
                    <a:pt x="14" y="22"/>
                  </a:cubicBezTo>
                  <a:cubicBezTo>
                    <a:pt x="16" y="23"/>
                    <a:pt x="18" y="25"/>
                    <a:pt x="21" y="26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40" y="37"/>
                    <a:pt x="44" y="40"/>
                    <a:pt x="46" y="43"/>
                  </a:cubicBezTo>
                  <a:cubicBezTo>
                    <a:pt x="48" y="46"/>
                    <a:pt x="49" y="49"/>
                    <a:pt x="49" y="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3" name="Rectangle 261">
              <a:extLst>
                <a:ext uri="{FF2B5EF4-FFF2-40B4-BE49-F238E27FC236}">
                  <a16:creationId xmlns:a16="http://schemas.microsoft.com/office/drawing/2014/main" id="{807B0D91-E3FA-4C4E-BE44-BAF1A31F70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10075" y="-2116138"/>
              <a:ext cx="165100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4" name="Freeform 262">
              <a:extLst>
                <a:ext uri="{FF2B5EF4-FFF2-40B4-BE49-F238E27FC236}">
                  <a16:creationId xmlns:a16="http://schemas.microsoft.com/office/drawing/2014/main" id="{17C8CF70-D7A5-489B-9E49-4849C38647B5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9600" y="-2374900"/>
              <a:ext cx="168275" cy="292100"/>
            </a:xfrm>
            <a:custGeom>
              <a:avLst/>
              <a:gdLst>
                <a:gd name="T0" fmla="*/ 7 w 56"/>
                <a:gd name="T1" fmla="*/ 5 h 96"/>
                <a:gd name="T2" fmla="*/ 30 w 56"/>
                <a:gd name="T3" fmla="*/ 0 h 96"/>
                <a:gd name="T4" fmla="*/ 41 w 56"/>
                <a:gd name="T5" fmla="*/ 0 h 96"/>
                <a:gd name="T6" fmla="*/ 52 w 56"/>
                <a:gd name="T7" fmla="*/ 2 h 96"/>
                <a:gd name="T8" fmla="*/ 54 w 56"/>
                <a:gd name="T9" fmla="*/ 3 h 96"/>
                <a:gd name="T10" fmla="*/ 54 w 56"/>
                <a:gd name="T11" fmla="*/ 5 h 96"/>
                <a:gd name="T12" fmla="*/ 54 w 56"/>
                <a:gd name="T13" fmla="*/ 9 h 96"/>
                <a:gd name="T14" fmla="*/ 52 w 56"/>
                <a:gd name="T15" fmla="*/ 12 h 96"/>
                <a:gd name="T16" fmla="*/ 52 w 56"/>
                <a:gd name="T17" fmla="*/ 12 h 96"/>
                <a:gd name="T18" fmla="*/ 41 w 56"/>
                <a:gd name="T19" fmla="*/ 10 h 96"/>
                <a:gd name="T20" fmla="*/ 30 w 56"/>
                <a:gd name="T21" fmla="*/ 10 h 96"/>
                <a:gd name="T22" fmla="*/ 15 w 56"/>
                <a:gd name="T23" fmla="*/ 13 h 96"/>
                <a:gd name="T24" fmla="*/ 11 w 56"/>
                <a:gd name="T25" fmla="*/ 23 h 96"/>
                <a:gd name="T26" fmla="*/ 11 w 56"/>
                <a:gd name="T27" fmla="*/ 28 h 96"/>
                <a:gd name="T28" fmla="*/ 13 w 56"/>
                <a:gd name="T29" fmla="*/ 32 h 96"/>
                <a:gd name="T30" fmla="*/ 17 w 56"/>
                <a:gd name="T31" fmla="*/ 36 h 96"/>
                <a:gd name="T32" fmla="*/ 24 w 56"/>
                <a:gd name="T33" fmla="*/ 41 h 96"/>
                <a:gd name="T34" fmla="*/ 36 w 56"/>
                <a:gd name="T35" fmla="*/ 49 h 96"/>
                <a:gd name="T36" fmla="*/ 51 w 56"/>
                <a:gd name="T37" fmla="*/ 65 h 96"/>
                <a:gd name="T38" fmla="*/ 56 w 56"/>
                <a:gd name="T39" fmla="*/ 83 h 96"/>
                <a:gd name="T40" fmla="*/ 56 w 56"/>
                <a:gd name="T41" fmla="*/ 93 h 96"/>
                <a:gd name="T42" fmla="*/ 55 w 56"/>
                <a:gd name="T43" fmla="*/ 95 h 96"/>
                <a:gd name="T44" fmla="*/ 53 w 56"/>
                <a:gd name="T45" fmla="*/ 96 h 96"/>
                <a:gd name="T46" fmla="*/ 3 w 56"/>
                <a:gd name="T47" fmla="*/ 96 h 96"/>
                <a:gd name="T48" fmla="*/ 2 w 56"/>
                <a:gd name="T49" fmla="*/ 95 h 96"/>
                <a:gd name="T50" fmla="*/ 1 w 56"/>
                <a:gd name="T51" fmla="*/ 93 h 96"/>
                <a:gd name="T52" fmla="*/ 1 w 56"/>
                <a:gd name="T53" fmla="*/ 88 h 96"/>
                <a:gd name="T54" fmla="*/ 2 w 56"/>
                <a:gd name="T55" fmla="*/ 86 h 96"/>
                <a:gd name="T56" fmla="*/ 3 w 56"/>
                <a:gd name="T57" fmla="*/ 85 h 96"/>
                <a:gd name="T58" fmla="*/ 46 w 56"/>
                <a:gd name="T59" fmla="*/ 85 h 96"/>
                <a:gd name="T60" fmla="*/ 46 w 56"/>
                <a:gd name="T61" fmla="*/ 83 h 96"/>
                <a:gd name="T62" fmla="*/ 45 w 56"/>
                <a:gd name="T63" fmla="*/ 75 h 96"/>
                <a:gd name="T64" fmla="*/ 42 w 56"/>
                <a:gd name="T65" fmla="*/ 69 h 96"/>
                <a:gd name="T66" fmla="*/ 37 w 56"/>
                <a:gd name="T67" fmla="*/ 62 h 96"/>
                <a:gd name="T68" fmla="*/ 28 w 56"/>
                <a:gd name="T69" fmla="*/ 56 h 96"/>
                <a:gd name="T70" fmla="*/ 16 w 56"/>
                <a:gd name="T71" fmla="*/ 47 h 96"/>
                <a:gd name="T72" fmla="*/ 3 w 56"/>
                <a:gd name="T73" fmla="*/ 36 h 96"/>
                <a:gd name="T74" fmla="*/ 0 w 56"/>
                <a:gd name="T75" fmla="*/ 23 h 96"/>
                <a:gd name="T76" fmla="*/ 7 w 56"/>
                <a:gd name="T77" fmla="*/ 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6" h="96">
                  <a:moveTo>
                    <a:pt x="7" y="5"/>
                  </a:moveTo>
                  <a:cubicBezTo>
                    <a:pt x="12" y="2"/>
                    <a:pt x="19" y="0"/>
                    <a:pt x="30" y="0"/>
                  </a:cubicBezTo>
                  <a:cubicBezTo>
                    <a:pt x="33" y="0"/>
                    <a:pt x="37" y="0"/>
                    <a:pt x="41" y="0"/>
                  </a:cubicBezTo>
                  <a:cubicBezTo>
                    <a:pt x="45" y="1"/>
                    <a:pt x="49" y="1"/>
                    <a:pt x="52" y="2"/>
                  </a:cubicBezTo>
                  <a:cubicBezTo>
                    <a:pt x="53" y="3"/>
                    <a:pt x="53" y="3"/>
                    <a:pt x="54" y="3"/>
                  </a:cubicBezTo>
                  <a:cubicBezTo>
                    <a:pt x="54" y="3"/>
                    <a:pt x="54" y="4"/>
                    <a:pt x="54" y="5"/>
                  </a:cubicBezTo>
                  <a:cubicBezTo>
                    <a:pt x="54" y="9"/>
                    <a:pt x="54" y="9"/>
                    <a:pt x="54" y="9"/>
                  </a:cubicBezTo>
                  <a:cubicBezTo>
                    <a:pt x="54" y="11"/>
                    <a:pt x="54" y="12"/>
                    <a:pt x="52" y="12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48" y="11"/>
                    <a:pt x="45" y="11"/>
                    <a:pt x="41" y="10"/>
                  </a:cubicBezTo>
                  <a:cubicBezTo>
                    <a:pt x="37" y="10"/>
                    <a:pt x="33" y="10"/>
                    <a:pt x="30" y="10"/>
                  </a:cubicBezTo>
                  <a:cubicBezTo>
                    <a:pt x="23" y="10"/>
                    <a:pt x="18" y="11"/>
                    <a:pt x="15" y="13"/>
                  </a:cubicBezTo>
                  <a:cubicBezTo>
                    <a:pt x="12" y="15"/>
                    <a:pt x="11" y="18"/>
                    <a:pt x="11" y="23"/>
                  </a:cubicBezTo>
                  <a:cubicBezTo>
                    <a:pt x="11" y="25"/>
                    <a:pt x="11" y="26"/>
                    <a:pt x="11" y="28"/>
                  </a:cubicBezTo>
                  <a:cubicBezTo>
                    <a:pt x="12" y="29"/>
                    <a:pt x="12" y="31"/>
                    <a:pt x="13" y="32"/>
                  </a:cubicBezTo>
                  <a:cubicBezTo>
                    <a:pt x="14" y="33"/>
                    <a:pt x="16" y="35"/>
                    <a:pt x="17" y="36"/>
                  </a:cubicBezTo>
                  <a:cubicBezTo>
                    <a:pt x="19" y="37"/>
                    <a:pt x="21" y="39"/>
                    <a:pt x="24" y="41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43" y="54"/>
                    <a:pt x="48" y="59"/>
                    <a:pt x="51" y="65"/>
                  </a:cubicBezTo>
                  <a:cubicBezTo>
                    <a:pt x="54" y="70"/>
                    <a:pt x="56" y="76"/>
                    <a:pt x="56" y="83"/>
                  </a:cubicBezTo>
                  <a:cubicBezTo>
                    <a:pt x="56" y="93"/>
                    <a:pt x="56" y="93"/>
                    <a:pt x="56" y="93"/>
                  </a:cubicBezTo>
                  <a:cubicBezTo>
                    <a:pt x="56" y="94"/>
                    <a:pt x="56" y="94"/>
                    <a:pt x="55" y="95"/>
                  </a:cubicBezTo>
                  <a:cubicBezTo>
                    <a:pt x="55" y="95"/>
                    <a:pt x="54" y="96"/>
                    <a:pt x="53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3" y="96"/>
                    <a:pt x="2" y="95"/>
                    <a:pt x="2" y="95"/>
                  </a:cubicBezTo>
                  <a:cubicBezTo>
                    <a:pt x="1" y="94"/>
                    <a:pt x="1" y="94"/>
                    <a:pt x="1" y="93"/>
                  </a:cubicBezTo>
                  <a:cubicBezTo>
                    <a:pt x="1" y="88"/>
                    <a:pt x="1" y="88"/>
                    <a:pt x="1" y="88"/>
                  </a:cubicBezTo>
                  <a:cubicBezTo>
                    <a:pt x="1" y="87"/>
                    <a:pt x="1" y="86"/>
                    <a:pt x="2" y="86"/>
                  </a:cubicBezTo>
                  <a:cubicBezTo>
                    <a:pt x="2" y="86"/>
                    <a:pt x="3" y="85"/>
                    <a:pt x="3" y="85"/>
                  </a:cubicBezTo>
                  <a:cubicBezTo>
                    <a:pt x="46" y="85"/>
                    <a:pt x="46" y="85"/>
                    <a:pt x="46" y="85"/>
                  </a:cubicBezTo>
                  <a:cubicBezTo>
                    <a:pt x="46" y="83"/>
                    <a:pt x="46" y="83"/>
                    <a:pt x="46" y="83"/>
                  </a:cubicBezTo>
                  <a:cubicBezTo>
                    <a:pt x="46" y="80"/>
                    <a:pt x="46" y="77"/>
                    <a:pt x="45" y="75"/>
                  </a:cubicBezTo>
                  <a:cubicBezTo>
                    <a:pt x="44" y="73"/>
                    <a:pt x="44" y="71"/>
                    <a:pt x="42" y="69"/>
                  </a:cubicBezTo>
                  <a:cubicBezTo>
                    <a:pt x="41" y="66"/>
                    <a:pt x="39" y="64"/>
                    <a:pt x="37" y="62"/>
                  </a:cubicBezTo>
                  <a:cubicBezTo>
                    <a:pt x="35" y="60"/>
                    <a:pt x="32" y="58"/>
                    <a:pt x="28" y="56"/>
                  </a:cubicBezTo>
                  <a:cubicBezTo>
                    <a:pt x="16" y="47"/>
                    <a:pt x="16" y="47"/>
                    <a:pt x="16" y="47"/>
                  </a:cubicBezTo>
                  <a:cubicBezTo>
                    <a:pt x="10" y="43"/>
                    <a:pt x="6" y="39"/>
                    <a:pt x="3" y="36"/>
                  </a:cubicBezTo>
                  <a:cubicBezTo>
                    <a:pt x="1" y="32"/>
                    <a:pt x="0" y="28"/>
                    <a:pt x="0" y="23"/>
                  </a:cubicBezTo>
                  <a:cubicBezTo>
                    <a:pt x="0" y="15"/>
                    <a:pt x="2" y="9"/>
                    <a:pt x="7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B545BCDF-AE9B-4A79-AB96-AD1ECE344488}"/>
              </a:ext>
            </a:extLst>
          </p:cNvPr>
          <p:cNvSpPr/>
          <p:nvPr/>
        </p:nvSpPr>
        <p:spPr>
          <a:xfrm>
            <a:off x="4033032" y="5872775"/>
            <a:ext cx="412593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Go to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24Slides.com/</a:t>
            </a:r>
            <a:r>
              <a:rPr kumimoji="0" lang="id-ID" sz="18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sales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to find out more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83D65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182012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13"/>
          <p:cNvSpPr>
            <a:spLocks/>
          </p:cNvSpPr>
          <p:nvPr/>
        </p:nvSpPr>
        <p:spPr bwMode="auto">
          <a:xfrm>
            <a:off x="3994926" y="4749045"/>
            <a:ext cx="6542823" cy="821402"/>
          </a:xfrm>
          <a:custGeom>
            <a:avLst/>
            <a:gdLst>
              <a:gd name="connsiteX0" fmla="*/ 0 w 6086883"/>
              <a:gd name="connsiteY0" fmla="*/ 0 h 764162"/>
              <a:gd name="connsiteX1" fmla="*/ 3727958 w 6086883"/>
              <a:gd name="connsiteY1" fmla="*/ 0 h 764162"/>
              <a:gd name="connsiteX2" fmla="*/ 3727958 w 6086883"/>
              <a:gd name="connsiteY2" fmla="*/ 895 h 764162"/>
              <a:gd name="connsiteX3" fmla="*/ 5694166 w 6086883"/>
              <a:gd name="connsiteY3" fmla="*/ 895 h 764162"/>
              <a:gd name="connsiteX4" fmla="*/ 5890962 w 6086883"/>
              <a:gd name="connsiteY4" fmla="*/ 190312 h 764162"/>
              <a:gd name="connsiteX5" fmla="*/ 6086883 w 6086883"/>
              <a:gd name="connsiteY5" fmla="*/ 382529 h 764162"/>
              <a:gd name="connsiteX6" fmla="*/ 5890962 w 6086883"/>
              <a:gd name="connsiteY6" fmla="*/ 574745 h 764162"/>
              <a:gd name="connsiteX7" fmla="*/ 5694166 w 6086883"/>
              <a:gd name="connsiteY7" fmla="*/ 764162 h 764162"/>
              <a:gd name="connsiteX8" fmla="*/ 3727958 w 6086883"/>
              <a:gd name="connsiteY8" fmla="*/ 764162 h 764162"/>
              <a:gd name="connsiteX9" fmla="*/ 3436701 w 6086883"/>
              <a:gd name="connsiteY9" fmla="*/ 764162 h 764162"/>
              <a:gd name="connsiteX10" fmla="*/ 0 w 6086883"/>
              <a:gd name="connsiteY10" fmla="*/ 764162 h 764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086883" h="764162">
                <a:moveTo>
                  <a:pt x="0" y="0"/>
                </a:moveTo>
                <a:lnTo>
                  <a:pt x="3727958" y="0"/>
                </a:lnTo>
                <a:lnTo>
                  <a:pt x="3727958" y="895"/>
                </a:lnTo>
                <a:lnTo>
                  <a:pt x="5694166" y="895"/>
                </a:lnTo>
                <a:lnTo>
                  <a:pt x="5890962" y="190312"/>
                </a:lnTo>
                <a:lnTo>
                  <a:pt x="6086883" y="382529"/>
                </a:lnTo>
                <a:lnTo>
                  <a:pt x="5890962" y="574745"/>
                </a:lnTo>
                <a:lnTo>
                  <a:pt x="5694166" y="764162"/>
                </a:lnTo>
                <a:lnTo>
                  <a:pt x="3727958" y="764162"/>
                </a:lnTo>
                <a:lnTo>
                  <a:pt x="3436701" y="764162"/>
                </a:lnTo>
                <a:lnTo>
                  <a:pt x="0" y="764162"/>
                </a:lnTo>
                <a:close/>
              </a:path>
            </a:pathLst>
          </a:custGeom>
          <a:solidFill>
            <a:schemeClr val="bg1"/>
          </a:solidFill>
          <a:ln w="3175" cap="flat">
            <a:noFill/>
            <a:prstDash val="solid"/>
            <a:miter lim="800000"/>
            <a:headEnd/>
            <a:tailEnd/>
          </a:ln>
          <a:effectLst>
            <a:outerShdw blurRad="38100" dist="25400" dir="5400000" algn="t" rotWithShape="0">
              <a:prstClr val="black">
                <a:alpha val="2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Freeform 14"/>
          <p:cNvSpPr>
            <a:spLocks/>
          </p:cNvSpPr>
          <p:nvPr/>
        </p:nvSpPr>
        <p:spPr bwMode="auto">
          <a:xfrm>
            <a:off x="4009115" y="3930686"/>
            <a:ext cx="6047368" cy="821402"/>
          </a:xfrm>
          <a:custGeom>
            <a:avLst/>
            <a:gdLst>
              <a:gd name="connsiteX0" fmla="*/ 0 w 5625954"/>
              <a:gd name="connsiteY0" fmla="*/ 0 h 764162"/>
              <a:gd name="connsiteX1" fmla="*/ 3463633 w 5625954"/>
              <a:gd name="connsiteY1" fmla="*/ 0 h 764162"/>
              <a:gd name="connsiteX2" fmla="*/ 3463633 w 5625954"/>
              <a:gd name="connsiteY2" fmla="*/ 895 h 764162"/>
              <a:gd name="connsiteX3" fmla="*/ 5233237 w 5625954"/>
              <a:gd name="connsiteY3" fmla="*/ 895 h 764162"/>
              <a:gd name="connsiteX4" fmla="*/ 5430033 w 5625954"/>
              <a:gd name="connsiteY4" fmla="*/ 190312 h 764162"/>
              <a:gd name="connsiteX5" fmla="*/ 5625954 w 5625954"/>
              <a:gd name="connsiteY5" fmla="*/ 382529 h 764162"/>
              <a:gd name="connsiteX6" fmla="*/ 5430033 w 5625954"/>
              <a:gd name="connsiteY6" fmla="*/ 574745 h 764162"/>
              <a:gd name="connsiteX7" fmla="*/ 5233237 w 5625954"/>
              <a:gd name="connsiteY7" fmla="*/ 764162 h 764162"/>
              <a:gd name="connsiteX8" fmla="*/ 3463633 w 5625954"/>
              <a:gd name="connsiteY8" fmla="*/ 764162 h 764162"/>
              <a:gd name="connsiteX9" fmla="*/ 2975772 w 5625954"/>
              <a:gd name="connsiteY9" fmla="*/ 764162 h 764162"/>
              <a:gd name="connsiteX10" fmla="*/ 0 w 5625954"/>
              <a:gd name="connsiteY10" fmla="*/ 764162 h 764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25954" h="764162">
                <a:moveTo>
                  <a:pt x="0" y="0"/>
                </a:moveTo>
                <a:lnTo>
                  <a:pt x="3463633" y="0"/>
                </a:lnTo>
                <a:lnTo>
                  <a:pt x="3463633" y="895"/>
                </a:lnTo>
                <a:lnTo>
                  <a:pt x="5233237" y="895"/>
                </a:lnTo>
                <a:lnTo>
                  <a:pt x="5430033" y="190312"/>
                </a:lnTo>
                <a:lnTo>
                  <a:pt x="5625954" y="382529"/>
                </a:lnTo>
                <a:lnTo>
                  <a:pt x="5430033" y="574745"/>
                </a:lnTo>
                <a:lnTo>
                  <a:pt x="5233237" y="764162"/>
                </a:lnTo>
                <a:lnTo>
                  <a:pt x="3463633" y="764162"/>
                </a:lnTo>
                <a:lnTo>
                  <a:pt x="2975772" y="764162"/>
                </a:lnTo>
                <a:lnTo>
                  <a:pt x="0" y="764162"/>
                </a:lnTo>
                <a:close/>
              </a:path>
            </a:pathLst>
          </a:custGeom>
          <a:solidFill>
            <a:schemeClr val="bg1"/>
          </a:solidFill>
          <a:ln w="3175" cap="flat">
            <a:noFill/>
            <a:prstDash val="solid"/>
            <a:miter lim="800000"/>
            <a:headEnd/>
            <a:tailEnd/>
          </a:ln>
          <a:effectLst>
            <a:outerShdw blurRad="38100" dist="25400" dir="5400000" algn="t" rotWithShape="0">
              <a:prstClr val="black">
                <a:alpha val="2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Freeform 15"/>
          <p:cNvSpPr>
            <a:spLocks/>
          </p:cNvSpPr>
          <p:nvPr/>
        </p:nvSpPr>
        <p:spPr bwMode="auto">
          <a:xfrm>
            <a:off x="4015085" y="3112326"/>
            <a:ext cx="5560133" cy="821402"/>
          </a:xfrm>
          <a:custGeom>
            <a:avLst/>
            <a:gdLst>
              <a:gd name="connsiteX0" fmla="*/ 0 w 5172672"/>
              <a:gd name="connsiteY0" fmla="*/ 0 h 764162"/>
              <a:gd name="connsiteX1" fmla="*/ 3352425 w 5172672"/>
              <a:gd name="connsiteY1" fmla="*/ 0 h 764162"/>
              <a:gd name="connsiteX2" fmla="*/ 3352425 w 5172672"/>
              <a:gd name="connsiteY2" fmla="*/ 895 h 764162"/>
              <a:gd name="connsiteX3" fmla="*/ 4779955 w 5172672"/>
              <a:gd name="connsiteY3" fmla="*/ 895 h 764162"/>
              <a:gd name="connsiteX4" fmla="*/ 4976751 w 5172672"/>
              <a:gd name="connsiteY4" fmla="*/ 190312 h 764162"/>
              <a:gd name="connsiteX5" fmla="*/ 5172672 w 5172672"/>
              <a:gd name="connsiteY5" fmla="*/ 382529 h 764162"/>
              <a:gd name="connsiteX6" fmla="*/ 4976751 w 5172672"/>
              <a:gd name="connsiteY6" fmla="*/ 574745 h 764162"/>
              <a:gd name="connsiteX7" fmla="*/ 4779955 w 5172672"/>
              <a:gd name="connsiteY7" fmla="*/ 764162 h 764162"/>
              <a:gd name="connsiteX8" fmla="*/ 3352425 w 5172672"/>
              <a:gd name="connsiteY8" fmla="*/ 764162 h 764162"/>
              <a:gd name="connsiteX9" fmla="*/ 2522490 w 5172672"/>
              <a:gd name="connsiteY9" fmla="*/ 764162 h 764162"/>
              <a:gd name="connsiteX10" fmla="*/ 0 w 5172672"/>
              <a:gd name="connsiteY10" fmla="*/ 764162 h 764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172672" h="764162">
                <a:moveTo>
                  <a:pt x="0" y="0"/>
                </a:moveTo>
                <a:lnTo>
                  <a:pt x="3352425" y="0"/>
                </a:lnTo>
                <a:lnTo>
                  <a:pt x="3352425" y="895"/>
                </a:lnTo>
                <a:lnTo>
                  <a:pt x="4779955" y="895"/>
                </a:lnTo>
                <a:lnTo>
                  <a:pt x="4976751" y="190312"/>
                </a:lnTo>
                <a:lnTo>
                  <a:pt x="5172672" y="382529"/>
                </a:lnTo>
                <a:lnTo>
                  <a:pt x="4976751" y="574745"/>
                </a:lnTo>
                <a:lnTo>
                  <a:pt x="4779955" y="764162"/>
                </a:lnTo>
                <a:lnTo>
                  <a:pt x="3352425" y="764162"/>
                </a:lnTo>
                <a:lnTo>
                  <a:pt x="2522490" y="764162"/>
                </a:lnTo>
                <a:lnTo>
                  <a:pt x="0" y="764162"/>
                </a:lnTo>
                <a:close/>
              </a:path>
            </a:pathLst>
          </a:custGeom>
          <a:solidFill>
            <a:schemeClr val="bg1"/>
          </a:solidFill>
          <a:ln w="3175" cap="flat">
            <a:noFill/>
            <a:prstDash val="solid"/>
            <a:miter lim="800000"/>
            <a:headEnd/>
            <a:tailEnd/>
          </a:ln>
          <a:effectLst>
            <a:outerShdw blurRad="38100" dist="25400" dir="5400000" algn="t" rotWithShape="0">
              <a:prstClr val="black">
                <a:alpha val="2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Freeform 16"/>
          <p:cNvSpPr>
            <a:spLocks/>
          </p:cNvSpPr>
          <p:nvPr/>
        </p:nvSpPr>
        <p:spPr bwMode="auto">
          <a:xfrm>
            <a:off x="4031234" y="2293967"/>
            <a:ext cx="5062718" cy="821402"/>
          </a:xfrm>
          <a:custGeom>
            <a:avLst/>
            <a:gdLst>
              <a:gd name="connsiteX0" fmla="*/ 0 w 4709920"/>
              <a:gd name="connsiteY0" fmla="*/ 0 h 764162"/>
              <a:gd name="connsiteX1" fmla="*/ 3051594 w 4709920"/>
              <a:gd name="connsiteY1" fmla="*/ 0 h 764162"/>
              <a:gd name="connsiteX2" fmla="*/ 3051594 w 4709920"/>
              <a:gd name="connsiteY2" fmla="*/ 895 h 764162"/>
              <a:gd name="connsiteX3" fmla="*/ 4317203 w 4709920"/>
              <a:gd name="connsiteY3" fmla="*/ 895 h 764162"/>
              <a:gd name="connsiteX4" fmla="*/ 4513999 w 4709920"/>
              <a:gd name="connsiteY4" fmla="*/ 190312 h 764162"/>
              <a:gd name="connsiteX5" fmla="*/ 4709920 w 4709920"/>
              <a:gd name="connsiteY5" fmla="*/ 382529 h 764162"/>
              <a:gd name="connsiteX6" fmla="*/ 4513999 w 4709920"/>
              <a:gd name="connsiteY6" fmla="*/ 574745 h 764162"/>
              <a:gd name="connsiteX7" fmla="*/ 4317203 w 4709920"/>
              <a:gd name="connsiteY7" fmla="*/ 764162 h 764162"/>
              <a:gd name="connsiteX8" fmla="*/ 3051594 w 4709920"/>
              <a:gd name="connsiteY8" fmla="*/ 764162 h 764162"/>
              <a:gd name="connsiteX9" fmla="*/ 2059738 w 4709920"/>
              <a:gd name="connsiteY9" fmla="*/ 764162 h 764162"/>
              <a:gd name="connsiteX10" fmla="*/ 0 w 4709920"/>
              <a:gd name="connsiteY10" fmla="*/ 764162 h 764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709920" h="764162">
                <a:moveTo>
                  <a:pt x="0" y="0"/>
                </a:moveTo>
                <a:lnTo>
                  <a:pt x="3051594" y="0"/>
                </a:lnTo>
                <a:lnTo>
                  <a:pt x="3051594" y="895"/>
                </a:lnTo>
                <a:lnTo>
                  <a:pt x="4317203" y="895"/>
                </a:lnTo>
                <a:lnTo>
                  <a:pt x="4513999" y="190312"/>
                </a:lnTo>
                <a:lnTo>
                  <a:pt x="4709920" y="382529"/>
                </a:lnTo>
                <a:lnTo>
                  <a:pt x="4513999" y="574745"/>
                </a:lnTo>
                <a:lnTo>
                  <a:pt x="4317203" y="764162"/>
                </a:lnTo>
                <a:lnTo>
                  <a:pt x="3051594" y="764162"/>
                </a:lnTo>
                <a:lnTo>
                  <a:pt x="2059738" y="764162"/>
                </a:lnTo>
                <a:lnTo>
                  <a:pt x="0" y="764162"/>
                </a:lnTo>
                <a:close/>
              </a:path>
            </a:pathLst>
          </a:custGeom>
          <a:solidFill>
            <a:schemeClr val="bg1"/>
          </a:solidFill>
          <a:ln w="3175" cap="flat">
            <a:noFill/>
            <a:prstDash val="solid"/>
            <a:miter lim="800000"/>
            <a:headEnd/>
            <a:tailEnd/>
          </a:ln>
          <a:effectLst>
            <a:outerShdw blurRad="38100" dist="25400" dir="5400000" algn="t" rotWithShape="0">
              <a:prstClr val="black">
                <a:alpha val="2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8" name="Group 17"/>
          <p:cNvGrpSpPr/>
          <p:nvPr/>
        </p:nvGrpSpPr>
        <p:grpSpPr>
          <a:xfrm>
            <a:off x="2825696" y="1710150"/>
            <a:ext cx="2102205" cy="1602978"/>
            <a:chOff x="2191647" y="669925"/>
            <a:chExt cx="1955712" cy="1491274"/>
          </a:xfrm>
        </p:grpSpPr>
        <p:sp>
          <p:nvSpPr>
            <p:cNvPr id="19" name="Freeform 7"/>
            <p:cNvSpPr>
              <a:spLocks/>
            </p:cNvSpPr>
            <p:nvPr/>
          </p:nvSpPr>
          <p:spPr bwMode="auto">
            <a:xfrm>
              <a:off x="2191647" y="1443113"/>
              <a:ext cx="1955712" cy="718086"/>
            </a:xfrm>
            <a:custGeom>
              <a:avLst/>
              <a:gdLst>
                <a:gd name="T0" fmla="*/ 0 w 2236"/>
                <a:gd name="T1" fmla="*/ 523 h 821"/>
                <a:gd name="T2" fmla="*/ 1118 w 2236"/>
                <a:gd name="T3" fmla="*/ 821 h 821"/>
                <a:gd name="T4" fmla="*/ 2236 w 2236"/>
                <a:gd name="T5" fmla="*/ 523 h 821"/>
                <a:gd name="T6" fmla="*/ 2236 w 2236"/>
                <a:gd name="T7" fmla="*/ 0 h 821"/>
                <a:gd name="T8" fmla="*/ 0 w 2236"/>
                <a:gd name="T9" fmla="*/ 0 h 821"/>
                <a:gd name="T10" fmla="*/ 0 w 2236"/>
                <a:gd name="T11" fmla="*/ 523 h 8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36" h="821">
                  <a:moveTo>
                    <a:pt x="0" y="523"/>
                  </a:moveTo>
                  <a:lnTo>
                    <a:pt x="1118" y="821"/>
                  </a:lnTo>
                  <a:lnTo>
                    <a:pt x="2236" y="523"/>
                  </a:lnTo>
                  <a:lnTo>
                    <a:pt x="2236" y="0"/>
                  </a:lnTo>
                  <a:lnTo>
                    <a:pt x="0" y="0"/>
                  </a:lnTo>
                  <a:lnTo>
                    <a:pt x="0" y="523"/>
                  </a:lnTo>
                  <a:close/>
                </a:path>
              </a:pathLst>
            </a:custGeom>
            <a:solidFill>
              <a:srgbClr val="D63E20"/>
            </a:solidFill>
            <a:ln w="31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5"/>
            <p:cNvSpPr>
              <a:spLocks/>
            </p:cNvSpPr>
            <p:nvPr/>
          </p:nvSpPr>
          <p:spPr bwMode="auto">
            <a:xfrm>
              <a:off x="2191647" y="669925"/>
              <a:ext cx="977856" cy="1230629"/>
            </a:xfrm>
            <a:custGeom>
              <a:avLst/>
              <a:gdLst>
                <a:gd name="T0" fmla="*/ 0 w 1118"/>
                <a:gd name="T1" fmla="*/ 1407 h 1407"/>
                <a:gd name="T2" fmla="*/ 1118 w 1118"/>
                <a:gd name="T3" fmla="*/ 974 h 1407"/>
                <a:gd name="T4" fmla="*/ 1118 w 1118"/>
                <a:gd name="T5" fmla="*/ 0 h 1407"/>
                <a:gd name="T6" fmla="*/ 0 w 1118"/>
                <a:gd name="T7" fmla="*/ 622 h 1407"/>
                <a:gd name="T8" fmla="*/ 0 w 1118"/>
                <a:gd name="T9" fmla="*/ 1407 h 1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8" h="1407">
                  <a:moveTo>
                    <a:pt x="0" y="1407"/>
                  </a:moveTo>
                  <a:lnTo>
                    <a:pt x="1118" y="974"/>
                  </a:lnTo>
                  <a:lnTo>
                    <a:pt x="1118" y="0"/>
                  </a:lnTo>
                  <a:lnTo>
                    <a:pt x="0" y="622"/>
                  </a:lnTo>
                  <a:lnTo>
                    <a:pt x="0" y="1407"/>
                  </a:lnTo>
                  <a:close/>
                </a:path>
              </a:pathLst>
            </a:custGeom>
            <a:solidFill>
              <a:srgbClr val="E87862"/>
            </a:solidFill>
            <a:ln w="31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6"/>
            <p:cNvSpPr>
              <a:spLocks/>
            </p:cNvSpPr>
            <p:nvPr/>
          </p:nvSpPr>
          <p:spPr bwMode="auto">
            <a:xfrm>
              <a:off x="3169503" y="669925"/>
              <a:ext cx="977856" cy="1230629"/>
            </a:xfrm>
            <a:custGeom>
              <a:avLst/>
              <a:gdLst>
                <a:gd name="T0" fmla="*/ 1118 w 1118"/>
                <a:gd name="T1" fmla="*/ 1407 h 1407"/>
                <a:gd name="T2" fmla="*/ 0 w 1118"/>
                <a:gd name="T3" fmla="*/ 974 h 1407"/>
                <a:gd name="T4" fmla="*/ 0 w 1118"/>
                <a:gd name="T5" fmla="*/ 0 h 1407"/>
                <a:gd name="T6" fmla="*/ 1118 w 1118"/>
                <a:gd name="T7" fmla="*/ 622 h 1407"/>
                <a:gd name="T8" fmla="*/ 1118 w 1118"/>
                <a:gd name="T9" fmla="*/ 1407 h 1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8" h="1407">
                  <a:moveTo>
                    <a:pt x="1118" y="1407"/>
                  </a:moveTo>
                  <a:lnTo>
                    <a:pt x="0" y="974"/>
                  </a:lnTo>
                  <a:lnTo>
                    <a:pt x="0" y="0"/>
                  </a:lnTo>
                  <a:lnTo>
                    <a:pt x="1118" y="622"/>
                  </a:lnTo>
                  <a:lnTo>
                    <a:pt x="1118" y="1407"/>
                  </a:lnTo>
                  <a:close/>
                </a:path>
              </a:pathLst>
            </a:custGeom>
            <a:solidFill>
              <a:srgbClr val="E2583D"/>
            </a:solidFill>
            <a:ln w="31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2333990" y="2964328"/>
            <a:ext cx="3076214" cy="1226913"/>
            <a:chOff x="1734207" y="1836705"/>
            <a:chExt cx="2861846" cy="1141415"/>
          </a:xfrm>
        </p:grpSpPr>
        <p:sp>
          <p:nvSpPr>
            <p:cNvPr id="23" name="Freeform 10"/>
            <p:cNvSpPr>
              <a:spLocks/>
            </p:cNvSpPr>
            <p:nvPr/>
          </p:nvSpPr>
          <p:spPr bwMode="auto">
            <a:xfrm>
              <a:off x="1734207" y="2609893"/>
              <a:ext cx="2861846" cy="368227"/>
            </a:xfrm>
            <a:custGeom>
              <a:avLst/>
              <a:gdLst>
                <a:gd name="T0" fmla="*/ 0 w 3272"/>
                <a:gd name="T1" fmla="*/ 312 h 421"/>
                <a:gd name="T2" fmla="*/ 1648 w 3272"/>
                <a:gd name="T3" fmla="*/ 421 h 421"/>
                <a:gd name="T4" fmla="*/ 3272 w 3272"/>
                <a:gd name="T5" fmla="*/ 312 h 421"/>
                <a:gd name="T6" fmla="*/ 3272 w 3272"/>
                <a:gd name="T7" fmla="*/ 0 h 421"/>
                <a:gd name="T8" fmla="*/ 0 w 3272"/>
                <a:gd name="T9" fmla="*/ 0 h 421"/>
                <a:gd name="T10" fmla="*/ 0 w 3272"/>
                <a:gd name="T11" fmla="*/ 312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72" h="421">
                  <a:moveTo>
                    <a:pt x="0" y="312"/>
                  </a:moveTo>
                  <a:lnTo>
                    <a:pt x="1648" y="421"/>
                  </a:lnTo>
                  <a:lnTo>
                    <a:pt x="3272" y="312"/>
                  </a:lnTo>
                  <a:lnTo>
                    <a:pt x="3272" y="0"/>
                  </a:lnTo>
                  <a:lnTo>
                    <a:pt x="0" y="0"/>
                  </a:lnTo>
                  <a:lnTo>
                    <a:pt x="0" y="312"/>
                  </a:lnTo>
                  <a:close/>
                </a:path>
              </a:pathLst>
            </a:custGeom>
            <a:solidFill>
              <a:schemeClr val="bg2">
                <a:lumMod val="50000"/>
              </a:schemeClr>
            </a:solidFill>
            <a:ln w="31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Freeform 8"/>
            <p:cNvSpPr>
              <a:spLocks/>
            </p:cNvSpPr>
            <p:nvPr/>
          </p:nvSpPr>
          <p:spPr bwMode="auto">
            <a:xfrm>
              <a:off x="1734207" y="1836705"/>
              <a:ext cx="1435297" cy="1046078"/>
            </a:xfrm>
            <a:custGeom>
              <a:avLst/>
              <a:gdLst>
                <a:gd name="T0" fmla="*/ 0 w 1641"/>
                <a:gd name="T1" fmla="*/ 1196 h 1196"/>
                <a:gd name="T2" fmla="*/ 1641 w 1641"/>
                <a:gd name="T3" fmla="*/ 974 h 1196"/>
                <a:gd name="T4" fmla="*/ 1641 w 1641"/>
                <a:gd name="T5" fmla="*/ 0 h 1196"/>
                <a:gd name="T6" fmla="*/ 0 w 1641"/>
                <a:gd name="T7" fmla="*/ 508 h 1196"/>
                <a:gd name="T8" fmla="*/ 0 w 1641"/>
                <a:gd name="T9" fmla="*/ 1196 h 1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41" h="1196">
                  <a:moveTo>
                    <a:pt x="0" y="1196"/>
                  </a:moveTo>
                  <a:lnTo>
                    <a:pt x="1641" y="974"/>
                  </a:lnTo>
                  <a:lnTo>
                    <a:pt x="1641" y="0"/>
                  </a:lnTo>
                  <a:lnTo>
                    <a:pt x="0" y="508"/>
                  </a:lnTo>
                  <a:lnTo>
                    <a:pt x="0" y="1196"/>
                  </a:lnTo>
                  <a:close/>
                </a:path>
              </a:pathLst>
            </a:custGeom>
            <a:solidFill>
              <a:schemeClr val="bg2"/>
            </a:solidFill>
            <a:ln w="31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Freeform 9"/>
            <p:cNvSpPr>
              <a:spLocks/>
            </p:cNvSpPr>
            <p:nvPr/>
          </p:nvSpPr>
          <p:spPr bwMode="auto">
            <a:xfrm>
              <a:off x="3169503" y="1836705"/>
              <a:ext cx="1426550" cy="1046078"/>
            </a:xfrm>
            <a:custGeom>
              <a:avLst/>
              <a:gdLst>
                <a:gd name="T0" fmla="*/ 1631 w 1631"/>
                <a:gd name="T1" fmla="*/ 1196 h 1196"/>
                <a:gd name="T2" fmla="*/ 0 w 1631"/>
                <a:gd name="T3" fmla="*/ 974 h 1196"/>
                <a:gd name="T4" fmla="*/ 0 w 1631"/>
                <a:gd name="T5" fmla="*/ 0 h 1196"/>
                <a:gd name="T6" fmla="*/ 1631 w 1631"/>
                <a:gd name="T7" fmla="*/ 508 h 1196"/>
                <a:gd name="T8" fmla="*/ 1631 w 1631"/>
                <a:gd name="T9" fmla="*/ 1196 h 1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31" h="1196">
                  <a:moveTo>
                    <a:pt x="1631" y="1196"/>
                  </a:moveTo>
                  <a:lnTo>
                    <a:pt x="0" y="974"/>
                  </a:lnTo>
                  <a:lnTo>
                    <a:pt x="0" y="0"/>
                  </a:lnTo>
                  <a:lnTo>
                    <a:pt x="1631" y="508"/>
                  </a:lnTo>
                  <a:lnTo>
                    <a:pt x="1631" y="1196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31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6" name="Group 25"/>
          <p:cNvGrpSpPr/>
          <p:nvPr/>
        </p:nvGrpSpPr>
        <p:grpSpPr>
          <a:xfrm>
            <a:off x="1654252" y="4851235"/>
            <a:ext cx="4445091" cy="1554091"/>
            <a:chOff x="1101837" y="3592122"/>
            <a:chExt cx="4135333" cy="1445793"/>
          </a:xfrm>
        </p:grpSpPr>
        <p:sp>
          <p:nvSpPr>
            <p:cNvPr id="27" name="Freeform 15"/>
            <p:cNvSpPr>
              <a:spLocks/>
            </p:cNvSpPr>
            <p:nvPr/>
          </p:nvSpPr>
          <p:spPr bwMode="auto">
            <a:xfrm>
              <a:off x="1101837" y="3592122"/>
              <a:ext cx="4135333" cy="612253"/>
            </a:xfrm>
            <a:custGeom>
              <a:avLst/>
              <a:gdLst>
                <a:gd name="T0" fmla="*/ 0 w 4728"/>
                <a:gd name="T1" fmla="*/ 700 h 700"/>
                <a:gd name="T2" fmla="*/ 0 w 4728"/>
                <a:gd name="T3" fmla="*/ 216 h 700"/>
                <a:gd name="T4" fmla="*/ 2371 w 4728"/>
                <a:gd name="T5" fmla="*/ 0 h 700"/>
                <a:gd name="T6" fmla="*/ 4728 w 4728"/>
                <a:gd name="T7" fmla="*/ 201 h 700"/>
                <a:gd name="T8" fmla="*/ 4728 w 4728"/>
                <a:gd name="T9" fmla="*/ 700 h 700"/>
                <a:gd name="T10" fmla="*/ 0 w 4728"/>
                <a:gd name="T11" fmla="*/ 700 h 7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28" h="700">
                  <a:moveTo>
                    <a:pt x="0" y="700"/>
                  </a:moveTo>
                  <a:lnTo>
                    <a:pt x="0" y="216"/>
                  </a:lnTo>
                  <a:lnTo>
                    <a:pt x="2371" y="0"/>
                  </a:lnTo>
                  <a:lnTo>
                    <a:pt x="4728" y="201"/>
                  </a:lnTo>
                  <a:lnTo>
                    <a:pt x="4728" y="700"/>
                  </a:lnTo>
                  <a:lnTo>
                    <a:pt x="0" y="700"/>
                  </a:lnTo>
                  <a:close/>
                </a:path>
              </a:pathLst>
            </a:custGeom>
            <a:solidFill>
              <a:srgbClr val="252323"/>
            </a:solidFill>
            <a:ln w="31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28" name="Group 27"/>
            <p:cNvGrpSpPr/>
            <p:nvPr/>
          </p:nvGrpSpPr>
          <p:grpSpPr>
            <a:xfrm>
              <a:off x="1101837" y="3767926"/>
              <a:ext cx="4135332" cy="1269989"/>
              <a:chOff x="1101837" y="3767926"/>
              <a:chExt cx="4135332" cy="1269989"/>
            </a:xfrm>
          </p:grpSpPr>
          <p:sp>
            <p:nvSpPr>
              <p:cNvPr id="29" name="Freeform 13"/>
              <p:cNvSpPr>
                <a:spLocks/>
              </p:cNvSpPr>
              <p:nvPr/>
            </p:nvSpPr>
            <p:spPr bwMode="auto">
              <a:xfrm>
                <a:off x="1101837" y="3781046"/>
                <a:ext cx="2067666" cy="1256869"/>
              </a:xfrm>
              <a:custGeom>
                <a:avLst/>
                <a:gdLst>
                  <a:gd name="T0" fmla="*/ 0 w 2364"/>
                  <a:gd name="T1" fmla="*/ 555 h 1437"/>
                  <a:gd name="T2" fmla="*/ 2364 w 2364"/>
                  <a:gd name="T3" fmla="*/ 1437 h 1437"/>
                  <a:gd name="T4" fmla="*/ 2364 w 2364"/>
                  <a:gd name="T5" fmla="*/ 447 h 1437"/>
                  <a:gd name="T6" fmla="*/ 0 w 2364"/>
                  <a:gd name="T7" fmla="*/ 0 h 1437"/>
                  <a:gd name="T8" fmla="*/ 0 w 2364"/>
                  <a:gd name="T9" fmla="*/ 555 h 14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64" h="1437">
                    <a:moveTo>
                      <a:pt x="0" y="555"/>
                    </a:moveTo>
                    <a:lnTo>
                      <a:pt x="2364" y="1437"/>
                    </a:lnTo>
                    <a:lnTo>
                      <a:pt x="2364" y="447"/>
                    </a:lnTo>
                    <a:lnTo>
                      <a:pt x="0" y="0"/>
                    </a:lnTo>
                    <a:lnTo>
                      <a:pt x="0" y="555"/>
                    </a:lnTo>
                    <a:close/>
                  </a:path>
                </a:pathLst>
              </a:custGeom>
              <a:solidFill>
                <a:srgbClr val="555353"/>
              </a:solidFill>
              <a:ln w="31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0" name="Freeform 14"/>
              <p:cNvSpPr>
                <a:spLocks/>
              </p:cNvSpPr>
              <p:nvPr/>
            </p:nvSpPr>
            <p:spPr bwMode="auto">
              <a:xfrm>
                <a:off x="3169503" y="3767926"/>
                <a:ext cx="2067666" cy="1269988"/>
              </a:xfrm>
              <a:custGeom>
                <a:avLst/>
                <a:gdLst>
                  <a:gd name="T0" fmla="*/ 2364 w 2364"/>
                  <a:gd name="T1" fmla="*/ 563 h 1452"/>
                  <a:gd name="T2" fmla="*/ 0 w 2364"/>
                  <a:gd name="T3" fmla="*/ 1452 h 1452"/>
                  <a:gd name="T4" fmla="*/ 0 w 2364"/>
                  <a:gd name="T5" fmla="*/ 462 h 1452"/>
                  <a:gd name="T6" fmla="*/ 2364 w 2364"/>
                  <a:gd name="T7" fmla="*/ 0 h 1452"/>
                  <a:gd name="T8" fmla="*/ 2364 w 2364"/>
                  <a:gd name="T9" fmla="*/ 563 h 14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64" h="1452">
                    <a:moveTo>
                      <a:pt x="2364" y="563"/>
                    </a:moveTo>
                    <a:lnTo>
                      <a:pt x="0" y="1452"/>
                    </a:lnTo>
                    <a:lnTo>
                      <a:pt x="0" y="462"/>
                    </a:lnTo>
                    <a:lnTo>
                      <a:pt x="2364" y="0"/>
                    </a:lnTo>
                    <a:lnTo>
                      <a:pt x="2364" y="563"/>
                    </a:lnTo>
                    <a:close/>
                  </a:path>
                </a:pathLst>
              </a:custGeom>
              <a:solidFill>
                <a:srgbClr val="3B3939"/>
              </a:solidFill>
              <a:ln w="31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31" name="Group 30"/>
          <p:cNvGrpSpPr/>
          <p:nvPr/>
        </p:nvGrpSpPr>
        <p:grpSpPr>
          <a:xfrm>
            <a:off x="1958866" y="4156215"/>
            <a:ext cx="3827404" cy="941103"/>
            <a:chOff x="1385223" y="2945534"/>
            <a:chExt cx="3560689" cy="875522"/>
          </a:xfrm>
        </p:grpSpPr>
        <p:sp>
          <p:nvSpPr>
            <p:cNvPr id="32" name="Freeform 11"/>
            <p:cNvSpPr>
              <a:spLocks/>
            </p:cNvSpPr>
            <p:nvPr/>
          </p:nvSpPr>
          <p:spPr bwMode="auto">
            <a:xfrm>
              <a:off x="1385223" y="2945534"/>
              <a:ext cx="1790404" cy="875522"/>
            </a:xfrm>
            <a:custGeom>
              <a:avLst/>
              <a:gdLst>
                <a:gd name="T0" fmla="*/ 0 w 2047"/>
                <a:gd name="T1" fmla="*/ 741 h 1001"/>
                <a:gd name="T2" fmla="*/ 2047 w 2047"/>
                <a:gd name="T3" fmla="*/ 1001 h 1001"/>
                <a:gd name="T4" fmla="*/ 2047 w 2047"/>
                <a:gd name="T5" fmla="*/ 0 h 1001"/>
                <a:gd name="T6" fmla="*/ 0 w 2047"/>
                <a:gd name="T7" fmla="*/ 121 h 1001"/>
                <a:gd name="T8" fmla="*/ 0 w 2047"/>
                <a:gd name="T9" fmla="*/ 74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47" h="1001">
                  <a:moveTo>
                    <a:pt x="0" y="741"/>
                  </a:moveTo>
                  <a:lnTo>
                    <a:pt x="2047" y="1001"/>
                  </a:lnTo>
                  <a:lnTo>
                    <a:pt x="2047" y="0"/>
                  </a:lnTo>
                  <a:lnTo>
                    <a:pt x="0" y="121"/>
                  </a:lnTo>
                  <a:lnTo>
                    <a:pt x="0" y="741"/>
                  </a:lnTo>
                  <a:close/>
                </a:path>
              </a:pathLst>
            </a:custGeom>
            <a:solidFill>
              <a:srgbClr val="8EDCDA"/>
            </a:solidFill>
            <a:ln w="31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Freeform 12"/>
            <p:cNvSpPr>
              <a:spLocks/>
            </p:cNvSpPr>
            <p:nvPr/>
          </p:nvSpPr>
          <p:spPr bwMode="auto">
            <a:xfrm>
              <a:off x="3175626" y="2945534"/>
              <a:ext cx="1770286" cy="875522"/>
            </a:xfrm>
            <a:custGeom>
              <a:avLst/>
              <a:gdLst>
                <a:gd name="T0" fmla="*/ 2024 w 2024"/>
                <a:gd name="T1" fmla="*/ 741 h 1001"/>
                <a:gd name="T2" fmla="*/ 0 w 2024"/>
                <a:gd name="T3" fmla="*/ 1001 h 1001"/>
                <a:gd name="T4" fmla="*/ 0 w 2024"/>
                <a:gd name="T5" fmla="*/ 0 h 1001"/>
                <a:gd name="T6" fmla="*/ 2024 w 2024"/>
                <a:gd name="T7" fmla="*/ 121 h 1001"/>
                <a:gd name="T8" fmla="*/ 2024 w 2024"/>
                <a:gd name="T9" fmla="*/ 74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24" h="1001">
                  <a:moveTo>
                    <a:pt x="2024" y="741"/>
                  </a:moveTo>
                  <a:lnTo>
                    <a:pt x="0" y="1001"/>
                  </a:lnTo>
                  <a:lnTo>
                    <a:pt x="0" y="0"/>
                  </a:lnTo>
                  <a:lnTo>
                    <a:pt x="2024" y="121"/>
                  </a:lnTo>
                  <a:lnTo>
                    <a:pt x="2024" y="741"/>
                  </a:lnTo>
                  <a:close/>
                </a:path>
              </a:pathLst>
            </a:custGeom>
            <a:solidFill>
              <a:srgbClr val="78D2D2"/>
            </a:solidFill>
            <a:ln w="31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34" name="TextBox 33"/>
          <p:cNvSpPr txBox="1"/>
          <p:nvPr/>
        </p:nvSpPr>
        <p:spPr>
          <a:xfrm>
            <a:off x="2910817" y="2340467"/>
            <a:ext cx="793822" cy="198498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  <a:scene3d>
              <a:camera prst="perspectiveHeroicExtremeRightFacing" fov="3600000">
                <a:rot lat="1800000" lon="19200000" rev="0"/>
              </a:camera>
              <a:lightRig rig="threePt" dir="t"/>
            </a:scene3d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PT. 1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2683079" y="3496943"/>
            <a:ext cx="793822" cy="184666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  <a:scene3d>
              <a:camera prst="perspectiveHeroicExtremeRightFacing" fov="3600000">
                <a:rot lat="600000" lon="19200000" rev="0"/>
              </a:camera>
              <a:lightRig rig="threePt" dir="t"/>
            </a:scene3d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DEPT. 2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2350217" y="4461274"/>
            <a:ext cx="793822" cy="198498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  <a:scene3d>
              <a:camera prst="perspectiveHeroicExtremeRightFacing" fov="3600000">
                <a:rot lat="0" lon="19500000" rev="0"/>
              </a:camera>
              <a:lightRig rig="threePt" dir="t"/>
            </a:scene3d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PT. 3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2083450" y="5461415"/>
            <a:ext cx="793822" cy="198498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  <a:scene3d>
              <a:camera prst="perspectiveHeroicExtremeRightFacing" fov="3600000">
                <a:rot lat="1080000" lon="2400000" rev="0"/>
              </a:camera>
              <a:lightRig rig="threePt" dir="t"/>
            </a:scene3d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PT. 4</a:t>
            </a:r>
          </a:p>
        </p:txBody>
      </p:sp>
      <p:sp>
        <p:nvSpPr>
          <p:cNvPr id="47" name="Oval 46"/>
          <p:cNvSpPr/>
          <p:nvPr/>
        </p:nvSpPr>
        <p:spPr>
          <a:xfrm>
            <a:off x="5250571" y="2790389"/>
            <a:ext cx="193482" cy="193483"/>
          </a:xfrm>
          <a:prstGeom prst="ellipse">
            <a:avLst/>
          </a:prstGeom>
          <a:solidFill>
            <a:schemeClr val="bg1"/>
          </a:solidFill>
          <a:ln w="3175" cap="flat">
            <a:noFill/>
            <a:prstDash val="solid"/>
            <a:miter lim="800000"/>
            <a:headEnd/>
            <a:tailEnd/>
          </a:ln>
          <a:effectLst>
            <a:outerShdw blurRad="38100" dist="25400" dir="5400000" algn="t" rotWithShape="0">
              <a:prstClr val="black">
                <a:alpha val="2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9" name="Oval 48"/>
          <p:cNvSpPr/>
          <p:nvPr/>
        </p:nvSpPr>
        <p:spPr>
          <a:xfrm>
            <a:off x="5497588" y="2790389"/>
            <a:ext cx="193482" cy="193483"/>
          </a:xfrm>
          <a:prstGeom prst="ellipse">
            <a:avLst/>
          </a:prstGeom>
          <a:solidFill>
            <a:schemeClr val="bg1"/>
          </a:solidFill>
          <a:ln w="3175" cap="flat">
            <a:noFill/>
            <a:prstDash val="solid"/>
            <a:miter lim="800000"/>
            <a:headEnd/>
            <a:tailEnd/>
          </a:ln>
          <a:effectLst>
            <a:outerShdw blurRad="38100" dist="25400" dir="5400000" algn="t" rotWithShape="0">
              <a:prstClr val="black">
                <a:alpha val="2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1" name="Oval 50"/>
          <p:cNvSpPr/>
          <p:nvPr/>
        </p:nvSpPr>
        <p:spPr>
          <a:xfrm>
            <a:off x="5744605" y="2790389"/>
            <a:ext cx="193482" cy="193483"/>
          </a:xfrm>
          <a:prstGeom prst="ellipse">
            <a:avLst/>
          </a:prstGeom>
          <a:solidFill>
            <a:schemeClr val="bg1"/>
          </a:solidFill>
          <a:ln w="3175" cap="flat">
            <a:noFill/>
            <a:prstDash val="solid"/>
            <a:miter lim="800000"/>
            <a:headEnd/>
            <a:tailEnd/>
          </a:ln>
          <a:effectLst>
            <a:outerShdw blurRad="38100" dist="25400" dir="5400000" algn="t" rotWithShape="0">
              <a:prstClr val="black">
                <a:alpha val="2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solidFill>
                <a:prstClr val="black"/>
              </a:solidFill>
              <a:latin typeface="Calibri"/>
            </a:endParaRPr>
          </a:p>
        </p:txBody>
      </p:sp>
      <p:grpSp>
        <p:nvGrpSpPr>
          <p:cNvPr id="43" name="Group 42"/>
          <p:cNvGrpSpPr/>
          <p:nvPr/>
        </p:nvGrpSpPr>
        <p:grpSpPr>
          <a:xfrm>
            <a:off x="5061149" y="2425465"/>
            <a:ext cx="1066360" cy="320012"/>
            <a:chOff x="3712502" y="2528037"/>
            <a:chExt cx="992050" cy="297712"/>
          </a:xfrm>
        </p:grpSpPr>
        <p:sp>
          <p:nvSpPr>
            <p:cNvPr id="44" name="TextBox 43"/>
            <p:cNvSpPr txBox="1"/>
            <p:nvPr/>
          </p:nvSpPr>
          <p:spPr>
            <a:xfrm>
              <a:off x="3938576" y="2682585"/>
              <a:ext cx="539902" cy="143164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Leader</a:t>
              </a:r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3712502" y="2528037"/>
              <a:ext cx="992050" cy="143164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MEMBER </a:t>
              </a: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NAME</a:t>
              </a:r>
            </a:p>
          </p:txBody>
        </p:sp>
      </p:grpSp>
      <p:cxnSp>
        <p:nvCxnSpPr>
          <p:cNvPr id="40" name="Straight Connector 39"/>
          <p:cNvCxnSpPr/>
          <p:nvPr/>
        </p:nvCxnSpPr>
        <p:spPr>
          <a:xfrm flipV="1">
            <a:off x="6196389" y="2450455"/>
            <a:ext cx="0" cy="508427"/>
          </a:xfrm>
          <a:prstGeom prst="line">
            <a:avLst/>
          </a:prstGeom>
          <a:ln w="63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/>
          <p:cNvSpPr txBox="1"/>
          <p:nvPr/>
        </p:nvSpPr>
        <p:spPr>
          <a:xfrm>
            <a:off x="6265269" y="2473835"/>
            <a:ext cx="2330469" cy="461665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Lorem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Ipsum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is simply dummy text of the printing and typesetting industry. Lorem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Ipsum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has been the industry's standard.</a:t>
            </a:r>
          </a:p>
        </p:txBody>
      </p:sp>
      <p:sp>
        <p:nvSpPr>
          <p:cNvPr id="63" name="Oval 62"/>
          <p:cNvSpPr/>
          <p:nvPr/>
        </p:nvSpPr>
        <p:spPr>
          <a:xfrm>
            <a:off x="5648583" y="3608749"/>
            <a:ext cx="193482" cy="193483"/>
          </a:xfrm>
          <a:prstGeom prst="ellipse">
            <a:avLst/>
          </a:prstGeom>
          <a:solidFill>
            <a:schemeClr val="bg1"/>
          </a:solidFill>
          <a:ln w="3175" cap="flat">
            <a:noFill/>
            <a:prstDash val="solid"/>
            <a:miter lim="800000"/>
            <a:headEnd/>
            <a:tailEnd/>
          </a:ln>
          <a:effectLst>
            <a:outerShdw blurRad="38100" dist="25400" dir="5400000" algn="t" rotWithShape="0">
              <a:prstClr val="black">
                <a:alpha val="2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5" name="Oval 64"/>
          <p:cNvSpPr/>
          <p:nvPr/>
        </p:nvSpPr>
        <p:spPr>
          <a:xfrm>
            <a:off x="5895600" y="3608749"/>
            <a:ext cx="193482" cy="193483"/>
          </a:xfrm>
          <a:prstGeom prst="ellipse">
            <a:avLst/>
          </a:prstGeom>
          <a:solidFill>
            <a:schemeClr val="bg1"/>
          </a:solidFill>
          <a:ln w="3175" cap="flat">
            <a:noFill/>
            <a:prstDash val="solid"/>
            <a:miter lim="800000"/>
            <a:headEnd/>
            <a:tailEnd/>
          </a:ln>
          <a:effectLst>
            <a:outerShdw blurRad="38100" dist="25400" dir="5400000" algn="t" rotWithShape="0">
              <a:prstClr val="black">
                <a:alpha val="2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7" name="Oval 66"/>
          <p:cNvSpPr/>
          <p:nvPr/>
        </p:nvSpPr>
        <p:spPr>
          <a:xfrm>
            <a:off x="6142617" y="3608749"/>
            <a:ext cx="193482" cy="193483"/>
          </a:xfrm>
          <a:prstGeom prst="ellipse">
            <a:avLst/>
          </a:prstGeom>
          <a:solidFill>
            <a:schemeClr val="bg1"/>
          </a:solidFill>
          <a:ln w="3175" cap="flat">
            <a:noFill/>
            <a:prstDash val="solid"/>
            <a:miter lim="800000"/>
            <a:headEnd/>
            <a:tailEnd/>
          </a:ln>
          <a:effectLst>
            <a:outerShdw blurRad="38100" dist="25400" dir="5400000" algn="t" rotWithShape="0">
              <a:prstClr val="black">
                <a:alpha val="2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solidFill>
                <a:prstClr val="black"/>
              </a:solidFill>
              <a:latin typeface="Calibri"/>
            </a:endParaRPr>
          </a:p>
        </p:txBody>
      </p:sp>
      <p:grpSp>
        <p:nvGrpSpPr>
          <p:cNvPr id="59" name="Group 58"/>
          <p:cNvGrpSpPr/>
          <p:nvPr/>
        </p:nvGrpSpPr>
        <p:grpSpPr>
          <a:xfrm>
            <a:off x="5459161" y="3243825"/>
            <a:ext cx="1066360" cy="320012"/>
            <a:chOff x="3712502" y="2528037"/>
            <a:chExt cx="992050" cy="297712"/>
          </a:xfrm>
        </p:grpSpPr>
        <p:sp>
          <p:nvSpPr>
            <p:cNvPr id="60" name="TextBox 59"/>
            <p:cNvSpPr txBox="1"/>
            <p:nvPr/>
          </p:nvSpPr>
          <p:spPr>
            <a:xfrm>
              <a:off x="3938576" y="2682585"/>
              <a:ext cx="539902" cy="143164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Leader</a:t>
              </a:r>
            </a:p>
          </p:txBody>
        </p:sp>
        <p:sp>
          <p:nvSpPr>
            <p:cNvPr id="61" name="TextBox 60"/>
            <p:cNvSpPr txBox="1"/>
            <p:nvPr/>
          </p:nvSpPr>
          <p:spPr>
            <a:xfrm>
              <a:off x="3712502" y="2528037"/>
              <a:ext cx="992050" cy="143164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MEMBER </a:t>
              </a: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NAME</a:t>
              </a:r>
            </a:p>
          </p:txBody>
        </p:sp>
      </p:grpSp>
      <p:cxnSp>
        <p:nvCxnSpPr>
          <p:cNvPr id="56" name="Straight Connector 55"/>
          <p:cNvCxnSpPr/>
          <p:nvPr/>
        </p:nvCxnSpPr>
        <p:spPr>
          <a:xfrm flipV="1">
            <a:off x="6594401" y="3268815"/>
            <a:ext cx="0" cy="508427"/>
          </a:xfrm>
          <a:prstGeom prst="line">
            <a:avLst/>
          </a:prstGeom>
          <a:ln w="63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Box 56"/>
          <p:cNvSpPr txBox="1"/>
          <p:nvPr/>
        </p:nvSpPr>
        <p:spPr>
          <a:xfrm>
            <a:off x="6663281" y="3292195"/>
            <a:ext cx="2330469" cy="461665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Lorem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Ipsum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is simply dummy text of the printing and typesetting industry. Lorem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Ipsum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has been the industry's standard.</a:t>
            </a:r>
          </a:p>
        </p:txBody>
      </p:sp>
      <p:sp>
        <p:nvSpPr>
          <p:cNvPr id="79" name="Oval 78"/>
          <p:cNvSpPr/>
          <p:nvPr/>
        </p:nvSpPr>
        <p:spPr>
          <a:xfrm>
            <a:off x="6046595" y="4427109"/>
            <a:ext cx="193482" cy="193483"/>
          </a:xfrm>
          <a:prstGeom prst="ellipse">
            <a:avLst/>
          </a:prstGeom>
          <a:solidFill>
            <a:schemeClr val="bg1"/>
          </a:solidFill>
          <a:ln w="3175" cap="flat">
            <a:noFill/>
            <a:prstDash val="solid"/>
            <a:miter lim="800000"/>
            <a:headEnd/>
            <a:tailEnd/>
          </a:ln>
          <a:effectLst>
            <a:outerShdw blurRad="38100" dist="25400" dir="5400000" algn="t" rotWithShape="0">
              <a:prstClr val="black">
                <a:alpha val="2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solidFill>
                <a:prstClr val="black"/>
              </a:solidFill>
              <a:latin typeface="Calibri"/>
            </a:endParaRPr>
          </a:p>
        </p:txBody>
      </p:sp>
      <p:sp>
        <p:nvSpPr>
          <p:cNvPr id="81" name="Oval 80"/>
          <p:cNvSpPr/>
          <p:nvPr/>
        </p:nvSpPr>
        <p:spPr>
          <a:xfrm>
            <a:off x="6293612" y="4427109"/>
            <a:ext cx="193482" cy="193483"/>
          </a:xfrm>
          <a:prstGeom prst="ellipse">
            <a:avLst/>
          </a:prstGeom>
          <a:solidFill>
            <a:schemeClr val="bg1"/>
          </a:solidFill>
          <a:ln w="3175" cap="flat">
            <a:noFill/>
            <a:prstDash val="solid"/>
            <a:miter lim="800000"/>
            <a:headEnd/>
            <a:tailEnd/>
          </a:ln>
          <a:effectLst>
            <a:outerShdw blurRad="38100" dist="25400" dir="5400000" algn="t" rotWithShape="0">
              <a:prstClr val="black">
                <a:alpha val="2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solidFill>
                <a:prstClr val="black"/>
              </a:solidFill>
              <a:latin typeface="Calibri"/>
            </a:endParaRPr>
          </a:p>
        </p:txBody>
      </p:sp>
      <p:sp>
        <p:nvSpPr>
          <p:cNvPr id="83" name="Oval 82"/>
          <p:cNvSpPr/>
          <p:nvPr/>
        </p:nvSpPr>
        <p:spPr>
          <a:xfrm>
            <a:off x="6540629" y="4427109"/>
            <a:ext cx="193482" cy="193483"/>
          </a:xfrm>
          <a:prstGeom prst="ellipse">
            <a:avLst/>
          </a:prstGeom>
          <a:solidFill>
            <a:schemeClr val="bg1"/>
          </a:solidFill>
          <a:ln w="3175" cap="flat">
            <a:noFill/>
            <a:prstDash val="solid"/>
            <a:miter lim="800000"/>
            <a:headEnd/>
            <a:tailEnd/>
          </a:ln>
          <a:effectLst>
            <a:outerShdw blurRad="38100" dist="25400" dir="5400000" algn="t" rotWithShape="0">
              <a:prstClr val="black">
                <a:alpha val="2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solidFill>
                <a:prstClr val="black"/>
              </a:solidFill>
              <a:latin typeface="Calibri"/>
            </a:endParaRPr>
          </a:p>
        </p:txBody>
      </p:sp>
      <p:grpSp>
        <p:nvGrpSpPr>
          <p:cNvPr id="75" name="Group 74"/>
          <p:cNvGrpSpPr/>
          <p:nvPr/>
        </p:nvGrpSpPr>
        <p:grpSpPr>
          <a:xfrm>
            <a:off x="5857173" y="4062185"/>
            <a:ext cx="1066360" cy="320012"/>
            <a:chOff x="3712502" y="2528037"/>
            <a:chExt cx="992050" cy="297712"/>
          </a:xfrm>
        </p:grpSpPr>
        <p:sp>
          <p:nvSpPr>
            <p:cNvPr id="76" name="TextBox 75"/>
            <p:cNvSpPr txBox="1"/>
            <p:nvPr/>
          </p:nvSpPr>
          <p:spPr>
            <a:xfrm>
              <a:off x="3938576" y="2682585"/>
              <a:ext cx="539902" cy="143164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Leader</a:t>
              </a:r>
            </a:p>
          </p:txBody>
        </p:sp>
        <p:sp>
          <p:nvSpPr>
            <p:cNvPr id="77" name="TextBox 76"/>
            <p:cNvSpPr txBox="1"/>
            <p:nvPr/>
          </p:nvSpPr>
          <p:spPr>
            <a:xfrm>
              <a:off x="3712502" y="2528037"/>
              <a:ext cx="992050" cy="143164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MEMBER </a:t>
              </a: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NAME</a:t>
              </a:r>
            </a:p>
          </p:txBody>
        </p:sp>
      </p:grpSp>
      <p:cxnSp>
        <p:nvCxnSpPr>
          <p:cNvPr id="72" name="Straight Connector 71"/>
          <p:cNvCxnSpPr/>
          <p:nvPr/>
        </p:nvCxnSpPr>
        <p:spPr>
          <a:xfrm flipV="1">
            <a:off x="6992413" y="4087175"/>
            <a:ext cx="0" cy="508427"/>
          </a:xfrm>
          <a:prstGeom prst="line">
            <a:avLst/>
          </a:prstGeom>
          <a:ln w="63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TextBox 72"/>
          <p:cNvSpPr txBox="1"/>
          <p:nvPr/>
        </p:nvSpPr>
        <p:spPr>
          <a:xfrm>
            <a:off x="7061293" y="4110555"/>
            <a:ext cx="2330469" cy="461665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Lorem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Ipsum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is simply dummy text of the printing and typesetting industry. Lorem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Ipsum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has been the industry's standard.</a:t>
            </a:r>
          </a:p>
        </p:txBody>
      </p:sp>
      <p:sp>
        <p:nvSpPr>
          <p:cNvPr id="95" name="Oval 94"/>
          <p:cNvSpPr/>
          <p:nvPr/>
        </p:nvSpPr>
        <p:spPr>
          <a:xfrm>
            <a:off x="6444607" y="5245468"/>
            <a:ext cx="193482" cy="193483"/>
          </a:xfrm>
          <a:prstGeom prst="ellipse">
            <a:avLst/>
          </a:prstGeom>
          <a:solidFill>
            <a:schemeClr val="bg1"/>
          </a:solidFill>
          <a:ln w="3175" cap="flat">
            <a:noFill/>
            <a:prstDash val="solid"/>
            <a:miter lim="800000"/>
            <a:headEnd/>
            <a:tailEnd/>
          </a:ln>
          <a:effectLst>
            <a:outerShdw blurRad="38100" dist="25400" dir="5400000" algn="t" rotWithShape="0">
              <a:prstClr val="black">
                <a:alpha val="2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solidFill>
                <a:prstClr val="black"/>
              </a:solidFill>
              <a:latin typeface="Calibri"/>
            </a:endParaRPr>
          </a:p>
        </p:txBody>
      </p:sp>
      <p:sp>
        <p:nvSpPr>
          <p:cNvPr id="97" name="Oval 96"/>
          <p:cNvSpPr/>
          <p:nvPr/>
        </p:nvSpPr>
        <p:spPr>
          <a:xfrm>
            <a:off x="6691624" y="5245468"/>
            <a:ext cx="193482" cy="193483"/>
          </a:xfrm>
          <a:prstGeom prst="ellipse">
            <a:avLst/>
          </a:prstGeom>
          <a:solidFill>
            <a:schemeClr val="bg1"/>
          </a:solidFill>
          <a:ln w="3175" cap="flat">
            <a:noFill/>
            <a:prstDash val="solid"/>
            <a:miter lim="800000"/>
            <a:headEnd/>
            <a:tailEnd/>
          </a:ln>
          <a:effectLst>
            <a:outerShdw blurRad="38100" dist="25400" dir="5400000" algn="t" rotWithShape="0">
              <a:prstClr val="black">
                <a:alpha val="2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solidFill>
                <a:prstClr val="black"/>
              </a:solidFill>
              <a:latin typeface="Calibri"/>
            </a:endParaRPr>
          </a:p>
        </p:txBody>
      </p:sp>
      <p:sp>
        <p:nvSpPr>
          <p:cNvPr id="99" name="Oval 98"/>
          <p:cNvSpPr/>
          <p:nvPr/>
        </p:nvSpPr>
        <p:spPr>
          <a:xfrm>
            <a:off x="6938641" y="5245468"/>
            <a:ext cx="193482" cy="193483"/>
          </a:xfrm>
          <a:prstGeom prst="ellipse">
            <a:avLst/>
          </a:prstGeom>
          <a:solidFill>
            <a:schemeClr val="bg1"/>
          </a:solidFill>
          <a:ln w="3175" cap="flat">
            <a:noFill/>
            <a:prstDash val="solid"/>
            <a:miter lim="800000"/>
            <a:headEnd/>
            <a:tailEnd/>
          </a:ln>
          <a:effectLst>
            <a:outerShdw blurRad="38100" dist="25400" dir="5400000" algn="t" rotWithShape="0">
              <a:prstClr val="black">
                <a:alpha val="2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solidFill>
                <a:prstClr val="black"/>
              </a:solidFill>
              <a:latin typeface="Calibri"/>
            </a:endParaRPr>
          </a:p>
        </p:txBody>
      </p:sp>
      <p:grpSp>
        <p:nvGrpSpPr>
          <p:cNvPr id="91" name="Group 90"/>
          <p:cNvGrpSpPr/>
          <p:nvPr/>
        </p:nvGrpSpPr>
        <p:grpSpPr>
          <a:xfrm>
            <a:off x="6255185" y="4880544"/>
            <a:ext cx="1066360" cy="320012"/>
            <a:chOff x="3712502" y="2528037"/>
            <a:chExt cx="992050" cy="297712"/>
          </a:xfrm>
        </p:grpSpPr>
        <p:sp>
          <p:nvSpPr>
            <p:cNvPr id="92" name="TextBox 91"/>
            <p:cNvSpPr txBox="1"/>
            <p:nvPr/>
          </p:nvSpPr>
          <p:spPr>
            <a:xfrm>
              <a:off x="3938576" y="2682585"/>
              <a:ext cx="539902" cy="143164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Leader</a:t>
              </a:r>
            </a:p>
          </p:txBody>
        </p:sp>
        <p:sp>
          <p:nvSpPr>
            <p:cNvPr id="93" name="TextBox 92"/>
            <p:cNvSpPr txBox="1"/>
            <p:nvPr/>
          </p:nvSpPr>
          <p:spPr>
            <a:xfrm>
              <a:off x="3712502" y="2528037"/>
              <a:ext cx="992050" cy="143164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MEMBER </a:t>
              </a: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NAME</a:t>
              </a:r>
            </a:p>
          </p:txBody>
        </p:sp>
      </p:grpSp>
      <p:cxnSp>
        <p:nvCxnSpPr>
          <p:cNvPr id="88" name="Straight Connector 87"/>
          <p:cNvCxnSpPr/>
          <p:nvPr/>
        </p:nvCxnSpPr>
        <p:spPr>
          <a:xfrm flipV="1">
            <a:off x="7390425" y="4905534"/>
            <a:ext cx="0" cy="508427"/>
          </a:xfrm>
          <a:prstGeom prst="line">
            <a:avLst/>
          </a:prstGeom>
          <a:ln w="63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TextBox 88"/>
          <p:cNvSpPr txBox="1"/>
          <p:nvPr/>
        </p:nvSpPr>
        <p:spPr>
          <a:xfrm>
            <a:off x="7459305" y="4928914"/>
            <a:ext cx="2330469" cy="461665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Lorem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Ipsum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is simply dummy text of the printing and typesetting industry. Lorem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Ipsum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has been the industry's standard.</a:t>
            </a:r>
          </a:p>
        </p:txBody>
      </p:sp>
      <p:sp>
        <p:nvSpPr>
          <p:cNvPr id="103" name="Rectangle 102"/>
          <p:cNvSpPr/>
          <p:nvPr/>
        </p:nvSpPr>
        <p:spPr>
          <a:xfrm>
            <a:off x="12344400" y="0"/>
            <a:ext cx="469900" cy="469900"/>
          </a:xfrm>
          <a:prstGeom prst="rect">
            <a:avLst/>
          </a:pr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4" name="Rectangle 103"/>
          <p:cNvSpPr/>
          <p:nvPr/>
        </p:nvSpPr>
        <p:spPr>
          <a:xfrm>
            <a:off x="12344400" y="649557"/>
            <a:ext cx="469900" cy="469900"/>
          </a:xfrm>
          <a:prstGeom prst="rect">
            <a:avLst/>
          </a:prstGeom>
          <a:solidFill>
            <a:srgbClr val="AFAB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5" name="Rectangle 104"/>
          <p:cNvSpPr/>
          <p:nvPr/>
        </p:nvSpPr>
        <p:spPr>
          <a:xfrm>
            <a:off x="12344400" y="1299114"/>
            <a:ext cx="469900" cy="469900"/>
          </a:xfrm>
          <a:prstGeom prst="rect">
            <a:avLst/>
          </a:prstGeom>
          <a:solidFill>
            <a:srgbClr val="7671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7" name="Rectangle 106"/>
          <p:cNvSpPr/>
          <p:nvPr/>
        </p:nvSpPr>
        <p:spPr>
          <a:xfrm>
            <a:off x="12966699" y="0"/>
            <a:ext cx="469900" cy="469900"/>
          </a:xfrm>
          <a:prstGeom prst="rect">
            <a:avLst/>
          </a:prstGeom>
          <a:solidFill>
            <a:srgbClr val="E878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8" name="Rectangle 107"/>
          <p:cNvSpPr/>
          <p:nvPr/>
        </p:nvSpPr>
        <p:spPr>
          <a:xfrm>
            <a:off x="12966699" y="649557"/>
            <a:ext cx="469900" cy="469900"/>
          </a:xfrm>
          <a:prstGeom prst="rect">
            <a:avLst/>
          </a:prstGeom>
          <a:solidFill>
            <a:srgbClr val="E258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9" name="Rectangle 108"/>
          <p:cNvSpPr/>
          <p:nvPr/>
        </p:nvSpPr>
        <p:spPr>
          <a:xfrm>
            <a:off x="12966699" y="1299114"/>
            <a:ext cx="469900" cy="469900"/>
          </a:xfrm>
          <a:prstGeom prst="rect">
            <a:avLst/>
          </a:prstGeom>
          <a:solidFill>
            <a:srgbClr val="D63E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0" name="Rectangle 109"/>
          <p:cNvSpPr/>
          <p:nvPr/>
        </p:nvSpPr>
        <p:spPr>
          <a:xfrm>
            <a:off x="13588998" y="0"/>
            <a:ext cx="469900" cy="469900"/>
          </a:xfrm>
          <a:prstGeom prst="rect">
            <a:avLst/>
          </a:prstGeom>
          <a:solidFill>
            <a:srgbClr val="8EDC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1" name="Rectangle 110"/>
          <p:cNvSpPr/>
          <p:nvPr/>
        </p:nvSpPr>
        <p:spPr>
          <a:xfrm>
            <a:off x="13588998" y="649557"/>
            <a:ext cx="469900" cy="469900"/>
          </a:xfrm>
          <a:prstGeom prst="rect">
            <a:avLst/>
          </a:prstGeom>
          <a:solidFill>
            <a:srgbClr val="78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2" name="Rectangle 111"/>
          <p:cNvSpPr/>
          <p:nvPr/>
        </p:nvSpPr>
        <p:spPr>
          <a:xfrm>
            <a:off x="13588998" y="1299114"/>
            <a:ext cx="469900" cy="469900"/>
          </a:xfrm>
          <a:prstGeom prst="rect">
            <a:avLst/>
          </a:prstGeom>
          <a:solidFill>
            <a:srgbClr val="4CC7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3" name="Rectangle 112"/>
          <p:cNvSpPr/>
          <p:nvPr/>
        </p:nvSpPr>
        <p:spPr>
          <a:xfrm>
            <a:off x="14211297" y="0"/>
            <a:ext cx="469900" cy="469900"/>
          </a:xfrm>
          <a:prstGeom prst="rect">
            <a:avLst/>
          </a:prstGeom>
          <a:solidFill>
            <a:srgbClr val="5553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4" name="Rectangle 113"/>
          <p:cNvSpPr/>
          <p:nvPr/>
        </p:nvSpPr>
        <p:spPr>
          <a:xfrm>
            <a:off x="14211297" y="649557"/>
            <a:ext cx="469900" cy="469900"/>
          </a:xfrm>
          <a:prstGeom prst="rect">
            <a:avLst/>
          </a:prstGeom>
          <a:solidFill>
            <a:srgbClr val="3B39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5" name="Rectangle 114"/>
          <p:cNvSpPr/>
          <p:nvPr/>
        </p:nvSpPr>
        <p:spPr>
          <a:xfrm>
            <a:off x="14211297" y="1299114"/>
            <a:ext cx="469900" cy="469900"/>
          </a:xfrm>
          <a:prstGeom prst="rect">
            <a:avLst/>
          </a:prstGeom>
          <a:solidFill>
            <a:srgbClr val="2523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6" name="Group 45"/>
          <p:cNvGrpSpPr>
            <a:grpSpLocks noChangeAspect="1"/>
          </p:cNvGrpSpPr>
          <p:nvPr/>
        </p:nvGrpSpPr>
        <p:grpSpPr>
          <a:xfrm>
            <a:off x="5298477" y="2854521"/>
            <a:ext cx="97669" cy="65219"/>
            <a:chOff x="5867374" y="2350192"/>
            <a:chExt cx="220415" cy="147182"/>
          </a:xfrm>
          <a:solidFill>
            <a:srgbClr val="E2583D"/>
          </a:solidFill>
          <a:effectLst/>
        </p:grpSpPr>
        <p:sp>
          <p:nvSpPr>
            <p:cNvPr id="52" name="Freeform 3506"/>
            <p:cNvSpPr>
              <a:spLocks/>
            </p:cNvSpPr>
            <p:nvPr/>
          </p:nvSpPr>
          <p:spPr bwMode="auto">
            <a:xfrm>
              <a:off x="5867374" y="2355679"/>
              <a:ext cx="220415" cy="141695"/>
            </a:xfrm>
            <a:custGeom>
              <a:avLst/>
              <a:gdLst>
                <a:gd name="T0" fmla="*/ 661 w 673"/>
                <a:gd name="T1" fmla="*/ 0 h 429"/>
                <a:gd name="T2" fmla="*/ 357 w 673"/>
                <a:gd name="T3" fmla="*/ 245 h 429"/>
                <a:gd name="T4" fmla="*/ 354 w 673"/>
                <a:gd name="T5" fmla="*/ 248 h 429"/>
                <a:gd name="T6" fmla="*/ 350 w 673"/>
                <a:gd name="T7" fmla="*/ 248 h 429"/>
                <a:gd name="T8" fmla="*/ 346 w 673"/>
                <a:gd name="T9" fmla="*/ 248 h 429"/>
                <a:gd name="T10" fmla="*/ 342 w 673"/>
                <a:gd name="T11" fmla="*/ 247 h 429"/>
                <a:gd name="T12" fmla="*/ 11 w 673"/>
                <a:gd name="T13" fmla="*/ 6 h 429"/>
                <a:gd name="T14" fmla="*/ 7 w 673"/>
                <a:gd name="T15" fmla="*/ 14 h 429"/>
                <a:gd name="T16" fmla="*/ 3 w 673"/>
                <a:gd name="T17" fmla="*/ 23 h 429"/>
                <a:gd name="T18" fmla="*/ 2 w 673"/>
                <a:gd name="T19" fmla="*/ 33 h 429"/>
                <a:gd name="T20" fmla="*/ 0 w 673"/>
                <a:gd name="T21" fmla="*/ 44 h 429"/>
                <a:gd name="T22" fmla="*/ 0 w 673"/>
                <a:gd name="T23" fmla="*/ 357 h 429"/>
                <a:gd name="T24" fmla="*/ 2 w 673"/>
                <a:gd name="T25" fmla="*/ 365 h 429"/>
                <a:gd name="T26" fmla="*/ 2 w 673"/>
                <a:gd name="T27" fmla="*/ 371 h 429"/>
                <a:gd name="T28" fmla="*/ 4 w 673"/>
                <a:gd name="T29" fmla="*/ 379 h 429"/>
                <a:gd name="T30" fmla="*/ 6 w 673"/>
                <a:gd name="T31" fmla="*/ 385 h 429"/>
                <a:gd name="T32" fmla="*/ 9 w 673"/>
                <a:gd name="T33" fmla="*/ 392 h 429"/>
                <a:gd name="T34" fmla="*/ 12 w 673"/>
                <a:gd name="T35" fmla="*/ 398 h 429"/>
                <a:gd name="T36" fmla="*/ 16 w 673"/>
                <a:gd name="T37" fmla="*/ 403 h 429"/>
                <a:gd name="T38" fmla="*/ 21 w 673"/>
                <a:gd name="T39" fmla="*/ 408 h 429"/>
                <a:gd name="T40" fmla="*/ 26 w 673"/>
                <a:gd name="T41" fmla="*/ 412 h 429"/>
                <a:gd name="T42" fmla="*/ 31 w 673"/>
                <a:gd name="T43" fmla="*/ 417 h 429"/>
                <a:gd name="T44" fmla="*/ 36 w 673"/>
                <a:gd name="T45" fmla="*/ 420 h 429"/>
                <a:gd name="T46" fmla="*/ 43 w 673"/>
                <a:gd name="T47" fmla="*/ 424 h 429"/>
                <a:gd name="T48" fmla="*/ 49 w 673"/>
                <a:gd name="T49" fmla="*/ 425 h 429"/>
                <a:gd name="T50" fmla="*/ 57 w 673"/>
                <a:gd name="T51" fmla="*/ 428 h 429"/>
                <a:gd name="T52" fmla="*/ 63 w 673"/>
                <a:gd name="T53" fmla="*/ 429 h 429"/>
                <a:gd name="T54" fmla="*/ 71 w 673"/>
                <a:gd name="T55" fmla="*/ 429 h 429"/>
                <a:gd name="T56" fmla="*/ 601 w 673"/>
                <a:gd name="T57" fmla="*/ 429 h 429"/>
                <a:gd name="T58" fmla="*/ 609 w 673"/>
                <a:gd name="T59" fmla="*/ 429 h 429"/>
                <a:gd name="T60" fmla="*/ 616 w 673"/>
                <a:gd name="T61" fmla="*/ 428 h 429"/>
                <a:gd name="T62" fmla="*/ 623 w 673"/>
                <a:gd name="T63" fmla="*/ 425 h 429"/>
                <a:gd name="T64" fmla="*/ 630 w 673"/>
                <a:gd name="T65" fmla="*/ 423 h 429"/>
                <a:gd name="T66" fmla="*/ 636 w 673"/>
                <a:gd name="T67" fmla="*/ 420 h 429"/>
                <a:gd name="T68" fmla="*/ 643 w 673"/>
                <a:gd name="T69" fmla="*/ 416 h 429"/>
                <a:gd name="T70" fmla="*/ 648 w 673"/>
                <a:gd name="T71" fmla="*/ 412 h 429"/>
                <a:gd name="T72" fmla="*/ 653 w 673"/>
                <a:gd name="T73" fmla="*/ 407 h 429"/>
                <a:gd name="T74" fmla="*/ 657 w 673"/>
                <a:gd name="T75" fmla="*/ 402 h 429"/>
                <a:gd name="T76" fmla="*/ 662 w 673"/>
                <a:gd name="T77" fmla="*/ 397 h 429"/>
                <a:gd name="T78" fmla="*/ 666 w 673"/>
                <a:gd name="T79" fmla="*/ 390 h 429"/>
                <a:gd name="T80" fmla="*/ 668 w 673"/>
                <a:gd name="T81" fmla="*/ 385 h 429"/>
                <a:gd name="T82" fmla="*/ 671 w 673"/>
                <a:gd name="T83" fmla="*/ 378 h 429"/>
                <a:gd name="T84" fmla="*/ 672 w 673"/>
                <a:gd name="T85" fmla="*/ 371 h 429"/>
                <a:gd name="T86" fmla="*/ 673 w 673"/>
                <a:gd name="T87" fmla="*/ 364 h 429"/>
                <a:gd name="T88" fmla="*/ 673 w 673"/>
                <a:gd name="T89" fmla="*/ 357 h 429"/>
                <a:gd name="T90" fmla="*/ 673 w 673"/>
                <a:gd name="T91" fmla="*/ 44 h 429"/>
                <a:gd name="T92" fmla="*/ 673 w 673"/>
                <a:gd name="T93" fmla="*/ 32 h 429"/>
                <a:gd name="T94" fmla="*/ 671 w 673"/>
                <a:gd name="T95" fmla="*/ 21 h 429"/>
                <a:gd name="T96" fmla="*/ 666 w 673"/>
                <a:gd name="T97" fmla="*/ 10 h 429"/>
                <a:gd name="T98" fmla="*/ 661 w 673"/>
                <a:gd name="T99" fmla="*/ 0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673" h="429">
                  <a:moveTo>
                    <a:pt x="661" y="0"/>
                  </a:moveTo>
                  <a:lnTo>
                    <a:pt x="357" y="245"/>
                  </a:lnTo>
                  <a:lnTo>
                    <a:pt x="354" y="248"/>
                  </a:lnTo>
                  <a:lnTo>
                    <a:pt x="350" y="248"/>
                  </a:lnTo>
                  <a:lnTo>
                    <a:pt x="346" y="248"/>
                  </a:lnTo>
                  <a:lnTo>
                    <a:pt x="342" y="247"/>
                  </a:lnTo>
                  <a:lnTo>
                    <a:pt x="11" y="6"/>
                  </a:lnTo>
                  <a:lnTo>
                    <a:pt x="7" y="14"/>
                  </a:lnTo>
                  <a:lnTo>
                    <a:pt x="3" y="23"/>
                  </a:lnTo>
                  <a:lnTo>
                    <a:pt x="2" y="33"/>
                  </a:lnTo>
                  <a:lnTo>
                    <a:pt x="0" y="44"/>
                  </a:lnTo>
                  <a:lnTo>
                    <a:pt x="0" y="357"/>
                  </a:lnTo>
                  <a:lnTo>
                    <a:pt x="2" y="365"/>
                  </a:lnTo>
                  <a:lnTo>
                    <a:pt x="2" y="371"/>
                  </a:lnTo>
                  <a:lnTo>
                    <a:pt x="4" y="379"/>
                  </a:lnTo>
                  <a:lnTo>
                    <a:pt x="6" y="385"/>
                  </a:lnTo>
                  <a:lnTo>
                    <a:pt x="9" y="392"/>
                  </a:lnTo>
                  <a:lnTo>
                    <a:pt x="12" y="398"/>
                  </a:lnTo>
                  <a:lnTo>
                    <a:pt x="16" y="403"/>
                  </a:lnTo>
                  <a:lnTo>
                    <a:pt x="21" y="408"/>
                  </a:lnTo>
                  <a:lnTo>
                    <a:pt x="26" y="412"/>
                  </a:lnTo>
                  <a:lnTo>
                    <a:pt x="31" y="417"/>
                  </a:lnTo>
                  <a:lnTo>
                    <a:pt x="36" y="420"/>
                  </a:lnTo>
                  <a:lnTo>
                    <a:pt x="43" y="424"/>
                  </a:lnTo>
                  <a:lnTo>
                    <a:pt x="49" y="425"/>
                  </a:lnTo>
                  <a:lnTo>
                    <a:pt x="57" y="428"/>
                  </a:lnTo>
                  <a:lnTo>
                    <a:pt x="63" y="429"/>
                  </a:lnTo>
                  <a:lnTo>
                    <a:pt x="71" y="429"/>
                  </a:lnTo>
                  <a:lnTo>
                    <a:pt x="601" y="429"/>
                  </a:lnTo>
                  <a:lnTo>
                    <a:pt x="609" y="429"/>
                  </a:lnTo>
                  <a:lnTo>
                    <a:pt x="616" y="428"/>
                  </a:lnTo>
                  <a:lnTo>
                    <a:pt x="623" y="425"/>
                  </a:lnTo>
                  <a:lnTo>
                    <a:pt x="630" y="423"/>
                  </a:lnTo>
                  <a:lnTo>
                    <a:pt x="636" y="420"/>
                  </a:lnTo>
                  <a:lnTo>
                    <a:pt x="643" y="416"/>
                  </a:lnTo>
                  <a:lnTo>
                    <a:pt x="648" y="412"/>
                  </a:lnTo>
                  <a:lnTo>
                    <a:pt x="653" y="407"/>
                  </a:lnTo>
                  <a:lnTo>
                    <a:pt x="657" y="402"/>
                  </a:lnTo>
                  <a:lnTo>
                    <a:pt x="662" y="397"/>
                  </a:lnTo>
                  <a:lnTo>
                    <a:pt x="666" y="390"/>
                  </a:lnTo>
                  <a:lnTo>
                    <a:pt x="668" y="385"/>
                  </a:lnTo>
                  <a:lnTo>
                    <a:pt x="671" y="378"/>
                  </a:lnTo>
                  <a:lnTo>
                    <a:pt x="672" y="371"/>
                  </a:lnTo>
                  <a:lnTo>
                    <a:pt x="673" y="364"/>
                  </a:lnTo>
                  <a:lnTo>
                    <a:pt x="673" y="357"/>
                  </a:lnTo>
                  <a:lnTo>
                    <a:pt x="673" y="44"/>
                  </a:lnTo>
                  <a:lnTo>
                    <a:pt x="673" y="32"/>
                  </a:lnTo>
                  <a:lnTo>
                    <a:pt x="671" y="21"/>
                  </a:lnTo>
                  <a:lnTo>
                    <a:pt x="666" y="10"/>
                  </a:lnTo>
                  <a:lnTo>
                    <a:pt x="661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3507"/>
            <p:cNvSpPr>
              <a:spLocks/>
            </p:cNvSpPr>
            <p:nvPr/>
          </p:nvSpPr>
          <p:spPr bwMode="auto">
            <a:xfrm>
              <a:off x="5885741" y="2350192"/>
              <a:ext cx="183679" cy="73948"/>
            </a:xfrm>
            <a:custGeom>
              <a:avLst/>
              <a:gdLst>
                <a:gd name="T0" fmla="*/ 617 w 617"/>
                <a:gd name="T1" fmla="*/ 11 h 249"/>
                <a:gd name="T2" fmla="*/ 608 w 617"/>
                <a:gd name="T3" fmla="*/ 6 h 249"/>
                <a:gd name="T4" fmla="*/ 599 w 617"/>
                <a:gd name="T5" fmla="*/ 4 h 249"/>
                <a:gd name="T6" fmla="*/ 587 w 617"/>
                <a:gd name="T7" fmla="*/ 1 h 249"/>
                <a:gd name="T8" fmla="*/ 575 w 617"/>
                <a:gd name="T9" fmla="*/ 0 h 249"/>
                <a:gd name="T10" fmla="*/ 46 w 617"/>
                <a:gd name="T11" fmla="*/ 0 h 249"/>
                <a:gd name="T12" fmla="*/ 34 w 617"/>
                <a:gd name="T13" fmla="*/ 1 h 249"/>
                <a:gd name="T14" fmla="*/ 21 w 617"/>
                <a:gd name="T15" fmla="*/ 4 h 249"/>
                <a:gd name="T16" fmla="*/ 10 w 617"/>
                <a:gd name="T17" fmla="*/ 9 h 249"/>
                <a:gd name="T18" fmla="*/ 0 w 617"/>
                <a:gd name="T19" fmla="*/ 15 h 249"/>
                <a:gd name="T20" fmla="*/ 322 w 617"/>
                <a:gd name="T21" fmla="*/ 249 h 249"/>
                <a:gd name="T22" fmla="*/ 617 w 617"/>
                <a:gd name="T23" fmla="*/ 11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7" h="249">
                  <a:moveTo>
                    <a:pt x="617" y="11"/>
                  </a:moveTo>
                  <a:lnTo>
                    <a:pt x="608" y="6"/>
                  </a:lnTo>
                  <a:lnTo>
                    <a:pt x="599" y="4"/>
                  </a:lnTo>
                  <a:lnTo>
                    <a:pt x="587" y="1"/>
                  </a:lnTo>
                  <a:lnTo>
                    <a:pt x="575" y="0"/>
                  </a:lnTo>
                  <a:lnTo>
                    <a:pt x="46" y="0"/>
                  </a:lnTo>
                  <a:lnTo>
                    <a:pt x="34" y="1"/>
                  </a:lnTo>
                  <a:lnTo>
                    <a:pt x="21" y="4"/>
                  </a:lnTo>
                  <a:lnTo>
                    <a:pt x="10" y="9"/>
                  </a:lnTo>
                  <a:lnTo>
                    <a:pt x="0" y="15"/>
                  </a:lnTo>
                  <a:lnTo>
                    <a:pt x="322" y="249"/>
                  </a:lnTo>
                  <a:lnTo>
                    <a:pt x="617" y="1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48" name="Freeform 184"/>
          <p:cNvSpPr>
            <a:spLocks noChangeAspect="1"/>
          </p:cNvSpPr>
          <p:nvPr/>
        </p:nvSpPr>
        <p:spPr bwMode="auto">
          <a:xfrm>
            <a:off x="5545746" y="2847673"/>
            <a:ext cx="97163" cy="78914"/>
          </a:xfrm>
          <a:custGeom>
            <a:avLst/>
            <a:gdLst>
              <a:gd name="T0" fmla="*/ 393 w 393"/>
              <a:gd name="T1" fmla="*/ 38 h 319"/>
              <a:gd name="T2" fmla="*/ 347 w 393"/>
              <a:gd name="T3" fmla="*/ 52 h 319"/>
              <a:gd name="T4" fmla="*/ 359 w 393"/>
              <a:gd name="T5" fmla="*/ 42 h 319"/>
              <a:gd name="T6" fmla="*/ 377 w 393"/>
              <a:gd name="T7" fmla="*/ 20 h 319"/>
              <a:gd name="T8" fmla="*/ 383 w 393"/>
              <a:gd name="T9" fmla="*/ 6 h 319"/>
              <a:gd name="T10" fmla="*/ 345 w 393"/>
              <a:gd name="T11" fmla="*/ 22 h 319"/>
              <a:gd name="T12" fmla="*/ 331 w 393"/>
              <a:gd name="T13" fmla="*/ 26 h 319"/>
              <a:gd name="T14" fmla="*/ 305 w 393"/>
              <a:gd name="T15" fmla="*/ 8 h 319"/>
              <a:gd name="T16" fmla="*/ 273 w 393"/>
              <a:gd name="T17" fmla="*/ 0 h 319"/>
              <a:gd name="T18" fmla="*/ 255 w 393"/>
              <a:gd name="T19" fmla="*/ 2 h 319"/>
              <a:gd name="T20" fmla="*/ 227 w 393"/>
              <a:gd name="T21" fmla="*/ 14 h 319"/>
              <a:gd name="T22" fmla="*/ 205 w 393"/>
              <a:gd name="T23" fmla="*/ 36 h 319"/>
              <a:gd name="T24" fmla="*/ 193 w 393"/>
              <a:gd name="T25" fmla="*/ 64 h 319"/>
              <a:gd name="T26" fmla="*/ 191 w 393"/>
              <a:gd name="T27" fmla="*/ 82 h 319"/>
              <a:gd name="T28" fmla="*/ 193 w 393"/>
              <a:gd name="T29" fmla="*/ 100 h 319"/>
              <a:gd name="T30" fmla="*/ 145 w 393"/>
              <a:gd name="T31" fmla="*/ 92 h 319"/>
              <a:gd name="T32" fmla="*/ 99 w 393"/>
              <a:gd name="T33" fmla="*/ 74 h 319"/>
              <a:gd name="T34" fmla="*/ 62 w 393"/>
              <a:gd name="T35" fmla="*/ 48 h 319"/>
              <a:gd name="T36" fmla="*/ 28 w 393"/>
              <a:gd name="T37" fmla="*/ 16 h 319"/>
              <a:gd name="T38" fmla="*/ 24 w 393"/>
              <a:gd name="T39" fmla="*/ 24 h 319"/>
              <a:gd name="T40" fmla="*/ 18 w 393"/>
              <a:gd name="T41" fmla="*/ 44 h 319"/>
              <a:gd name="T42" fmla="*/ 16 w 393"/>
              <a:gd name="T43" fmla="*/ 56 h 319"/>
              <a:gd name="T44" fmla="*/ 20 w 393"/>
              <a:gd name="T45" fmla="*/ 76 h 319"/>
              <a:gd name="T46" fmla="*/ 26 w 393"/>
              <a:gd name="T47" fmla="*/ 94 h 319"/>
              <a:gd name="T48" fmla="*/ 52 w 393"/>
              <a:gd name="T49" fmla="*/ 124 h 319"/>
              <a:gd name="T50" fmla="*/ 34 w 393"/>
              <a:gd name="T51" fmla="*/ 120 h 319"/>
              <a:gd name="T52" fmla="*/ 16 w 393"/>
              <a:gd name="T53" fmla="*/ 114 h 319"/>
              <a:gd name="T54" fmla="*/ 16 w 393"/>
              <a:gd name="T55" fmla="*/ 114 h 319"/>
              <a:gd name="T56" fmla="*/ 22 w 393"/>
              <a:gd name="T57" fmla="*/ 142 h 319"/>
              <a:gd name="T58" fmla="*/ 34 w 393"/>
              <a:gd name="T59" fmla="*/ 166 h 319"/>
              <a:gd name="T60" fmla="*/ 56 w 393"/>
              <a:gd name="T61" fmla="*/ 183 h 319"/>
              <a:gd name="T62" fmla="*/ 82 w 393"/>
              <a:gd name="T63" fmla="*/ 193 h 319"/>
              <a:gd name="T64" fmla="*/ 70 w 393"/>
              <a:gd name="T65" fmla="*/ 195 h 319"/>
              <a:gd name="T66" fmla="*/ 60 w 393"/>
              <a:gd name="T67" fmla="*/ 195 h 319"/>
              <a:gd name="T68" fmla="*/ 44 w 393"/>
              <a:gd name="T69" fmla="*/ 193 h 319"/>
              <a:gd name="T70" fmla="*/ 56 w 393"/>
              <a:gd name="T71" fmla="*/ 215 h 319"/>
              <a:gd name="T72" fmla="*/ 72 w 393"/>
              <a:gd name="T73" fmla="*/ 233 h 319"/>
              <a:gd name="T74" fmla="*/ 93 w 393"/>
              <a:gd name="T75" fmla="*/ 245 h 319"/>
              <a:gd name="T76" fmla="*/ 119 w 393"/>
              <a:gd name="T77" fmla="*/ 249 h 319"/>
              <a:gd name="T78" fmla="*/ 97 w 393"/>
              <a:gd name="T79" fmla="*/ 265 h 319"/>
              <a:gd name="T80" fmla="*/ 48 w 393"/>
              <a:gd name="T81" fmla="*/ 283 h 319"/>
              <a:gd name="T82" fmla="*/ 20 w 393"/>
              <a:gd name="T83" fmla="*/ 285 h 319"/>
              <a:gd name="T84" fmla="*/ 0 w 393"/>
              <a:gd name="T85" fmla="*/ 283 h 319"/>
              <a:gd name="T86" fmla="*/ 28 w 393"/>
              <a:gd name="T87" fmla="*/ 299 h 319"/>
              <a:gd name="T88" fmla="*/ 89 w 393"/>
              <a:gd name="T89" fmla="*/ 317 h 319"/>
              <a:gd name="T90" fmla="*/ 123 w 393"/>
              <a:gd name="T91" fmla="*/ 319 h 319"/>
              <a:gd name="T92" fmla="*/ 151 w 393"/>
              <a:gd name="T93" fmla="*/ 319 h 319"/>
              <a:gd name="T94" fmla="*/ 199 w 393"/>
              <a:gd name="T95" fmla="*/ 307 h 319"/>
              <a:gd name="T96" fmla="*/ 243 w 393"/>
              <a:gd name="T97" fmla="*/ 287 h 319"/>
              <a:gd name="T98" fmla="*/ 279 w 393"/>
              <a:gd name="T99" fmla="*/ 261 h 319"/>
              <a:gd name="T100" fmla="*/ 307 w 393"/>
              <a:gd name="T101" fmla="*/ 227 h 319"/>
              <a:gd name="T102" fmla="*/ 329 w 393"/>
              <a:gd name="T103" fmla="*/ 191 h 319"/>
              <a:gd name="T104" fmla="*/ 345 w 393"/>
              <a:gd name="T105" fmla="*/ 152 h 319"/>
              <a:gd name="T106" fmla="*/ 353 w 393"/>
              <a:gd name="T107" fmla="*/ 110 h 319"/>
              <a:gd name="T108" fmla="*/ 353 w 393"/>
              <a:gd name="T109" fmla="*/ 90 h 319"/>
              <a:gd name="T110" fmla="*/ 353 w 393"/>
              <a:gd name="T111" fmla="*/ 80 h 319"/>
              <a:gd name="T112" fmla="*/ 375 w 393"/>
              <a:gd name="T113" fmla="*/ 62 h 319"/>
              <a:gd name="T114" fmla="*/ 393 w 393"/>
              <a:gd name="T115" fmla="*/ 38 h 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93" h="319">
                <a:moveTo>
                  <a:pt x="393" y="38"/>
                </a:moveTo>
                <a:lnTo>
                  <a:pt x="393" y="38"/>
                </a:lnTo>
                <a:lnTo>
                  <a:pt x="371" y="46"/>
                </a:lnTo>
                <a:lnTo>
                  <a:pt x="347" y="52"/>
                </a:lnTo>
                <a:lnTo>
                  <a:pt x="347" y="52"/>
                </a:lnTo>
                <a:lnTo>
                  <a:pt x="359" y="42"/>
                </a:lnTo>
                <a:lnTo>
                  <a:pt x="369" y="32"/>
                </a:lnTo>
                <a:lnTo>
                  <a:pt x="377" y="20"/>
                </a:lnTo>
                <a:lnTo>
                  <a:pt x="383" y="6"/>
                </a:lnTo>
                <a:lnTo>
                  <a:pt x="383" y="6"/>
                </a:lnTo>
                <a:lnTo>
                  <a:pt x="357" y="18"/>
                </a:lnTo>
                <a:lnTo>
                  <a:pt x="345" y="22"/>
                </a:lnTo>
                <a:lnTo>
                  <a:pt x="331" y="26"/>
                </a:lnTo>
                <a:lnTo>
                  <a:pt x="331" y="26"/>
                </a:lnTo>
                <a:lnTo>
                  <a:pt x="319" y="16"/>
                </a:lnTo>
                <a:lnTo>
                  <a:pt x="305" y="8"/>
                </a:lnTo>
                <a:lnTo>
                  <a:pt x="289" y="2"/>
                </a:lnTo>
                <a:lnTo>
                  <a:pt x="273" y="0"/>
                </a:lnTo>
                <a:lnTo>
                  <a:pt x="273" y="0"/>
                </a:lnTo>
                <a:lnTo>
                  <a:pt x="255" y="2"/>
                </a:lnTo>
                <a:lnTo>
                  <a:pt x="241" y="6"/>
                </a:lnTo>
                <a:lnTo>
                  <a:pt x="227" y="14"/>
                </a:lnTo>
                <a:lnTo>
                  <a:pt x="215" y="24"/>
                </a:lnTo>
                <a:lnTo>
                  <a:pt x="205" y="36"/>
                </a:lnTo>
                <a:lnTo>
                  <a:pt x="197" y="50"/>
                </a:lnTo>
                <a:lnTo>
                  <a:pt x="193" y="64"/>
                </a:lnTo>
                <a:lnTo>
                  <a:pt x="191" y="82"/>
                </a:lnTo>
                <a:lnTo>
                  <a:pt x="191" y="82"/>
                </a:lnTo>
                <a:lnTo>
                  <a:pt x="193" y="100"/>
                </a:lnTo>
                <a:lnTo>
                  <a:pt x="193" y="100"/>
                </a:lnTo>
                <a:lnTo>
                  <a:pt x="169" y="98"/>
                </a:lnTo>
                <a:lnTo>
                  <a:pt x="145" y="92"/>
                </a:lnTo>
                <a:lnTo>
                  <a:pt x="121" y="84"/>
                </a:lnTo>
                <a:lnTo>
                  <a:pt x="99" y="74"/>
                </a:lnTo>
                <a:lnTo>
                  <a:pt x="80" y="62"/>
                </a:lnTo>
                <a:lnTo>
                  <a:pt x="62" y="48"/>
                </a:lnTo>
                <a:lnTo>
                  <a:pt x="44" y="32"/>
                </a:lnTo>
                <a:lnTo>
                  <a:pt x="28" y="16"/>
                </a:lnTo>
                <a:lnTo>
                  <a:pt x="28" y="16"/>
                </a:lnTo>
                <a:lnTo>
                  <a:pt x="24" y="24"/>
                </a:lnTo>
                <a:lnTo>
                  <a:pt x="20" y="34"/>
                </a:lnTo>
                <a:lnTo>
                  <a:pt x="18" y="44"/>
                </a:lnTo>
                <a:lnTo>
                  <a:pt x="16" y="56"/>
                </a:lnTo>
                <a:lnTo>
                  <a:pt x="16" y="56"/>
                </a:lnTo>
                <a:lnTo>
                  <a:pt x="18" y="66"/>
                </a:lnTo>
                <a:lnTo>
                  <a:pt x="20" y="76"/>
                </a:lnTo>
                <a:lnTo>
                  <a:pt x="22" y="86"/>
                </a:lnTo>
                <a:lnTo>
                  <a:pt x="26" y="94"/>
                </a:lnTo>
                <a:lnTo>
                  <a:pt x="38" y="110"/>
                </a:lnTo>
                <a:lnTo>
                  <a:pt x="52" y="124"/>
                </a:lnTo>
                <a:lnTo>
                  <a:pt x="52" y="124"/>
                </a:lnTo>
                <a:lnTo>
                  <a:pt x="34" y="120"/>
                </a:lnTo>
                <a:lnTo>
                  <a:pt x="16" y="114"/>
                </a:lnTo>
                <a:lnTo>
                  <a:pt x="16" y="114"/>
                </a:lnTo>
                <a:lnTo>
                  <a:pt x="16" y="114"/>
                </a:lnTo>
                <a:lnTo>
                  <a:pt x="16" y="114"/>
                </a:lnTo>
                <a:lnTo>
                  <a:pt x="18" y="128"/>
                </a:lnTo>
                <a:lnTo>
                  <a:pt x="22" y="142"/>
                </a:lnTo>
                <a:lnTo>
                  <a:pt x="26" y="154"/>
                </a:lnTo>
                <a:lnTo>
                  <a:pt x="34" y="166"/>
                </a:lnTo>
                <a:lnTo>
                  <a:pt x="44" y="176"/>
                </a:lnTo>
                <a:lnTo>
                  <a:pt x="56" y="183"/>
                </a:lnTo>
                <a:lnTo>
                  <a:pt x="68" y="189"/>
                </a:lnTo>
                <a:lnTo>
                  <a:pt x="82" y="193"/>
                </a:lnTo>
                <a:lnTo>
                  <a:pt x="82" y="193"/>
                </a:lnTo>
                <a:lnTo>
                  <a:pt x="70" y="195"/>
                </a:lnTo>
                <a:lnTo>
                  <a:pt x="60" y="195"/>
                </a:lnTo>
                <a:lnTo>
                  <a:pt x="60" y="195"/>
                </a:lnTo>
                <a:lnTo>
                  <a:pt x="44" y="193"/>
                </a:lnTo>
                <a:lnTo>
                  <a:pt x="44" y="193"/>
                </a:lnTo>
                <a:lnTo>
                  <a:pt x="50" y="205"/>
                </a:lnTo>
                <a:lnTo>
                  <a:pt x="56" y="215"/>
                </a:lnTo>
                <a:lnTo>
                  <a:pt x="64" y="225"/>
                </a:lnTo>
                <a:lnTo>
                  <a:pt x="72" y="233"/>
                </a:lnTo>
                <a:lnTo>
                  <a:pt x="84" y="241"/>
                </a:lnTo>
                <a:lnTo>
                  <a:pt x="93" y="245"/>
                </a:lnTo>
                <a:lnTo>
                  <a:pt x="107" y="249"/>
                </a:lnTo>
                <a:lnTo>
                  <a:pt x="119" y="249"/>
                </a:lnTo>
                <a:lnTo>
                  <a:pt x="119" y="249"/>
                </a:lnTo>
                <a:lnTo>
                  <a:pt x="97" y="265"/>
                </a:lnTo>
                <a:lnTo>
                  <a:pt x="74" y="275"/>
                </a:lnTo>
                <a:lnTo>
                  <a:pt x="48" y="283"/>
                </a:lnTo>
                <a:lnTo>
                  <a:pt x="34" y="283"/>
                </a:lnTo>
                <a:lnTo>
                  <a:pt x="20" y="285"/>
                </a:lnTo>
                <a:lnTo>
                  <a:pt x="20" y="285"/>
                </a:lnTo>
                <a:lnTo>
                  <a:pt x="0" y="283"/>
                </a:lnTo>
                <a:lnTo>
                  <a:pt x="0" y="283"/>
                </a:lnTo>
                <a:lnTo>
                  <a:pt x="28" y="299"/>
                </a:lnTo>
                <a:lnTo>
                  <a:pt x="58" y="311"/>
                </a:lnTo>
                <a:lnTo>
                  <a:pt x="89" y="317"/>
                </a:lnTo>
                <a:lnTo>
                  <a:pt x="107" y="319"/>
                </a:lnTo>
                <a:lnTo>
                  <a:pt x="123" y="319"/>
                </a:lnTo>
                <a:lnTo>
                  <a:pt x="123" y="319"/>
                </a:lnTo>
                <a:lnTo>
                  <a:pt x="151" y="319"/>
                </a:lnTo>
                <a:lnTo>
                  <a:pt x="175" y="315"/>
                </a:lnTo>
                <a:lnTo>
                  <a:pt x="199" y="307"/>
                </a:lnTo>
                <a:lnTo>
                  <a:pt x="223" y="299"/>
                </a:lnTo>
                <a:lnTo>
                  <a:pt x="243" y="287"/>
                </a:lnTo>
                <a:lnTo>
                  <a:pt x="261" y="275"/>
                </a:lnTo>
                <a:lnTo>
                  <a:pt x="279" y="261"/>
                </a:lnTo>
                <a:lnTo>
                  <a:pt x="295" y="245"/>
                </a:lnTo>
                <a:lnTo>
                  <a:pt x="307" y="227"/>
                </a:lnTo>
                <a:lnTo>
                  <a:pt x="319" y="209"/>
                </a:lnTo>
                <a:lnTo>
                  <a:pt x="329" y="191"/>
                </a:lnTo>
                <a:lnTo>
                  <a:pt x="339" y="172"/>
                </a:lnTo>
                <a:lnTo>
                  <a:pt x="345" y="152"/>
                </a:lnTo>
                <a:lnTo>
                  <a:pt x="349" y="132"/>
                </a:lnTo>
                <a:lnTo>
                  <a:pt x="353" y="110"/>
                </a:lnTo>
                <a:lnTo>
                  <a:pt x="353" y="90"/>
                </a:lnTo>
                <a:lnTo>
                  <a:pt x="353" y="90"/>
                </a:lnTo>
                <a:lnTo>
                  <a:pt x="353" y="80"/>
                </a:lnTo>
                <a:lnTo>
                  <a:pt x="353" y="80"/>
                </a:lnTo>
                <a:lnTo>
                  <a:pt x="365" y="72"/>
                </a:lnTo>
                <a:lnTo>
                  <a:pt x="375" y="62"/>
                </a:lnTo>
                <a:lnTo>
                  <a:pt x="385" y="50"/>
                </a:lnTo>
                <a:lnTo>
                  <a:pt x="393" y="38"/>
                </a:lnTo>
                <a:lnTo>
                  <a:pt x="393" y="38"/>
                </a:lnTo>
                <a:close/>
              </a:path>
            </a:pathLst>
          </a:custGeom>
          <a:solidFill>
            <a:srgbClr val="E2583D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0" name="Freeform 1907"/>
          <p:cNvSpPr>
            <a:spLocks noChangeAspect="1"/>
          </p:cNvSpPr>
          <p:nvPr/>
        </p:nvSpPr>
        <p:spPr bwMode="auto">
          <a:xfrm>
            <a:off x="5798191" y="2843727"/>
            <a:ext cx="86310" cy="86806"/>
          </a:xfrm>
          <a:custGeom>
            <a:avLst/>
            <a:gdLst>
              <a:gd name="T0" fmla="*/ 748 w 871"/>
              <a:gd name="T1" fmla="*/ 538 h 872"/>
              <a:gd name="T2" fmla="*/ 732 w 871"/>
              <a:gd name="T3" fmla="*/ 525 h 872"/>
              <a:gd name="T4" fmla="*/ 714 w 871"/>
              <a:gd name="T5" fmla="*/ 515 h 872"/>
              <a:gd name="T6" fmla="*/ 694 w 871"/>
              <a:gd name="T7" fmla="*/ 509 h 872"/>
              <a:gd name="T8" fmla="*/ 674 w 871"/>
              <a:gd name="T9" fmla="*/ 506 h 872"/>
              <a:gd name="T10" fmla="*/ 654 w 871"/>
              <a:gd name="T11" fmla="*/ 509 h 872"/>
              <a:gd name="T12" fmla="*/ 634 w 871"/>
              <a:gd name="T13" fmla="*/ 515 h 872"/>
              <a:gd name="T14" fmla="*/ 617 w 871"/>
              <a:gd name="T15" fmla="*/ 525 h 872"/>
              <a:gd name="T16" fmla="*/ 601 w 871"/>
              <a:gd name="T17" fmla="*/ 538 h 872"/>
              <a:gd name="T18" fmla="*/ 544 w 871"/>
              <a:gd name="T19" fmla="*/ 529 h 872"/>
              <a:gd name="T20" fmla="*/ 474 w 871"/>
              <a:gd name="T21" fmla="*/ 465 h 872"/>
              <a:gd name="T22" fmla="*/ 407 w 871"/>
              <a:gd name="T23" fmla="*/ 398 h 872"/>
              <a:gd name="T24" fmla="*/ 344 w 871"/>
              <a:gd name="T25" fmla="*/ 328 h 872"/>
              <a:gd name="T26" fmla="*/ 335 w 871"/>
              <a:gd name="T27" fmla="*/ 271 h 872"/>
              <a:gd name="T28" fmla="*/ 348 w 871"/>
              <a:gd name="T29" fmla="*/ 254 h 872"/>
              <a:gd name="T30" fmla="*/ 358 w 871"/>
              <a:gd name="T31" fmla="*/ 237 h 872"/>
              <a:gd name="T32" fmla="*/ 364 w 871"/>
              <a:gd name="T33" fmla="*/ 218 h 872"/>
              <a:gd name="T34" fmla="*/ 365 w 871"/>
              <a:gd name="T35" fmla="*/ 198 h 872"/>
              <a:gd name="T36" fmla="*/ 364 w 871"/>
              <a:gd name="T37" fmla="*/ 178 h 872"/>
              <a:gd name="T38" fmla="*/ 358 w 871"/>
              <a:gd name="T39" fmla="*/ 159 h 872"/>
              <a:gd name="T40" fmla="*/ 348 w 871"/>
              <a:gd name="T41" fmla="*/ 141 h 872"/>
              <a:gd name="T42" fmla="*/ 335 w 871"/>
              <a:gd name="T43" fmla="*/ 125 h 872"/>
              <a:gd name="T44" fmla="*/ 233 w 871"/>
              <a:gd name="T45" fmla="*/ 24 h 872"/>
              <a:gd name="T46" fmla="*/ 217 w 871"/>
              <a:gd name="T47" fmla="*/ 13 h 872"/>
              <a:gd name="T48" fmla="*/ 198 w 871"/>
              <a:gd name="T49" fmla="*/ 5 h 872"/>
              <a:gd name="T50" fmla="*/ 178 w 871"/>
              <a:gd name="T51" fmla="*/ 1 h 872"/>
              <a:gd name="T52" fmla="*/ 158 w 871"/>
              <a:gd name="T53" fmla="*/ 1 h 872"/>
              <a:gd name="T54" fmla="*/ 138 w 871"/>
              <a:gd name="T55" fmla="*/ 5 h 872"/>
              <a:gd name="T56" fmla="*/ 119 w 871"/>
              <a:gd name="T57" fmla="*/ 13 h 872"/>
              <a:gd name="T58" fmla="*/ 102 w 871"/>
              <a:gd name="T59" fmla="*/ 24 h 872"/>
              <a:gd name="T60" fmla="*/ 43 w 871"/>
              <a:gd name="T61" fmla="*/ 82 h 872"/>
              <a:gd name="T62" fmla="*/ 27 w 871"/>
              <a:gd name="T63" fmla="*/ 102 h 872"/>
              <a:gd name="T64" fmla="*/ 14 w 871"/>
              <a:gd name="T65" fmla="*/ 124 h 872"/>
              <a:gd name="T66" fmla="*/ 6 w 871"/>
              <a:gd name="T67" fmla="*/ 147 h 872"/>
              <a:gd name="T68" fmla="*/ 1 w 871"/>
              <a:gd name="T69" fmla="*/ 172 h 872"/>
              <a:gd name="T70" fmla="*/ 0 w 871"/>
              <a:gd name="T71" fmla="*/ 197 h 872"/>
              <a:gd name="T72" fmla="*/ 5 w 871"/>
              <a:gd name="T73" fmla="*/ 221 h 872"/>
              <a:gd name="T74" fmla="*/ 12 w 871"/>
              <a:gd name="T75" fmla="*/ 246 h 872"/>
              <a:gd name="T76" fmla="*/ 25 w 871"/>
              <a:gd name="T77" fmla="*/ 268 h 872"/>
              <a:gd name="T78" fmla="*/ 84 w 871"/>
              <a:gd name="T79" fmla="*/ 352 h 872"/>
              <a:gd name="T80" fmla="*/ 147 w 871"/>
              <a:gd name="T81" fmla="*/ 434 h 872"/>
              <a:gd name="T82" fmla="*/ 214 w 871"/>
              <a:gd name="T83" fmla="*/ 512 h 872"/>
              <a:gd name="T84" fmla="*/ 286 w 871"/>
              <a:gd name="T85" fmla="*/ 587 h 872"/>
              <a:gd name="T86" fmla="*/ 361 w 871"/>
              <a:gd name="T87" fmla="*/ 658 h 872"/>
              <a:gd name="T88" fmla="*/ 439 w 871"/>
              <a:gd name="T89" fmla="*/ 725 h 872"/>
              <a:gd name="T90" fmla="*/ 519 w 871"/>
              <a:gd name="T91" fmla="*/ 789 h 872"/>
              <a:gd name="T92" fmla="*/ 604 w 871"/>
              <a:gd name="T93" fmla="*/ 848 h 872"/>
              <a:gd name="T94" fmla="*/ 622 w 871"/>
              <a:gd name="T95" fmla="*/ 858 h 872"/>
              <a:gd name="T96" fmla="*/ 643 w 871"/>
              <a:gd name="T97" fmla="*/ 866 h 872"/>
              <a:gd name="T98" fmla="*/ 664 w 871"/>
              <a:gd name="T99" fmla="*/ 870 h 872"/>
              <a:gd name="T100" fmla="*/ 686 w 871"/>
              <a:gd name="T101" fmla="*/ 872 h 872"/>
              <a:gd name="T102" fmla="*/ 715 w 871"/>
              <a:gd name="T103" fmla="*/ 869 h 872"/>
              <a:gd name="T104" fmla="*/ 743 w 871"/>
              <a:gd name="T105" fmla="*/ 860 h 872"/>
              <a:gd name="T106" fmla="*/ 767 w 871"/>
              <a:gd name="T107" fmla="*/ 848 h 872"/>
              <a:gd name="T108" fmla="*/ 790 w 871"/>
              <a:gd name="T109" fmla="*/ 829 h 872"/>
              <a:gd name="T110" fmla="*/ 849 w 871"/>
              <a:gd name="T111" fmla="*/ 769 h 872"/>
              <a:gd name="T112" fmla="*/ 859 w 871"/>
              <a:gd name="T113" fmla="*/ 752 h 872"/>
              <a:gd name="T114" fmla="*/ 867 w 871"/>
              <a:gd name="T115" fmla="*/ 734 h 872"/>
              <a:gd name="T116" fmla="*/ 871 w 871"/>
              <a:gd name="T117" fmla="*/ 715 h 872"/>
              <a:gd name="T118" fmla="*/ 871 w 871"/>
              <a:gd name="T119" fmla="*/ 694 h 872"/>
              <a:gd name="T120" fmla="*/ 867 w 871"/>
              <a:gd name="T121" fmla="*/ 675 h 872"/>
              <a:gd name="T122" fmla="*/ 859 w 871"/>
              <a:gd name="T123" fmla="*/ 656 h 872"/>
              <a:gd name="T124" fmla="*/ 849 w 871"/>
              <a:gd name="T125" fmla="*/ 638 h 8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871" h="872">
                <a:moveTo>
                  <a:pt x="841" y="631"/>
                </a:moveTo>
                <a:lnTo>
                  <a:pt x="748" y="538"/>
                </a:lnTo>
                <a:lnTo>
                  <a:pt x="740" y="530"/>
                </a:lnTo>
                <a:lnTo>
                  <a:pt x="732" y="525"/>
                </a:lnTo>
                <a:lnTo>
                  <a:pt x="723" y="519"/>
                </a:lnTo>
                <a:lnTo>
                  <a:pt x="714" y="515"/>
                </a:lnTo>
                <a:lnTo>
                  <a:pt x="705" y="511"/>
                </a:lnTo>
                <a:lnTo>
                  <a:pt x="694" y="509"/>
                </a:lnTo>
                <a:lnTo>
                  <a:pt x="685" y="508"/>
                </a:lnTo>
                <a:lnTo>
                  <a:pt x="674" y="506"/>
                </a:lnTo>
                <a:lnTo>
                  <a:pt x="664" y="508"/>
                </a:lnTo>
                <a:lnTo>
                  <a:pt x="654" y="509"/>
                </a:lnTo>
                <a:lnTo>
                  <a:pt x="644" y="511"/>
                </a:lnTo>
                <a:lnTo>
                  <a:pt x="634" y="515"/>
                </a:lnTo>
                <a:lnTo>
                  <a:pt x="626" y="519"/>
                </a:lnTo>
                <a:lnTo>
                  <a:pt x="617" y="525"/>
                </a:lnTo>
                <a:lnTo>
                  <a:pt x="609" y="530"/>
                </a:lnTo>
                <a:lnTo>
                  <a:pt x="601" y="538"/>
                </a:lnTo>
                <a:lnTo>
                  <a:pt x="580" y="559"/>
                </a:lnTo>
                <a:lnTo>
                  <a:pt x="544" y="529"/>
                </a:lnTo>
                <a:lnTo>
                  <a:pt x="509" y="497"/>
                </a:lnTo>
                <a:lnTo>
                  <a:pt x="474" y="465"/>
                </a:lnTo>
                <a:lnTo>
                  <a:pt x="440" y="431"/>
                </a:lnTo>
                <a:lnTo>
                  <a:pt x="407" y="398"/>
                </a:lnTo>
                <a:lnTo>
                  <a:pt x="375" y="364"/>
                </a:lnTo>
                <a:lnTo>
                  <a:pt x="344" y="328"/>
                </a:lnTo>
                <a:lnTo>
                  <a:pt x="314" y="293"/>
                </a:lnTo>
                <a:lnTo>
                  <a:pt x="335" y="271"/>
                </a:lnTo>
                <a:lnTo>
                  <a:pt x="343" y="263"/>
                </a:lnTo>
                <a:lnTo>
                  <a:pt x="348" y="254"/>
                </a:lnTo>
                <a:lnTo>
                  <a:pt x="353" y="246"/>
                </a:lnTo>
                <a:lnTo>
                  <a:pt x="358" y="237"/>
                </a:lnTo>
                <a:lnTo>
                  <a:pt x="361" y="228"/>
                </a:lnTo>
                <a:lnTo>
                  <a:pt x="364" y="218"/>
                </a:lnTo>
                <a:lnTo>
                  <a:pt x="365" y="207"/>
                </a:lnTo>
                <a:lnTo>
                  <a:pt x="365" y="198"/>
                </a:lnTo>
                <a:lnTo>
                  <a:pt x="365" y="188"/>
                </a:lnTo>
                <a:lnTo>
                  <a:pt x="364" y="178"/>
                </a:lnTo>
                <a:lnTo>
                  <a:pt x="361" y="169"/>
                </a:lnTo>
                <a:lnTo>
                  <a:pt x="358" y="159"/>
                </a:lnTo>
                <a:lnTo>
                  <a:pt x="353" y="149"/>
                </a:lnTo>
                <a:lnTo>
                  <a:pt x="348" y="141"/>
                </a:lnTo>
                <a:lnTo>
                  <a:pt x="343" y="132"/>
                </a:lnTo>
                <a:lnTo>
                  <a:pt x="335" y="125"/>
                </a:lnTo>
                <a:lnTo>
                  <a:pt x="242" y="30"/>
                </a:lnTo>
                <a:lnTo>
                  <a:pt x="233" y="24"/>
                </a:lnTo>
                <a:lnTo>
                  <a:pt x="226" y="17"/>
                </a:lnTo>
                <a:lnTo>
                  <a:pt x="217" y="13"/>
                </a:lnTo>
                <a:lnTo>
                  <a:pt x="207" y="9"/>
                </a:lnTo>
                <a:lnTo>
                  <a:pt x="198" y="5"/>
                </a:lnTo>
                <a:lnTo>
                  <a:pt x="188" y="2"/>
                </a:lnTo>
                <a:lnTo>
                  <a:pt x="178" y="1"/>
                </a:lnTo>
                <a:lnTo>
                  <a:pt x="168" y="0"/>
                </a:lnTo>
                <a:lnTo>
                  <a:pt x="158" y="1"/>
                </a:lnTo>
                <a:lnTo>
                  <a:pt x="147" y="2"/>
                </a:lnTo>
                <a:lnTo>
                  <a:pt x="138" y="5"/>
                </a:lnTo>
                <a:lnTo>
                  <a:pt x="128" y="9"/>
                </a:lnTo>
                <a:lnTo>
                  <a:pt x="119" y="13"/>
                </a:lnTo>
                <a:lnTo>
                  <a:pt x="111" y="17"/>
                </a:lnTo>
                <a:lnTo>
                  <a:pt x="102" y="24"/>
                </a:lnTo>
                <a:lnTo>
                  <a:pt x="95" y="31"/>
                </a:lnTo>
                <a:lnTo>
                  <a:pt x="43" y="82"/>
                </a:lnTo>
                <a:lnTo>
                  <a:pt x="35" y="91"/>
                </a:lnTo>
                <a:lnTo>
                  <a:pt x="27" y="102"/>
                </a:lnTo>
                <a:lnTo>
                  <a:pt x="20" y="113"/>
                </a:lnTo>
                <a:lnTo>
                  <a:pt x="14" y="124"/>
                </a:lnTo>
                <a:lnTo>
                  <a:pt x="9" y="135"/>
                </a:lnTo>
                <a:lnTo>
                  <a:pt x="6" y="147"/>
                </a:lnTo>
                <a:lnTo>
                  <a:pt x="3" y="160"/>
                </a:lnTo>
                <a:lnTo>
                  <a:pt x="1" y="172"/>
                </a:lnTo>
                <a:lnTo>
                  <a:pt x="0" y="185"/>
                </a:lnTo>
                <a:lnTo>
                  <a:pt x="0" y="197"/>
                </a:lnTo>
                <a:lnTo>
                  <a:pt x="3" y="209"/>
                </a:lnTo>
                <a:lnTo>
                  <a:pt x="5" y="221"/>
                </a:lnTo>
                <a:lnTo>
                  <a:pt x="8" y="234"/>
                </a:lnTo>
                <a:lnTo>
                  <a:pt x="12" y="246"/>
                </a:lnTo>
                <a:lnTo>
                  <a:pt x="19" y="257"/>
                </a:lnTo>
                <a:lnTo>
                  <a:pt x="25" y="268"/>
                </a:lnTo>
                <a:lnTo>
                  <a:pt x="54" y="310"/>
                </a:lnTo>
                <a:lnTo>
                  <a:pt x="84" y="352"/>
                </a:lnTo>
                <a:lnTo>
                  <a:pt x="115" y="394"/>
                </a:lnTo>
                <a:lnTo>
                  <a:pt x="147" y="434"/>
                </a:lnTo>
                <a:lnTo>
                  <a:pt x="181" y="473"/>
                </a:lnTo>
                <a:lnTo>
                  <a:pt x="214" y="512"/>
                </a:lnTo>
                <a:lnTo>
                  <a:pt x="249" y="549"/>
                </a:lnTo>
                <a:lnTo>
                  <a:pt x="286" y="587"/>
                </a:lnTo>
                <a:lnTo>
                  <a:pt x="322" y="623"/>
                </a:lnTo>
                <a:lnTo>
                  <a:pt x="361" y="658"/>
                </a:lnTo>
                <a:lnTo>
                  <a:pt x="399" y="692"/>
                </a:lnTo>
                <a:lnTo>
                  <a:pt x="439" y="725"/>
                </a:lnTo>
                <a:lnTo>
                  <a:pt x="479" y="757"/>
                </a:lnTo>
                <a:lnTo>
                  <a:pt x="519" y="789"/>
                </a:lnTo>
                <a:lnTo>
                  <a:pt x="561" y="819"/>
                </a:lnTo>
                <a:lnTo>
                  <a:pt x="604" y="848"/>
                </a:lnTo>
                <a:lnTo>
                  <a:pt x="614" y="853"/>
                </a:lnTo>
                <a:lnTo>
                  <a:pt x="622" y="858"/>
                </a:lnTo>
                <a:lnTo>
                  <a:pt x="633" y="863"/>
                </a:lnTo>
                <a:lnTo>
                  <a:pt x="643" y="866"/>
                </a:lnTo>
                <a:lnTo>
                  <a:pt x="654" y="868"/>
                </a:lnTo>
                <a:lnTo>
                  <a:pt x="664" y="870"/>
                </a:lnTo>
                <a:lnTo>
                  <a:pt x="675" y="871"/>
                </a:lnTo>
                <a:lnTo>
                  <a:pt x="686" y="872"/>
                </a:lnTo>
                <a:lnTo>
                  <a:pt x="701" y="871"/>
                </a:lnTo>
                <a:lnTo>
                  <a:pt x="715" y="869"/>
                </a:lnTo>
                <a:lnTo>
                  <a:pt x="729" y="866"/>
                </a:lnTo>
                <a:lnTo>
                  <a:pt x="743" y="860"/>
                </a:lnTo>
                <a:lnTo>
                  <a:pt x="755" y="855"/>
                </a:lnTo>
                <a:lnTo>
                  <a:pt x="767" y="848"/>
                </a:lnTo>
                <a:lnTo>
                  <a:pt x="779" y="839"/>
                </a:lnTo>
                <a:lnTo>
                  <a:pt x="790" y="829"/>
                </a:lnTo>
                <a:lnTo>
                  <a:pt x="841" y="777"/>
                </a:lnTo>
                <a:lnTo>
                  <a:pt x="849" y="769"/>
                </a:lnTo>
                <a:lnTo>
                  <a:pt x="854" y="761"/>
                </a:lnTo>
                <a:lnTo>
                  <a:pt x="859" y="752"/>
                </a:lnTo>
                <a:lnTo>
                  <a:pt x="864" y="744"/>
                </a:lnTo>
                <a:lnTo>
                  <a:pt x="867" y="734"/>
                </a:lnTo>
                <a:lnTo>
                  <a:pt x="870" y="724"/>
                </a:lnTo>
                <a:lnTo>
                  <a:pt x="871" y="715"/>
                </a:lnTo>
                <a:lnTo>
                  <a:pt x="871" y="704"/>
                </a:lnTo>
                <a:lnTo>
                  <a:pt x="871" y="694"/>
                </a:lnTo>
                <a:lnTo>
                  <a:pt x="870" y="685"/>
                </a:lnTo>
                <a:lnTo>
                  <a:pt x="867" y="675"/>
                </a:lnTo>
                <a:lnTo>
                  <a:pt x="864" y="665"/>
                </a:lnTo>
                <a:lnTo>
                  <a:pt x="859" y="656"/>
                </a:lnTo>
                <a:lnTo>
                  <a:pt x="854" y="647"/>
                </a:lnTo>
                <a:lnTo>
                  <a:pt x="849" y="638"/>
                </a:lnTo>
                <a:lnTo>
                  <a:pt x="841" y="631"/>
                </a:lnTo>
                <a:close/>
              </a:path>
            </a:pathLst>
          </a:custGeom>
          <a:solidFill>
            <a:srgbClr val="E2583D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62" name="Group 61"/>
          <p:cNvGrpSpPr>
            <a:grpSpLocks noChangeAspect="1"/>
          </p:cNvGrpSpPr>
          <p:nvPr/>
        </p:nvGrpSpPr>
        <p:grpSpPr>
          <a:xfrm>
            <a:off x="5696489" y="3672881"/>
            <a:ext cx="97669" cy="65219"/>
            <a:chOff x="5867374" y="2350192"/>
            <a:chExt cx="220415" cy="147182"/>
          </a:xfrm>
          <a:solidFill>
            <a:srgbClr val="AFABAB"/>
          </a:solidFill>
        </p:grpSpPr>
        <p:sp>
          <p:nvSpPr>
            <p:cNvPr id="68" name="Freeform 3506"/>
            <p:cNvSpPr>
              <a:spLocks/>
            </p:cNvSpPr>
            <p:nvPr/>
          </p:nvSpPr>
          <p:spPr bwMode="auto">
            <a:xfrm>
              <a:off x="5867374" y="2355679"/>
              <a:ext cx="220415" cy="141695"/>
            </a:xfrm>
            <a:custGeom>
              <a:avLst/>
              <a:gdLst>
                <a:gd name="T0" fmla="*/ 661 w 673"/>
                <a:gd name="T1" fmla="*/ 0 h 429"/>
                <a:gd name="T2" fmla="*/ 357 w 673"/>
                <a:gd name="T3" fmla="*/ 245 h 429"/>
                <a:gd name="T4" fmla="*/ 354 w 673"/>
                <a:gd name="T5" fmla="*/ 248 h 429"/>
                <a:gd name="T6" fmla="*/ 350 w 673"/>
                <a:gd name="T7" fmla="*/ 248 h 429"/>
                <a:gd name="T8" fmla="*/ 346 w 673"/>
                <a:gd name="T9" fmla="*/ 248 h 429"/>
                <a:gd name="T10" fmla="*/ 342 w 673"/>
                <a:gd name="T11" fmla="*/ 247 h 429"/>
                <a:gd name="T12" fmla="*/ 11 w 673"/>
                <a:gd name="T13" fmla="*/ 6 h 429"/>
                <a:gd name="T14" fmla="*/ 7 w 673"/>
                <a:gd name="T15" fmla="*/ 14 h 429"/>
                <a:gd name="T16" fmla="*/ 3 w 673"/>
                <a:gd name="T17" fmla="*/ 23 h 429"/>
                <a:gd name="T18" fmla="*/ 2 w 673"/>
                <a:gd name="T19" fmla="*/ 33 h 429"/>
                <a:gd name="T20" fmla="*/ 0 w 673"/>
                <a:gd name="T21" fmla="*/ 44 h 429"/>
                <a:gd name="T22" fmla="*/ 0 w 673"/>
                <a:gd name="T23" fmla="*/ 357 h 429"/>
                <a:gd name="T24" fmla="*/ 2 w 673"/>
                <a:gd name="T25" fmla="*/ 365 h 429"/>
                <a:gd name="T26" fmla="*/ 2 w 673"/>
                <a:gd name="T27" fmla="*/ 371 h 429"/>
                <a:gd name="T28" fmla="*/ 4 w 673"/>
                <a:gd name="T29" fmla="*/ 379 h 429"/>
                <a:gd name="T30" fmla="*/ 6 w 673"/>
                <a:gd name="T31" fmla="*/ 385 h 429"/>
                <a:gd name="T32" fmla="*/ 9 w 673"/>
                <a:gd name="T33" fmla="*/ 392 h 429"/>
                <a:gd name="T34" fmla="*/ 12 w 673"/>
                <a:gd name="T35" fmla="*/ 398 h 429"/>
                <a:gd name="T36" fmla="*/ 16 w 673"/>
                <a:gd name="T37" fmla="*/ 403 h 429"/>
                <a:gd name="T38" fmla="*/ 21 w 673"/>
                <a:gd name="T39" fmla="*/ 408 h 429"/>
                <a:gd name="T40" fmla="*/ 26 w 673"/>
                <a:gd name="T41" fmla="*/ 412 h 429"/>
                <a:gd name="T42" fmla="*/ 31 w 673"/>
                <a:gd name="T43" fmla="*/ 417 h 429"/>
                <a:gd name="T44" fmla="*/ 36 w 673"/>
                <a:gd name="T45" fmla="*/ 420 h 429"/>
                <a:gd name="T46" fmla="*/ 43 w 673"/>
                <a:gd name="T47" fmla="*/ 424 h 429"/>
                <a:gd name="T48" fmla="*/ 49 w 673"/>
                <a:gd name="T49" fmla="*/ 425 h 429"/>
                <a:gd name="T50" fmla="*/ 57 w 673"/>
                <a:gd name="T51" fmla="*/ 428 h 429"/>
                <a:gd name="T52" fmla="*/ 63 w 673"/>
                <a:gd name="T53" fmla="*/ 429 h 429"/>
                <a:gd name="T54" fmla="*/ 71 w 673"/>
                <a:gd name="T55" fmla="*/ 429 h 429"/>
                <a:gd name="T56" fmla="*/ 601 w 673"/>
                <a:gd name="T57" fmla="*/ 429 h 429"/>
                <a:gd name="T58" fmla="*/ 609 w 673"/>
                <a:gd name="T59" fmla="*/ 429 h 429"/>
                <a:gd name="T60" fmla="*/ 616 w 673"/>
                <a:gd name="T61" fmla="*/ 428 h 429"/>
                <a:gd name="T62" fmla="*/ 623 w 673"/>
                <a:gd name="T63" fmla="*/ 425 h 429"/>
                <a:gd name="T64" fmla="*/ 630 w 673"/>
                <a:gd name="T65" fmla="*/ 423 h 429"/>
                <a:gd name="T66" fmla="*/ 636 w 673"/>
                <a:gd name="T67" fmla="*/ 420 h 429"/>
                <a:gd name="T68" fmla="*/ 643 w 673"/>
                <a:gd name="T69" fmla="*/ 416 h 429"/>
                <a:gd name="T70" fmla="*/ 648 w 673"/>
                <a:gd name="T71" fmla="*/ 412 h 429"/>
                <a:gd name="T72" fmla="*/ 653 w 673"/>
                <a:gd name="T73" fmla="*/ 407 h 429"/>
                <a:gd name="T74" fmla="*/ 657 w 673"/>
                <a:gd name="T75" fmla="*/ 402 h 429"/>
                <a:gd name="T76" fmla="*/ 662 w 673"/>
                <a:gd name="T77" fmla="*/ 397 h 429"/>
                <a:gd name="T78" fmla="*/ 666 w 673"/>
                <a:gd name="T79" fmla="*/ 390 h 429"/>
                <a:gd name="T80" fmla="*/ 668 w 673"/>
                <a:gd name="T81" fmla="*/ 385 h 429"/>
                <a:gd name="T82" fmla="*/ 671 w 673"/>
                <a:gd name="T83" fmla="*/ 378 h 429"/>
                <a:gd name="T84" fmla="*/ 672 w 673"/>
                <a:gd name="T85" fmla="*/ 371 h 429"/>
                <a:gd name="T86" fmla="*/ 673 w 673"/>
                <a:gd name="T87" fmla="*/ 364 h 429"/>
                <a:gd name="T88" fmla="*/ 673 w 673"/>
                <a:gd name="T89" fmla="*/ 357 h 429"/>
                <a:gd name="T90" fmla="*/ 673 w 673"/>
                <a:gd name="T91" fmla="*/ 44 h 429"/>
                <a:gd name="T92" fmla="*/ 673 w 673"/>
                <a:gd name="T93" fmla="*/ 32 h 429"/>
                <a:gd name="T94" fmla="*/ 671 w 673"/>
                <a:gd name="T95" fmla="*/ 21 h 429"/>
                <a:gd name="T96" fmla="*/ 666 w 673"/>
                <a:gd name="T97" fmla="*/ 10 h 429"/>
                <a:gd name="T98" fmla="*/ 661 w 673"/>
                <a:gd name="T99" fmla="*/ 0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673" h="429">
                  <a:moveTo>
                    <a:pt x="661" y="0"/>
                  </a:moveTo>
                  <a:lnTo>
                    <a:pt x="357" y="245"/>
                  </a:lnTo>
                  <a:lnTo>
                    <a:pt x="354" y="248"/>
                  </a:lnTo>
                  <a:lnTo>
                    <a:pt x="350" y="248"/>
                  </a:lnTo>
                  <a:lnTo>
                    <a:pt x="346" y="248"/>
                  </a:lnTo>
                  <a:lnTo>
                    <a:pt x="342" y="247"/>
                  </a:lnTo>
                  <a:lnTo>
                    <a:pt x="11" y="6"/>
                  </a:lnTo>
                  <a:lnTo>
                    <a:pt x="7" y="14"/>
                  </a:lnTo>
                  <a:lnTo>
                    <a:pt x="3" y="23"/>
                  </a:lnTo>
                  <a:lnTo>
                    <a:pt x="2" y="33"/>
                  </a:lnTo>
                  <a:lnTo>
                    <a:pt x="0" y="44"/>
                  </a:lnTo>
                  <a:lnTo>
                    <a:pt x="0" y="357"/>
                  </a:lnTo>
                  <a:lnTo>
                    <a:pt x="2" y="365"/>
                  </a:lnTo>
                  <a:lnTo>
                    <a:pt x="2" y="371"/>
                  </a:lnTo>
                  <a:lnTo>
                    <a:pt x="4" y="379"/>
                  </a:lnTo>
                  <a:lnTo>
                    <a:pt x="6" y="385"/>
                  </a:lnTo>
                  <a:lnTo>
                    <a:pt x="9" y="392"/>
                  </a:lnTo>
                  <a:lnTo>
                    <a:pt x="12" y="398"/>
                  </a:lnTo>
                  <a:lnTo>
                    <a:pt x="16" y="403"/>
                  </a:lnTo>
                  <a:lnTo>
                    <a:pt x="21" y="408"/>
                  </a:lnTo>
                  <a:lnTo>
                    <a:pt x="26" y="412"/>
                  </a:lnTo>
                  <a:lnTo>
                    <a:pt x="31" y="417"/>
                  </a:lnTo>
                  <a:lnTo>
                    <a:pt x="36" y="420"/>
                  </a:lnTo>
                  <a:lnTo>
                    <a:pt x="43" y="424"/>
                  </a:lnTo>
                  <a:lnTo>
                    <a:pt x="49" y="425"/>
                  </a:lnTo>
                  <a:lnTo>
                    <a:pt x="57" y="428"/>
                  </a:lnTo>
                  <a:lnTo>
                    <a:pt x="63" y="429"/>
                  </a:lnTo>
                  <a:lnTo>
                    <a:pt x="71" y="429"/>
                  </a:lnTo>
                  <a:lnTo>
                    <a:pt x="601" y="429"/>
                  </a:lnTo>
                  <a:lnTo>
                    <a:pt x="609" y="429"/>
                  </a:lnTo>
                  <a:lnTo>
                    <a:pt x="616" y="428"/>
                  </a:lnTo>
                  <a:lnTo>
                    <a:pt x="623" y="425"/>
                  </a:lnTo>
                  <a:lnTo>
                    <a:pt x="630" y="423"/>
                  </a:lnTo>
                  <a:lnTo>
                    <a:pt x="636" y="420"/>
                  </a:lnTo>
                  <a:lnTo>
                    <a:pt x="643" y="416"/>
                  </a:lnTo>
                  <a:lnTo>
                    <a:pt x="648" y="412"/>
                  </a:lnTo>
                  <a:lnTo>
                    <a:pt x="653" y="407"/>
                  </a:lnTo>
                  <a:lnTo>
                    <a:pt x="657" y="402"/>
                  </a:lnTo>
                  <a:lnTo>
                    <a:pt x="662" y="397"/>
                  </a:lnTo>
                  <a:lnTo>
                    <a:pt x="666" y="390"/>
                  </a:lnTo>
                  <a:lnTo>
                    <a:pt x="668" y="385"/>
                  </a:lnTo>
                  <a:lnTo>
                    <a:pt x="671" y="378"/>
                  </a:lnTo>
                  <a:lnTo>
                    <a:pt x="672" y="371"/>
                  </a:lnTo>
                  <a:lnTo>
                    <a:pt x="673" y="364"/>
                  </a:lnTo>
                  <a:lnTo>
                    <a:pt x="673" y="357"/>
                  </a:lnTo>
                  <a:lnTo>
                    <a:pt x="673" y="44"/>
                  </a:lnTo>
                  <a:lnTo>
                    <a:pt x="673" y="32"/>
                  </a:lnTo>
                  <a:lnTo>
                    <a:pt x="671" y="21"/>
                  </a:lnTo>
                  <a:lnTo>
                    <a:pt x="666" y="10"/>
                  </a:lnTo>
                  <a:lnTo>
                    <a:pt x="661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3507"/>
            <p:cNvSpPr>
              <a:spLocks/>
            </p:cNvSpPr>
            <p:nvPr/>
          </p:nvSpPr>
          <p:spPr bwMode="auto">
            <a:xfrm>
              <a:off x="5885741" y="2350192"/>
              <a:ext cx="183679" cy="73948"/>
            </a:xfrm>
            <a:custGeom>
              <a:avLst/>
              <a:gdLst>
                <a:gd name="T0" fmla="*/ 617 w 617"/>
                <a:gd name="T1" fmla="*/ 11 h 249"/>
                <a:gd name="T2" fmla="*/ 608 w 617"/>
                <a:gd name="T3" fmla="*/ 6 h 249"/>
                <a:gd name="T4" fmla="*/ 599 w 617"/>
                <a:gd name="T5" fmla="*/ 4 h 249"/>
                <a:gd name="T6" fmla="*/ 587 w 617"/>
                <a:gd name="T7" fmla="*/ 1 h 249"/>
                <a:gd name="T8" fmla="*/ 575 w 617"/>
                <a:gd name="T9" fmla="*/ 0 h 249"/>
                <a:gd name="T10" fmla="*/ 46 w 617"/>
                <a:gd name="T11" fmla="*/ 0 h 249"/>
                <a:gd name="T12" fmla="*/ 34 w 617"/>
                <a:gd name="T13" fmla="*/ 1 h 249"/>
                <a:gd name="T14" fmla="*/ 21 w 617"/>
                <a:gd name="T15" fmla="*/ 4 h 249"/>
                <a:gd name="T16" fmla="*/ 10 w 617"/>
                <a:gd name="T17" fmla="*/ 9 h 249"/>
                <a:gd name="T18" fmla="*/ 0 w 617"/>
                <a:gd name="T19" fmla="*/ 15 h 249"/>
                <a:gd name="T20" fmla="*/ 322 w 617"/>
                <a:gd name="T21" fmla="*/ 249 h 249"/>
                <a:gd name="T22" fmla="*/ 617 w 617"/>
                <a:gd name="T23" fmla="*/ 11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7" h="249">
                  <a:moveTo>
                    <a:pt x="617" y="11"/>
                  </a:moveTo>
                  <a:lnTo>
                    <a:pt x="608" y="6"/>
                  </a:lnTo>
                  <a:lnTo>
                    <a:pt x="599" y="4"/>
                  </a:lnTo>
                  <a:lnTo>
                    <a:pt x="587" y="1"/>
                  </a:lnTo>
                  <a:lnTo>
                    <a:pt x="575" y="0"/>
                  </a:lnTo>
                  <a:lnTo>
                    <a:pt x="46" y="0"/>
                  </a:lnTo>
                  <a:lnTo>
                    <a:pt x="34" y="1"/>
                  </a:lnTo>
                  <a:lnTo>
                    <a:pt x="21" y="4"/>
                  </a:lnTo>
                  <a:lnTo>
                    <a:pt x="10" y="9"/>
                  </a:lnTo>
                  <a:lnTo>
                    <a:pt x="0" y="15"/>
                  </a:lnTo>
                  <a:lnTo>
                    <a:pt x="322" y="249"/>
                  </a:lnTo>
                  <a:lnTo>
                    <a:pt x="617" y="1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64" name="Freeform 184"/>
          <p:cNvSpPr>
            <a:spLocks noChangeAspect="1"/>
          </p:cNvSpPr>
          <p:nvPr/>
        </p:nvSpPr>
        <p:spPr bwMode="auto">
          <a:xfrm>
            <a:off x="5943758" y="3666033"/>
            <a:ext cx="97163" cy="78914"/>
          </a:xfrm>
          <a:custGeom>
            <a:avLst/>
            <a:gdLst>
              <a:gd name="T0" fmla="*/ 393 w 393"/>
              <a:gd name="T1" fmla="*/ 38 h 319"/>
              <a:gd name="T2" fmla="*/ 347 w 393"/>
              <a:gd name="T3" fmla="*/ 52 h 319"/>
              <a:gd name="T4" fmla="*/ 359 w 393"/>
              <a:gd name="T5" fmla="*/ 42 h 319"/>
              <a:gd name="T6" fmla="*/ 377 w 393"/>
              <a:gd name="T7" fmla="*/ 20 h 319"/>
              <a:gd name="T8" fmla="*/ 383 w 393"/>
              <a:gd name="T9" fmla="*/ 6 h 319"/>
              <a:gd name="T10" fmla="*/ 345 w 393"/>
              <a:gd name="T11" fmla="*/ 22 h 319"/>
              <a:gd name="T12" fmla="*/ 331 w 393"/>
              <a:gd name="T13" fmla="*/ 26 h 319"/>
              <a:gd name="T14" fmla="*/ 305 w 393"/>
              <a:gd name="T15" fmla="*/ 8 h 319"/>
              <a:gd name="T16" fmla="*/ 273 w 393"/>
              <a:gd name="T17" fmla="*/ 0 h 319"/>
              <a:gd name="T18" fmla="*/ 255 w 393"/>
              <a:gd name="T19" fmla="*/ 2 h 319"/>
              <a:gd name="T20" fmla="*/ 227 w 393"/>
              <a:gd name="T21" fmla="*/ 14 h 319"/>
              <a:gd name="T22" fmla="*/ 205 w 393"/>
              <a:gd name="T23" fmla="*/ 36 h 319"/>
              <a:gd name="T24" fmla="*/ 193 w 393"/>
              <a:gd name="T25" fmla="*/ 64 h 319"/>
              <a:gd name="T26" fmla="*/ 191 w 393"/>
              <a:gd name="T27" fmla="*/ 82 h 319"/>
              <a:gd name="T28" fmla="*/ 193 w 393"/>
              <a:gd name="T29" fmla="*/ 100 h 319"/>
              <a:gd name="T30" fmla="*/ 145 w 393"/>
              <a:gd name="T31" fmla="*/ 92 h 319"/>
              <a:gd name="T32" fmla="*/ 99 w 393"/>
              <a:gd name="T33" fmla="*/ 74 h 319"/>
              <a:gd name="T34" fmla="*/ 62 w 393"/>
              <a:gd name="T35" fmla="*/ 48 h 319"/>
              <a:gd name="T36" fmla="*/ 28 w 393"/>
              <a:gd name="T37" fmla="*/ 16 h 319"/>
              <a:gd name="T38" fmla="*/ 24 w 393"/>
              <a:gd name="T39" fmla="*/ 24 h 319"/>
              <a:gd name="T40" fmla="*/ 18 w 393"/>
              <a:gd name="T41" fmla="*/ 44 h 319"/>
              <a:gd name="T42" fmla="*/ 16 w 393"/>
              <a:gd name="T43" fmla="*/ 56 h 319"/>
              <a:gd name="T44" fmla="*/ 20 w 393"/>
              <a:gd name="T45" fmla="*/ 76 h 319"/>
              <a:gd name="T46" fmla="*/ 26 w 393"/>
              <a:gd name="T47" fmla="*/ 94 h 319"/>
              <a:gd name="T48" fmla="*/ 52 w 393"/>
              <a:gd name="T49" fmla="*/ 124 h 319"/>
              <a:gd name="T50" fmla="*/ 34 w 393"/>
              <a:gd name="T51" fmla="*/ 120 h 319"/>
              <a:gd name="T52" fmla="*/ 16 w 393"/>
              <a:gd name="T53" fmla="*/ 114 h 319"/>
              <a:gd name="T54" fmla="*/ 16 w 393"/>
              <a:gd name="T55" fmla="*/ 114 h 319"/>
              <a:gd name="T56" fmla="*/ 22 w 393"/>
              <a:gd name="T57" fmla="*/ 142 h 319"/>
              <a:gd name="T58" fmla="*/ 34 w 393"/>
              <a:gd name="T59" fmla="*/ 166 h 319"/>
              <a:gd name="T60" fmla="*/ 56 w 393"/>
              <a:gd name="T61" fmla="*/ 183 h 319"/>
              <a:gd name="T62" fmla="*/ 82 w 393"/>
              <a:gd name="T63" fmla="*/ 193 h 319"/>
              <a:gd name="T64" fmla="*/ 70 w 393"/>
              <a:gd name="T65" fmla="*/ 195 h 319"/>
              <a:gd name="T66" fmla="*/ 60 w 393"/>
              <a:gd name="T67" fmla="*/ 195 h 319"/>
              <a:gd name="T68" fmla="*/ 44 w 393"/>
              <a:gd name="T69" fmla="*/ 193 h 319"/>
              <a:gd name="T70" fmla="*/ 56 w 393"/>
              <a:gd name="T71" fmla="*/ 215 h 319"/>
              <a:gd name="T72" fmla="*/ 72 w 393"/>
              <a:gd name="T73" fmla="*/ 233 h 319"/>
              <a:gd name="T74" fmla="*/ 93 w 393"/>
              <a:gd name="T75" fmla="*/ 245 h 319"/>
              <a:gd name="T76" fmla="*/ 119 w 393"/>
              <a:gd name="T77" fmla="*/ 249 h 319"/>
              <a:gd name="T78" fmla="*/ 97 w 393"/>
              <a:gd name="T79" fmla="*/ 265 h 319"/>
              <a:gd name="T80" fmla="*/ 48 w 393"/>
              <a:gd name="T81" fmla="*/ 283 h 319"/>
              <a:gd name="T82" fmla="*/ 20 w 393"/>
              <a:gd name="T83" fmla="*/ 285 h 319"/>
              <a:gd name="T84" fmla="*/ 0 w 393"/>
              <a:gd name="T85" fmla="*/ 283 h 319"/>
              <a:gd name="T86" fmla="*/ 28 w 393"/>
              <a:gd name="T87" fmla="*/ 299 h 319"/>
              <a:gd name="T88" fmla="*/ 89 w 393"/>
              <a:gd name="T89" fmla="*/ 317 h 319"/>
              <a:gd name="T90" fmla="*/ 123 w 393"/>
              <a:gd name="T91" fmla="*/ 319 h 319"/>
              <a:gd name="T92" fmla="*/ 151 w 393"/>
              <a:gd name="T93" fmla="*/ 319 h 319"/>
              <a:gd name="T94" fmla="*/ 199 w 393"/>
              <a:gd name="T95" fmla="*/ 307 h 319"/>
              <a:gd name="T96" fmla="*/ 243 w 393"/>
              <a:gd name="T97" fmla="*/ 287 h 319"/>
              <a:gd name="T98" fmla="*/ 279 w 393"/>
              <a:gd name="T99" fmla="*/ 261 h 319"/>
              <a:gd name="T100" fmla="*/ 307 w 393"/>
              <a:gd name="T101" fmla="*/ 227 h 319"/>
              <a:gd name="T102" fmla="*/ 329 w 393"/>
              <a:gd name="T103" fmla="*/ 191 h 319"/>
              <a:gd name="T104" fmla="*/ 345 w 393"/>
              <a:gd name="T105" fmla="*/ 152 h 319"/>
              <a:gd name="T106" fmla="*/ 353 w 393"/>
              <a:gd name="T107" fmla="*/ 110 h 319"/>
              <a:gd name="T108" fmla="*/ 353 w 393"/>
              <a:gd name="T109" fmla="*/ 90 h 319"/>
              <a:gd name="T110" fmla="*/ 353 w 393"/>
              <a:gd name="T111" fmla="*/ 80 h 319"/>
              <a:gd name="T112" fmla="*/ 375 w 393"/>
              <a:gd name="T113" fmla="*/ 62 h 319"/>
              <a:gd name="T114" fmla="*/ 393 w 393"/>
              <a:gd name="T115" fmla="*/ 38 h 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93" h="319">
                <a:moveTo>
                  <a:pt x="393" y="38"/>
                </a:moveTo>
                <a:lnTo>
                  <a:pt x="393" y="38"/>
                </a:lnTo>
                <a:lnTo>
                  <a:pt x="371" y="46"/>
                </a:lnTo>
                <a:lnTo>
                  <a:pt x="347" y="52"/>
                </a:lnTo>
                <a:lnTo>
                  <a:pt x="347" y="52"/>
                </a:lnTo>
                <a:lnTo>
                  <a:pt x="359" y="42"/>
                </a:lnTo>
                <a:lnTo>
                  <a:pt x="369" y="32"/>
                </a:lnTo>
                <a:lnTo>
                  <a:pt x="377" y="20"/>
                </a:lnTo>
                <a:lnTo>
                  <a:pt x="383" y="6"/>
                </a:lnTo>
                <a:lnTo>
                  <a:pt x="383" y="6"/>
                </a:lnTo>
                <a:lnTo>
                  <a:pt x="357" y="18"/>
                </a:lnTo>
                <a:lnTo>
                  <a:pt x="345" y="22"/>
                </a:lnTo>
                <a:lnTo>
                  <a:pt x="331" y="26"/>
                </a:lnTo>
                <a:lnTo>
                  <a:pt x="331" y="26"/>
                </a:lnTo>
                <a:lnTo>
                  <a:pt x="319" y="16"/>
                </a:lnTo>
                <a:lnTo>
                  <a:pt x="305" y="8"/>
                </a:lnTo>
                <a:lnTo>
                  <a:pt x="289" y="2"/>
                </a:lnTo>
                <a:lnTo>
                  <a:pt x="273" y="0"/>
                </a:lnTo>
                <a:lnTo>
                  <a:pt x="273" y="0"/>
                </a:lnTo>
                <a:lnTo>
                  <a:pt x="255" y="2"/>
                </a:lnTo>
                <a:lnTo>
                  <a:pt x="241" y="6"/>
                </a:lnTo>
                <a:lnTo>
                  <a:pt x="227" y="14"/>
                </a:lnTo>
                <a:lnTo>
                  <a:pt x="215" y="24"/>
                </a:lnTo>
                <a:lnTo>
                  <a:pt x="205" y="36"/>
                </a:lnTo>
                <a:lnTo>
                  <a:pt x="197" y="50"/>
                </a:lnTo>
                <a:lnTo>
                  <a:pt x="193" y="64"/>
                </a:lnTo>
                <a:lnTo>
                  <a:pt x="191" y="82"/>
                </a:lnTo>
                <a:lnTo>
                  <a:pt x="191" y="82"/>
                </a:lnTo>
                <a:lnTo>
                  <a:pt x="193" y="100"/>
                </a:lnTo>
                <a:lnTo>
                  <a:pt x="193" y="100"/>
                </a:lnTo>
                <a:lnTo>
                  <a:pt x="169" y="98"/>
                </a:lnTo>
                <a:lnTo>
                  <a:pt x="145" y="92"/>
                </a:lnTo>
                <a:lnTo>
                  <a:pt x="121" y="84"/>
                </a:lnTo>
                <a:lnTo>
                  <a:pt x="99" y="74"/>
                </a:lnTo>
                <a:lnTo>
                  <a:pt x="80" y="62"/>
                </a:lnTo>
                <a:lnTo>
                  <a:pt x="62" y="48"/>
                </a:lnTo>
                <a:lnTo>
                  <a:pt x="44" y="32"/>
                </a:lnTo>
                <a:lnTo>
                  <a:pt x="28" y="16"/>
                </a:lnTo>
                <a:lnTo>
                  <a:pt x="28" y="16"/>
                </a:lnTo>
                <a:lnTo>
                  <a:pt x="24" y="24"/>
                </a:lnTo>
                <a:lnTo>
                  <a:pt x="20" y="34"/>
                </a:lnTo>
                <a:lnTo>
                  <a:pt x="18" y="44"/>
                </a:lnTo>
                <a:lnTo>
                  <a:pt x="16" y="56"/>
                </a:lnTo>
                <a:lnTo>
                  <a:pt x="16" y="56"/>
                </a:lnTo>
                <a:lnTo>
                  <a:pt x="18" y="66"/>
                </a:lnTo>
                <a:lnTo>
                  <a:pt x="20" y="76"/>
                </a:lnTo>
                <a:lnTo>
                  <a:pt x="22" y="86"/>
                </a:lnTo>
                <a:lnTo>
                  <a:pt x="26" y="94"/>
                </a:lnTo>
                <a:lnTo>
                  <a:pt x="38" y="110"/>
                </a:lnTo>
                <a:lnTo>
                  <a:pt x="52" y="124"/>
                </a:lnTo>
                <a:lnTo>
                  <a:pt x="52" y="124"/>
                </a:lnTo>
                <a:lnTo>
                  <a:pt x="34" y="120"/>
                </a:lnTo>
                <a:lnTo>
                  <a:pt x="16" y="114"/>
                </a:lnTo>
                <a:lnTo>
                  <a:pt x="16" y="114"/>
                </a:lnTo>
                <a:lnTo>
                  <a:pt x="16" y="114"/>
                </a:lnTo>
                <a:lnTo>
                  <a:pt x="16" y="114"/>
                </a:lnTo>
                <a:lnTo>
                  <a:pt x="18" y="128"/>
                </a:lnTo>
                <a:lnTo>
                  <a:pt x="22" y="142"/>
                </a:lnTo>
                <a:lnTo>
                  <a:pt x="26" y="154"/>
                </a:lnTo>
                <a:lnTo>
                  <a:pt x="34" y="166"/>
                </a:lnTo>
                <a:lnTo>
                  <a:pt x="44" y="176"/>
                </a:lnTo>
                <a:lnTo>
                  <a:pt x="56" y="183"/>
                </a:lnTo>
                <a:lnTo>
                  <a:pt x="68" y="189"/>
                </a:lnTo>
                <a:lnTo>
                  <a:pt x="82" y="193"/>
                </a:lnTo>
                <a:lnTo>
                  <a:pt x="82" y="193"/>
                </a:lnTo>
                <a:lnTo>
                  <a:pt x="70" y="195"/>
                </a:lnTo>
                <a:lnTo>
                  <a:pt x="60" y="195"/>
                </a:lnTo>
                <a:lnTo>
                  <a:pt x="60" y="195"/>
                </a:lnTo>
                <a:lnTo>
                  <a:pt x="44" y="193"/>
                </a:lnTo>
                <a:lnTo>
                  <a:pt x="44" y="193"/>
                </a:lnTo>
                <a:lnTo>
                  <a:pt x="50" y="205"/>
                </a:lnTo>
                <a:lnTo>
                  <a:pt x="56" y="215"/>
                </a:lnTo>
                <a:lnTo>
                  <a:pt x="64" y="225"/>
                </a:lnTo>
                <a:lnTo>
                  <a:pt x="72" y="233"/>
                </a:lnTo>
                <a:lnTo>
                  <a:pt x="84" y="241"/>
                </a:lnTo>
                <a:lnTo>
                  <a:pt x="93" y="245"/>
                </a:lnTo>
                <a:lnTo>
                  <a:pt x="107" y="249"/>
                </a:lnTo>
                <a:lnTo>
                  <a:pt x="119" y="249"/>
                </a:lnTo>
                <a:lnTo>
                  <a:pt x="119" y="249"/>
                </a:lnTo>
                <a:lnTo>
                  <a:pt x="97" y="265"/>
                </a:lnTo>
                <a:lnTo>
                  <a:pt x="74" y="275"/>
                </a:lnTo>
                <a:lnTo>
                  <a:pt x="48" y="283"/>
                </a:lnTo>
                <a:lnTo>
                  <a:pt x="34" y="283"/>
                </a:lnTo>
                <a:lnTo>
                  <a:pt x="20" y="285"/>
                </a:lnTo>
                <a:lnTo>
                  <a:pt x="20" y="285"/>
                </a:lnTo>
                <a:lnTo>
                  <a:pt x="0" y="283"/>
                </a:lnTo>
                <a:lnTo>
                  <a:pt x="0" y="283"/>
                </a:lnTo>
                <a:lnTo>
                  <a:pt x="28" y="299"/>
                </a:lnTo>
                <a:lnTo>
                  <a:pt x="58" y="311"/>
                </a:lnTo>
                <a:lnTo>
                  <a:pt x="89" y="317"/>
                </a:lnTo>
                <a:lnTo>
                  <a:pt x="107" y="319"/>
                </a:lnTo>
                <a:lnTo>
                  <a:pt x="123" y="319"/>
                </a:lnTo>
                <a:lnTo>
                  <a:pt x="123" y="319"/>
                </a:lnTo>
                <a:lnTo>
                  <a:pt x="151" y="319"/>
                </a:lnTo>
                <a:lnTo>
                  <a:pt x="175" y="315"/>
                </a:lnTo>
                <a:lnTo>
                  <a:pt x="199" y="307"/>
                </a:lnTo>
                <a:lnTo>
                  <a:pt x="223" y="299"/>
                </a:lnTo>
                <a:lnTo>
                  <a:pt x="243" y="287"/>
                </a:lnTo>
                <a:lnTo>
                  <a:pt x="261" y="275"/>
                </a:lnTo>
                <a:lnTo>
                  <a:pt x="279" y="261"/>
                </a:lnTo>
                <a:lnTo>
                  <a:pt x="295" y="245"/>
                </a:lnTo>
                <a:lnTo>
                  <a:pt x="307" y="227"/>
                </a:lnTo>
                <a:lnTo>
                  <a:pt x="319" y="209"/>
                </a:lnTo>
                <a:lnTo>
                  <a:pt x="329" y="191"/>
                </a:lnTo>
                <a:lnTo>
                  <a:pt x="339" y="172"/>
                </a:lnTo>
                <a:lnTo>
                  <a:pt x="345" y="152"/>
                </a:lnTo>
                <a:lnTo>
                  <a:pt x="349" y="132"/>
                </a:lnTo>
                <a:lnTo>
                  <a:pt x="353" y="110"/>
                </a:lnTo>
                <a:lnTo>
                  <a:pt x="353" y="90"/>
                </a:lnTo>
                <a:lnTo>
                  <a:pt x="353" y="90"/>
                </a:lnTo>
                <a:lnTo>
                  <a:pt x="353" y="80"/>
                </a:lnTo>
                <a:lnTo>
                  <a:pt x="353" y="80"/>
                </a:lnTo>
                <a:lnTo>
                  <a:pt x="365" y="72"/>
                </a:lnTo>
                <a:lnTo>
                  <a:pt x="375" y="62"/>
                </a:lnTo>
                <a:lnTo>
                  <a:pt x="385" y="50"/>
                </a:lnTo>
                <a:lnTo>
                  <a:pt x="393" y="38"/>
                </a:lnTo>
                <a:lnTo>
                  <a:pt x="393" y="38"/>
                </a:lnTo>
                <a:close/>
              </a:path>
            </a:pathLst>
          </a:custGeom>
          <a:solidFill>
            <a:srgbClr val="AFABAB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6" name="Freeform 1907"/>
          <p:cNvSpPr>
            <a:spLocks noChangeAspect="1"/>
          </p:cNvSpPr>
          <p:nvPr/>
        </p:nvSpPr>
        <p:spPr bwMode="auto">
          <a:xfrm>
            <a:off x="6196203" y="3662087"/>
            <a:ext cx="86310" cy="86806"/>
          </a:xfrm>
          <a:custGeom>
            <a:avLst/>
            <a:gdLst>
              <a:gd name="T0" fmla="*/ 748 w 871"/>
              <a:gd name="T1" fmla="*/ 538 h 872"/>
              <a:gd name="T2" fmla="*/ 732 w 871"/>
              <a:gd name="T3" fmla="*/ 525 h 872"/>
              <a:gd name="T4" fmla="*/ 714 w 871"/>
              <a:gd name="T5" fmla="*/ 515 h 872"/>
              <a:gd name="T6" fmla="*/ 694 w 871"/>
              <a:gd name="T7" fmla="*/ 509 h 872"/>
              <a:gd name="T8" fmla="*/ 674 w 871"/>
              <a:gd name="T9" fmla="*/ 506 h 872"/>
              <a:gd name="T10" fmla="*/ 654 w 871"/>
              <a:gd name="T11" fmla="*/ 509 h 872"/>
              <a:gd name="T12" fmla="*/ 634 w 871"/>
              <a:gd name="T13" fmla="*/ 515 h 872"/>
              <a:gd name="T14" fmla="*/ 617 w 871"/>
              <a:gd name="T15" fmla="*/ 525 h 872"/>
              <a:gd name="T16" fmla="*/ 601 w 871"/>
              <a:gd name="T17" fmla="*/ 538 h 872"/>
              <a:gd name="T18" fmla="*/ 544 w 871"/>
              <a:gd name="T19" fmla="*/ 529 h 872"/>
              <a:gd name="T20" fmla="*/ 474 w 871"/>
              <a:gd name="T21" fmla="*/ 465 h 872"/>
              <a:gd name="T22" fmla="*/ 407 w 871"/>
              <a:gd name="T23" fmla="*/ 398 h 872"/>
              <a:gd name="T24" fmla="*/ 344 w 871"/>
              <a:gd name="T25" fmla="*/ 328 h 872"/>
              <a:gd name="T26" fmla="*/ 335 w 871"/>
              <a:gd name="T27" fmla="*/ 271 h 872"/>
              <a:gd name="T28" fmla="*/ 348 w 871"/>
              <a:gd name="T29" fmla="*/ 254 h 872"/>
              <a:gd name="T30" fmla="*/ 358 w 871"/>
              <a:gd name="T31" fmla="*/ 237 h 872"/>
              <a:gd name="T32" fmla="*/ 364 w 871"/>
              <a:gd name="T33" fmla="*/ 218 h 872"/>
              <a:gd name="T34" fmla="*/ 365 w 871"/>
              <a:gd name="T35" fmla="*/ 198 h 872"/>
              <a:gd name="T36" fmla="*/ 364 w 871"/>
              <a:gd name="T37" fmla="*/ 178 h 872"/>
              <a:gd name="T38" fmla="*/ 358 w 871"/>
              <a:gd name="T39" fmla="*/ 159 h 872"/>
              <a:gd name="T40" fmla="*/ 348 w 871"/>
              <a:gd name="T41" fmla="*/ 141 h 872"/>
              <a:gd name="T42" fmla="*/ 335 w 871"/>
              <a:gd name="T43" fmla="*/ 125 h 872"/>
              <a:gd name="T44" fmla="*/ 233 w 871"/>
              <a:gd name="T45" fmla="*/ 24 h 872"/>
              <a:gd name="T46" fmla="*/ 217 w 871"/>
              <a:gd name="T47" fmla="*/ 13 h 872"/>
              <a:gd name="T48" fmla="*/ 198 w 871"/>
              <a:gd name="T49" fmla="*/ 5 h 872"/>
              <a:gd name="T50" fmla="*/ 178 w 871"/>
              <a:gd name="T51" fmla="*/ 1 h 872"/>
              <a:gd name="T52" fmla="*/ 158 w 871"/>
              <a:gd name="T53" fmla="*/ 1 h 872"/>
              <a:gd name="T54" fmla="*/ 138 w 871"/>
              <a:gd name="T55" fmla="*/ 5 h 872"/>
              <a:gd name="T56" fmla="*/ 119 w 871"/>
              <a:gd name="T57" fmla="*/ 13 h 872"/>
              <a:gd name="T58" fmla="*/ 102 w 871"/>
              <a:gd name="T59" fmla="*/ 24 h 872"/>
              <a:gd name="T60" fmla="*/ 43 w 871"/>
              <a:gd name="T61" fmla="*/ 82 h 872"/>
              <a:gd name="T62" fmla="*/ 27 w 871"/>
              <a:gd name="T63" fmla="*/ 102 h 872"/>
              <a:gd name="T64" fmla="*/ 14 w 871"/>
              <a:gd name="T65" fmla="*/ 124 h 872"/>
              <a:gd name="T66" fmla="*/ 6 w 871"/>
              <a:gd name="T67" fmla="*/ 147 h 872"/>
              <a:gd name="T68" fmla="*/ 1 w 871"/>
              <a:gd name="T69" fmla="*/ 172 h 872"/>
              <a:gd name="T70" fmla="*/ 0 w 871"/>
              <a:gd name="T71" fmla="*/ 197 h 872"/>
              <a:gd name="T72" fmla="*/ 5 w 871"/>
              <a:gd name="T73" fmla="*/ 221 h 872"/>
              <a:gd name="T74" fmla="*/ 12 w 871"/>
              <a:gd name="T75" fmla="*/ 246 h 872"/>
              <a:gd name="T76" fmla="*/ 25 w 871"/>
              <a:gd name="T77" fmla="*/ 268 h 872"/>
              <a:gd name="T78" fmla="*/ 84 w 871"/>
              <a:gd name="T79" fmla="*/ 352 h 872"/>
              <a:gd name="T80" fmla="*/ 147 w 871"/>
              <a:gd name="T81" fmla="*/ 434 h 872"/>
              <a:gd name="T82" fmla="*/ 214 w 871"/>
              <a:gd name="T83" fmla="*/ 512 h 872"/>
              <a:gd name="T84" fmla="*/ 286 w 871"/>
              <a:gd name="T85" fmla="*/ 587 h 872"/>
              <a:gd name="T86" fmla="*/ 361 w 871"/>
              <a:gd name="T87" fmla="*/ 658 h 872"/>
              <a:gd name="T88" fmla="*/ 439 w 871"/>
              <a:gd name="T89" fmla="*/ 725 h 872"/>
              <a:gd name="T90" fmla="*/ 519 w 871"/>
              <a:gd name="T91" fmla="*/ 789 h 872"/>
              <a:gd name="T92" fmla="*/ 604 w 871"/>
              <a:gd name="T93" fmla="*/ 848 h 872"/>
              <a:gd name="T94" fmla="*/ 622 w 871"/>
              <a:gd name="T95" fmla="*/ 858 h 872"/>
              <a:gd name="T96" fmla="*/ 643 w 871"/>
              <a:gd name="T97" fmla="*/ 866 h 872"/>
              <a:gd name="T98" fmla="*/ 664 w 871"/>
              <a:gd name="T99" fmla="*/ 870 h 872"/>
              <a:gd name="T100" fmla="*/ 686 w 871"/>
              <a:gd name="T101" fmla="*/ 872 h 872"/>
              <a:gd name="T102" fmla="*/ 715 w 871"/>
              <a:gd name="T103" fmla="*/ 869 h 872"/>
              <a:gd name="T104" fmla="*/ 743 w 871"/>
              <a:gd name="T105" fmla="*/ 860 h 872"/>
              <a:gd name="T106" fmla="*/ 767 w 871"/>
              <a:gd name="T107" fmla="*/ 848 h 872"/>
              <a:gd name="T108" fmla="*/ 790 w 871"/>
              <a:gd name="T109" fmla="*/ 829 h 872"/>
              <a:gd name="T110" fmla="*/ 849 w 871"/>
              <a:gd name="T111" fmla="*/ 769 h 872"/>
              <a:gd name="T112" fmla="*/ 859 w 871"/>
              <a:gd name="T113" fmla="*/ 752 h 872"/>
              <a:gd name="T114" fmla="*/ 867 w 871"/>
              <a:gd name="T115" fmla="*/ 734 h 872"/>
              <a:gd name="T116" fmla="*/ 871 w 871"/>
              <a:gd name="T117" fmla="*/ 715 h 872"/>
              <a:gd name="T118" fmla="*/ 871 w 871"/>
              <a:gd name="T119" fmla="*/ 694 h 872"/>
              <a:gd name="T120" fmla="*/ 867 w 871"/>
              <a:gd name="T121" fmla="*/ 675 h 872"/>
              <a:gd name="T122" fmla="*/ 859 w 871"/>
              <a:gd name="T123" fmla="*/ 656 h 872"/>
              <a:gd name="T124" fmla="*/ 849 w 871"/>
              <a:gd name="T125" fmla="*/ 638 h 8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871" h="872">
                <a:moveTo>
                  <a:pt x="841" y="631"/>
                </a:moveTo>
                <a:lnTo>
                  <a:pt x="748" y="538"/>
                </a:lnTo>
                <a:lnTo>
                  <a:pt x="740" y="530"/>
                </a:lnTo>
                <a:lnTo>
                  <a:pt x="732" y="525"/>
                </a:lnTo>
                <a:lnTo>
                  <a:pt x="723" y="519"/>
                </a:lnTo>
                <a:lnTo>
                  <a:pt x="714" y="515"/>
                </a:lnTo>
                <a:lnTo>
                  <a:pt x="705" y="511"/>
                </a:lnTo>
                <a:lnTo>
                  <a:pt x="694" y="509"/>
                </a:lnTo>
                <a:lnTo>
                  <a:pt x="685" y="508"/>
                </a:lnTo>
                <a:lnTo>
                  <a:pt x="674" y="506"/>
                </a:lnTo>
                <a:lnTo>
                  <a:pt x="664" y="508"/>
                </a:lnTo>
                <a:lnTo>
                  <a:pt x="654" y="509"/>
                </a:lnTo>
                <a:lnTo>
                  <a:pt x="644" y="511"/>
                </a:lnTo>
                <a:lnTo>
                  <a:pt x="634" y="515"/>
                </a:lnTo>
                <a:lnTo>
                  <a:pt x="626" y="519"/>
                </a:lnTo>
                <a:lnTo>
                  <a:pt x="617" y="525"/>
                </a:lnTo>
                <a:lnTo>
                  <a:pt x="609" y="530"/>
                </a:lnTo>
                <a:lnTo>
                  <a:pt x="601" y="538"/>
                </a:lnTo>
                <a:lnTo>
                  <a:pt x="580" y="559"/>
                </a:lnTo>
                <a:lnTo>
                  <a:pt x="544" y="529"/>
                </a:lnTo>
                <a:lnTo>
                  <a:pt x="509" y="497"/>
                </a:lnTo>
                <a:lnTo>
                  <a:pt x="474" y="465"/>
                </a:lnTo>
                <a:lnTo>
                  <a:pt x="440" y="431"/>
                </a:lnTo>
                <a:lnTo>
                  <a:pt x="407" y="398"/>
                </a:lnTo>
                <a:lnTo>
                  <a:pt x="375" y="364"/>
                </a:lnTo>
                <a:lnTo>
                  <a:pt x="344" y="328"/>
                </a:lnTo>
                <a:lnTo>
                  <a:pt x="314" y="293"/>
                </a:lnTo>
                <a:lnTo>
                  <a:pt x="335" y="271"/>
                </a:lnTo>
                <a:lnTo>
                  <a:pt x="343" y="263"/>
                </a:lnTo>
                <a:lnTo>
                  <a:pt x="348" y="254"/>
                </a:lnTo>
                <a:lnTo>
                  <a:pt x="353" y="246"/>
                </a:lnTo>
                <a:lnTo>
                  <a:pt x="358" y="237"/>
                </a:lnTo>
                <a:lnTo>
                  <a:pt x="361" y="228"/>
                </a:lnTo>
                <a:lnTo>
                  <a:pt x="364" y="218"/>
                </a:lnTo>
                <a:lnTo>
                  <a:pt x="365" y="207"/>
                </a:lnTo>
                <a:lnTo>
                  <a:pt x="365" y="198"/>
                </a:lnTo>
                <a:lnTo>
                  <a:pt x="365" y="188"/>
                </a:lnTo>
                <a:lnTo>
                  <a:pt x="364" y="178"/>
                </a:lnTo>
                <a:lnTo>
                  <a:pt x="361" y="169"/>
                </a:lnTo>
                <a:lnTo>
                  <a:pt x="358" y="159"/>
                </a:lnTo>
                <a:lnTo>
                  <a:pt x="353" y="149"/>
                </a:lnTo>
                <a:lnTo>
                  <a:pt x="348" y="141"/>
                </a:lnTo>
                <a:lnTo>
                  <a:pt x="343" y="132"/>
                </a:lnTo>
                <a:lnTo>
                  <a:pt x="335" y="125"/>
                </a:lnTo>
                <a:lnTo>
                  <a:pt x="242" y="30"/>
                </a:lnTo>
                <a:lnTo>
                  <a:pt x="233" y="24"/>
                </a:lnTo>
                <a:lnTo>
                  <a:pt x="226" y="17"/>
                </a:lnTo>
                <a:lnTo>
                  <a:pt x="217" y="13"/>
                </a:lnTo>
                <a:lnTo>
                  <a:pt x="207" y="9"/>
                </a:lnTo>
                <a:lnTo>
                  <a:pt x="198" y="5"/>
                </a:lnTo>
                <a:lnTo>
                  <a:pt x="188" y="2"/>
                </a:lnTo>
                <a:lnTo>
                  <a:pt x="178" y="1"/>
                </a:lnTo>
                <a:lnTo>
                  <a:pt x="168" y="0"/>
                </a:lnTo>
                <a:lnTo>
                  <a:pt x="158" y="1"/>
                </a:lnTo>
                <a:lnTo>
                  <a:pt x="147" y="2"/>
                </a:lnTo>
                <a:lnTo>
                  <a:pt x="138" y="5"/>
                </a:lnTo>
                <a:lnTo>
                  <a:pt x="128" y="9"/>
                </a:lnTo>
                <a:lnTo>
                  <a:pt x="119" y="13"/>
                </a:lnTo>
                <a:lnTo>
                  <a:pt x="111" y="17"/>
                </a:lnTo>
                <a:lnTo>
                  <a:pt x="102" y="24"/>
                </a:lnTo>
                <a:lnTo>
                  <a:pt x="95" y="31"/>
                </a:lnTo>
                <a:lnTo>
                  <a:pt x="43" y="82"/>
                </a:lnTo>
                <a:lnTo>
                  <a:pt x="35" y="91"/>
                </a:lnTo>
                <a:lnTo>
                  <a:pt x="27" y="102"/>
                </a:lnTo>
                <a:lnTo>
                  <a:pt x="20" y="113"/>
                </a:lnTo>
                <a:lnTo>
                  <a:pt x="14" y="124"/>
                </a:lnTo>
                <a:lnTo>
                  <a:pt x="9" y="135"/>
                </a:lnTo>
                <a:lnTo>
                  <a:pt x="6" y="147"/>
                </a:lnTo>
                <a:lnTo>
                  <a:pt x="3" y="160"/>
                </a:lnTo>
                <a:lnTo>
                  <a:pt x="1" y="172"/>
                </a:lnTo>
                <a:lnTo>
                  <a:pt x="0" y="185"/>
                </a:lnTo>
                <a:lnTo>
                  <a:pt x="0" y="197"/>
                </a:lnTo>
                <a:lnTo>
                  <a:pt x="3" y="209"/>
                </a:lnTo>
                <a:lnTo>
                  <a:pt x="5" y="221"/>
                </a:lnTo>
                <a:lnTo>
                  <a:pt x="8" y="234"/>
                </a:lnTo>
                <a:lnTo>
                  <a:pt x="12" y="246"/>
                </a:lnTo>
                <a:lnTo>
                  <a:pt x="19" y="257"/>
                </a:lnTo>
                <a:lnTo>
                  <a:pt x="25" y="268"/>
                </a:lnTo>
                <a:lnTo>
                  <a:pt x="54" y="310"/>
                </a:lnTo>
                <a:lnTo>
                  <a:pt x="84" y="352"/>
                </a:lnTo>
                <a:lnTo>
                  <a:pt x="115" y="394"/>
                </a:lnTo>
                <a:lnTo>
                  <a:pt x="147" y="434"/>
                </a:lnTo>
                <a:lnTo>
                  <a:pt x="181" y="473"/>
                </a:lnTo>
                <a:lnTo>
                  <a:pt x="214" y="512"/>
                </a:lnTo>
                <a:lnTo>
                  <a:pt x="249" y="549"/>
                </a:lnTo>
                <a:lnTo>
                  <a:pt x="286" y="587"/>
                </a:lnTo>
                <a:lnTo>
                  <a:pt x="322" y="623"/>
                </a:lnTo>
                <a:lnTo>
                  <a:pt x="361" y="658"/>
                </a:lnTo>
                <a:lnTo>
                  <a:pt x="399" y="692"/>
                </a:lnTo>
                <a:lnTo>
                  <a:pt x="439" y="725"/>
                </a:lnTo>
                <a:lnTo>
                  <a:pt x="479" y="757"/>
                </a:lnTo>
                <a:lnTo>
                  <a:pt x="519" y="789"/>
                </a:lnTo>
                <a:lnTo>
                  <a:pt x="561" y="819"/>
                </a:lnTo>
                <a:lnTo>
                  <a:pt x="604" y="848"/>
                </a:lnTo>
                <a:lnTo>
                  <a:pt x="614" y="853"/>
                </a:lnTo>
                <a:lnTo>
                  <a:pt x="622" y="858"/>
                </a:lnTo>
                <a:lnTo>
                  <a:pt x="633" y="863"/>
                </a:lnTo>
                <a:lnTo>
                  <a:pt x="643" y="866"/>
                </a:lnTo>
                <a:lnTo>
                  <a:pt x="654" y="868"/>
                </a:lnTo>
                <a:lnTo>
                  <a:pt x="664" y="870"/>
                </a:lnTo>
                <a:lnTo>
                  <a:pt x="675" y="871"/>
                </a:lnTo>
                <a:lnTo>
                  <a:pt x="686" y="872"/>
                </a:lnTo>
                <a:lnTo>
                  <a:pt x="701" y="871"/>
                </a:lnTo>
                <a:lnTo>
                  <a:pt x="715" y="869"/>
                </a:lnTo>
                <a:lnTo>
                  <a:pt x="729" y="866"/>
                </a:lnTo>
                <a:lnTo>
                  <a:pt x="743" y="860"/>
                </a:lnTo>
                <a:lnTo>
                  <a:pt x="755" y="855"/>
                </a:lnTo>
                <a:lnTo>
                  <a:pt x="767" y="848"/>
                </a:lnTo>
                <a:lnTo>
                  <a:pt x="779" y="839"/>
                </a:lnTo>
                <a:lnTo>
                  <a:pt x="790" y="829"/>
                </a:lnTo>
                <a:lnTo>
                  <a:pt x="841" y="777"/>
                </a:lnTo>
                <a:lnTo>
                  <a:pt x="849" y="769"/>
                </a:lnTo>
                <a:lnTo>
                  <a:pt x="854" y="761"/>
                </a:lnTo>
                <a:lnTo>
                  <a:pt x="859" y="752"/>
                </a:lnTo>
                <a:lnTo>
                  <a:pt x="864" y="744"/>
                </a:lnTo>
                <a:lnTo>
                  <a:pt x="867" y="734"/>
                </a:lnTo>
                <a:lnTo>
                  <a:pt x="870" y="724"/>
                </a:lnTo>
                <a:lnTo>
                  <a:pt x="871" y="715"/>
                </a:lnTo>
                <a:lnTo>
                  <a:pt x="871" y="704"/>
                </a:lnTo>
                <a:lnTo>
                  <a:pt x="871" y="694"/>
                </a:lnTo>
                <a:lnTo>
                  <a:pt x="870" y="685"/>
                </a:lnTo>
                <a:lnTo>
                  <a:pt x="867" y="675"/>
                </a:lnTo>
                <a:lnTo>
                  <a:pt x="864" y="665"/>
                </a:lnTo>
                <a:lnTo>
                  <a:pt x="859" y="656"/>
                </a:lnTo>
                <a:lnTo>
                  <a:pt x="854" y="647"/>
                </a:lnTo>
                <a:lnTo>
                  <a:pt x="849" y="638"/>
                </a:lnTo>
                <a:lnTo>
                  <a:pt x="841" y="631"/>
                </a:lnTo>
                <a:close/>
              </a:path>
            </a:pathLst>
          </a:custGeom>
          <a:solidFill>
            <a:srgbClr val="AFABAB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78" name="Group 77"/>
          <p:cNvGrpSpPr>
            <a:grpSpLocks noChangeAspect="1"/>
          </p:cNvGrpSpPr>
          <p:nvPr/>
        </p:nvGrpSpPr>
        <p:grpSpPr>
          <a:xfrm>
            <a:off x="6094501" y="4491241"/>
            <a:ext cx="97669" cy="65219"/>
            <a:chOff x="5867374" y="2350192"/>
            <a:chExt cx="220415" cy="147182"/>
          </a:xfrm>
          <a:solidFill>
            <a:srgbClr val="78D2D2"/>
          </a:solidFill>
        </p:grpSpPr>
        <p:sp>
          <p:nvSpPr>
            <p:cNvPr id="84" name="Freeform 3506"/>
            <p:cNvSpPr>
              <a:spLocks/>
            </p:cNvSpPr>
            <p:nvPr/>
          </p:nvSpPr>
          <p:spPr bwMode="auto">
            <a:xfrm>
              <a:off x="5867374" y="2355679"/>
              <a:ext cx="220415" cy="141695"/>
            </a:xfrm>
            <a:custGeom>
              <a:avLst/>
              <a:gdLst>
                <a:gd name="T0" fmla="*/ 661 w 673"/>
                <a:gd name="T1" fmla="*/ 0 h 429"/>
                <a:gd name="T2" fmla="*/ 357 w 673"/>
                <a:gd name="T3" fmla="*/ 245 h 429"/>
                <a:gd name="T4" fmla="*/ 354 w 673"/>
                <a:gd name="T5" fmla="*/ 248 h 429"/>
                <a:gd name="T6" fmla="*/ 350 w 673"/>
                <a:gd name="T7" fmla="*/ 248 h 429"/>
                <a:gd name="T8" fmla="*/ 346 w 673"/>
                <a:gd name="T9" fmla="*/ 248 h 429"/>
                <a:gd name="T10" fmla="*/ 342 w 673"/>
                <a:gd name="T11" fmla="*/ 247 h 429"/>
                <a:gd name="T12" fmla="*/ 11 w 673"/>
                <a:gd name="T13" fmla="*/ 6 h 429"/>
                <a:gd name="T14" fmla="*/ 7 w 673"/>
                <a:gd name="T15" fmla="*/ 14 h 429"/>
                <a:gd name="T16" fmla="*/ 3 w 673"/>
                <a:gd name="T17" fmla="*/ 23 h 429"/>
                <a:gd name="T18" fmla="*/ 2 w 673"/>
                <a:gd name="T19" fmla="*/ 33 h 429"/>
                <a:gd name="T20" fmla="*/ 0 w 673"/>
                <a:gd name="T21" fmla="*/ 44 h 429"/>
                <a:gd name="T22" fmla="*/ 0 w 673"/>
                <a:gd name="T23" fmla="*/ 357 h 429"/>
                <a:gd name="T24" fmla="*/ 2 w 673"/>
                <a:gd name="T25" fmla="*/ 365 h 429"/>
                <a:gd name="T26" fmla="*/ 2 w 673"/>
                <a:gd name="T27" fmla="*/ 371 h 429"/>
                <a:gd name="T28" fmla="*/ 4 w 673"/>
                <a:gd name="T29" fmla="*/ 379 h 429"/>
                <a:gd name="T30" fmla="*/ 6 w 673"/>
                <a:gd name="T31" fmla="*/ 385 h 429"/>
                <a:gd name="T32" fmla="*/ 9 w 673"/>
                <a:gd name="T33" fmla="*/ 392 h 429"/>
                <a:gd name="T34" fmla="*/ 12 w 673"/>
                <a:gd name="T35" fmla="*/ 398 h 429"/>
                <a:gd name="T36" fmla="*/ 16 w 673"/>
                <a:gd name="T37" fmla="*/ 403 h 429"/>
                <a:gd name="T38" fmla="*/ 21 w 673"/>
                <a:gd name="T39" fmla="*/ 408 h 429"/>
                <a:gd name="T40" fmla="*/ 26 w 673"/>
                <a:gd name="T41" fmla="*/ 412 h 429"/>
                <a:gd name="T42" fmla="*/ 31 w 673"/>
                <a:gd name="T43" fmla="*/ 417 h 429"/>
                <a:gd name="T44" fmla="*/ 36 w 673"/>
                <a:gd name="T45" fmla="*/ 420 h 429"/>
                <a:gd name="T46" fmla="*/ 43 w 673"/>
                <a:gd name="T47" fmla="*/ 424 h 429"/>
                <a:gd name="T48" fmla="*/ 49 w 673"/>
                <a:gd name="T49" fmla="*/ 425 h 429"/>
                <a:gd name="T50" fmla="*/ 57 w 673"/>
                <a:gd name="T51" fmla="*/ 428 h 429"/>
                <a:gd name="T52" fmla="*/ 63 w 673"/>
                <a:gd name="T53" fmla="*/ 429 h 429"/>
                <a:gd name="T54" fmla="*/ 71 w 673"/>
                <a:gd name="T55" fmla="*/ 429 h 429"/>
                <a:gd name="T56" fmla="*/ 601 w 673"/>
                <a:gd name="T57" fmla="*/ 429 h 429"/>
                <a:gd name="T58" fmla="*/ 609 w 673"/>
                <a:gd name="T59" fmla="*/ 429 h 429"/>
                <a:gd name="T60" fmla="*/ 616 w 673"/>
                <a:gd name="T61" fmla="*/ 428 h 429"/>
                <a:gd name="T62" fmla="*/ 623 w 673"/>
                <a:gd name="T63" fmla="*/ 425 h 429"/>
                <a:gd name="T64" fmla="*/ 630 w 673"/>
                <a:gd name="T65" fmla="*/ 423 h 429"/>
                <a:gd name="T66" fmla="*/ 636 w 673"/>
                <a:gd name="T67" fmla="*/ 420 h 429"/>
                <a:gd name="T68" fmla="*/ 643 w 673"/>
                <a:gd name="T69" fmla="*/ 416 h 429"/>
                <a:gd name="T70" fmla="*/ 648 w 673"/>
                <a:gd name="T71" fmla="*/ 412 h 429"/>
                <a:gd name="T72" fmla="*/ 653 w 673"/>
                <a:gd name="T73" fmla="*/ 407 h 429"/>
                <a:gd name="T74" fmla="*/ 657 w 673"/>
                <a:gd name="T75" fmla="*/ 402 h 429"/>
                <a:gd name="T76" fmla="*/ 662 w 673"/>
                <a:gd name="T77" fmla="*/ 397 h 429"/>
                <a:gd name="T78" fmla="*/ 666 w 673"/>
                <a:gd name="T79" fmla="*/ 390 h 429"/>
                <a:gd name="T80" fmla="*/ 668 w 673"/>
                <a:gd name="T81" fmla="*/ 385 h 429"/>
                <a:gd name="T82" fmla="*/ 671 w 673"/>
                <a:gd name="T83" fmla="*/ 378 h 429"/>
                <a:gd name="T84" fmla="*/ 672 w 673"/>
                <a:gd name="T85" fmla="*/ 371 h 429"/>
                <a:gd name="T86" fmla="*/ 673 w 673"/>
                <a:gd name="T87" fmla="*/ 364 h 429"/>
                <a:gd name="T88" fmla="*/ 673 w 673"/>
                <a:gd name="T89" fmla="*/ 357 h 429"/>
                <a:gd name="T90" fmla="*/ 673 w 673"/>
                <a:gd name="T91" fmla="*/ 44 h 429"/>
                <a:gd name="T92" fmla="*/ 673 w 673"/>
                <a:gd name="T93" fmla="*/ 32 h 429"/>
                <a:gd name="T94" fmla="*/ 671 w 673"/>
                <a:gd name="T95" fmla="*/ 21 h 429"/>
                <a:gd name="T96" fmla="*/ 666 w 673"/>
                <a:gd name="T97" fmla="*/ 10 h 429"/>
                <a:gd name="T98" fmla="*/ 661 w 673"/>
                <a:gd name="T99" fmla="*/ 0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673" h="429">
                  <a:moveTo>
                    <a:pt x="661" y="0"/>
                  </a:moveTo>
                  <a:lnTo>
                    <a:pt x="357" y="245"/>
                  </a:lnTo>
                  <a:lnTo>
                    <a:pt x="354" y="248"/>
                  </a:lnTo>
                  <a:lnTo>
                    <a:pt x="350" y="248"/>
                  </a:lnTo>
                  <a:lnTo>
                    <a:pt x="346" y="248"/>
                  </a:lnTo>
                  <a:lnTo>
                    <a:pt x="342" y="247"/>
                  </a:lnTo>
                  <a:lnTo>
                    <a:pt x="11" y="6"/>
                  </a:lnTo>
                  <a:lnTo>
                    <a:pt x="7" y="14"/>
                  </a:lnTo>
                  <a:lnTo>
                    <a:pt x="3" y="23"/>
                  </a:lnTo>
                  <a:lnTo>
                    <a:pt x="2" y="33"/>
                  </a:lnTo>
                  <a:lnTo>
                    <a:pt x="0" y="44"/>
                  </a:lnTo>
                  <a:lnTo>
                    <a:pt x="0" y="357"/>
                  </a:lnTo>
                  <a:lnTo>
                    <a:pt x="2" y="365"/>
                  </a:lnTo>
                  <a:lnTo>
                    <a:pt x="2" y="371"/>
                  </a:lnTo>
                  <a:lnTo>
                    <a:pt x="4" y="379"/>
                  </a:lnTo>
                  <a:lnTo>
                    <a:pt x="6" y="385"/>
                  </a:lnTo>
                  <a:lnTo>
                    <a:pt x="9" y="392"/>
                  </a:lnTo>
                  <a:lnTo>
                    <a:pt x="12" y="398"/>
                  </a:lnTo>
                  <a:lnTo>
                    <a:pt x="16" y="403"/>
                  </a:lnTo>
                  <a:lnTo>
                    <a:pt x="21" y="408"/>
                  </a:lnTo>
                  <a:lnTo>
                    <a:pt x="26" y="412"/>
                  </a:lnTo>
                  <a:lnTo>
                    <a:pt x="31" y="417"/>
                  </a:lnTo>
                  <a:lnTo>
                    <a:pt x="36" y="420"/>
                  </a:lnTo>
                  <a:lnTo>
                    <a:pt x="43" y="424"/>
                  </a:lnTo>
                  <a:lnTo>
                    <a:pt x="49" y="425"/>
                  </a:lnTo>
                  <a:lnTo>
                    <a:pt x="57" y="428"/>
                  </a:lnTo>
                  <a:lnTo>
                    <a:pt x="63" y="429"/>
                  </a:lnTo>
                  <a:lnTo>
                    <a:pt x="71" y="429"/>
                  </a:lnTo>
                  <a:lnTo>
                    <a:pt x="601" y="429"/>
                  </a:lnTo>
                  <a:lnTo>
                    <a:pt x="609" y="429"/>
                  </a:lnTo>
                  <a:lnTo>
                    <a:pt x="616" y="428"/>
                  </a:lnTo>
                  <a:lnTo>
                    <a:pt x="623" y="425"/>
                  </a:lnTo>
                  <a:lnTo>
                    <a:pt x="630" y="423"/>
                  </a:lnTo>
                  <a:lnTo>
                    <a:pt x="636" y="420"/>
                  </a:lnTo>
                  <a:lnTo>
                    <a:pt x="643" y="416"/>
                  </a:lnTo>
                  <a:lnTo>
                    <a:pt x="648" y="412"/>
                  </a:lnTo>
                  <a:lnTo>
                    <a:pt x="653" y="407"/>
                  </a:lnTo>
                  <a:lnTo>
                    <a:pt x="657" y="402"/>
                  </a:lnTo>
                  <a:lnTo>
                    <a:pt x="662" y="397"/>
                  </a:lnTo>
                  <a:lnTo>
                    <a:pt x="666" y="390"/>
                  </a:lnTo>
                  <a:lnTo>
                    <a:pt x="668" y="385"/>
                  </a:lnTo>
                  <a:lnTo>
                    <a:pt x="671" y="378"/>
                  </a:lnTo>
                  <a:lnTo>
                    <a:pt x="672" y="371"/>
                  </a:lnTo>
                  <a:lnTo>
                    <a:pt x="673" y="364"/>
                  </a:lnTo>
                  <a:lnTo>
                    <a:pt x="673" y="357"/>
                  </a:lnTo>
                  <a:lnTo>
                    <a:pt x="673" y="44"/>
                  </a:lnTo>
                  <a:lnTo>
                    <a:pt x="673" y="32"/>
                  </a:lnTo>
                  <a:lnTo>
                    <a:pt x="671" y="21"/>
                  </a:lnTo>
                  <a:lnTo>
                    <a:pt x="666" y="10"/>
                  </a:lnTo>
                  <a:lnTo>
                    <a:pt x="661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5" name="Freeform 3507"/>
            <p:cNvSpPr>
              <a:spLocks/>
            </p:cNvSpPr>
            <p:nvPr/>
          </p:nvSpPr>
          <p:spPr bwMode="auto">
            <a:xfrm>
              <a:off x="5885741" y="2350192"/>
              <a:ext cx="183679" cy="73948"/>
            </a:xfrm>
            <a:custGeom>
              <a:avLst/>
              <a:gdLst>
                <a:gd name="T0" fmla="*/ 617 w 617"/>
                <a:gd name="T1" fmla="*/ 11 h 249"/>
                <a:gd name="T2" fmla="*/ 608 w 617"/>
                <a:gd name="T3" fmla="*/ 6 h 249"/>
                <a:gd name="T4" fmla="*/ 599 w 617"/>
                <a:gd name="T5" fmla="*/ 4 h 249"/>
                <a:gd name="T6" fmla="*/ 587 w 617"/>
                <a:gd name="T7" fmla="*/ 1 h 249"/>
                <a:gd name="T8" fmla="*/ 575 w 617"/>
                <a:gd name="T9" fmla="*/ 0 h 249"/>
                <a:gd name="T10" fmla="*/ 46 w 617"/>
                <a:gd name="T11" fmla="*/ 0 h 249"/>
                <a:gd name="T12" fmla="*/ 34 w 617"/>
                <a:gd name="T13" fmla="*/ 1 h 249"/>
                <a:gd name="T14" fmla="*/ 21 w 617"/>
                <a:gd name="T15" fmla="*/ 4 h 249"/>
                <a:gd name="T16" fmla="*/ 10 w 617"/>
                <a:gd name="T17" fmla="*/ 9 h 249"/>
                <a:gd name="T18" fmla="*/ 0 w 617"/>
                <a:gd name="T19" fmla="*/ 15 h 249"/>
                <a:gd name="T20" fmla="*/ 322 w 617"/>
                <a:gd name="T21" fmla="*/ 249 h 249"/>
                <a:gd name="T22" fmla="*/ 617 w 617"/>
                <a:gd name="T23" fmla="*/ 11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7" h="249">
                  <a:moveTo>
                    <a:pt x="617" y="11"/>
                  </a:moveTo>
                  <a:lnTo>
                    <a:pt x="608" y="6"/>
                  </a:lnTo>
                  <a:lnTo>
                    <a:pt x="599" y="4"/>
                  </a:lnTo>
                  <a:lnTo>
                    <a:pt x="587" y="1"/>
                  </a:lnTo>
                  <a:lnTo>
                    <a:pt x="575" y="0"/>
                  </a:lnTo>
                  <a:lnTo>
                    <a:pt x="46" y="0"/>
                  </a:lnTo>
                  <a:lnTo>
                    <a:pt x="34" y="1"/>
                  </a:lnTo>
                  <a:lnTo>
                    <a:pt x="21" y="4"/>
                  </a:lnTo>
                  <a:lnTo>
                    <a:pt x="10" y="9"/>
                  </a:lnTo>
                  <a:lnTo>
                    <a:pt x="0" y="15"/>
                  </a:lnTo>
                  <a:lnTo>
                    <a:pt x="322" y="249"/>
                  </a:lnTo>
                  <a:lnTo>
                    <a:pt x="617" y="1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80" name="Freeform 184"/>
          <p:cNvSpPr>
            <a:spLocks noChangeAspect="1"/>
          </p:cNvSpPr>
          <p:nvPr/>
        </p:nvSpPr>
        <p:spPr bwMode="auto">
          <a:xfrm>
            <a:off x="6341770" y="4484393"/>
            <a:ext cx="97163" cy="78914"/>
          </a:xfrm>
          <a:custGeom>
            <a:avLst/>
            <a:gdLst>
              <a:gd name="T0" fmla="*/ 393 w 393"/>
              <a:gd name="T1" fmla="*/ 38 h 319"/>
              <a:gd name="T2" fmla="*/ 347 w 393"/>
              <a:gd name="T3" fmla="*/ 52 h 319"/>
              <a:gd name="T4" fmla="*/ 359 w 393"/>
              <a:gd name="T5" fmla="*/ 42 h 319"/>
              <a:gd name="T6" fmla="*/ 377 w 393"/>
              <a:gd name="T7" fmla="*/ 20 h 319"/>
              <a:gd name="T8" fmla="*/ 383 w 393"/>
              <a:gd name="T9" fmla="*/ 6 h 319"/>
              <a:gd name="T10" fmla="*/ 345 w 393"/>
              <a:gd name="T11" fmla="*/ 22 h 319"/>
              <a:gd name="T12" fmla="*/ 331 w 393"/>
              <a:gd name="T13" fmla="*/ 26 h 319"/>
              <a:gd name="T14" fmla="*/ 305 w 393"/>
              <a:gd name="T15" fmla="*/ 8 h 319"/>
              <a:gd name="T16" fmla="*/ 273 w 393"/>
              <a:gd name="T17" fmla="*/ 0 h 319"/>
              <a:gd name="T18" fmla="*/ 255 w 393"/>
              <a:gd name="T19" fmla="*/ 2 h 319"/>
              <a:gd name="T20" fmla="*/ 227 w 393"/>
              <a:gd name="T21" fmla="*/ 14 h 319"/>
              <a:gd name="T22" fmla="*/ 205 w 393"/>
              <a:gd name="T23" fmla="*/ 36 h 319"/>
              <a:gd name="T24" fmla="*/ 193 w 393"/>
              <a:gd name="T25" fmla="*/ 64 h 319"/>
              <a:gd name="T26" fmla="*/ 191 w 393"/>
              <a:gd name="T27" fmla="*/ 82 h 319"/>
              <a:gd name="T28" fmla="*/ 193 w 393"/>
              <a:gd name="T29" fmla="*/ 100 h 319"/>
              <a:gd name="T30" fmla="*/ 145 w 393"/>
              <a:gd name="T31" fmla="*/ 92 h 319"/>
              <a:gd name="T32" fmla="*/ 99 w 393"/>
              <a:gd name="T33" fmla="*/ 74 h 319"/>
              <a:gd name="T34" fmla="*/ 62 w 393"/>
              <a:gd name="T35" fmla="*/ 48 h 319"/>
              <a:gd name="T36" fmla="*/ 28 w 393"/>
              <a:gd name="T37" fmla="*/ 16 h 319"/>
              <a:gd name="T38" fmla="*/ 24 w 393"/>
              <a:gd name="T39" fmla="*/ 24 h 319"/>
              <a:gd name="T40" fmla="*/ 18 w 393"/>
              <a:gd name="T41" fmla="*/ 44 h 319"/>
              <a:gd name="T42" fmla="*/ 16 w 393"/>
              <a:gd name="T43" fmla="*/ 56 h 319"/>
              <a:gd name="T44" fmla="*/ 20 w 393"/>
              <a:gd name="T45" fmla="*/ 76 h 319"/>
              <a:gd name="T46" fmla="*/ 26 w 393"/>
              <a:gd name="T47" fmla="*/ 94 h 319"/>
              <a:gd name="T48" fmla="*/ 52 w 393"/>
              <a:gd name="T49" fmla="*/ 124 h 319"/>
              <a:gd name="T50" fmla="*/ 34 w 393"/>
              <a:gd name="T51" fmla="*/ 120 h 319"/>
              <a:gd name="T52" fmla="*/ 16 w 393"/>
              <a:gd name="T53" fmla="*/ 114 h 319"/>
              <a:gd name="T54" fmla="*/ 16 w 393"/>
              <a:gd name="T55" fmla="*/ 114 h 319"/>
              <a:gd name="T56" fmla="*/ 22 w 393"/>
              <a:gd name="T57" fmla="*/ 142 h 319"/>
              <a:gd name="T58" fmla="*/ 34 w 393"/>
              <a:gd name="T59" fmla="*/ 166 h 319"/>
              <a:gd name="T60" fmla="*/ 56 w 393"/>
              <a:gd name="T61" fmla="*/ 183 h 319"/>
              <a:gd name="T62" fmla="*/ 82 w 393"/>
              <a:gd name="T63" fmla="*/ 193 h 319"/>
              <a:gd name="T64" fmla="*/ 70 w 393"/>
              <a:gd name="T65" fmla="*/ 195 h 319"/>
              <a:gd name="T66" fmla="*/ 60 w 393"/>
              <a:gd name="T67" fmla="*/ 195 h 319"/>
              <a:gd name="T68" fmla="*/ 44 w 393"/>
              <a:gd name="T69" fmla="*/ 193 h 319"/>
              <a:gd name="T70" fmla="*/ 56 w 393"/>
              <a:gd name="T71" fmla="*/ 215 h 319"/>
              <a:gd name="T72" fmla="*/ 72 w 393"/>
              <a:gd name="T73" fmla="*/ 233 h 319"/>
              <a:gd name="T74" fmla="*/ 93 w 393"/>
              <a:gd name="T75" fmla="*/ 245 h 319"/>
              <a:gd name="T76" fmla="*/ 119 w 393"/>
              <a:gd name="T77" fmla="*/ 249 h 319"/>
              <a:gd name="T78" fmla="*/ 97 w 393"/>
              <a:gd name="T79" fmla="*/ 265 h 319"/>
              <a:gd name="T80" fmla="*/ 48 w 393"/>
              <a:gd name="T81" fmla="*/ 283 h 319"/>
              <a:gd name="T82" fmla="*/ 20 w 393"/>
              <a:gd name="T83" fmla="*/ 285 h 319"/>
              <a:gd name="T84" fmla="*/ 0 w 393"/>
              <a:gd name="T85" fmla="*/ 283 h 319"/>
              <a:gd name="T86" fmla="*/ 28 w 393"/>
              <a:gd name="T87" fmla="*/ 299 h 319"/>
              <a:gd name="T88" fmla="*/ 89 w 393"/>
              <a:gd name="T89" fmla="*/ 317 h 319"/>
              <a:gd name="T90" fmla="*/ 123 w 393"/>
              <a:gd name="T91" fmla="*/ 319 h 319"/>
              <a:gd name="T92" fmla="*/ 151 w 393"/>
              <a:gd name="T93" fmla="*/ 319 h 319"/>
              <a:gd name="T94" fmla="*/ 199 w 393"/>
              <a:gd name="T95" fmla="*/ 307 h 319"/>
              <a:gd name="T96" fmla="*/ 243 w 393"/>
              <a:gd name="T97" fmla="*/ 287 h 319"/>
              <a:gd name="T98" fmla="*/ 279 w 393"/>
              <a:gd name="T99" fmla="*/ 261 h 319"/>
              <a:gd name="T100" fmla="*/ 307 w 393"/>
              <a:gd name="T101" fmla="*/ 227 h 319"/>
              <a:gd name="T102" fmla="*/ 329 w 393"/>
              <a:gd name="T103" fmla="*/ 191 h 319"/>
              <a:gd name="T104" fmla="*/ 345 w 393"/>
              <a:gd name="T105" fmla="*/ 152 h 319"/>
              <a:gd name="T106" fmla="*/ 353 w 393"/>
              <a:gd name="T107" fmla="*/ 110 h 319"/>
              <a:gd name="T108" fmla="*/ 353 w 393"/>
              <a:gd name="T109" fmla="*/ 90 h 319"/>
              <a:gd name="T110" fmla="*/ 353 w 393"/>
              <a:gd name="T111" fmla="*/ 80 h 319"/>
              <a:gd name="T112" fmla="*/ 375 w 393"/>
              <a:gd name="T113" fmla="*/ 62 h 319"/>
              <a:gd name="T114" fmla="*/ 393 w 393"/>
              <a:gd name="T115" fmla="*/ 38 h 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93" h="319">
                <a:moveTo>
                  <a:pt x="393" y="38"/>
                </a:moveTo>
                <a:lnTo>
                  <a:pt x="393" y="38"/>
                </a:lnTo>
                <a:lnTo>
                  <a:pt x="371" y="46"/>
                </a:lnTo>
                <a:lnTo>
                  <a:pt x="347" y="52"/>
                </a:lnTo>
                <a:lnTo>
                  <a:pt x="347" y="52"/>
                </a:lnTo>
                <a:lnTo>
                  <a:pt x="359" y="42"/>
                </a:lnTo>
                <a:lnTo>
                  <a:pt x="369" y="32"/>
                </a:lnTo>
                <a:lnTo>
                  <a:pt x="377" y="20"/>
                </a:lnTo>
                <a:lnTo>
                  <a:pt x="383" y="6"/>
                </a:lnTo>
                <a:lnTo>
                  <a:pt x="383" y="6"/>
                </a:lnTo>
                <a:lnTo>
                  <a:pt x="357" y="18"/>
                </a:lnTo>
                <a:lnTo>
                  <a:pt x="345" y="22"/>
                </a:lnTo>
                <a:lnTo>
                  <a:pt x="331" y="26"/>
                </a:lnTo>
                <a:lnTo>
                  <a:pt x="331" y="26"/>
                </a:lnTo>
                <a:lnTo>
                  <a:pt x="319" y="16"/>
                </a:lnTo>
                <a:lnTo>
                  <a:pt x="305" y="8"/>
                </a:lnTo>
                <a:lnTo>
                  <a:pt x="289" y="2"/>
                </a:lnTo>
                <a:lnTo>
                  <a:pt x="273" y="0"/>
                </a:lnTo>
                <a:lnTo>
                  <a:pt x="273" y="0"/>
                </a:lnTo>
                <a:lnTo>
                  <a:pt x="255" y="2"/>
                </a:lnTo>
                <a:lnTo>
                  <a:pt x="241" y="6"/>
                </a:lnTo>
                <a:lnTo>
                  <a:pt x="227" y="14"/>
                </a:lnTo>
                <a:lnTo>
                  <a:pt x="215" y="24"/>
                </a:lnTo>
                <a:lnTo>
                  <a:pt x="205" y="36"/>
                </a:lnTo>
                <a:lnTo>
                  <a:pt x="197" y="50"/>
                </a:lnTo>
                <a:lnTo>
                  <a:pt x="193" y="64"/>
                </a:lnTo>
                <a:lnTo>
                  <a:pt x="191" y="82"/>
                </a:lnTo>
                <a:lnTo>
                  <a:pt x="191" y="82"/>
                </a:lnTo>
                <a:lnTo>
                  <a:pt x="193" y="100"/>
                </a:lnTo>
                <a:lnTo>
                  <a:pt x="193" y="100"/>
                </a:lnTo>
                <a:lnTo>
                  <a:pt x="169" y="98"/>
                </a:lnTo>
                <a:lnTo>
                  <a:pt x="145" y="92"/>
                </a:lnTo>
                <a:lnTo>
                  <a:pt x="121" y="84"/>
                </a:lnTo>
                <a:lnTo>
                  <a:pt x="99" y="74"/>
                </a:lnTo>
                <a:lnTo>
                  <a:pt x="80" y="62"/>
                </a:lnTo>
                <a:lnTo>
                  <a:pt x="62" y="48"/>
                </a:lnTo>
                <a:lnTo>
                  <a:pt x="44" y="32"/>
                </a:lnTo>
                <a:lnTo>
                  <a:pt x="28" y="16"/>
                </a:lnTo>
                <a:lnTo>
                  <a:pt x="28" y="16"/>
                </a:lnTo>
                <a:lnTo>
                  <a:pt x="24" y="24"/>
                </a:lnTo>
                <a:lnTo>
                  <a:pt x="20" y="34"/>
                </a:lnTo>
                <a:lnTo>
                  <a:pt x="18" y="44"/>
                </a:lnTo>
                <a:lnTo>
                  <a:pt x="16" y="56"/>
                </a:lnTo>
                <a:lnTo>
                  <a:pt x="16" y="56"/>
                </a:lnTo>
                <a:lnTo>
                  <a:pt x="18" y="66"/>
                </a:lnTo>
                <a:lnTo>
                  <a:pt x="20" y="76"/>
                </a:lnTo>
                <a:lnTo>
                  <a:pt x="22" y="86"/>
                </a:lnTo>
                <a:lnTo>
                  <a:pt x="26" y="94"/>
                </a:lnTo>
                <a:lnTo>
                  <a:pt x="38" y="110"/>
                </a:lnTo>
                <a:lnTo>
                  <a:pt x="52" y="124"/>
                </a:lnTo>
                <a:lnTo>
                  <a:pt x="52" y="124"/>
                </a:lnTo>
                <a:lnTo>
                  <a:pt x="34" y="120"/>
                </a:lnTo>
                <a:lnTo>
                  <a:pt x="16" y="114"/>
                </a:lnTo>
                <a:lnTo>
                  <a:pt x="16" y="114"/>
                </a:lnTo>
                <a:lnTo>
                  <a:pt x="16" y="114"/>
                </a:lnTo>
                <a:lnTo>
                  <a:pt x="16" y="114"/>
                </a:lnTo>
                <a:lnTo>
                  <a:pt x="18" y="128"/>
                </a:lnTo>
                <a:lnTo>
                  <a:pt x="22" y="142"/>
                </a:lnTo>
                <a:lnTo>
                  <a:pt x="26" y="154"/>
                </a:lnTo>
                <a:lnTo>
                  <a:pt x="34" y="166"/>
                </a:lnTo>
                <a:lnTo>
                  <a:pt x="44" y="176"/>
                </a:lnTo>
                <a:lnTo>
                  <a:pt x="56" y="183"/>
                </a:lnTo>
                <a:lnTo>
                  <a:pt x="68" y="189"/>
                </a:lnTo>
                <a:lnTo>
                  <a:pt x="82" y="193"/>
                </a:lnTo>
                <a:lnTo>
                  <a:pt x="82" y="193"/>
                </a:lnTo>
                <a:lnTo>
                  <a:pt x="70" y="195"/>
                </a:lnTo>
                <a:lnTo>
                  <a:pt x="60" y="195"/>
                </a:lnTo>
                <a:lnTo>
                  <a:pt x="60" y="195"/>
                </a:lnTo>
                <a:lnTo>
                  <a:pt x="44" y="193"/>
                </a:lnTo>
                <a:lnTo>
                  <a:pt x="44" y="193"/>
                </a:lnTo>
                <a:lnTo>
                  <a:pt x="50" y="205"/>
                </a:lnTo>
                <a:lnTo>
                  <a:pt x="56" y="215"/>
                </a:lnTo>
                <a:lnTo>
                  <a:pt x="64" y="225"/>
                </a:lnTo>
                <a:lnTo>
                  <a:pt x="72" y="233"/>
                </a:lnTo>
                <a:lnTo>
                  <a:pt x="84" y="241"/>
                </a:lnTo>
                <a:lnTo>
                  <a:pt x="93" y="245"/>
                </a:lnTo>
                <a:lnTo>
                  <a:pt x="107" y="249"/>
                </a:lnTo>
                <a:lnTo>
                  <a:pt x="119" y="249"/>
                </a:lnTo>
                <a:lnTo>
                  <a:pt x="119" y="249"/>
                </a:lnTo>
                <a:lnTo>
                  <a:pt x="97" y="265"/>
                </a:lnTo>
                <a:lnTo>
                  <a:pt x="74" y="275"/>
                </a:lnTo>
                <a:lnTo>
                  <a:pt x="48" y="283"/>
                </a:lnTo>
                <a:lnTo>
                  <a:pt x="34" y="283"/>
                </a:lnTo>
                <a:lnTo>
                  <a:pt x="20" y="285"/>
                </a:lnTo>
                <a:lnTo>
                  <a:pt x="20" y="285"/>
                </a:lnTo>
                <a:lnTo>
                  <a:pt x="0" y="283"/>
                </a:lnTo>
                <a:lnTo>
                  <a:pt x="0" y="283"/>
                </a:lnTo>
                <a:lnTo>
                  <a:pt x="28" y="299"/>
                </a:lnTo>
                <a:lnTo>
                  <a:pt x="58" y="311"/>
                </a:lnTo>
                <a:lnTo>
                  <a:pt x="89" y="317"/>
                </a:lnTo>
                <a:lnTo>
                  <a:pt x="107" y="319"/>
                </a:lnTo>
                <a:lnTo>
                  <a:pt x="123" y="319"/>
                </a:lnTo>
                <a:lnTo>
                  <a:pt x="123" y="319"/>
                </a:lnTo>
                <a:lnTo>
                  <a:pt x="151" y="319"/>
                </a:lnTo>
                <a:lnTo>
                  <a:pt x="175" y="315"/>
                </a:lnTo>
                <a:lnTo>
                  <a:pt x="199" y="307"/>
                </a:lnTo>
                <a:lnTo>
                  <a:pt x="223" y="299"/>
                </a:lnTo>
                <a:lnTo>
                  <a:pt x="243" y="287"/>
                </a:lnTo>
                <a:lnTo>
                  <a:pt x="261" y="275"/>
                </a:lnTo>
                <a:lnTo>
                  <a:pt x="279" y="261"/>
                </a:lnTo>
                <a:lnTo>
                  <a:pt x="295" y="245"/>
                </a:lnTo>
                <a:lnTo>
                  <a:pt x="307" y="227"/>
                </a:lnTo>
                <a:lnTo>
                  <a:pt x="319" y="209"/>
                </a:lnTo>
                <a:lnTo>
                  <a:pt x="329" y="191"/>
                </a:lnTo>
                <a:lnTo>
                  <a:pt x="339" y="172"/>
                </a:lnTo>
                <a:lnTo>
                  <a:pt x="345" y="152"/>
                </a:lnTo>
                <a:lnTo>
                  <a:pt x="349" y="132"/>
                </a:lnTo>
                <a:lnTo>
                  <a:pt x="353" y="110"/>
                </a:lnTo>
                <a:lnTo>
                  <a:pt x="353" y="90"/>
                </a:lnTo>
                <a:lnTo>
                  <a:pt x="353" y="90"/>
                </a:lnTo>
                <a:lnTo>
                  <a:pt x="353" y="80"/>
                </a:lnTo>
                <a:lnTo>
                  <a:pt x="353" y="80"/>
                </a:lnTo>
                <a:lnTo>
                  <a:pt x="365" y="72"/>
                </a:lnTo>
                <a:lnTo>
                  <a:pt x="375" y="62"/>
                </a:lnTo>
                <a:lnTo>
                  <a:pt x="385" y="50"/>
                </a:lnTo>
                <a:lnTo>
                  <a:pt x="393" y="38"/>
                </a:lnTo>
                <a:lnTo>
                  <a:pt x="393" y="38"/>
                </a:lnTo>
                <a:close/>
              </a:path>
            </a:pathLst>
          </a:custGeom>
          <a:solidFill>
            <a:srgbClr val="78D2D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2" name="Freeform 1907"/>
          <p:cNvSpPr>
            <a:spLocks noChangeAspect="1"/>
          </p:cNvSpPr>
          <p:nvPr/>
        </p:nvSpPr>
        <p:spPr bwMode="auto">
          <a:xfrm>
            <a:off x="6594215" y="4480447"/>
            <a:ext cx="86310" cy="86806"/>
          </a:xfrm>
          <a:custGeom>
            <a:avLst/>
            <a:gdLst>
              <a:gd name="T0" fmla="*/ 748 w 871"/>
              <a:gd name="T1" fmla="*/ 538 h 872"/>
              <a:gd name="T2" fmla="*/ 732 w 871"/>
              <a:gd name="T3" fmla="*/ 525 h 872"/>
              <a:gd name="T4" fmla="*/ 714 w 871"/>
              <a:gd name="T5" fmla="*/ 515 h 872"/>
              <a:gd name="T6" fmla="*/ 694 w 871"/>
              <a:gd name="T7" fmla="*/ 509 h 872"/>
              <a:gd name="T8" fmla="*/ 674 w 871"/>
              <a:gd name="T9" fmla="*/ 506 h 872"/>
              <a:gd name="T10" fmla="*/ 654 w 871"/>
              <a:gd name="T11" fmla="*/ 509 h 872"/>
              <a:gd name="T12" fmla="*/ 634 w 871"/>
              <a:gd name="T13" fmla="*/ 515 h 872"/>
              <a:gd name="T14" fmla="*/ 617 w 871"/>
              <a:gd name="T15" fmla="*/ 525 h 872"/>
              <a:gd name="T16" fmla="*/ 601 w 871"/>
              <a:gd name="T17" fmla="*/ 538 h 872"/>
              <a:gd name="T18" fmla="*/ 544 w 871"/>
              <a:gd name="T19" fmla="*/ 529 h 872"/>
              <a:gd name="T20" fmla="*/ 474 w 871"/>
              <a:gd name="T21" fmla="*/ 465 h 872"/>
              <a:gd name="T22" fmla="*/ 407 w 871"/>
              <a:gd name="T23" fmla="*/ 398 h 872"/>
              <a:gd name="T24" fmla="*/ 344 w 871"/>
              <a:gd name="T25" fmla="*/ 328 h 872"/>
              <a:gd name="T26" fmla="*/ 335 w 871"/>
              <a:gd name="T27" fmla="*/ 271 h 872"/>
              <a:gd name="T28" fmla="*/ 348 w 871"/>
              <a:gd name="T29" fmla="*/ 254 h 872"/>
              <a:gd name="T30" fmla="*/ 358 w 871"/>
              <a:gd name="T31" fmla="*/ 237 h 872"/>
              <a:gd name="T32" fmla="*/ 364 w 871"/>
              <a:gd name="T33" fmla="*/ 218 h 872"/>
              <a:gd name="T34" fmla="*/ 365 w 871"/>
              <a:gd name="T35" fmla="*/ 198 h 872"/>
              <a:gd name="T36" fmla="*/ 364 w 871"/>
              <a:gd name="T37" fmla="*/ 178 h 872"/>
              <a:gd name="T38" fmla="*/ 358 w 871"/>
              <a:gd name="T39" fmla="*/ 159 h 872"/>
              <a:gd name="T40" fmla="*/ 348 w 871"/>
              <a:gd name="T41" fmla="*/ 141 h 872"/>
              <a:gd name="T42" fmla="*/ 335 w 871"/>
              <a:gd name="T43" fmla="*/ 125 h 872"/>
              <a:gd name="T44" fmla="*/ 233 w 871"/>
              <a:gd name="T45" fmla="*/ 24 h 872"/>
              <a:gd name="T46" fmla="*/ 217 w 871"/>
              <a:gd name="T47" fmla="*/ 13 h 872"/>
              <a:gd name="T48" fmla="*/ 198 w 871"/>
              <a:gd name="T49" fmla="*/ 5 h 872"/>
              <a:gd name="T50" fmla="*/ 178 w 871"/>
              <a:gd name="T51" fmla="*/ 1 h 872"/>
              <a:gd name="T52" fmla="*/ 158 w 871"/>
              <a:gd name="T53" fmla="*/ 1 h 872"/>
              <a:gd name="T54" fmla="*/ 138 w 871"/>
              <a:gd name="T55" fmla="*/ 5 h 872"/>
              <a:gd name="T56" fmla="*/ 119 w 871"/>
              <a:gd name="T57" fmla="*/ 13 h 872"/>
              <a:gd name="T58" fmla="*/ 102 w 871"/>
              <a:gd name="T59" fmla="*/ 24 h 872"/>
              <a:gd name="T60" fmla="*/ 43 w 871"/>
              <a:gd name="T61" fmla="*/ 82 h 872"/>
              <a:gd name="T62" fmla="*/ 27 w 871"/>
              <a:gd name="T63" fmla="*/ 102 h 872"/>
              <a:gd name="T64" fmla="*/ 14 w 871"/>
              <a:gd name="T65" fmla="*/ 124 h 872"/>
              <a:gd name="T66" fmla="*/ 6 w 871"/>
              <a:gd name="T67" fmla="*/ 147 h 872"/>
              <a:gd name="T68" fmla="*/ 1 w 871"/>
              <a:gd name="T69" fmla="*/ 172 h 872"/>
              <a:gd name="T70" fmla="*/ 0 w 871"/>
              <a:gd name="T71" fmla="*/ 197 h 872"/>
              <a:gd name="T72" fmla="*/ 5 w 871"/>
              <a:gd name="T73" fmla="*/ 221 h 872"/>
              <a:gd name="T74" fmla="*/ 12 w 871"/>
              <a:gd name="T75" fmla="*/ 246 h 872"/>
              <a:gd name="T76" fmla="*/ 25 w 871"/>
              <a:gd name="T77" fmla="*/ 268 h 872"/>
              <a:gd name="T78" fmla="*/ 84 w 871"/>
              <a:gd name="T79" fmla="*/ 352 h 872"/>
              <a:gd name="T80" fmla="*/ 147 w 871"/>
              <a:gd name="T81" fmla="*/ 434 h 872"/>
              <a:gd name="T82" fmla="*/ 214 w 871"/>
              <a:gd name="T83" fmla="*/ 512 h 872"/>
              <a:gd name="T84" fmla="*/ 286 w 871"/>
              <a:gd name="T85" fmla="*/ 587 h 872"/>
              <a:gd name="T86" fmla="*/ 361 w 871"/>
              <a:gd name="T87" fmla="*/ 658 h 872"/>
              <a:gd name="T88" fmla="*/ 439 w 871"/>
              <a:gd name="T89" fmla="*/ 725 h 872"/>
              <a:gd name="T90" fmla="*/ 519 w 871"/>
              <a:gd name="T91" fmla="*/ 789 h 872"/>
              <a:gd name="T92" fmla="*/ 604 w 871"/>
              <a:gd name="T93" fmla="*/ 848 h 872"/>
              <a:gd name="T94" fmla="*/ 622 w 871"/>
              <a:gd name="T95" fmla="*/ 858 h 872"/>
              <a:gd name="T96" fmla="*/ 643 w 871"/>
              <a:gd name="T97" fmla="*/ 866 h 872"/>
              <a:gd name="T98" fmla="*/ 664 w 871"/>
              <a:gd name="T99" fmla="*/ 870 h 872"/>
              <a:gd name="T100" fmla="*/ 686 w 871"/>
              <a:gd name="T101" fmla="*/ 872 h 872"/>
              <a:gd name="T102" fmla="*/ 715 w 871"/>
              <a:gd name="T103" fmla="*/ 869 h 872"/>
              <a:gd name="T104" fmla="*/ 743 w 871"/>
              <a:gd name="T105" fmla="*/ 860 h 872"/>
              <a:gd name="T106" fmla="*/ 767 w 871"/>
              <a:gd name="T107" fmla="*/ 848 h 872"/>
              <a:gd name="T108" fmla="*/ 790 w 871"/>
              <a:gd name="T109" fmla="*/ 829 h 872"/>
              <a:gd name="T110" fmla="*/ 849 w 871"/>
              <a:gd name="T111" fmla="*/ 769 h 872"/>
              <a:gd name="T112" fmla="*/ 859 w 871"/>
              <a:gd name="T113" fmla="*/ 752 h 872"/>
              <a:gd name="T114" fmla="*/ 867 w 871"/>
              <a:gd name="T115" fmla="*/ 734 h 872"/>
              <a:gd name="T116" fmla="*/ 871 w 871"/>
              <a:gd name="T117" fmla="*/ 715 h 872"/>
              <a:gd name="T118" fmla="*/ 871 w 871"/>
              <a:gd name="T119" fmla="*/ 694 h 872"/>
              <a:gd name="T120" fmla="*/ 867 w 871"/>
              <a:gd name="T121" fmla="*/ 675 h 872"/>
              <a:gd name="T122" fmla="*/ 859 w 871"/>
              <a:gd name="T123" fmla="*/ 656 h 872"/>
              <a:gd name="T124" fmla="*/ 849 w 871"/>
              <a:gd name="T125" fmla="*/ 638 h 8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871" h="872">
                <a:moveTo>
                  <a:pt x="841" y="631"/>
                </a:moveTo>
                <a:lnTo>
                  <a:pt x="748" y="538"/>
                </a:lnTo>
                <a:lnTo>
                  <a:pt x="740" y="530"/>
                </a:lnTo>
                <a:lnTo>
                  <a:pt x="732" y="525"/>
                </a:lnTo>
                <a:lnTo>
                  <a:pt x="723" y="519"/>
                </a:lnTo>
                <a:lnTo>
                  <a:pt x="714" y="515"/>
                </a:lnTo>
                <a:lnTo>
                  <a:pt x="705" y="511"/>
                </a:lnTo>
                <a:lnTo>
                  <a:pt x="694" y="509"/>
                </a:lnTo>
                <a:lnTo>
                  <a:pt x="685" y="508"/>
                </a:lnTo>
                <a:lnTo>
                  <a:pt x="674" y="506"/>
                </a:lnTo>
                <a:lnTo>
                  <a:pt x="664" y="508"/>
                </a:lnTo>
                <a:lnTo>
                  <a:pt x="654" y="509"/>
                </a:lnTo>
                <a:lnTo>
                  <a:pt x="644" y="511"/>
                </a:lnTo>
                <a:lnTo>
                  <a:pt x="634" y="515"/>
                </a:lnTo>
                <a:lnTo>
                  <a:pt x="626" y="519"/>
                </a:lnTo>
                <a:lnTo>
                  <a:pt x="617" y="525"/>
                </a:lnTo>
                <a:lnTo>
                  <a:pt x="609" y="530"/>
                </a:lnTo>
                <a:lnTo>
                  <a:pt x="601" y="538"/>
                </a:lnTo>
                <a:lnTo>
                  <a:pt x="580" y="559"/>
                </a:lnTo>
                <a:lnTo>
                  <a:pt x="544" y="529"/>
                </a:lnTo>
                <a:lnTo>
                  <a:pt x="509" y="497"/>
                </a:lnTo>
                <a:lnTo>
                  <a:pt x="474" y="465"/>
                </a:lnTo>
                <a:lnTo>
                  <a:pt x="440" y="431"/>
                </a:lnTo>
                <a:lnTo>
                  <a:pt x="407" y="398"/>
                </a:lnTo>
                <a:lnTo>
                  <a:pt x="375" y="364"/>
                </a:lnTo>
                <a:lnTo>
                  <a:pt x="344" y="328"/>
                </a:lnTo>
                <a:lnTo>
                  <a:pt x="314" y="293"/>
                </a:lnTo>
                <a:lnTo>
                  <a:pt x="335" y="271"/>
                </a:lnTo>
                <a:lnTo>
                  <a:pt x="343" y="263"/>
                </a:lnTo>
                <a:lnTo>
                  <a:pt x="348" y="254"/>
                </a:lnTo>
                <a:lnTo>
                  <a:pt x="353" y="246"/>
                </a:lnTo>
                <a:lnTo>
                  <a:pt x="358" y="237"/>
                </a:lnTo>
                <a:lnTo>
                  <a:pt x="361" y="228"/>
                </a:lnTo>
                <a:lnTo>
                  <a:pt x="364" y="218"/>
                </a:lnTo>
                <a:lnTo>
                  <a:pt x="365" y="207"/>
                </a:lnTo>
                <a:lnTo>
                  <a:pt x="365" y="198"/>
                </a:lnTo>
                <a:lnTo>
                  <a:pt x="365" y="188"/>
                </a:lnTo>
                <a:lnTo>
                  <a:pt x="364" y="178"/>
                </a:lnTo>
                <a:lnTo>
                  <a:pt x="361" y="169"/>
                </a:lnTo>
                <a:lnTo>
                  <a:pt x="358" y="159"/>
                </a:lnTo>
                <a:lnTo>
                  <a:pt x="353" y="149"/>
                </a:lnTo>
                <a:lnTo>
                  <a:pt x="348" y="141"/>
                </a:lnTo>
                <a:lnTo>
                  <a:pt x="343" y="132"/>
                </a:lnTo>
                <a:lnTo>
                  <a:pt x="335" y="125"/>
                </a:lnTo>
                <a:lnTo>
                  <a:pt x="242" y="30"/>
                </a:lnTo>
                <a:lnTo>
                  <a:pt x="233" y="24"/>
                </a:lnTo>
                <a:lnTo>
                  <a:pt x="226" y="17"/>
                </a:lnTo>
                <a:lnTo>
                  <a:pt x="217" y="13"/>
                </a:lnTo>
                <a:lnTo>
                  <a:pt x="207" y="9"/>
                </a:lnTo>
                <a:lnTo>
                  <a:pt x="198" y="5"/>
                </a:lnTo>
                <a:lnTo>
                  <a:pt x="188" y="2"/>
                </a:lnTo>
                <a:lnTo>
                  <a:pt x="178" y="1"/>
                </a:lnTo>
                <a:lnTo>
                  <a:pt x="168" y="0"/>
                </a:lnTo>
                <a:lnTo>
                  <a:pt x="158" y="1"/>
                </a:lnTo>
                <a:lnTo>
                  <a:pt x="147" y="2"/>
                </a:lnTo>
                <a:lnTo>
                  <a:pt x="138" y="5"/>
                </a:lnTo>
                <a:lnTo>
                  <a:pt x="128" y="9"/>
                </a:lnTo>
                <a:lnTo>
                  <a:pt x="119" y="13"/>
                </a:lnTo>
                <a:lnTo>
                  <a:pt x="111" y="17"/>
                </a:lnTo>
                <a:lnTo>
                  <a:pt x="102" y="24"/>
                </a:lnTo>
                <a:lnTo>
                  <a:pt x="95" y="31"/>
                </a:lnTo>
                <a:lnTo>
                  <a:pt x="43" y="82"/>
                </a:lnTo>
                <a:lnTo>
                  <a:pt x="35" y="91"/>
                </a:lnTo>
                <a:lnTo>
                  <a:pt x="27" y="102"/>
                </a:lnTo>
                <a:lnTo>
                  <a:pt x="20" y="113"/>
                </a:lnTo>
                <a:lnTo>
                  <a:pt x="14" y="124"/>
                </a:lnTo>
                <a:lnTo>
                  <a:pt x="9" y="135"/>
                </a:lnTo>
                <a:lnTo>
                  <a:pt x="6" y="147"/>
                </a:lnTo>
                <a:lnTo>
                  <a:pt x="3" y="160"/>
                </a:lnTo>
                <a:lnTo>
                  <a:pt x="1" y="172"/>
                </a:lnTo>
                <a:lnTo>
                  <a:pt x="0" y="185"/>
                </a:lnTo>
                <a:lnTo>
                  <a:pt x="0" y="197"/>
                </a:lnTo>
                <a:lnTo>
                  <a:pt x="3" y="209"/>
                </a:lnTo>
                <a:lnTo>
                  <a:pt x="5" y="221"/>
                </a:lnTo>
                <a:lnTo>
                  <a:pt x="8" y="234"/>
                </a:lnTo>
                <a:lnTo>
                  <a:pt x="12" y="246"/>
                </a:lnTo>
                <a:lnTo>
                  <a:pt x="19" y="257"/>
                </a:lnTo>
                <a:lnTo>
                  <a:pt x="25" y="268"/>
                </a:lnTo>
                <a:lnTo>
                  <a:pt x="54" y="310"/>
                </a:lnTo>
                <a:lnTo>
                  <a:pt x="84" y="352"/>
                </a:lnTo>
                <a:lnTo>
                  <a:pt x="115" y="394"/>
                </a:lnTo>
                <a:lnTo>
                  <a:pt x="147" y="434"/>
                </a:lnTo>
                <a:lnTo>
                  <a:pt x="181" y="473"/>
                </a:lnTo>
                <a:lnTo>
                  <a:pt x="214" y="512"/>
                </a:lnTo>
                <a:lnTo>
                  <a:pt x="249" y="549"/>
                </a:lnTo>
                <a:lnTo>
                  <a:pt x="286" y="587"/>
                </a:lnTo>
                <a:lnTo>
                  <a:pt x="322" y="623"/>
                </a:lnTo>
                <a:lnTo>
                  <a:pt x="361" y="658"/>
                </a:lnTo>
                <a:lnTo>
                  <a:pt x="399" y="692"/>
                </a:lnTo>
                <a:lnTo>
                  <a:pt x="439" y="725"/>
                </a:lnTo>
                <a:lnTo>
                  <a:pt x="479" y="757"/>
                </a:lnTo>
                <a:lnTo>
                  <a:pt x="519" y="789"/>
                </a:lnTo>
                <a:lnTo>
                  <a:pt x="561" y="819"/>
                </a:lnTo>
                <a:lnTo>
                  <a:pt x="604" y="848"/>
                </a:lnTo>
                <a:lnTo>
                  <a:pt x="614" y="853"/>
                </a:lnTo>
                <a:lnTo>
                  <a:pt x="622" y="858"/>
                </a:lnTo>
                <a:lnTo>
                  <a:pt x="633" y="863"/>
                </a:lnTo>
                <a:lnTo>
                  <a:pt x="643" y="866"/>
                </a:lnTo>
                <a:lnTo>
                  <a:pt x="654" y="868"/>
                </a:lnTo>
                <a:lnTo>
                  <a:pt x="664" y="870"/>
                </a:lnTo>
                <a:lnTo>
                  <a:pt x="675" y="871"/>
                </a:lnTo>
                <a:lnTo>
                  <a:pt x="686" y="872"/>
                </a:lnTo>
                <a:lnTo>
                  <a:pt x="701" y="871"/>
                </a:lnTo>
                <a:lnTo>
                  <a:pt x="715" y="869"/>
                </a:lnTo>
                <a:lnTo>
                  <a:pt x="729" y="866"/>
                </a:lnTo>
                <a:lnTo>
                  <a:pt x="743" y="860"/>
                </a:lnTo>
                <a:lnTo>
                  <a:pt x="755" y="855"/>
                </a:lnTo>
                <a:lnTo>
                  <a:pt x="767" y="848"/>
                </a:lnTo>
                <a:lnTo>
                  <a:pt x="779" y="839"/>
                </a:lnTo>
                <a:lnTo>
                  <a:pt x="790" y="829"/>
                </a:lnTo>
                <a:lnTo>
                  <a:pt x="841" y="777"/>
                </a:lnTo>
                <a:lnTo>
                  <a:pt x="849" y="769"/>
                </a:lnTo>
                <a:lnTo>
                  <a:pt x="854" y="761"/>
                </a:lnTo>
                <a:lnTo>
                  <a:pt x="859" y="752"/>
                </a:lnTo>
                <a:lnTo>
                  <a:pt x="864" y="744"/>
                </a:lnTo>
                <a:lnTo>
                  <a:pt x="867" y="734"/>
                </a:lnTo>
                <a:lnTo>
                  <a:pt x="870" y="724"/>
                </a:lnTo>
                <a:lnTo>
                  <a:pt x="871" y="715"/>
                </a:lnTo>
                <a:lnTo>
                  <a:pt x="871" y="704"/>
                </a:lnTo>
                <a:lnTo>
                  <a:pt x="871" y="694"/>
                </a:lnTo>
                <a:lnTo>
                  <a:pt x="870" y="685"/>
                </a:lnTo>
                <a:lnTo>
                  <a:pt x="867" y="675"/>
                </a:lnTo>
                <a:lnTo>
                  <a:pt x="864" y="665"/>
                </a:lnTo>
                <a:lnTo>
                  <a:pt x="859" y="656"/>
                </a:lnTo>
                <a:lnTo>
                  <a:pt x="854" y="647"/>
                </a:lnTo>
                <a:lnTo>
                  <a:pt x="849" y="638"/>
                </a:lnTo>
                <a:lnTo>
                  <a:pt x="841" y="631"/>
                </a:lnTo>
                <a:close/>
              </a:path>
            </a:pathLst>
          </a:custGeom>
          <a:solidFill>
            <a:srgbClr val="78D2D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94" name="Group 93"/>
          <p:cNvGrpSpPr>
            <a:grpSpLocks noChangeAspect="1"/>
          </p:cNvGrpSpPr>
          <p:nvPr/>
        </p:nvGrpSpPr>
        <p:grpSpPr>
          <a:xfrm>
            <a:off x="6492513" y="5309600"/>
            <a:ext cx="97669" cy="65219"/>
            <a:chOff x="5867374" y="2350192"/>
            <a:chExt cx="220415" cy="147182"/>
          </a:xfrm>
          <a:solidFill>
            <a:srgbClr val="3B3939"/>
          </a:solidFill>
        </p:grpSpPr>
        <p:sp>
          <p:nvSpPr>
            <p:cNvPr id="100" name="Freeform 3506"/>
            <p:cNvSpPr>
              <a:spLocks/>
            </p:cNvSpPr>
            <p:nvPr/>
          </p:nvSpPr>
          <p:spPr bwMode="auto">
            <a:xfrm>
              <a:off x="5867374" y="2355679"/>
              <a:ext cx="220415" cy="141695"/>
            </a:xfrm>
            <a:custGeom>
              <a:avLst/>
              <a:gdLst>
                <a:gd name="T0" fmla="*/ 661 w 673"/>
                <a:gd name="T1" fmla="*/ 0 h 429"/>
                <a:gd name="T2" fmla="*/ 357 w 673"/>
                <a:gd name="T3" fmla="*/ 245 h 429"/>
                <a:gd name="T4" fmla="*/ 354 w 673"/>
                <a:gd name="T5" fmla="*/ 248 h 429"/>
                <a:gd name="T6" fmla="*/ 350 w 673"/>
                <a:gd name="T7" fmla="*/ 248 h 429"/>
                <a:gd name="T8" fmla="*/ 346 w 673"/>
                <a:gd name="T9" fmla="*/ 248 h 429"/>
                <a:gd name="T10" fmla="*/ 342 w 673"/>
                <a:gd name="T11" fmla="*/ 247 h 429"/>
                <a:gd name="T12" fmla="*/ 11 w 673"/>
                <a:gd name="T13" fmla="*/ 6 h 429"/>
                <a:gd name="T14" fmla="*/ 7 w 673"/>
                <a:gd name="T15" fmla="*/ 14 h 429"/>
                <a:gd name="T16" fmla="*/ 3 w 673"/>
                <a:gd name="T17" fmla="*/ 23 h 429"/>
                <a:gd name="T18" fmla="*/ 2 w 673"/>
                <a:gd name="T19" fmla="*/ 33 h 429"/>
                <a:gd name="T20" fmla="*/ 0 w 673"/>
                <a:gd name="T21" fmla="*/ 44 h 429"/>
                <a:gd name="T22" fmla="*/ 0 w 673"/>
                <a:gd name="T23" fmla="*/ 357 h 429"/>
                <a:gd name="T24" fmla="*/ 2 w 673"/>
                <a:gd name="T25" fmla="*/ 365 h 429"/>
                <a:gd name="T26" fmla="*/ 2 w 673"/>
                <a:gd name="T27" fmla="*/ 371 h 429"/>
                <a:gd name="T28" fmla="*/ 4 w 673"/>
                <a:gd name="T29" fmla="*/ 379 h 429"/>
                <a:gd name="T30" fmla="*/ 6 w 673"/>
                <a:gd name="T31" fmla="*/ 385 h 429"/>
                <a:gd name="T32" fmla="*/ 9 w 673"/>
                <a:gd name="T33" fmla="*/ 392 h 429"/>
                <a:gd name="T34" fmla="*/ 12 w 673"/>
                <a:gd name="T35" fmla="*/ 398 h 429"/>
                <a:gd name="T36" fmla="*/ 16 w 673"/>
                <a:gd name="T37" fmla="*/ 403 h 429"/>
                <a:gd name="T38" fmla="*/ 21 w 673"/>
                <a:gd name="T39" fmla="*/ 408 h 429"/>
                <a:gd name="T40" fmla="*/ 26 w 673"/>
                <a:gd name="T41" fmla="*/ 412 h 429"/>
                <a:gd name="T42" fmla="*/ 31 w 673"/>
                <a:gd name="T43" fmla="*/ 417 h 429"/>
                <a:gd name="T44" fmla="*/ 36 w 673"/>
                <a:gd name="T45" fmla="*/ 420 h 429"/>
                <a:gd name="T46" fmla="*/ 43 w 673"/>
                <a:gd name="T47" fmla="*/ 424 h 429"/>
                <a:gd name="T48" fmla="*/ 49 w 673"/>
                <a:gd name="T49" fmla="*/ 425 h 429"/>
                <a:gd name="T50" fmla="*/ 57 w 673"/>
                <a:gd name="T51" fmla="*/ 428 h 429"/>
                <a:gd name="T52" fmla="*/ 63 w 673"/>
                <a:gd name="T53" fmla="*/ 429 h 429"/>
                <a:gd name="T54" fmla="*/ 71 w 673"/>
                <a:gd name="T55" fmla="*/ 429 h 429"/>
                <a:gd name="T56" fmla="*/ 601 w 673"/>
                <a:gd name="T57" fmla="*/ 429 h 429"/>
                <a:gd name="T58" fmla="*/ 609 w 673"/>
                <a:gd name="T59" fmla="*/ 429 h 429"/>
                <a:gd name="T60" fmla="*/ 616 w 673"/>
                <a:gd name="T61" fmla="*/ 428 h 429"/>
                <a:gd name="T62" fmla="*/ 623 w 673"/>
                <a:gd name="T63" fmla="*/ 425 h 429"/>
                <a:gd name="T64" fmla="*/ 630 w 673"/>
                <a:gd name="T65" fmla="*/ 423 h 429"/>
                <a:gd name="T66" fmla="*/ 636 w 673"/>
                <a:gd name="T67" fmla="*/ 420 h 429"/>
                <a:gd name="T68" fmla="*/ 643 w 673"/>
                <a:gd name="T69" fmla="*/ 416 h 429"/>
                <a:gd name="T70" fmla="*/ 648 w 673"/>
                <a:gd name="T71" fmla="*/ 412 h 429"/>
                <a:gd name="T72" fmla="*/ 653 w 673"/>
                <a:gd name="T73" fmla="*/ 407 h 429"/>
                <a:gd name="T74" fmla="*/ 657 w 673"/>
                <a:gd name="T75" fmla="*/ 402 h 429"/>
                <a:gd name="T76" fmla="*/ 662 w 673"/>
                <a:gd name="T77" fmla="*/ 397 h 429"/>
                <a:gd name="T78" fmla="*/ 666 w 673"/>
                <a:gd name="T79" fmla="*/ 390 h 429"/>
                <a:gd name="T80" fmla="*/ 668 w 673"/>
                <a:gd name="T81" fmla="*/ 385 h 429"/>
                <a:gd name="T82" fmla="*/ 671 w 673"/>
                <a:gd name="T83" fmla="*/ 378 h 429"/>
                <a:gd name="T84" fmla="*/ 672 w 673"/>
                <a:gd name="T85" fmla="*/ 371 h 429"/>
                <a:gd name="T86" fmla="*/ 673 w 673"/>
                <a:gd name="T87" fmla="*/ 364 h 429"/>
                <a:gd name="T88" fmla="*/ 673 w 673"/>
                <a:gd name="T89" fmla="*/ 357 h 429"/>
                <a:gd name="T90" fmla="*/ 673 w 673"/>
                <a:gd name="T91" fmla="*/ 44 h 429"/>
                <a:gd name="T92" fmla="*/ 673 w 673"/>
                <a:gd name="T93" fmla="*/ 32 h 429"/>
                <a:gd name="T94" fmla="*/ 671 w 673"/>
                <a:gd name="T95" fmla="*/ 21 h 429"/>
                <a:gd name="T96" fmla="*/ 666 w 673"/>
                <a:gd name="T97" fmla="*/ 10 h 429"/>
                <a:gd name="T98" fmla="*/ 661 w 673"/>
                <a:gd name="T99" fmla="*/ 0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673" h="429">
                  <a:moveTo>
                    <a:pt x="661" y="0"/>
                  </a:moveTo>
                  <a:lnTo>
                    <a:pt x="357" y="245"/>
                  </a:lnTo>
                  <a:lnTo>
                    <a:pt x="354" y="248"/>
                  </a:lnTo>
                  <a:lnTo>
                    <a:pt x="350" y="248"/>
                  </a:lnTo>
                  <a:lnTo>
                    <a:pt x="346" y="248"/>
                  </a:lnTo>
                  <a:lnTo>
                    <a:pt x="342" y="247"/>
                  </a:lnTo>
                  <a:lnTo>
                    <a:pt x="11" y="6"/>
                  </a:lnTo>
                  <a:lnTo>
                    <a:pt x="7" y="14"/>
                  </a:lnTo>
                  <a:lnTo>
                    <a:pt x="3" y="23"/>
                  </a:lnTo>
                  <a:lnTo>
                    <a:pt x="2" y="33"/>
                  </a:lnTo>
                  <a:lnTo>
                    <a:pt x="0" y="44"/>
                  </a:lnTo>
                  <a:lnTo>
                    <a:pt x="0" y="357"/>
                  </a:lnTo>
                  <a:lnTo>
                    <a:pt x="2" y="365"/>
                  </a:lnTo>
                  <a:lnTo>
                    <a:pt x="2" y="371"/>
                  </a:lnTo>
                  <a:lnTo>
                    <a:pt x="4" y="379"/>
                  </a:lnTo>
                  <a:lnTo>
                    <a:pt x="6" y="385"/>
                  </a:lnTo>
                  <a:lnTo>
                    <a:pt x="9" y="392"/>
                  </a:lnTo>
                  <a:lnTo>
                    <a:pt x="12" y="398"/>
                  </a:lnTo>
                  <a:lnTo>
                    <a:pt x="16" y="403"/>
                  </a:lnTo>
                  <a:lnTo>
                    <a:pt x="21" y="408"/>
                  </a:lnTo>
                  <a:lnTo>
                    <a:pt x="26" y="412"/>
                  </a:lnTo>
                  <a:lnTo>
                    <a:pt x="31" y="417"/>
                  </a:lnTo>
                  <a:lnTo>
                    <a:pt x="36" y="420"/>
                  </a:lnTo>
                  <a:lnTo>
                    <a:pt x="43" y="424"/>
                  </a:lnTo>
                  <a:lnTo>
                    <a:pt x="49" y="425"/>
                  </a:lnTo>
                  <a:lnTo>
                    <a:pt x="57" y="428"/>
                  </a:lnTo>
                  <a:lnTo>
                    <a:pt x="63" y="429"/>
                  </a:lnTo>
                  <a:lnTo>
                    <a:pt x="71" y="429"/>
                  </a:lnTo>
                  <a:lnTo>
                    <a:pt x="601" y="429"/>
                  </a:lnTo>
                  <a:lnTo>
                    <a:pt x="609" y="429"/>
                  </a:lnTo>
                  <a:lnTo>
                    <a:pt x="616" y="428"/>
                  </a:lnTo>
                  <a:lnTo>
                    <a:pt x="623" y="425"/>
                  </a:lnTo>
                  <a:lnTo>
                    <a:pt x="630" y="423"/>
                  </a:lnTo>
                  <a:lnTo>
                    <a:pt x="636" y="420"/>
                  </a:lnTo>
                  <a:lnTo>
                    <a:pt x="643" y="416"/>
                  </a:lnTo>
                  <a:lnTo>
                    <a:pt x="648" y="412"/>
                  </a:lnTo>
                  <a:lnTo>
                    <a:pt x="653" y="407"/>
                  </a:lnTo>
                  <a:lnTo>
                    <a:pt x="657" y="402"/>
                  </a:lnTo>
                  <a:lnTo>
                    <a:pt x="662" y="397"/>
                  </a:lnTo>
                  <a:lnTo>
                    <a:pt x="666" y="390"/>
                  </a:lnTo>
                  <a:lnTo>
                    <a:pt x="668" y="385"/>
                  </a:lnTo>
                  <a:lnTo>
                    <a:pt x="671" y="378"/>
                  </a:lnTo>
                  <a:lnTo>
                    <a:pt x="672" y="371"/>
                  </a:lnTo>
                  <a:lnTo>
                    <a:pt x="673" y="364"/>
                  </a:lnTo>
                  <a:lnTo>
                    <a:pt x="673" y="357"/>
                  </a:lnTo>
                  <a:lnTo>
                    <a:pt x="673" y="44"/>
                  </a:lnTo>
                  <a:lnTo>
                    <a:pt x="673" y="32"/>
                  </a:lnTo>
                  <a:lnTo>
                    <a:pt x="671" y="21"/>
                  </a:lnTo>
                  <a:lnTo>
                    <a:pt x="666" y="10"/>
                  </a:lnTo>
                  <a:lnTo>
                    <a:pt x="661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1" name="Freeform 3507"/>
            <p:cNvSpPr>
              <a:spLocks/>
            </p:cNvSpPr>
            <p:nvPr/>
          </p:nvSpPr>
          <p:spPr bwMode="auto">
            <a:xfrm>
              <a:off x="5885741" y="2350192"/>
              <a:ext cx="183679" cy="73948"/>
            </a:xfrm>
            <a:custGeom>
              <a:avLst/>
              <a:gdLst>
                <a:gd name="T0" fmla="*/ 617 w 617"/>
                <a:gd name="T1" fmla="*/ 11 h 249"/>
                <a:gd name="T2" fmla="*/ 608 w 617"/>
                <a:gd name="T3" fmla="*/ 6 h 249"/>
                <a:gd name="T4" fmla="*/ 599 w 617"/>
                <a:gd name="T5" fmla="*/ 4 h 249"/>
                <a:gd name="T6" fmla="*/ 587 w 617"/>
                <a:gd name="T7" fmla="*/ 1 h 249"/>
                <a:gd name="T8" fmla="*/ 575 w 617"/>
                <a:gd name="T9" fmla="*/ 0 h 249"/>
                <a:gd name="T10" fmla="*/ 46 w 617"/>
                <a:gd name="T11" fmla="*/ 0 h 249"/>
                <a:gd name="T12" fmla="*/ 34 w 617"/>
                <a:gd name="T13" fmla="*/ 1 h 249"/>
                <a:gd name="T14" fmla="*/ 21 w 617"/>
                <a:gd name="T15" fmla="*/ 4 h 249"/>
                <a:gd name="T16" fmla="*/ 10 w 617"/>
                <a:gd name="T17" fmla="*/ 9 h 249"/>
                <a:gd name="T18" fmla="*/ 0 w 617"/>
                <a:gd name="T19" fmla="*/ 15 h 249"/>
                <a:gd name="T20" fmla="*/ 322 w 617"/>
                <a:gd name="T21" fmla="*/ 249 h 249"/>
                <a:gd name="T22" fmla="*/ 617 w 617"/>
                <a:gd name="T23" fmla="*/ 11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7" h="249">
                  <a:moveTo>
                    <a:pt x="617" y="11"/>
                  </a:moveTo>
                  <a:lnTo>
                    <a:pt x="608" y="6"/>
                  </a:lnTo>
                  <a:lnTo>
                    <a:pt x="599" y="4"/>
                  </a:lnTo>
                  <a:lnTo>
                    <a:pt x="587" y="1"/>
                  </a:lnTo>
                  <a:lnTo>
                    <a:pt x="575" y="0"/>
                  </a:lnTo>
                  <a:lnTo>
                    <a:pt x="46" y="0"/>
                  </a:lnTo>
                  <a:lnTo>
                    <a:pt x="34" y="1"/>
                  </a:lnTo>
                  <a:lnTo>
                    <a:pt x="21" y="4"/>
                  </a:lnTo>
                  <a:lnTo>
                    <a:pt x="10" y="9"/>
                  </a:lnTo>
                  <a:lnTo>
                    <a:pt x="0" y="15"/>
                  </a:lnTo>
                  <a:lnTo>
                    <a:pt x="322" y="249"/>
                  </a:lnTo>
                  <a:lnTo>
                    <a:pt x="617" y="1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96" name="Freeform 184"/>
          <p:cNvSpPr>
            <a:spLocks noChangeAspect="1"/>
          </p:cNvSpPr>
          <p:nvPr/>
        </p:nvSpPr>
        <p:spPr bwMode="auto">
          <a:xfrm>
            <a:off x="6739782" y="5302752"/>
            <a:ext cx="97163" cy="78914"/>
          </a:xfrm>
          <a:custGeom>
            <a:avLst/>
            <a:gdLst>
              <a:gd name="T0" fmla="*/ 393 w 393"/>
              <a:gd name="T1" fmla="*/ 38 h 319"/>
              <a:gd name="T2" fmla="*/ 347 w 393"/>
              <a:gd name="T3" fmla="*/ 52 h 319"/>
              <a:gd name="T4" fmla="*/ 359 w 393"/>
              <a:gd name="T5" fmla="*/ 42 h 319"/>
              <a:gd name="T6" fmla="*/ 377 w 393"/>
              <a:gd name="T7" fmla="*/ 20 h 319"/>
              <a:gd name="T8" fmla="*/ 383 w 393"/>
              <a:gd name="T9" fmla="*/ 6 h 319"/>
              <a:gd name="T10" fmla="*/ 345 w 393"/>
              <a:gd name="T11" fmla="*/ 22 h 319"/>
              <a:gd name="T12" fmla="*/ 331 w 393"/>
              <a:gd name="T13" fmla="*/ 26 h 319"/>
              <a:gd name="T14" fmla="*/ 305 w 393"/>
              <a:gd name="T15" fmla="*/ 8 h 319"/>
              <a:gd name="T16" fmla="*/ 273 w 393"/>
              <a:gd name="T17" fmla="*/ 0 h 319"/>
              <a:gd name="T18" fmla="*/ 255 w 393"/>
              <a:gd name="T19" fmla="*/ 2 h 319"/>
              <a:gd name="T20" fmla="*/ 227 w 393"/>
              <a:gd name="T21" fmla="*/ 14 h 319"/>
              <a:gd name="T22" fmla="*/ 205 w 393"/>
              <a:gd name="T23" fmla="*/ 36 h 319"/>
              <a:gd name="T24" fmla="*/ 193 w 393"/>
              <a:gd name="T25" fmla="*/ 64 h 319"/>
              <a:gd name="T26" fmla="*/ 191 w 393"/>
              <a:gd name="T27" fmla="*/ 82 h 319"/>
              <a:gd name="T28" fmla="*/ 193 w 393"/>
              <a:gd name="T29" fmla="*/ 100 h 319"/>
              <a:gd name="T30" fmla="*/ 145 w 393"/>
              <a:gd name="T31" fmla="*/ 92 h 319"/>
              <a:gd name="T32" fmla="*/ 99 w 393"/>
              <a:gd name="T33" fmla="*/ 74 h 319"/>
              <a:gd name="T34" fmla="*/ 62 w 393"/>
              <a:gd name="T35" fmla="*/ 48 h 319"/>
              <a:gd name="T36" fmla="*/ 28 w 393"/>
              <a:gd name="T37" fmla="*/ 16 h 319"/>
              <a:gd name="T38" fmla="*/ 24 w 393"/>
              <a:gd name="T39" fmla="*/ 24 h 319"/>
              <a:gd name="T40" fmla="*/ 18 w 393"/>
              <a:gd name="T41" fmla="*/ 44 h 319"/>
              <a:gd name="T42" fmla="*/ 16 w 393"/>
              <a:gd name="T43" fmla="*/ 56 h 319"/>
              <a:gd name="T44" fmla="*/ 20 w 393"/>
              <a:gd name="T45" fmla="*/ 76 h 319"/>
              <a:gd name="T46" fmla="*/ 26 w 393"/>
              <a:gd name="T47" fmla="*/ 94 h 319"/>
              <a:gd name="T48" fmla="*/ 52 w 393"/>
              <a:gd name="T49" fmla="*/ 124 h 319"/>
              <a:gd name="T50" fmla="*/ 34 w 393"/>
              <a:gd name="T51" fmla="*/ 120 h 319"/>
              <a:gd name="T52" fmla="*/ 16 w 393"/>
              <a:gd name="T53" fmla="*/ 114 h 319"/>
              <a:gd name="T54" fmla="*/ 16 w 393"/>
              <a:gd name="T55" fmla="*/ 114 h 319"/>
              <a:gd name="T56" fmla="*/ 22 w 393"/>
              <a:gd name="T57" fmla="*/ 142 h 319"/>
              <a:gd name="T58" fmla="*/ 34 w 393"/>
              <a:gd name="T59" fmla="*/ 166 h 319"/>
              <a:gd name="T60" fmla="*/ 56 w 393"/>
              <a:gd name="T61" fmla="*/ 183 h 319"/>
              <a:gd name="T62" fmla="*/ 82 w 393"/>
              <a:gd name="T63" fmla="*/ 193 h 319"/>
              <a:gd name="T64" fmla="*/ 70 w 393"/>
              <a:gd name="T65" fmla="*/ 195 h 319"/>
              <a:gd name="T66" fmla="*/ 60 w 393"/>
              <a:gd name="T67" fmla="*/ 195 h 319"/>
              <a:gd name="T68" fmla="*/ 44 w 393"/>
              <a:gd name="T69" fmla="*/ 193 h 319"/>
              <a:gd name="T70" fmla="*/ 56 w 393"/>
              <a:gd name="T71" fmla="*/ 215 h 319"/>
              <a:gd name="T72" fmla="*/ 72 w 393"/>
              <a:gd name="T73" fmla="*/ 233 h 319"/>
              <a:gd name="T74" fmla="*/ 93 w 393"/>
              <a:gd name="T75" fmla="*/ 245 h 319"/>
              <a:gd name="T76" fmla="*/ 119 w 393"/>
              <a:gd name="T77" fmla="*/ 249 h 319"/>
              <a:gd name="T78" fmla="*/ 97 w 393"/>
              <a:gd name="T79" fmla="*/ 265 h 319"/>
              <a:gd name="T80" fmla="*/ 48 w 393"/>
              <a:gd name="T81" fmla="*/ 283 h 319"/>
              <a:gd name="T82" fmla="*/ 20 w 393"/>
              <a:gd name="T83" fmla="*/ 285 h 319"/>
              <a:gd name="T84" fmla="*/ 0 w 393"/>
              <a:gd name="T85" fmla="*/ 283 h 319"/>
              <a:gd name="T86" fmla="*/ 28 w 393"/>
              <a:gd name="T87" fmla="*/ 299 h 319"/>
              <a:gd name="T88" fmla="*/ 89 w 393"/>
              <a:gd name="T89" fmla="*/ 317 h 319"/>
              <a:gd name="T90" fmla="*/ 123 w 393"/>
              <a:gd name="T91" fmla="*/ 319 h 319"/>
              <a:gd name="T92" fmla="*/ 151 w 393"/>
              <a:gd name="T93" fmla="*/ 319 h 319"/>
              <a:gd name="T94" fmla="*/ 199 w 393"/>
              <a:gd name="T95" fmla="*/ 307 h 319"/>
              <a:gd name="T96" fmla="*/ 243 w 393"/>
              <a:gd name="T97" fmla="*/ 287 h 319"/>
              <a:gd name="T98" fmla="*/ 279 w 393"/>
              <a:gd name="T99" fmla="*/ 261 h 319"/>
              <a:gd name="T100" fmla="*/ 307 w 393"/>
              <a:gd name="T101" fmla="*/ 227 h 319"/>
              <a:gd name="T102" fmla="*/ 329 w 393"/>
              <a:gd name="T103" fmla="*/ 191 h 319"/>
              <a:gd name="T104" fmla="*/ 345 w 393"/>
              <a:gd name="T105" fmla="*/ 152 h 319"/>
              <a:gd name="T106" fmla="*/ 353 w 393"/>
              <a:gd name="T107" fmla="*/ 110 h 319"/>
              <a:gd name="T108" fmla="*/ 353 w 393"/>
              <a:gd name="T109" fmla="*/ 90 h 319"/>
              <a:gd name="T110" fmla="*/ 353 w 393"/>
              <a:gd name="T111" fmla="*/ 80 h 319"/>
              <a:gd name="T112" fmla="*/ 375 w 393"/>
              <a:gd name="T113" fmla="*/ 62 h 319"/>
              <a:gd name="T114" fmla="*/ 393 w 393"/>
              <a:gd name="T115" fmla="*/ 38 h 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93" h="319">
                <a:moveTo>
                  <a:pt x="393" y="38"/>
                </a:moveTo>
                <a:lnTo>
                  <a:pt x="393" y="38"/>
                </a:lnTo>
                <a:lnTo>
                  <a:pt x="371" y="46"/>
                </a:lnTo>
                <a:lnTo>
                  <a:pt x="347" y="52"/>
                </a:lnTo>
                <a:lnTo>
                  <a:pt x="347" y="52"/>
                </a:lnTo>
                <a:lnTo>
                  <a:pt x="359" y="42"/>
                </a:lnTo>
                <a:lnTo>
                  <a:pt x="369" y="32"/>
                </a:lnTo>
                <a:lnTo>
                  <a:pt x="377" y="20"/>
                </a:lnTo>
                <a:lnTo>
                  <a:pt x="383" y="6"/>
                </a:lnTo>
                <a:lnTo>
                  <a:pt x="383" y="6"/>
                </a:lnTo>
                <a:lnTo>
                  <a:pt x="357" y="18"/>
                </a:lnTo>
                <a:lnTo>
                  <a:pt x="345" y="22"/>
                </a:lnTo>
                <a:lnTo>
                  <a:pt x="331" y="26"/>
                </a:lnTo>
                <a:lnTo>
                  <a:pt x="331" y="26"/>
                </a:lnTo>
                <a:lnTo>
                  <a:pt x="319" y="16"/>
                </a:lnTo>
                <a:lnTo>
                  <a:pt x="305" y="8"/>
                </a:lnTo>
                <a:lnTo>
                  <a:pt x="289" y="2"/>
                </a:lnTo>
                <a:lnTo>
                  <a:pt x="273" y="0"/>
                </a:lnTo>
                <a:lnTo>
                  <a:pt x="273" y="0"/>
                </a:lnTo>
                <a:lnTo>
                  <a:pt x="255" y="2"/>
                </a:lnTo>
                <a:lnTo>
                  <a:pt x="241" y="6"/>
                </a:lnTo>
                <a:lnTo>
                  <a:pt x="227" y="14"/>
                </a:lnTo>
                <a:lnTo>
                  <a:pt x="215" y="24"/>
                </a:lnTo>
                <a:lnTo>
                  <a:pt x="205" y="36"/>
                </a:lnTo>
                <a:lnTo>
                  <a:pt x="197" y="50"/>
                </a:lnTo>
                <a:lnTo>
                  <a:pt x="193" y="64"/>
                </a:lnTo>
                <a:lnTo>
                  <a:pt x="191" y="82"/>
                </a:lnTo>
                <a:lnTo>
                  <a:pt x="191" y="82"/>
                </a:lnTo>
                <a:lnTo>
                  <a:pt x="193" y="100"/>
                </a:lnTo>
                <a:lnTo>
                  <a:pt x="193" y="100"/>
                </a:lnTo>
                <a:lnTo>
                  <a:pt x="169" y="98"/>
                </a:lnTo>
                <a:lnTo>
                  <a:pt x="145" y="92"/>
                </a:lnTo>
                <a:lnTo>
                  <a:pt x="121" y="84"/>
                </a:lnTo>
                <a:lnTo>
                  <a:pt x="99" y="74"/>
                </a:lnTo>
                <a:lnTo>
                  <a:pt x="80" y="62"/>
                </a:lnTo>
                <a:lnTo>
                  <a:pt x="62" y="48"/>
                </a:lnTo>
                <a:lnTo>
                  <a:pt x="44" y="32"/>
                </a:lnTo>
                <a:lnTo>
                  <a:pt x="28" y="16"/>
                </a:lnTo>
                <a:lnTo>
                  <a:pt x="28" y="16"/>
                </a:lnTo>
                <a:lnTo>
                  <a:pt x="24" y="24"/>
                </a:lnTo>
                <a:lnTo>
                  <a:pt x="20" y="34"/>
                </a:lnTo>
                <a:lnTo>
                  <a:pt x="18" y="44"/>
                </a:lnTo>
                <a:lnTo>
                  <a:pt x="16" y="56"/>
                </a:lnTo>
                <a:lnTo>
                  <a:pt x="16" y="56"/>
                </a:lnTo>
                <a:lnTo>
                  <a:pt x="18" y="66"/>
                </a:lnTo>
                <a:lnTo>
                  <a:pt x="20" y="76"/>
                </a:lnTo>
                <a:lnTo>
                  <a:pt x="22" y="86"/>
                </a:lnTo>
                <a:lnTo>
                  <a:pt x="26" y="94"/>
                </a:lnTo>
                <a:lnTo>
                  <a:pt x="38" y="110"/>
                </a:lnTo>
                <a:lnTo>
                  <a:pt x="52" y="124"/>
                </a:lnTo>
                <a:lnTo>
                  <a:pt x="52" y="124"/>
                </a:lnTo>
                <a:lnTo>
                  <a:pt x="34" y="120"/>
                </a:lnTo>
                <a:lnTo>
                  <a:pt x="16" y="114"/>
                </a:lnTo>
                <a:lnTo>
                  <a:pt x="16" y="114"/>
                </a:lnTo>
                <a:lnTo>
                  <a:pt x="16" y="114"/>
                </a:lnTo>
                <a:lnTo>
                  <a:pt x="16" y="114"/>
                </a:lnTo>
                <a:lnTo>
                  <a:pt x="18" y="128"/>
                </a:lnTo>
                <a:lnTo>
                  <a:pt x="22" y="142"/>
                </a:lnTo>
                <a:lnTo>
                  <a:pt x="26" y="154"/>
                </a:lnTo>
                <a:lnTo>
                  <a:pt x="34" y="166"/>
                </a:lnTo>
                <a:lnTo>
                  <a:pt x="44" y="176"/>
                </a:lnTo>
                <a:lnTo>
                  <a:pt x="56" y="183"/>
                </a:lnTo>
                <a:lnTo>
                  <a:pt x="68" y="189"/>
                </a:lnTo>
                <a:lnTo>
                  <a:pt x="82" y="193"/>
                </a:lnTo>
                <a:lnTo>
                  <a:pt x="82" y="193"/>
                </a:lnTo>
                <a:lnTo>
                  <a:pt x="70" y="195"/>
                </a:lnTo>
                <a:lnTo>
                  <a:pt x="60" y="195"/>
                </a:lnTo>
                <a:lnTo>
                  <a:pt x="60" y="195"/>
                </a:lnTo>
                <a:lnTo>
                  <a:pt x="44" y="193"/>
                </a:lnTo>
                <a:lnTo>
                  <a:pt x="44" y="193"/>
                </a:lnTo>
                <a:lnTo>
                  <a:pt x="50" y="205"/>
                </a:lnTo>
                <a:lnTo>
                  <a:pt x="56" y="215"/>
                </a:lnTo>
                <a:lnTo>
                  <a:pt x="64" y="225"/>
                </a:lnTo>
                <a:lnTo>
                  <a:pt x="72" y="233"/>
                </a:lnTo>
                <a:lnTo>
                  <a:pt x="84" y="241"/>
                </a:lnTo>
                <a:lnTo>
                  <a:pt x="93" y="245"/>
                </a:lnTo>
                <a:lnTo>
                  <a:pt x="107" y="249"/>
                </a:lnTo>
                <a:lnTo>
                  <a:pt x="119" y="249"/>
                </a:lnTo>
                <a:lnTo>
                  <a:pt x="119" y="249"/>
                </a:lnTo>
                <a:lnTo>
                  <a:pt x="97" y="265"/>
                </a:lnTo>
                <a:lnTo>
                  <a:pt x="74" y="275"/>
                </a:lnTo>
                <a:lnTo>
                  <a:pt x="48" y="283"/>
                </a:lnTo>
                <a:lnTo>
                  <a:pt x="34" y="283"/>
                </a:lnTo>
                <a:lnTo>
                  <a:pt x="20" y="285"/>
                </a:lnTo>
                <a:lnTo>
                  <a:pt x="20" y="285"/>
                </a:lnTo>
                <a:lnTo>
                  <a:pt x="0" y="283"/>
                </a:lnTo>
                <a:lnTo>
                  <a:pt x="0" y="283"/>
                </a:lnTo>
                <a:lnTo>
                  <a:pt x="28" y="299"/>
                </a:lnTo>
                <a:lnTo>
                  <a:pt x="58" y="311"/>
                </a:lnTo>
                <a:lnTo>
                  <a:pt x="89" y="317"/>
                </a:lnTo>
                <a:lnTo>
                  <a:pt x="107" y="319"/>
                </a:lnTo>
                <a:lnTo>
                  <a:pt x="123" y="319"/>
                </a:lnTo>
                <a:lnTo>
                  <a:pt x="123" y="319"/>
                </a:lnTo>
                <a:lnTo>
                  <a:pt x="151" y="319"/>
                </a:lnTo>
                <a:lnTo>
                  <a:pt x="175" y="315"/>
                </a:lnTo>
                <a:lnTo>
                  <a:pt x="199" y="307"/>
                </a:lnTo>
                <a:lnTo>
                  <a:pt x="223" y="299"/>
                </a:lnTo>
                <a:lnTo>
                  <a:pt x="243" y="287"/>
                </a:lnTo>
                <a:lnTo>
                  <a:pt x="261" y="275"/>
                </a:lnTo>
                <a:lnTo>
                  <a:pt x="279" y="261"/>
                </a:lnTo>
                <a:lnTo>
                  <a:pt x="295" y="245"/>
                </a:lnTo>
                <a:lnTo>
                  <a:pt x="307" y="227"/>
                </a:lnTo>
                <a:lnTo>
                  <a:pt x="319" y="209"/>
                </a:lnTo>
                <a:lnTo>
                  <a:pt x="329" y="191"/>
                </a:lnTo>
                <a:lnTo>
                  <a:pt x="339" y="172"/>
                </a:lnTo>
                <a:lnTo>
                  <a:pt x="345" y="152"/>
                </a:lnTo>
                <a:lnTo>
                  <a:pt x="349" y="132"/>
                </a:lnTo>
                <a:lnTo>
                  <a:pt x="353" y="110"/>
                </a:lnTo>
                <a:lnTo>
                  <a:pt x="353" y="90"/>
                </a:lnTo>
                <a:lnTo>
                  <a:pt x="353" y="90"/>
                </a:lnTo>
                <a:lnTo>
                  <a:pt x="353" y="80"/>
                </a:lnTo>
                <a:lnTo>
                  <a:pt x="353" y="80"/>
                </a:lnTo>
                <a:lnTo>
                  <a:pt x="365" y="72"/>
                </a:lnTo>
                <a:lnTo>
                  <a:pt x="375" y="62"/>
                </a:lnTo>
                <a:lnTo>
                  <a:pt x="385" y="50"/>
                </a:lnTo>
                <a:lnTo>
                  <a:pt x="393" y="38"/>
                </a:lnTo>
                <a:lnTo>
                  <a:pt x="393" y="38"/>
                </a:lnTo>
                <a:close/>
              </a:path>
            </a:pathLst>
          </a:custGeom>
          <a:solidFill>
            <a:srgbClr val="3B3939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8" name="Freeform 1907"/>
          <p:cNvSpPr>
            <a:spLocks noChangeAspect="1"/>
          </p:cNvSpPr>
          <p:nvPr/>
        </p:nvSpPr>
        <p:spPr bwMode="auto">
          <a:xfrm>
            <a:off x="6992227" y="5298806"/>
            <a:ext cx="86310" cy="86806"/>
          </a:xfrm>
          <a:custGeom>
            <a:avLst/>
            <a:gdLst>
              <a:gd name="T0" fmla="*/ 748 w 871"/>
              <a:gd name="T1" fmla="*/ 538 h 872"/>
              <a:gd name="T2" fmla="*/ 732 w 871"/>
              <a:gd name="T3" fmla="*/ 525 h 872"/>
              <a:gd name="T4" fmla="*/ 714 w 871"/>
              <a:gd name="T5" fmla="*/ 515 h 872"/>
              <a:gd name="T6" fmla="*/ 694 w 871"/>
              <a:gd name="T7" fmla="*/ 509 h 872"/>
              <a:gd name="T8" fmla="*/ 674 w 871"/>
              <a:gd name="T9" fmla="*/ 506 h 872"/>
              <a:gd name="T10" fmla="*/ 654 w 871"/>
              <a:gd name="T11" fmla="*/ 509 h 872"/>
              <a:gd name="T12" fmla="*/ 634 w 871"/>
              <a:gd name="T13" fmla="*/ 515 h 872"/>
              <a:gd name="T14" fmla="*/ 617 w 871"/>
              <a:gd name="T15" fmla="*/ 525 h 872"/>
              <a:gd name="T16" fmla="*/ 601 w 871"/>
              <a:gd name="T17" fmla="*/ 538 h 872"/>
              <a:gd name="T18" fmla="*/ 544 w 871"/>
              <a:gd name="T19" fmla="*/ 529 h 872"/>
              <a:gd name="T20" fmla="*/ 474 w 871"/>
              <a:gd name="T21" fmla="*/ 465 h 872"/>
              <a:gd name="T22" fmla="*/ 407 w 871"/>
              <a:gd name="T23" fmla="*/ 398 h 872"/>
              <a:gd name="T24" fmla="*/ 344 w 871"/>
              <a:gd name="T25" fmla="*/ 328 h 872"/>
              <a:gd name="T26" fmla="*/ 335 w 871"/>
              <a:gd name="T27" fmla="*/ 271 h 872"/>
              <a:gd name="T28" fmla="*/ 348 w 871"/>
              <a:gd name="T29" fmla="*/ 254 h 872"/>
              <a:gd name="T30" fmla="*/ 358 w 871"/>
              <a:gd name="T31" fmla="*/ 237 h 872"/>
              <a:gd name="T32" fmla="*/ 364 w 871"/>
              <a:gd name="T33" fmla="*/ 218 h 872"/>
              <a:gd name="T34" fmla="*/ 365 w 871"/>
              <a:gd name="T35" fmla="*/ 198 h 872"/>
              <a:gd name="T36" fmla="*/ 364 w 871"/>
              <a:gd name="T37" fmla="*/ 178 h 872"/>
              <a:gd name="T38" fmla="*/ 358 w 871"/>
              <a:gd name="T39" fmla="*/ 159 h 872"/>
              <a:gd name="T40" fmla="*/ 348 w 871"/>
              <a:gd name="T41" fmla="*/ 141 h 872"/>
              <a:gd name="T42" fmla="*/ 335 w 871"/>
              <a:gd name="T43" fmla="*/ 125 h 872"/>
              <a:gd name="T44" fmla="*/ 233 w 871"/>
              <a:gd name="T45" fmla="*/ 24 h 872"/>
              <a:gd name="T46" fmla="*/ 217 w 871"/>
              <a:gd name="T47" fmla="*/ 13 h 872"/>
              <a:gd name="T48" fmla="*/ 198 w 871"/>
              <a:gd name="T49" fmla="*/ 5 h 872"/>
              <a:gd name="T50" fmla="*/ 178 w 871"/>
              <a:gd name="T51" fmla="*/ 1 h 872"/>
              <a:gd name="T52" fmla="*/ 158 w 871"/>
              <a:gd name="T53" fmla="*/ 1 h 872"/>
              <a:gd name="T54" fmla="*/ 138 w 871"/>
              <a:gd name="T55" fmla="*/ 5 h 872"/>
              <a:gd name="T56" fmla="*/ 119 w 871"/>
              <a:gd name="T57" fmla="*/ 13 h 872"/>
              <a:gd name="T58" fmla="*/ 102 w 871"/>
              <a:gd name="T59" fmla="*/ 24 h 872"/>
              <a:gd name="T60" fmla="*/ 43 w 871"/>
              <a:gd name="T61" fmla="*/ 82 h 872"/>
              <a:gd name="T62" fmla="*/ 27 w 871"/>
              <a:gd name="T63" fmla="*/ 102 h 872"/>
              <a:gd name="T64" fmla="*/ 14 w 871"/>
              <a:gd name="T65" fmla="*/ 124 h 872"/>
              <a:gd name="T66" fmla="*/ 6 w 871"/>
              <a:gd name="T67" fmla="*/ 147 h 872"/>
              <a:gd name="T68" fmla="*/ 1 w 871"/>
              <a:gd name="T69" fmla="*/ 172 h 872"/>
              <a:gd name="T70" fmla="*/ 0 w 871"/>
              <a:gd name="T71" fmla="*/ 197 h 872"/>
              <a:gd name="T72" fmla="*/ 5 w 871"/>
              <a:gd name="T73" fmla="*/ 221 h 872"/>
              <a:gd name="T74" fmla="*/ 12 w 871"/>
              <a:gd name="T75" fmla="*/ 246 h 872"/>
              <a:gd name="T76" fmla="*/ 25 w 871"/>
              <a:gd name="T77" fmla="*/ 268 h 872"/>
              <a:gd name="T78" fmla="*/ 84 w 871"/>
              <a:gd name="T79" fmla="*/ 352 h 872"/>
              <a:gd name="T80" fmla="*/ 147 w 871"/>
              <a:gd name="T81" fmla="*/ 434 h 872"/>
              <a:gd name="T82" fmla="*/ 214 w 871"/>
              <a:gd name="T83" fmla="*/ 512 h 872"/>
              <a:gd name="T84" fmla="*/ 286 w 871"/>
              <a:gd name="T85" fmla="*/ 587 h 872"/>
              <a:gd name="T86" fmla="*/ 361 w 871"/>
              <a:gd name="T87" fmla="*/ 658 h 872"/>
              <a:gd name="T88" fmla="*/ 439 w 871"/>
              <a:gd name="T89" fmla="*/ 725 h 872"/>
              <a:gd name="T90" fmla="*/ 519 w 871"/>
              <a:gd name="T91" fmla="*/ 789 h 872"/>
              <a:gd name="T92" fmla="*/ 604 w 871"/>
              <a:gd name="T93" fmla="*/ 848 h 872"/>
              <a:gd name="T94" fmla="*/ 622 w 871"/>
              <a:gd name="T95" fmla="*/ 858 h 872"/>
              <a:gd name="T96" fmla="*/ 643 w 871"/>
              <a:gd name="T97" fmla="*/ 866 h 872"/>
              <a:gd name="T98" fmla="*/ 664 w 871"/>
              <a:gd name="T99" fmla="*/ 870 h 872"/>
              <a:gd name="T100" fmla="*/ 686 w 871"/>
              <a:gd name="T101" fmla="*/ 872 h 872"/>
              <a:gd name="T102" fmla="*/ 715 w 871"/>
              <a:gd name="T103" fmla="*/ 869 h 872"/>
              <a:gd name="T104" fmla="*/ 743 w 871"/>
              <a:gd name="T105" fmla="*/ 860 h 872"/>
              <a:gd name="T106" fmla="*/ 767 w 871"/>
              <a:gd name="T107" fmla="*/ 848 h 872"/>
              <a:gd name="T108" fmla="*/ 790 w 871"/>
              <a:gd name="T109" fmla="*/ 829 h 872"/>
              <a:gd name="T110" fmla="*/ 849 w 871"/>
              <a:gd name="T111" fmla="*/ 769 h 872"/>
              <a:gd name="T112" fmla="*/ 859 w 871"/>
              <a:gd name="T113" fmla="*/ 752 h 872"/>
              <a:gd name="T114" fmla="*/ 867 w 871"/>
              <a:gd name="T115" fmla="*/ 734 h 872"/>
              <a:gd name="T116" fmla="*/ 871 w 871"/>
              <a:gd name="T117" fmla="*/ 715 h 872"/>
              <a:gd name="T118" fmla="*/ 871 w 871"/>
              <a:gd name="T119" fmla="*/ 694 h 872"/>
              <a:gd name="T120" fmla="*/ 867 w 871"/>
              <a:gd name="T121" fmla="*/ 675 h 872"/>
              <a:gd name="T122" fmla="*/ 859 w 871"/>
              <a:gd name="T123" fmla="*/ 656 h 872"/>
              <a:gd name="T124" fmla="*/ 849 w 871"/>
              <a:gd name="T125" fmla="*/ 638 h 8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871" h="872">
                <a:moveTo>
                  <a:pt x="841" y="631"/>
                </a:moveTo>
                <a:lnTo>
                  <a:pt x="748" y="538"/>
                </a:lnTo>
                <a:lnTo>
                  <a:pt x="740" y="530"/>
                </a:lnTo>
                <a:lnTo>
                  <a:pt x="732" y="525"/>
                </a:lnTo>
                <a:lnTo>
                  <a:pt x="723" y="519"/>
                </a:lnTo>
                <a:lnTo>
                  <a:pt x="714" y="515"/>
                </a:lnTo>
                <a:lnTo>
                  <a:pt x="705" y="511"/>
                </a:lnTo>
                <a:lnTo>
                  <a:pt x="694" y="509"/>
                </a:lnTo>
                <a:lnTo>
                  <a:pt x="685" y="508"/>
                </a:lnTo>
                <a:lnTo>
                  <a:pt x="674" y="506"/>
                </a:lnTo>
                <a:lnTo>
                  <a:pt x="664" y="508"/>
                </a:lnTo>
                <a:lnTo>
                  <a:pt x="654" y="509"/>
                </a:lnTo>
                <a:lnTo>
                  <a:pt x="644" y="511"/>
                </a:lnTo>
                <a:lnTo>
                  <a:pt x="634" y="515"/>
                </a:lnTo>
                <a:lnTo>
                  <a:pt x="626" y="519"/>
                </a:lnTo>
                <a:lnTo>
                  <a:pt x="617" y="525"/>
                </a:lnTo>
                <a:lnTo>
                  <a:pt x="609" y="530"/>
                </a:lnTo>
                <a:lnTo>
                  <a:pt x="601" y="538"/>
                </a:lnTo>
                <a:lnTo>
                  <a:pt x="580" y="559"/>
                </a:lnTo>
                <a:lnTo>
                  <a:pt x="544" y="529"/>
                </a:lnTo>
                <a:lnTo>
                  <a:pt x="509" y="497"/>
                </a:lnTo>
                <a:lnTo>
                  <a:pt x="474" y="465"/>
                </a:lnTo>
                <a:lnTo>
                  <a:pt x="440" y="431"/>
                </a:lnTo>
                <a:lnTo>
                  <a:pt x="407" y="398"/>
                </a:lnTo>
                <a:lnTo>
                  <a:pt x="375" y="364"/>
                </a:lnTo>
                <a:lnTo>
                  <a:pt x="344" y="328"/>
                </a:lnTo>
                <a:lnTo>
                  <a:pt x="314" y="293"/>
                </a:lnTo>
                <a:lnTo>
                  <a:pt x="335" y="271"/>
                </a:lnTo>
                <a:lnTo>
                  <a:pt x="343" y="263"/>
                </a:lnTo>
                <a:lnTo>
                  <a:pt x="348" y="254"/>
                </a:lnTo>
                <a:lnTo>
                  <a:pt x="353" y="246"/>
                </a:lnTo>
                <a:lnTo>
                  <a:pt x="358" y="237"/>
                </a:lnTo>
                <a:lnTo>
                  <a:pt x="361" y="228"/>
                </a:lnTo>
                <a:lnTo>
                  <a:pt x="364" y="218"/>
                </a:lnTo>
                <a:lnTo>
                  <a:pt x="365" y="207"/>
                </a:lnTo>
                <a:lnTo>
                  <a:pt x="365" y="198"/>
                </a:lnTo>
                <a:lnTo>
                  <a:pt x="365" y="188"/>
                </a:lnTo>
                <a:lnTo>
                  <a:pt x="364" y="178"/>
                </a:lnTo>
                <a:lnTo>
                  <a:pt x="361" y="169"/>
                </a:lnTo>
                <a:lnTo>
                  <a:pt x="358" y="159"/>
                </a:lnTo>
                <a:lnTo>
                  <a:pt x="353" y="149"/>
                </a:lnTo>
                <a:lnTo>
                  <a:pt x="348" y="141"/>
                </a:lnTo>
                <a:lnTo>
                  <a:pt x="343" y="132"/>
                </a:lnTo>
                <a:lnTo>
                  <a:pt x="335" y="125"/>
                </a:lnTo>
                <a:lnTo>
                  <a:pt x="242" y="30"/>
                </a:lnTo>
                <a:lnTo>
                  <a:pt x="233" y="24"/>
                </a:lnTo>
                <a:lnTo>
                  <a:pt x="226" y="17"/>
                </a:lnTo>
                <a:lnTo>
                  <a:pt x="217" y="13"/>
                </a:lnTo>
                <a:lnTo>
                  <a:pt x="207" y="9"/>
                </a:lnTo>
                <a:lnTo>
                  <a:pt x="198" y="5"/>
                </a:lnTo>
                <a:lnTo>
                  <a:pt x="188" y="2"/>
                </a:lnTo>
                <a:lnTo>
                  <a:pt x="178" y="1"/>
                </a:lnTo>
                <a:lnTo>
                  <a:pt x="168" y="0"/>
                </a:lnTo>
                <a:lnTo>
                  <a:pt x="158" y="1"/>
                </a:lnTo>
                <a:lnTo>
                  <a:pt x="147" y="2"/>
                </a:lnTo>
                <a:lnTo>
                  <a:pt x="138" y="5"/>
                </a:lnTo>
                <a:lnTo>
                  <a:pt x="128" y="9"/>
                </a:lnTo>
                <a:lnTo>
                  <a:pt x="119" y="13"/>
                </a:lnTo>
                <a:lnTo>
                  <a:pt x="111" y="17"/>
                </a:lnTo>
                <a:lnTo>
                  <a:pt x="102" y="24"/>
                </a:lnTo>
                <a:lnTo>
                  <a:pt x="95" y="31"/>
                </a:lnTo>
                <a:lnTo>
                  <a:pt x="43" y="82"/>
                </a:lnTo>
                <a:lnTo>
                  <a:pt x="35" y="91"/>
                </a:lnTo>
                <a:lnTo>
                  <a:pt x="27" y="102"/>
                </a:lnTo>
                <a:lnTo>
                  <a:pt x="20" y="113"/>
                </a:lnTo>
                <a:lnTo>
                  <a:pt x="14" y="124"/>
                </a:lnTo>
                <a:lnTo>
                  <a:pt x="9" y="135"/>
                </a:lnTo>
                <a:lnTo>
                  <a:pt x="6" y="147"/>
                </a:lnTo>
                <a:lnTo>
                  <a:pt x="3" y="160"/>
                </a:lnTo>
                <a:lnTo>
                  <a:pt x="1" y="172"/>
                </a:lnTo>
                <a:lnTo>
                  <a:pt x="0" y="185"/>
                </a:lnTo>
                <a:lnTo>
                  <a:pt x="0" y="197"/>
                </a:lnTo>
                <a:lnTo>
                  <a:pt x="3" y="209"/>
                </a:lnTo>
                <a:lnTo>
                  <a:pt x="5" y="221"/>
                </a:lnTo>
                <a:lnTo>
                  <a:pt x="8" y="234"/>
                </a:lnTo>
                <a:lnTo>
                  <a:pt x="12" y="246"/>
                </a:lnTo>
                <a:lnTo>
                  <a:pt x="19" y="257"/>
                </a:lnTo>
                <a:lnTo>
                  <a:pt x="25" y="268"/>
                </a:lnTo>
                <a:lnTo>
                  <a:pt x="54" y="310"/>
                </a:lnTo>
                <a:lnTo>
                  <a:pt x="84" y="352"/>
                </a:lnTo>
                <a:lnTo>
                  <a:pt x="115" y="394"/>
                </a:lnTo>
                <a:lnTo>
                  <a:pt x="147" y="434"/>
                </a:lnTo>
                <a:lnTo>
                  <a:pt x="181" y="473"/>
                </a:lnTo>
                <a:lnTo>
                  <a:pt x="214" y="512"/>
                </a:lnTo>
                <a:lnTo>
                  <a:pt x="249" y="549"/>
                </a:lnTo>
                <a:lnTo>
                  <a:pt x="286" y="587"/>
                </a:lnTo>
                <a:lnTo>
                  <a:pt x="322" y="623"/>
                </a:lnTo>
                <a:lnTo>
                  <a:pt x="361" y="658"/>
                </a:lnTo>
                <a:lnTo>
                  <a:pt x="399" y="692"/>
                </a:lnTo>
                <a:lnTo>
                  <a:pt x="439" y="725"/>
                </a:lnTo>
                <a:lnTo>
                  <a:pt x="479" y="757"/>
                </a:lnTo>
                <a:lnTo>
                  <a:pt x="519" y="789"/>
                </a:lnTo>
                <a:lnTo>
                  <a:pt x="561" y="819"/>
                </a:lnTo>
                <a:lnTo>
                  <a:pt x="604" y="848"/>
                </a:lnTo>
                <a:lnTo>
                  <a:pt x="614" y="853"/>
                </a:lnTo>
                <a:lnTo>
                  <a:pt x="622" y="858"/>
                </a:lnTo>
                <a:lnTo>
                  <a:pt x="633" y="863"/>
                </a:lnTo>
                <a:lnTo>
                  <a:pt x="643" y="866"/>
                </a:lnTo>
                <a:lnTo>
                  <a:pt x="654" y="868"/>
                </a:lnTo>
                <a:lnTo>
                  <a:pt x="664" y="870"/>
                </a:lnTo>
                <a:lnTo>
                  <a:pt x="675" y="871"/>
                </a:lnTo>
                <a:lnTo>
                  <a:pt x="686" y="872"/>
                </a:lnTo>
                <a:lnTo>
                  <a:pt x="701" y="871"/>
                </a:lnTo>
                <a:lnTo>
                  <a:pt x="715" y="869"/>
                </a:lnTo>
                <a:lnTo>
                  <a:pt x="729" y="866"/>
                </a:lnTo>
                <a:lnTo>
                  <a:pt x="743" y="860"/>
                </a:lnTo>
                <a:lnTo>
                  <a:pt x="755" y="855"/>
                </a:lnTo>
                <a:lnTo>
                  <a:pt x="767" y="848"/>
                </a:lnTo>
                <a:lnTo>
                  <a:pt x="779" y="839"/>
                </a:lnTo>
                <a:lnTo>
                  <a:pt x="790" y="829"/>
                </a:lnTo>
                <a:lnTo>
                  <a:pt x="841" y="777"/>
                </a:lnTo>
                <a:lnTo>
                  <a:pt x="849" y="769"/>
                </a:lnTo>
                <a:lnTo>
                  <a:pt x="854" y="761"/>
                </a:lnTo>
                <a:lnTo>
                  <a:pt x="859" y="752"/>
                </a:lnTo>
                <a:lnTo>
                  <a:pt x="864" y="744"/>
                </a:lnTo>
                <a:lnTo>
                  <a:pt x="867" y="734"/>
                </a:lnTo>
                <a:lnTo>
                  <a:pt x="870" y="724"/>
                </a:lnTo>
                <a:lnTo>
                  <a:pt x="871" y="715"/>
                </a:lnTo>
                <a:lnTo>
                  <a:pt x="871" y="704"/>
                </a:lnTo>
                <a:lnTo>
                  <a:pt x="871" y="694"/>
                </a:lnTo>
                <a:lnTo>
                  <a:pt x="870" y="685"/>
                </a:lnTo>
                <a:lnTo>
                  <a:pt x="867" y="675"/>
                </a:lnTo>
                <a:lnTo>
                  <a:pt x="864" y="665"/>
                </a:lnTo>
                <a:lnTo>
                  <a:pt x="859" y="656"/>
                </a:lnTo>
                <a:lnTo>
                  <a:pt x="854" y="647"/>
                </a:lnTo>
                <a:lnTo>
                  <a:pt x="849" y="638"/>
                </a:lnTo>
                <a:lnTo>
                  <a:pt x="841" y="631"/>
                </a:lnTo>
                <a:close/>
              </a:path>
            </a:pathLst>
          </a:custGeom>
          <a:solidFill>
            <a:srgbClr val="3B3939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1" name="Text Placeholder 120"/>
          <p:cNvSpPr>
            <a:spLocks noGrp="1"/>
          </p:cNvSpPr>
          <p:nvPr>
            <p:ph type="body" sz="quarter" idx="14"/>
          </p:nvPr>
        </p:nvSpPr>
        <p:spPr>
          <a:xfrm>
            <a:off x="1857375" y="1014880"/>
            <a:ext cx="8380505" cy="400110"/>
          </a:xfrm>
        </p:spPr>
        <p:txBody>
          <a:bodyPr/>
          <a:lstStyle/>
          <a:p>
            <a:r>
              <a:rPr lang="en-US" dirty="0"/>
              <a:t>Lorem </a:t>
            </a:r>
            <a:r>
              <a:rPr lang="en-US" dirty="0" err="1"/>
              <a:t>Ipsum</a:t>
            </a:r>
            <a:r>
              <a:rPr lang="en-US" dirty="0"/>
              <a:t> is simply dummy text of the printing and typesetting industry. Lorem </a:t>
            </a:r>
            <a:r>
              <a:rPr lang="en-US" dirty="0" err="1"/>
              <a:t>Ipsum</a:t>
            </a:r>
            <a:r>
              <a:rPr lang="en-US" dirty="0"/>
              <a:t> has been the industry's standard dummy text ever since the 1500s, when an unknown printer took a galley of type and scrambled it to make a type specimen book. </a:t>
            </a:r>
          </a:p>
        </p:txBody>
      </p:sp>
      <p:sp>
        <p:nvSpPr>
          <p:cNvPr id="120" name="Text Placeholder 119"/>
          <p:cNvSpPr>
            <a:spLocks noGrp="1"/>
          </p:cNvSpPr>
          <p:nvPr>
            <p:ph type="body" sz="quarter" idx="13"/>
          </p:nvPr>
        </p:nvSpPr>
        <p:spPr>
          <a:xfrm>
            <a:off x="3107788" y="360971"/>
            <a:ext cx="5976424" cy="535531"/>
          </a:xfrm>
        </p:spPr>
        <p:txBody>
          <a:bodyPr/>
          <a:lstStyle/>
          <a:p>
            <a:r>
              <a:rPr lang="en-US" sz="3200" dirty="0"/>
              <a:t>PowerPoint Presentation</a:t>
            </a:r>
          </a:p>
        </p:txBody>
      </p:sp>
      <p:sp>
        <p:nvSpPr>
          <p:cNvPr id="116" name="Date Placeholder 11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E1B330-CB56-448E-9C70-830A2B9C05C8}" type="datetime1">
              <a:rPr lang="en-US" smtClean="0"/>
              <a:t>11/15/2018</a:t>
            </a:fld>
            <a:endParaRPr lang="en-US"/>
          </a:p>
        </p:txBody>
      </p:sp>
      <p:sp>
        <p:nvSpPr>
          <p:cNvPr id="117" name="Slide Number Placeholder 1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06E70-9524-410D-AE9B-78D656EAA14D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81910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Rectangle 102"/>
          <p:cNvSpPr/>
          <p:nvPr/>
        </p:nvSpPr>
        <p:spPr>
          <a:xfrm>
            <a:off x="12344400" y="0"/>
            <a:ext cx="469900" cy="469900"/>
          </a:xfrm>
          <a:prstGeom prst="rect">
            <a:avLst/>
          </a:pr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4" name="Rectangle 103"/>
          <p:cNvSpPr/>
          <p:nvPr/>
        </p:nvSpPr>
        <p:spPr>
          <a:xfrm>
            <a:off x="12344400" y="649557"/>
            <a:ext cx="469900" cy="469900"/>
          </a:xfrm>
          <a:prstGeom prst="rect">
            <a:avLst/>
          </a:prstGeom>
          <a:solidFill>
            <a:srgbClr val="AFAB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5" name="Rectangle 104"/>
          <p:cNvSpPr/>
          <p:nvPr/>
        </p:nvSpPr>
        <p:spPr>
          <a:xfrm>
            <a:off x="12344400" y="1299114"/>
            <a:ext cx="469900" cy="469900"/>
          </a:xfrm>
          <a:prstGeom prst="rect">
            <a:avLst/>
          </a:prstGeom>
          <a:solidFill>
            <a:srgbClr val="7671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7" name="Rectangle 106"/>
          <p:cNvSpPr/>
          <p:nvPr/>
        </p:nvSpPr>
        <p:spPr>
          <a:xfrm>
            <a:off x="12966699" y="0"/>
            <a:ext cx="469900" cy="469900"/>
          </a:xfrm>
          <a:prstGeom prst="rect">
            <a:avLst/>
          </a:prstGeom>
          <a:solidFill>
            <a:srgbClr val="E878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8" name="Rectangle 107"/>
          <p:cNvSpPr/>
          <p:nvPr/>
        </p:nvSpPr>
        <p:spPr>
          <a:xfrm>
            <a:off x="12966699" y="649557"/>
            <a:ext cx="469900" cy="469900"/>
          </a:xfrm>
          <a:prstGeom prst="rect">
            <a:avLst/>
          </a:prstGeom>
          <a:solidFill>
            <a:srgbClr val="E258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9" name="Rectangle 108"/>
          <p:cNvSpPr/>
          <p:nvPr/>
        </p:nvSpPr>
        <p:spPr>
          <a:xfrm>
            <a:off x="12966699" y="1299114"/>
            <a:ext cx="469900" cy="469900"/>
          </a:xfrm>
          <a:prstGeom prst="rect">
            <a:avLst/>
          </a:prstGeom>
          <a:solidFill>
            <a:srgbClr val="D63E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0" name="Rectangle 109"/>
          <p:cNvSpPr/>
          <p:nvPr/>
        </p:nvSpPr>
        <p:spPr>
          <a:xfrm>
            <a:off x="13588998" y="0"/>
            <a:ext cx="469900" cy="469900"/>
          </a:xfrm>
          <a:prstGeom prst="rect">
            <a:avLst/>
          </a:prstGeom>
          <a:solidFill>
            <a:srgbClr val="8EDC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1" name="Rectangle 110"/>
          <p:cNvSpPr/>
          <p:nvPr/>
        </p:nvSpPr>
        <p:spPr>
          <a:xfrm>
            <a:off x="13588998" y="649557"/>
            <a:ext cx="469900" cy="469900"/>
          </a:xfrm>
          <a:prstGeom prst="rect">
            <a:avLst/>
          </a:prstGeom>
          <a:solidFill>
            <a:srgbClr val="78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2" name="Rectangle 111"/>
          <p:cNvSpPr/>
          <p:nvPr/>
        </p:nvSpPr>
        <p:spPr>
          <a:xfrm>
            <a:off x="13588998" y="1299114"/>
            <a:ext cx="469900" cy="469900"/>
          </a:xfrm>
          <a:prstGeom prst="rect">
            <a:avLst/>
          </a:prstGeom>
          <a:solidFill>
            <a:srgbClr val="4CC7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3" name="Rectangle 112"/>
          <p:cNvSpPr/>
          <p:nvPr/>
        </p:nvSpPr>
        <p:spPr>
          <a:xfrm>
            <a:off x="14211297" y="0"/>
            <a:ext cx="469900" cy="469900"/>
          </a:xfrm>
          <a:prstGeom prst="rect">
            <a:avLst/>
          </a:prstGeom>
          <a:solidFill>
            <a:srgbClr val="5553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4" name="Rectangle 113"/>
          <p:cNvSpPr/>
          <p:nvPr/>
        </p:nvSpPr>
        <p:spPr>
          <a:xfrm>
            <a:off x="14211297" y="649557"/>
            <a:ext cx="469900" cy="469900"/>
          </a:xfrm>
          <a:prstGeom prst="rect">
            <a:avLst/>
          </a:prstGeom>
          <a:solidFill>
            <a:srgbClr val="3B39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5" name="Rectangle 114"/>
          <p:cNvSpPr/>
          <p:nvPr/>
        </p:nvSpPr>
        <p:spPr>
          <a:xfrm>
            <a:off x="14211297" y="1299114"/>
            <a:ext cx="469900" cy="469900"/>
          </a:xfrm>
          <a:prstGeom prst="rect">
            <a:avLst/>
          </a:prstGeom>
          <a:solidFill>
            <a:srgbClr val="2523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1" name="Text Placeholder 120"/>
          <p:cNvSpPr>
            <a:spLocks noGrp="1"/>
          </p:cNvSpPr>
          <p:nvPr>
            <p:ph type="body" sz="quarter" idx="14"/>
          </p:nvPr>
        </p:nvSpPr>
        <p:spPr>
          <a:xfrm>
            <a:off x="1857375" y="1014880"/>
            <a:ext cx="8380505" cy="400110"/>
          </a:xfrm>
        </p:spPr>
        <p:txBody>
          <a:bodyPr/>
          <a:lstStyle/>
          <a:p>
            <a:r>
              <a:rPr lang="en-US" dirty="0"/>
              <a:t>Lorem </a:t>
            </a:r>
            <a:r>
              <a:rPr lang="en-US" dirty="0" err="1"/>
              <a:t>Ipsum</a:t>
            </a:r>
            <a:r>
              <a:rPr lang="en-US" dirty="0"/>
              <a:t> is simply dummy text of the printing and typesetting industry. Lorem </a:t>
            </a:r>
            <a:r>
              <a:rPr lang="en-US" dirty="0" err="1"/>
              <a:t>Ipsum</a:t>
            </a:r>
            <a:r>
              <a:rPr lang="en-US" dirty="0"/>
              <a:t> has been the industry's standard dummy text ever since the 1500s, when an unknown printer took a galley of type and scrambled it to make a type specimen book. </a:t>
            </a:r>
          </a:p>
        </p:txBody>
      </p:sp>
      <p:sp>
        <p:nvSpPr>
          <p:cNvPr id="120" name="Text Placeholder 119"/>
          <p:cNvSpPr>
            <a:spLocks noGrp="1"/>
          </p:cNvSpPr>
          <p:nvPr>
            <p:ph type="body" sz="quarter" idx="13"/>
          </p:nvPr>
        </p:nvSpPr>
        <p:spPr>
          <a:xfrm>
            <a:off x="3107788" y="360971"/>
            <a:ext cx="5976424" cy="535531"/>
          </a:xfrm>
        </p:spPr>
        <p:txBody>
          <a:bodyPr/>
          <a:lstStyle/>
          <a:p>
            <a:r>
              <a:rPr lang="en-US" sz="3200" dirty="0"/>
              <a:t>PowerPoint Presentation</a:t>
            </a:r>
          </a:p>
        </p:txBody>
      </p:sp>
      <p:sp>
        <p:nvSpPr>
          <p:cNvPr id="116" name="Date Placeholder 11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E1B330-CB56-448E-9C70-830A2B9C05C8}" type="datetime1">
              <a:rPr lang="en-US" smtClean="0"/>
              <a:t>11/15/2018</a:t>
            </a:fld>
            <a:endParaRPr lang="en-US"/>
          </a:p>
        </p:txBody>
      </p:sp>
      <p:sp>
        <p:nvSpPr>
          <p:cNvPr id="117" name="Slide Number Placeholder 1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06E70-9524-410D-AE9B-78D656EAA14D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102" name="Freeform 5"/>
          <p:cNvSpPr>
            <a:spLocks/>
          </p:cNvSpPr>
          <p:nvPr/>
        </p:nvSpPr>
        <p:spPr bwMode="auto">
          <a:xfrm>
            <a:off x="1588773" y="1978520"/>
            <a:ext cx="2600282" cy="859033"/>
          </a:xfrm>
          <a:custGeom>
            <a:avLst/>
            <a:gdLst>
              <a:gd name="T0" fmla="*/ 634 w 638"/>
              <a:gd name="T1" fmla="*/ 120 h 259"/>
              <a:gd name="T2" fmla="*/ 592 w 638"/>
              <a:gd name="T3" fmla="*/ 74 h 259"/>
              <a:gd name="T4" fmla="*/ 584 w 638"/>
              <a:gd name="T5" fmla="*/ 65 h 259"/>
              <a:gd name="T6" fmla="*/ 555 w 638"/>
              <a:gd name="T7" fmla="*/ 33 h 259"/>
              <a:gd name="T8" fmla="*/ 534 w 638"/>
              <a:gd name="T9" fmla="*/ 10 h 259"/>
              <a:gd name="T10" fmla="*/ 534 w 638"/>
              <a:gd name="T11" fmla="*/ 9 h 259"/>
              <a:gd name="T12" fmla="*/ 525 w 638"/>
              <a:gd name="T13" fmla="*/ 0 h 259"/>
              <a:gd name="T14" fmla="*/ 0 w 638"/>
              <a:gd name="T15" fmla="*/ 0 h 259"/>
              <a:gd name="T16" fmla="*/ 0 w 638"/>
              <a:gd name="T17" fmla="*/ 259 h 259"/>
              <a:gd name="T18" fmla="*/ 525 w 638"/>
              <a:gd name="T19" fmla="*/ 259 h 259"/>
              <a:gd name="T20" fmla="*/ 534 w 638"/>
              <a:gd name="T21" fmla="*/ 250 h 259"/>
              <a:gd name="T22" fmla="*/ 534 w 638"/>
              <a:gd name="T23" fmla="*/ 250 h 259"/>
              <a:gd name="T24" fmla="*/ 555 w 638"/>
              <a:gd name="T25" fmla="*/ 226 h 259"/>
              <a:gd name="T26" fmla="*/ 584 w 638"/>
              <a:gd name="T27" fmla="*/ 194 h 259"/>
              <a:gd name="T28" fmla="*/ 592 w 638"/>
              <a:gd name="T29" fmla="*/ 185 h 259"/>
              <a:gd name="T30" fmla="*/ 634 w 638"/>
              <a:gd name="T31" fmla="*/ 139 h 259"/>
              <a:gd name="T32" fmla="*/ 634 w 638"/>
              <a:gd name="T33" fmla="*/ 120 h 2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638" h="259">
                <a:moveTo>
                  <a:pt x="634" y="120"/>
                </a:moveTo>
                <a:cubicBezTo>
                  <a:pt x="592" y="74"/>
                  <a:pt x="592" y="74"/>
                  <a:pt x="592" y="74"/>
                </a:cubicBezTo>
                <a:cubicBezTo>
                  <a:pt x="590" y="72"/>
                  <a:pt x="587" y="68"/>
                  <a:pt x="584" y="65"/>
                </a:cubicBezTo>
                <a:cubicBezTo>
                  <a:pt x="555" y="33"/>
                  <a:pt x="555" y="33"/>
                  <a:pt x="555" y="33"/>
                </a:cubicBezTo>
                <a:cubicBezTo>
                  <a:pt x="534" y="10"/>
                  <a:pt x="534" y="10"/>
                  <a:pt x="534" y="10"/>
                </a:cubicBezTo>
                <a:cubicBezTo>
                  <a:pt x="534" y="9"/>
                  <a:pt x="534" y="9"/>
                  <a:pt x="534" y="9"/>
                </a:cubicBezTo>
                <a:cubicBezTo>
                  <a:pt x="525" y="0"/>
                  <a:pt x="525" y="0"/>
                  <a:pt x="525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259"/>
                  <a:pt x="0" y="259"/>
                  <a:pt x="0" y="259"/>
                </a:cubicBezTo>
                <a:cubicBezTo>
                  <a:pt x="525" y="259"/>
                  <a:pt x="525" y="259"/>
                  <a:pt x="525" y="259"/>
                </a:cubicBezTo>
                <a:cubicBezTo>
                  <a:pt x="534" y="250"/>
                  <a:pt x="534" y="250"/>
                  <a:pt x="534" y="250"/>
                </a:cubicBezTo>
                <a:cubicBezTo>
                  <a:pt x="534" y="250"/>
                  <a:pt x="534" y="250"/>
                  <a:pt x="534" y="250"/>
                </a:cubicBezTo>
                <a:cubicBezTo>
                  <a:pt x="555" y="226"/>
                  <a:pt x="555" y="226"/>
                  <a:pt x="555" y="226"/>
                </a:cubicBezTo>
                <a:cubicBezTo>
                  <a:pt x="584" y="194"/>
                  <a:pt x="584" y="194"/>
                  <a:pt x="584" y="194"/>
                </a:cubicBezTo>
                <a:cubicBezTo>
                  <a:pt x="587" y="191"/>
                  <a:pt x="590" y="187"/>
                  <a:pt x="592" y="185"/>
                </a:cubicBezTo>
                <a:cubicBezTo>
                  <a:pt x="634" y="139"/>
                  <a:pt x="634" y="139"/>
                  <a:pt x="634" y="139"/>
                </a:cubicBezTo>
                <a:cubicBezTo>
                  <a:pt x="638" y="134"/>
                  <a:pt x="638" y="125"/>
                  <a:pt x="634" y="120"/>
                </a:cubicBezTo>
                <a:close/>
              </a:path>
            </a:pathLst>
          </a:custGeom>
          <a:solidFill>
            <a:srgbClr val="E2583D"/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6" name="Freeform 6"/>
          <p:cNvSpPr>
            <a:spLocks/>
          </p:cNvSpPr>
          <p:nvPr/>
        </p:nvSpPr>
        <p:spPr bwMode="auto">
          <a:xfrm>
            <a:off x="1588773" y="2836100"/>
            <a:ext cx="2600282" cy="854829"/>
          </a:xfrm>
          <a:custGeom>
            <a:avLst/>
            <a:gdLst>
              <a:gd name="T0" fmla="*/ 634 w 638"/>
              <a:gd name="T1" fmla="*/ 120 h 258"/>
              <a:gd name="T2" fmla="*/ 592 w 638"/>
              <a:gd name="T3" fmla="*/ 73 h 258"/>
              <a:gd name="T4" fmla="*/ 584 w 638"/>
              <a:gd name="T5" fmla="*/ 64 h 258"/>
              <a:gd name="T6" fmla="*/ 555 w 638"/>
              <a:gd name="T7" fmla="*/ 32 h 258"/>
              <a:gd name="T8" fmla="*/ 534 w 638"/>
              <a:gd name="T9" fmla="*/ 9 h 258"/>
              <a:gd name="T10" fmla="*/ 534 w 638"/>
              <a:gd name="T11" fmla="*/ 9 h 258"/>
              <a:gd name="T12" fmla="*/ 525 w 638"/>
              <a:gd name="T13" fmla="*/ 0 h 258"/>
              <a:gd name="T14" fmla="*/ 0 w 638"/>
              <a:gd name="T15" fmla="*/ 0 h 258"/>
              <a:gd name="T16" fmla="*/ 0 w 638"/>
              <a:gd name="T17" fmla="*/ 258 h 258"/>
              <a:gd name="T18" fmla="*/ 525 w 638"/>
              <a:gd name="T19" fmla="*/ 258 h 258"/>
              <a:gd name="T20" fmla="*/ 534 w 638"/>
              <a:gd name="T21" fmla="*/ 249 h 258"/>
              <a:gd name="T22" fmla="*/ 534 w 638"/>
              <a:gd name="T23" fmla="*/ 249 h 258"/>
              <a:gd name="T24" fmla="*/ 555 w 638"/>
              <a:gd name="T25" fmla="*/ 226 h 258"/>
              <a:gd name="T26" fmla="*/ 584 w 638"/>
              <a:gd name="T27" fmla="*/ 193 h 258"/>
              <a:gd name="T28" fmla="*/ 592 w 638"/>
              <a:gd name="T29" fmla="*/ 184 h 258"/>
              <a:gd name="T30" fmla="*/ 634 w 638"/>
              <a:gd name="T31" fmla="*/ 138 h 258"/>
              <a:gd name="T32" fmla="*/ 634 w 638"/>
              <a:gd name="T33" fmla="*/ 120 h 2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638" h="258">
                <a:moveTo>
                  <a:pt x="634" y="120"/>
                </a:moveTo>
                <a:cubicBezTo>
                  <a:pt x="592" y="73"/>
                  <a:pt x="592" y="73"/>
                  <a:pt x="592" y="73"/>
                </a:cubicBezTo>
                <a:cubicBezTo>
                  <a:pt x="590" y="71"/>
                  <a:pt x="587" y="68"/>
                  <a:pt x="584" y="64"/>
                </a:cubicBezTo>
                <a:cubicBezTo>
                  <a:pt x="555" y="32"/>
                  <a:pt x="555" y="32"/>
                  <a:pt x="555" y="32"/>
                </a:cubicBezTo>
                <a:cubicBezTo>
                  <a:pt x="534" y="9"/>
                  <a:pt x="534" y="9"/>
                  <a:pt x="534" y="9"/>
                </a:cubicBezTo>
                <a:cubicBezTo>
                  <a:pt x="534" y="9"/>
                  <a:pt x="534" y="9"/>
                  <a:pt x="534" y="9"/>
                </a:cubicBezTo>
                <a:cubicBezTo>
                  <a:pt x="525" y="0"/>
                  <a:pt x="525" y="0"/>
                  <a:pt x="525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258"/>
                  <a:pt x="0" y="258"/>
                  <a:pt x="0" y="258"/>
                </a:cubicBezTo>
                <a:cubicBezTo>
                  <a:pt x="525" y="258"/>
                  <a:pt x="525" y="258"/>
                  <a:pt x="525" y="258"/>
                </a:cubicBezTo>
                <a:cubicBezTo>
                  <a:pt x="534" y="249"/>
                  <a:pt x="534" y="249"/>
                  <a:pt x="534" y="249"/>
                </a:cubicBezTo>
                <a:cubicBezTo>
                  <a:pt x="534" y="249"/>
                  <a:pt x="534" y="249"/>
                  <a:pt x="534" y="249"/>
                </a:cubicBezTo>
                <a:cubicBezTo>
                  <a:pt x="555" y="226"/>
                  <a:pt x="555" y="226"/>
                  <a:pt x="555" y="226"/>
                </a:cubicBezTo>
                <a:cubicBezTo>
                  <a:pt x="584" y="193"/>
                  <a:pt x="584" y="193"/>
                  <a:pt x="584" y="193"/>
                </a:cubicBezTo>
                <a:cubicBezTo>
                  <a:pt x="587" y="190"/>
                  <a:pt x="590" y="187"/>
                  <a:pt x="592" y="184"/>
                </a:cubicBezTo>
                <a:cubicBezTo>
                  <a:pt x="634" y="138"/>
                  <a:pt x="634" y="138"/>
                  <a:pt x="634" y="138"/>
                </a:cubicBezTo>
                <a:cubicBezTo>
                  <a:pt x="638" y="133"/>
                  <a:pt x="638" y="125"/>
                  <a:pt x="634" y="120"/>
                </a:cubicBezTo>
                <a:close/>
              </a:path>
            </a:pathLst>
          </a:custGeom>
          <a:solidFill>
            <a:srgbClr val="AFABAB"/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8" name="Freeform 7"/>
          <p:cNvSpPr>
            <a:spLocks/>
          </p:cNvSpPr>
          <p:nvPr/>
        </p:nvSpPr>
        <p:spPr bwMode="auto">
          <a:xfrm>
            <a:off x="1588773" y="3690929"/>
            <a:ext cx="2600282" cy="856230"/>
          </a:xfrm>
          <a:custGeom>
            <a:avLst/>
            <a:gdLst>
              <a:gd name="T0" fmla="*/ 634 w 638"/>
              <a:gd name="T1" fmla="*/ 120 h 258"/>
              <a:gd name="T2" fmla="*/ 592 w 638"/>
              <a:gd name="T3" fmla="*/ 74 h 258"/>
              <a:gd name="T4" fmla="*/ 584 w 638"/>
              <a:gd name="T5" fmla="*/ 65 h 258"/>
              <a:gd name="T6" fmla="*/ 555 w 638"/>
              <a:gd name="T7" fmla="*/ 32 h 258"/>
              <a:gd name="T8" fmla="*/ 534 w 638"/>
              <a:gd name="T9" fmla="*/ 9 h 258"/>
              <a:gd name="T10" fmla="*/ 534 w 638"/>
              <a:gd name="T11" fmla="*/ 9 h 258"/>
              <a:gd name="T12" fmla="*/ 525 w 638"/>
              <a:gd name="T13" fmla="*/ 0 h 258"/>
              <a:gd name="T14" fmla="*/ 0 w 638"/>
              <a:gd name="T15" fmla="*/ 0 h 258"/>
              <a:gd name="T16" fmla="*/ 0 w 638"/>
              <a:gd name="T17" fmla="*/ 258 h 258"/>
              <a:gd name="T18" fmla="*/ 525 w 638"/>
              <a:gd name="T19" fmla="*/ 258 h 258"/>
              <a:gd name="T20" fmla="*/ 534 w 638"/>
              <a:gd name="T21" fmla="*/ 249 h 258"/>
              <a:gd name="T22" fmla="*/ 534 w 638"/>
              <a:gd name="T23" fmla="*/ 249 h 258"/>
              <a:gd name="T24" fmla="*/ 555 w 638"/>
              <a:gd name="T25" fmla="*/ 226 h 258"/>
              <a:gd name="T26" fmla="*/ 584 w 638"/>
              <a:gd name="T27" fmla="*/ 194 h 258"/>
              <a:gd name="T28" fmla="*/ 592 w 638"/>
              <a:gd name="T29" fmla="*/ 185 h 258"/>
              <a:gd name="T30" fmla="*/ 634 w 638"/>
              <a:gd name="T31" fmla="*/ 138 h 258"/>
              <a:gd name="T32" fmla="*/ 634 w 638"/>
              <a:gd name="T33" fmla="*/ 120 h 2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638" h="258">
                <a:moveTo>
                  <a:pt x="634" y="120"/>
                </a:moveTo>
                <a:cubicBezTo>
                  <a:pt x="592" y="74"/>
                  <a:pt x="592" y="74"/>
                  <a:pt x="592" y="74"/>
                </a:cubicBezTo>
                <a:cubicBezTo>
                  <a:pt x="590" y="71"/>
                  <a:pt x="587" y="68"/>
                  <a:pt x="584" y="65"/>
                </a:cubicBezTo>
                <a:cubicBezTo>
                  <a:pt x="555" y="32"/>
                  <a:pt x="555" y="32"/>
                  <a:pt x="555" y="32"/>
                </a:cubicBezTo>
                <a:cubicBezTo>
                  <a:pt x="534" y="9"/>
                  <a:pt x="534" y="9"/>
                  <a:pt x="534" y="9"/>
                </a:cubicBezTo>
                <a:cubicBezTo>
                  <a:pt x="534" y="9"/>
                  <a:pt x="534" y="9"/>
                  <a:pt x="534" y="9"/>
                </a:cubicBezTo>
                <a:cubicBezTo>
                  <a:pt x="525" y="0"/>
                  <a:pt x="525" y="0"/>
                  <a:pt x="525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258"/>
                  <a:pt x="0" y="258"/>
                  <a:pt x="0" y="258"/>
                </a:cubicBezTo>
                <a:cubicBezTo>
                  <a:pt x="525" y="258"/>
                  <a:pt x="525" y="258"/>
                  <a:pt x="525" y="258"/>
                </a:cubicBezTo>
                <a:cubicBezTo>
                  <a:pt x="534" y="249"/>
                  <a:pt x="534" y="249"/>
                  <a:pt x="534" y="249"/>
                </a:cubicBezTo>
                <a:cubicBezTo>
                  <a:pt x="534" y="249"/>
                  <a:pt x="534" y="249"/>
                  <a:pt x="534" y="249"/>
                </a:cubicBezTo>
                <a:cubicBezTo>
                  <a:pt x="555" y="226"/>
                  <a:pt x="555" y="226"/>
                  <a:pt x="555" y="226"/>
                </a:cubicBezTo>
                <a:cubicBezTo>
                  <a:pt x="584" y="194"/>
                  <a:pt x="584" y="194"/>
                  <a:pt x="584" y="194"/>
                </a:cubicBezTo>
                <a:cubicBezTo>
                  <a:pt x="587" y="190"/>
                  <a:pt x="590" y="187"/>
                  <a:pt x="592" y="185"/>
                </a:cubicBezTo>
                <a:cubicBezTo>
                  <a:pt x="634" y="138"/>
                  <a:pt x="634" y="138"/>
                  <a:pt x="634" y="138"/>
                </a:cubicBezTo>
                <a:cubicBezTo>
                  <a:pt x="638" y="133"/>
                  <a:pt x="638" y="125"/>
                  <a:pt x="634" y="120"/>
                </a:cubicBezTo>
                <a:close/>
              </a:path>
            </a:pathLst>
          </a:custGeom>
          <a:solidFill>
            <a:srgbClr val="78D2D2"/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9" name="Freeform 8"/>
          <p:cNvSpPr>
            <a:spLocks/>
          </p:cNvSpPr>
          <p:nvPr/>
        </p:nvSpPr>
        <p:spPr bwMode="auto">
          <a:xfrm>
            <a:off x="1588773" y="4547160"/>
            <a:ext cx="2600282" cy="859033"/>
          </a:xfrm>
          <a:custGeom>
            <a:avLst/>
            <a:gdLst>
              <a:gd name="T0" fmla="*/ 634 w 638"/>
              <a:gd name="T1" fmla="*/ 120 h 259"/>
              <a:gd name="T2" fmla="*/ 592 w 638"/>
              <a:gd name="T3" fmla="*/ 74 h 259"/>
              <a:gd name="T4" fmla="*/ 584 w 638"/>
              <a:gd name="T5" fmla="*/ 65 h 259"/>
              <a:gd name="T6" fmla="*/ 555 w 638"/>
              <a:gd name="T7" fmla="*/ 33 h 259"/>
              <a:gd name="T8" fmla="*/ 534 w 638"/>
              <a:gd name="T9" fmla="*/ 9 h 259"/>
              <a:gd name="T10" fmla="*/ 534 w 638"/>
              <a:gd name="T11" fmla="*/ 9 h 259"/>
              <a:gd name="T12" fmla="*/ 525 w 638"/>
              <a:gd name="T13" fmla="*/ 0 h 259"/>
              <a:gd name="T14" fmla="*/ 0 w 638"/>
              <a:gd name="T15" fmla="*/ 0 h 259"/>
              <a:gd name="T16" fmla="*/ 0 w 638"/>
              <a:gd name="T17" fmla="*/ 259 h 259"/>
              <a:gd name="T18" fmla="*/ 525 w 638"/>
              <a:gd name="T19" fmla="*/ 259 h 259"/>
              <a:gd name="T20" fmla="*/ 534 w 638"/>
              <a:gd name="T21" fmla="*/ 250 h 259"/>
              <a:gd name="T22" fmla="*/ 534 w 638"/>
              <a:gd name="T23" fmla="*/ 250 h 259"/>
              <a:gd name="T24" fmla="*/ 555 w 638"/>
              <a:gd name="T25" fmla="*/ 226 h 259"/>
              <a:gd name="T26" fmla="*/ 584 w 638"/>
              <a:gd name="T27" fmla="*/ 194 h 259"/>
              <a:gd name="T28" fmla="*/ 592 w 638"/>
              <a:gd name="T29" fmla="*/ 185 h 259"/>
              <a:gd name="T30" fmla="*/ 634 w 638"/>
              <a:gd name="T31" fmla="*/ 139 h 259"/>
              <a:gd name="T32" fmla="*/ 634 w 638"/>
              <a:gd name="T33" fmla="*/ 120 h 2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638" h="259">
                <a:moveTo>
                  <a:pt x="634" y="120"/>
                </a:moveTo>
                <a:cubicBezTo>
                  <a:pt x="592" y="74"/>
                  <a:pt x="592" y="74"/>
                  <a:pt x="592" y="74"/>
                </a:cubicBezTo>
                <a:cubicBezTo>
                  <a:pt x="590" y="72"/>
                  <a:pt x="587" y="68"/>
                  <a:pt x="584" y="65"/>
                </a:cubicBezTo>
                <a:cubicBezTo>
                  <a:pt x="555" y="33"/>
                  <a:pt x="555" y="33"/>
                  <a:pt x="555" y="33"/>
                </a:cubicBezTo>
                <a:cubicBezTo>
                  <a:pt x="534" y="9"/>
                  <a:pt x="534" y="9"/>
                  <a:pt x="534" y="9"/>
                </a:cubicBezTo>
                <a:cubicBezTo>
                  <a:pt x="534" y="9"/>
                  <a:pt x="534" y="9"/>
                  <a:pt x="534" y="9"/>
                </a:cubicBezTo>
                <a:cubicBezTo>
                  <a:pt x="525" y="0"/>
                  <a:pt x="525" y="0"/>
                  <a:pt x="525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259"/>
                  <a:pt x="0" y="259"/>
                  <a:pt x="0" y="259"/>
                </a:cubicBezTo>
                <a:cubicBezTo>
                  <a:pt x="525" y="259"/>
                  <a:pt x="525" y="259"/>
                  <a:pt x="525" y="259"/>
                </a:cubicBezTo>
                <a:cubicBezTo>
                  <a:pt x="534" y="250"/>
                  <a:pt x="534" y="250"/>
                  <a:pt x="534" y="250"/>
                </a:cubicBezTo>
                <a:cubicBezTo>
                  <a:pt x="534" y="250"/>
                  <a:pt x="534" y="250"/>
                  <a:pt x="534" y="250"/>
                </a:cubicBezTo>
                <a:cubicBezTo>
                  <a:pt x="555" y="226"/>
                  <a:pt x="555" y="226"/>
                  <a:pt x="555" y="226"/>
                </a:cubicBezTo>
                <a:cubicBezTo>
                  <a:pt x="584" y="194"/>
                  <a:pt x="584" y="194"/>
                  <a:pt x="584" y="194"/>
                </a:cubicBezTo>
                <a:cubicBezTo>
                  <a:pt x="587" y="191"/>
                  <a:pt x="590" y="187"/>
                  <a:pt x="592" y="185"/>
                </a:cubicBezTo>
                <a:cubicBezTo>
                  <a:pt x="634" y="139"/>
                  <a:pt x="634" y="139"/>
                  <a:pt x="634" y="139"/>
                </a:cubicBezTo>
                <a:cubicBezTo>
                  <a:pt x="638" y="134"/>
                  <a:pt x="638" y="125"/>
                  <a:pt x="634" y="120"/>
                </a:cubicBezTo>
                <a:close/>
              </a:path>
            </a:pathLst>
          </a:custGeom>
          <a:solidFill>
            <a:srgbClr val="555353"/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2" name="Rectangle 9"/>
          <p:cNvSpPr>
            <a:spLocks noChangeArrowheads="1"/>
          </p:cNvSpPr>
          <p:nvPr/>
        </p:nvSpPr>
        <p:spPr bwMode="auto">
          <a:xfrm>
            <a:off x="0" y="525260"/>
            <a:ext cx="415288" cy="1584936"/>
          </a:xfrm>
          <a:prstGeom prst="rect">
            <a:avLst/>
          </a:prstGeom>
          <a:solidFill>
            <a:srgbClr val="E2583D"/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3" name="Rectangle 10"/>
          <p:cNvSpPr>
            <a:spLocks noChangeArrowheads="1"/>
          </p:cNvSpPr>
          <p:nvPr/>
        </p:nvSpPr>
        <p:spPr bwMode="auto">
          <a:xfrm>
            <a:off x="0" y="2110196"/>
            <a:ext cx="415288" cy="1580732"/>
          </a:xfrm>
          <a:prstGeom prst="rect">
            <a:avLst/>
          </a:prstGeom>
          <a:solidFill>
            <a:srgbClr val="AFABAB"/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4" name="Rectangle 11"/>
          <p:cNvSpPr>
            <a:spLocks noChangeArrowheads="1"/>
          </p:cNvSpPr>
          <p:nvPr/>
        </p:nvSpPr>
        <p:spPr bwMode="auto">
          <a:xfrm>
            <a:off x="0" y="3690929"/>
            <a:ext cx="415288" cy="1584936"/>
          </a:xfrm>
          <a:prstGeom prst="rect">
            <a:avLst/>
          </a:prstGeom>
          <a:solidFill>
            <a:srgbClr val="78D2D2"/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5" name="Rectangle 12"/>
          <p:cNvSpPr>
            <a:spLocks noChangeArrowheads="1"/>
          </p:cNvSpPr>
          <p:nvPr/>
        </p:nvSpPr>
        <p:spPr bwMode="auto">
          <a:xfrm>
            <a:off x="0" y="5275866"/>
            <a:ext cx="415288" cy="1582134"/>
          </a:xfrm>
          <a:prstGeom prst="rect">
            <a:avLst/>
          </a:prstGeom>
          <a:solidFill>
            <a:srgbClr val="555353"/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6" name="Freeform 13"/>
          <p:cNvSpPr>
            <a:spLocks/>
          </p:cNvSpPr>
          <p:nvPr/>
        </p:nvSpPr>
        <p:spPr bwMode="auto">
          <a:xfrm>
            <a:off x="415286" y="2110196"/>
            <a:ext cx="1173487" cy="1580732"/>
          </a:xfrm>
          <a:custGeom>
            <a:avLst/>
            <a:gdLst>
              <a:gd name="T0" fmla="*/ 681 w 681"/>
              <a:gd name="T1" fmla="*/ 1128 h 1128"/>
              <a:gd name="T2" fmla="*/ 0 w 681"/>
              <a:gd name="T3" fmla="*/ 1128 h 1128"/>
              <a:gd name="T4" fmla="*/ 0 w 681"/>
              <a:gd name="T5" fmla="*/ 0 h 1128"/>
              <a:gd name="T6" fmla="*/ 681 w 681"/>
              <a:gd name="T7" fmla="*/ 525 h 1128"/>
              <a:gd name="T8" fmla="*/ 681 w 681"/>
              <a:gd name="T9" fmla="*/ 1128 h 11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81" h="1128">
                <a:moveTo>
                  <a:pt x="681" y="1128"/>
                </a:moveTo>
                <a:lnTo>
                  <a:pt x="0" y="1128"/>
                </a:lnTo>
                <a:lnTo>
                  <a:pt x="0" y="0"/>
                </a:lnTo>
                <a:lnTo>
                  <a:pt x="681" y="525"/>
                </a:lnTo>
                <a:lnTo>
                  <a:pt x="681" y="1128"/>
                </a:lnTo>
                <a:close/>
              </a:path>
            </a:pathLst>
          </a:custGeom>
          <a:solidFill>
            <a:srgbClr val="767171"/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7" name="Freeform 14"/>
          <p:cNvSpPr>
            <a:spLocks/>
          </p:cNvSpPr>
          <p:nvPr/>
        </p:nvSpPr>
        <p:spPr bwMode="auto">
          <a:xfrm>
            <a:off x="415286" y="3690929"/>
            <a:ext cx="1173487" cy="1584936"/>
          </a:xfrm>
          <a:custGeom>
            <a:avLst/>
            <a:gdLst>
              <a:gd name="T0" fmla="*/ 681 w 681"/>
              <a:gd name="T1" fmla="*/ 611 h 1131"/>
              <a:gd name="T2" fmla="*/ 0 w 681"/>
              <a:gd name="T3" fmla="*/ 1131 h 1131"/>
              <a:gd name="T4" fmla="*/ 0 w 681"/>
              <a:gd name="T5" fmla="*/ 0 h 1131"/>
              <a:gd name="T6" fmla="*/ 681 w 681"/>
              <a:gd name="T7" fmla="*/ 0 h 1131"/>
              <a:gd name="T8" fmla="*/ 681 w 681"/>
              <a:gd name="T9" fmla="*/ 611 h 11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81" h="1131">
                <a:moveTo>
                  <a:pt x="681" y="611"/>
                </a:moveTo>
                <a:lnTo>
                  <a:pt x="0" y="1131"/>
                </a:lnTo>
                <a:lnTo>
                  <a:pt x="0" y="0"/>
                </a:lnTo>
                <a:lnTo>
                  <a:pt x="681" y="0"/>
                </a:lnTo>
                <a:lnTo>
                  <a:pt x="681" y="611"/>
                </a:lnTo>
                <a:close/>
              </a:path>
            </a:pathLst>
          </a:custGeom>
          <a:solidFill>
            <a:srgbClr val="4CC7C4"/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8" name="Freeform 15"/>
          <p:cNvSpPr>
            <a:spLocks/>
          </p:cNvSpPr>
          <p:nvPr/>
        </p:nvSpPr>
        <p:spPr bwMode="auto">
          <a:xfrm>
            <a:off x="415286" y="4547160"/>
            <a:ext cx="1173487" cy="2310840"/>
          </a:xfrm>
          <a:custGeom>
            <a:avLst/>
            <a:gdLst>
              <a:gd name="T0" fmla="*/ 681 w 681"/>
              <a:gd name="T1" fmla="*/ 613 h 1649"/>
              <a:gd name="T2" fmla="*/ 0 w 681"/>
              <a:gd name="T3" fmla="*/ 1649 h 1649"/>
              <a:gd name="T4" fmla="*/ 0 w 681"/>
              <a:gd name="T5" fmla="*/ 520 h 1649"/>
              <a:gd name="T6" fmla="*/ 681 w 681"/>
              <a:gd name="T7" fmla="*/ 0 h 1649"/>
              <a:gd name="T8" fmla="*/ 681 w 681"/>
              <a:gd name="T9" fmla="*/ 613 h 16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81" h="1649">
                <a:moveTo>
                  <a:pt x="681" y="613"/>
                </a:moveTo>
                <a:lnTo>
                  <a:pt x="0" y="1649"/>
                </a:lnTo>
                <a:lnTo>
                  <a:pt x="0" y="520"/>
                </a:lnTo>
                <a:lnTo>
                  <a:pt x="681" y="0"/>
                </a:lnTo>
                <a:lnTo>
                  <a:pt x="681" y="613"/>
                </a:lnTo>
                <a:close/>
              </a:path>
            </a:pathLst>
          </a:custGeom>
          <a:solidFill>
            <a:srgbClr val="252323"/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9" name="Freeform 16"/>
          <p:cNvSpPr>
            <a:spLocks/>
          </p:cNvSpPr>
          <p:nvPr/>
        </p:nvSpPr>
        <p:spPr bwMode="auto">
          <a:xfrm>
            <a:off x="415286" y="525260"/>
            <a:ext cx="1173487" cy="2320650"/>
          </a:xfrm>
          <a:custGeom>
            <a:avLst/>
            <a:gdLst>
              <a:gd name="T0" fmla="*/ 681 w 681"/>
              <a:gd name="T1" fmla="*/ 1656 h 1656"/>
              <a:gd name="T2" fmla="*/ 0 w 681"/>
              <a:gd name="T3" fmla="*/ 1135 h 1656"/>
              <a:gd name="T4" fmla="*/ 0 w 681"/>
              <a:gd name="T5" fmla="*/ 0 h 1656"/>
              <a:gd name="T6" fmla="*/ 681 w 681"/>
              <a:gd name="T7" fmla="*/ 1036 h 1656"/>
              <a:gd name="T8" fmla="*/ 681 w 681"/>
              <a:gd name="T9" fmla="*/ 1656 h 16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81" h="1656">
                <a:moveTo>
                  <a:pt x="681" y="1656"/>
                </a:moveTo>
                <a:lnTo>
                  <a:pt x="0" y="1135"/>
                </a:lnTo>
                <a:lnTo>
                  <a:pt x="0" y="0"/>
                </a:lnTo>
                <a:lnTo>
                  <a:pt x="681" y="1036"/>
                </a:lnTo>
                <a:lnTo>
                  <a:pt x="681" y="1656"/>
                </a:lnTo>
                <a:close/>
              </a:path>
            </a:pathLst>
          </a:custGeom>
          <a:solidFill>
            <a:srgbClr val="D63E20"/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0" name="Freeform 17"/>
          <p:cNvSpPr>
            <a:spLocks/>
          </p:cNvSpPr>
          <p:nvPr/>
        </p:nvSpPr>
        <p:spPr bwMode="auto">
          <a:xfrm>
            <a:off x="9302224" y="1977067"/>
            <a:ext cx="1304448" cy="859033"/>
          </a:xfrm>
          <a:custGeom>
            <a:avLst/>
            <a:gdLst>
              <a:gd name="T0" fmla="*/ 5 w 320"/>
              <a:gd name="T1" fmla="*/ 120 h 259"/>
              <a:gd name="T2" fmla="*/ 46 w 320"/>
              <a:gd name="T3" fmla="*/ 74 h 259"/>
              <a:gd name="T4" fmla="*/ 55 w 320"/>
              <a:gd name="T5" fmla="*/ 65 h 259"/>
              <a:gd name="T6" fmla="*/ 84 w 320"/>
              <a:gd name="T7" fmla="*/ 33 h 259"/>
              <a:gd name="T8" fmla="*/ 105 w 320"/>
              <a:gd name="T9" fmla="*/ 10 h 259"/>
              <a:gd name="T10" fmla="*/ 105 w 320"/>
              <a:gd name="T11" fmla="*/ 9 h 259"/>
              <a:gd name="T12" fmla="*/ 113 w 320"/>
              <a:gd name="T13" fmla="*/ 0 h 259"/>
              <a:gd name="T14" fmla="*/ 320 w 320"/>
              <a:gd name="T15" fmla="*/ 0 h 259"/>
              <a:gd name="T16" fmla="*/ 320 w 320"/>
              <a:gd name="T17" fmla="*/ 259 h 259"/>
              <a:gd name="T18" fmla="*/ 113 w 320"/>
              <a:gd name="T19" fmla="*/ 259 h 259"/>
              <a:gd name="T20" fmla="*/ 105 w 320"/>
              <a:gd name="T21" fmla="*/ 250 h 259"/>
              <a:gd name="T22" fmla="*/ 105 w 320"/>
              <a:gd name="T23" fmla="*/ 250 h 259"/>
              <a:gd name="T24" fmla="*/ 84 w 320"/>
              <a:gd name="T25" fmla="*/ 226 h 259"/>
              <a:gd name="T26" fmla="*/ 55 w 320"/>
              <a:gd name="T27" fmla="*/ 194 h 259"/>
              <a:gd name="T28" fmla="*/ 46 w 320"/>
              <a:gd name="T29" fmla="*/ 185 h 259"/>
              <a:gd name="T30" fmla="*/ 5 w 320"/>
              <a:gd name="T31" fmla="*/ 139 h 259"/>
              <a:gd name="T32" fmla="*/ 5 w 320"/>
              <a:gd name="T33" fmla="*/ 120 h 2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320" h="259">
                <a:moveTo>
                  <a:pt x="5" y="120"/>
                </a:moveTo>
                <a:cubicBezTo>
                  <a:pt x="46" y="74"/>
                  <a:pt x="46" y="74"/>
                  <a:pt x="46" y="74"/>
                </a:cubicBezTo>
                <a:cubicBezTo>
                  <a:pt x="49" y="72"/>
                  <a:pt x="52" y="68"/>
                  <a:pt x="55" y="65"/>
                </a:cubicBezTo>
                <a:cubicBezTo>
                  <a:pt x="84" y="33"/>
                  <a:pt x="84" y="33"/>
                  <a:pt x="84" y="33"/>
                </a:cubicBezTo>
                <a:cubicBezTo>
                  <a:pt x="105" y="10"/>
                  <a:pt x="105" y="10"/>
                  <a:pt x="105" y="10"/>
                </a:cubicBezTo>
                <a:cubicBezTo>
                  <a:pt x="105" y="9"/>
                  <a:pt x="105" y="9"/>
                  <a:pt x="105" y="9"/>
                </a:cubicBezTo>
                <a:cubicBezTo>
                  <a:pt x="113" y="0"/>
                  <a:pt x="113" y="0"/>
                  <a:pt x="113" y="0"/>
                </a:cubicBezTo>
                <a:cubicBezTo>
                  <a:pt x="320" y="0"/>
                  <a:pt x="320" y="0"/>
                  <a:pt x="320" y="0"/>
                </a:cubicBezTo>
                <a:cubicBezTo>
                  <a:pt x="320" y="259"/>
                  <a:pt x="320" y="259"/>
                  <a:pt x="320" y="259"/>
                </a:cubicBezTo>
                <a:cubicBezTo>
                  <a:pt x="113" y="259"/>
                  <a:pt x="113" y="259"/>
                  <a:pt x="113" y="259"/>
                </a:cubicBezTo>
                <a:cubicBezTo>
                  <a:pt x="105" y="250"/>
                  <a:pt x="105" y="250"/>
                  <a:pt x="105" y="250"/>
                </a:cubicBezTo>
                <a:cubicBezTo>
                  <a:pt x="105" y="250"/>
                  <a:pt x="105" y="250"/>
                  <a:pt x="105" y="250"/>
                </a:cubicBezTo>
                <a:cubicBezTo>
                  <a:pt x="84" y="226"/>
                  <a:pt x="84" y="226"/>
                  <a:pt x="84" y="226"/>
                </a:cubicBezTo>
                <a:cubicBezTo>
                  <a:pt x="55" y="194"/>
                  <a:pt x="55" y="194"/>
                  <a:pt x="55" y="194"/>
                </a:cubicBezTo>
                <a:cubicBezTo>
                  <a:pt x="52" y="191"/>
                  <a:pt x="49" y="187"/>
                  <a:pt x="46" y="185"/>
                </a:cubicBezTo>
                <a:cubicBezTo>
                  <a:pt x="5" y="139"/>
                  <a:pt x="5" y="139"/>
                  <a:pt x="5" y="139"/>
                </a:cubicBezTo>
                <a:cubicBezTo>
                  <a:pt x="0" y="134"/>
                  <a:pt x="0" y="125"/>
                  <a:pt x="5" y="120"/>
                </a:cubicBezTo>
                <a:close/>
              </a:path>
            </a:pathLst>
          </a:custGeom>
          <a:solidFill>
            <a:srgbClr val="E2583D"/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1" name="Freeform 18"/>
          <p:cNvSpPr>
            <a:spLocks/>
          </p:cNvSpPr>
          <p:nvPr/>
        </p:nvSpPr>
        <p:spPr bwMode="auto">
          <a:xfrm>
            <a:off x="9302224" y="2836100"/>
            <a:ext cx="1304448" cy="854829"/>
          </a:xfrm>
          <a:custGeom>
            <a:avLst/>
            <a:gdLst>
              <a:gd name="T0" fmla="*/ 5 w 320"/>
              <a:gd name="T1" fmla="*/ 120 h 258"/>
              <a:gd name="T2" fmla="*/ 46 w 320"/>
              <a:gd name="T3" fmla="*/ 73 h 258"/>
              <a:gd name="T4" fmla="*/ 55 w 320"/>
              <a:gd name="T5" fmla="*/ 64 h 258"/>
              <a:gd name="T6" fmla="*/ 84 w 320"/>
              <a:gd name="T7" fmla="*/ 32 h 258"/>
              <a:gd name="T8" fmla="*/ 105 w 320"/>
              <a:gd name="T9" fmla="*/ 9 h 258"/>
              <a:gd name="T10" fmla="*/ 105 w 320"/>
              <a:gd name="T11" fmla="*/ 9 h 258"/>
              <a:gd name="T12" fmla="*/ 113 w 320"/>
              <a:gd name="T13" fmla="*/ 0 h 258"/>
              <a:gd name="T14" fmla="*/ 320 w 320"/>
              <a:gd name="T15" fmla="*/ 0 h 258"/>
              <a:gd name="T16" fmla="*/ 320 w 320"/>
              <a:gd name="T17" fmla="*/ 258 h 258"/>
              <a:gd name="T18" fmla="*/ 113 w 320"/>
              <a:gd name="T19" fmla="*/ 258 h 258"/>
              <a:gd name="T20" fmla="*/ 105 w 320"/>
              <a:gd name="T21" fmla="*/ 249 h 258"/>
              <a:gd name="T22" fmla="*/ 105 w 320"/>
              <a:gd name="T23" fmla="*/ 249 h 258"/>
              <a:gd name="T24" fmla="*/ 84 w 320"/>
              <a:gd name="T25" fmla="*/ 226 h 258"/>
              <a:gd name="T26" fmla="*/ 55 w 320"/>
              <a:gd name="T27" fmla="*/ 193 h 258"/>
              <a:gd name="T28" fmla="*/ 46 w 320"/>
              <a:gd name="T29" fmla="*/ 184 h 258"/>
              <a:gd name="T30" fmla="*/ 5 w 320"/>
              <a:gd name="T31" fmla="*/ 138 h 258"/>
              <a:gd name="T32" fmla="*/ 5 w 320"/>
              <a:gd name="T33" fmla="*/ 120 h 2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320" h="258">
                <a:moveTo>
                  <a:pt x="5" y="120"/>
                </a:moveTo>
                <a:cubicBezTo>
                  <a:pt x="46" y="73"/>
                  <a:pt x="46" y="73"/>
                  <a:pt x="46" y="73"/>
                </a:cubicBezTo>
                <a:cubicBezTo>
                  <a:pt x="49" y="71"/>
                  <a:pt x="52" y="68"/>
                  <a:pt x="55" y="64"/>
                </a:cubicBezTo>
                <a:cubicBezTo>
                  <a:pt x="84" y="32"/>
                  <a:pt x="84" y="32"/>
                  <a:pt x="84" y="32"/>
                </a:cubicBezTo>
                <a:cubicBezTo>
                  <a:pt x="105" y="9"/>
                  <a:pt x="105" y="9"/>
                  <a:pt x="105" y="9"/>
                </a:cubicBezTo>
                <a:cubicBezTo>
                  <a:pt x="105" y="9"/>
                  <a:pt x="105" y="9"/>
                  <a:pt x="105" y="9"/>
                </a:cubicBezTo>
                <a:cubicBezTo>
                  <a:pt x="113" y="0"/>
                  <a:pt x="113" y="0"/>
                  <a:pt x="113" y="0"/>
                </a:cubicBezTo>
                <a:cubicBezTo>
                  <a:pt x="320" y="0"/>
                  <a:pt x="320" y="0"/>
                  <a:pt x="320" y="0"/>
                </a:cubicBezTo>
                <a:cubicBezTo>
                  <a:pt x="320" y="258"/>
                  <a:pt x="320" y="258"/>
                  <a:pt x="320" y="258"/>
                </a:cubicBezTo>
                <a:cubicBezTo>
                  <a:pt x="113" y="258"/>
                  <a:pt x="113" y="258"/>
                  <a:pt x="113" y="258"/>
                </a:cubicBezTo>
                <a:cubicBezTo>
                  <a:pt x="105" y="249"/>
                  <a:pt x="105" y="249"/>
                  <a:pt x="105" y="249"/>
                </a:cubicBezTo>
                <a:cubicBezTo>
                  <a:pt x="105" y="249"/>
                  <a:pt x="105" y="249"/>
                  <a:pt x="105" y="249"/>
                </a:cubicBezTo>
                <a:cubicBezTo>
                  <a:pt x="84" y="226"/>
                  <a:pt x="84" y="226"/>
                  <a:pt x="84" y="226"/>
                </a:cubicBezTo>
                <a:cubicBezTo>
                  <a:pt x="55" y="193"/>
                  <a:pt x="55" y="193"/>
                  <a:pt x="55" y="193"/>
                </a:cubicBezTo>
                <a:cubicBezTo>
                  <a:pt x="52" y="190"/>
                  <a:pt x="49" y="187"/>
                  <a:pt x="46" y="184"/>
                </a:cubicBezTo>
                <a:cubicBezTo>
                  <a:pt x="5" y="138"/>
                  <a:pt x="5" y="138"/>
                  <a:pt x="5" y="138"/>
                </a:cubicBezTo>
                <a:cubicBezTo>
                  <a:pt x="0" y="133"/>
                  <a:pt x="0" y="125"/>
                  <a:pt x="5" y="120"/>
                </a:cubicBezTo>
                <a:close/>
              </a:path>
            </a:pathLst>
          </a:custGeom>
          <a:solidFill>
            <a:srgbClr val="AFABAB"/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2" name="Freeform 19"/>
          <p:cNvSpPr>
            <a:spLocks/>
          </p:cNvSpPr>
          <p:nvPr/>
        </p:nvSpPr>
        <p:spPr bwMode="auto">
          <a:xfrm>
            <a:off x="9302224" y="3690929"/>
            <a:ext cx="1304448" cy="856230"/>
          </a:xfrm>
          <a:custGeom>
            <a:avLst/>
            <a:gdLst>
              <a:gd name="T0" fmla="*/ 5 w 320"/>
              <a:gd name="T1" fmla="*/ 120 h 258"/>
              <a:gd name="T2" fmla="*/ 46 w 320"/>
              <a:gd name="T3" fmla="*/ 74 h 258"/>
              <a:gd name="T4" fmla="*/ 55 w 320"/>
              <a:gd name="T5" fmla="*/ 65 h 258"/>
              <a:gd name="T6" fmla="*/ 84 w 320"/>
              <a:gd name="T7" fmla="*/ 32 h 258"/>
              <a:gd name="T8" fmla="*/ 105 w 320"/>
              <a:gd name="T9" fmla="*/ 9 h 258"/>
              <a:gd name="T10" fmla="*/ 105 w 320"/>
              <a:gd name="T11" fmla="*/ 9 h 258"/>
              <a:gd name="T12" fmla="*/ 113 w 320"/>
              <a:gd name="T13" fmla="*/ 0 h 258"/>
              <a:gd name="T14" fmla="*/ 320 w 320"/>
              <a:gd name="T15" fmla="*/ 0 h 258"/>
              <a:gd name="T16" fmla="*/ 320 w 320"/>
              <a:gd name="T17" fmla="*/ 258 h 258"/>
              <a:gd name="T18" fmla="*/ 113 w 320"/>
              <a:gd name="T19" fmla="*/ 258 h 258"/>
              <a:gd name="T20" fmla="*/ 105 w 320"/>
              <a:gd name="T21" fmla="*/ 249 h 258"/>
              <a:gd name="T22" fmla="*/ 105 w 320"/>
              <a:gd name="T23" fmla="*/ 249 h 258"/>
              <a:gd name="T24" fmla="*/ 84 w 320"/>
              <a:gd name="T25" fmla="*/ 226 h 258"/>
              <a:gd name="T26" fmla="*/ 55 w 320"/>
              <a:gd name="T27" fmla="*/ 194 h 258"/>
              <a:gd name="T28" fmla="*/ 46 w 320"/>
              <a:gd name="T29" fmla="*/ 185 h 258"/>
              <a:gd name="T30" fmla="*/ 5 w 320"/>
              <a:gd name="T31" fmla="*/ 138 h 258"/>
              <a:gd name="T32" fmla="*/ 5 w 320"/>
              <a:gd name="T33" fmla="*/ 120 h 2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320" h="258">
                <a:moveTo>
                  <a:pt x="5" y="120"/>
                </a:moveTo>
                <a:cubicBezTo>
                  <a:pt x="46" y="74"/>
                  <a:pt x="46" y="74"/>
                  <a:pt x="46" y="74"/>
                </a:cubicBezTo>
                <a:cubicBezTo>
                  <a:pt x="49" y="71"/>
                  <a:pt x="52" y="68"/>
                  <a:pt x="55" y="65"/>
                </a:cubicBezTo>
                <a:cubicBezTo>
                  <a:pt x="84" y="32"/>
                  <a:pt x="84" y="32"/>
                  <a:pt x="84" y="32"/>
                </a:cubicBezTo>
                <a:cubicBezTo>
                  <a:pt x="105" y="9"/>
                  <a:pt x="105" y="9"/>
                  <a:pt x="105" y="9"/>
                </a:cubicBezTo>
                <a:cubicBezTo>
                  <a:pt x="105" y="9"/>
                  <a:pt x="105" y="9"/>
                  <a:pt x="105" y="9"/>
                </a:cubicBezTo>
                <a:cubicBezTo>
                  <a:pt x="113" y="0"/>
                  <a:pt x="113" y="0"/>
                  <a:pt x="113" y="0"/>
                </a:cubicBezTo>
                <a:cubicBezTo>
                  <a:pt x="320" y="0"/>
                  <a:pt x="320" y="0"/>
                  <a:pt x="320" y="0"/>
                </a:cubicBezTo>
                <a:cubicBezTo>
                  <a:pt x="320" y="258"/>
                  <a:pt x="320" y="258"/>
                  <a:pt x="320" y="258"/>
                </a:cubicBezTo>
                <a:cubicBezTo>
                  <a:pt x="113" y="258"/>
                  <a:pt x="113" y="258"/>
                  <a:pt x="113" y="258"/>
                </a:cubicBezTo>
                <a:cubicBezTo>
                  <a:pt x="105" y="249"/>
                  <a:pt x="105" y="249"/>
                  <a:pt x="105" y="249"/>
                </a:cubicBezTo>
                <a:cubicBezTo>
                  <a:pt x="105" y="249"/>
                  <a:pt x="105" y="249"/>
                  <a:pt x="105" y="249"/>
                </a:cubicBezTo>
                <a:cubicBezTo>
                  <a:pt x="84" y="226"/>
                  <a:pt x="84" y="226"/>
                  <a:pt x="84" y="226"/>
                </a:cubicBezTo>
                <a:cubicBezTo>
                  <a:pt x="55" y="194"/>
                  <a:pt x="55" y="194"/>
                  <a:pt x="55" y="194"/>
                </a:cubicBezTo>
                <a:cubicBezTo>
                  <a:pt x="52" y="190"/>
                  <a:pt x="49" y="187"/>
                  <a:pt x="46" y="185"/>
                </a:cubicBezTo>
                <a:cubicBezTo>
                  <a:pt x="5" y="138"/>
                  <a:pt x="5" y="138"/>
                  <a:pt x="5" y="138"/>
                </a:cubicBezTo>
                <a:cubicBezTo>
                  <a:pt x="0" y="133"/>
                  <a:pt x="0" y="125"/>
                  <a:pt x="5" y="120"/>
                </a:cubicBezTo>
                <a:close/>
              </a:path>
            </a:pathLst>
          </a:custGeom>
          <a:solidFill>
            <a:srgbClr val="78D2D2"/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3" name="Freeform 20"/>
          <p:cNvSpPr>
            <a:spLocks/>
          </p:cNvSpPr>
          <p:nvPr/>
        </p:nvSpPr>
        <p:spPr bwMode="auto">
          <a:xfrm>
            <a:off x="9302224" y="4547160"/>
            <a:ext cx="1304448" cy="859033"/>
          </a:xfrm>
          <a:custGeom>
            <a:avLst/>
            <a:gdLst>
              <a:gd name="T0" fmla="*/ 5 w 320"/>
              <a:gd name="T1" fmla="*/ 120 h 259"/>
              <a:gd name="T2" fmla="*/ 46 w 320"/>
              <a:gd name="T3" fmla="*/ 74 h 259"/>
              <a:gd name="T4" fmla="*/ 55 w 320"/>
              <a:gd name="T5" fmla="*/ 65 h 259"/>
              <a:gd name="T6" fmla="*/ 84 w 320"/>
              <a:gd name="T7" fmla="*/ 33 h 259"/>
              <a:gd name="T8" fmla="*/ 105 w 320"/>
              <a:gd name="T9" fmla="*/ 9 h 259"/>
              <a:gd name="T10" fmla="*/ 105 w 320"/>
              <a:gd name="T11" fmla="*/ 9 h 259"/>
              <a:gd name="T12" fmla="*/ 113 w 320"/>
              <a:gd name="T13" fmla="*/ 0 h 259"/>
              <a:gd name="T14" fmla="*/ 320 w 320"/>
              <a:gd name="T15" fmla="*/ 0 h 259"/>
              <a:gd name="T16" fmla="*/ 320 w 320"/>
              <a:gd name="T17" fmla="*/ 259 h 259"/>
              <a:gd name="T18" fmla="*/ 113 w 320"/>
              <a:gd name="T19" fmla="*/ 259 h 259"/>
              <a:gd name="T20" fmla="*/ 105 w 320"/>
              <a:gd name="T21" fmla="*/ 250 h 259"/>
              <a:gd name="T22" fmla="*/ 105 w 320"/>
              <a:gd name="T23" fmla="*/ 250 h 259"/>
              <a:gd name="T24" fmla="*/ 84 w 320"/>
              <a:gd name="T25" fmla="*/ 226 h 259"/>
              <a:gd name="T26" fmla="*/ 55 w 320"/>
              <a:gd name="T27" fmla="*/ 194 h 259"/>
              <a:gd name="T28" fmla="*/ 46 w 320"/>
              <a:gd name="T29" fmla="*/ 185 h 259"/>
              <a:gd name="T30" fmla="*/ 5 w 320"/>
              <a:gd name="T31" fmla="*/ 139 h 259"/>
              <a:gd name="T32" fmla="*/ 5 w 320"/>
              <a:gd name="T33" fmla="*/ 120 h 2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320" h="259">
                <a:moveTo>
                  <a:pt x="5" y="120"/>
                </a:moveTo>
                <a:cubicBezTo>
                  <a:pt x="46" y="74"/>
                  <a:pt x="46" y="74"/>
                  <a:pt x="46" y="74"/>
                </a:cubicBezTo>
                <a:cubicBezTo>
                  <a:pt x="49" y="72"/>
                  <a:pt x="52" y="68"/>
                  <a:pt x="55" y="65"/>
                </a:cubicBezTo>
                <a:cubicBezTo>
                  <a:pt x="84" y="33"/>
                  <a:pt x="84" y="33"/>
                  <a:pt x="84" y="33"/>
                </a:cubicBezTo>
                <a:cubicBezTo>
                  <a:pt x="105" y="9"/>
                  <a:pt x="105" y="9"/>
                  <a:pt x="105" y="9"/>
                </a:cubicBezTo>
                <a:cubicBezTo>
                  <a:pt x="105" y="9"/>
                  <a:pt x="105" y="9"/>
                  <a:pt x="105" y="9"/>
                </a:cubicBezTo>
                <a:cubicBezTo>
                  <a:pt x="113" y="0"/>
                  <a:pt x="113" y="0"/>
                  <a:pt x="113" y="0"/>
                </a:cubicBezTo>
                <a:cubicBezTo>
                  <a:pt x="320" y="0"/>
                  <a:pt x="320" y="0"/>
                  <a:pt x="320" y="0"/>
                </a:cubicBezTo>
                <a:cubicBezTo>
                  <a:pt x="320" y="259"/>
                  <a:pt x="320" y="259"/>
                  <a:pt x="320" y="259"/>
                </a:cubicBezTo>
                <a:cubicBezTo>
                  <a:pt x="113" y="259"/>
                  <a:pt x="113" y="259"/>
                  <a:pt x="113" y="259"/>
                </a:cubicBezTo>
                <a:cubicBezTo>
                  <a:pt x="105" y="250"/>
                  <a:pt x="105" y="250"/>
                  <a:pt x="105" y="250"/>
                </a:cubicBezTo>
                <a:cubicBezTo>
                  <a:pt x="105" y="250"/>
                  <a:pt x="105" y="250"/>
                  <a:pt x="105" y="250"/>
                </a:cubicBezTo>
                <a:cubicBezTo>
                  <a:pt x="84" y="226"/>
                  <a:pt x="84" y="226"/>
                  <a:pt x="84" y="226"/>
                </a:cubicBezTo>
                <a:cubicBezTo>
                  <a:pt x="55" y="194"/>
                  <a:pt x="55" y="194"/>
                  <a:pt x="55" y="194"/>
                </a:cubicBezTo>
                <a:cubicBezTo>
                  <a:pt x="52" y="191"/>
                  <a:pt x="49" y="187"/>
                  <a:pt x="46" y="185"/>
                </a:cubicBezTo>
                <a:cubicBezTo>
                  <a:pt x="5" y="139"/>
                  <a:pt x="5" y="139"/>
                  <a:pt x="5" y="139"/>
                </a:cubicBezTo>
                <a:cubicBezTo>
                  <a:pt x="0" y="134"/>
                  <a:pt x="0" y="125"/>
                  <a:pt x="5" y="120"/>
                </a:cubicBezTo>
                <a:close/>
              </a:path>
            </a:pathLst>
          </a:custGeom>
          <a:solidFill>
            <a:srgbClr val="555353"/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4" name="Rectangle 21"/>
          <p:cNvSpPr>
            <a:spLocks noChangeArrowheads="1"/>
          </p:cNvSpPr>
          <p:nvPr/>
        </p:nvSpPr>
        <p:spPr bwMode="auto">
          <a:xfrm>
            <a:off x="11780160" y="525260"/>
            <a:ext cx="411840" cy="1584936"/>
          </a:xfrm>
          <a:prstGeom prst="rect">
            <a:avLst/>
          </a:prstGeom>
          <a:solidFill>
            <a:srgbClr val="E2583D"/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5" name="Rectangle 22"/>
          <p:cNvSpPr>
            <a:spLocks noChangeArrowheads="1"/>
          </p:cNvSpPr>
          <p:nvPr/>
        </p:nvSpPr>
        <p:spPr bwMode="auto">
          <a:xfrm>
            <a:off x="11780160" y="2110196"/>
            <a:ext cx="411840" cy="1580732"/>
          </a:xfrm>
          <a:prstGeom prst="rect">
            <a:avLst/>
          </a:prstGeom>
          <a:solidFill>
            <a:srgbClr val="AFABAB"/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6" name="Rectangle 23"/>
          <p:cNvSpPr>
            <a:spLocks noChangeArrowheads="1"/>
          </p:cNvSpPr>
          <p:nvPr/>
        </p:nvSpPr>
        <p:spPr bwMode="auto">
          <a:xfrm>
            <a:off x="11780160" y="3690929"/>
            <a:ext cx="411840" cy="1584936"/>
          </a:xfrm>
          <a:prstGeom prst="rect">
            <a:avLst/>
          </a:prstGeom>
          <a:solidFill>
            <a:srgbClr val="78D2D2"/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7" name="Rectangle 24"/>
          <p:cNvSpPr>
            <a:spLocks noChangeArrowheads="1"/>
          </p:cNvSpPr>
          <p:nvPr/>
        </p:nvSpPr>
        <p:spPr bwMode="auto">
          <a:xfrm>
            <a:off x="11780160" y="5275866"/>
            <a:ext cx="411840" cy="1582134"/>
          </a:xfrm>
          <a:prstGeom prst="rect">
            <a:avLst/>
          </a:prstGeom>
          <a:solidFill>
            <a:srgbClr val="555353"/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8" name="Freeform 25"/>
          <p:cNvSpPr>
            <a:spLocks/>
          </p:cNvSpPr>
          <p:nvPr/>
        </p:nvSpPr>
        <p:spPr bwMode="auto">
          <a:xfrm>
            <a:off x="10606673" y="2110196"/>
            <a:ext cx="1173487" cy="1580732"/>
          </a:xfrm>
          <a:custGeom>
            <a:avLst/>
            <a:gdLst>
              <a:gd name="T0" fmla="*/ 0 w 681"/>
              <a:gd name="T1" fmla="*/ 1128 h 1128"/>
              <a:gd name="T2" fmla="*/ 681 w 681"/>
              <a:gd name="T3" fmla="*/ 1128 h 1128"/>
              <a:gd name="T4" fmla="*/ 681 w 681"/>
              <a:gd name="T5" fmla="*/ 0 h 1128"/>
              <a:gd name="T6" fmla="*/ 0 w 681"/>
              <a:gd name="T7" fmla="*/ 525 h 1128"/>
              <a:gd name="T8" fmla="*/ 0 w 681"/>
              <a:gd name="T9" fmla="*/ 1128 h 11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81" h="1128">
                <a:moveTo>
                  <a:pt x="0" y="1128"/>
                </a:moveTo>
                <a:lnTo>
                  <a:pt x="681" y="1128"/>
                </a:lnTo>
                <a:lnTo>
                  <a:pt x="681" y="0"/>
                </a:lnTo>
                <a:lnTo>
                  <a:pt x="0" y="525"/>
                </a:lnTo>
                <a:lnTo>
                  <a:pt x="0" y="1128"/>
                </a:lnTo>
                <a:close/>
              </a:path>
            </a:pathLst>
          </a:custGeom>
          <a:solidFill>
            <a:srgbClr val="767171"/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9" name="Freeform 26"/>
          <p:cNvSpPr>
            <a:spLocks/>
          </p:cNvSpPr>
          <p:nvPr/>
        </p:nvSpPr>
        <p:spPr bwMode="auto">
          <a:xfrm>
            <a:off x="10606673" y="3690929"/>
            <a:ext cx="1173487" cy="1584936"/>
          </a:xfrm>
          <a:custGeom>
            <a:avLst/>
            <a:gdLst>
              <a:gd name="T0" fmla="*/ 0 w 681"/>
              <a:gd name="T1" fmla="*/ 611 h 1131"/>
              <a:gd name="T2" fmla="*/ 681 w 681"/>
              <a:gd name="T3" fmla="*/ 1131 h 1131"/>
              <a:gd name="T4" fmla="*/ 681 w 681"/>
              <a:gd name="T5" fmla="*/ 0 h 1131"/>
              <a:gd name="T6" fmla="*/ 0 w 681"/>
              <a:gd name="T7" fmla="*/ 0 h 1131"/>
              <a:gd name="T8" fmla="*/ 0 w 681"/>
              <a:gd name="T9" fmla="*/ 611 h 11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81" h="1131">
                <a:moveTo>
                  <a:pt x="0" y="611"/>
                </a:moveTo>
                <a:lnTo>
                  <a:pt x="681" y="1131"/>
                </a:lnTo>
                <a:lnTo>
                  <a:pt x="681" y="0"/>
                </a:lnTo>
                <a:lnTo>
                  <a:pt x="0" y="0"/>
                </a:lnTo>
                <a:lnTo>
                  <a:pt x="0" y="611"/>
                </a:lnTo>
                <a:close/>
              </a:path>
            </a:pathLst>
          </a:custGeom>
          <a:solidFill>
            <a:srgbClr val="4CC7C4"/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0" name="Freeform 27"/>
          <p:cNvSpPr>
            <a:spLocks/>
          </p:cNvSpPr>
          <p:nvPr/>
        </p:nvSpPr>
        <p:spPr bwMode="auto">
          <a:xfrm>
            <a:off x="10606673" y="4547160"/>
            <a:ext cx="1173487" cy="2310840"/>
          </a:xfrm>
          <a:custGeom>
            <a:avLst/>
            <a:gdLst>
              <a:gd name="T0" fmla="*/ 0 w 681"/>
              <a:gd name="T1" fmla="*/ 613 h 1649"/>
              <a:gd name="T2" fmla="*/ 681 w 681"/>
              <a:gd name="T3" fmla="*/ 1649 h 1649"/>
              <a:gd name="T4" fmla="*/ 681 w 681"/>
              <a:gd name="T5" fmla="*/ 520 h 1649"/>
              <a:gd name="T6" fmla="*/ 0 w 681"/>
              <a:gd name="T7" fmla="*/ 0 h 1649"/>
              <a:gd name="T8" fmla="*/ 0 w 681"/>
              <a:gd name="T9" fmla="*/ 613 h 16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81" h="1649">
                <a:moveTo>
                  <a:pt x="0" y="613"/>
                </a:moveTo>
                <a:lnTo>
                  <a:pt x="681" y="1649"/>
                </a:lnTo>
                <a:lnTo>
                  <a:pt x="681" y="520"/>
                </a:lnTo>
                <a:lnTo>
                  <a:pt x="0" y="0"/>
                </a:lnTo>
                <a:lnTo>
                  <a:pt x="0" y="613"/>
                </a:lnTo>
                <a:close/>
              </a:path>
            </a:pathLst>
          </a:custGeom>
          <a:solidFill>
            <a:srgbClr val="252323"/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1" name="Freeform 28"/>
          <p:cNvSpPr>
            <a:spLocks/>
          </p:cNvSpPr>
          <p:nvPr/>
        </p:nvSpPr>
        <p:spPr bwMode="auto">
          <a:xfrm>
            <a:off x="10606673" y="525260"/>
            <a:ext cx="1173487" cy="2320650"/>
          </a:xfrm>
          <a:custGeom>
            <a:avLst/>
            <a:gdLst>
              <a:gd name="T0" fmla="*/ 0 w 681"/>
              <a:gd name="T1" fmla="*/ 1656 h 1656"/>
              <a:gd name="T2" fmla="*/ 681 w 681"/>
              <a:gd name="T3" fmla="*/ 1135 h 1656"/>
              <a:gd name="T4" fmla="*/ 681 w 681"/>
              <a:gd name="T5" fmla="*/ 0 h 1656"/>
              <a:gd name="T6" fmla="*/ 0 w 681"/>
              <a:gd name="T7" fmla="*/ 1036 h 1656"/>
              <a:gd name="T8" fmla="*/ 0 w 681"/>
              <a:gd name="T9" fmla="*/ 1656 h 16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81" h="1656">
                <a:moveTo>
                  <a:pt x="0" y="1656"/>
                </a:moveTo>
                <a:lnTo>
                  <a:pt x="681" y="1135"/>
                </a:lnTo>
                <a:lnTo>
                  <a:pt x="681" y="0"/>
                </a:lnTo>
                <a:lnTo>
                  <a:pt x="0" y="1036"/>
                </a:lnTo>
                <a:lnTo>
                  <a:pt x="0" y="1656"/>
                </a:lnTo>
                <a:close/>
              </a:path>
            </a:pathLst>
          </a:custGeom>
          <a:solidFill>
            <a:srgbClr val="D63E20"/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42" name="Group 141"/>
          <p:cNvGrpSpPr>
            <a:grpSpLocks noChangeAspect="1"/>
          </p:cNvGrpSpPr>
          <p:nvPr/>
        </p:nvGrpSpPr>
        <p:grpSpPr>
          <a:xfrm>
            <a:off x="2122133" y="2942177"/>
            <a:ext cx="394491" cy="384376"/>
            <a:chOff x="1973263" y="-365125"/>
            <a:chExt cx="371475" cy="361950"/>
          </a:xfrm>
          <a:solidFill>
            <a:schemeClr val="bg1"/>
          </a:solidFill>
        </p:grpSpPr>
        <p:sp>
          <p:nvSpPr>
            <p:cNvPr id="143" name="Freeform 14"/>
            <p:cNvSpPr>
              <a:spLocks/>
            </p:cNvSpPr>
            <p:nvPr/>
          </p:nvSpPr>
          <p:spPr bwMode="auto">
            <a:xfrm>
              <a:off x="1973263" y="-365125"/>
              <a:ext cx="279400" cy="254000"/>
            </a:xfrm>
            <a:custGeom>
              <a:avLst/>
              <a:gdLst>
                <a:gd name="T0" fmla="*/ 4 w 72"/>
                <a:gd name="T1" fmla="*/ 66 h 66"/>
                <a:gd name="T2" fmla="*/ 2 w 72"/>
                <a:gd name="T3" fmla="*/ 65 h 66"/>
                <a:gd name="T4" fmla="*/ 2 w 72"/>
                <a:gd name="T5" fmla="*/ 63 h 66"/>
                <a:gd name="T6" fmla="*/ 9 w 72"/>
                <a:gd name="T7" fmla="*/ 50 h 66"/>
                <a:gd name="T8" fmla="*/ 0 w 72"/>
                <a:gd name="T9" fmla="*/ 30 h 66"/>
                <a:gd name="T10" fmla="*/ 36 w 72"/>
                <a:gd name="T11" fmla="*/ 0 h 66"/>
                <a:gd name="T12" fmla="*/ 72 w 72"/>
                <a:gd name="T13" fmla="*/ 30 h 66"/>
                <a:gd name="T14" fmla="*/ 70 w 72"/>
                <a:gd name="T15" fmla="*/ 32 h 66"/>
                <a:gd name="T16" fmla="*/ 68 w 72"/>
                <a:gd name="T17" fmla="*/ 30 h 66"/>
                <a:gd name="T18" fmla="*/ 36 w 72"/>
                <a:gd name="T19" fmla="*/ 4 h 66"/>
                <a:gd name="T20" fmla="*/ 4 w 72"/>
                <a:gd name="T21" fmla="*/ 30 h 66"/>
                <a:gd name="T22" fmla="*/ 13 w 72"/>
                <a:gd name="T23" fmla="*/ 48 h 66"/>
                <a:gd name="T24" fmla="*/ 14 w 72"/>
                <a:gd name="T25" fmla="*/ 51 h 66"/>
                <a:gd name="T26" fmla="*/ 9 w 72"/>
                <a:gd name="T27" fmla="*/ 60 h 66"/>
                <a:gd name="T28" fmla="*/ 23 w 72"/>
                <a:gd name="T29" fmla="*/ 54 h 66"/>
                <a:gd name="T30" fmla="*/ 25 w 72"/>
                <a:gd name="T31" fmla="*/ 54 h 66"/>
                <a:gd name="T32" fmla="*/ 30 w 72"/>
                <a:gd name="T33" fmla="*/ 55 h 66"/>
                <a:gd name="T34" fmla="*/ 32 w 72"/>
                <a:gd name="T35" fmla="*/ 58 h 66"/>
                <a:gd name="T36" fmla="*/ 29 w 72"/>
                <a:gd name="T37" fmla="*/ 59 h 66"/>
                <a:gd name="T38" fmla="*/ 24 w 72"/>
                <a:gd name="T39" fmla="*/ 58 h 66"/>
                <a:gd name="T40" fmla="*/ 5 w 72"/>
                <a:gd name="T41" fmla="*/ 66 h 66"/>
                <a:gd name="T42" fmla="*/ 4 w 72"/>
                <a:gd name="T4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2" h="66">
                  <a:moveTo>
                    <a:pt x="4" y="66"/>
                  </a:moveTo>
                  <a:cubicBezTo>
                    <a:pt x="3" y="66"/>
                    <a:pt x="3" y="66"/>
                    <a:pt x="2" y="65"/>
                  </a:cubicBezTo>
                  <a:cubicBezTo>
                    <a:pt x="2" y="65"/>
                    <a:pt x="2" y="64"/>
                    <a:pt x="2" y="63"/>
                  </a:cubicBezTo>
                  <a:cubicBezTo>
                    <a:pt x="9" y="50"/>
                    <a:pt x="9" y="50"/>
                    <a:pt x="9" y="50"/>
                  </a:cubicBezTo>
                  <a:cubicBezTo>
                    <a:pt x="3" y="45"/>
                    <a:pt x="0" y="38"/>
                    <a:pt x="0" y="30"/>
                  </a:cubicBezTo>
                  <a:cubicBezTo>
                    <a:pt x="0" y="13"/>
                    <a:pt x="16" y="0"/>
                    <a:pt x="36" y="0"/>
                  </a:cubicBezTo>
                  <a:cubicBezTo>
                    <a:pt x="56" y="0"/>
                    <a:pt x="72" y="13"/>
                    <a:pt x="72" y="30"/>
                  </a:cubicBezTo>
                  <a:cubicBezTo>
                    <a:pt x="72" y="31"/>
                    <a:pt x="71" y="32"/>
                    <a:pt x="70" y="32"/>
                  </a:cubicBezTo>
                  <a:cubicBezTo>
                    <a:pt x="69" y="32"/>
                    <a:pt x="68" y="31"/>
                    <a:pt x="68" y="30"/>
                  </a:cubicBezTo>
                  <a:cubicBezTo>
                    <a:pt x="68" y="16"/>
                    <a:pt x="54" y="4"/>
                    <a:pt x="36" y="4"/>
                  </a:cubicBezTo>
                  <a:cubicBezTo>
                    <a:pt x="18" y="4"/>
                    <a:pt x="4" y="16"/>
                    <a:pt x="4" y="30"/>
                  </a:cubicBezTo>
                  <a:cubicBezTo>
                    <a:pt x="4" y="37"/>
                    <a:pt x="7" y="44"/>
                    <a:pt x="13" y="48"/>
                  </a:cubicBezTo>
                  <a:cubicBezTo>
                    <a:pt x="14" y="49"/>
                    <a:pt x="14" y="50"/>
                    <a:pt x="14" y="51"/>
                  </a:cubicBezTo>
                  <a:cubicBezTo>
                    <a:pt x="9" y="60"/>
                    <a:pt x="9" y="60"/>
                    <a:pt x="9" y="60"/>
                  </a:cubicBezTo>
                  <a:cubicBezTo>
                    <a:pt x="23" y="54"/>
                    <a:pt x="23" y="54"/>
                    <a:pt x="23" y="54"/>
                  </a:cubicBezTo>
                  <a:cubicBezTo>
                    <a:pt x="24" y="54"/>
                    <a:pt x="24" y="54"/>
                    <a:pt x="25" y="54"/>
                  </a:cubicBezTo>
                  <a:cubicBezTo>
                    <a:pt x="26" y="55"/>
                    <a:pt x="28" y="55"/>
                    <a:pt x="30" y="55"/>
                  </a:cubicBezTo>
                  <a:cubicBezTo>
                    <a:pt x="31" y="55"/>
                    <a:pt x="32" y="56"/>
                    <a:pt x="32" y="58"/>
                  </a:cubicBezTo>
                  <a:cubicBezTo>
                    <a:pt x="32" y="59"/>
                    <a:pt x="31" y="59"/>
                    <a:pt x="29" y="59"/>
                  </a:cubicBezTo>
                  <a:cubicBezTo>
                    <a:pt x="28" y="59"/>
                    <a:pt x="26" y="59"/>
                    <a:pt x="24" y="58"/>
                  </a:cubicBezTo>
                  <a:cubicBezTo>
                    <a:pt x="5" y="66"/>
                    <a:pt x="5" y="66"/>
                    <a:pt x="5" y="66"/>
                  </a:cubicBezTo>
                  <a:cubicBezTo>
                    <a:pt x="5" y="66"/>
                    <a:pt x="4" y="66"/>
                    <a:pt x="4" y="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4" name="Freeform 15"/>
            <p:cNvSpPr>
              <a:spLocks noEditPoints="1"/>
            </p:cNvSpPr>
            <p:nvPr/>
          </p:nvSpPr>
          <p:spPr bwMode="auto">
            <a:xfrm>
              <a:off x="2112963" y="-219075"/>
              <a:ext cx="231775" cy="215900"/>
            </a:xfrm>
            <a:custGeom>
              <a:avLst/>
              <a:gdLst>
                <a:gd name="T0" fmla="*/ 56 w 60"/>
                <a:gd name="T1" fmla="*/ 56 h 56"/>
                <a:gd name="T2" fmla="*/ 55 w 60"/>
                <a:gd name="T3" fmla="*/ 56 h 56"/>
                <a:gd name="T4" fmla="*/ 40 w 60"/>
                <a:gd name="T5" fmla="*/ 50 h 56"/>
                <a:gd name="T6" fmla="*/ 29 w 60"/>
                <a:gd name="T7" fmla="*/ 52 h 56"/>
                <a:gd name="T8" fmla="*/ 29 w 60"/>
                <a:gd name="T9" fmla="*/ 52 h 56"/>
                <a:gd name="T10" fmla="*/ 0 w 60"/>
                <a:gd name="T11" fmla="*/ 26 h 56"/>
                <a:gd name="T12" fmla="*/ 30 w 60"/>
                <a:gd name="T13" fmla="*/ 0 h 56"/>
                <a:gd name="T14" fmla="*/ 60 w 60"/>
                <a:gd name="T15" fmla="*/ 26 h 56"/>
                <a:gd name="T16" fmla="*/ 52 w 60"/>
                <a:gd name="T17" fmla="*/ 43 h 56"/>
                <a:gd name="T18" fmla="*/ 58 w 60"/>
                <a:gd name="T19" fmla="*/ 53 h 56"/>
                <a:gd name="T20" fmla="*/ 58 w 60"/>
                <a:gd name="T21" fmla="*/ 54 h 56"/>
                <a:gd name="T22" fmla="*/ 56 w 60"/>
                <a:gd name="T23" fmla="*/ 56 h 56"/>
                <a:gd name="T24" fmla="*/ 56 w 60"/>
                <a:gd name="T25" fmla="*/ 56 h 56"/>
                <a:gd name="T26" fmla="*/ 40 w 60"/>
                <a:gd name="T27" fmla="*/ 46 h 56"/>
                <a:gd name="T28" fmla="*/ 41 w 60"/>
                <a:gd name="T29" fmla="*/ 46 h 56"/>
                <a:gd name="T30" fmla="*/ 52 w 60"/>
                <a:gd name="T31" fmla="*/ 50 h 56"/>
                <a:gd name="T32" fmla="*/ 48 w 60"/>
                <a:gd name="T33" fmla="*/ 43 h 56"/>
                <a:gd name="T34" fmla="*/ 49 w 60"/>
                <a:gd name="T35" fmla="*/ 40 h 56"/>
                <a:gd name="T36" fmla="*/ 56 w 60"/>
                <a:gd name="T37" fmla="*/ 26 h 56"/>
                <a:gd name="T38" fmla="*/ 30 w 60"/>
                <a:gd name="T39" fmla="*/ 4 h 56"/>
                <a:gd name="T40" fmla="*/ 4 w 60"/>
                <a:gd name="T41" fmla="*/ 26 h 56"/>
                <a:gd name="T42" fmla="*/ 29 w 60"/>
                <a:gd name="T43" fmla="*/ 48 h 56"/>
                <a:gd name="T44" fmla="*/ 29 w 60"/>
                <a:gd name="T45" fmla="*/ 48 h 56"/>
                <a:gd name="T46" fmla="*/ 39 w 60"/>
                <a:gd name="T47" fmla="*/ 46 h 56"/>
                <a:gd name="T48" fmla="*/ 40 w 60"/>
                <a:gd name="T49" fmla="*/ 4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0" h="56">
                  <a:moveTo>
                    <a:pt x="56" y="56"/>
                  </a:moveTo>
                  <a:cubicBezTo>
                    <a:pt x="56" y="56"/>
                    <a:pt x="56" y="56"/>
                    <a:pt x="55" y="56"/>
                  </a:cubicBezTo>
                  <a:cubicBezTo>
                    <a:pt x="40" y="50"/>
                    <a:pt x="40" y="50"/>
                    <a:pt x="40" y="50"/>
                  </a:cubicBezTo>
                  <a:cubicBezTo>
                    <a:pt x="36" y="52"/>
                    <a:pt x="33" y="52"/>
                    <a:pt x="29" y="52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13" y="52"/>
                    <a:pt x="0" y="40"/>
                    <a:pt x="0" y="26"/>
                  </a:cubicBezTo>
                  <a:cubicBezTo>
                    <a:pt x="0" y="12"/>
                    <a:pt x="14" y="0"/>
                    <a:pt x="30" y="0"/>
                  </a:cubicBezTo>
                  <a:cubicBezTo>
                    <a:pt x="46" y="0"/>
                    <a:pt x="60" y="12"/>
                    <a:pt x="60" y="26"/>
                  </a:cubicBezTo>
                  <a:cubicBezTo>
                    <a:pt x="60" y="32"/>
                    <a:pt x="57" y="38"/>
                    <a:pt x="52" y="43"/>
                  </a:cubicBezTo>
                  <a:cubicBezTo>
                    <a:pt x="58" y="53"/>
                    <a:pt x="58" y="53"/>
                    <a:pt x="58" y="53"/>
                  </a:cubicBezTo>
                  <a:cubicBezTo>
                    <a:pt x="58" y="53"/>
                    <a:pt x="58" y="53"/>
                    <a:pt x="58" y="54"/>
                  </a:cubicBezTo>
                  <a:cubicBezTo>
                    <a:pt x="58" y="55"/>
                    <a:pt x="57" y="56"/>
                    <a:pt x="56" y="56"/>
                  </a:cubicBezTo>
                  <a:cubicBezTo>
                    <a:pt x="56" y="56"/>
                    <a:pt x="56" y="56"/>
                    <a:pt x="56" y="56"/>
                  </a:cubicBezTo>
                  <a:close/>
                  <a:moveTo>
                    <a:pt x="40" y="46"/>
                  </a:moveTo>
                  <a:cubicBezTo>
                    <a:pt x="40" y="46"/>
                    <a:pt x="40" y="46"/>
                    <a:pt x="41" y="46"/>
                  </a:cubicBezTo>
                  <a:cubicBezTo>
                    <a:pt x="52" y="50"/>
                    <a:pt x="52" y="50"/>
                    <a:pt x="52" y="50"/>
                  </a:cubicBezTo>
                  <a:cubicBezTo>
                    <a:pt x="48" y="43"/>
                    <a:pt x="48" y="43"/>
                    <a:pt x="48" y="43"/>
                  </a:cubicBezTo>
                  <a:cubicBezTo>
                    <a:pt x="48" y="42"/>
                    <a:pt x="48" y="41"/>
                    <a:pt x="49" y="40"/>
                  </a:cubicBezTo>
                  <a:cubicBezTo>
                    <a:pt x="54" y="37"/>
                    <a:pt x="56" y="32"/>
                    <a:pt x="56" y="26"/>
                  </a:cubicBezTo>
                  <a:cubicBezTo>
                    <a:pt x="56" y="14"/>
                    <a:pt x="44" y="4"/>
                    <a:pt x="30" y="4"/>
                  </a:cubicBezTo>
                  <a:cubicBezTo>
                    <a:pt x="16" y="4"/>
                    <a:pt x="4" y="14"/>
                    <a:pt x="4" y="26"/>
                  </a:cubicBezTo>
                  <a:cubicBezTo>
                    <a:pt x="4" y="38"/>
                    <a:pt x="15" y="48"/>
                    <a:pt x="29" y="48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32" y="48"/>
                    <a:pt x="36" y="48"/>
                    <a:pt x="39" y="46"/>
                  </a:cubicBezTo>
                  <a:cubicBezTo>
                    <a:pt x="39" y="46"/>
                    <a:pt x="40" y="46"/>
                    <a:pt x="40" y="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45" name="Group 144"/>
          <p:cNvGrpSpPr>
            <a:grpSpLocks noChangeAspect="1"/>
          </p:cNvGrpSpPr>
          <p:nvPr/>
        </p:nvGrpSpPr>
        <p:grpSpPr>
          <a:xfrm>
            <a:off x="2127190" y="3797706"/>
            <a:ext cx="384376" cy="384376"/>
            <a:chOff x="-1100138" y="4281488"/>
            <a:chExt cx="371475" cy="371475"/>
          </a:xfrm>
          <a:solidFill>
            <a:schemeClr val="bg1"/>
          </a:solidFill>
        </p:grpSpPr>
        <p:sp>
          <p:nvSpPr>
            <p:cNvPr id="146" name="Freeform 19"/>
            <p:cNvSpPr>
              <a:spLocks/>
            </p:cNvSpPr>
            <p:nvPr/>
          </p:nvSpPr>
          <p:spPr bwMode="auto">
            <a:xfrm>
              <a:off x="-1100138" y="4313238"/>
              <a:ext cx="371475" cy="339725"/>
            </a:xfrm>
            <a:custGeom>
              <a:avLst/>
              <a:gdLst>
                <a:gd name="T0" fmla="*/ 94 w 96"/>
                <a:gd name="T1" fmla="*/ 88 h 88"/>
                <a:gd name="T2" fmla="*/ 2 w 96"/>
                <a:gd name="T3" fmla="*/ 88 h 88"/>
                <a:gd name="T4" fmla="*/ 0 w 96"/>
                <a:gd name="T5" fmla="*/ 86 h 88"/>
                <a:gd name="T6" fmla="*/ 0 w 96"/>
                <a:gd name="T7" fmla="*/ 2 h 88"/>
                <a:gd name="T8" fmla="*/ 2 w 96"/>
                <a:gd name="T9" fmla="*/ 0 h 88"/>
                <a:gd name="T10" fmla="*/ 18 w 96"/>
                <a:gd name="T11" fmla="*/ 0 h 88"/>
                <a:gd name="T12" fmla="*/ 20 w 96"/>
                <a:gd name="T13" fmla="*/ 2 h 88"/>
                <a:gd name="T14" fmla="*/ 18 w 96"/>
                <a:gd name="T15" fmla="*/ 4 h 88"/>
                <a:gd name="T16" fmla="*/ 4 w 96"/>
                <a:gd name="T17" fmla="*/ 4 h 88"/>
                <a:gd name="T18" fmla="*/ 4 w 96"/>
                <a:gd name="T19" fmla="*/ 84 h 88"/>
                <a:gd name="T20" fmla="*/ 92 w 96"/>
                <a:gd name="T21" fmla="*/ 84 h 88"/>
                <a:gd name="T22" fmla="*/ 92 w 96"/>
                <a:gd name="T23" fmla="*/ 4 h 88"/>
                <a:gd name="T24" fmla="*/ 78 w 96"/>
                <a:gd name="T25" fmla="*/ 4 h 88"/>
                <a:gd name="T26" fmla="*/ 76 w 96"/>
                <a:gd name="T27" fmla="*/ 2 h 88"/>
                <a:gd name="T28" fmla="*/ 78 w 96"/>
                <a:gd name="T29" fmla="*/ 0 h 88"/>
                <a:gd name="T30" fmla="*/ 94 w 96"/>
                <a:gd name="T31" fmla="*/ 0 h 88"/>
                <a:gd name="T32" fmla="*/ 96 w 96"/>
                <a:gd name="T33" fmla="*/ 2 h 88"/>
                <a:gd name="T34" fmla="*/ 96 w 96"/>
                <a:gd name="T35" fmla="*/ 86 h 88"/>
                <a:gd name="T36" fmla="*/ 94 w 96"/>
                <a:gd name="T37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6" h="88">
                  <a:moveTo>
                    <a:pt x="94" y="88"/>
                  </a:moveTo>
                  <a:cubicBezTo>
                    <a:pt x="2" y="88"/>
                    <a:pt x="2" y="88"/>
                    <a:pt x="2" y="88"/>
                  </a:cubicBezTo>
                  <a:cubicBezTo>
                    <a:pt x="1" y="88"/>
                    <a:pt x="0" y="87"/>
                    <a:pt x="0" y="8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9" y="0"/>
                    <a:pt x="20" y="1"/>
                    <a:pt x="20" y="2"/>
                  </a:cubicBezTo>
                  <a:cubicBezTo>
                    <a:pt x="20" y="3"/>
                    <a:pt x="19" y="4"/>
                    <a:pt x="18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84"/>
                    <a:pt x="4" y="84"/>
                    <a:pt x="4" y="84"/>
                  </a:cubicBezTo>
                  <a:cubicBezTo>
                    <a:pt x="92" y="84"/>
                    <a:pt x="92" y="84"/>
                    <a:pt x="92" y="84"/>
                  </a:cubicBezTo>
                  <a:cubicBezTo>
                    <a:pt x="92" y="4"/>
                    <a:pt x="92" y="4"/>
                    <a:pt x="92" y="4"/>
                  </a:cubicBezTo>
                  <a:cubicBezTo>
                    <a:pt x="78" y="4"/>
                    <a:pt x="78" y="4"/>
                    <a:pt x="78" y="4"/>
                  </a:cubicBezTo>
                  <a:cubicBezTo>
                    <a:pt x="77" y="4"/>
                    <a:pt x="76" y="3"/>
                    <a:pt x="76" y="2"/>
                  </a:cubicBezTo>
                  <a:cubicBezTo>
                    <a:pt x="76" y="1"/>
                    <a:pt x="77" y="0"/>
                    <a:pt x="78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5" y="0"/>
                    <a:pt x="96" y="1"/>
                    <a:pt x="96" y="2"/>
                  </a:cubicBezTo>
                  <a:cubicBezTo>
                    <a:pt x="96" y="86"/>
                    <a:pt x="96" y="86"/>
                    <a:pt x="96" y="86"/>
                  </a:cubicBezTo>
                  <a:cubicBezTo>
                    <a:pt x="96" y="87"/>
                    <a:pt x="95" y="88"/>
                    <a:pt x="94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7" name="Freeform 20"/>
            <p:cNvSpPr>
              <a:spLocks noEditPoints="1"/>
            </p:cNvSpPr>
            <p:nvPr/>
          </p:nvSpPr>
          <p:spPr bwMode="auto">
            <a:xfrm>
              <a:off x="-1038226" y="4281488"/>
              <a:ext cx="61913" cy="77788"/>
            </a:xfrm>
            <a:custGeom>
              <a:avLst/>
              <a:gdLst>
                <a:gd name="T0" fmla="*/ 14 w 16"/>
                <a:gd name="T1" fmla="*/ 20 h 20"/>
                <a:gd name="T2" fmla="*/ 2 w 16"/>
                <a:gd name="T3" fmla="*/ 20 h 20"/>
                <a:gd name="T4" fmla="*/ 0 w 16"/>
                <a:gd name="T5" fmla="*/ 18 h 20"/>
                <a:gd name="T6" fmla="*/ 0 w 16"/>
                <a:gd name="T7" fmla="*/ 2 h 20"/>
                <a:gd name="T8" fmla="*/ 2 w 16"/>
                <a:gd name="T9" fmla="*/ 0 h 20"/>
                <a:gd name="T10" fmla="*/ 14 w 16"/>
                <a:gd name="T11" fmla="*/ 0 h 20"/>
                <a:gd name="T12" fmla="*/ 16 w 16"/>
                <a:gd name="T13" fmla="*/ 2 h 20"/>
                <a:gd name="T14" fmla="*/ 16 w 16"/>
                <a:gd name="T15" fmla="*/ 18 h 20"/>
                <a:gd name="T16" fmla="*/ 14 w 16"/>
                <a:gd name="T17" fmla="*/ 20 h 20"/>
                <a:gd name="T18" fmla="*/ 4 w 16"/>
                <a:gd name="T19" fmla="*/ 16 h 20"/>
                <a:gd name="T20" fmla="*/ 12 w 16"/>
                <a:gd name="T21" fmla="*/ 16 h 20"/>
                <a:gd name="T22" fmla="*/ 12 w 16"/>
                <a:gd name="T23" fmla="*/ 4 h 20"/>
                <a:gd name="T24" fmla="*/ 4 w 16"/>
                <a:gd name="T25" fmla="*/ 4 h 20"/>
                <a:gd name="T26" fmla="*/ 4 w 16"/>
                <a:gd name="T27" fmla="*/ 16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20">
                  <a:moveTo>
                    <a:pt x="14" y="20"/>
                  </a:move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6" y="1"/>
                    <a:pt x="16" y="2"/>
                  </a:cubicBezTo>
                  <a:cubicBezTo>
                    <a:pt x="16" y="18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lose/>
                  <a:moveTo>
                    <a:pt x="4" y="16"/>
                  </a:moveTo>
                  <a:cubicBezTo>
                    <a:pt x="12" y="16"/>
                    <a:pt x="12" y="16"/>
                    <a:pt x="12" y="16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4" y="4"/>
                    <a:pt x="4" y="4"/>
                    <a:pt x="4" y="4"/>
                  </a:cubicBezTo>
                  <a:lnTo>
                    <a:pt x="4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8" name="Freeform 21"/>
            <p:cNvSpPr>
              <a:spLocks noEditPoints="1"/>
            </p:cNvSpPr>
            <p:nvPr/>
          </p:nvSpPr>
          <p:spPr bwMode="auto">
            <a:xfrm>
              <a:off x="-852488" y="4281488"/>
              <a:ext cx="61913" cy="77788"/>
            </a:xfrm>
            <a:custGeom>
              <a:avLst/>
              <a:gdLst>
                <a:gd name="T0" fmla="*/ 14 w 16"/>
                <a:gd name="T1" fmla="*/ 20 h 20"/>
                <a:gd name="T2" fmla="*/ 2 w 16"/>
                <a:gd name="T3" fmla="*/ 20 h 20"/>
                <a:gd name="T4" fmla="*/ 0 w 16"/>
                <a:gd name="T5" fmla="*/ 18 h 20"/>
                <a:gd name="T6" fmla="*/ 0 w 16"/>
                <a:gd name="T7" fmla="*/ 2 h 20"/>
                <a:gd name="T8" fmla="*/ 2 w 16"/>
                <a:gd name="T9" fmla="*/ 0 h 20"/>
                <a:gd name="T10" fmla="*/ 14 w 16"/>
                <a:gd name="T11" fmla="*/ 0 h 20"/>
                <a:gd name="T12" fmla="*/ 16 w 16"/>
                <a:gd name="T13" fmla="*/ 2 h 20"/>
                <a:gd name="T14" fmla="*/ 16 w 16"/>
                <a:gd name="T15" fmla="*/ 18 h 20"/>
                <a:gd name="T16" fmla="*/ 14 w 16"/>
                <a:gd name="T17" fmla="*/ 20 h 20"/>
                <a:gd name="T18" fmla="*/ 4 w 16"/>
                <a:gd name="T19" fmla="*/ 16 h 20"/>
                <a:gd name="T20" fmla="*/ 12 w 16"/>
                <a:gd name="T21" fmla="*/ 16 h 20"/>
                <a:gd name="T22" fmla="*/ 12 w 16"/>
                <a:gd name="T23" fmla="*/ 4 h 20"/>
                <a:gd name="T24" fmla="*/ 4 w 16"/>
                <a:gd name="T25" fmla="*/ 4 h 20"/>
                <a:gd name="T26" fmla="*/ 4 w 16"/>
                <a:gd name="T27" fmla="*/ 16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20">
                  <a:moveTo>
                    <a:pt x="14" y="20"/>
                  </a:move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6" y="1"/>
                    <a:pt x="16" y="2"/>
                  </a:cubicBezTo>
                  <a:cubicBezTo>
                    <a:pt x="16" y="18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lose/>
                  <a:moveTo>
                    <a:pt x="4" y="16"/>
                  </a:moveTo>
                  <a:cubicBezTo>
                    <a:pt x="12" y="16"/>
                    <a:pt x="12" y="16"/>
                    <a:pt x="12" y="16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4" y="4"/>
                    <a:pt x="4" y="4"/>
                    <a:pt x="4" y="4"/>
                  </a:cubicBezTo>
                  <a:lnTo>
                    <a:pt x="4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9" name="Freeform 22"/>
            <p:cNvSpPr>
              <a:spLocks/>
            </p:cNvSpPr>
            <p:nvPr/>
          </p:nvSpPr>
          <p:spPr bwMode="auto">
            <a:xfrm>
              <a:off x="-992188" y="4313238"/>
              <a:ext cx="155575" cy="14288"/>
            </a:xfrm>
            <a:custGeom>
              <a:avLst/>
              <a:gdLst>
                <a:gd name="T0" fmla="*/ 38 w 40"/>
                <a:gd name="T1" fmla="*/ 4 h 4"/>
                <a:gd name="T2" fmla="*/ 2 w 40"/>
                <a:gd name="T3" fmla="*/ 4 h 4"/>
                <a:gd name="T4" fmla="*/ 0 w 40"/>
                <a:gd name="T5" fmla="*/ 2 h 4"/>
                <a:gd name="T6" fmla="*/ 2 w 40"/>
                <a:gd name="T7" fmla="*/ 0 h 4"/>
                <a:gd name="T8" fmla="*/ 38 w 40"/>
                <a:gd name="T9" fmla="*/ 0 h 4"/>
                <a:gd name="T10" fmla="*/ 40 w 40"/>
                <a:gd name="T11" fmla="*/ 2 h 4"/>
                <a:gd name="T12" fmla="*/ 38 w 40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" h="4">
                  <a:moveTo>
                    <a:pt x="38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39" y="0"/>
                    <a:pt x="40" y="1"/>
                    <a:pt x="40" y="2"/>
                  </a:cubicBezTo>
                  <a:cubicBezTo>
                    <a:pt x="40" y="3"/>
                    <a:pt x="39" y="4"/>
                    <a:pt x="3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0" name="Freeform 23"/>
            <p:cNvSpPr>
              <a:spLocks/>
            </p:cNvSpPr>
            <p:nvPr/>
          </p:nvSpPr>
          <p:spPr bwMode="auto">
            <a:xfrm>
              <a:off x="-1100138" y="4389438"/>
              <a:ext cx="371475" cy="15875"/>
            </a:xfrm>
            <a:custGeom>
              <a:avLst/>
              <a:gdLst>
                <a:gd name="T0" fmla="*/ 94 w 96"/>
                <a:gd name="T1" fmla="*/ 4 h 4"/>
                <a:gd name="T2" fmla="*/ 2 w 96"/>
                <a:gd name="T3" fmla="*/ 4 h 4"/>
                <a:gd name="T4" fmla="*/ 0 w 96"/>
                <a:gd name="T5" fmla="*/ 2 h 4"/>
                <a:gd name="T6" fmla="*/ 2 w 96"/>
                <a:gd name="T7" fmla="*/ 0 h 4"/>
                <a:gd name="T8" fmla="*/ 94 w 96"/>
                <a:gd name="T9" fmla="*/ 0 h 4"/>
                <a:gd name="T10" fmla="*/ 96 w 96"/>
                <a:gd name="T11" fmla="*/ 2 h 4"/>
                <a:gd name="T12" fmla="*/ 94 w 96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6" h="4">
                  <a:moveTo>
                    <a:pt x="94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5" y="0"/>
                    <a:pt x="96" y="1"/>
                    <a:pt x="96" y="2"/>
                  </a:cubicBezTo>
                  <a:cubicBezTo>
                    <a:pt x="96" y="3"/>
                    <a:pt x="95" y="4"/>
                    <a:pt x="9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1" name="Freeform 24"/>
            <p:cNvSpPr>
              <a:spLocks/>
            </p:cNvSpPr>
            <p:nvPr/>
          </p:nvSpPr>
          <p:spPr bwMode="auto">
            <a:xfrm>
              <a:off x="-992188" y="4451351"/>
              <a:ext cx="47625" cy="139700"/>
            </a:xfrm>
            <a:custGeom>
              <a:avLst/>
              <a:gdLst>
                <a:gd name="T0" fmla="*/ 10 w 12"/>
                <a:gd name="T1" fmla="*/ 36 h 36"/>
                <a:gd name="T2" fmla="*/ 8 w 12"/>
                <a:gd name="T3" fmla="*/ 34 h 36"/>
                <a:gd name="T4" fmla="*/ 8 w 12"/>
                <a:gd name="T5" fmla="*/ 7 h 36"/>
                <a:gd name="T6" fmla="*/ 3 w 12"/>
                <a:gd name="T7" fmla="*/ 11 h 36"/>
                <a:gd name="T8" fmla="*/ 1 w 12"/>
                <a:gd name="T9" fmla="*/ 11 h 36"/>
                <a:gd name="T10" fmla="*/ 1 w 12"/>
                <a:gd name="T11" fmla="*/ 9 h 36"/>
                <a:gd name="T12" fmla="*/ 9 w 12"/>
                <a:gd name="T13" fmla="*/ 1 h 36"/>
                <a:gd name="T14" fmla="*/ 11 w 12"/>
                <a:gd name="T15" fmla="*/ 0 h 36"/>
                <a:gd name="T16" fmla="*/ 12 w 12"/>
                <a:gd name="T17" fmla="*/ 2 h 36"/>
                <a:gd name="T18" fmla="*/ 12 w 12"/>
                <a:gd name="T19" fmla="*/ 34 h 36"/>
                <a:gd name="T20" fmla="*/ 10 w 12"/>
                <a:gd name="T21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" h="36">
                  <a:moveTo>
                    <a:pt x="10" y="36"/>
                  </a:moveTo>
                  <a:cubicBezTo>
                    <a:pt x="9" y="36"/>
                    <a:pt x="8" y="35"/>
                    <a:pt x="8" y="34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3" y="12"/>
                    <a:pt x="1" y="12"/>
                    <a:pt x="1" y="11"/>
                  </a:cubicBezTo>
                  <a:cubicBezTo>
                    <a:pt x="0" y="11"/>
                    <a:pt x="0" y="9"/>
                    <a:pt x="1" y="9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0"/>
                    <a:pt x="10" y="0"/>
                    <a:pt x="11" y="0"/>
                  </a:cubicBezTo>
                  <a:cubicBezTo>
                    <a:pt x="12" y="0"/>
                    <a:pt x="12" y="1"/>
                    <a:pt x="12" y="2"/>
                  </a:cubicBezTo>
                  <a:cubicBezTo>
                    <a:pt x="12" y="34"/>
                    <a:pt x="12" y="34"/>
                    <a:pt x="12" y="34"/>
                  </a:cubicBezTo>
                  <a:cubicBezTo>
                    <a:pt x="12" y="35"/>
                    <a:pt x="11" y="36"/>
                    <a:pt x="10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2" name="Freeform 25"/>
            <p:cNvSpPr>
              <a:spLocks/>
            </p:cNvSpPr>
            <p:nvPr/>
          </p:nvSpPr>
          <p:spPr bwMode="auto">
            <a:xfrm>
              <a:off x="-992188" y="4575176"/>
              <a:ext cx="77788" cy="15875"/>
            </a:xfrm>
            <a:custGeom>
              <a:avLst/>
              <a:gdLst>
                <a:gd name="T0" fmla="*/ 18 w 20"/>
                <a:gd name="T1" fmla="*/ 4 h 4"/>
                <a:gd name="T2" fmla="*/ 2 w 20"/>
                <a:gd name="T3" fmla="*/ 4 h 4"/>
                <a:gd name="T4" fmla="*/ 0 w 20"/>
                <a:gd name="T5" fmla="*/ 2 h 4"/>
                <a:gd name="T6" fmla="*/ 2 w 20"/>
                <a:gd name="T7" fmla="*/ 0 h 4"/>
                <a:gd name="T8" fmla="*/ 18 w 20"/>
                <a:gd name="T9" fmla="*/ 0 h 4"/>
                <a:gd name="T10" fmla="*/ 20 w 20"/>
                <a:gd name="T11" fmla="*/ 2 h 4"/>
                <a:gd name="T12" fmla="*/ 18 w 20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4">
                  <a:moveTo>
                    <a:pt x="18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9" y="0"/>
                    <a:pt x="20" y="1"/>
                    <a:pt x="20" y="2"/>
                  </a:cubicBezTo>
                  <a:cubicBezTo>
                    <a:pt x="20" y="3"/>
                    <a:pt x="19" y="4"/>
                    <a:pt x="1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3" name="Freeform 26"/>
            <p:cNvSpPr>
              <a:spLocks/>
            </p:cNvSpPr>
            <p:nvPr/>
          </p:nvSpPr>
          <p:spPr bwMode="auto">
            <a:xfrm>
              <a:off x="-922338" y="4451351"/>
              <a:ext cx="93663" cy="139700"/>
            </a:xfrm>
            <a:custGeom>
              <a:avLst/>
              <a:gdLst>
                <a:gd name="T0" fmla="*/ 10 w 24"/>
                <a:gd name="T1" fmla="*/ 36 h 36"/>
                <a:gd name="T2" fmla="*/ 9 w 24"/>
                <a:gd name="T3" fmla="*/ 36 h 36"/>
                <a:gd name="T4" fmla="*/ 8 w 24"/>
                <a:gd name="T5" fmla="*/ 33 h 36"/>
                <a:gd name="T6" fmla="*/ 19 w 24"/>
                <a:gd name="T7" fmla="*/ 4 h 36"/>
                <a:gd name="T8" fmla="*/ 4 w 24"/>
                <a:gd name="T9" fmla="*/ 4 h 36"/>
                <a:gd name="T10" fmla="*/ 4 w 24"/>
                <a:gd name="T11" fmla="*/ 6 h 36"/>
                <a:gd name="T12" fmla="*/ 2 w 24"/>
                <a:gd name="T13" fmla="*/ 8 h 36"/>
                <a:gd name="T14" fmla="*/ 0 w 24"/>
                <a:gd name="T15" fmla="*/ 6 h 36"/>
                <a:gd name="T16" fmla="*/ 0 w 24"/>
                <a:gd name="T17" fmla="*/ 2 h 36"/>
                <a:gd name="T18" fmla="*/ 2 w 24"/>
                <a:gd name="T19" fmla="*/ 0 h 36"/>
                <a:gd name="T20" fmla="*/ 22 w 24"/>
                <a:gd name="T21" fmla="*/ 0 h 36"/>
                <a:gd name="T22" fmla="*/ 24 w 24"/>
                <a:gd name="T23" fmla="*/ 1 h 36"/>
                <a:gd name="T24" fmla="*/ 24 w 24"/>
                <a:gd name="T25" fmla="*/ 3 h 36"/>
                <a:gd name="T26" fmla="*/ 12 w 24"/>
                <a:gd name="T27" fmla="*/ 35 h 36"/>
                <a:gd name="T28" fmla="*/ 10 w 24"/>
                <a:gd name="T29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4" h="36">
                  <a:moveTo>
                    <a:pt x="10" y="36"/>
                  </a:moveTo>
                  <a:cubicBezTo>
                    <a:pt x="10" y="36"/>
                    <a:pt x="10" y="36"/>
                    <a:pt x="9" y="36"/>
                  </a:cubicBezTo>
                  <a:cubicBezTo>
                    <a:pt x="8" y="35"/>
                    <a:pt x="8" y="34"/>
                    <a:pt x="8" y="33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7"/>
                    <a:pt x="3" y="8"/>
                    <a:pt x="2" y="8"/>
                  </a:cubicBezTo>
                  <a:cubicBezTo>
                    <a:pt x="1" y="8"/>
                    <a:pt x="0" y="7"/>
                    <a:pt x="0" y="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3" y="0"/>
                    <a:pt x="23" y="0"/>
                    <a:pt x="24" y="1"/>
                  </a:cubicBezTo>
                  <a:cubicBezTo>
                    <a:pt x="24" y="1"/>
                    <a:pt x="24" y="2"/>
                    <a:pt x="24" y="3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6"/>
                    <a:pt x="11" y="36"/>
                    <a:pt x="10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4" name="Freeform 27"/>
            <p:cNvSpPr>
              <a:spLocks/>
            </p:cNvSpPr>
            <p:nvPr/>
          </p:nvSpPr>
          <p:spPr bwMode="auto">
            <a:xfrm>
              <a:off x="-898526" y="4513263"/>
              <a:ext cx="61913" cy="15875"/>
            </a:xfrm>
            <a:custGeom>
              <a:avLst/>
              <a:gdLst>
                <a:gd name="T0" fmla="*/ 14 w 16"/>
                <a:gd name="T1" fmla="*/ 4 h 4"/>
                <a:gd name="T2" fmla="*/ 2 w 16"/>
                <a:gd name="T3" fmla="*/ 4 h 4"/>
                <a:gd name="T4" fmla="*/ 0 w 16"/>
                <a:gd name="T5" fmla="*/ 2 h 4"/>
                <a:gd name="T6" fmla="*/ 2 w 16"/>
                <a:gd name="T7" fmla="*/ 0 h 4"/>
                <a:gd name="T8" fmla="*/ 14 w 16"/>
                <a:gd name="T9" fmla="*/ 0 h 4"/>
                <a:gd name="T10" fmla="*/ 16 w 16"/>
                <a:gd name="T11" fmla="*/ 2 h 4"/>
                <a:gd name="T12" fmla="*/ 14 w 16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4">
                  <a:moveTo>
                    <a:pt x="14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6" y="1"/>
                    <a:pt x="16" y="2"/>
                  </a:cubicBezTo>
                  <a:cubicBezTo>
                    <a:pt x="16" y="3"/>
                    <a:pt x="15" y="4"/>
                    <a:pt x="1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55" name="Group 154"/>
          <p:cNvGrpSpPr>
            <a:grpSpLocks noChangeAspect="1"/>
          </p:cNvGrpSpPr>
          <p:nvPr/>
        </p:nvGrpSpPr>
        <p:grpSpPr>
          <a:xfrm>
            <a:off x="2128833" y="4655339"/>
            <a:ext cx="381090" cy="384376"/>
            <a:chOff x="-663575" y="5349875"/>
            <a:chExt cx="368300" cy="371476"/>
          </a:xfrm>
          <a:solidFill>
            <a:schemeClr val="bg1"/>
          </a:solidFill>
        </p:grpSpPr>
        <p:sp>
          <p:nvSpPr>
            <p:cNvPr id="156" name="Freeform 31"/>
            <p:cNvSpPr>
              <a:spLocks/>
            </p:cNvSpPr>
            <p:nvPr/>
          </p:nvSpPr>
          <p:spPr bwMode="auto">
            <a:xfrm>
              <a:off x="-663575" y="5562600"/>
              <a:ext cx="147638" cy="158750"/>
            </a:xfrm>
            <a:custGeom>
              <a:avLst/>
              <a:gdLst>
                <a:gd name="T0" fmla="*/ 23 w 38"/>
                <a:gd name="T1" fmla="*/ 41 h 41"/>
                <a:gd name="T2" fmla="*/ 23 w 38"/>
                <a:gd name="T3" fmla="*/ 41 h 41"/>
                <a:gd name="T4" fmla="*/ 21 w 38"/>
                <a:gd name="T5" fmla="*/ 40 h 41"/>
                <a:gd name="T6" fmla="*/ 16 w 38"/>
                <a:gd name="T7" fmla="*/ 27 h 41"/>
                <a:gd name="T8" fmla="*/ 2 w 38"/>
                <a:gd name="T9" fmla="*/ 29 h 41"/>
                <a:gd name="T10" fmla="*/ 0 w 38"/>
                <a:gd name="T11" fmla="*/ 28 h 41"/>
                <a:gd name="T12" fmla="*/ 0 w 38"/>
                <a:gd name="T13" fmla="*/ 26 h 41"/>
                <a:gd name="T14" fmla="*/ 15 w 38"/>
                <a:gd name="T15" fmla="*/ 0 h 41"/>
                <a:gd name="T16" fmla="*/ 19 w 38"/>
                <a:gd name="T17" fmla="*/ 2 h 41"/>
                <a:gd name="T18" fmla="*/ 6 w 38"/>
                <a:gd name="T19" fmla="*/ 24 h 41"/>
                <a:gd name="T20" fmla="*/ 17 w 38"/>
                <a:gd name="T21" fmla="*/ 22 h 41"/>
                <a:gd name="T22" fmla="*/ 19 w 38"/>
                <a:gd name="T23" fmla="*/ 24 h 41"/>
                <a:gd name="T24" fmla="*/ 23 w 38"/>
                <a:gd name="T25" fmla="*/ 34 h 41"/>
                <a:gd name="T26" fmla="*/ 34 w 38"/>
                <a:gd name="T27" fmla="*/ 16 h 41"/>
                <a:gd name="T28" fmla="*/ 38 w 38"/>
                <a:gd name="T29" fmla="*/ 18 h 41"/>
                <a:gd name="T30" fmla="*/ 24 w 38"/>
                <a:gd name="T31" fmla="*/ 40 h 41"/>
                <a:gd name="T32" fmla="*/ 23 w 38"/>
                <a:gd name="T33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8" h="41">
                  <a:moveTo>
                    <a:pt x="23" y="41"/>
                  </a:moveTo>
                  <a:cubicBezTo>
                    <a:pt x="23" y="41"/>
                    <a:pt x="23" y="41"/>
                    <a:pt x="23" y="41"/>
                  </a:cubicBezTo>
                  <a:cubicBezTo>
                    <a:pt x="22" y="41"/>
                    <a:pt x="21" y="40"/>
                    <a:pt x="21" y="40"/>
                  </a:cubicBezTo>
                  <a:cubicBezTo>
                    <a:pt x="16" y="27"/>
                    <a:pt x="16" y="27"/>
                    <a:pt x="16" y="27"/>
                  </a:cubicBezTo>
                  <a:cubicBezTo>
                    <a:pt x="2" y="29"/>
                    <a:pt x="2" y="29"/>
                    <a:pt x="2" y="29"/>
                  </a:cubicBezTo>
                  <a:cubicBezTo>
                    <a:pt x="2" y="29"/>
                    <a:pt x="1" y="29"/>
                    <a:pt x="0" y="28"/>
                  </a:cubicBezTo>
                  <a:cubicBezTo>
                    <a:pt x="0" y="27"/>
                    <a:pt x="0" y="27"/>
                    <a:pt x="0" y="26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6" y="24"/>
                    <a:pt x="6" y="24"/>
                    <a:pt x="6" y="24"/>
                  </a:cubicBezTo>
                  <a:cubicBezTo>
                    <a:pt x="17" y="22"/>
                    <a:pt x="17" y="22"/>
                    <a:pt x="17" y="22"/>
                  </a:cubicBezTo>
                  <a:cubicBezTo>
                    <a:pt x="18" y="22"/>
                    <a:pt x="19" y="23"/>
                    <a:pt x="19" y="24"/>
                  </a:cubicBezTo>
                  <a:cubicBezTo>
                    <a:pt x="23" y="34"/>
                    <a:pt x="23" y="34"/>
                    <a:pt x="23" y="34"/>
                  </a:cubicBezTo>
                  <a:cubicBezTo>
                    <a:pt x="34" y="16"/>
                    <a:pt x="34" y="16"/>
                    <a:pt x="34" y="16"/>
                  </a:cubicBezTo>
                  <a:cubicBezTo>
                    <a:pt x="38" y="18"/>
                    <a:pt x="38" y="18"/>
                    <a:pt x="38" y="18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1"/>
                    <a:pt x="23" y="41"/>
                    <a:pt x="2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7" name="Freeform 32"/>
            <p:cNvSpPr>
              <a:spLocks/>
            </p:cNvSpPr>
            <p:nvPr/>
          </p:nvSpPr>
          <p:spPr bwMode="auto">
            <a:xfrm>
              <a:off x="-439738" y="5567363"/>
              <a:ext cx="144463" cy="153988"/>
            </a:xfrm>
            <a:custGeom>
              <a:avLst/>
              <a:gdLst>
                <a:gd name="T0" fmla="*/ 15 w 37"/>
                <a:gd name="T1" fmla="*/ 40 h 40"/>
                <a:gd name="T2" fmla="*/ 13 w 37"/>
                <a:gd name="T3" fmla="*/ 39 h 40"/>
                <a:gd name="T4" fmla="*/ 0 w 37"/>
                <a:gd name="T5" fmla="*/ 17 h 40"/>
                <a:gd name="T6" fmla="*/ 3 w 37"/>
                <a:gd name="T7" fmla="*/ 15 h 40"/>
                <a:gd name="T8" fmla="*/ 14 w 37"/>
                <a:gd name="T9" fmla="*/ 33 h 40"/>
                <a:gd name="T10" fmla="*/ 18 w 37"/>
                <a:gd name="T11" fmla="*/ 23 h 40"/>
                <a:gd name="T12" fmla="*/ 20 w 37"/>
                <a:gd name="T13" fmla="*/ 21 h 40"/>
                <a:gd name="T14" fmla="*/ 31 w 37"/>
                <a:gd name="T15" fmla="*/ 23 h 40"/>
                <a:gd name="T16" fmla="*/ 19 w 37"/>
                <a:gd name="T17" fmla="*/ 2 h 40"/>
                <a:gd name="T18" fmla="*/ 22 w 37"/>
                <a:gd name="T19" fmla="*/ 0 h 40"/>
                <a:gd name="T20" fmla="*/ 37 w 37"/>
                <a:gd name="T21" fmla="*/ 25 h 40"/>
                <a:gd name="T22" fmla="*/ 37 w 37"/>
                <a:gd name="T23" fmla="*/ 27 h 40"/>
                <a:gd name="T24" fmla="*/ 35 w 37"/>
                <a:gd name="T25" fmla="*/ 28 h 40"/>
                <a:gd name="T26" fmla="*/ 21 w 37"/>
                <a:gd name="T27" fmla="*/ 26 h 40"/>
                <a:gd name="T28" fmla="*/ 16 w 37"/>
                <a:gd name="T29" fmla="*/ 39 h 40"/>
                <a:gd name="T30" fmla="*/ 15 w 37"/>
                <a:gd name="T31" fmla="*/ 40 h 40"/>
                <a:gd name="T32" fmla="*/ 15 w 37"/>
                <a:gd name="T3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7" h="40">
                  <a:moveTo>
                    <a:pt x="15" y="40"/>
                  </a:moveTo>
                  <a:cubicBezTo>
                    <a:pt x="14" y="40"/>
                    <a:pt x="13" y="40"/>
                    <a:pt x="13" y="39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14" y="33"/>
                    <a:pt x="14" y="33"/>
                    <a:pt x="14" y="33"/>
                  </a:cubicBezTo>
                  <a:cubicBezTo>
                    <a:pt x="18" y="23"/>
                    <a:pt x="18" y="23"/>
                    <a:pt x="18" y="23"/>
                  </a:cubicBezTo>
                  <a:cubicBezTo>
                    <a:pt x="18" y="22"/>
                    <a:pt x="19" y="21"/>
                    <a:pt x="20" y="21"/>
                  </a:cubicBezTo>
                  <a:cubicBezTo>
                    <a:pt x="31" y="23"/>
                    <a:pt x="31" y="23"/>
                    <a:pt x="31" y="23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7" y="26"/>
                    <a:pt x="37" y="26"/>
                    <a:pt x="37" y="27"/>
                  </a:cubicBezTo>
                  <a:cubicBezTo>
                    <a:pt x="37" y="28"/>
                    <a:pt x="36" y="28"/>
                    <a:pt x="35" y="28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16" y="39"/>
                    <a:pt x="16" y="39"/>
                    <a:pt x="16" y="39"/>
                  </a:cubicBezTo>
                  <a:cubicBezTo>
                    <a:pt x="16" y="39"/>
                    <a:pt x="16" y="40"/>
                    <a:pt x="15" y="40"/>
                  </a:cubicBezTo>
                  <a:cubicBezTo>
                    <a:pt x="15" y="40"/>
                    <a:pt x="15" y="40"/>
                    <a:pt x="15" y="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8" name="Freeform 33"/>
            <p:cNvSpPr>
              <a:spLocks noEditPoints="1"/>
            </p:cNvSpPr>
            <p:nvPr/>
          </p:nvSpPr>
          <p:spPr bwMode="auto">
            <a:xfrm>
              <a:off x="-625475" y="5349875"/>
              <a:ext cx="295275" cy="293688"/>
            </a:xfrm>
            <a:custGeom>
              <a:avLst/>
              <a:gdLst>
                <a:gd name="T0" fmla="*/ 38 w 76"/>
                <a:gd name="T1" fmla="*/ 76 h 76"/>
                <a:gd name="T2" fmla="*/ 0 w 76"/>
                <a:gd name="T3" fmla="*/ 38 h 76"/>
                <a:gd name="T4" fmla="*/ 38 w 76"/>
                <a:gd name="T5" fmla="*/ 0 h 76"/>
                <a:gd name="T6" fmla="*/ 76 w 76"/>
                <a:gd name="T7" fmla="*/ 38 h 76"/>
                <a:gd name="T8" fmla="*/ 38 w 76"/>
                <a:gd name="T9" fmla="*/ 76 h 76"/>
                <a:gd name="T10" fmla="*/ 38 w 76"/>
                <a:gd name="T11" fmla="*/ 4 h 76"/>
                <a:gd name="T12" fmla="*/ 4 w 76"/>
                <a:gd name="T13" fmla="*/ 38 h 76"/>
                <a:gd name="T14" fmla="*/ 38 w 76"/>
                <a:gd name="T15" fmla="*/ 72 h 76"/>
                <a:gd name="T16" fmla="*/ 72 w 76"/>
                <a:gd name="T17" fmla="*/ 38 h 76"/>
                <a:gd name="T18" fmla="*/ 38 w 76"/>
                <a:gd name="T19" fmla="*/ 4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6" h="76">
                  <a:moveTo>
                    <a:pt x="38" y="76"/>
                  </a:moveTo>
                  <a:cubicBezTo>
                    <a:pt x="17" y="76"/>
                    <a:pt x="0" y="59"/>
                    <a:pt x="0" y="38"/>
                  </a:cubicBezTo>
                  <a:cubicBezTo>
                    <a:pt x="0" y="17"/>
                    <a:pt x="17" y="0"/>
                    <a:pt x="38" y="0"/>
                  </a:cubicBezTo>
                  <a:cubicBezTo>
                    <a:pt x="59" y="0"/>
                    <a:pt x="76" y="17"/>
                    <a:pt x="76" y="38"/>
                  </a:cubicBezTo>
                  <a:cubicBezTo>
                    <a:pt x="76" y="59"/>
                    <a:pt x="59" y="76"/>
                    <a:pt x="38" y="76"/>
                  </a:cubicBezTo>
                  <a:close/>
                  <a:moveTo>
                    <a:pt x="38" y="4"/>
                  </a:moveTo>
                  <a:cubicBezTo>
                    <a:pt x="19" y="4"/>
                    <a:pt x="4" y="19"/>
                    <a:pt x="4" y="38"/>
                  </a:cubicBezTo>
                  <a:cubicBezTo>
                    <a:pt x="4" y="57"/>
                    <a:pt x="19" y="72"/>
                    <a:pt x="38" y="72"/>
                  </a:cubicBezTo>
                  <a:cubicBezTo>
                    <a:pt x="57" y="72"/>
                    <a:pt x="72" y="57"/>
                    <a:pt x="72" y="38"/>
                  </a:cubicBezTo>
                  <a:cubicBezTo>
                    <a:pt x="72" y="19"/>
                    <a:pt x="57" y="4"/>
                    <a:pt x="3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9" name="Freeform 34"/>
            <p:cNvSpPr>
              <a:spLocks noEditPoints="1"/>
            </p:cNvSpPr>
            <p:nvPr/>
          </p:nvSpPr>
          <p:spPr bwMode="auto">
            <a:xfrm>
              <a:off x="-555625" y="5411788"/>
              <a:ext cx="155575" cy="155575"/>
            </a:xfrm>
            <a:custGeom>
              <a:avLst/>
              <a:gdLst>
                <a:gd name="T0" fmla="*/ 32 w 40"/>
                <a:gd name="T1" fmla="*/ 40 h 40"/>
                <a:gd name="T2" fmla="*/ 31 w 40"/>
                <a:gd name="T3" fmla="*/ 40 h 40"/>
                <a:gd name="T4" fmla="*/ 20 w 40"/>
                <a:gd name="T5" fmla="*/ 33 h 40"/>
                <a:gd name="T6" fmla="*/ 9 w 40"/>
                <a:gd name="T7" fmla="*/ 40 h 40"/>
                <a:gd name="T8" fmla="*/ 7 w 40"/>
                <a:gd name="T9" fmla="*/ 40 h 40"/>
                <a:gd name="T10" fmla="*/ 6 w 40"/>
                <a:gd name="T11" fmla="*/ 37 h 40"/>
                <a:gd name="T12" fmla="*/ 10 w 40"/>
                <a:gd name="T13" fmla="*/ 25 h 40"/>
                <a:gd name="T14" fmla="*/ 1 w 40"/>
                <a:gd name="T15" fmla="*/ 15 h 40"/>
                <a:gd name="T16" fmla="*/ 0 w 40"/>
                <a:gd name="T17" fmla="*/ 13 h 40"/>
                <a:gd name="T18" fmla="*/ 2 w 40"/>
                <a:gd name="T19" fmla="*/ 12 h 40"/>
                <a:gd name="T20" fmla="*/ 13 w 40"/>
                <a:gd name="T21" fmla="*/ 12 h 40"/>
                <a:gd name="T22" fmla="*/ 18 w 40"/>
                <a:gd name="T23" fmla="*/ 1 h 40"/>
                <a:gd name="T24" fmla="*/ 22 w 40"/>
                <a:gd name="T25" fmla="*/ 1 h 40"/>
                <a:gd name="T26" fmla="*/ 27 w 40"/>
                <a:gd name="T27" fmla="*/ 12 h 40"/>
                <a:gd name="T28" fmla="*/ 38 w 40"/>
                <a:gd name="T29" fmla="*/ 12 h 40"/>
                <a:gd name="T30" fmla="*/ 40 w 40"/>
                <a:gd name="T31" fmla="*/ 13 h 40"/>
                <a:gd name="T32" fmla="*/ 39 w 40"/>
                <a:gd name="T33" fmla="*/ 15 h 40"/>
                <a:gd name="T34" fmla="*/ 30 w 40"/>
                <a:gd name="T35" fmla="*/ 25 h 40"/>
                <a:gd name="T36" fmla="*/ 34 w 40"/>
                <a:gd name="T37" fmla="*/ 37 h 40"/>
                <a:gd name="T38" fmla="*/ 33 w 40"/>
                <a:gd name="T39" fmla="*/ 40 h 40"/>
                <a:gd name="T40" fmla="*/ 32 w 40"/>
                <a:gd name="T41" fmla="*/ 40 h 40"/>
                <a:gd name="T42" fmla="*/ 20 w 40"/>
                <a:gd name="T43" fmla="*/ 28 h 40"/>
                <a:gd name="T44" fmla="*/ 21 w 40"/>
                <a:gd name="T45" fmla="*/ 29 h 40"/>
                <a:gd name="T46" fmla="*/ 29 w 40"/>
                <a:gd name="T47" fmla="*/ 34 h 40"/>
                <a:gd name="T48" fmla="*/ 26 w 40"/>
                <a:gd name="T49" fmla="*/ 25 h 40"/>
                <a:gd name="T50" fmla="*/ 27 w 40"/>
                <a:gd name="T51" fmla="*/ 23 h 40"/>
                <a:gd name="T52" fmla="*/ 33 w 40"/>
                <a:gd name="T53" fmla="*/ 16 h 40"/>
                <a:gd name="T54" fmla="*/ 26 w 40"/>
                <a:gd name="T55" fmla="*/ 16 h 40"/>
                <a:gd name="T56" fmla="*/ 24 w 40"/>
                <a:gd name="T57" fmla="*/ 15 h 40"/>
                <a:gd name="T58" fmla="*/ 20 w 40"/>
                <a:gd name="T59" fmla="*/ 6 h 40"/>
                <a:gd name="T60" fmla="*/ 16 w 40"/>
                <a:gd name="T61" fmla="*/ 15 h 40"/>
                <a:gd name="T62" fmla="*/ 14 w 40"/>
                <a:gd name="T63" fmla="*/ 16 h 40"/>
                <a:gd name="T64" fmla="*/ 7 w 40"/>
                <a:gd name="T65" fmla="*/ 16 h 40"/>
                <a:gd name="T66" fmla="*/ 13 w 40"/>
                <a:gd name="T67" fmla="*/ 23 h 40"/>
                <a:gd name="T68" fmla="*/ 14 w 40"/>
                <a:gd name="T69" fmla="*/ 25 h 40"/>
                <a:gd name="T70" fmla="*/ 11 w 40"/>
                <a:gd name="T71" fmla="*/ 34 h 40"/>
                <a:gd name="T72" fmla="*/ 19 w 40"/>
                <a:gd name="T73" fmla="*/ 29 h 40"/>
                <a:gd name="T74" fmla="*/ 20 w 40"/>
                <a:gd name="T75" fmla="*/ 2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0" h="40">
                  <a:moveTo>
                    <a:pt x="32" y="40"/>
                  </a:moveTo>
                  <a:cubicBezTo>
                    <a:pt x="32" y="40"/>
                    <a:pt x="31" y="40"/>
                    <a:pt x="31" y="40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9" y="40"/>
                    <a:pt x="9" y="40"/>
                    <a:pt x="9" y="40"/>
                  </a:cubicBezTo>
                  <a:cubicBezTo>
                    <a:pt x="8" y="40"/>
                    <a:pt x="7" y="40"/>
                    <a:pt x="7" y="40"/>
                  </a:cubicBezTo>
                  <a:cubicBezTo>
                    <a:pt x="6" y="39"/>
                    <a:pt x="6" y="38"/>
                    <a:pt x="6" y="37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0" y="15"/>
                    <a:pt x="0" y="14"/>
                    <a:pt x="0" y="13"/>
                  </a:cubicBezTo>
                  <a:cubicBezTo>
                    <a:pt x="0" y="12"/>
                    <a:pt x="1" y="12"/>
                    <a:pt x="2" y="12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9" y="0"/>
                    <a:pt x="21" y="0"/>
                    <a:pt x="22" y="1"/>
                  </a:cubicBezTo>
                  <a:cubicBezTo>
                    <a:pt x="27" y="12"/>
                    <a:pt x="27" y="12"/>
                    <a:pt x="27" y="12"/>
                  </a:cubicBezTo>
                  <a:cubicBezTo>
                    <a:pt x="38" y="12"/>
                    <a:pt x="38" y="12"/>
                    <a:pt x="38" y="12"/>
                  </a:cubicBezTo>
                  <a:cubicBezTo>
                    <a:pt x="39" y="12"/>
                    <a:pt x="40" y="12"/>
                    <a:pt x="40" y="13"/>
                  </a:cubicBezTo>
                  <a:cubicBezTo>
                    <a:pt x="40" y="14"/>
                    <a:pt x="40" y="15"/>
                    <a:pt x="39" y="15"/>
                  </a:cubicBezTo>
                  <a:cubicBezTo>
                    <a:pt x="30" y="25"/>
                    <a:pt x="30" y="25"/>
                    <a:pt x="30" y="25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4" y="38"/>
                    <a:pt x="34" y="39"/>
                    <a:pt x="33" y="40"/>
                  </a:cubicBezTo>
                  <a:cubicBezTo>
                    <a:pt x="33" y="40"/>
                    <a:pt x="32" y="40"/>
                    <a:pt x="32" y="40"/>
                  </a:cubicBezTo>
                  <a:close/>
                  <a:moveTo>
                    <a:pt x="20" y="28"/>
                  </a:moveTo>
                  <a:cubicBezTo>
                    <a:pt x="20" y="28"/>
                    <a:pt x="21" y="29"/>
                    <a:pt x="21" y="29"/>
                  </a:cubicBezTo>
                  <a:cubicBezTo>
                    <a:pt x="29" y="34"/>
                    <a:pt x="29" y="34"/>
                    <a:pt x="29" y="34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6" y="24"/>
                    <a:pt x="26" y="23"/>
                    <a:pt x="27" y="23"/>
                  </a:cubicBezTo>
                  <a:cubicBezTo>
                    <a:pt x="33" y="16"/>
                    <a:pt x="33" y="16"/>
                    <a:pt x="33" y="16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5" y="16"/>
                    <a:pt x="25" y="16"/>
                    <a:pt x="24" y="15"/>
                  </a:cubicBezTo>
                  <a:cubicBezTo>
                    <a:pt x="20" y="6"/>
                    <a:pt x="20" y="6"/>
                    <a:pt x="20" y="6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5" y="16"/>
                    <a:pt x="15" y="16"/>
                    <a:pt x="14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4" y="23"/>
                    <a:pt x="14" y="24"/>
                    <a:pt x="14" y="25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9" y="29"/>
                    <a:pt x="19" y="29"/>
                    <a:pt x="19" y="29"/>
                  </a:cubicBezTo>
                  <a:cubicBezTo>
                    <a:pt x="19" y="29"/>
                    <a:pt x="20" y="28"/>
                    <a:pt x="20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60" name="TextBox 159"/>
          <p:cNvSpPr txBox="1"/>
          <p:nvPr/>
        </p:nvSpPr>
        <p:spPr>
          <a:xfrm>
            <a:off x="3307190" y="2192593"/>
            <a:ext cx="454840" cy="430887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1</a:t>
            </a:r>
          </a:p>
        </p:txBody>
      </p:sp>
      <p:grpSp>
        <p:nvGrpSpPr>
          <p:cNvPr id="161" name="Group 160"/>
          <p:cNvGrpSpPr/>
          <p:nvPr/>
        </p:nvGrpSpPr>
        <p:grpSpPr>
          <a:xfrm>
            <a:off x="2120039" y="2086699"/>
            <a:ext cx="398679" cy="384376"/>
            <a:chOff x="2084694" y="3456367"/>
            <a:chExt cx="298717" cy="288000"/>
          </a:xfrm>
        </p:grpSpPr>
        <p:sp>
          <p:nvSpPr>
            <p:cNvPr id="162" name="Freeform 52"/>
            <p:cNvSpPr>
              <a:spLocks noEditPoints="1"/>
            </p:cNvSpPr>
            <p:nvPr/>
          </p:nvSpPr>
          <p:spPr bwMode="auto">
            <a:xfrm>
              <a:off x="2103448" y="3586302"/>
              <a:ext cx="79033" cy="79033"/>
            </a:xfrm>
            <a:custGeom>
              <a:avLst/>
              <a:gdLst>
                <a:gd name="T0" fmla="*/ 12 w 24"/>
                <a:gd name="T1" fmla="*/ 24 h 24"/>
                <a:gd name="T2" fmla="*/ 0 w 24"/>
                <a:gd name="T3" fmla="*/ 12 h 24"/>
                <a:gd name="T4" fmla="*/ 12 w 24"/>
                <a:gd name="T5" fmla="*/ 0 h 24"/>
                <a:gd name="T6" fmla="*/ 24 w 24"/>
                <a:gd name="T7" fmla="*/ 12 h 24"/>
                <a:gd name="T8" fmla="*/ 12 w 24"/>
                <a:gd name="T9" fmla="*/ 24 h 24"/>
                <a:gd name="T10" fmla="*/ 12 w 24"/>
                <a:gd name="T11" fmla="*/ 4 h 24"/>
                <a:gd name="T12" fmla="*/ 4 w 24"/>
                <a:gd name="T13" fmla="*/ 12 h 24"/>
                <a:gd name="T14" fmla="*/ 12 w 24"/>
                <a:gd name="T15" fmla="*/ 20 h 24"/>
                <a:gd name="T16" fmla="*/ 20 w 24"/>
                <a:gd name="T17" fmla="*/ 12 h 24"/>
                <a:gd name="T18" fmla="*/ 12 w 24"/>
                <a:gd name="T19" fmla="*/ 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24">
                  <a:moveTo>
                    <a:pt x="12" y="24"/>
                  </a:moveTo>
                  <a:cubicBezTo>
                    <a:pt x="5" y="24"/>
                    <a:pt x="0" y="19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19"/>
                    <a:pt x="19" y="24"/>
                    <a:pt x="12" y="24"/>
                  </a:cubicBezTo>
                  <a:close/>
                  <a:moveTo>
                    <a:pt x="12" y="4"/>
                  </a:moveTo>
                  <a:cubicBezTo>
                    <a:pt x="8" y="4"/>
                    <a:pt x="4" y="8"/>
                    <a:pt x="4" y="12"/>
                  </a:cubicBezTo>
                  <a:cubicBezTo>
                    <a:pt x="4" y="16"/>
                    <a:pt x="8" y="20"/>
                    <a:pt x="12" y="20"/>
                  </a:cubicBezTo>
                  <a:cubicBezTo>
                    <a:pt x="16" y="20"/>
                    <a:pt x="20" y="16"/>
                    <a:pt x="20" y="12"/>
                  </a:cubicBezTo>
                  <a:cubicBezTo>
                    <a:pt x="20" y="8"/>
                    <a:pt x="16" y="4"/>
                    <a:pt x="12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3" name="Freeform 53"/>
            <p:cNvSpPr>
              <a:spLocks/>
            </p:cNvSpPr>
            <p:nvPr/>
          </p:nvSpPr>
          <p:spPr bwMode="auto">
            <a:xfrm>
              <a:off x="2084694" y="3651939"/>
              <a:ext cx="107163" cy="65638"/>
            </a:xfrm>
            <a:custGeom>
              <a:avLst/>
              <a:gdLst>
                <a:gd name="T0" fmla="*/ 24 w 33"/>
                <a:gd name="T1" fmla="*/ 20 h 20"/>
                <a:gd name="T2" fmla="*/ 2 w 33"/>
                <a:gd name="T3" fmla="*/ 20 h 20"/>
                <a:gd name="T4" fmla="*/ 0 w 33"/>
                <a:gd name="T5" fmla="*/ 18 h 20"/>
                <a:gd name="T6" fmla="*/ 18 w 33"/>
                <a:gd name="T7" fmla="*/ 0 h 20"/>
                <a:gd name="T8" fmla="*/ 33 w 33"/>
                <a:gd name="T9" fmla="*/ 7 h 20"/>
                <a:gd name="T10" fmla="*/ 32 w 33"/>
                <a:gd name="T11" fmla="*/ 10 h 20"/>
                <a:gd name="T12" fmla="*/ 29 w 33"/>
                <a:gd name="T13" fmla="*/ 10 h 20"/>
                <a:gd name="T14" fmla="*/ 18 w 33"/>
                <a:gd name="T15" fmla="*/ 4 h 20"/>
                <a:gd name="T16" fmla="*/ 4 w 33"/>
                <a:gd name="T17" fmla="*/ 16 h 20"/>
                <a:gd name="T18" fmla="*/ 24 w 33"/>
                <a:gd name="T19" fmla="*/ 16 h 20"/>
                <a:gd name="T20" fmla="*/ 26 w 33"/>
                <a:gd name="T21" fmla="*/ 18 h 20"/>
                <a:gd name="T22" fmla="*/ 24 w 33"/>
                <a:gd name="T23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20">
                  <a:moveTo>
                    <a:pt x="24" y="20"/>
                  </a:move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4" y="0"/>
                    <a:pt x="29" y="3"/>
                    <a:pt x="33" y="7"/>
                  </a:cubicBezTo>
                  <a:cubicBezTo>
                    <a:pt x="33" y="8"/>
                    <a:pt x="33" y="9"/>
                    <a:pt x="32" y="10"/>
                  </a:cubicBezTo>
                  <a:cubicBezTo>
                    <a:pt x="31" y="11"/>
                    <a:pt x="30" y="11"/>
                    <a:pt x="29" y="10"/>
                  </a:cubicBezTo>
                  <a:cubicBezTo>
                    <a:pt x="27" y="6"/>
                    <a:pt x="22" y="4"/>
                    <a:pt x="18" y="4"/>
                  </a:cubicBezTo>
                  <a:cubicBezTo>
                    <a:pt x="11" y="4"/>
                    <a:pt x="5" y="9"/>
                    <a:pt x="4" y="16"/>
                  </a:cubicBezTo>
                  <a:cubicBezTo>
                    <a:pt x="24" y="16"/>
                    <a:pt x="24" y="16"/>
                    <a:pt x="24" y="16"/>
                  </a:cubicBezTo>
                  <a:cubicBezTo>
                    <a:pt x="25" y="16"/>
                    <a:pt x="26" y="17"/>
                    <a:pt x="26" y="18"/>
                  </a:cubicBezTo>
                  <a:cubicBezTo>
                    <a:pt x="26" y="19"/>
                    <a:pt x="25" y="20"/>
                    <a:pt x="24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4" name="Freeform 54"/>
            <p:cNvSpPr>
              <a:spLocks noEditPoints="1"/>
            </p:cNvSpPr>
            <p:nvPr/>
          </p:nvSpPr>
          <p:spPr bwMode="auto">
            <a:xfrm>
              <a:off x="2285624" y="3586302"/>
              <a:ext cx="79033" cy="79033"/>
            </a:xfrm>
            <a:custGeom>
              <a:avLst/>
              <a:gdLst>
                <a:gd name="T0" fmla="*/ 12 w 24"/>
                <a:gd name="T1" fmla="*/ 24 h 24"/>
                <a:gd name="T2" fmla="*/ 0 w 24"/>
                <a:gd name="T3" fmla="*/ 12 h 24"/>
                <a:gd name="T4" fmla="*/ 12 w 24"/>
                <a:gd name="T5" fmla="*/ 0 h 24"/>
                <a:gd name="T6" fmla="*/ 24 w 24"/>
                <a:gd name="T7" fmla="*/ 12 h 24"/>
                <a:gd name="T8" fmla="*/ 12 w 24"/>
                <a:gd name="T9" fmla="*/ 24 h 24"/>
                <a:gd name="T10" fmla="*/ 12 w 24"/>
                <a:gd name="T11" fmla="*/ 4 h 24"/>
                <a:gd name="T12" fmla="*/ 4 w 24"/>
                <a:gd name="T13" fmla="*/ 12 h 24"/>
                <a:gd name="T14" fmla="*/ 12 w 24"/>
                <a:gd name="T15" fmla="*/ 20 h 24"/>
                <a:gd name="T16" fmla="*/ 20 w 24"/>
                <a:gd name="T17" fmla="*/ 12 h 24"/>
                <a:gd name="T18" fmla="*/ 12 w 24"/>
                <a:gd name="T19" fmla="*/ 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24">
                  <a:moveTo>
                    <a:pt x="12" y="24"/>
                  </a:moveTo>
                  <a:cubicBezTo>
                    <a:pt x="5" y="24"/>
                    <a:pt x="0" y="19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19"/>
                    <a:pt x="19" y="24"/>
                    <a:pt x="12" y="24"/>
                  </a:cubicBezTo>
                  <a:close/>
                  <a:moveTo>
                    <a:pt x="12" y="4"/>
                  </a:moveTo>
                  <a:cubicBezTo>
                    <a:pt x="8" y="4"/>
                    <a:pt x="4" y="8"/>
                    <a:pt x="4" y="12"/>
                  </a:cubicBezTo>
                  <a:cubicBezTo>
                    <a:pt x="4" y="16"/>
                    <a:pt x="8" y="20"/>
                    <a:pt x="12" y="20"/>
                  </a:cubicBezTo>
                  <a:cubicBezTo>
                    <a:pt x="16" y="20"/>
                    <a:pt x="20" y="16"/>
                    <a:pt x="20" y="12"/>
                  </a:cubicBezTo>
                  <a:cubicBezTo>
                    <a:pt x="20" y="8"/>
                    <a:pt x="16" y="4"/>
                    <a:pt x="12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5" name="Freeform 55"/>
            <p:cNvSpPr>
              <a:spLocks/>
            </p:cNvSpPr>
            <p:nvPr/>
          </p:nvSpPr>
          <p:spPr bwMode="auto">
            <a:xfrm>
              <a:off x="2276248" y="3651939"/>
              <a:ext cx="107163" cy="65638"/>
            </a:xfrm>
            <a:custGeom>
              <a:avLst/>
              <a:gdLst>
                <a:gd name="T0" fmla="*/ 31 w 33"/>
                <a:gd name="T1" fmla="*/ 20 h 20"/>
                <a:gd name="T2" fmla="*/ 9 w 33"/>
                <a:gd name="T3" fmla="*/ 20 h 20"/>
                <a:gd name="T4" fmla="*/ 7 w 33"/>
                <a:gd name="T5" fmla="*/ 18 h 20"/>
                <a:gd name="T6" fmla="*/ 9 w 33"/>
                <a:gd name="T7" fmla="*/ 16 h 20"/>
                <a:gd name="T8" fmla="*/ 29 w 33"/>
                <a:gd name="T9" fmla="*/ 16 h 20"/>
                <a:gd name="T10" fmla="*/ 15 w 33"/>
                <a:gd name="T11" fmla="*/ 4 h 20"/>
                <a:gd name="T12" fmla="*/ 4 w 33"/>
                <a:gd name="T13" fmla="*/ 10 h 20"/>
                <a:gd name="T14" fmla="*/ 1 w 33"/>
                <a:gd name="T15" fmla="*/ 10 h 20"/>
                <a:gd name="T16" fmla="*/ 0 w 33"/>
                <a:gd name="T17" fmla="*/ 7 h 20"/>
                <a:gd name="T18" fmla="*/ 15 w 33"/>
                <a:gd name="T19" fmla="*/ 0 h 20"/>
                <a:gd name="T20" fmla="*/ 33 w 33"/>
                <a:gd name="T21" fmla="*/ 18 h 20"/>
                <a:gd name="T22" fmla="*/ 31 w 33"/>
                <a:gd name="T23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20">
                  <a:moveTo>
                    <a:pt x="31" y="20"/>
                  </a:moveTo>
                  <a:cubicBezTo>
                    <a:pt x="9" y="20"/>
                    <a:pt x="9" y="20"/>
                    <a:pt x="9" y="20"/>
                  </a:cubicBezTo>
                  <a:cubicBezTo>
                    <a:pt x="8" y="20"/>
                    <a:pt x="7" y="19"/>
                    <a:pt x="7" y="18"/>
                  </a:cubicBezTo>
                  <a:cubicBezTo>
                    <a:pt x="7" y="17"/>
                    <a:pt x="8" y="16"/>
                    <a:pt x="9" y="16"/>
                  </a:cubicBezTo>
                  <a:cubicBezTo>
                    <a:pt x="29" y="16"/>
                    <a:pt x="29" y="16"/>
                    <a:pt x="29" y="16"/>
                  </a:cubicBezTo>
                  <a:cubicBezTo>
                    <a:pt x="28" y="9"/>
                    <a:pt x="22" y="4"/>
                    <a:pt x="15" y="4"/>
                  </a:cubicBezTo>
                  <a:cubicBezTo>
                    <a:pt x="11" y="4"/>
                    <a:pt x="6" y="6"/>
                    <a:pt x="4" y="10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0" y="10"/>
                    <a:pt x="0" y="8"/>
                    <a:pt x="0" y="7"/>
                  </a:cubicBezTo>
                  <a:cubicBezTo>
                    <a:pt x="4" y="3"/>
                    <a:pt x="9" y="0"/>
                    <a:pt x="15" y="0"/>
                  </a:cubicBezTo>
                  <a:cubicBezTo>
                    <a:pt x="25" y="0"/>
                    <a:pt x="33" y="8"/>
                    <a:pt x="33" y="18"/>
                  </a:cubicBezTo>
                  <a:cubicBezTo>
                    <a:pt x="33" y="19"/>
                    <a:pt x="32" y="20"/>
                    <a:pt x="31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6" name="Freeform 56"/>
            <p:cNvSpPr>
              <a:spLocks noEditPoints="1"/>
            </p:cNvSpPr>
            <p:nvPr/>
          </p:nvSpPr>
          <p:spPr bwMode="auto">
            <a:xfrm>
              <a:off x="2182481" y="3560851"/>
              <a:ext cx="103145" cy="107163"/>
            </a:xfrm>
            <a:custGeom>
              <a:avLst/>
              <a:gdLst>
                <a:gd name="T0" fmla="*/ 16 w 32"/>
                <a:gd name="T1" fmla="*/ 33 h 33"/>
                <a:gd name="T2" fmla="*/ 0 w 32"/>
                <a:gd name="T3" fmla="*/ 16 h 33"/>
                <a:gd name="T4" fmla="*/ 16 w 32"/>
                <a:gd name="T5" fmla="*/ 0 h 33"/>
                <a:gd name="T6" fmla="*/ 32 w 32"/>
                <a:gd name="T7" fmla="*/ 16 h 33"/>
                <a:gd name="T8" fmla="*/ 16 w 32"/>
                <a:gd name="T9" fmla="*/ 33 h 33"/>
                <a:gd name="T10" fmla="*/ 16 w 32"/>
                <a:gd name="T11" fmla="*/ 4 h 33"/>
                <a:gd name="T12" fmla="*/ 4 w 32"/>
                <a:gd name="T13" fmla="*/ 16 h 33"/>
                <a:gd name="T14" fmla="*/ 16 w 32"/>
                <a:gd name="T15" fmla="*/ 29 h 33"/>
                <a:gd name="T16" fmla="*/ 28 w 32"/>
                <a:gd name="T17" fmla="*/ 16 h 33"/>
                <a:gd name="T18" fmla="*/ 16 w 32"/>
                <a:gd name="T19" fmla="*/ 4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33">
                  <a:moveTo>
                    <a:pt x="16" y="33"/>
                  </a:moveTo>
                  <a:cubicBezTo>
                    <a:pt x="7" y="33"/>
                    <a:pt x="0" y="2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25" y="0"/>
                    <a:pt x="32" y="7"/>
                    <a:pt x="32" y="16"/>
                  </a:cubicBezTo>
                  <a:cubicBezTo>
                    <a:pt x="32" y="26"/>
                    <a:pt x="25" y="33"/>
                    <a:pt x="16" y="33"/>
                  </a:cubicBezTo>
                  <a:close/>
                  <a:moveTo>
                    <a:pt x="16" y="4"/>
                  </a:moveTo>
                  <a:cubicBezTo>
                    <a:pt x="9" y="4"/>
                    <a:pt x="4" y="10"/>
                    <a:pt x="4" y="16"/>
                  </a:cubicBezTo>
                  <a:cubicBezTo>
                    <a:pt x="4" y="23"/>
                    <a:pt x="9" y="29"/>
                    <a:pt x="16" y="29"/>
                  </a:cubicBezTo>
                  <a:cubicBezTo>
                    <a:pt x="23" y="29"/>
                    <a:pt x="28" y="23"/>
                    <a:pt x="28" y="16"/>
                  </a:cubicBezTo>
                  <a:cubicBezTo>
                    <a:pt x="28" y="10"/>
                    <a:pt x="23" y="4"/>
                    <a:pt x="16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7" name="Freeform 57"/>
            <p:cNvSpPr>
              <a:spLocks/>
            </p:cNvSpPr>
            <p:nvPr/>
          </p:nvSpPr>
          <p:spPr bwMode="auto">
            <a:xfrm>
              <a:off x="2159708" y="3520665"/>
              <a:ext cx="148689" cy="46884"/>
            </a:xfrm>
            <a:custGeom>
              <a:avLst/>
              <a:gdLst>
                <a:gd name="T0" fmla="*/ 2 w 46"/>
                <a:gd name="T1" fmla="*/ 14 h 14"/>
                <a:gd name="T2" fmla="*/ 1 w 46"/>
                <a:gd name="T3" fmla="*/ 14 h 14"/>
                <a:gd name="T4" fmla="*/ 1 w 46"/>
                <a:gd name="T5" fmla="*/ 11 h 14"/>
                <a:gd name="T6" fmla="*/ 23 w 46"/>
                <a:gd name="T7" fmla="*/ 0 h 14"/>
                <a:gd name="T8" fmla="*/ 45 w 46"/>
                <a:gd name="T9" fmla="*/ 11 h 14"/>
                <a:gd name="T10" fmla="*/ 45 w 46"/>
                <a:gd name="T11" fmla="*/ 14 h 14"/>
                <a:gd name="T12" fmla="*/ 42 w 46"/>
                <a:gd name="T13" fmla="*/ 13 h 14"/>
                <a:gd name="T14" fmla="*/ 23 w 46"/>
                <a:gd name="T15" fmla="*/ 4 h 14"/>
                <a:gd name="T16" fmla="*/ 4 w 46"/>
                <a:gd name="T17" fmla="*/ 13 h 14"/>
                <a:gd name="T18" fmla="*/ 2 w 46"/>
                <a:gd name="T1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6" h="14">
                  <a:moveTo>
                    <a:pt x="2" y="14"/>
                  </a:moveTo>
                  <a:cubicBezTo>
                    <a:pt x="2" y="14"/>
                    <a:pt x="2" y="14"/>
                    <a:pt x="1" y="14"/>
                  </a:cubicBezTo>
                  <a:cubicBezTo>
                    <a:pt x="0" y="13"/>
                    <a:pt x="0" y="12"/>
                    <a:pt x="1" y="11"/>
                  </a:cubicBezTo>
                  <a:cubicBezTo>
                    <a:pt x="6" y="4"/>
                    <a:pt x="14" y="0"/>
                    <a:pt x="23" y="0"/>
                  </a:cubicBezTo>
                  <a:cubicBezTo>
                    <a:pt x="32" y="0"/>
                    <a:pt x="40" y="4"/>
                    <a:pt x="45" y="11"/>
                  </a:cubicBezTo>
                  <a:cubicBezTo>
                    <a:pt x="46" y="12"/>
                    <a:pt x="46" y="13"/>
                    <a:pt x="45" y="14"/>
                  </a:cubicBezTo>
                  <a:cubicBezTo>
                    <a:pt x="44" y="14"/>
                    <a:pt x="43" y="14"/>
                    <a:pt x="42" y="13"/>
                  </a:cubicBezTo>
                  <a:cubicBezTo>
                    <a:pt x="37" y="7"/>
                    <a:pt x="30" y="4"/>
                    <a:pt x="23" y="4"/>
                  </a:cubicBezTo>
                  <a:cubicBezTo>
                    <a:pt x="16" y="4"/>
                    <a:pt x="9" y="7"/>
                    <a:pt x="4" y="13"/>
                  </a:cubicBezTo>
                  <a:cubicBezTo>
                    <a:pt x="4" y="14"/>
                    <a:pt x="3" y="14"/>
                    <a:pt x="2" y="1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8" name="Freeform 58"/>
            <p:cNvSpPr>
              <a:spLocks/>
            </p:cNvSpPr>
            <p:nvPr/>
          </p:nvSpPr>
          <p:spPr bwMode="auto">
            <a:xfrm>
              <a:off x="2136936" y="3488516"/>
              <a:ext cx="195572" cy="58940"/>
            </a:xfrm>
            <a:custGeom>
              <a:avLst/>
              <a:gdLst>
                <a:gd name="T0" fmla="*/ 2 w 60"/>
                <a:gd name="T1" fmla="*/ 17 h 18"/>
                <a:gd name="T2" fmla="*/ 1 w 60"/>
                <a:gd name="T3" fmla="*/ 17 h 18"/>
                <a:gd name="T4" fmla="*/ 0 w 60"/>
                <a:gd name="T5" fmla="*/ 14 h 18"/>
                <a:gd name="T6" fmla="*/ 30 w 60"/>
                <a:gd name="T7" fmla="*/ 0 h 18"/>
                <a:gd name="T8" fmla="*/ 60 w 60"/>
                <a:gd name="T9" fmla="*/ 14 h 18"/>
                <a:gd name="T10" fmla="*/ 59 w 60"/>
                <a:gd name="T11" fmla="*/ 17 h 18"/>
                <a:gd name="T12" fmla="*/ 56 w 60"/>
                <a:gd name="T13" fmla="*/ 17 h 18"/>
                <a:gd name="T14" fmla="*/ 30 w 60"/>
                <a:gd name="T15" fmla="*/ 4 h 18"/>
                <a:gd name="T16" fmla="*/ 4 w 60"/>
                <a:gd name="T17" fmla="*/ 17 h 18"/>
                <a:gd name="T18" fmla="*/ 2 w 60"/>
                <a:gd name="T19" fmla="*/ 1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18">
                  <a:moveTo>
                    <a:pt x="2" y="17"/>
                  </a:moveTo>
                  <a:cubicBezTo>
                    <a:pt x="2" y="17"/>
                    <a:pt x="1" y="17"/>
                    <a:pt x="1" y="17"/>
                  </a:cubicBezTo>
                  <a:cubicBezTo>
                    <a:pt x="0" y="16"/>
                    <a:pt x="0" y="15"/>
                    <a:pt x="0" y="14"/>
                  </a:cubicBezTo>
                  <a:cubicBezTo>
                    <a:pt x="8" y="5"/>
                    <a:pt x="18" y="0"/>
                    <a:pt x="30" y="0"/>
                  </a:cubicBezTo>
                  <a:cubicBezTo>
                    <a:pt x="42" y="0"/>
                    <a:pt x="52" y="5"/>
                    <a:pt x="60" y="14"/>
                  </a:cubicBezTo>
                  <a:cubicBezTo>
                    <a:pt x="60" y="15"/>
                    <a:pt x="60" y="16"/>
                    <a:pt x="59" y="17"/>
                  </a:cubicBezTo>
                  <a:cubicBezTo>
                    <a:pt x="58" y="18"/>
                    <a:pt x="57" y="17"/>
                    <a:pt x="56" y="17"/>
                  </a:cubicBezTo>
                  <a:cubicBezTo>
                    <a:pt x="50" y="9"/>
                    <a:pt x="40" y="4"/>
                    <a:pt x="30" y="4"/>
                  </a:cubicBezTo>
                  <a:cubicBezTo>
                    <a:pt x="20" y="4"/>
                    <a:pt x="10" y="9"/>
                    <a:pt x="4" y="17"/>
                  </a:cubicBezTo>
                  <a:cubicBezTo>
                    <a:pt x="3" y="17"/>
                    <a:pt x="3" y="17"/>
                    <a:pt x="2" y="1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9" name="Freeform 59"/>
            <p:cNvSpPr>
              <a:spLocks/>
            </p:cNvSpPr>
            <p:nvPr/>
          </p:nvSpPr>
          <p:spPr bwMode="auto">
            <a:xfrm>
              <a:off x="2110146" y="3456367"/>
              <a:ext cx="247815" cy="70996"/>
            </a:xfrm>
            <a:custGeom>
              <a:avLst/>
              <a:gdLst>
                <a:gd name="T0" fmla="*/ 74 w 76"/>
                <a:gd name="T1" fmla="*/ 21 h 22"/>
                <a:gd name="T2" fmla="*/ 73 w 76"/>
                <a:gd name="T3" fmla="*/ 21 h 22"/>
                <a:gd name="T4" fmla="*/ 38 w 76"/>
                <a:gd name="T5" fmla="*/ 4 h 22"/>
                <a:gd name="T6" fmla="*/ 4 w 76"/>
                <a:gd name="T7" fmla="*/ 21 h 22"/>
                <a:gd name="T8" fmla="*/ 1 w 76"/>
                <a:gd name="T9" fmla="*/ 21 h 22"/>
                <a:gd name="T10" fmla="*/ 0 w 76"/>
                <a:gd name="T11" fmla="*/ 18 h 22"/>
                <a:gd name="T12" fmla="*/ 38 w 76"/>
                <a:gd name="T13" fmla="*/ 0 h 22"/>
                <a:gd name="T14" fmla="*/ 76 w 76"/>
                <a:gd name="T15" fmla="*/ 18 h 22"/>
                <a:gd name="T16" fmla="*/ 75 w 76"/>
                <a:gd name="T17" fmla="*/ 21 h 22"/>
                <a:gd name="T18" fmla="*/ 74 w 76"/>
                <a:gd name="T19" fmla="*/ 2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6" h="22">
                  <a:moveTo>
                    <a:pt x="74" y="21"/>
                  </a:moveTo>
                  <a:cubicBezTo>
                    <a:pt x="73" y="21"/>
                    <a:pt x="73" y="21"/>
                    <a:pt x="73" y="21"/>
                  </a:cubicBezTo>
                  <a:cubicBezTo>
                    <a:pt x="64" y="10"/>
                    <a:pt x="52" y="4"/>
                    <a:pt x="38" y="4"/>
                  </a:cubicBezTo>
                  <a:cubicBezTo>
                    <a:pt x="24" y="4"/>
                    <a:pt x="12" y="10"/>
                    <a:pt x="4" y="21"/>
                  </a:cubicBezTo>
                  <a:cubicBezTo>
                    <a:pt x="3" y="21"/>
                    <a:pt x="2" y="22"/>
                    <a:pt x="1" y="21"/>
                  </a:cubicBezTo>
                  <a:cubicBezTo>
                    <a:pt x="0" y="20"/>
                    <a:pt x="0" y="19"/>
                    <a:pt x="0" y="18"/>
                  </a:cubicBezTo>
                  <a:cubicBezTo>
                    <a:pt x="10" y="7"/>
                    <a:pt x="23" y="0"/>
                    <a:pt x="38" y="0"/>
                  </a:cubicBezTo>
                  <a:cubicBezTo>
                    <a:pt x="53" y="0"/>
                    <a:pt x="66" y="7"/>
                    <a:pt x="76" y="18"/>
                  </a:cubicBezTo>
                  <a:cubicBezTo>
                    <a:pt x="76" y="19"/>
                    <a:pt x="76" y="20"/>
                    <a:pt x="75" y="21"/>
                  </a:cubicBezTo>
                  <a:cubicBezTo>
                    <a:pt x="75" y="21"/>
                    <a:pt x="75" y="21"/>
                    <a:pt x="74" y="2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0" name="Freeform 60"/>
            <p:cNvSpPr>
              <a:spLocks noEditPoints="1"/>
            </p:cNvSpPr>
            <p:nvPr/>
          </p:nvSpPr>
          <p:spPr bwMode="auto">
            <a:xfrm>
              <a:off x="2153011" y="3655958"/>
              <a:ext cx="162084" cy="88409"/>
            </a:xfrm>
            <a:custGeom>
              <a:avLst/>
              <a:gdLst>
                <a:gd name="T0" fmla="*/ 48 w 50"/>
                <a:gd name="T1" fmla="*/ 27 h 27"/>
                <a:gd name="T2" fmla="*/ 48 w 50"/>
                <a:gd name="T3" fmla="*/ 27 h 27"/>
                <a:gd name="T4" fmla="*/ 2 w 50"/>
                <a:gd name="T5" fmla="*/ 27 h 27"/>
                <a:gd name="T6" fmla="*/ 0 w 50"/>
                <a:gd name="T7" fmla="*/ 25 h 27"/>
                <a:gd name="T8" fmla="*/ 25 w 50"/>
                <a:gd name="T9" fmla="*/ 0 h 27"/>
                <a:gd name="T10" fmla="*/ 50 w 50"/>
                <a:gd name="T11" fmla="*/ 24 h 27"/>
                <a:gd name="T12" fmla="*/ 50 w 50"/>
                <a:gd name="T13" fmla="*/ 25 h 27"/>
                <a:gd name="T14" fmla="*/ 48 w 50"/>
                <a:gd name="T15" fmla="*/ 27 h 27"/>
                <a:gd name="T16" fmla="*/ 4 w 50"/>
                <a:gd name="T17" fmla="*/ 23 h 27"/>
                <a:gd name="T18" fmla="*/ 46 w 50"/>
                <a:gd name="T19" fmla="*/ 23 h 27"/>
                <a:gd name="T20" fmla="*/ 25 w 50"/>
                <a:gd name="T21" fmla="*/ 4 h 27"/>
                <a:gd name="T22" fmla="*/ 4 w 50"/>
                <a:gd name="T23" fmla="*/ 2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0" h="27">
                  <a:moveTo>
                    <a:pt x="48" y="27"/>
                  </a:moveTo>
                  <a:cubicBezTo>
                    <a:pt x="48" y="27"/>
                    <a:pt x="48" y="27"/>
                    <a:pt x="48" y="27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1" y="27"/>
                    <a:pt x="0" y="26"/>
                    <a:pt x="0" y="25"/>
                  </a:cubicBezTo>
                  <a:cubicBezTo>
                    <a:pt x="0" y="11"/>
                    <a:pt x="11" y="0"/>
                    <a:pt x="25" y="0"/>
                  </a:cubicBezTo>
                  <a:cubicBezTo>
                    <a:pt x="39" y="0"/>
                    <a:pt x="50" y="11"/>
                    <a:pt x="50" y="24"/>
                  </a:cubicBezTo>
                  <a:cubicBezTo>
                    <a:pt x="50" y="25"/>
                    <a:pt x="50" y="25"/>
                    <a:pt x="50" y="25"/>
                  </a:cubicBezTo>
                  <a:cubicBezTo>
                    <a:pt x="50" y="26"/>
                    <a:pt x="49" y="27"/>
                    <a:pt x="48" y="27"/>
                  </a:cubicBezTo>
                  <a:close/>
                  <a:moveTo>
                    <a:pt x="4" y="23"/>
                  </a:moveTo>
                  <a:cubicBezTo>
                    <a:pt x="46" y="23"/>
                    <a:pt x="46" y="23"/>
                    <a:pt x="46" y="23"/>
                  </a:cubicBezTo>
                  <a:cubicBezTo>
                    <a:pt x="45" y="12"/>
                    <a:pt x="36" y="4"/>
                    <a:pt x="25" y="4"/>
                  </a:cubicBezTo>
                  <a:cubicBezTo>
                    <a:pt x="14" y="4"/>
                    <a:pt x="5" y="12"/>
                    <a:pt x="4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71" name="TextBox 170"/>
          <p:cNvSpPr txBox="1"/>
          <p:nvPr/>
        </p:nvSpPr>
        <p:spPr>
          <a:xfrm>
            <a:off x="1782089" y="2523988"/>
            <a:ext cx="1074577" cy="153888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LOREM IPSUM </a:t>
            </a:r>
          </a:p>
        </p:txBody>
      </p:sp>
      <p:cxnSp>
        <p:nvCxnSpPr>
          <p:cNvPr id="172" name="Straight Connector 171"/>
          <p:cNvCxnSpPr/>
          <p:nvPr/>
        </p:nvCxnSpPr>
        <p:spPr>
          <a:xfrm>
            <a:off x="3171632" y="2076290"/>
            <a:ext cx="0" cy="663493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3" name="TextBox 172"/>
          <p:cNvSpPr txBox="1"/>
          <p:nvPr/>
        </p:nvSpPr>
        <p:spPr>
          <a:xfrm>
            <a:off x="3307190" y="3048072"/>
            <a:ext cx="454840" cy="430887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2</a:t>
            </a:r>
          </a:p>
        </p:txBody>
      </p:sp>
      <p:sp>
        <p:nvSpPr>
          <p:cNvPr id="174" name="TextBox 173"/>
          <p:cNvSpPr txBox="1"/>
          <p:nvPr/>
        </p:nvSpPr>
        <p:spPr>
          <a:xfrm>
            <a:off x="1782089" y="3379467"/>
            <a:ext cx="1074577" cy="153888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LOREM IPSUM </a:t>
            </a:r>
          </a:p>
        </p:txBody>
      </p:sp>
      <p:cxnSp>
        <p:nvCxnSpPr>
          <p:cNvPr id="175" name="Straight Connector 174"/>
          <p:cNvCxnSpPr/>
          <p:nvPr/>
        </p:nvCxnSpPr>
        <p:spPr>
          <a:xfrm>
            <a:off x="3171632" y="2931768"/>
            <a:ext cx="0" cy="663493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6" name="TextBox 175"/>
          <p:cNvSpPr txBox="1"/>
          <p:nvPr/>
        </p:nvSpPr>
        <p:spPr>
          <a:xfrm>
            <a:off x="3307190" y="3903601"/>
            <a:ext cx="454840" cy="430887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3</a:t>
            </a:r>
          </a:p>
        </p:txBody>
      </p:sp>
      <p:sp>
        <p:nvSpPr>
          <p:cNvPr id="177" name="TextBox 176"/>
          <p:cNvSpPr txBox="1"/>
          <p:nvPr/>
        </p:nvSpPr>
        <p:spPr>
          <a:xfrm>
            <a:off x="1782089" y="4234996"/>
            <a:ext cx="1074577" cy="153888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LOREM IPSUM </a:t>
            </a:r>
          </a:p>
        </p:txBody>
      </p:sp>
      <p:cxnSp>
        <p:nvCxnSpPr>
          <p:cNvPr id="178" name="Straight Connector 177"/>
          <p:cNvCxnSpPr/>
          <p:nvPr/>
        </p:nvCxnSpPr>
        <p:spPr>
          <a:xfrm>
            <a:off x="3171632" y="3787298"/>
            <a:ext cx="0" cy="663493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9" name="TextBox 178"/>
          <p:cNvSpPr txBox="1"/>
          <p:nvPr/>
        </p:nvSpPr>
        <p:spPr>
          <a:xfrm>
            <a:off x="3307190" y="4761234"/>
            <a:ext cx="454840" cy="430887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4</a:t>
            </a:r>
          </a:p>
        </p:txBody>
      </p:sp>
      <p:sp>
        <p:nvSpPr>
          <p:cNvPr id="180" name="TextBox 179"/>
          <p:cNvSpPr txBox="1"/>
          <p:nvPr/>
        </p:nvSpPr>
        <p:spPr>
          <a:xfrm>
            <a:off x="1782089" y="5092628"/>
            <a:ext cx="1074577" cy="153888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LOREM IPSUM </a:t>
            </a:r>
          </a:p>
        </p:txBody>
      </p:sp>
      <p:cxnSp>
        <p:nvCxnSpPr>
          <p:cNvPr id="181" name="Straight Connector 180"/>
          <p:cNvCxnSpPr/>
          <p:nvPr/>
        </p:nvCxnSpPr>
        <p:spPr>
          <a:xfrm>
            <a:off x="3171632" y="4644930"/>
            <a:ext cx="0" cy="663493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2" name="TextBox 181"/>
          <p:cNvSpPr txBox="1"/>
          <p:nvPr/>
        </p:nvSpPr>
        <p:spPr>
          <a:xfrm>
            <a:off x="4305257" y="2252694"/>
            <a:ext cx="4718743" cy="307777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Lorem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Ipsum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is simply dummy text of the printing and typesetting industry. Lorem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Ipsum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has been the industry's standard dummy text ever since the 1500s. </a:t>
            </a:r>
          </a:p>
        </p:txBody>
      </p:sp>
      <p:sp>
        <p:nvSpPr>
          <p:cNvPr id="183" name="TextBox 182"/>
          <p:cNvSpPr txBox="1"/>
          <p:nvPr/>
        </p:nvSpPr>
        <p:spPr>
          <a:xfrm>
            <a:off x="4305257" y="3108905"/>
            <a:ext cx="4718743" cy="307777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Lorem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Ipsum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is simply dummy text of the printing and typesetting industry. Lorem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Ipsum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has been the industry's standard dummy text ever since the 1500s. </a:t>
            </a:r>
          </a:p>
        </p:txBody>
      </p:sp>
      <p:sp>
        <p:nvSpPr>
          <p:cNvPr id="184" name="TextBox 183"/>
          <p:cNvSpPr txBox="1"/>
          <p:nvPr/>
        </p:nvSpPr>
        <p:spPr>
          <a:xfrm>
            <a:off x="4305257" y="3964131"/>
            <a:ext cx="4718743" cy="307777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Lorem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Ipsum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is simply dummy text of the printing and typesetting industry. Lorem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Ipsum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has been the industry's standard dummy text ever since the 1500s. </a:t>
            </a:r>
          </a:p>
        </p:txBody>
      </p:sp>
      <p:sp>
        <p:nvSpPr>
          <p:cNvPr id="185" name="TextBox 184"/>
          <p:cNvSpPr txBox="1"/>
          <p:nvPr/>
        </p:nvSpPr>
        <p:spPr>
          <a:xfrm>
            <a:off x="4305257" y="4807282"/>
            <a:ext cx="4718743" cy="307777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Lorem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Ipsum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is simply dummy text of the printing and typesetting industry. Lorem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Ipsum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has been the industry's standard dummy text ever since the 1500s. </a:t>
            </a:r>
          </a:p>
        </p:txBody>
      </p:sp>
      <p:grpSp>
        <p:nvGrpSpPr>
          <p:cNvPr id="186" name="Group 185"/>
          <p:cNvGrpSpPr/>
          <p:nvPr/>
        </p:nvGrpSpPr>
        <p:grpSpPr>
          <a:xfrm>
            <a:off x="9760211" y="2065134"/>
            <a:ext cx="682902" cy="682902"/>
            <a:chOff x="7312995" y="3266867"/>
            <a:chExt cx="511675" cy="511675"/>
          </a:xfrm>
        </p:grpSpPr>
        <p:sp>
          <p:nvSpPr>
            <p:cNvPr id="187" name="Oval 186"/>
            <p:cNvSpPr/>
            <p:nvPr/>
          </p:nvSpPr>
          <p:spPr>
            <a:xfrm>
              <a:off x="7312995" y="3266867"/>
              <a:ext cx="511675" cy="51167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8" name="Oval 187"/>
            <p:cNvSpPr/>
            <p:nvPr/>
          </p:nvSpPr>
          <p:spPr>
            <a:xfrm>
              <a:off x="7357396" y="3311268"/>
              <a:ext cx="422872" cy="422872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9" name="Pie 188"/>
            <p:cNvSpPr/>
            <p:nvPr/>
          </p:nvSpPr>
          <p:spPr>
            <a:xfrm flipH="1">
              <a:off x="7357396" y="3311268"/>
              <a:ext cx="422872" cy="422872"/>
            </a:xfrm>
            <a:prstGeom prst="pie">
              <a:avLst>
                <a:gd name="adj1" fmla="val 7164634"/>
                <a:gd name="adj2" fmla="val 16200000"/>
              </a:avLst>
            </a:prstGeom>
            <a:solidFill>
              <a:srgbClr val="E2583D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0" name="Oval 189"/>
            <p:cNvSpPr/>
            <p:nvPr/>
          </p:nvSpPr>
          <p:spPr>
            <a:xfrm>
              <a:off x="7409977" y="3363849"/>
              <a:ext cx="317710" cy="31771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1" name="TextBox 190"/>
            <p:cNvSpPr txBox="1"/>
            <p:nvPr/>
          </p:nvSpPr>
          <p:spPr>
            <a:xfrm>
              <a:off x="7447506" y="3465052"/>
              <a:ext cx="242652" cy="115303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E2583D"/>
                  </a:solidFill>
                  <a:effectLst/>
                  <a:uLnTx/>
                  <a:uFillTx/>
                  <a:ea typeface="+mn-ea"/>
                  <a:cs typeface="+mn-cs"/>
                </a:rPr>
                <a:t>45%</a:t>
              </a:r>
            </a:p>
          </p:txBody>
        </p:sp>
      </p:grpSp>
      <p:grpSp>
        <p:nvGrpSpPr>
          <p:cNvPr id="192" name="Group 191"/>
          <p:cNvGrpSpPr/>
          <p:nvPr/>
        </p:nvGrpSpPr>
        <p:grpSpPr>
          <a:xfrm>
            <a:off x="9760211" y="2922064"/>
            <a:ext cx="682902" cy="682902"/>
            <a:chOff x="7312995" y="3266867"/>
            <a:chExt cx="511675" cy="511675"/>
          </a:xfrm>
        </p:grpSpPr>
        <p:sp>
          <p:nvSpPr>
            <p:cNvPr id="193" name="Oval 192"/>
            <p:cNvSpPr/>
            <p:nvPr/>
          </p:nvSpPr>
          <p:spPr>
            <a:xfrm>
              <a:off x="7312995" y="3266867"/>
              <a:ext cx="511675" cy="51167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4" name="Oval 193"/>
            <p:cNvSpPr/>
            <p:nvPr/>
          </p:nvSpPr>
          <p:spPr>
            <a:xfrm>
              <a:off x="7357396" y="3311268"/>
              <a:ext cx="422872" cy="422872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5" name="Pie 194"/>
            <p:cNvSpPr/>
            <p:nvPr/>
          </p:nvSpPr>
          <p:spPr>
            <a:xfrm flipH="1">
              <a:off x="7357396" y="3311268"/>
              <a:ext cx="422872" cy="422872"/>
            </a:xfrm>
            <a:prstGeom prst="pie">
              <a:avLst>
                <a:gd name="adj1" fmla="val 10629252"/>
                <a:gd name="adj2" fmla="val 16200000"/>
              </a:avLst>
            </a:prstGeom>
            <a:solidFill>
              <a:srgbClr val="AFABAB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6" name="Oval 195"/>
            <p:cNvSpPr/>
            <p:nvPr/>
          </p:nvSpPr>
          <p:spPr>
            <a:xfrm>
              <a:off x="7409977" y="3363849"/>
              <a:ext cx="317710" cy="31771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7" name="TextBox 196"/>
            <p:cNvSpPr txBox="1"/>
            <p:nvPr/>
          </p:nvSpPr>
          <p:spPr>
            <a:xfrm>
              <a:off x="7447506" y="3465052"/>
              <a:ext cx="242652" cy="115303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AFABAB"/>
                  </a:solidFill>
                  <a:effectLst/>
                  <a:uLnTx/>
                  <a:uFillTx/>
                  <a:ea typeface="+mn-ea"/>
                  <a:cs typeface="+mn-cs"/>
                </a:rPr>
                <a:t>25%</a:t>
              </a:r>
            </a:p>
          </p:txBody>
        </p:sp>
      </p:grpSp>
      <p:grpSp>
        <p:nvGrpSpPr>
          <p:cNvPr id="198" name="Group 197"/>
          <p:cNvGrpSpPr/>
          <p:nvPr/>
        </p:nvGrpSpPr>
        <p:grpSpPr>
          <a:xfrm>
            <a:off x="9760211" y="3760143"/>
            <a:ext cx="682902" cy="682902"/>
            <a:chOff x="7312995" y="3266867"/>
            <a:chExt cx="511675" cy="511675"/>
          </a:xfrm>
        </p:grpSpPr>
        <p:sp>
          <p:nvSpPr>
            <p:cNvPr id="199" name="Oval 198"/>
            <p:cNvSpPr/>
            <p:nvPr/>
          </p:nvSpPr>
          <p:spPr>
            <a:xfrm>
              <a:off x="7312995" y="3266867"/>
              <a:ext cx="511675" cy="51167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0" name="Oval 199"/>
            <p:cNvSpPr/>
            <p:nvPr/>
          </p:nvSpPr>
          <p:spPr>
            <a:xfrm>
              <a:off x="7357396" y="3311268"/>
              <a:ext cx="422872" cy="422872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1" name="Pie 200"/>
            <p:cNvSpPr/>
            <p:nvPr/>
          </p:nvSpPr>
          <p:spPr>
            <a:xfrm flipH="1">
              <a:off x="7357396" y="3311268"/>
              <a:ext cx="422872" cy="422872"/>
            </a:xfrm>
            <a:prstGeom prst="pie">
              <a:avLst>
                <a:gd name="adj1" fmla="val 3993824"/>
                <a:gd name="adj2" fmla="val 16200000"/>
              </a:avLst>
            </a:prstGeom>
            <a:solidFill>
              <a:srgbClr val="78D2D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2" name="Oval 201"/>
            <p:cNvSpPr/>
            <p:nvPr/>
          </p:nvSpPr>
          <p:spPr>
            <a:xfrm>
              <a:off x="7409977" y="3363849"/>
              <a:ext cx="317710" cy="31771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3" name="TextBox 202"/>
            <p:cNvSpPr txBox="1"/>
            <p:nvPr/>
          </p:nvSpPr>
          <p:spPr>
            <a:xfrm>
              <a:off x="7447506" y="3465052"/>
              <a:ext cx="242652" cy="115303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78D2D2"/>
                  </a:solidFill>
                  <a:effectLst/>
                  <a:uLnTx/>
                  <a:uFillTx/>
                  <a:ea typeface="+mn-ea"/>
                  <a:cs typeface="+mn-cs"/>
                </a:rPr>
                <a:t>65%</a:t>
              </a:r>
            </a:p>
          </p:txBody>
        </p:sp>
      </p:grpSp>
      <p:grpSp>
        <p:nvGrpSpPr>
          <p:cNvPr id="204" name="Group 203"/>
          <p:cNvGrpSpPr/>
          <p:nvPr/>
        </p:nvGrpSpPr>
        <p:grpSpPr>
          <a:xfrm>
            <a:off x="9760211" y="4635226"/>
            <a:ext cx="682902" cy="682902"/>
            <a:chOff x="7312995" y="3266867"/>
            <a:chExt cx="511675" cy="511675"/>
          </a:xfrm>
        </p:grpSpPr>
        <p:sp>
          <p:nvSpPr>
            <p:cNvPr id="205" name="Oval 204"/>
            <p:cNvSpPr/>
            <p:nvPr/>
          </p:nvSpPr>
          <p:spPr>
            <a:xfrm>
              <a:off x="7312995" y="3266867"/>
              <a:ext cx="511675" cy="51167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6" name="Oval 205"/>
            <p:cNvSpPr/>
            <p:nvPr/>
          </p:nvSpPr>
          <p:spPr>
            <a:xfrm>
              <a:off x="7357396" y="3311268"/>
              <a:ext cx="422872" cy="422872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7" name="Pie 206"/>
            <p:cNvSpPr/>
            <p:nvPr/>
          </p:nvSpPr>
          <p:spPr>
            <a:xfrm flipH="1">
              <a:off x="7357396" y="3311268"/>
              <a:ext cx="422872" cy="422872"/>
            </a:xfrm>
            <a:prstGeom prst="pie">
              <a:avLst>
                <a:gd name="adj1" fmla="val 338468"/>
                <a:gd name="adj2" fmla="val 16200000"/>
              </a:avLst>
            </a:prstGeom>
            <a:solidFill>
              <a:srgbClr val="555353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8" name="Oval 207"/>
            <p:cNvSpPr/>
            <p:nvPr/>
          </p:nvSpPr>
          <p:spPr>
            <a:xfrm>
              <a:off x="7409977" y="3363849"/>
              <a:ext cx="317710" cy="31771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9" name="TextBox 208"/>
            <p:cNvSpPr txBox="1"/>
            <p:nvPr/>
          </p:nvSpPr>
          <p:spPr>
            <a:xfrm>
              <a:off x="7447506" y="3465052"/>
              <a:ext cx="242652" cy="115303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555353"/>
                  </a:solidFill>
                  <a:effectLst/>
                  <a:uLnTx/>
                  <a:uFillTx/>
                  <a:ea typeface="+mn-ea"/>
                  <a:cs typeface="+mn-cs"/>
                </a:rPr>
                <a:t>75%</a:t>
              </a:r>
            </a:p>
          </p:txBody>
        </p:sp>
      </p:grpSp>
      <p:cxnSp>
        <p:nvCxnSpPr>
          <p:cNvPr id="210" name="Straight Connector 209"/>
          <p:cNvCxnSpPr/>
          <p:nvPr/>
        </p:nvCxnSpPr>
        <p:spPr>
          <a:xfrm>
            <a:off x="4305257" y="2836143"/>
            <a:ext cx="4718743" cy="0"/>
          </a:xfrm>
          <a:prstGeom prst="line">
            <a:avLst/>
          </a:prstGeom>
          <a:ln w="317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1" name="Straight Connector 210"/>
          <p:cNvCxnSpPr/>
          <p:nvPr/>
        </p:nvCxnSpPr>
        <p:spPr>
          <a:xfrm>
            <a:off x="4305257" y="3692355"/>
            <a:ext cx="4718743" cy="0"/>
          </a:xfrm>
          <a:prstGeom prst="line">
            <a:avLst/>
          </a:prstGeom>
          <a:ln w="317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2" name="Straight Connector 211"/>
          <p:cNvCxnSpPr/>
          <p:nvPr/>
        </p:nvCxnSpPr>
        <p:spPr>
          <a:xfrm>
            <a:off x="4305257" y="4548568"/>
            <a:ext cx="4718743" cy="0"/>
          </a:xfrm>
          <a:prstGeom prst="line">
            <a:avLst/>
          </a:prstGeom>
          <a:ln w="317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340275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Rectangle 102"/>
          <p:cNvSpPr/>
          <p:nvPr/>
        </p:nvSpPr>
        <p:spPr>
          <a:xfrm>
            <a:off x="12344400" y="0"/>
            <a:ext cx="469900" cy="469900"/>
          </a:xfrm>
          <a:prstGeom prst="rect">
            <a:avLst/>
          </a:pr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4" name="Rectangle 103"/>
          <p:cNvSpPr/>
          <p:nvPr/>
        </p:nvSpPr>
        <p:spPr>
          <a:xfrm>
            <a:off x="12344400" y="649557"/>
            <a:ext cx="469900" cy="469900"/>
          </a:xfrm>
          <a:prstGeom prst="rect">
            <a:avLst/>
          </a:prstGeom>
          <a:solidFill>
            <a:srgbClr val="AFAB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5" name="Rectangle 104"/>
          <p:cNvSpPr/>
          <p:nvPr/>
        </p:nvSpPr>
        <p:spPr>
          <a:xfrm>
            <a:off x="12344400" y="1299114"/>
            <a:ext cx="469900" cy="469900"/>
          </a:xfrm>
          <a:prstGeom prst="rect">
            <a:avLst/>
          </a:prstGeom>
          <a:solidFill>
            <a:srgbClr val="7671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7" name="Rectangle 106"/>
          <p:cNvSpPr/>
          <p:nvPr/>
        </p:nvSpPr>
        <p:spPr>
          <a:xfrm>
            <a:off x="12966699" y="0"/>
            <a:ext cx="469900" cy="469900"/>
          </a:xfrm>
          <a:prstGeom prst="rect">
            <a:avLst/>
          </a:prstGeom>
          <a:solidFill>
            <a:srgbClr val="E878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8" name="Rectangle 107"/>
          <p:cNvSpPr/>
          <p:nvPr/>
        </p:nvSpPr>
        <p:spPr>
          <a:xfrm>
            <a:off x="12966699" y="649557"/>
            <a:ext cx="469900" cy="469900"/>
          </a:xfrm>
          <a:prstGeom prst="rect">
            <a:avLst/>
          </a:prstGeom>
          <a:solidFill>
            <a:srgbClr val="E258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9" name="Rectangle 108"/>
          <p:cNvSpPr/>
          <p:nvPr/>
        </p:nvSpPr>
        <p:spPr>
          <a:xfrm>
            <a:off x="12966699" y="1299114"/>
            <a:ext cx="469900" cy="469900"/>
          </a:xfrm>
          <a:prstGeom prst="rect">
            <a:avLst/>
          </a:prstGeom>
          <a:solidFill>
            <a:srgbClr val="D63E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0" name="Rectangle 109"/>
          <p:cNvSpPr/>
          <p:nvPr/>
        </p:nvSpPr>
        <p:spPr>
          <a:xfrm>
            <a:off x="13588998" y="0"/>
            <a:ext cx="469900" cy="469900"/>
          </a:xfrm>
          <a:prstGeom prst="rect">
            <a:avLst/>
          </a:prstGeom>
          <a:solidFill>
            <a:srgbClr val="8EDC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1" name="Rectangle 110"/>
          <p:cNvSpPr/>
          <p:nvPr/>
        </p:nvSpPr>
        <p:spPr>
          <a:xfrm>
            <a:off x="13588998" y="649557"/>
            <a:ext cx="469900" cy="469900"/>
          </a:xfrm>
          <a:prstGeom prst="rect">
            <a:avLst/>
          </a:prstGeom>
          <a:solidFill>
            <a:srgbClr val="78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2" name="Rectangle 111"/>
          <p:cNvSpPr/>
          <p:nvPr/>
        </p:nvSpPr>
        <p:spPr>
          <a:xfrm>
            <a:off x="13588998" y="1299114"/>
            <a:ext cx="469900" cy="469900"/>
          </a:xfrm>
          <a:prstGeom prst="rect">
            <a:avLst/>
          </a:prstGeom>
          <a:solidFill>
            <a:srgbClr val="4CC7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3" name="Rectangle 112"/>
          <p:cNvSpPr/>
          <p:nvPr/>
        </p:nvSpPr>
        <p:spPr>
          <a:xfrm>
            <a:off x="14211297" y="0"/>
            <a:ext cx="469900" cy="469900"/>
          </a:xfrm>
          <a:prstGeom prst="rect">
            <a:avLst/>
          </a:prstGeom>
          <a:solidFill>
            <a:srgbClr val="5553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4" name="Rectangle 113"/>
          <p:cNvSpPr/>
          <p:nvPr/>
        </p:nvSpPr>
        <p:spPr>
          <a:xfrm>
            <a:off x="14211297" y="649557"/>
            <a:ext cx="469900" cy="469900"/>
          </a:xfrm>
          <a:prstGeom prst="rect">
            <a:avLst/>
          </a:prstGeom>
          <a:solidFill>
            <a:srgbClr val="3B39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5" name="Rectangle 114"/>
          <p:cNvSpPr/>
          <p:nvPr/>
        </p:nvSpPr>
        <p:spPr>
          <a:xfrm>
            <a:off x="14211297" y="1299114"/>
            <a:ext cx="469900" cy="469900"/>
          </a:xfrm>
          <a:prstGeom prst="rect">
            <a:avLst/>
          </a:prstGeom>
          <a:solidFill>
            <a:srgbClr val="2523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1" name="Text Placeholder 120"/>
          <p:cNvSpPr>
            <a:spLocks noGrp="1"/>
          </p:cNvSpPr>
          <p:nvPr>
            <p:ph type="body" sz="quarter" idx="14"/>
          </p:nvPr>
        </p:nvSpPr>
        <p:spPr>
          <a:xfrm>
            <a:off x="1857375" y="1014880"/>
            <a:ext cx="8380505" cy="400110"/>
          </a:xfrm>
        </p:spPr>
        <p:txBody>
          <a:bodyPr/>
          <a:lstStyle/>
          <a:p>
            <a:r>
              <a:rPr lang="en-US" dirty="0"/>
              <a:t>Lorem </a:t>
            </a:r>
            <a:r>
              <a:rPr lang="en-US" dirty="0" err="1"/>
              <a:t>Ipsum</a:t>
            </a:r>
            <a:r>
              <a:rPr lang="en-US" dirty="0"/>
              <a:t> is simply dummy text of the printing and typesetting industry. Lorem </a:t>
            </a:r>
            <a:r>
              <a:rPr lang="en-US" dirty="0" err="1"/>
              <a:t>Ipsum</a:t>
            </a:r>
            <a:r>
              <a:rPr lang="en-US" dirty="0"/>
              <a:t> has been the industry's standard dummy text ever since the 1500s, when an unknown printer took a galley of type and scrambled it to make a type specimen book. </a:t>
            </a:r>
          </a:p>
        </p:txBody>
      </p:sp>
      <p:sp>
        <p:nvSpPr>
          <p:cNvPr id="120" name="Text Placeholder 119"/>
          <p:cNvSpPr>
            <a:spLocks noGrp="1"/>
          </p:cNvSpPr>
          <p:nvPr>
            <p:ph type="body" sz="quarter" idx="13"/>
          </p:nvPr>
        </p:nvSpPr>
        <p:spPr>
          <a:xfrm>
            <a:off x="3107788" y="360971"/>
            <a:ext cx="5976424" cy="535531"/>
          </a:xfrm>
        </p:spPr>
        <p:txBody>
          <a:bodyPr/>
          <a:lstStyle/>
          <a:p>
            <a:r>
              <a:rPr lang="en-US" sz="3200" dirty="0"/>
              <a:t>PowerPoint Presentation</a:t>
            </a:r>
          </a:p>
        </p:txBody>
      </p:sp>
      <p:sp>
        <p:nvSpPr>
          <p:cNvPr id="116" name="Date Placeholder 11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E1B330-CB56-448E-9C70-830A2B9C05C8}" type="datetime1">
              <a:rPr lang="en-US" smtClean="0"/>
              <a:t>11/15/2018</a:t>
            </a:fld>
            <a:endParaRPr lang="en-US"/>
          </a:p>
        </p:txBody>
      </p:sp>
      <p:sp>
        <p:nvSpPr>
          <p:cNvPr id="117" name="Slide Number Placeholder 1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06E70-9524-410D-AE9B-78D656EAA14D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213" name="Freeform 14"/>
          <p:cNvSpPr>
            <a:spLocks/>
          </p:cNvSpPr>
          <p:nvPr/>
        </p:nvSpPr>
        <p:spPr bwMode="auto">
          <a:xfrm>
            <a:off x="8065046" y="2782044"/>
            <a:ext cx="3024205" cy="2473982"/>
          </a:xfrm>
          <a:custGeom>
            <a:avLst/>
            <a:gdLst>
              <a:gd name="T0" fmla="*/ 473 w 946"/>
              <a:gd name="T1" fmla="*/ 772 h 772"/>
              <a:gd name="T2" fmla="*/ 325 w 946"/>
              <a:gd name="T3" fmla="*/ 688 h 772"/>
              <a:gd name="T4" fmla="*/ 42 w 946"/>
              <a:gd name="T5" fmla="*/ 260 h 772"/>
              <a:gd name="T6" fmla="*/ 29 w 946"/>
              <a:gd name="T7" fmla="*/ 85 h 772"/>
              <a:gd name="T8" fmla="*/ 182 w 946"/>
              <a:gd name="T9" fmla="*/ 0 h 772"/>
              <a:gd name="T10" fmla="*/ 764 w 946"/>
              <a:gd name="T11" fmla="*/ 0 h 772"/>
              <a:gd name="T12" fmla="*/ 917 w 946"/>
              <a:gd name="T13" fmla="*/ 85 h 772"/>
              <a:gd name="T14" fmla="*/ 904 w 946"/>
              <a:gd name="T15" fmla="*/ 260 h 772"/>
              <a:gd name="T16" fmla="*/ 621 w 946"/>
              <a:gd name="T17" fmla="*/ 688 h 772"/>
              <a:gd name="T18" fmla="*/ 473 w 946"/>
              <a:gd name="T19" fmla="*/ 772 h 7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946" h="772">
                <a:moveTo>
                  <a:pt x="473" y="772"/>
                </a:moveTo>
                <a:cubicBezTo>
                  <a:pt x="414" y="772"/>
                  <a:pt x="360" y="741"/>
                  <a:pt x="325" y="688"/>
                </a:cubicBezTo>
                <a:cubicBezTo>
                  <a:pt x="42" y="260"/>
                  <a:pt x="42" y="260"/>
                  <a:pt x="42" y="260"/>
                </a:cubicBezTo>
                <a:cubicBezTo>
                  <a:pt x="5" y="204"/>
                  <a:pt x="0" y="138"/>
                  <a:pt x="29" y="85"/>
                </a:cubicBezTo>
                <a:cubicBezTo>
                  <a:pt x="58" y="32"/>
                  <a:pt x="115" y="0"/>
                  <a:pt x="182" y="0"/>
                </a:cubicBezTo>
                <a:cubicBezTo>
                  <a:pt x="764" y="0"/>
                  <a:pt x="764" y="0"/>
                  <a:pt x="764" y="0"/>
                </a:cubicBezTo>
                <a:cubicBezTo>
                  <a:pt x="831" y="0"/>
                  <a:pt x="888" y="32"/>
                  <a:pt x="917" y="85"/>
                </a:cubicBezTo>
                <a:cubicBezTo>
                  <a:pt x="946" y="138"/>
                  <a:pt x="941" y="204"/>
                  <a:pt x="904" y="260"/>
                </a:cubicBezTo>
                <a:cubicBezTo>
                  <a:pt x="621" y="688"/>
                  <a:pt x="621" y="688"/>
                  <a:pt x="621" y="688"/>
                </a:cubicBezTo>
                <a:cubicBezTo>
                  <a:pt x="586" y="741"/>
                  <a:pt x="532" y="772"/>
                  <a:pt x="473" y="772"/>
                </a:cubicBezTo>
                <a:close/>
              </a:path>
            </a:pathLst>
          </a:custGeom>
          <a:solidFill>
            <a:schemeClr val="bg2">
              <a:lumMod val="90000"/>
            </a:schemeClr>
          </a:solidFill>
          <a:ln w="14288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214" name="Freeform 10"/>
          <p:cNvSpPr>
            <a:spLocks/>
          </p:cNvSpPr>
          <p:nvPr/>
        </p:nvSpPr>
        <p:spPr bwMode="auto">
          <a:xfrm>
            <a:off x="6325148" y="2782044"/>
            <a:ext cx="3021501" cy="2473982"/>
          </a:xfrm>
          <a:custGeom>
            <a:avLst/>
            <a:gdLst>
              <a:gd name="T0" fmla="*/ 472 w 945"/>
              <a:gd name="T1" fmla="*/ 0 h 772"/>
              <a:gd name="T2" fmla="*/ 325 w 945"/>
              <a:gd name="T3" fmla="*/ 83 h 772"/>
              <a:gd name="T4" fmla="*/ 42 w 945"/>
              <a:gd name="T5" fmla="*/ 512 h 772"/>
              <a:gd name="T6" fmla="*/ 29 w 945"/>
              <a:gd name="T7" fmla="*/ 687 h 772"/>
              <a:gd name="T8" fmla="*/ 182 w 945"/>
              <a:gd name="T9" fmla="*/ 772 h 772"/>
              <a:gd name="T10" fmla="*/ 763 w 945"/>
              <a:gd name="T11" fmla="*/ 772 h 772"/>
              <a:gd name="T12" fmla="*/ 916 w 945"/>
              <a:gd name="T13" fmla="*/ 687 h 772"/>
              <a:gd name="T14" fmla="*/ 903 w 945"/>
              <a:gd name="T15" fmla="*/ 512 h 772"/>
              <a:gd name="T16" fmla="*/ 620 w 945"/>
              <a:gd name="T17" fmla="*/ 83 h 772"/>
              <a:gd name="T18" fmla="*/ 472 w 945"/>
              <a:gd name="T19" fmla="*/ 0 h 7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945" h="772">
                <a:moveTo>
                  <a:pt x="472" y="0"/>
                </a:moveTo>
                <a:cubicBezTo>
                  <a:pt x="414" y="0"/>
                  <a:pt x="360" y="30"/>
                  <a:pt x="325" y="83"/>
                </a:cubicBezTo>
                <a:cubicBezTo>
                  <a:pt x="42" y="512"/>
                  <a:pt x="42" y="512"/>
                  <a:pt x="42" y="512"/>
                </a:cubicBezTo>
                <a:cubicBezTo>
                  <a:pt x="5" y="568"/>
                  <a:pt x="0" y="633"/>
                  <a:pt x="29" y="687"/>
                </a:cubicBezTo>
                <a:cubicBezTo>
                  <a:pt x="57" y="740"/>
                  <a:pt x="115" y="772"/>
                  <a:pt x="182" y="772"/>
                </a:cubicBezTo>
                <a:cubicBezTo>
                  <a:pt x="763" y="772"/>
                  <a:pt x="763" y="772"/>
                  <a:pt x="763" y="772"/>
                </a:cubicBezTo>
                <a:cubicBezTo>
                  <a:pt x="830" y="772"/>
                  <a:pt x="888" y="740"/>
                  <a:pt x="916" y="687"/>
                </a:cubicBezTo>
                <a:cubicBezTo>
                  <a:pt x="945" y="633"/>
                  <a:pt x="940" y="568"/>
                  <a:pt x="903" y="512"/>
                </a:cubicBezTo>
                <a:cubicBezTo>
                  <a:pt x="620" y="83"/>
                  <a:pt x="620" y="83"/>
                  <a:pt x="620" y="83"/>
                </a:cubicBezTo>
                <a:cubicBezTo>
                  <a:pt x="585" y="30"/>
                  <a:pt x="531" y="0"/>
                  <a:pt x="472" y="0"/>
                </a:cubicBezTo>
                <a:close/>
              </a:path>
            </a:pathLst>
          </a:custGeom>
          <a:solidFill>
            <a:schemeClr val="bg2">
              <a:lumMod val="90000"/>
            </a:schemeClr>
          </a:solidFill>
          <a:ln w="14288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215" name="Freeform 12"/>
          <p:cNvSpPr>
            <a:spLocks/>
          </p:cNvSpPr>
          <p:nvPr/>
        </p:nvSpPr>
        <p:spPr bwMode="auto">
          <a:xfrm>
            <a:off x="4583897" y="2782044"/>
            <a:ext cx="3024205" cy="2473982"/>
          </a:xfrm>
          <a:custGeom>
            <a:avLst/>
            <a:gdLst>
              <a:gd name="T0" fmla="*/ 473 w 946"/>
              <a:gd name="T1" fmla="*/ 772 h 772"/>
              <a:gd name="T2" fmla="*/ 325 w 946"/>
              <a:gd name="T3" fmla="*/ 688 h 772"/>
              <a:gd name="T4" fmla="*/ 42 w 946"/>
              <a:gd name="T5" fmla="*/ 260 h 772"/>
              <a:gd name="T6" fmla="*/ 29 w 946"/>
              <a:gd name="T7" fmla="*/ 85 h 772"/>
              <a:gd name="T8" fmla="*/ 182 w 946"/>
              <a:gd name="T9" fmla="*/ 0 h 772"/>
              <a:gd name="T10" fmla="*/ 764 w 946"/>
              <a:gd name="T11" fmla="*/ 0 h 772"/>
              <a:gd name="T12" fmla="*/ 917 w 946"/>
              <a:gd name="T13" fmla="*/ 85 h 772"/>
              <a:gd name="T14" fmla="*/ 904 w 946"/>
              <a:gd name="T15" fmla="*/ 260 h 772"/>
              <a:gd name="T16" fmla="*/ 621 w 946"/>
              <a:gd name="T17" fmla="*/ 688 h 772"/>
              <a:gd name="T18" fmla="*/ 473 w 946"/>
              <a:gd name="T19" fmla="*/ 772 h 7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946" h="772">
                <a:moveTo>
                  <a:pt x="473" y="772"/>
                </a:moveTo>
                <a:cubicBezTo>
                  <a:pt x="414" y="772"/>
                  <a:pt x="360" y="741"/>
                  <a:pt x="325" y="688"/>
                </a:cubicBezTo>
                <a:cubicBezTo>
                  <a:pt x="42" y="260"/>
                  <a:pt x="42" y="260"/>
                  <a:pt x="42" y="260"/>
                </a:cubicBezTo>
                <a:cubicBezTo>
                  <a:pt x="5" y="204"/>
                  <a:pt x="0" y="138"/>
                  <a:pt x="29" y="85"/>
                </a:cubicBezTo>
                <a:cubicBezTo>
                  <a:pt x="58" y="32"/>
                  <a:pt x="115" y="0"/>
                  <a:pt x="182" y="0"/>
                </a:cubicBezTo>
                <a:cubicBezTo>
                  <a:pt x="764" y="0"/>
                  <a:pt x="764" y="0"/>
                  <a:pt x="764" y="0"/>
                </a:cubicBezTo>
                <a:cubicBezTo>
                  <a:pt x="831" y="0"/>
                  <a:pt x="888" y="32"/>
                  <a:pt x="917" y="85"/>
                </a:cubicBezTo>
                <a:cubicBezTo>
                  <a:pt x="946" y="138"/>
                  <a:pt x="941" y="204"/>
                  <a:pt x="904" y="260"/>
                </a:cubicBezTo>
                <a:cubicBezTo>
                  <a:pt x="621" y="688"/>
                  <a:pt x="621" y="688"/>
                  <a:pt x="621" y="688"/>
                </a:cubicBezTo>
                <a:cubicBezTo>
                  <a:pt x="586" y="741"/>
                  <a:pt x="532" y="772"/>
                  <a:pt x="473" y="772"/>
                </a:cubicBezTo>
                <a:close/>
              </a:path>
            </a:pathLst>
          </a:custGeom>
          <a:solidFill>
            <a:schemeClr val="bg2">
              <a:lumMod val="90000"/>
            </a:schemeClr>
          </a:solidFill>
          <a:ln w="14288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216" name="Freeform 8"/>
          <p:cNvSpPr>
            <a:spLocks/>
          </p:cNvSpPr>
          <p:nvPr/>
        </p:nvSpPr>
        <p:spPr bwMode="auto">
          <a:xfrm>
            <a:off x="2844000" y="2782044"/>
            <a:ext cx="3021501" cy="2473982"/>
          </a:xfrm>
          <a:custGeom>
            <a:avLst/>
            <a:gdLst>
              <a:gd name="T0" fmla="*/ 472 w 945"/>
              <a:gd name="T1" fmla="*/ 0 h 772"/>
              <a:gd name="T2" fmla="*/ 325 w 945"/>
              <a:gd name="T3" fmla="*/ 83 h 772"/>
              <a:gd name="T4" fmla="*/ 42 w 945"/>
              <a:gd name="T5" fmla="*/ 512 h 772"/>
              <a:gd name="T6" fmla="*/ 29 w 945"/>
              <a:gd name="T7" fmla="*/ 687 h 772"/>
              <a:gd name="T8" fmla="*/ 182 w 945"/>
              <a:gd name="T9" fmla="*/ 772 h 772"/>
              <a:gd name="T10" fmla="*/ 763 w 945"/>
              <a:gd name="T11" fmla="*/ 772 h 772"/>
              <a:gd name="T12" fmla="*/ 916 w 945"/>
              <a:gd name="T13" fmla="*/ 687 h 772"/>
              <a:gd name="T14" fmla="*/ 903 w 945"/>
              <a:gd name="T15" fmla="*/ 512 h 772"/>
              <a:gd name="T16" fmla="*/ 620 w 945"/>
              <a:gd name="T17" fmla="*/ 83 h 772"/>
              <a:gd name="T18" fmla="*/ 472 w 945"/>
              <a:gd name="T19" fmla="*/ 0 h 7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945" h="772">
                <a:moveTo>
                  <a:pt x="472" y="0"/>
                </a:moveTo>
                <a:cubicBezTo>
                  <a:pt x="414" y="0"/>
                  <a:pt x="360" y="30"/>
                  <a:pt x="325" y="83"/>
                </a:cubicBezTo>
                <a:cubicBezTo>
                  <a:pt x="42" y="512"/>
                  <a:pt x="42" y="512"/>
                  <a:pt x="42" y="512"/>
                </a:cubicBezTo>
                <a:cubicBezTo>
                  <a:pt x="5" y="568"/>
                  <a:pt x="0" y="633"/>
                  <a:pt x="29" y="687"/>
                </a:cubicBezTo>
                <a:cubicBezTo>
                  <a:pt x="57" y="740"/>
                  <a:pt x="115" y="772"/>
                  <a:pt x="182" y="772"/>
                </a:cubicBezTo>
                <a:cubicBezTo>
                  <a:pt x="763" y="772"/>
                  <a:pt x="763" y="772"/>
                  <a:pt x="763" y="772"/>
                </a:cubicBezTo>
                <a:cubicBezTo>
                  <a:pt x="830" y="772"/>
                  <a:pt x="888" y="740"/>
                  <a:pt x="916" y="687"/>
                </a:cubicBezTo>
                <a:cubicBezTo>
                  <a:pt x="945" y="633"/>
                  <a:pt x="940" y="568"/>
                  <a:pt x="903" y="512"/>
                </a:cubicBezTo>
                <a:cubicBezTo>
                  <a:pt x="620" y="83"/>
                  <a:pt x="620" y="83"/>
                  <a:pt x="620" y="83"/>
                </a:cubicBezTo>
                <a:cubicBezTo>
                  <a:pt x="585" y="30"/>
                  <a:pt x="531" y="0"/>
                  <a:pt x="472" y="0"/>
                </a:cubicBezTo>
                <a:close/>
              </a:path>
            </a:pathLst>
          </a:custGeom>
          <a:solidFill>
            <a:schemeClr val="bg2">
              <a:lumMod val="90000"/>
            </a:schemeClr>
          </a:solidFill>
          <a:ln w="14288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217" name="Freeform 6"/>
          <p:cNvSpPr>
            <a:spLocks/>
          </p:cNvSpPr>
          <p:nvPr/>
        </p:nvSpPr>
        <p:spPr bwMode="auto">
          <a:xfrm>
            <a:off x="1102749" y="2782044"/>
            <a:ext cx="3024205" cy="2473982"/>
          </a:xfrm>
          <a:custGeom>
            <a:avLst/>
            <a:gdLst>
              <a:gd name="T0" fmla="*/ 473 w 946"/>
              <a:gd name="T1" fmla="*/ 772 h 772"/>
              <a:gd name="T2" fmla="*/ 325 w 946"/>
              <a:gd name="T3" fmla="*/ 688 h 772"/>
              <a:gd name="T4" fmla="*/ 42 w 946"/>
              <a:gd name="T5" fmla="*/ 260 h 772"/>
              <a:gd name="T6" fmla="*/ 29 w 946"/>
              <a:gd name="T7" fmla="*/ 85 h 772"/>
              <a:gd name="T8" fmla="*/ 182 w 946"/>
              <a:gd name="T9" fmla="*/ 0 h 772"/>
              <a:gd name="T10" fmla="*/ 764 w 946"/>
              <a:gd name="T11" fmla="*/ 0 h 772"/>
              <a:gd name="T12" fmla="*/ 917 w 946"/>
              <a:gd name="T13" fmla="*/ 85 h 772"/>
              <a:gd name="T14" fmla="*/ 904 w 946"/>
              <a:gd name="T15" fmla="*/ 260 h 772"/>
              <a:gd name="T16" fmla="*/ 621 w 946"/>
              <a:gd name="T17" fmla="*/ 688 h 772"/>
              <a:gd name="T18" fmla="*/ 473 w 946"/>
              <a:gd name="T19" fmla="*/ 772 h 7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946" h="772">
                <a:moveTo>
                  <a:pt x="473" y="772"/>
                </a:moveTo>
                <a:cubicBezTo>
                  <a:pt x="414" y="772"/>
                  <a:pt x="360" y="741"/>
                  <a:pt x="325" y="688"/>
                </a:cubicBezTo>
                <a:cubicBezTo>
                  <a:pt x="42" y="260"/>
                  <a:pt x="42" y="260"/>
                  <a:pt x="42" y="260"/>
                </a:cubicBezTo>
                <a:cubicBezTo>
                  <a:pt x="5" y="204"/>
                  <a:pt x="0" y="138"/>
                  <a:pt x="29" y="85"/>
                </a:cubicBezTo>
                <a:cubicBezTo>
                  <a:pt x="58" y="32"/>
                  <a:pt x="115" y="0"/>
                  <a:pt x="182" y="0"/>
                </a:cubicBezTo>
                <a:cubicBezTo>
                  <a:pt x="764" y="0"/>
                  <a:pt x="764" y="0"/>
                  <a:pt x="764" y="0"/>
                </a:cubicBezTo>
                <a:cubicBezTo>
                  <a:pt x="831" y="0"/>
                  <a:pt x="888" y="32"/>
                  <a:pt x="917" y="85"/>
                </a:cubicBezTo>
                <a:cubicBezTo>
                  <a:pt x="946" y="138"/>
                  <a:pt x="941" y="204"/>
                  <a:pt x="904" y="260"/>
                </a:cubicBezTo>
                <a:cubicBezTo>
                  <a:pt x="621" y="688"/>
                  <a:pt x="621" y="688"/>
                  <a:pt x="621" y="688"/>
                </a:cubicBezTo>
                <a:cubicBezTo>
                  <a:pt x="586" y="741"/>
                  <a:pt x="532" y="772"/>
                  <a:pt x="473" y="772"/>
                </a:cubicBezTo>
                <a:close/>
              </a:path>
            </a:pathLst>
          </a:custGeom>
          <a:solidFill>
            <a:schemeClr val="bg2">
              <a:lumMod val="90000"/>
            </a:schemeClr>
          </a:solidFill>
          <a:ln w="14288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218" name="Freeform 7"/>
          <p:cNvSpPr>
            <a:spLocks/>
          </p:cNvSpPr>
          <p:nvPr/>
        </p:nvSpPr>
        <p:spPr bwMode="auto">
          <a:xfrm>
            <a:off x="1492097" y="3182207"/>
            <a:ext cx="2244157" cy="1702046"/>
          </a:xfrm>
          <a:custGeom>
            <a:avLst/>
            <a:gdLst>
              <a:gd name="T0" fmla="*/ 272 w 702"/>
              <a:gd name="T1" fmla="*/ 0 h 531"/>
              <a:gd name="T2" fmla="*/ 430 w 702"/>
              <a:gd name="T3" fmla="*/ 0 h 531"/>
              <a:gd name="T4" fmla="*/ 642 w 702"/>
              <a:gd name="T5" fmla="*/ 0 h 531"/>
              <a:gd name="T6" fmla="*/ 678 w 702"/>
              <a:gd name="T7" fmla="*/ 66 h 531"/>
              <a:gd name="T8" fmla="*/ 580 w 702"/>
              <a:gd name="T9" fmla="*/ 214 h 531"/>
              <a:gd name="T10" fmla="*/ 492 w 702"/>
              <a:gd name="T11" fmla="*/ 347 h 531"/>
              <a:gd name="T12" fmla="*/ 395 w 702"/>
              <a:gd name="T13" fmla="*/ 495 h 531"/>
              <a:gd name="T14" fmla="*/ 307 w 702"/>
              <a:gd name="T15" fmla="*/ 495 h 531"/>
              <a:gd name="T16" fmla="*/ 210 w 702"/>
              <a:gd name="T17" fmla="*/ 347 h 531"/>
              <a:gd name="T18" fmla="*/ 122 w 702"/>
              <a:gd name="T19" fmla="*/ 214 h 531"/>
              <a:gd name="T20" fmla="*/ 24 w 702"/>
              <a:gd name="T21" fmla="*/ 66 h 531"/>
              <a:gd name="T22" fmla="*/ 60 w 702"/>
              <a:gd name="T23" fmla="*/ 0 h 531"/>
              <a:gd name="T24" fmla="*/ 272 w 702"/>
              <a:gd name="T25" fmla="*/ 0 h 5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702" h="531">
                <a:moveTo>
                  <a:pt x="272" y="0"/>
                </a:moveTo>
                <a:cubicBezTo>
                  <a:pt x="315" y="0"/>
                  <a:pt x="387" y="0"/>
                  <a:pt x="430" y="0"/>
                </a:cubicBezTo>
                <a:cubicBezTo>
                  <a:pt x="642" y="0"/>
                  <a:pt x="642" y="0"/>
                  <a:pt x="642" y="0"/>
                </a:cubicBezTo>
                <a:cubicBezTo>
                  <a:pt x="685" y="0"/>
                  <a:pt x="702" y="29"/>
                  <a:pt x="678" y="66"/>
                </a:cubicBezTo>
                <a:cubicBezTo>
                  <a:pt x="580" y="214"/>
                  <a:pt x="580" y="214"/>
                  <a:pt x="580" y="214"/>
                </a:cubicBezTo>
                <a:cubicBezTo>
                  <a:pt x="556" y="251"/>
                  <a:pt x="516" y="310"/>
                  <a:pt x="492" y="347"/>
                </a:cubicBezTo>
                <a:cubicBezTo>
                  <a:pt x="395" y="495"/>
                  <a:pt x="395" y="495"/>
                  <a:pt x="395" y="495"/>
                </a:cubicBezTo>
                <a:cubicBezTo>
                  <a:pt x="371" y="531"/>
                  <a:pt x="331" y="531"/>
                  <a:pt x="307" y="495"/>
                </a:cubicBezTo>
                <a:cubicBezTo>
                  <a:pt x="210" y="347"/>
                  <a:pt x="210" y="347"/>
                  <a:pt x="210" y="347"/>
                </a:cubicBezTo>
                <a:cubicBezTo>
                  <a:pt x="186" y="310"/>
                  <a:pt x="146" y="251"/>
                  <a:pt x="122" y="214"/>
                </a:cubicBezTo>
                <a:cubicBezTo>
                  <a:pt x="24" y="66"/>
                  <a:pt x="24" y="66"/>
                  <a:pt x="24" y="66"/>
                </a:cubicBezTo>
                <a:cubicBezTo>
                  <a:pt x="0" y="29"/>
                  <a:pt x="17" y="0"/>
                  <a:pt x="60" y="0"/>
                </a:cubicBezTo>
                <a:lnTo>
                  <a:pt x="272" y="0"/>
                </a:lnTo>
                <a:close/>
              </a:path>
            </a:pathLst>
          </a:custGeom>
          <a:solidFill>
            <a:sysClr val="window" lastClr="FFFFFF"/>
          </a:solidFill>
          <a:ln w="14288" cap="flat">
            <a:noFill/>
            <a:prstDash val="solid"/>
            <a:miter lim="800000"/>
            <a:headEnd/>
            <a:tailEnd/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219" name="Freeform 9"/>
          <p:cNvSpPr>
            <a:spLocks/>
          </p:cNvSpPr>
          <p:nvPr/>
        </p:nvSpPr>
        <p:spPr bwMode="auto">
          <a:xfrm>
            <a:off x="3234699" y="3153817"/>
            <a:ext cx="2240102" cy="1702046"/>
          </a:xfrm>
          <a:custGeom>
            <a:avLst/>
            <a:gdLst>
              <a:gd name="T0" fmla="*/ 271 w 701"/>
              <a:gd name="T1" fmla="*/ 531 h 531"/>
              <a:gd name="T2" fmla="*/ 430 w 701"/>
              <a:gd name="T3" fmla="*/ 531 h 531"/>
              <a:gd name="T4" fmla="*/ 641 w 701"/>
              <a:gd name="T5" fmla="*/ 531 h 531"/>
              <a:gd name="T6" fmla="*/ 677 w 701"/>
              <a:gd name="T7" fmla="*/ 465 h 531"/>
              <a:gd name="T8" fmla="*/ 579 w 701"/>
              <a:gd name="T9" fmla="*/ 317 h 531"/>
              <a:gd name="T10" fmla="*/ 492 w 701"/>
              <a:gd name="T11" fmla="*/ 184 h 531"/>
              <a:gd name="T12" fmla="*/ 394 w 701"/>
              <a:gd name="T13" fmla="*/ 36 h 531"/>
              <a:gd name="T14" fmla="*/ 307 w 701"/>
              <a:gd name="T15" fmla="*/ 36 h 531"/>
              <a:gd name="T16" fmla="*/ 209 w 701"/>
              <a:gd name="T17" fmla="*/ 184 h 531"/>
              <a:gd name="T18" fmla="*/ 122 w 701"/>
              <a:gd name="T19" fmla="*/ 317 h 531"/>
              <a:gd name="T20" fmla="*/ 24 w 701"/>
              <a:gd name="T21" fmla="*/ 465 h 531"/>
              <a:gd name="T22" fmla="*/ 60 w 701"/>
              <a:gd name="T23" fmla="*/ 531 h 531"/>
              <a:gd name="T24" fmla="*/ 271 w 701"/>
              <a:gd name="T25" fmla="*/ 531 h 5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701" h="531">
                <a:moveTo>
                  <a:pt x="271" y="531"/>
                </a:moveTo>
                <a:cubicBezTo>
                  <a:pt x="315" y="531"/>
                  <a:pt x="386" y="531"/>
                  <a:pt x="430" y="531"/>
                </a:cubicBezTo>
                <a:cubicBezTo>
                  <a:pt x="641" y="531"/>
                  <a:pt x="641" y="531"/>
                  <a:pt x="641" y="531"/>
                </a:cubicBezTo>
                <a:cubicBezTo>
                  <a:pt x="685" y="531"/>
                  <a:pt x="701" y="501"/>
                  <a:pt x="677" y="465"/>
                </a:cubicBezTo>
                <a:cubicBezTo>
                  <a:pt x="579" y="317"/>
                  <a:pt x="579" y="317"/>
                  <a:pt x="579" y="317"/>
                </a:cubicBezTo>
                <a:cubicBezTo>
                  <a:pt x="555" y="280"/>
                  <a:pt x="516" y="221"/>
                  <a:pt x="492" y="184"/>
                </a:cubicBezTo>
                <a:cubicBezTo>
                  <a:pt x="394" y="36"/>
                  <a:pt x="394" y="36"/>
                  <a:pt x="394" y="36"/>
                </a:cubicBezTo>
                <a:cubicBezTo>
                  <a:pt x="370" y="0"/>
                  <a:pt x="331" y="0"/>
                  <a:pt x="307" y="36"/>
                </a:cubicBezTo>
                <a:cubicBezTo>
                  <a:pt x="209" y="184"/>
                  <a:pt x="209" y="184"/>
                  <a:pt x="209" y="184"/>
                </a:cubicBezTo>
                <a:cubicBezTo>
                  <a:pt x="185" y="221"/>
                  <a:pt x="146" y="280"/>
                  <a:pt x="122" y="317"/>
                </a:cubicBezTo>
                <a:cubicBezTo>
                  <a:pt x="24" y="465"/>
                  <a:pt x="24" y="465"/>
                  <a:pt x="24" y="465"/>
                </a:cubicBezTo>
                <a:cubicBezTo>
                  <a:pt x="0" y="501"/>
                  <a:pt x="16" y="531"/>
                  <a:pt x="60" y="531"/>
                </a:cubicBezTo>
                <a:lnTo>
                  <a:pt x="271" y="531"/>
                </a:lnTo>
                <a:close/>
              </a:path>
            </a:pathLst>
          </a:custGeom>
          <a:solidFill>
            <a:sysClr val="window" lastClr="FFFFFF"/>
          </a:solidFill>
          <a:ln w="14288" cap="flat">
            <a:noFill/>
            <a:prstDash val="solid"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220" name="Freeform 11"/>
          <p:cNvSpPr>
            <a:spLocks/>
          </p:cNvSpPr>
          <p:nvPr/>
        </p:nvSpPr>
        <p:spPr bwMode="auto">
          <a:xfrm>
            <a:off x="6715848" y="3153817"/>
            <a:ext cx="2240102" cy="1702046"/>
          </a:xfrm>
          <a:custGeom>
            <a:avLst/>
            <a:gdLst>
              <a:gd name="T0" fmla="*/ 271 w 701"/>
              <a:gd name="T1" fmla="*/ 531 h 531"/>
              <a:gd name="T2" fmla="*/ 430 w 701"/>
              <a:gd name="T3" fmla="*/ 531 h 531"/>
              <a:gd name="T4" fmla="*/ 641 w 701"/>
              <a:gd name="T5" fmla="*/ 531 h 531"/>
              <a:gd name="T6" fmla="*/ 677 w 701"/>
              <a:gd name="T7" fmla="*/ 465 h 531"/>
              <a:gd name="T8" fmla="*/ 579 w 701"/>
              <a:gd name="T9" fmla="*/ 317 h 531"/>
              <a:gd name="T10" fmla="*/ 492 w 701"/>
              <a:gd name="T11" fmla="*/ 184 h 531"/>
              <a:gd name="T12" fmla="*/ 394 w 701"/>
              <a:gd name="T13" fmla="*/ 36 h 531"/>
              <a:gd name="T14" fmla="*/ 307 w 701"/>
              <a:gd name="T15" fmla="*/ 36 h 531"/>
              <a:gd name="T16" fmla="*/ 209 w 701"/>
              <a:gd name="T17" fmla="*/ 184 h 531"/>
              <a:gd name="T18" fmla="*/ 122 w 701"/>
              <a:gd name="T19" fmla="*/ 317 h 531"/>
              <a:gd name="T20" fmla="*/ 24 w 701"/>
              <a:gd name="T21" fmla="*/ 465 h 531"/>
              <a:gd name="T22" fmla="*/ 60 w 701"/>
              <a:gd name="T23" fmla="*/ 531 h 531"/>
              <a:gd name="T24" fmla="*/ 271 w 701"/>
              <a:gd name="T25" fmla="*/ 531 h 5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701" h="531">
                <a:moveTo>
                  <a:pt x="271" y="531"/>
                </a:moveTo>
                <a:cubicBezTo>
                  <a:pt x="315" y="531"/>
                  <a:pt x="386" y="531"/>
                  <a:pt x="430" y="531"/>
                </a:cubicBezTo>
                <a:cubicBezTo>
                  <a:pt x="641" y="531"/>
                  <a:pt x="641" y="531"/>
                  <a:pt x="641" y="531"/>
                </a:cubicBezTo>
                <a:cubicBezTo>
                  <a:pt x="685" y="531"/>
                  <a:pt x="701" y="501"/>
                  <a:pt x="677" y="465"/>
                </a:cubicBezTo>
                <a:cubicBezTo>
                  <a:pt x="579" y="317"/>
                  <a:pt x="579" y="317"/>
                  <a:pt x="579" y="317"/>
                </a:cubicBezTo>
                <a:cubicBezTo>
                  <a:pt x="555" y="280"/>
                  <a:pt x="516" y="221"/>
                  <a:pt x="492" y="184"/>
                </a:cubicBezTo>
                <a:cubicBezTo>
                  <a:pt x="394" y="36"/>
                  <a:pt x="394" y="36"/>
                  <a:pt x="394" y="36"/>
                </a:cubicBezTo>
                <a:cubicBezTo>
                  <a:pt x="370" y="0"/>
                  <a:pt x="331" y="0"/>
                  <a:pt x="307" y="36"/>
                </a:cubicBezTo>
                <a:cubicBezTo>
                  <a:pt x="209" y="184"/>
                  <a:pt x="209" y="184"/>
                  <a:pt x="209" y="184"/>
                </a:cubicBezTo>
                <a:cubicBezTo>
                  <a:pt x="185" y="221"/>
                  <a:pt x="146" y="280"/>
                  <a:pt x="122" y="317"/>
                </a:cubicBezTo>
                <a:cubicBezTo>
                  <a:pt x="24" y="465"/>
                  <a:pt x="24" y="465"/>
                  <a:pt x="24" y="465"/>
                </a:cubicBezTo>
                <a:cubicBezTo>
                  <a:pt x="0" y="501"/>
                  <a:pt x="16" y="531"/>
                  <a:pt x="60" y="531"/>
                </a:cubicBezTo>
                <a:lnTo>
                  <a:pt x="271" y="531"/>
                </a:lnTo>
                <a:close/>
              </a:path>
            </a:pathLst>
          </a:custGeom>
          <a:solidFill>
            <a:sysClr val="window" lastClr="FFFFFF"/>
          </a:solidFill>
          <a:ln w="14288" cap="flat">
            <a:noFill/>
            <a:prstDash val="solid"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221" name="Freeform 13"/>
          <p:cNvSpPr>
            <a:spLocks/>
          </p:cNvSpPr>
          <p:nvPr/>
        </p:nvSpPr>
        <p:spPr bwMode="auto">
          <a:xfrm>
            <a:off x="4973245" y="3182207"/>
            <a:ext cx="2244157" cy="1702046"/>
          </a:xfrm>
          <a:custGeom>
            <a:avLst/>
            <a:gdLst>
              <a:gd name="T0" fmla="*/ 272 w 702"/>
              <a:gd name="T1" fmla="*/ 0 h 531"/>
              <a:gd name="T2" fmla="*/ 430 w 702"/>
              <a:gd name="T3" fmla="*/ 0 h 531"/>
              <a:gd name="T4" fmla="*/ 642 w 702"/>
              <a:gd name="T5" fmla="*/ 0 h 531"/>
              <a:gd name="T6" fmla="*/ 678 w 702"/>
              <a:gd name="T7" fmla="*/ 66 h 531"/>
              <a:gd name="T8" fmla="*/ 580 w 702"/>
              <a:gd name="T9" fmla="*/ 214 h 531"/>
              <a:gd name="T10" fmla="*/ 492 w 702"/>
              <a:gd name="T11" fmla="*/ 347 h 531"/>
              <a:gd name="T12" fmla="*/ 395 w 702"/>
              <a:gd name="T13" fmla="*/ 495 h 531"/>
              <a:gd name="T14" fmla="*/ 307 w 702"/>
              <a:gd name="T15" fmla="*/ 495 h 531"/>
              <a:gd name="T16" fmla="*/ 210 w 702"/>
              <a:gd name="T17" fmla="*/ 347 h 531"/>
              <a:gd name="T18" fmla="*/ 122 w 702"/>
              <a:gd name="T19" fmla="*/ 214 h 531"/>
              <a:gd name="T20" fmla="*/ 24 w 702"/>
              <a:gd name="T21" fmla="*/ 66 h 531"/>
              <a:gd name="T22" fmla="*/ 60 w 702"/>
              <a:gd name="T23" fmla="*/ 0 h 531"/>
              <a:gd name="T24" fmla="*/ 272 w 702"/>
              <a:gd name="T25" fmla="*/ 0 h 5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702" h="531">
                <a:moveTo>
                  <a:pt x="272" y="0"/>
                </a:moveTo>
                <a:cubicBezTo>
                  <a:pt x="315" y="0"/>
                  <a:pt x="387" y="0"/>
                  <a:pt x="430" y="0"/>
                </a:cubicBezTo>
                <a:cubicBezTo>
                  <a:pt x="642" y="0"/>
                  <a:pt x="642" y="0"/>
                  <a:pt x="642" y="0"/>
                </a:cubicBezTo>
                <a:cubicBezTo>
                  <a:pt x="685" y="0"/>
                  <a:pt x="702" y="29"/>
                  <a:pt x="678" y="66"/>
                </a:cubicBezTo>
                <a:cubicBezTo>
                  <a:pt x="580" y="214"/>
                  <a:pt x="580" y="214"/>
                  <a:pt x="580" y="214"/>
                </a:cubicBezTo>
                <a:cubicBezTo>
                  <a:pt x="556" y="251"/>
                  <a:pt x="516" y="310"/>
                  <a:pt x="492" y="347"/>
                </a:cubicBezTo>
                <a:cubicBezTo>
                  <a:pt x="395" y="495"/>
                  <a:pt x="395" y="495"/>
                  <a:pt x="395" y="495"/>
                </a:cubicBezTo>
                <a:cubicBezTo>
                  <a:pt x="371" y="531"/>
                  <a:pt x="331" y="531"/>
                  <a:pt x="307" y="495"/>
                </a:cubicBezTo>
                <a:cubicBezTo>
                  <a:pt x="210" y="347"/>
                  <a:pt x="210" y="347"/>
                  <a:pt x="210" y="347"/>
                </a:cubicBezTo>
                <a:cubicBezTo>
                  <a:pt x="186" y="310"/>
                  <a:pt x="146" y="251"/>
                  <a:pt x="122" y="214"/>
                </a:cubicBezTo>
                <a:cubicBezTo>
                  <a:pt x="24" y="66"/>
                  <a:pt x="24" y="66"/>
                  <a:pt x="24" y="66"/>
                </a:cubicBezTo>
                <a:cubicBezTo>
                  <a:pt x="0" y="29"/>
                  <a:pt x="17" y="0"/>
                  <a:pt x="60" y="0"/>
                </a:cubicBezTo>
                <a:lnTo>
                  <a:pt x="272" y="0"/>
                </a:lnTo>
                <a:close/>
              </a:path>
            </a:pathLst>
          </a:custGeom>
          <a:solidFill>
            <a:sysClr val="window" lastClr="FFFFFF"/>
          </a:solidFill>
          <a:ln w="14288" cap="flat">
            <a:noFill/>
            <a:prstDash val="solid"/>
            <a:miter lim="800000"/>
            <a:headEnd/>
            <a:tailEnd/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222" name="Freeform 15"/>
          <p:cNvSpPr>
            <a:spLocks/>
          </p:cNvSpPr>
          <p:nvPr/>
        </p:nvSpPr>
        <p:spPr bwMode="auto">
          <a:xfrm>
            <a:off x="8454394" y="3182207"/>
            <a:ext cx="2244157" cy="1702046"/>
          </a:xfrm>
          <a:custGeom>
            <a:avLst/>
            <a:gdLst>
              <a:gd name="T0" fmla="*/ 272 w 702"/>
              <a:gd name="T1" fmla="*/ 0 h 531"/>
              <a:gd name="T2" fmla="*/ 430 w 702"/>
              <a:gd name="T3" fmla="*/ 0 h 531"/>
              <a:gd name="T4" fmla="*/ 642 w 702"/>
              <a:gd name="T5" fmla="*/ 0 h 531"/>
              <a:gd name="T6" fmla="*/ 678 w 702"/>
              <a:gd name="T7" fmla="*/ 66 h 531"/>
              <a:gd name="T8" fmla="*/ 580 w 702"/>
              <a:gd name="T9" fmla="*/ 214 h 531"/>
              <a:gd name="T10" fmla="*/ 492 w 702"/>
              <a:gd name="T11" fmla="*/ 347 h 531"/>
              <a:gd name="T12" fmla="*/ 395 w 702"/>
              <a:gd name="T13" fmla="*/ 495 h 531"/>
              <a:gd name="T14" fmla="*/ 307 w 702"/>
              <a:gd name="T15" fmla="*/ 495 h 531"/>
              <a:gd name="T16" fmla="*/ 210 w 702"/>
              <a:gd name="T17" fmla="*/ 347 h 531"/>
              <a:gd name="T18" fmla="*/ 122 w 702"/>
              <a:gd name="T19" fmla="*/ 214 h 531"/>
              <a:gd name="T20" fmla="*/ 24 w 702"/>
              <a:gd name="T21" fmla="*/ 66 h 531"/>
              <a:gd name="T22" fmla="*/ 60 w 702"/>
              <a:gd name="T23" fmla="*/ 0 h 531"/>
              <a:gd name="T24" fmla="*/ 272 w 702"/>
              <a:gd name="T25" fmla="*/ 0 h 5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702" h="531">
                <a:moveTo>
                  <a:pt x="272" y="0"/>
                </a:moveTo>
                <a:cubicBezTo>
                  <a:pt x="315" y="0"/>
                  <a:pt x="387" y="0"/>
                  <a:pt x="430" y="0"/>
                </a:cubicBezTo>
                <a:cubicBezTo>
                  <a:pt x="642" y="0"/>
                  <a:pt x="642" y="0"/>
                  <a:pt x="642" y="0"/>
                </a:cubicBezTo>
                <a:cubicBezTo>
                  <a:pt x="685" y="0"/>
                  <a:pt x="702" y="29"/>
                  <a:pt x="678" y="66"/>
                </a:cubicBezTo>
                <a:cubicBezTo>
                  <a:pt x="580" y="214"/>
                  <a:pt x="580" y="214"/>
                  <a:pt x="580" y="214"/>
                </a:cubicBezTo>
                <a:cubicBezTo>
                  <a:pt x="556" y="251"/>
                  <a:pt x="516" y="310"/>
                  <a:pt x="492" y="347"/>
                </a:cubicBezTo>
                <a:cubicBezTo>
                  <a:pt x="395" y="495"/>
                  <a:pt x="395" y="495"/>
                  <a:pt x="395" y="495"/>
                </a:cubicBezTo>
                <a:cubicBezTo>
                  <a:pt x="371" y="531"/>
                  <a:pt x="331" y="531"/>
                  <a:pt x="307" y="495"/>
                </a:cubicBezTo>
                <a:cubicBezTo>
                  <a:pt x="210" y="347"/>
                  <a:pt x="210" y="347"/>
                  <a:pt x="210" y="347"/>
                </a:cubicBezTo>
                <a:cubicBezTo>
                  <a:pt x="186" y="310"/>
                  <a:pt x="146" y="251"/>
                  <a:pt x="122" y="214"/>
                </a:cubicBezTo>
                <a:cubicBezTo>
                  <a:pt x="24" y="66"/>
                  <a:pt x="24" y="66"/>
                  <a:pt x="24" y="66"/>
                </a:cubicBezTo>
                <a:cubicBezTo>
                  <a:pt x="0" y="29"/>
                  <a:pt x="17" y="0"/>
                  <a:pt x="60" y="0"/>
                </a:cubicBezTo>
                <a:lnTo>
                  <a:pt x="272" y="0"/>
                </a:lnTo>
                <a:close/>
              </a:path>
            </a:pathLst>
          </a:custGeom>
          <a:solidFill>
            <a:sysClr val="window" lastClr="FFFFFF"/>
          </a:solidFill>
          <a:ln w="14288" cap="flat">
            <a:noFill/>
            <a:prstDash val="solid"/>
            <a:miter lim="800000"/>
            <a:headEnd/>
            <a:tailEnd/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223" name="Freeform 17"/>
          <p:cNvSpPr>
            <a:spLocks/>
          </p:cNvSpPr>
          <p:nvPr/>
        </p:nvSpPr>
        <p:spPr bwMode="auto">
          <a:xfrm>
            <a:off x="3307702" y="2782044"/>
            <a:ext cx="2077873" cy="1355958"/>
          </a:xfrm>
          <a:custGeom>
            <a:avLst/>
            <a:gdLst>
              <a:gd name="T0" fmla="*/ 327 w 650"/>
              <a:gd name="T1" fmla="*/ 0 h 423"/>
              <a:gd name="T2" fmla="*/ 180 w 650"/>
              <a:gd name="T3" fmla="*/ 83 h 423"/>
              <a:gd name="T4" fmla="*/ 0 w 650"/>
              <a:gd name="T5" fmla="*/ 356 h 423"/>
              <a:gd name="T6" fmla="*/ 105 w 650"/>
              <a:gd name="T7" fmla="*/ 423 h 423"/>
              <a:gd name="T8" fmla="*/ 186 w 650"/>
              <a:gd name="T9" fmla="*/ 300 h 423"/>
              <a:gd name="T10" fmla="*/ 284 w 650"/>
              <a:gd name="T11" fmla="*/ 152 h 423"/>
              <a:gd name="T12" fmla="*/ 371 w 650"/>
              <a:gd name="T13" fmla="*/ 152 h 423"/>
              <a:gd name="T14" fmla="*/ 469 w 650"/>
              <a:gd name="T15" fmla="*/ 300 h 423"/>
              <a:gd name="T16" fmla="*/ 547 w 650"/>
              <a:gd name="T17" fmla="*/ 419 h 423"/>
              <a:gd name="T18" fmla="*/ 621 w 650"/>
              <a:gd name="T19" fmla="*/ 419 h 423"/>
              <a:gd name="T20" fmla="*/ 650 w 650"/>
              <a:gd name="T21" fmla="*/ 349 h 423"/>
              <a:gd name="T22" fmla="*/ 650 w 650"/>
              <a:gd name="T23" fmla="*/ 348 h 423"/>
              <a:gd name="T24" fmla="*/ 475 w 650"/>
              <a:gd name="T25" fmla="*/ 83 h 423"/>
              <a:gd name="T26" fmla="*/ 327 w 650"/>
              <a:gd name="T27" fmla="*/ 0 h 4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650" h="423">
                <a:moveTo>
                  <a:pt x="327" y="0"/>
                </a:moveTo>
                <a:cubicBezTo>
                  <a:pt x="269" y="0"/>
                  <a:pt x="215" y="30"/>
                  <a:pt x="180" y="83"/>
                </a:cubicBezTo>
                <a:cubicBezTo>
                  <a:pt x="0" y="356"/>
                  <a:pt x="0" y="356"/>
                  <a:pt x="0" y="356"/>
                </a:cubicBezTo>
                <a:cubicBezTo>
                  <a:pt x="105" y="423"/>
                  <a:pt x="105" y="423"/>
                  <a:pt x="105" y="423"/>
                </a:cubicBezTo>
                <a:cubicBezTo>
                  <a:pt x="129" y="386"/>
                  <a:pt x="164" y="333"/>
                  <a:pt x="186" y="300"/>
                </a:cubicBezTo>
                <a:cubicBezTo>
                  <a:pt x="284" y="152"/>
                  <a:pt x="284" y="152"/>
                  <a:pt x="284" y="152"/>
                </a:cubicBezTo>
                <a:cubicBezTo>
                  <a:pt x="308" y="116"/>
                  <a:pt x="347" y="116"/>
                  <a:pt x="371" y="152"/>
                </a:cubicBezTo>
                <a:cubicBezTo>
                  <a:pt x="469" y="300"/>
                  <a:pt x="469" y="300"/>
                  <a:pt x="469" y="300"/>
                </a:cubicBezTo>
                <a:cubicBezTo>
                  <a:pt x="490" y="332"/>
                  <a:pt x="523" y="382"/>
                  <a:pt x="547" y="419"/>
                </a:cubicBezTo>
                <a:cubicBezTo>
                  <a:pt x="621" y="419"/>
                  <a:pt x="621" y="419"/>
                  <a:pt x="621" y="419"/>
                </a:cubicBezTo>
                <a:cubicBezTo>
                  <a:pt x="650" y="349"/>
                  <a:pt x="650" y="349"/>
                  <a:pt x="650" y="349"/>
                </a:cubicBezTo>
                <a:cubicBezTo>
                  <a:pt x="650" y="348"/>
                  <a:pt x="650" y="348"/>
                  <a:pt x="650" y="348"/>
                </a:cubicBezTo>
                <a:cubicBezTo>
                  <a:pt x="475" y="83"/>
                  <a:pt x="475" y="83"/>
                  <a:pt x="475" y="83"/>
                </a:cubicBezTo>
                <a:cubicBezTo>
                  <a:pt x="440" y="30"/>
                  <a:pt x="386" y="0"/>
                  <a:pt x="327" y="0"/>
                </a:cubicBezTo>
                <a:close/>
              </a:path>
            </a:pathLst>
          </a:custGeom>
          <a:solidFill>
            <a:srgbClr val="78D2D2"/>
          </a:solidFill>
          <a:ln w="14288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224" name="Freeform 19"/>
          <p:cNvSpPr>
            <a:spLocks/>
          </p:cNvSpPr>
          <p:nvPr/>
        </p:nvSpPr>
        <p:spPr bwMode="auto">
          <a:xfrm>
            <a:off x="8538211" y="3897363"/>
            <a:ext cx="2077873" cy="1351903"/>
          </a:xfrm>
          <a:custGeom>
            <a:avLst/>
            <a:gdLst>
              <a:gd name="T0" fmla="*/ 619 w 650"/>
              <a:gd name="T1" fmla="*/ 6 h 422"/>
              <a:gd name="T2" fmla="*/ 544 w 650"/>
              <a:gd name="T3" fmla="*/ 5 h 422"/>
              <a:gd name="T4" fmla="*/ 467 w 650"/>
              <a:gd name="T5" fmla="*/ 122 h 422"/>
              <a:gd name="T6" fmla="*/ 369 w 650"/>
              <a:gd name="T7" fmla="*/ 270 h 422"/>
              <a:gd name="T8" fmla="*/ 282 w 650"/>
              <a:gd name="T9" fmla="*/ 270 h 422"/>
              <a:gd name="T10" fmla="*/ 184 w 650"/>
              <a:gd name="T11" fmla="*/ 122 h 422"/>
              <a:gd name="T12" fmla="*/ 104 w 650"/>
              <a:gd name="T13" fmla="*/ 0 h 422"/>
              <a:gd name="T14" fmla="*/ 104 w 650"/>
              <a:gd name="T15" fmla="*/ 0 h 422"/>
              <a:gd name="T16" fmla="*/ 74 w 650"/>
              <a:gd name="T17" fmla="*/ 70 h 422"/>
              <a:gd name="T18" fmla="*/ 0 w 650"/>
              <a:gd name="T19" fmla="*/ 70 h 422"/>
              <a:gd name="T20" fmla="*/ 178 w 650"/>
              <a:gd name="T21" fmla="*/ 339 h 422"/>
              <a:gd name="T22" fmla="*/ 289 w 650"/>
              <a:gd name="T23" fmla="*/ 418 h 422"/>
              <a:gd name="T24" fmla="*/ 322 w 650"/>
              <a:gd name="T25" fmla="*/ 422 h 422"/>
              <a:gd name="T26" fmla="*/ 325 w 650"/>
              <a:gd name="T27" fmla="*/ 422 h 422"/>
              <a:gd name="T28" fmla="*/ 473 w 650"/>
              <a:gd name="T29" fmla="*/ 339 h 422"/>
              <a:gd name="T30" fmla="*/ 650 w 650"/>
              <a:gd name="T31" fmla="*/ 72 h 422"/>
              <a:gd name="T32" fmla="*/ 619 w 650"/>
              <a:gd name="T33" fmla="*/ 6 h 4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650" h="422">
                <a:moveTo>
                  <a:pt x="619" y="6"/>
                </a:moveTo>
                <a:cubicBezTo>
                  <a:pt x="544" y="5"/>
                  <a:pt x="544" y="5"/>
                  <a:pt x="544" y="5"/>
                </a:cubicBezTo>
                <a:cubicBezTo>
                  <a:pt x="520" y="41"/>
                  <a:pt x="488" y="90"/>
                  <a:pt x="467" y="122"/>
                </a:cubicBezTo>
                <a:cubicBezTo>
                  <a:pt x="369" y="270"/>
                  <a:pt x="369" y="270"/>
                  <a:pt x="369" y="270"/>
                </a:cubicBezTo>
                <a:cubicBezTo>
                  <a:pt x="345" y="307"/>
                  <a:pt x="306" y="307"/>
                  <a:pt x="282" y="270"/>
                </a:cubicBezTo>
                <a:cubicBezTo>
                  <a:pt x="184" y="122"/>
                  <a:pt x="184" y="122"/>
                  <a:pt x="184" y="122"/>
                </a:cubicBezTo>
                <a:cubicBezTo>
                  <a:pt x="162" y="89"/>
                  <a:pt x="128" y="37"/>
                  <a:pt x="104" y="0"/>
                </a:cubicBezTo>
                <a:cubicBezTo>
                  <a:pt x="104" y="0"/>
                  <a:pt x="104" y="0"/>
                  <a:pt x="104" y="0"/>
                </a:cubicBezTo>
                <a:cubicBezTo>
                  <a:pt x="74" y="70"/>
                  <a:pt x="74" y="70"/>
                  <a:pt x="74" y="70"/>
                </a:cubicBezTo>
                <a:cubicBezTo>
                  <a:pt x="0" y="70"/>
                  <a:pt x="0" y="70"/>
                  <a:pt x="0" y="70"/>
                </a:cubicBezTo>
                <a:cubicBezTo>
                  <a:pt x="178" y="339"/>
                  <a:pt x="178" y="339"/>
                  <a:pt x="178" y="339"/>
                </a:cubicBezTo>
                <a:cubicBezTo>
                  <a:pt x="205" y="381"/>
                  <a:pt x="245" y="409"/>
                  <a:pt x="289" y="418"/>
                </a:cubicBezTo>
                <a:cubicBezTo>
                  <a:pt x="322" y="422"/>
                  <a:pt x="322" y="422"/>
                  <a:pt x="322" y="422"/>
                </a:cubicBezTo>
                <a:cubicBezTo>
                  <a:pt x="323" y="422"/>
                  <a:pt x="324" y="422"/>
                  <a:pt x="325" y="422"/>
                </a:cubicBezTo>
                <a:cubicBezTo>
                  <a:pt x="384" y="422"/>
                  <a:pt x="438" y="392"/>
                  <a:pt x="473" y="339"/>
                </a:cubicBezTo>
                <a:cubicBezTo>
                  <a:pt x="650" y="72"/>
                  <a:pt x="650" y="72"/>
                  <a:pt x="650" y="72"/>
                </a:cubicBezTo>
                <a:lnTo>
                  <a:pt x="619" y="6"/>
                </a:lnTo>
                <a:close/>
              </a:path>
            </a:pathLst>
          </a:custGeom>
          <a:solidFill>
            <a:srgbClr val="78D2D2"/>
          </a:solidFill>
          <a:ln w="14288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225" name="Freeform 20"/>
          <p:cNvSpPr>
            <a:spLocks/>
          </p:cNvSpPr>
          <p:nvPr/>
        </p:nvSpPr>
        <p:spPr bwMode="auto">
          <a:xfrm>
            <a:off x="6788850" y="2777988"/>
            <a:ext cx="2077873" cy="1353255"/>
          </a:xfrm>
          <a:custGeom>
            <a:avLst/>
            <a:gdLst>
              <a:gd name="T0" fmla="*/ 327 w 650"/>
              <a:gd name="T1" fmla="*/ 0 h 422"/>
              <a:gd name="T2" fmla="*/ 179 w 650"/>
              <a:gd name="T3" fmla="*/ 83 h 422"/>
              <a:gd name="T4" fmla="*/ 0 w 650"/>
              <a:gd name="T5" fmla="*/ 356 h 422"/>
              <a:gd name="T6" fmla="*/ 105 w 650"/>
              <a:gd name="T7" fmla="*/ 422 h 422"/>
              <a:gd name="T8" fmla="*/ 186 w 650"/>
              <a:gd name="T9" fmla="*/ 300 h 422"/>
              <a:gd name="T10" fmla="*/ 284 w 650"/>
              <a:gd name="T11" fmla="*/ 152 h 422"/>
              <a:gd name="T12" fmla="*/ 371 w 650"/>
              <a:gd name="T13" fmla="*/ 152 h 422"/>
              <a:gd name="T14" fmla="*/ 469 w 650"/>
              <a:gd name="T15" fmla="*/ 300 h 422"/>
              <a:gd name="T16" fmla="*/ 547 w 650"/>
              <a:gd name="T17" fmla="*/ 419 h 422"/>
              <a:gd name="T18" fmla="*/ 620 w 650"/>
              <a:gd name="T19" fmla="*/ 419 h 422"/>
              <a:gd name="T20" fmla="*/ 650 w 650"/>
              <a:gd name="T21" fmla="*/ 348 h 422"/>
              <a:gd name="T22" fmla="*/ 650 w 650"/>
              <a:gd name="T23" fmla="*/ 348 h 422"/>
              <a:gd name="T24" fmla="*/ 475 w 650"/>
              <a:gd name="T25" fmla="*/ 83 h 422"/>
              <a:gd name="T26" fmla="*/ 327 w 650"/>
              <a:gd name="T27" fmla="*/ 0 h 4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650" h="422">
                <a:moveTo>
                  <a:pt x="327" y="0"/>
                </a:moveTo>
                <a:cubicBezTo>
                  <a:pt x="268" y="0"/>
                  <a:pt x="214" y="30"/>
                  <a:pt x="179" y="83"/>
                </a:cubicBezTo>
                <a:cubicBezTo>
                  <a:pt x="0" y="356"/>
                  <a:pt x="0" y="356"/>
                  <a:pt x="0" y="356"/>
                </a:cubicBezTo>
                <a:cubicBezTo>
                  <a:pt x="105" y="422"/>
                  <a:pt x="105" y="422"/>
                  <a:pt x="105" y="422"/>
                </a:cubicBezTo>
                <a:cubicBezTo>
                  <a:pt x="129" y="386"/>
                  <a:pt x="164" y="333"/>
                  <a:pt x="186" y="300"/>
                </a:cubicBezTo>
                <a:cubicBezTo>
                  <a:pt x="284" y="152"/>
                  <a:pt x="284" y="152"/>
                  <a:pt x="284" y="152"/>
                </a:cubicBezTo>
                <a:cubicBezTo>
                  <a:pt x="308" y="115"/>
                  <a:pt x="347" y="115"/>
                  <a:pt x="371" y="152"/>
                </a:cubicBezTo>
                <a:cubicBezTo>
                  <a:pt x="469" y="300"/>
                  <a:pt x="469" y="300"/>
                  <a:pt x="469" y="300"/>
                </a:cubicBezTo>
                <a:cubicBezTo>
                  <a:pt x="490" y="332"/>
                  <a:pt x="523" y="382"/>
                  <a:pt x="547" y="419"/>
                </a:cubicBezTo>
                <a:cubicBezTo>
                  <a:pt x="620" y="419"/>
                  <a:pt x="620" y="419"/>
                  <a:pt x="620" y="419"/>
                </a:cubicBezTo>
                <a:cubicBezTo>
                  <a:pt x="650" y="348"/>
                  <a:pt x="650" y="348"/>
                  <a:pt x="650" y="348"/>
                </a:cubicBezTo>
                <a:cubicBezTo>
                  <a:pt x="650" y="348"/>
                  <a:pt x="650" y="348"/>
                  <a:pt x="650" y="348"/>
                </a:cubicBezTo>
                <a:cubicBezTo>
                  <a:pt x="475" y="83"/>
                  <a:pt x="475" y="83"/>
                  <a:pt x="475" y="83"/>
                </a:cubicBezTo>
                <a:cubicBezTo>
                  <a:pt x="440" y="30"/>
                  <a:pt x="386" y="0"/>
                  <a:pt x="327" y="0"/>
                </a:cubicBezTo>
                <a:close/>
              </a:path>
            </a:pathLst>
          </a:custGeom>
          <a:solidFill>
            <a:srgbClr val="E2583D"/>
          </a:solidFill>
          <a:ln w="14288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226" name="Freeform 16"/>
          <p:cNvSpPr>
            <a:spLocks/>
          </p:cNvSpPr>
          <p:nvPr/>
        </p:nvSpPr>
        <p:spPr bwMode="auto">
          <a:xfrm>
            <a:off x="1575916" y="3902770"/>
            <a:ext cx="2073817" cy="1353255"/>
          </a:xfrm>
          <a:custGeom>
            <a:avLst/>
            <a:gdLst>
              <a:gd name="T0" fmla="*/ 619 w 649"/>
              <a:gd name="T1" fmla="*/ 5 h 422"/>
              <a:gd name="T2" fmla="*/ 544 w 649"/>
              <a:gd name="T3" fmla="*/ 4 h 422"/>
              <a:gd name="T4" fmla="*/ 466 w 649"/>
              <a:gd name="T5" fmla="*/ 122 h 422"/>
              <a:gd name="T6" fmla="*/ 369 w 649"/>
              <a:gd name="T7" fmla="*/ 270 h 422"/>
              <a:gd name="T8" fmla="*/ 281 w 649"/>
              <a:gd name="T9" fmla="*/ 270 h 422"/>
              <a:gd name="T10" fmla="*/ 184 w 649"/>
              <a:gd name="T11" fmla="*/ 122 h 422"/>
              <a:gd name="T12" fmla="*/ 103 w 649"/>
              <a:gd name="T13" fmla="*/ 0 h 422"/>
              <a:gd name="T14" fmla="*/ 103 w 649"/>
              <a:gd name="T15" fmla="*/ 0 h 422"/>
              <a:gd name="T16" fmla="*/ 73 w 649"/>
              <a:gd name="T17" fmla="*/ 70 h 422"/>
              <a:gd name="T18" fmla="*/ 0 w 649"/>
              <a:gd name="T19" fmla="*/ 70 h 422"/>
              <a:gd name="T20" fmla="*/ 177 w 649"/>
              <a:gd name="T21" fmla="*/ 338 h 422"/>
              <a:gd name="T22" fmla="*/ 289 w 649"/>
              <a:gd name="T23" fmla="*/ 418 h 422"/>
              <a:gd name="T24" fmla="*/ 321 w 649"/>
              <a:gd name="T25" fmla="*/ 422 h 422"/>
              <a:gd name="T26" fmla="*/ 325 w 649"/>
              <a:gd name="T27" fmla="*/ 422 h 422"/>
              <a:gd name="T28" fmla="*/ 473 w 649"/>
              <a:gd name="T29" fmla="*/ 338 h 422"/>
              <a:gd name="T30" fmla="*/ 649 w 649"/>
              <a:gd name="T31" fmla="*/ 71 h 422"/>
              <a:gd name="T32" fmla="*/ 619 w 649"/>
              <a:gd name="T33" fmla="*/ 5 h 4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649" h="422">
                <a:moveTo>
                  <a:pt x="619" y="5"/>
                </a:moveTo>
                <a:cubicBezTo>
                  <a:pt x="544" y="4"/>
                  <a:pt x="544" y="4"/>
                  <a:pt x="544" y="4"/>
                </a:cubicBezTo>
                <a:cubicBezTo>
                  <a:pt x="520" y="40"/>
                  <a:pt x="487" y="90"/>
                  <a:pt x="466" y="122"/>
                </a:cubicBezTo>
                <a:cubicBezTo>
                  <a:pt x="369" y="270"/>
                  <a:pt x="369" y="270"/>
                  <a:pt x="369" y="270"/>
                </a:cubicBezTo>
                <a:cubicBezTo>
                  <a:pt x="345" y="306"/>
                  <a:pt x="305" y="306"/>
                  <a:pt x="281" y="270"/>
                </a:cubicBezTo>
                <a:cubicBezTo>
                  <a:pt x="184" y="122"/>
                  <a:pt x="184" y="122"/>
                  <a:pt x="184" y="122"/>
                </a:cubicBezTo>
                <a:cubicBezTo>
                  <a:pt x="162" y="89"/>
                  <a:pt x="127" y="36"/>
                  <a:pt x="103" y="0"/>
                </a:cubicBezTo>
                <a:cubicBezTo>
                  <a:pt x="103" y="0"/>
                  <a:pt x="103" y="0"/>
                  <a:pt x="103" y="0"/>
                </a:cubicBezTo>
                <a:cubicBezTo>
                  <a:pt x="73" y="70"/>
                  <a:pt x="73" y="70"/>
                  <a:pt x="73" y="70"/>
                </a:cubicBezTo>
                <a:cubicBezTo>
                  <a:pt x="0" y="70"/>
                  <a:pt x="0" y="70"/>
                  <a:pt x="0" y="70"/>
                </a:cubicBezTo>
                <a:cubicBezTo>
                  <a:pt x="177" y="338"/>
                  <a:pt x="177" y="338"/>
                  <a:pt x="177" y="338"/>
                </a:cubicBezTo>
                <a:cubicBezTo>
                  <a:pt x="205" y="380"/>
                  <a:pt x="244" y="408"/>
                  <a:pt x="289" y="418"/>
                </a:cubicBezTo>
                <a:cubicBezTo>
                  <a:pt x="321" y="422"/>
                  <a:pt x="321" y="422"/>
                  <a:pt x="321" y="422"/>
                </a:cubicBezTo>
                <a:cubicBezTo>
                  <a:pt x="323" y="422"/>
                  <a:pt x="324" y="422"/>
                  <a:pt x="325" y="422"/>
                </a:cubicBezTo>
                <a:cubicBezTo>
                  <a:pt x="384" y="422"/>
                  <a:pt x="438" y="391"/>
                  <a:pt x="473" y="338"/>
                </a:cubicBezTo>
                <a:cubicBezTo>
                  <a:pt x="649" y="71"/>
                  <a:pt x="649" y="71"/>
                  <a:pt x="649" y="71"/>
                </a:cubicBezTo>
                <a:lnTo>
                  <a:pt x="619" y="5"/>
                </a:lnTo>
                <a:close/>
              </a:path>
            </a:pathLst>
          </a:custGeom>
          <a:solidFill>
            <a:srgbClr val="E2583D"/>
          </a:solidFill>
          <a:ln w="14288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227" name="Freeform 18"/>
          <p:cNvSpPr>
            <a:spLocks/>
          </p:cNvSpPr>
          <p:nvPr/>
        </p:nvSpPr>
        <p:spPr bwMode="auto">
          <a:xfrm>
            <a:off x="5057063" y="3897363"/>
            <a:ext cx="2073817" cy="1351903"/>
          </a:xfrm>
          <a:custGeom>
            <a:avLst/>
            <a:gdLst>
              <a:gd name="T0" fmla="*/ 618 w 649"/>
              <a:gd name="T1" fmla="*/ 6 h 422"/>
              <a:gd name="T2" fmla="*/ 544 w 649"/>
              <a:gd name="T3" fmla="*/ 5 h 422"/>
              <a:gd name="T4" fmla="*/ 466 w 649"/>
              <a:gd name="T5" fmla="*/ 122 h 422"/>
              <a:gd name="T6" fmla="*/ 369 w 649"/>
              <a:gd name="T7" fmla="*/ 270 h 422"/>
              <a:gd name="T8" fmla="*/ 281 w 649"/>
              <a:gd name="T9" fmla="*/ 270 h 422"/>
              <a:gd name="T10" fmla="*/ 183 w 649"/>
              <a:gd name="T11" fmla="*/ 122 h 422"/>
              <a:gd name="T12" fmla="*/ 103 w 649"/>
              <a:gd name="T13" fmla="*/ 0 h 422"/>
              <a:gd name="T14" fmla="*/ 103 w 649"/>
              <a:gd name="T15" fmla="*/ 0 h 422"/>
              <a:gd name="T16" fmla="*/ 73 w 649"/>
              <a:gd name="T17" fmla="*/ 70 h 422"/>
              <a:gd name="T18" fmla="*/ 0 w 649"/>
              <a:gd name="T19" fmla="*/ 70 h 422"/>
              <a:gd name="T20" fmla="*/ 177 w 649"/>
              <a:gd name="T21" fmla="*/ 339 h 422"/>
              <a:gd name="T22" fmla="*/ 288 w 649"/>
              <a:gd name="T23" fmla="*/ 418 h 422"/>
              <a:gd name="T24" fmla="*/ 321 w 649"/>
              <a:gd name="T25" fmla="*/ 422 h 422"/>
              <a:gd name="T26" fmla="*/ 325 w 649"/>
              <a:gd name="T27" fmla="*/ 422 h 422"/>
              <a:gd name="T28" fmla="*/ 473 w 649"/>
              <a:gd name="T29" fmla="*/ 339 h 422"/>
              <a:gd name="T30" fmla="*/ 649 w 649"/>
              <a:gd name="T31" fmla="*/ 72 h 422"/>
              <a:gd name="T32" fmla="*/ 618 w 649"/>
              <a:gd name="T33" fmla="*/ 6 h 4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649" h="422">
                <a:moveTo>
                  <a:pt x="618" y="6"/>
                </a:moveTo>
                <a:cubicBezTo>
                  <a:pt x="544" y="5"/>
                  <a:pt x="544" y="5"/>
                  <a:pt x="544" y="5"/>
                </a:cubicBezTo>
                <a:cubicBezTo>
                  <a:pt x="520" y="41"/>
                  <a:pt x="487" y="90"/>
                  <a:pt x="466" y="122"/>
                </a:cubicBezTo>
                <a:cubicBezTo>
                  <a:pt x="369" y="270"/>
                  <a:pt x="369" y="270"/>
                  <a:pt x="369" y="270"/>
                </a:cubicBezTo>
                <a:cubicBezTo>
                  <a:pt x="344" y="307"/>
                  <a:pt x="305" y="307"/>
                  <a:pt x="281" y="270"/>
                </a:cubicBezTo>
                <a:cubicBezTo>
                  <a:pt x="183" y="122"/>
                  <a:pt x="183" y="122"/>
                  <a:pt x="183" y="122"/>
                </a:cubicBezTo>
                <a:cubicBezTo>
                  <a:pt x="162" y="89"/>
                  <a:pt x="127" y="37"/>
                  <a:pt x="103" y="0"/>
                </a:cubicBezTo>
                <a:cubicBezTo>
                  <a:pt x="103" y="0"/>
                  <a:pt x="103" y="0"/>
                  <a:pt x="103" y="0"/>
                </a:cubicBezTo>
                <a:cubicBezTo>
                  <a:pt x="73" y="70"/>
                  <a:pt x="73" y="70"/>
                  <a:pt x="73" y="70"/>
                </a:cubicBezTo>
                <a:cubicBezTo>
                  <a:pt x="0" y="70"/>
                  <a:pt x="0" y="70"/>
                  <a:pt x="0" y="70"/>
                </a:cubicBezTo>
                <a:cubicBezTo>
                  <a:pt x="177" y="339"/>
                  <a:pt x="177" y="339"/>
                  <a:pt x="177" y="339"/>
                </a:cubicBezTo>
                <a:cubicBezTo>
                  <a:pt x="205" y="381"/>
                  <a:pt x="244" y="409"/>
                  <a:pt x="288" y="418"/>
                </a:cubicBezTo>
                <a:cubicBezTo>
                  <a:pt x="321" y="422"/>
                  <a:pt x="321" y="422"/>
                  <a:pt x="321" y="422"/>
                </a:cubicBezTo>
                <a:cubicBezTo>
                  <a:pt x="322" y="422"/>
                  <a:pt x="324" y="422"/>
                  <a:pt x="325" y="422"/>
                </a:cubicBezTo>
                <a:cubicBezTo>
                  <a:pt x="384" y="422"/>
                  <a:pt x="438" y="392"/>
                  <a:pt x="473" y="339"/>
                </a:cubicBezTo>
                <a:cubicBezTo>
                  <a:pt x="649" y="72"/>
                  <a:pt x="649" y="72"/>
                  <a:pt x="649" y="72"/>
                </a:cubicBezTo>
                <a:lnTo>
                  <a:pt x="618" y="6"/>
                </a:lnTo>
                <a:close/>
              </a:path>
            </a:pathLst>
          </a:custGeom>
          <a:solidFill>
            <a:srgbClr val="3B3939"/>
          </a:solidFill>
          <a:ln w="14288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229" name="TextBox 228"/>
          <p:cNvSpPr txBox="1"/>
          <p:nvPr/>
        </p:nvSpPr>
        <p:spPr>
          <a:xfrm>
            <a:off x="2254539" y="3567836"/>
            <a:ext cx="719273" cy="184666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PLAN</a:t>
            </a:r>
          </a:p>
        </p:txBody>
      </p:sp>
      <p:grpSp>
        <p:nvGrpSpPr>
          <p:cNvPr id="230" name="Group 229"/>
          <p:cNvGrpSpPr>
            <a:grpSpLocks noChangeAspect="1"/>
          </p:cNvGrpSpPr>
          <p:nvPr/>
        </p:nvGrpSpPr>
        <p:grpSpPr>
          <a:xfrm>
            <a:off x="2417564" y="3810951"/>
            <a:ext cx="393224" cy="448854"/>
            <a:chOff x="2005013" y="1858963"/>
            <a:chExt cx="325437" cy="371476"/>
          </a:xfrm>
          <a:solidFill>
            <a:srgbClr val="E2583D"/>
          </a:solidFill>
        </p:grpSpPr>
        <p:sp>
          <p:nvSpPr>
            <p:cNvPr id="231" name="Freeform 26"/>
            <p:cNvSpPr>
              <a:spLocks noEditPoints="1"/>
            </p:cNvSpPr>
            <p:nvPr/>
          </p:nvSpPr>
          <p:spPr bwMode="auto">
            <a:xfrm>
              <a:off x="2051050" y="1905001"/>
              <a:ext cx="231775" cy="233363"/>
            </a:xfrm>
            <a:custGeom>
              <a:avLst/>
              <a:gdLst>
                <a:gd name="T0" fmla="*/ 30 w 60"/>
                <a:gd name="T1" fmla="*/ 60 h 60"/>
                <a:gd name="T2" fmla="*/ 0 w 60"/>
                <a:gd name="T3" fmla="*/ 30 h 60"/>
                <a:gd name="T4" fmla="*/ 30 w 60"/>
                <a:gd name="T5" fmla="*/ 0 h 60"/>
                <a:gd name="T6" fmla="*/ 60 w 60"/>
                <a:gd name="T7" fmla="*/ 30 h 60"/>
                <a:gd name="T8" fmla="*/ 30 w 60"/>
                <a:gd name="T9" fmla="*/ 60 h 60"/>
                <a:gd name="T10" fmla="*/ 30 w 60"/>
                <a:gd name="T11" fmla="*/ 4 h 60"/>
                <a:gd name="T12" fmla="*/ 4 w 60"/>
                <a:gd name="T13" fmla="*/ 30 h 60"/>
                <a:gd name="T14" fmla="*/ 30 w 60"/>
                <a:gd name="T15" fmla="*/ 56 h 60"/>
                <a:gd name="T16" fmla="*/ 56 w 60"/>
                <a:gd name="T17" fmla="*/ 30 h 60"/>
                <a:gd name="T18" fmla="*/ 30 w 60"/>
                <a:gd name="T19" fmla="*/ 4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60">
                  <a:moveTo>
                    <a:pt x="30" y="60"/>
                  </a:moveTo>
                  <a:cubicBezTo>
                    <a:pt x="13" y="60"/>
                    <a:pt x="0" y="47"/>
                    <a:pt x="0" y="30"/>
                  </a:cubicBezTo>
                  <a:cubicBezTo>
                    <a:pt x="0" y="13"/>
                    <a:pt x="13" y="0"/>
                    <a:pt x="30" y="0"/>
                  </a:cubicBezTo>
                  <a:cubicBezTo>
                    <a:pt x="47" y="0"/>
                    <a:pt x="60" y="13"/>
                    <a:pt x="60" y="30"/>
                  </a:cubicBezTo>
                  <a:cubicBezTo>
                    <a:pt x="60" y="47"/>
                    <a:pt x="47" y="60"/>
                    <a:pt x="30" y="60"/>
                  </a:cubicBezTo>
                  <a:close/>
                  <a:moveTo>
                    <a:pt x="30" y="4"/>
                  </a:moveTo>
                  <a:cubicBezTo>
                    <a:pt x="16" y="4"/>
                    <a:pt x="4" y="16"/>
                    <a:pt x="4" y="30"/>
                  </a:cubicBezTo>
                  <a:cubicBezTo>
                    <a:pt x="4" y="44"/>
                    <a:pt x="16" y="56"/>
                    <a:pt x="30" y="56"/>
                  </a:cubicBezTo>
                  <a:cubicBezTo>
                    <a:pt x="44" y="56"/>
                    <a:pt x="56" y="44"/>
                    <a:pt x="56" y="30"/>
                  </a:cubicBezTo>
                  <a:cubicBezTo>
                    <a:pt x="56" y="16"/>
                    <a:pt x="44" y="4"/>
                    <a:pt x="3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232" name="Freeform 27"/>
            <p:cNvSpPr>
              <a:spLocks/>
            </p:cNvSpPr>
            <p:nvPr/>
          </p:nvSpPr>
          <p:spPr bwMode="auto">
            <a:xfrm>
              <a:off x="2112963" y="2122488"/>
              <a:ext cx="107950" cy="46038"/>
            </a:xfrm>
            <a:custGeom>
              <a:avLst/>
              <a:gdLst>
                <a:gd name="T0" fmla="*/ 26 w 28"/>
                <a:gd name="T1" fmla="*/ 12 h 12"/>
                <a:gd name="T2" fmla="*/ 2 w 28"/>
                <a:gd name="T3" fmla="*/ 12 h 12"/>
                <a:gd name="T4" fmla="*/ 0 w 28"/>
                <a:gd name="T5" fmla="*/ 10 h 12"/>
                <a:gd name="T6" fmla="*/ 0 w 28"/>
                <a:gd name="T7" fmla="*/ 0 h 12"/>
                <a:gd name="T8" fmla="*/ 4 w 28"/>
                <a:gd name="T9" fmla="*/ 0 h 12"/>
                <a:gd name="T10" fmla="*/ 4 w 28"/>
                <a:gd name="T11" fmla="*/ 8 h 12"/>
                <a:gd name="T12" fmla="*/ 24 w 28"/>
                <a:gd name="T13" fmla="*/ 8 h 12"/>
                <a:gd name="T14" fmla="*/ 24 w 28"/>
                <a:gd name="T15" fmla="*/ 0 h 12"/>
                <a:gd name="T16" fmla="*/ 28 w 28"/>
                <a:gd name="T17" fmla="*/ 0 h 12"/>
                <a:gd name="T18" fmla="*/ 28 w 28"/>
                <a:gd name="T19" fmla="*/ 10 h 12"/>
                <a:gd name="T20" fmla="*/ 26 w 28"/>
                <a:gd name="T21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" h="12">
                  <a:moveTo>
                    <a:pt x="26" y="12"/>
                  </a:moveTo>
                  <a:cubicBezTo>
                    <a:pt x="2" y="12"/>
                    <a:pt x="2" y="12"/>
                    <a:pt x="2" y="12"/>
                  </a:cubicBezTo>
                  <a:cubicBezTo>
                    <a:pt x="1" y="12"/>
                    <a:pt x="0" y="11"/>
                    <a:pt x="0" y="1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24" y="8"/>
                    <a:pt x="24" y="8"/>
                    <a:pt x="24" y="8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8" y="10"/>
                    <a:pt x="28" y="10"/>
                    <a:pt x="28" y="10"/>
                  </a:cubicBezTo>
                  <a:cubicBezTo>
                    <a:pt x="28" y="11"/>
                    <a:pt x="27" y="12"/>
                    <a:pt x="2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233" name="Freeform 28"/>
            <p:cNvSpPr>
              <a:spLocks noEditPoints="1"/>
            </p:cNvSpPr>
            <p:nvPr/>
          </p:nvSpPr>
          <p:spPr bwMode="auto">
            <a:xfrm>
              <a:off x="2128838" y="2152651"/>
              <a:ext cx="76200" cy="47625"/>
            </a:xfrm>
            <a:custGeom>
              <a:avLst/>
              <a:gdLst>
                <a:gd name="T0" fmla="*/ 18 w 20"/>
                <a:gd name="T1" fmla="*/ 12 h 12"/>
                <a:gd name="T2" fmla="*/ 2 w 20"/>
                <a:gd name="T3" fmla="*/ 12 h 12"/>
                <a:gd name="T4" fmla="*/ 0 w 20"/>
                <a:gd name="T5" fmla="*/ 10 h 12"/>
                <a:gd name="T6" fmla="*/ 0 w 20"/>
                <a:gd name="T7" fmla="*/ 2 h 12"/>
                <a:gd name="T8" fmla="*/ 2 w 20"/>
                <a:gd name="T9" fmla="*/ 0 h 12"/>
                <a:gd name="T10" fmla="*/ 18 w 20"/>
                <a:gd name="T11" fmla="*/ 0 h 12"/>
                <a:gd name="T12" fmla="*/ 20 w 20"/>
                <a:gd name="T13" fmla="*/ 2 h 12"/>
                <a:gd name="T14" fmla="*/ 20 w 20"/>
                <a:gd name="T15" fmla="*/ 10 h 12"/>
                <a:gd name="T16" fmla="*/ 18 w 20"/>
                <a:gd name="T17" fmla="*/ 12 h 12"/>
                <a:gd name="T18" fmla="*/ 4 w 20"/>
                <a:gd name="T19" fmla="*/ 8 h 12"/>
                <a:gd name="T20" fmla="*/ 16 w 20"/>
                <a:gd name="T21" fmla="*/ 8 h 12"/>
                <a:gd name="T22" fmla="*/ 16 w 20"/>
                <a:gd name="T23" fmla="*/ 4 h 12"/>
                <a:gd name="T24" fmla="*/ 4 w 20"/>
                <a:gd name="T25" fmla="*/ 4 h 12"/>
                <a:gd name="T26" fmla="*/ 4 w 20"/>
                <a:gd name="T27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" h="12">
                  <a:moveTo>
                    <a:pt x="18" y="12"/>
                  </a:moveTo>
                  <a:cubicBezTo>
                    <a:pt x="2" y="12"/>
                    <a:pt x="2" y="12"/>
                    <a:pt x="2" y="12"/>
                  </a:cubicBezTo>
                  <a:cubicBezTo>
                    <a:pt x="1" y="12"/>
                    <a:pt x="0" y="11"/>
                    <a:pt x="0" y="1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9" y="0"/>
                    <a:pt x="20" y="1"/>
                    <a:pt x="20" y="2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1"/>
                    <a:pt x="19" y="12"/>
                    <a:pt x="18" y="12"/>
                  </a:cubicBezTo>
                  <a:close/>
                  <a:moveTo>
                    <a:pt x="4" y="8"/>
                  </a:moveTo>
                  <a:cubicBezTo>
                    <a:pt x="16" y="8"/>
                    <a:pt x="16" y="8"/>
                    <a:pt x="16" y="8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4" y="4"/>
                    <a:pt x="4" y="4"/>
                    <a:pt x="4" y="4"/>
                  </a:cubicBezTo>
                  <a:lnTo>
                    <a:pt x="4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234" name="Freeform 29"/>
            <p:cNvSpPr>
              <a:spLocks/>
            </p:cNvSpPr>
            <p:nvPr/>
          </p:nvSpPr>
          <p:spPr bwMode="auto">
            <a:xfrm>
              <a:off x="2159000" y="2184401"/>
              <a:ext cx="15875" cy="46038"/>
            </a:xfrm>
            <a:custGeom>
              <a:avLst/>
              <a:gdLst>
                <a:gd name="T0" fmla="*/ 2 w 4"/>
                <a:gd name="T1" fmla="*/ 12 h 12"/>
                <a:gd name="T2" fmla="*/ 0 w 4"/>
                <a:gd name="T3" fmla="*/ 10 h 12"/>
                <a:gd name="T4" fmla="*/ 0 w 4"/>
                <a:gd name="T5" fmla="*/ 2 h 12"/>
                <a:gd name="T6" fmla="*/ 2 w 4"/>
                <a:gd name="T7" fmla="*/ 0 h 12"/>
                <a:gd name="T8" fmla="*/ 4 w 4"/>
                <a:gd name="T9" fmla="*/ 2 h 12"/>
                <a:gd name="T10" fmla="*/ 4 w 4"/>
                <a:gd name="T11" fmla="*/ 10 h 12"/>
                <a:gd name="T12" fmla="*/ 2 w 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12">
                  <a:moveTo>
                    <a:pt x="2" y="12"/>
                  </a:moveTo>
                  <a:cubicBezTo>
                    <a:pt x="1" y="12"/>
                    <a:pt x="0" y="11"/>
                    <a:pt x="0" y="1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1"/>
                    <a:pt x="3" y="12"/>
                    <a:pt x="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235" name="Freeform 30"/>
            <p:cNvSpPr>
              <a:spLocks/>
            </p:cNvSpPr>
            <p:nvPr/>
          </p:nvSpPr>
          <p:spPr bwMode="auto">
            <a:xfrm>
              <a:off x="2159000" y="1858963"/>
              <a:ext cx="15875" cy="31750"/>
            </a:xfrm>
            <a:custGeom>
              <a:avLst/>
              <a:gdLst>
                <a:gd name="T0" fmla="*/ 2 w 4"/>
                <a:gd name="T1" fmla="*/ 8 h 8"/>
                <a:gd name="T2" fmla="*/ 0 w 4"/>
                <a:gd name="T3" fmla="*/ 6 h 8"/>
                <a:gd name="T4" fmla="*/ 0 w 4"/>
                <a:gd name="T5" fmla="*/ 2 h 8"/>
                <a:gd name="T6" fmla="*/ 2 w 4"/>
                <a:gd name="T7" fmla="*/ 0 h 8"/>
                <a:gd name="T8" fmla="*/ 4 w 4"/>
                <a:gd name="T9" fmla="*/ 2 h 8"/>
                <a:gd name="T10" fmla="*/ 4 w 4"/>
                <a:gd name="T11" fmla="*/ 6 h 8"/>
                <a:gd name="T12" fmla="*/ 2 w 4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8">
                  <a:moveTo>
                    <a:pt x="2" y="8"/>
                  </a:moveTo>
                  <a:cubicBezTo>
                    <a:pt x="1" y="8"/>
                    <a:pt x="0" y="7"/>
                    <a:pt x="0" y="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7"/>
                    <a:pt x="3" y="8"/>
                    <a:pt x="2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236" name="Freeform 31"/>
            <p:cNvSpPr>
              <a:spLocks/>
            </p:cNvSpPr>
            <p:nvPr/>
          </p:nvSpPr>
          <p:spPr bwMode="auto">
            <a:xfrm>
              <a:off x="2255838" y="1905001"/>
              <a:ext cx="26987" cy="26988"/>
            </a:xfrm>
            <a:custGeom>
              <a:avLst/>
              <a:gdLst>
                <a:gd name="T0" fmla="*/ 2 w 7"/>
                <a:gd name="T1" fmla="*/ 7 h 7"/>
                <a:gd name="T2" fmla="*/ 1 w 7"/>
                <a:gd name="T3" fmla="*/ 6 h 7"/>
                <a:gd name="T4" fmla="*/ 1 w 7"/>
                <a:gd name="T5" fmla="*/ 3 h 7"/>
                <a:gd name="T6" fmla="*/ 4 w 7"/>
                <a:gd name="T7" fmla="*/ 0 h 7"/>
                <a:gd name="T8" fmla="*/ 7 w 7"/>
                <a:gd name="T9" fmla="*/ 0 h 7"/>
                <a:gd name="T10" fmla="*/ 7 w 7"/>
                <a:gd name="T11" fmla="*/ 3 h 7"/>
                <a:gd name="T12" fmla="*/ 4 w 7"/>
                <a:gd name="T13" fmla="*/ 6 h 7"/>
                <a:gd name="T14" fmla="*/ 2 w 7"/>
                <a:gd name="T15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7">
                  <a:moveTo>
                    <a:pt x="2" y="7"/>
                  </a:moveTo>
                  <a:cubicBezTo>
                    <a:pt x="2" y="7"/>
                    <a:pt x="1" y="6"/>
                    <a:pt x="1" y="6"/>
                  </a:cubicBezTo>
                  <a:cubicBezTo>
                    <a:pt x="0" y="5"/>
                    <a:pt x="0" y="4"/>
                    <a:pt x="1" y="3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5" y="0"/>
                    <a:pt x="6" y="0"/>
                    <a:pt x="7" y="0"/>
                  </a:cubicBezTo>
                  <a:cubicBezTo>
                    <a:pt x="7" y="1"/>
                    <a:pt x="7" y="2"/>
                    <a:pt x="7" y="3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3" y="6"/>
                    <a:pt x="3" y="7"/>
                    <a:pt x="2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237" name="Freeform 32"/>
            <p:cNvSpPr>
              <a:spLocks/>
            </p:cNvSpPr>
            <p:nvPr/>
          </p:nvSpPr>
          <p:spPr bwMode="auto">
            <a:xfrm>
              <a:off x="2298700" y="2014538"/>
              <a:ext cx="31750" cy="14288"/>
            </a:xfrm>
            <a:custGeom>
              <a:avLst/>
              <a:gdLst>
                <a:gd name="T0" fmla="*/ 6 w 8"/>
                <a:gd name="T1" fmla="*/ 4 h 4"/>
                <a:gd name="T2" fmla="*/ 2 w 8"/>
                <a:gd name="T3" fmla="*/ 4 h 4"/>
                <a:gd name="T4" fmla="*/ 0 w 8"/>
                <a:gd name="T5" fmla="*/ 2 h 4"/>
                <a:gd name="T6" fmla="*/ 2 w 8"/>
                <a:gd name="T7" fmla="*/ 0 h 4"/>
                <a:gd name="T8" fmla="*/ 6 w 8"/>
                <a:gd name="T9" fmla="*/ 0 h 4"/>
                <a:gd name="T10" fmla="*/ 8 w 8"/>
                <a:gd name="T11" fmla="*/ 2 h 4"/>
                <a:gd name="T12" fmla="*/ 6 w 8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4">
                  <a:moveTo>
                    <a:pt x="6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7" y="0"/>
                    <a:pt x="8" y="1"/>
                    <a:pt x="8" y="2"/>
                  </a:cubicBezTo>
                  <a:cubicBezTo>
                    <a:pt x="8" y="3"/>
                    <a:pt x="7" y="4"/>
                    <a:pt x="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238" name="Freeform 33"/>
            <p:cNvSpPr>
              <a:spLocks/>
            </p:cNvSpPr>
            <p:nvPr/>
          </p:nvSpPr>
          <p:spPr bwMode="auto">
            <a:xfrm>
              <a:off x="2255838" y="2109788"/>
              <a:ext cx="26987" cy="28575"/>
            </a:xfrm>
            <a:custGeom>
              <a:avLst/>
              <a:gdLst>
                <a:gd name="T0" fmla="*/ 5 w 7"/>
                <a:gd name="T1" fmla="*/ 7 h 7"/>
                <a:gd name="T2" fmla="*/ 4 w 7"/>
                <a:gd name="T3" fmla="*/ 7 h 7"/>
                <a:gd name="T4" fmla="*/ 1 w 7"/>
                <a:gd name="T5" fmla="*/ 4 h 7"/>
                <a:gd name="T6" fmla="*/ 1 w 7"/>
                <a:gd name="T7" fmla="*/ 1 h 7"/>
                <a:gd name="T8" fmla="*/ 4 w 7"/>
                <a:gd name="T9" fmla="*/ 1 h 7"/>
                <a:gd name="T10" fmla="*/ 7 w 7"/>
                <a:gd name="T11" fmla="*/ 4 h 7"/>
                <a:gd name="T12" fmla="*/ 7 w 7"/>
                <a:gd name="T13" fmla="*/ 7 h 7"/>
                <a:gd name="T14" fmla="*/ 5 w 7"/>
                <a:gd name="T15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7">
                  <a:moveTo>
                    <a:pt x="5" y="7"/>
                  </a:moveTo>
                  <a:cubicBezTo>
                    <a:pt x="5" y="7"/>
                    <a:pt x="4" y="7"/>
                    <a:pt x="4" y="7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1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7" y="5"/>
                    <a:pt x="7" y="6"/>
                    <a:pt x="7" y="7"/>
                  </a:cubicBezTo>
                  <a:cubicBezTo>
                    <a:pt x="6" y="7"/>
                    <a:pt x="6" y="7"/>
                    <a:pt x="5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239" name="Freeform 34"/>
            <p:cNvSpPr>
              <a:spLocks/>
            </p:cNvSpPr>
            <p:nvPr/>
          </p:nvSpPr>
          <p:spPr bwMode="auto">
            <a:xfrm>
              <a:off x="2051050" y="1905001"/>
              <a:ext cx="26987" cy="26988"/>
            </a:xfrm>
            <a:custGeom>
              <a:avLst/>
              <a:gdLst>
                <a:gd name="T0" fmla="*/ 5 w 7"/>
                <a:gd name="T1" fmla="*/ 7 h 7"/>
                <a:gd name="T2" fmla="*/ 3 w 7"/>
                <a:gd name="T3" fmla="*/ 6 h 7"/>
                <a:gd name="T4" fmla="*/ 0 w 7"/>
                <a:gd name="T5" fmla="*/ 3 h 7"/>
                <a:gd name="T6" fmla="*/ 0 w 7"/>
                <a:gd name="T7" fmla="*/ 0 h 7"/>
                <a:gd name="T8" fmla="*/ 3 w 7"/>
                <a:gd name="T9" fmla="*/ 0 h 7"/>
                <a:gd name="T10" fmla="*/ 6 w 7"/>
                <a:gd name="T11" fmla="*/ 3 h 7"/>
                <a:gd name="T12" fmla="*/ 6 w 7"/>
                <a:gd name="T13" fmla="*/ 6 h 7"/>
                <a:gd name="T14" fmla="*/ 5 w 7"/>
                <a:gd name="T15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7">
                  <a:moveTo>
                    <a:pt x="5" y="7"/>
                  </a:moveTo>
                  <a:cubicBezTo>
                    <a:pt x="4" y="7"/>
                    <a:pt x="4" y="6"/>
                    <a:pt x="3" y="6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1"/>
                    <a:pt x="0" y="0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7" y="4"/>
                    <a:pt x="7" y="5"/>
                    <a:pt x="6" y="6"/>
                  </a:cubicBezTo>
                  <a:cubicBezTo>
                    <a:pt x="6" y="6"/>
                    <a:pt x="5" y="7"/>
                    <a:pt x="5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240" name="Freeform 35"/>
            <p:cNvSpPr>
              <a:spLocks/>
            </p:cNvSpPr>
            <p:nvPr/>
          </p:nvSpPr>
          <p:spPr bwMode="auto">
            <a:xfrm>
              <a:off x="2005013" y="2014538"/>
              <a:ext cx="30162" cy="14288"/>
            </a:xfrm>
            <a:custGeom>
              <a:avLst/>
              <a:gdLst>
                <a:gd name="T0" fmla="*/ 6 w 8"/>
                <a:gd name="T1" fmla="*/ 4 h 4"/>
                <a:gd name="T2" fmla="*/ 2 w 8"/>
                <a:gd name="T3" fmla="*/ 4 h 4"/>
                <a:gd name="T4" fmla="*/ 0 w 8"/>
                <a:gd name="T5" fmla="*/ 2 h 4"/>
                <a:gd name="T6" fmla="*/ 2 w 8"/>
                <a:gd name="T7" fmla="*/ 0 h 4"/>
                <a:gd name="T8" fmla="*/ 6 w 8"/>
                <a:gd name="T9" fmla="*/ 0 h 4"/>
                <a:gd name="T10" fmla="*/ 8 w 8"/>
                <a:gd name="T11" fmla="*/ 2 h 4"/>
                <a:gd name="T12" fmla="*/ 6 w 8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4">
                  <a:moveTo>
                    <a:pt x="6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7" y="0"/>
                    <a:pt x="8" y="1"/>
                    <a:pt x="8" y="2"/>
                  </a:cubicBezTo>
                  <a:cubicBezTo>
                    <a:pt x="8" y="3"/>
                    <a:pt x="7" y="4"/>
                    <a:pt x="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241" name="Freeform 36"/>
            <p:cNvSpPr>
              <a:spLocks/>
            </p:cNvSpPr>
            <p:nvPr/>
          </p:nvSpPr>
          <p:spPr bwMode="auto">
            <a:xfrm>
              <a:off x="2051050" y="2109788"/>
              <a:ext cx="26987" cy="28575"/>
            </a:xfrm>
            <a:custGeom>
              <a:avLst/>
              <a:gdLst>
                <a:gd name="T0" fmla="*/ 2 w 7"/>
                <a:gd name="T1" fmla="*/ 7 h 7"/>
                <a:gd name="T2" fmla="*/ 0 w 7"/>
                <a:gd name="T3" fmla="*/ 7 h 7"/>
                <a:gd name="T4" fmla="*/ 0 w 7"/>
                <a:gd name="T5" fmla="*/ 4 h 7"/>
                <a:gd name="T6" fmla="*/ 3 w 7"/>
                <a:gd name="T7" fmla="*/ 1 h 7"/>
                <a:gd name="T8" fmla="*/ 6 w 7"/>
                <a:gd name="T9" fmla="*/ 1 h 7"/>
                <a:gd name="T10" fmla="*/ 6 w 7"/>
                <a:gd name="T11" fmla="*/ 4 h 7"/>
                <a:gd name="T12" fmla="*/ 3 w 7"/>
                <a:gd name="T13" fmla="*/ 7 h 7"/>
                <a:gd name="T14" fmla="*/ 2 w 7"/>
                <a:gd name="T15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7">
                  <a:moveTo>
                    <a:pt x="2" y="7"/>
                  </a:moveTo>
                  <a:cubicBezTo>
                    <a:pt x="1" y="7"/>
                    <a:pt x="1" y="7"/>
                    <a:pt x="0" y="7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4" y="0"/>
                    <a:pt x="5" y="0"/>
                    <a:pt x="6" y="1"/>
                  </a:cubicBezTo>
                  <a:cubicBezTo>
                    <a:pt x="7" y="2"/>
                    <a:pt x="7" y="3"/>
                    <a:pt x="6" y="4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7"/>
                    <a:pt x="2" y="7"/>
                    <a:pt x="2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242" name="Freeform 37"/>
            <p:cNvSpPr>
              <a:spLocks noEditPoints="1"/>
            </p:cNvSpPr>
            <p:nvPr/>
          </p:nvSpPr>
          <p:spPr bwMode="auto">
            <a:xfrm>
              <a:off x="2097088" y="2014538"/>
              <a:ext cx="139700" cy="115888"/>
            </a:xfrm>
            <a:custGeom>
              <a:avLst/>
              <a:gdLst>
                <a:gd name="T0" fmla="*/ 20 w 36"/>
                <a:gd name="T1" fmla="*/ 30 h 30"/>
                <a:gd name="T2" fmla="*/ 20 w 36"/>
                <a:gd name="T3" fmla="*/ 30 h 30"/>
                <a:gd name="T4" fmla="*/ 18 w 36"/>
                <a:gd name="T5" fmla="*/ 28 h 30"/>
                <a:gd name="T6" fmla="*/ 16 w 36"/>
                <a:gd name="T7" fmla="*/ 30 h 30"/>
                <a:gd name="T8" fmla="*/ 14 w 36"/>
                <a:gd name="T9" fmla="*/ 28 h 30"/>
                <a:gd name="T10" fmla="*/ 10 w 36"/>
                <a:gd name="T11" fmla="*/ 12 h 30"/>
                <a:gd name="T12" fmla="*/ 6 w 36"/>
                <a:gd name="T13" fmla="*/ 12 h 30"/>
                <a:gd name="T14" fmla="*/ 0 w 36"/>
                <a:gd name="T15" fmla="*/ 6 h 30"/>
                <a:gd name="T16" fmla="*/ 6 w 36"/>
                <a:gd name="T17" fmla="*/ 0 h 30"/>
                <a:gd name="T18" fmla="*/ 13 w 36"/>
                <a:gd name="T19" fmla="*/ 5 h 30"/>
                <a:gd name="T20" fmla="*/ 13 w 36"/>
                <a:gd name="T21" fmla="*/ 8 h 30"/>
                <a:gd name="T22" fmla="*/ 23 w 36"/>
                <a:gd name="T23" fmla="*/ 8 h 30"/>
                <a:gd name="T24" fmla="*/ 23 w 36"/>
                <a:gd name="T25" fmla="*/ 5 h 30"/>
                <a:gd name="T26" fmla="*/ 30 w 36"/>
                <a:gd name="T27" fmla="*/ 0 h 30"/>
                <a:gd name="T28" fmla="*/ 36 w 36"/>
                <a:gd name="T29" fmla="*/ 6 h 30"/>
                <a:gd name="T30" fmla="*/ 30 w 36"/>
                <a:gd name="T31" fmla="*/ 12 h 30"/>
                <a:gd name="T32" fmla="*/ 26 w 36"/>
                <a:gd name="T33" fmla="*/ 12 h 30"/>
                <a:gd name="T34" fmla="*/ 22 w 36"/>
                <a:gd name="T35" fmla="*/ 28 h 30"/>
                <a:gd name="T36" fmla="*/ 20 w 36"/>
                <a:gd name="T37" fmla="*/ 30 h 30"/>
                <a:gd name="T38" fmla="*/ 14 w 36"/>
                <a:gd name="T39" fmla="*/ 12 h 30"/>
                <a:gd name="T40" fmla="*/ 18 w 36"/>
                <a:gd name="T41" fmla="*/ 28 h 30"/>
                <a:gd name="T42" fmla="*/ 18 w 36"/>
                <a:gd name="T43" fmla="*/ 28 h 30"/>
                <a:gd name="T44" fmla="*/ 18 w 36"/>
                <a:gd name="T45" fmla="*/ 28 h 30"/>
                <a:gd name="T46" fmla="*/ 22 w 36"/>
                <a:gd name="T47" fmla="*/ 12 h 30"/>
                <a:gd name="T48" fmla="*/ 14 w 36"/>
                <a:gd name="T49" fmla="*/ 12 h 30"/>
                <a:gd name="T50" fmla="*/ 27 w 36"/>
                <a:gd name="T51" fmla="*/ 8 h 30"/>
                <a:gd name="T52" fmla="*/ 30 w 36"/>
                <a:gd name="T53" fmla="*/ 8 h 30"/>
                <a:gd name="T54" fmla="*/ 32 w 36"/>
                <a:gd name="T55" fmla="*/ 6 h 30"/>
                <a:gd name="T56" fmla="*/ 30 w 36"/>
                <a:gd name="T57" fmla="*/ 4 h 30"/>
                <a:gd name="T58" fmla="*/ 27 w 36"/>
                <a:gd name="T59" fmla="*/ 6 h 30"/>
                <a:gd name="T60" fmla="*/ 27 w 36"/>
                <a:gd name="T61" fmla="*/ 8 h 30"/>
                <a:gd name="T62" fmla="*/ 6 w 36"/>
                <a:gd name="T63" fmla="*/ 4 h 30"/>
                <a:gd name="T64" fmla="*/ 4 w 36"/>
                <a:gd name="T65" fmla="*/ 6 h 30"/>
                <a:gd name="T66" fmla="*/ 6 w 36"/>
                <a:gd name="T67" fmla="*/ 8 h 30"/>
                <a:gd name="T68" fmla="*/ 9 w 36"/>
                <a:gd name="T69" fmla="*/ 8 h 30"/>
                <a:gd name="T70" fmla="*/ 9 w 36"/>
                <a:gd name="T71" fmla="*/ 6 h 30"/>
                <a:gd name="T72" fmla="*/ 6 w 36"/>
                <a:gd name="T73" fmla="*/ 4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6" h="30">
                  <a:moveTo>
                    <a:pt x="20" y="30"/>
                  </a:moveTo>
                  <a:cubicBezTo>
                    <a:pt x="20" y="30"/>
                    <a:pt x="20" y="30"/>
                    <a:pt x="20" y="30"/>
                  </a:cubicBezTo>
                  <a:cubicBezTo>
                    <a:pt x="19" y="30"/>
                    <a:pt x="18" y="29"/>
                    <a:pt x="18" y="28"/>
                  </a:cubicBezTo>
                  <a:cubicBezTo>
                    <a:pt x="18" y="29"/>
                    <a:pt x="17" y="30"/>
                    <a:pt x="16" y="30"/>
                  </a:cubicBezTo>
                  <a:cubicBezTo>
                    <a:pt x="15" y="30"/>
                    <a:pt x="14" y="30"/>
                    <a:pt x="14" y="28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2"/>
                    <a:pt x="13" y="5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23" y="8"/>
                    <a:pt x="23" y="8"/>
                    <a:pt x="23" y="8"/>
                  </a:cubicBezTo>
                  <a:cubicBezTo>
                    <a:pt x="23" y="5"/>
                    <a:pt x="23" y="5"/>
                    <a:pt x="23" y="5"/>
                  </a:cubicBezTo>
                  <a:cubicBezTo>
                    <a:pt x="24" y="2"/>
                    <a:pt x="27" y="0"/>
                    <a:pt x="30" y="0"/>
                  </a:cubicBezTo>
                  <a:cubicBezTo>
                    <a:pt x="33" y="0"/>
                    <a:pt x="36" y="3"/>
                    <a:pt x="36" y="6"/>
                  </a:cubicBezTo>
                  <a:cubicBezTo>
                    <a:pt x="36" y="9"/>
                    <a:pt x="33" y="12"/>
                    <a:pt x="30" y="12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2" y="28"/>
                    <a:pt x="22" y="28"/>
                    <a:pt x="22" y="28"/>
                  </a:cubicBezTo>
                  <a:cubicBezTo>
                    <a:pt x="22" y="29"/>
                    <a:pt x="21" y="30"/>
                    <a:pt x="20" y="30"/>
                  </a:cubicBezTo>
                  <a:close/>
                  <a:moveTo>
                    <a:pt x="14" y="12"/>
                  </a:move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22" y="12"/>
                    <a:pt x="22" y="12"/>
                    <a:pt x="22" y="12"/>
                  </a:cubicBezTo>
                  <a:lnTo>
                    <a:pt x="14" y="12"/>
                  </a:lnTo>
                  <a:close/>
                  <a:moveTo>
                    <a:pt x="27" y="8"/>
                  </a:moveTo>
                  <a:cubicBezTo>
                    <a:pt x="30" y="8"/>
                    <a:pt x="30" y="8"/>
                    <a:pt x="30" y="8"/>
                  </a:cubicBezTo>
                  <a:cubicBezTo>
                    <a:pt x="31" y="8"/>
                    <a:pt x="32" y="7"/>
                    <a:pt x="32" y="6"/>
                  </a:cubicBezTo>
                  <a:cubicBezTo>
                    <a:pt x="32" y="5"/>
                    <a:pt x="31" y="4"/>
                    <a:pt x="30" y="4"/>
                  </a:cubicBezTo>
                  <a:cubicBezTo>
                    <a:pt x="29" y="4"/>
                    <a:pt x="27" y="5"/>
                    <a:pt x="27" y="6"/>
                  </a:cubicBezTo>
                  <a:lnTo>
                    <a:pt x="27" y="8"/>
                  </a:lnTo>
                  <a:close/>
                  <a:moveTo>
                    <a:pt x="6" y="4"/>
                  </a:moveTo>
                  <a:cubicBezTo>
                    <a:pt x="5" y="4"/>
                    <a:pt x="4" y="5"/>
                    <a:pt x="4" y="6"/>
                  </a:cubicBezTo>
                  <a:cubicBezTo>
                    <a:pt x="4" y="7"/>
                    <a:pt x="5" y="8"/>
                    <a:pt x="6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5"/>
                    <a:pt x="7" y="4"/>
                    <a:pt x="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endParaRPr>
            </a:p>
          </p:txBody>
        </p:sp>
      </p:grpSp>
      <p:sp>
        <p:nvSpPr>
          <p:cNvPr id="243" name="TextBox 242"/>
          <p:cNvSpPr txBox="1"/>
          <p:nvPr/>
        </p:nvSpPr>
        <p:spPr>
          <a:xfrm>
            <a:off x="3899902" y="4320239"/>
            <a:ext cx="909697" cy="184666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DISCOVER</a:t>
            </a:r>
          </a:p>
        </p:txBody>
      </p:sp>
      <p:sp>
        <p:nvSpPr>
          <p:cNvPr id="244" name="TextBox 243"/>
          <p:cNvSpPr txBox="1"/>
          <p:nvPr/>
        </p:nvSpPr>
        <p:spPr>
          <a:xfrm>
            <a:off x="5735687" y="3567836"/>
            <a:ext cx="719273" cy="184666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ANALYZE</a:t>
            </a:r>
          </a:p>
        </p:txBody>
      </p:sp>
      <p:sp>
        <p:nvSpPr>
          <p:cNvPr id="245" name="TextBox 244"/>
          <p:cNvSpPr txBox="1"/>
          <p:nvPr/>
        </p:nvSpPr>
        <p:spPr>
          <a:xfrm>
            <a:off x="8971628" y="3567836"/>
            <a:ext cx="1209688" cy="184666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IMPLEMENT</a:t>
            </a:r>
          </a:p>
        </p:txBody>
      </p:sp>
      <p:grpSp>
        <p:nvGrpSpPr>
          <p:cNvPr id="246" name="Group 245"/>
          <p:cNvGrpSpPr>
            <a:grpSpLocks noChangeAspect="1"/>
          </p:cNvGrpSpPr>
          <p:nvPr/>
        </p:nvGrpSpPr>
        <p:grpSpPr>
          <a:xfrm>
            <a:off x="4130323" y="3810951"/>
            <a:ext cx="448854" cy="448854"/>
            <a:chOff x="3903073" y="3496769"/>
            <a:chExt cx="360000" cy="360000"/>
          </a:xfrm>
          <a:solidFill>
            <a:srgbClr val="78D2D2"/>
          </a:solidFill>
        </p:grpSpPr>
        <p:sp>
          <p:nvSpPr>
            <p:cNvPr id="247" name="Freeform 79"/>
            <p:cNvSpPr>
              <a:spLocks noEditPoints="1"/>
            </p:cNvSpPr>
            <p:nvPr/>
          </p:nvSpPr>
          <p:spPr bwMode="auto">
            <a:xfrm>
              <a:off x="3903073" y="3496769"/>
              <a:ext cx="255385" cy="255385"/>
            </a:xfrm>
            <a:custGeom>
              <a:avLst/>
              <a:gdLst>
                <a:gd name="T0" fmla="*/ 34 w 68"/>
                <a:gd name="T1" fmla="*/ 68 h 68"/>
                <a:gd name="T2" fmla="*/ 0 w 68"/>
                <a:gd name="T3" fmla="*/ 34 h 68"/>
                <a:gd name="T4" fmla="*/ 34 w 68"/>
                <a:gd name="T5" fmla="*/ 0 h 68"/>
                <a:gd name="T6" fmla="*/ 68 w 68"/>
                <a:gd name="T7" fmla="*/ 34 h 68"/>
                <a:gd name="T8" fmla="*/ 34 w 68"/>
                <a:gd name="T9" fmla="*/ 68 h 68"/>
                <a:gd name="T10" fmla="*/ 34 w 68"/>
                <a:gd name="T11" fmla="*/ 4 h 68"/>
                <a:gd name="T12" fmla="*/ 4 w 68"/>
                <a:gd name="T13" fmla="*/ 34 h 68"/>
                <a:gd name="T14" fmla="*/ 34 w 68"/>
                <a:gd name="T15" fmla="*/ 64 h 68"/>
                <a:gd name="T16" fmla="*/ 64 w 68"/>
                <a:gd name="T17" fmla="*/ 34 h 68"/>
                <a:gd name="T18" fmla="*/ 34 w 68"/>
                <a:gd name="T19" fmla="*/ 4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8" h="68">
                  <a:moveTo>
                    <a:pt x="34" y="68"/>
                  </a:moveTo>
                  <a:cubicBezTo>
                    <a:pt x="15" y="68"/>
                    <a:pt x="0" y="53"/>
                    <a:pt x="0" y="34"/>
                  </a:cubicBezTo>
                  <a:cubicBezTo>
                    <a:pt x="0" y="15"/>
                    <a:pt x="15" y="0"/>
                    <a:pt x="34" y="0"/>
                  </a:cubicBezTo>
                  <a:cubicBezTo>
                    <a:pt x="53" y="0"/>
                    <a:pt x="68" y="15"/>
                    <a:pt x="68" y="34"/>
                  </a:cubicBezTo>
                  <a:cubicBezTo>
                    <a:pt x="68" y="53"/>
                    <a:pt x="53" y="68"/>
                    <a:pt x="34" y="68"/>
                  </a:cubicBezTo>
                  <a:close/>
                  <a:moveTo>
                    <a:pt x="34" y="4"/>
                  </a:moveTo>
                  <a:cubicBezTo>
                    <a:pt x="17" y="4"/>
                    <a:pt x="4" y="17"/>
                    <a:pt x="4" y="34"/>
                  </a:cubicBezTo>
                  <a:cubicBezTo>
                    <a:pt x="4" y="51"/>
                    <a:pt x="17" y="64"/>
                    <a:pt x="34" y="64"/>
                  </a:cubicBezTo>
                  <a:cubicBezTo>
                    <a:pt x="51" y="64"/>
                    <a:pt x="64" y="51"/>
                    <a:pt x="64" y="34"/>
                  </a:cubicBezTo>
                  <a:cubicBezTo>
                    <a:pt x="64" y="17"/>
                    <a:pt x="51" y="4"/>
                    <a:pt x="3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248" name="Freeform 80"/>
            <p:cNvSpPr>
              <a:spLocks/>
            </p:cNvSpPr>
            <p:nvPr/>
          </p:nvSpPr>
          <p:spPr bwMode="auto">
            <a:xfrm>
              <a:off x="4106150" y="3699846"/>
              <a:ext cx="156923" cy="156923"/>
            </a:xfrm>
            <a:custGeom>
              <a:avLst/>
              <a:gdLst>
                <a:gd name="T0" fmla="*/ 40 w 42"/>
                <a:gd name="T1" fmla="*/ 42 h 42"/>
                <a:gd name="T2" fmla="*/ 39 w 42"/>
                <a:gd name="T3" fmla="*/ 41 h 42"/>
                <a:gd name="T4" fmla="*/ 1 w 42"/>
                <a:gd name="T5" fmla="*/ 4 h 42"/>
                <a:gd name="T6" fmla="*/ 1 w 42"/>
                <a:gd name="T7" fmla="*/ 1 h 42"/>
                <a:gd name="T8" fmla="*/ 4 w 42"/>
                <a:gd name="T9" fmla="*/ 1 h 42"/>
                <a:gd name="T10" fmla="*/ 41 w 42"/>
                <a:gd name="T11" fmla="*/ 39 h 42"/>
                <a:gd name="T12" fmla="*/ 41 w 42"/>
                <a:gd name="T13" fmla="*/ 41 h 42"/>
                <a:gd name="T14" fmla="*/ 40 w 42"/>
                <a:gd name="T15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" h="42">
                  <a:moveTo>
                    <a:pt x="40" y="42"/>
                  </a:moveTo>
                  <a:cubicBezTo>
                    <a:pt x="39" y="42"/>
                    <a:pt x="39" y="42"/>
                    <a:pt x="39" y="41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1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42" y="39"/>
                    <a:pt x="42" y="41"/>
                    <a:pt x="41" y="41"/>
                  </a:cubicBezTo>
                  <a:cubicBezTo>
                    <a:pt x="41" y="42"/>
                    <a:pt x="41" y="42"/>
                    <a:pt x="40" y="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endParaRPr>
            </a:p>
          </p:txBody>
        </p:sp>
      </p:grpSp>
      <p:grpSp>
        <p:nvGrpSpPr>
          <p:cNvPr id="249" name="Group 248"/>
          <p:cNvGrpSpPr>
            <a:grpSpLocks noChangeAspect="1"/>
          </p:cNvGrpSpPr>
          <p:nvPr/>
        </p:nvGrpSpPr>
        <p:grpSpPr>
          <a:xfrm>
            <a:off x="5909847" y="3888851"/>
            <a:ext cx="370954" cy="370954"/>
            <a:chOff x="-879475" y="2054225"/>
            <a:chExt cx="371475" cy="371475"/>
          </a:xfrm>
          <a:solidFill>
            <a:srgbClr val="3B3939"/>
          </a:solidFill>
        </p:grpSpPr>
        <p:sp>
          <p:nvSpPr>
            <p:cNvPr id="250" name="Freeform 41"/>
            <p:cNvSpPr>
              <a:spLocks noEditPoints="1"/>
            </p:cNvSpPr>
            <p:nvPr/>
          </p:nvSpPr>
          <p:spPr bwMode="auto">
            <a:xfrm>
              <a:off x="-879475" y="2054225"/>
              <a:ext cx="325438" cy="325438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4 h 84"/>
                <a:gd name="T12" fmla="*/ 4 w 84"/>
                <a:gd name="T13" fmla="*/ 42 h 84"/>
                <a:gd name="T14" fmla="*/ 42 w 84"/>
                <a:gd name="T15" fmla="*/ 80 h 84"/>
                <a:gd name="T16" fmla="*/ 80 w 84"/>
                <a:gd name="T17" fmla="*/ 42 h 84"/>
                <a:gd name="T18" fmla="*/ 42 w 84"/>
                <a:gd name="T19" fmla="*/ 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4"/>
                  </a:moveTo>
                  <a:cubicBezTo>
                    <a:pt x="21" y="4"/>
                    <a:pt x="4" y="21"/>
                    <a:pt x="4" y="42"/>
                  </a:cubicBezTo>
                  <a:cubicBezTo>
                    <a:pt x="4" y="63"/>
                    <a:pt x="21" y="80"/>
                    <a:pt x="42" y="80"/>
                  </a:cubicBezTo>
                  <a:cubicBezTo>
                    <a:pt x="63" y="80"/>
                    <a:pt x="80" y="63"/>
                    <a:pt x="80" y="42"/>
                  </a:cubicBezTo>
                  <a:cubicBezTo>
                    <a:pt x="80" y="21"/>
                    <a:pt x="63" y="4"/>
                    <a:pt x="4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251" name="Freeform 42"/>
            <p:cNvSpPr>
              <a:spLocks/>
            </p:cNvSpPr>
            <p:nvPr/>
          </p:nvSpPr>
          <p:spPr bwMode="auto">
            <a:xfrm>
              <a:off x="-615950" y="2317750"/>
              <a:ext cx="107950" cy="107950"/>
            </a:xfrm>
            <a:custGeom>
              <a:avLst/>
              <a:gdLst>
                <a:gd name="T0" fmla="*/ 26 w 28"/>
                <a:gd name="T1" fmla="*/ 28 h 28"/>
                <a:gd name="T2" fmla="*/ 25 w 28"/>
                <a:gd name="T3" fmla="*/ 27 h 28"/>
                <a:gd name="T4" fmla="*/ 1 w 28"/>
                <a:gd name="T5" fmla="*/ 4 h 28"/>
                <a:gd name="T6" fmla="*/ 1 w 28"/>
                <a:gd name="T7" fmla="*/ 1 h 28"/>
                <a:gd name="T8" fmla="*/ 4 w 28"/>
                <a:gd name="T9" fmla="*/ 1 h 28"/>
                <a:gd name="T10" fmla="*/ 27 w 28"/>
                <a:gd name="T11" fmla="*/ 25 h 28"/>
                <a:gd name="T12" fmla="*/ 27 w 28"/>
                <a:gd name="T13" fmla="*/ 27 h 28"/>
                <a:gd name="T14" fmla="*/ 26 w 28"/>
                <a:gd name="T1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" h="28">
                  <a:moveTo>
                    <a:pt x="26" y="28"/>
                  </a:moveTo>
                  <a:cubicBezTo>
                    <a:pt x="25" y="28"/>
                    <a:pt x="25" y="28"/>
                    <a:pt x="25" y="27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1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8" y="25"/>
                    <a:pt x="28" y="27"/>
                    <a:pt x="27" y="27"/>
                  </a:cubicBezTo>
                  <a:cubicBezTo>
                    <a:pt x="27" y="28"/>
                    <a:pt x="27" y="28"/>
                    <a:pt x="26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252" name="Freeform 43"/>
            <p:cNvSpPr>
              <a:spLocks noEditPoints="1"/>
            </p:cNvSpPr>
            <p:nvPr/>
          </p:nvSpPr>
          <p:spPr bwMode="auto">
            <a:xfrm>
              <a:off x="-825500" y="2108200"/>
              <a:ext cx="217488" cy="217488"/>
            </a:xfrm>
            <a:custGeom>
              <a:avLst/>
              <a:gdLst>
                <a:gd name="T0" fmla="*/ 22 w 56"/>
                <a:gd name="T1" fmla="*/ 56 h 56"/>
                <a:gd name="T2" fmla="*/ 20 w 56"/>
                <a:gd name="T3" fmla="*/ 48 h 56"/>
                <a:gd name="T4" fmla="*/ 9 w 56"/>
                <a:gd name="T5" fmla="*/ 48 h 56"/>
                <a:gd name="T6" fmla="*/ 1 w 56"/>
                <a:gd name="T7" fmla="*/ 37 h 56"/>
                <a:gd name="T8" fmla="*/ 1 w 56"/>
                <a:gd name="T9" fmla="*/ 34 h 56"/>
                <a:gd name="T10" fmla="*/ 6 w 56"/>
                <a:gd name="T11" fmla="*/ 25 h 56"/>
                <a:gd name="T12" fmla="*/ 1 w 56"/>
                <a:gd name="T13" fmla="*/ 19 h 56"/>
                <a:gd name="T14" fmla="*/ 9 w 56"/>
                <a:gd name="T15" fmla="*/ 8 h 56"/>
                <a:gd name="T16" fmla="*/ 20 w 56"/>
                <a:gd name="T17" fmla="*/ 8 h 56"/>
                <a:gd name="T18" fmla="*/ 22 w 56"/>
                <a:gd name="T19" fmla="*/ 0 h 56"/>
                <a:gd name="T20" fmla="*/ 36 w 56"/>
                <a:gd name="T21" fmla="*/ 2 h 56"/>
                <a:gd name="T22" fmla="*/ 42 w 56"/>
                <a:gd name="T23" fmla="*/ 11 h 56"/>
                <a:gd name="T24" fmla="*/ 49 w 56"/>
                <a:gd name="T25" fmla="*/ 9 h 56"/>
                <a:gd name="T26" fmla="*/ 55 w 56"/>
                <a:gd name="T27" fmla="*/ 21 h 56"/>
                <a:gd name="T28" fmla="*/ 50 w 56"/>
                <a:gd name="T29" fmla="*/ 25 h 56"/>
                <a:gd name="T30" fmla="*/ 55 w 56"/>
                <a:gd name="T31" fmla="*/ 34 h 56"/>
                <a:gd name="T32" fmla="*/ 55 w 56"/>
                <a:gd name="T33" fmla="*/ 37 h 56"/>
                <a:gd name="T34" fmla="*/ 47 w 56"/>
                <a:gd name="T35" fmla="*/ 48 h 56"/>
                <a:gd name="T36" fmla="*/ 36 w 56"/>
                <a:gd name="T37" fmla="*/ 48 h 56"/>
                <a:gd name="T38" fmla="*/ 34 w 56"/>
                <a:gd name="T39" fmla="*/ 56 h 56"/>
                <a:gd name="T40" fmla="*/ 32 w 56"/>
                <a:gd name="T41" fmla="*/ 52 h 56"/>
                <a:gd name="T42" fmla="*/ 33 w 56"/>
                <a:gd name="T43" fmla="*/ 45 h 56"/>
                <a:gd name="T44" fmla="*/ 42 w 56"/>
                <a:gd name="T45" fmla="*/ 41 h 56"/>
                <a:gd name="T46" fmla="*/ 51 w 56"/>
                <a:gd name="T47" fmla="*/ 37 h 56"/>
                <a:gd name="T48" fmla="*/ 45 w 56"/>
                <a:gd name="T49" fmla="*/ 32 h 56"/>
                <a:gd name="T50" fmla="*/ 46 w 56"/>
                <a:gd name="T51" fmla="*/ 22 h 56"/>
                <a:gd name="T52" fmla="*/ 47 w 56"/>
                <a:gd name="T53" fmla="*/ 13 h 56"/>
                <a:gd name="T54" fmla="*/ 40 w 56"/>
                <a:gd name="T55" fmla="*/ 15 h 56"/>
                <a:gd name="T56" fmla="*/ 32 w 56"/>
                <a:gd name="T57" fmla="*/ 9 h 56"/>
                <a:gd name="T58" fmla="*/ 24 w 56"/>
                <a:gd name="T59" fmla="*/ 4 h 56"/>
                <a:gd name="T60" fmla="*/ 23 w 56"/>
                <a:gd name="T61" fmla="*/ 11 h 56"/>
                <a:gd name="T62" fmla="*/ 14 w 56"/>
                <a:gd name="T63" fmla="*/ 15 h 56"/>
                <a:gd name="T64" fmla="*/ 5 w 56"/>
                <a:gd name="T65" fmla="*/ 19 h 56"/>
                <a:gd name="T66" fmla="*/ 11 w 56"/>
                <a:gd name="T67" fmla="*/ 24 h 56"/>
                <a:gd name="T68" fmla="*/ 10 w 56"/>
                <a:gd name="T69" fmla="*/ 34 h 56"/>
                <a:gd name="T70" fmla="*/ 9 w 56"/>
                <a:gd name="T71" fmla="*/ 43 h 56"/>
                <a:gd name="T72" fmla="*/ 16 w 56"/>
                <a:gd name="T73" fmla="*/ 41 h 56"/>
                <a:gd name="T74" fmla="*/ 24 w 56"/>
                <a:gd name="T75" fmla="*/ 47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6" h="56">
                  <a:moveTo>
                    <a:pt x="34" y="56"/>
                  </a:moveTo>
                  <a:cubicBezTo>
                    <a:pt x="22" y="56"/>
                    <a:pt x="22" y="56"/>
                    <a:pt x="22" y="56"/>
                  </a:cubicBezTo>
                  <a:cubicBezTo>
                    <a:pt x="21" y="56"/>
                    <a:pt x="20" y="55"/>
                    <a:pt x="20" y="54"/>
                  </a:cubicBezTo>
                  <a:cubicBezTo>
                    <a:pt x="20" y="48"/>
                    <a:pt x="20" y="48"/>
                    <a:pt x="20" y="48"/>
                  </a:cubicBezTo>
                  <a:cubicBezTo>
                    <a:pt x="18" y="48"/>
                    <a:pt x="16" y="47"/>
                    <a:pt x="14" y="45"/>
                  </a:cubicBezTo>
                  <a:cubicBezTo>
                    <a:pt x="9" y="48"/>
                    <a:pt x="9" y="48"/>
                    <a:pt x="9" y="48"/>
                  </a:cubicBezTo>
                  <a:cubicBezTo>
                    <a:pt x="9" y="48"/>
                    <a:pt x="7" y="48"/>
                    <a:pt x="7" y="47"/>
                  </a:cubicBezTo>
                  <a:cubicBezTo>
                    <a:pt x="1" y="37"/>
                    <a:pt x="1" y="37"/>
                    <a:pt x="1" y="37"/>
                  </a:cubicBezTo>
                  <a:cubicBezTo>
                    <a:pt x="0" y="36"/>
                    <a:pt x="0" y="36"/>
                    <a:pt x="1" y="35"/>
                  </a:cubicBezTo>
                  <a:cubicBezTo>
                    <a:pt x="1" y="35"/>
                    <a:pt x="1" y="34"/>
                    <a:pt x="1" y="34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29"/>
                    <a:pt x="6" y="27"/>
                    <a:pt x="6" y="25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1"/>
                    <a:pt x="0" y="20"/>
                    <a:pt x="1" y="1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8"/>
                    <a:pt x="9" y="8"/>
                    <a:pt x="9" y="8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6" y="9"/>
                    <a:pt x="18" y="8"/>
                    <a:pt x="20" y="8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0" y="1"/>
                    <a:pt x="21" y="0"/>
                    <a:pt x="22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5" y="0"/>
                    <a:pt x="36" y="1"/>
                    <a:pt x="36" y="2"/>
                  </a:cubicBezTo>
                  <a:cubicBezTo>
                    <a:pt x="36" y="8"/>
                    <a:pt x="36" y="8"/>
                    <a:pt x="36" y="8"/>
                  </a:cubicBezTo>
                  <a:cubicBezTo>
                    <a:pt x="38" y="8"/>
                    <a:pt x="40" y="9"/>
                    <a:pt x="42" y="11"/>
                  </a:cubicBezTo>
                  <a:cubicBezTo>
                    <a:pt x="47" y="8"/>
                    <a:pt x="47" y="8"/>
                    <a:pt x="47" y="8"/>
                  </a:cubicBezTo>
                  <a:cubicBezTo>
                    <a:pt x="47" y="8"/>
                    <a:pt x="49" y="8"/>
                    <a:pt x="49" y="9"/>
                  </a:cubicBezTo>
                  <a:cubicBezTo>
                    <a:pt x="55" y="19"/>
                    <a:pt x="55" y="19"/>
                    <a:pt x="55" y="19"/>
                  </a:cubicBezTo>
                  <a:cubicBezTo>
                    <a:pt x="56" y="20"/>
                    <a:pt x="56" y="20"/>
                    <a:pt x="55" y="21"/>
                  </a:cubicBezTo>
                  <a:cubicBezTo>
                    <a:pt x="55" y="21"/>
                    <a:pt x="55" y="22"/>
                    <a:pt x="55" y="22"/>
                  </a:cubicBezTo>
                  <a:cubicBezTo>
                    <a:pt x="50" y="25"/>
                    <a:pt x="50" y="25"/>
                    <a:pt x="50" y="25"/>
                  </a:cubicBezTo>
                  <a:cubicBezTo>
                    <a:pt x="50" y="27"/>
                    <a:pt x="50" y="29"/>
                    <a:pt x="50" y="31"/>
                  </a:cubicBezTo>
                  <a:cubicBezTo>
                    <a:pt x="55" y="34"/>
                    <a:pt x="55" y="34"/>
                    <a:pt x="55" y="34"/>
                  </a:cubicBezTo>
                  <a:cubicBezTo>
                    <a:pt x="55" y="34"/>
                    <a:pt x="55" y="35"/>
                    <a:pt x="55" y="35"/>
                  </a:cubicBezTo>
                  <a:cubicBezTo>
                    <a:pt x="56" y="36"/>
                    <a:pt x="56" y="36"/>
                    <a:pt x="55" y="37"/>
                  </a:cubicBezTo>
                  <a:cubicBezTo>
                    <a:pt x="49" y="47"/>
                    <a:pt x="49" y="47"/>
                    <a:pt x="49" y="47"/>
                  </a:cubicBezTo>
                  <a:cubicBezTo>
                    <a:pt x="49" y="48"/>
                    <a:pt x="47" y="48"/>
                    <a:pt x="47" y="48"/>
                  </a:cubicBezTo>
                  <a:cubicBezTo>
                    <a:pt x="42" y="45"/>
                    <a:pt x="42" y="45"/>
                    <a:pt x="42" y="45"/>
                  </a:cubicBezTo>
                  <a:cubicBezTo>
                    <a:pt x="40" y="47"/>
                    <a:pt x="38" y="48"/>
                    <a:pt x="36" y="48"/>
                  </a:cubicBezTo>
                  <a:cubicBezTo>
                    <a:pt x="36" y="54"/>
                    <a:pt x="36" y="54"/>
                    <a:pt x="36" y="54"/>
                  </a:cubicBezTo>
                  <a:cubicBezTo>
                    <a:pt x="36" y="55"/>
                    <a:pt x="35" y="56"/>
                    <a:pt x="34" y="56"/>
                  </a:cubicBezTo>
                  <a:close/>
                  <a:moveTo>
                    <a:pt x="24" y="52"/>
                  </a:moveTo>
                  <a:cubicBezTo>
                    <a:pt x="32" y="52"/>
                    <a:pt x="32" y="52"/>
                    <a:pt x="32" y="52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46"/>
                    <a:pt x="33" y="45"/>
                    <a:pt x="33" y="45"/>
                  </a:cubicBezTo>
                  <a:cubicBezTo>
                    <a:pt x="36" y="44"/>
                    <a:pt x="38" y="43"/>
                    <a:pt x="40" y="41"/>
                  </a:cubicBezTo>
                  <a:cubicBezTo>
                    <a:pt x="41" y="41"/>
                    <a:pt x="42" y="41"/>
                    <a:pt x="42" y="41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51" y="37"/>
                    <a:pt x="51" y="37"/>
                    <a:pt x="51" y="37"/>
                  </a:cubicBezTo>
                  <a:cubicBezTo>
                    <a:pt x="46" y="34"/>
                    <a:pt x="46" y="34"/>
                    <a:pt x="46" y="34"/>
                  </a:cubicBezTo>
                  <a:cubicBezTo>
                    <a:pt x="46" y="34"/>
                    <a:pt x="45" y="33"/>
                    <a:pt x="45" y="32"/>
                  </a:cubicBezTo>
                  <a:cubicBezTo>
                    <a:pt x="46" y="29"/>
                    <a:pt x="46" y="27"/>
                    <a:pt x="45" y="24"/>
                  </a:cubicBezTo>
                  <a:cubicBezTo>
                    <a:pt x="45" y="23"/>
                    <a:pt x="46" y="22"/>
                    <a:pt x="46" y="22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47" y="13"/>
                    <a:pt x="47" y="13"/>
                    <a:pt x="47" y="13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1" y="15"/>
                    <a:pt x="40" y="15"/>
                  </a:cubicBezTo>
                  <a:cubicBezTo>
                    <a:pt x="38" y="13"/>
                    <a:pt x="36" y="12"/>
                    <a:pt x="33" y="11"/>
                  </a:cubicBezTo>
                  <a:cubicBezTo>
                    <a:pt x="33" y="11"/>
                    <a:pt x="32" y="10"/>
                    <a:pt x="32" y="9"/>
                  </a:cubicBezTo>
                  <a:cubicBezTo>
                    <a:pt x="32" y="4"/>
                    <a:pt x="32" y="4"/>
                    <a:pt x="32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9"/>
                    <a:pt x="24" y="9"/>
                    <a:pt x="24" y="9"/>
                  </a:cubicBezTo>
                  <a:cubicBezTo>
                    <a:pt x="24" y="10"/>
                    <a:pt x="23" y="11"/>
                    <a:pt x="23" y="11"/>
                  </a:cubicBezTo>
                  <a:cubicBezTo>
                    <a:pt x="20" y="12"/>
                    <a:pt x="18" y="13"/>
                    <a:pt x="16" y="15"/>
                  </a:cubicBezTo>
                  <a:cubicBezTo>
                    <a:pt x="15" y="15"/>
                    <a:pt x="14" y="15"/>
                    <a:pt x="14" y="15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1" y="23"/>
                    <a:pt x="11" y="24"/>
                  </a:cubicBezTo>
                  <a:cubicBezTo>
                    <a:pt x="10" y="27"/>
                    <a:pt x="10" y="29"/>
                    <a:pt x="11" y="32"/>
                  </a:cubicBezTo>
                  <a:cubicBezTo>
                    <a:pt x="11" y="33"/>
                    <a:pt x="10" y="34"/>
                    <a:pt x="10" y="34"/>
                  </a:cubicBezTo>
                  <a:cubicBezTo>
                    <a:pt x="5" y="37"/>
                    <a:pt x="5" y="37"/>
                    <a:pt x="5" y="37"/>
                  </a:cubicBezTo>
                  <a:cubicBezTo>
                    <a:pt x="9" y="43"/>
                    <a:pt x="9" y="43"/>
                    <a:pt x="9" y="43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14" y="41"/>
                    <a:pt x="15" y="41"/>
                    <a:pt x="16" y="41"/>
                  </a:cubicBezTo>
                  <a:cubicBezTo>
                    <a:pt x="18" y="43"/>
                    <a:pt x="20" y="44"/>
                    <a:pt x="23" y="45"/>
                  </a:cubicBezTo>
                  <a:cubicBezTo>
                    <a:pt x="23" y="45"/>
                    <a:pt x="24" y="46"/>
                    <a:pt x="24" y="47"/>
                  </a:cubicBezTo>
                  <a:lnTo>
                    <a:pt x="24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253" name="Freeform 44"/>
            <p:cNvSpPr>
              <a:spLocks noEditPoints="1"/>
            </p:cNvSpPr>
            <p:nvPr/>
          </p:nvSpPr>
          <p:spPr bwMode="auto">
            <a:xfrm>
              <a:off x="-755650" y="2178050"/>
              <a:ext cx="77788" cy="77788"/>
            </a:xfrm>
            <a:custGeom>
              <a:avLst/>
              <a:gdLst>
                <a:gd name="T0" fmla="*/ 10 w 20"/>
                <a:gd name="T1" fmla="*/ 20 h 20"/>
                <a:gd name="T2" fmla="*/ 0 w 20"/>
                <a:gd name="T3" fmla="*/ 10 h 20"/>
                <a:gd name="T4" fmla="*/ 10 w 20"/>
                <a:gd name="T5" fmla="*/ 0 h 20"/>
                <a:gd name="T6" fmla="*/ 20 w 20"/>
                <a:gd name="T7" fmla="*/ 10 h 20"/>
                <a:gd name="T8" fmla="*/ 10 w 20"/>
                <a:gd name="T9" fmla="*/ 20 h 20"/>
                <a:gd name="T10" fmla="*/ 10 w 20"/>
                <a:gd name="T11" fmla="*/ 4 h 20"/>
                <a:gd name="T12" fmla="*/ 4 w 20"/>
                <a:gd name="T13" fmla="*/ 10 h 20"/>
                <a:gd name="T14" fmla="*/ 10 w 20"/>
                <a:gd name="T15" fmla="*/ 16 h 20"/>
                <a:gd name="T16" fmla="*/ 16 w 20"/>
                <a:gd name="T17" fmla="*/ 10 h 20"/>
                <a:gd name="T18" fmla="*/ 10 w 20"/>
                <a:gd name="T19" fmla="*/ 4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20">
                  <a:moveTo>
                    <a:pt x="10" y="20"/>
                  </a:moveTo>
                  <a:cubicBezTo>
                    <a:pt x="4" y="20"/>
                    <a:pt x="0" y="16"/>
                    <a:pt x="0" y="10"/>
                  </a:cubicBezTo>
                  <a:cubicBezTo>
                    <a:pt x="0" y="4"/>
                    <a:pt x="4" y="0"/>
                    <a:pt x="10" y="0"/>
                  </a:cubicBezTo>
                  <a:cubicBezTo>
                    <a:pt x="16" y="0"/>
                    <a:pt x="20" y="4"/>
                    <a:pt x="20" y="10"/>
                  </a:cubicBezTo>
                  <a:cubicBezTo>
                    <a:pt x="20" y="16"/>
                    <a:pt x="16" y="20"/>
                    <a:pt x="10" y="20"/>
                  </a:cubicBezTo>
                  <a:close/>
                  <a:moveTo>
                    <a:pt x="10" y="4"/>
                  </a:moveTo>
                  <a:cubicBezTo>
                    <a:pt x="7" y="4"/>
                    <a:pt x="4" y="7"/>
                    <a:pt x="4" y="10"/>
                  </a:cubicBezTo>
                  <a:cubicBezTo>
                    <a:pt x="4" y="13"/>
                    <a:pt x="7" y="16"/>
                    <a:pt x="10" y="16"/>
                  </a:cubicBezTo>
                  <a:cubicBezTo>
                    <a:pt x="13" y="16"/>
                    <a:pt x="16" y="13"/>
                    <a:pt x="16" y="10"/>
                  </a:cubicBezTo>
                  <a:cubicBezTo>
                    <a:pt x="16" y="7"/>
                    <a:pt x="13" y="4"/>
                    <a:pt x="1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endParaRPr>
            </a:p>
          </p:txBody>
        </p:sp>
      </p:grpSp>
      <p:sp>
        <p:nvSpPr>
          <p:cNvPr id="255" name="TextBox 254"/>
          <p:cNvSpPr txBox="1"/>
          <p:nvPr/>
        </p:nvSpPr>
        <p:spPr>
          <a:xfrm>
            <a:off x="7352860" y="4320240"/>
            <a:ext cx="966078" cy="184666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RE-MODEL</a:t>
            </a:r>
          </a:p>
        </p:txBody>
      </p:sp>
      <p:sp>
        <p:nvSpPr>
          <p:cNvPr id="256" name="Freeform 48"/>
          <p:cNvSpPr>
            <a:spLocks noChangeAspect="1" noEditPoints="1"/>
          </p:cNvSpPr>
          <p:nvPr/>
        </p:nvSpPr>
        <p:spPr bwMode="auto">
          <a:xfrm>
            <a:off x="7632392" y="3864814"/>
            <a:ext cx="407013" cy="394992"/>
          </a:xfrm>
          <a:custGeom>
            <a:avLst/>
            <a:gdLst>
              <a:gd name="T0" fmla="*/ 10 w 97"/>
              <a:gd name="T1" fmla="*/ 94 h 94"/>
              <a:gd name="T2" fmla="*/ 3 w 97"/>
              <a:gd name="T3" fmla="*/ 91 h 94"/>
              <a:gd name="T4" fmla="*/ 0 w 97"/>
              <a:gd name="T5" fmla="*/ 84 h 94"/>
              <a:gd name="T6" fmla="*/ 3 w 97"/>
              <a:gd name="T7" fmla="*/ 77 h 94"/>
              <a:gd name="T8" fmla="*/ 41 w 97"/>
              <a:gd name="T9" fmla="*/ 39 h 94"/>
              <a:gd name="T10" fmla="*/ 47 w 97"/>
              <a:gd name="T11" fmla="*/ 8 h 94"/>
              <a:gd name="T12" fmla="*/ 67 w 97"/>
              <a:gd name="T13" fmla="*/ 0 h 94"/>
              <a:gd name="T14" fmla="*/ 79 w 97"/>
              <a:gd name="T15" fmla="*/ 3 h 94"/>
              <a:gd name="T16" fmla="*/ 80 w 97"/>
              <a:gd name="T17" fmla="*/ 4 h 94"/>
              <a:gd name="T18" fmla="*/ 80 w 97"/>
              <a:gd name="T19" fmla="*/ 6 h 94"/>
              <a:gd name="T20" fmla="*/ 68 w 97"/>
              <a:gd name="T21" fmla="*/ 19 h 94"/>
              <a:gd name="T22" fmla="*/ 68 w 97"/>
              <a:gd name="T23" fmla="*/ 27 h 94"/>
              <a:gd name="T24" fmla="*/ 75 w 97"/>
              <a:gd name="T25" fmla="*/ 27 h 94"/>
              <a:gd name="T26" fmla="*/ 88 w 97"/>
              <a:gd name="T27" fmla="*/ 14 h 94"/>
              <a:gd name="T28" fmla="*/ 90 w 97"/>
              <a:gd name="T29" fmla="*/ 14 h 94"/>
              <a:gd name="T30" fmla="*/ 91 w 97"/>
              <a:gd name="T31" fmla="*/ 15 h 94"/>
              <a:gd name="T32" fmla="*/ 86 w 97"/>
              <a:gd name="T33" fmla="*/ 47 h 94"/>
              <a:gd name="T34" fmla="*/ 66 w 97"/>
              <a:gd name="T35" fmla="*/ 56 h 94"/>
              <a:gd name="T36" fmla="*/ 66 w 97"/>
              <a:gd name="T37" fmla="*/ 56 h 94"/>
              <a:gd name="T38" fmla="*/ 55 w 97"/>
              <a:gd name="T39" fmla="*/ 53 h 94"/>
              <a:gd name="T40" fmla="*/ 17 w 97"/>
              <a:gd name="T41" fmla="*/ 91 h 94"/>
              <a:gd name="T42" fmla="*/ 10 w 97"/>
              <a:gd name="T43" fmla="*/ 94 h 94"/>
              <a:gd name="T44" fmla="*/ 67 w 97"/>
              <a:gd name="T45" fmla="*/ 4 h 94"/>
              <a:gd name="T46" fmla="*/ 50 w 97"/>
              <a:gd name="T47" fmla="*/ 11 h 94"/>
              <a:gd name="T48" fmla="*/ 45 w 97"/>
              <a:gd name="T49" fmla="*/ 39 h 94"/>
              <a:gd name="T50" fmla="*/ 45 w 97"/>
              <a:gd name="T51" fmla="*/ 41 h 94"/>
              <a:gd name="T52" fmla="*/ 5 w 97"/>
              <a:gd name="T53" fmla="*/ 80 h 94"/>
              <a:gd name="T54" fmla="*/ 4 w 97"/>
              <a:gd name="T55" fmla="*/ 84 h 94"/>
              <a:gd name="T56" fmla="*/ 5 w 97"/>
              <a:gd name="T57" fmla="*/ 89 h 94"/>
              <a:gd name="T58" fmla="*/ 14 w 97"/>
              <a:gd name="T59" fmla="*/ 89 h 94"/>
              <a:gd name="T60" fmla="*/ 53 w 97"/>
              <a:gd name="T61" fmla="*/ 49 h 94"/>
              <a:gd name="T62" fmla="*/ 55 w 97"/>
              <a:gd name="T63" fmla="*/ 49 h 94"/>
              <a:gd name="T64" fmla="*/ 66 w 97"/>
              <a:gd name="T65" fmla="*/ 52 h 94"/>
              <a:gd name="T66" fmla="*/ 83 w 97"/>
              <a:gd name="T67" fmla="*/ 45 h 94"/>
              <a:gd name="T68" fmla="*/ 89 w 97"/>
              <a:gd name="T69" fmla="*/ 19 h 94"/>
              <a:gd name="T70" fmla="*/ 78 w 97"/>
              <a:gd name="T71" fmla="*/ 30 h 94"/>
              <a:gd name="T72" fmla="*/ 76 w 97"/>
              <a:gd name="T73" fmla="*/ 31 h 94"/>
              <a:gd name="T74" fmla="*/ 66 w 97"/>
              <a:gd name="T75" fmla="*/ 31 h 94"/>
              <a:gd name="T76" fmla="*/ 64 w 97"/>
              <a:gd name="T77" fmla="*/ 29 h 94"/>
              <a:gd name="T78" fmla="*/ 64 w 97"/>
              <a:gd name="T79" fmla="*/ 18 h 94"/>
              <a:gd name="T80" fmla="*/ 64 w 97"/>
              <a:gd name="T81" fmla="*/ 16 h 94"/>
              <a:gd name="T82" fmla="*/ 75 w 97"/>
              <a:gd name="T83" fmla="*/ 5 h 94"/>
              <a:gd name="T84" fmla="*/ 67 w 97"/>
              <a:gd name="T85" fmla="*/ 4 h 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97" h="94">
                <a:moveTo>
                  <a:pt x="10" y="94"/>
                </a:moveTo>
                <a:cubicBezTo>
                  <a:pt x="7" y="94"/>
                  <a:pt x="4" y="93"/>
                  <a:pt x="3" y="91"/>
                </a:cubicBezTo>
                <a:cubicBezTo>
                  <a:pt x="1" y="90"/>
                  <a:pt x="0" y="87"/>
                  <a:pt x="0" y="84"/>
                </a:cubicBezTo>
                <a:cubicBezTo>
                  <a:pt x="0" y="82"/>
                  <a:pt x="1" y="79"/>
                  <a:pt x="3" y="77"/>
                </a:cubicBezTo>
                <a:cubicBezTo>
                  <a:pt x="41" y="39"/>
                  <a:pt x="41" y="39"/>
                  <a:pt x="41" y="39"/>
                </a:cubicBezTo>
                <a:cubicBezTo>
                  <a:pt x="36" y="28"/>
                  <a:pt x="38" y="16"/>
                  <a:pt x="47" y="8"/>
                </a:cubicBezTo>
                <a:cubicBezTo>
                  <a:pt x="52" y="3"/>
                  <a:pt x="59" y="0"/>
                  <a:pt x="67" y="0"/>
                </a:cubicBezTo>
                <a:cubicBezTo>
                  <a:pt x="71" y="0"/>
                  <a:pt x="76" y="1"/>
                  <a:pt x="79" y="3"/>
                </a:cubicBezTo>
                <a:cubicBezTo>
                  <a:pt x="80" y="3"/>
                  <a:pt x="80" y="4"/>
                  <a:pt x="80" y="4"/>
                </a:cubicBezTo>
                <a:cubicBezTo>
                  <a:pt x="81" y="5"/>
                  <a:pt x="80" y="5"/>
                  <a:pt x="80" y="6"/>
                </a:cubicBezTo>
                <a:cubicBezTo>
                  <a:pt x="68" y="19"/>
                  <a:pt x="68" y="19"/>
                  <a:pt x="68" y="19"/>
                </a:cubicBezTo>
                <a:cubicBezTo>
                  <a:pt x="68" y="27"/>
                  <a:pt x="68" y="27"/>
                  <a:pt x="68" y="27"/>
                </a:cubicBezTo>
                <a:cubicBezTo>
                  <a:pt x="75" y="27"/>
                  <a:pt x="75" y="27"/>
                  <a:pt x="75" y="27"/>
                </a:cubicBezTo>
                <a:cubicBezTo>
                  <a:pt x="88" y="14"/>
                  <a:pt x="88" y="14"/>
                  <a:pt x="88" y="14"/>
                </a:cubicBezTo>
                <a:cubicBezTo>
                  <a:pt x="89" y="14"/>
                  <a:pt x="89" y="14"/>
                  <a:pt x="90" y="14"/>
                </a:cubicBezTo>
                <a:cubicBezTo>
                  <a:pt x="90" y="14"/>
                  <a:pt x="91" y="14"/>
                  <a:pt x="91" y="15"/>
                </a:cubicBezTo>
                <a:cubicBezTo>
                  <a:pt x="97" y="26"/>
                  <a:pt x="95" y="39"/>
                  <a:pt x="86" y="47"/>
                </a:cubicBezTo>
                <a:cubicBezTo>
                  <a:pt x="81" y="53"/>
                  <a:pt x="74" y="56"/>
                  <a:pt x="66" y="56"/>
                </a:cubicBezTo>
                <a:cubicBezTo>
                  <a:pt x="66" y="56"/>
                  <a:pt x="66" y="56"/>
                  <a:pt x="66" y="56"/>
                </a:cubicBezTo>
                <a:cubicBezTo>
                  <a:pt x="62" y="56"/>
                  <a:pt x="59" y="55"/>
                  <a:pt x="55" y="53"/>
                </a:cubicBezTo>
                <a:cubicBezTo>
                  <a:pt x="17" y="91"/>
                  <a:pt x="17" y="91"/>
                  <a:pt x="17" y="91"/>
                </a:cubicBezTo>
                <a:cubicBezTo>
                  <a:pt x="15" y="93"/>
                  <a:pt x="12" y="94"/>
                  <a:pt x="10" y="94"/>
                </a:cubicBezTo>
                <a:close/>
                <a:moveTo>
                  <a:pt x="67" y="4"/>
                </a:moveTo>
                <a:cubicBezTo>
                  <a:pt x="60" y="4"/>
                  <a:pt x="54" y="6"/>
                  <a:pt x="50" y="11"/>
                </a:cubicBezTo>
                <a:cubicBezTo>
                  <a:pt x="42" y="18"/>
                  <a:pt x="40" y="29"/>
                  <a:pt x="45" y="39"/>
                </a:cubicBezTo>
                <a:cubicBezTo>
                  <a:pt x="45" y="39"/>
                  <a:pt x="45" y="40"/>
                  <a:pt x="45" y="41"/>
                </a:cubicBezTo>
                <a:cubicBezTo>
                  <a:pt x="5" y="80"/>
                  <a:pt x="5" y="80"/>
                  <a:pt x="5" y="80"/>
                </a:cubicBezTo>
                <a:cubicBezTo>
                  <a:pt x="4" y="81"/>
                  <a:pt x="4" y="83"/>
                  <a:pt x="4" y="84"/>
                </a:cubicBezTo>
                <a:cubicBezTo>
                  <a:pt x="4" y="86"/>
                  <a:pt x="4" y="87"/>
                  <a:pt x="5" y="89"/>
                </a:cubicBezTo>
                <a:cubicBezTo>
                  <a:pt x="8" y="91"/>
                  <a:pt x="12" y="91"/>
                  <a:pt x="14" y="89"/>
                </a:cubicBezTo>
                <a:cubicBezTo>
                  <a:pt x="53" y="49"/>
                  <a:pt x="53" y="49"/>
                  <a:pt x="53" y="49"/>
                </a:cubicBezTo>
                <a:cubicBezTo>
                  <a:pt x="54" y="49"/>
                  <a:pt x="55" y="49"/>
                  <a:pt x="55" y="49"/>
                </a:cubicBezTo>
                <a:cubicBezTo>
                  <a:pt x="59" y="51"/>
                  <a:pt x="63" y="52"/>
                  <a:pt x="66" y="52"/>
                </a:cubicBezTo>
                <a:cubicBezTo>
                  <a:pt x="73" y="52"/>
                  <a:pt x="79" y="49"/>
                  <a:pt x="83" y="45"/>
                </a:cubicBezTo>
                <a:cubicBezTo>
                  <a:pt x="90" y="38"/>
                  <a:pt x="92" y="28"/>
                  <a:pt x="89" y="19"/>
                </a:cubicBezTo>
                <a:cubicBezTo>
                  <a:pt x="78" y="30"/>
                  <a:pt x="78" y="30"/>
                  <a:pt x="78" y="30"/>
                </a:cubicBezTo>
                <a:cubicBezTo>
                  <a:pt x="77" y="31"/>
                  <a:pt x="77" y="31"/>
                  <a:pt x="76" y="31"/>
                </a:cubicBezTo>
                <a:cubicBezTo>
                  <a:pt x="66" y="31"/>
                  <a:pt x="66" y="31"/>
                  <a:pt x="66" y="31"/>
                </a:cubicBezTo>
                <a:cubicBezTo>
                  <a:pt x="65" y="31"/>
                  <a:pt x="64" y="30"/>
                  <a:pt x="64" y="29"/>
                </a:cubicBezTo>
                <a:cubicBezTo>
                  <a:pt x="64" y="18"/>
                  <a:pt x="64" y="18"/>
                  <a:pt x="64" y="18"/>
                </a:cubicBezTo>
                <a:cubicBezTo>
                  <a:pt x="64" y="17"/>
                  <a:pt x="64" y="17"/>
                  <a:pt x="64" y="16"/>
                </a:cubicBezTo>
                <a:cubicBezTo>
                  <a:pt x="75" y="5"/>
                  <a:pt x="75" y="5"/>
                  <a:pt x="75" y="5"/>
                </a:cubicBezTo>
                <a:cubicBezTo>
                  <a:pt x="72" y="4"/>
                  <a:pt x="70" y="4"/>
                  <a:pt x="67" y="4"/>
                </a:cubicBezTo>
                <a:close/>
              </a:path>
            </a:pathLst>
          </a:custGeom>
          <a:solidFill>
            <a:srgbClr val="E2583D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</p:txBody>
      </p:sp>
      <p:grpSp>
        <p:nvGrpSpPr>
          <p:cNvPr id="257" name="Group 256"/>
          <p:cNvGrpSpPr>
            <a:grpSpLocks noChangeAspect="1"/>
          </p:cNvGrpSpPr>
          <p:nvPr/>
        </p:nvGrpSpPr>
        <p:grpSpPr>
          <a:xfrm>
            <a:off x="9352045" y="3810951"/>
            <a:ext cx="448855" cy="448854"/>
            <a:chOff x="5988050" y="1774825"/>
            <a:chExt cx="371476" cy="371475"/>
          </a:xfrm>
          <a:solidFill>
            <a:srgbClr val="78D2D2"/>
          </a:solidFill>
        </p:grpSpPr>
        <p:sp>
          <p:nvSpPr>
            <p:cNvPr id="258" name="Freeform 52"/>
            <p:cNvSpPr>
              <a:spLocks noEditPoints="1"/>
            </p:cNvSpPr>
            <p:nvPr/>
          </p:nvSpPr>
          <p:spPr bwMode="auto">
            <a:xfrm>
              <a:off x="6065838" y="1960563"/>
              <a:ext cx="107950" cy="107950"/>
            </a:xfrm>
            <a:custGeom>
              <a:avLst/>
              <a:gdLst>
                <a:gd name="T0" fmla="*/ 14 w 28"/>
                <a:gd name="T1" fmla="*/ 28 h 28"/>
                <a:gd name="T2" fmla="*/ 0 w 28"/>
                <a:gd name="T3" fmla="*/ 14 h 28"/>
                <a:gd name="T4" fmla="*/ 14 w 28"/>
                <a:gd name="T5" fmla="*/ 0 h 28"/>
                <a:gd name="T6" fmla="*/ 28 w 28"/>
                <a:gd name="T7" fmla="*/ 14 h 28"/>
                <a:gd name="T8" fmla="*/ 14 w 28"/>
                <a:gd name="T9" fmla="*/ 28 h 28"/>
                <a:gd name="T10" fmla="*/ 14 w 28"/>
                <a:gd name="T11" fmla="*/ 4 h 28"/>
                <a:gd name="T12" fmla="*/ 4 w 28"/>
                <a:gd name="T13" fmla="*/ 14 h 28"/>
                <a:gd name="T14" fmla="*/ 14 w 28"/>
                <a:gd name="T15" fmla="*/ 24 h 28"/>
                <a:gd name="T16" fmla="*/ 24 w 28"/>
                <a:gd name="T17" fmla="*/ 14 h 28"/>
                <a:gd name="T18" fmla="*/ 14 w 28"/>
                <a:gd name="T19" fmla="*/ 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28">
                  <a:moveTo>
                    <a:pt x="14" y="28"/>
                  </a:moveTo>
                  <a:cubicBezTo>
                    <a:pt x="6" y="28"/>
                    <a:pt x="0" y="22"/>
                    <a:pt x="0" y="14"/>
                  </a:cubicBezTo>
                  <a:cubicBezTo>
                    <a:pt x="0" y="6"/>
                    <a:pt x="6" y="0"/>
                    <a:pt x="14" y="0"/>
                  </a:cubicBezTo>
                  <a:cubicBezTo>
                    <a:pt x="22" y="0"/>
                    <a:pt x="28" y="6"/>
                    <a:pt x="28" y="14"/>
                  </a:cubicBezTo>
                  <a:cubicBezTo>
                    <a:pt x="28" y="22"/>
                    <a:pt x="22" y="28"/>
                    <a:pt x="14" y="28"/>
                  </a:cubicBezTo>
                  <a:close/>
                  <a:moveTo>
                    <a:pt x="14" y="4"/>
                  </a:moveTo>
                  <a:cubicBezTo>
                    <a:pt x="8" y="4"/>
                    <a:pt x="4" y="8"/>
                    <a:pt x="4" y="14"/>
                  </a:cubicBezTo>
                  <a:cubicBezTo>
                    <a:pt x="4" y="20"/>
                    <a:pt x="8" y="24"/>
                    <a:pt x="14" y="24"/>
                  </a:cubicBezTo>
                  <a:cubicBezTo>
                    <a:pt x="20" y="24"/>
                    <a:pt x="24" y="20"/>
                    <a:pt x="24" y="14"/>
                  </a:cubicBezTo>
                  <a:cubicBezTo>
                    <a:pt x="24" y="8"/>
                    <a:pt x="20" y="4"/>
                    <a:pt x="1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259" name="Freeform 53"/>
            <p:cNvSpPr>
              <a:spLocks noEditPoints="1"/>
            </p:cNvSpPr>
            <p:nvPr/>
          </p:nvSpPr>
          <p:spPr bwMode="auto">
            <a:xfrm>
              <a:off x="5988050" y="1882775"/>
              <a:ext cx="263525" cy="263525"/>
            </a:xfrm>
            <a:custGeom>
              <a:avLst/>
              <a:gdLst>
                <a:gd name="T0" fmla="*/ 26 w 68"/>
                <a:gd name="T1" fmla="*/ 68 h 68"/>
                <a:gd name="T2" fmla="*/ 24 w 68"/>
                <a:gd name="T3" fmla="*/ 60 h 68"/>
                <a:gd name="T4" fmla="*/ 11 w 68"/>
                <a:gd name="T5" fmla="*/ 59 h 68"/>
                <a:gd name="T6" fmla="*/ 1 w 68"/>
                <a:gd name="T7" fmla="*/ 44 h 68"/>
                <a:gd name="T8" fmla="*/ 1 w 68"/>
                <a:gd name="T9" fmla="*/ 41 h 68"/>
                <a:gd name="T10" fmla="*/ 6 w 68"/>
                <a:gd name="T11" fmla="*/ 30 h 68"/>
                <a:gd name="T12" fmla="*/ 1 w 68"/>
                <a:gd name="T13" fmla="*/ 24 h 68"/>
                <a:gd name="T14" fmla="*/ 10 w 68"/>
                <a:gd name="T15" fmla="*/ 9 h 68"/>
                <a:gd name="T16" fmla="*/ 16 w 68"/>
                <a:gd name="T17" fmla="*/ 12 h 68"/>
                <a:gd name="T18" fmla="*/ 24 w 68"/>
                <a:gd name="T19" fmla="*/ 2 h 68"/>
                <a:gd name="T20" fmla="*/ 42 w 68"/>
                <a:gd name="T21" fmla="*/ 0 h 68"/>
                <a:gd name="T22" fmla="*/ 44 w 68"/>
                <a:gd name="T23" fmla="*/ 8 h 68"/>
                <a:gd name="T24" fmla="*/ 57 w 68"/>
                <a:gd name="T25" fmla="*/ 9 h 68"/>
                <a:gd name="T26" fmla="*/ 67 w 68"/>
                <a:gd name="T27" fmla="*/ 24 h 68"/>
                <a:gd name="T28" fmla="*/ 62 w 68"/>
                <a:gd name="T29" fmla="*/ 30 h 68"/>
                <a:gd name="T30" fmla="*/ 67 w 68"/>
                <a:gd name="T31" fmla="*/ 41 h 68"/>
                <a:gd name="T32" fmla="*/ 67 w 68"/>
                <a:gd name="T33" fmla="*/ 44 h 68"/>
                <a:gd name="T34" fmla="*/ 58 w 68"/>
                <a:gd name="T35" fmla="*/ 59 h 68"/>
                <a:gd name="T36" fmla="*/ 52 w 68"/>
                <a:gd name="T37" fmla="*/ 56 h 68"/>
                <a:gd name="T38" fmla="*/ 44 w 68"/>
                <a:gd name="T39" fmla="*/ 66 h 68"/>
                <a:gd name="T40" fmla="*/ 28 w 68"/>
                <a:gd name="T41" fmla="*/ 64 h 68"/>
                <a:gd name="T42" fmla="*/ 40 w 68"/>
                <a:gd name="T43" fmla="*/ 59 h 68"/>
                <a:gd name="T44" fmla="*/ 50 w 68"/>
                <a:gd name="T45" fmla="*/ 52 h 68"/>
                <a:gd name="T46" fmla="*/ 57 w 68"/>
                <a:gd name="T47" fmla="*/ 54 h 68"/>
                <a:gd name="T48" fmla="*/ 58 w 68"/>
                <a:gd name="T49" fmla="*/ 41 h 68"/>
                <a:gd name="T50" fmla="*/ 57 w 68"/>
                <a:gd name="T51" fmla="*/ 29 h 68"/>
                <a:gd name="T52" fmla="*/ 63 w 68"/>
                <a:gd name="T53" fmla="*/ 24 h 68"/>
                <a:gd name="T54" fmla="*/ 52 w 68"/>
                <a:gd name="T55" fmla="*/ 16 h 68"/>
                <a:gd name="T56" fmla="*/ 41 w 68"/>
                <a:gd name="T57" fmla="*/ 11 h 68"/>
                <a:gd name="T58" fmla="*/ 40 w 68"/>
                <a:gd name="T59" fmla="*/ 4 h 68"/>
                <a:gd name="T60" fmla="*/ 28 w 68"/>
                <a:gd name="T61" fmla="*/ 9 h 68"/>
                <a:gd name="T62" fmla="*/ 18 w 68"/>
                <a:gd name="T63" fmla="*/ 16 h 68"/>
                <a:gd name="T64" fmla="*/ 11 w 68"/>
                <a:gd name="T65" fmla="*/ 14 h 68"/>
                <a:gd name="T66" fmla="*/ 10 w 68"/>
                <a:gd name="T67" fmla="*/ 27 h 68"/>
                <a:gd name="T68" fmla="*/ 11 w 68"/>
                <a:gd name="T69" fmla="*/ 39 h 68"/>
                <a:gd name="T70" fmla="*/ 5 w 68"/>
                <a:gd name="T71" fmla="*/ 44 h 68"/>
                <a:gd name="T72" fmla="*/ 16 w 68"/>
                <a:gd name="T73" fmla="*/ 52 h 68"/>
                <a:gd name="T74" fmla="*/ 27 w 68"/>
                <a:gd name="T75" fmla="*/ 57 h 68"/>
                <a:gd name="T76" fmla="*/ 28 w 68"/>
                <a:gd name="T77" fmla="*/ 64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8" h="68">
                  <a:moveTo>
                    <a:pt x="42" y="68"/>
                  </a:moveTo>
                  <a:cubicBezTo>
                    <a:pt x="26" y="68"/>
                    <a:pt x="26" y="68"/>
                    <a:pt x="26" y="68"/>
                  </a:cubicBezTo>
                  <a:cubicBezTo>
                    <a:pt x="25" y="68"/>
                    <a:pt x="24" y="67"/>
                    <a:pt x="24" y="66"/>
                  </a:cubicBezTo>
                  <a:cubicBezTo>
                    <a:pt x="24" y="60"/>
                    <a:pt x="24" y="60"/>
                    <a:pt x="24" y="60"/>
                  </a:cubicBezTo>
                  <a:cubicBezTo>
                    <a:pt x="21" y="59"/>
                    <a:pt x="19" y="58"/>
                    <a:pt x="16" y="56"/>
                  </a:cubicBezTo>
                  <a:cubicBezTo>
                    <a:pt x="11" y="59"/>
                    <a:pt x="11" y="59"/>
                    <a:pt x="11" y="59"/>
                  </a:cubicBezTo>
                  <a:cubicBezTo>
                    <a:pt x="10" y="59"/>
                    <a:pt x="9" y="59"/>
                    <a:pt x="9" y="58"/>
                  </a:cubicBezTo>
                  <a:cubicBezTo>
                    <a:pt x="1" y="44"/>
                    <a:pt x="1" y="44"/>
                    <a:pt x="1" y="44"/>
                  </a:cubicBezTo>
                  <a:cubicBezTo>
                    <a:pt x="0" y="44"/>
                    <a:pt x="0" y="43"/>
                    <a:pt x="0" y="43"/>
                  </a:cubicBezTo>
                  <a:cubicBezTo>
                    <a:pt x="0" y="42"/>
                    <a:pt x="1" y="42"/>
                    <a:pt x="1" y="41"/>
                  </a:cubicBezTo>
                  <a:cubicBezTo>
                    <a:pt x="6" y="38"/>
                    <a:pt x="6" y="38"/>
                    <a:pt x="6" y="38"/>
                  </a:cubicBezTo>
                  <a:cubicBezTo>
                    <a:pt x="6" y="35"/>
                    <a:pt x="6" y="33"/>
                    <a:pt x="6" y="30"/>
                  </a:cubicBezTo>
                  <a:cubicBezTo>
                    <a:pt x="1" y="27"/>
                    <a:pt x="1" y="27"/>
                    <a:pt x="1" y="27"/>
                  </a:cubicBezTo>
                  <a:cubicBezTo>
                    <a:pt x="0" y="26"/>
                    <a:pt x="0" y="25"/>
                    <a:pt x="1" y="24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9" y="10"/>
                    <a:pt x="9" y="9"/>
                    <a:pt x="10" y="9"/>
                  </a:cubicBezTo>
                  <a:cubicBezTo>
                    <a:pt x="10" y="9"/>
                    <a:pt x="11" y="9"/>
                    <a:pt x="11" y="9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9" y="10"/>
                    <a:pt x="21" y="9"/>
                    <a:pt x="24" y="8"/>
                  </a:cubicBezTo>
                  <a:cubicBezTo>
                    <a:pt x="24" y="2"/>
                    <a:pt x="24" y="2"/>
                    <a:pt x="24" y="2"/>
                  </a:cubicBezTo>
                  <a:cubicBezTo>
                    <a:pt x="24" y="1"/>
                    <a:pt x="25" y="0"/>
                    <a:pt x="2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3" y="0"/>
                    <a:pt x="44" y="1"/>
                    <a:pt x="44" y="2"/>
                  </a:cubicBezTo>
                  <a:cubicBezTo>
                    <a:pt x="44" y="8"/>
                    <a:pt x="44" y="8"/>
                    <a:pt x="44" y="8"/>
                  </a:cubicBezTo>
                  <a:cubicBezTo>
                    <a:pt x="47" y="9"/>
                    <a:pt x="49" y="10"/>
                    <a:pt x="52" y="12"/>
                  </a:cubicBezTo>
                  <a:cubicBezTo>
                    <a:pt x="57" y="9"/>
                    <a:pt x="57" y="9"/>
                    <a:pt x="57" y="9"/>
                  </a:cubicBezTo>
                  <a:cubicBezTo>
                    <a:pt x="58" y="9"/>
                    <a:pt x="59" y="9"/>
                    <a:pt x="59" y="10"/>
                  </a:cubicBezTo>
                  <a:cubicBezTo>
                    <a:pt x="67" y="24"/>
                    <a:pt x="67" y="24"/>
                    <a:pt x="67" y="24"/>
                  </a:cubicBezTo>
                  <a:cubicBezTo>
                    <a:pt x="68" y="25"/>
                    <a:pt x="68" y="26"/>
                    <a:pt x="67" y="27"/>
                  </a:cubicBezTo>
                  <a:cubicBezTo>
                    <a:pt x="62" y="30"/>
                    <a:pt x="62" y="30"/>
                    <a:pt x="62" y="30"/>
                  </a:cubicBezTo>
                  <a:cubicBezTo>
                    <a:pt x="62" y="33"/>
                    <a:pt x="62" y="35"/>
                    <a:pt x="62" y="38"/>
                  </a:cubicBezTo>
                  <a:cubicBezTo>
                    <a:pt x="67" y="41"/>
                    <a:pt x="67" y="41"/>
                    <a:pt x="67" y="41"/>
                  </a:cubicBezTo>
                  <a:cubicBezTo>
                    <a:pt x="67" y="42"/>
                    <a:pt x="68" y="42"/>
                    <a:pt x="68" y="43"/>
                  </a:cubicBezTo>
                  <a:cubicBezTo>
                    <a:pt x="68" y="43"/>
                    <a:pt x="68" y="44"/>
                    <a:pt x="67" y="44"/>
                  </a:cubicBezTo>
                  <a:cubicBezTo>
                    <a:pt x="59" y="58"/>
                    <a:pt x="59" y="58"/>
                    <a:pt x="59" y="58"/>
                  </a:cubicBezTo>
                  <a:cubicBezTo>
                    <a:pt x="59" y="58"/>
                    <a:pt x="59" y="59"/>
                    <a:pt x="58" y="59"/>
                  </a:cubicBezTo>
                  <a:cubicBezTo>
                    <a:pt x="58" y="59"/>
                    <a:pt x="57" y="59"/>
                    <a:pt x="57" y="59"/>
                  </a:cubicBezTo>
                  <a:cubicBezTo>
                    <a:pt x="52" y="56"/>
                    <a:pt x="52" y="56"/>
                    <a:pt x="52" y="56"/>
                  </a:cubicBezTo>
                  <a:cubicBezTo>
                    <a:pt x="49" y="58"/>
                    <a:pt x="47" y="59"/>
                    <a:pt x="44" y="60"/>
                  </a:cubicBezTo>
                  <a:cubicBezTo>
                    <a:pt x="44" y="66"/>
                    <a:pt x="44" y="66"/>
                    <a:pt x="44" y="66"/>
                  </a:cubicBezTo>
                  <a:cubicBezTo>
                    <a:pt x="44" y="67"/>
                    <a:pt x="43" y="68"/>
                    <a:pt x="42" y="68"/>
                  </a:cubicBezTo>
                  <a:close/>
                  <a:moveTo>
                    <a:pt x="28" y="64"/>
                  </a:moveTo>
                  <a:cubicBezTo>
                    <a:pt x="40" y="64"/>
                    <a:pt x="40" y="64"/>
                    <a:pt x="40" y="64"/>
                  </a:cubicBezTo>
                  <a:cubicBezTo>
                    <a:pt x="40" y="59"/>
                    <a:pt x="40" y="59"/>
                    <a:pt x="40" y="59"/>
                  </a:cubicBezTo>
                  <a:cubicBezTo>
                    <a:pt x="40" y="58"/>
                    <a:pt x="41" y="57"/>
                    <a:pt x="41" y="57"/>
                  </a:cubicBezTo>
                  <a:cubicBezTo>
                    <a:pt x="45" y="56"/>
                    <a:pt x="48" y="54"/>
                    <a:pt x="50" y="52"/>
                  </a:cubicBezTo>
                  <a:cubicBezTo>
                    <a:pt x="51" y="51"/>
                    <a:pt x="52" y="51"/>
                    <a:pt x="52" y="52"/>
                  </a:cubicBezTo>
                  <a:cubicBezTo>
                    <a:pt x="57" y="54"/>
                    <a:pt x="57" y="54"/>
                    <a:pt x="57" y="54"/>
                  </a:cubicBezTo>
                  <a:cubicBezTo>
                    <a:pt x="63" y="44"/>
                    <a:pt x="63" y="44"/>
                    <a:pt x="63" y="44"/>
                  </a:cubicBezTo>
                  <a:cubicBezTo>
                    <a:pt x="58" y="41"/>
                    <a:pt x="58" y="41"/>
                    <a:pt x="58" y="41"/>
                  </a:cubicBezTo>
                  <a:cubicBezTo>
                    <a:pt x="58" y="41"/>
                    <a:pt x="57" y="40"/>
                    <a:pt x="57" y="39"/>
                  </a:cubicBezTo>
                  <a:cubicBezTo>
                    <a:pt x="58" y="36"/>
                    <a:pt x="58" y="32"/>
                    <a:pt x="57" y="29"/>
                  </a:cubicBezTo>
                  <a:cubicBezTo>
                    <a:pt x="57" y="28"/>
                    <a:pt x="58" y="27"/>
                    <a:pt x="58" y="27"/>
                  </a:cubicBezTo>
                  <a:cubicBezTo>
                    <a:pt x="63" y="24"/>
                    <a:pt x="63" y="24"/>
                    <a:pt x="63" y="24"/>
                  </a:cubicBezTo>
                  <a:cubicBezTo>
                    <a:pt x="57" y="14"/>
                    <a:pt x="57" y="14"/>
                    <a:pt x="57" y="14"/>
                  </a:cubicBezTo>
                  <a:cubicBezTo>
                    <a:pt x="52" y="16"/>
                    <a:pt x="52" y="16"/>
                    <a:pt x="52" y="16"/>
                  </a:cubicBezTo>
                  <a:cubicBezTo>
                    <a:pt x="52" y="17"/>
                    <a:pt x="51" y="17"/>
                    <a:pt x="50" y="16"/>
                  </a:cubicBezTo>
                  <a:cubicBezTo>
                    <a:pt x="48" y="14"/>
                    <a:pt x="45" y="12"/>
                    <a:pt x="41" y="11"/>
                  </a:cubicBezTo>
                  <a:cubicBezTo>
                    <a:pt x="41" y="11"/>
                    <a:pt x="40" y="10"/>
                    <a:pt x="40" y="9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28" y="4"/>
                    <a:pt x="28" y="4"/>
                    <a:pt x="28" y="4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10"/>
                    <a:pt x="27" y="11"/>
                    <a:pt x="27" y="11"/>
                  </a:cubicBezTo>
                  <a:cubicBezTo>
                    <a:pt x="23" y="12"/>
                    <a:pt x="20" y="14"/>
                    <a:pt x="18" y="16"/>
                  </a:cubicBezTo>
                  <a:cubicBezTo>
                    <a:pt x="17" y="17"/>
                    <a:pt x="16" y="17"/>
                    <a:pt x="16" y="16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5" y="24"/>
                    <a:pt x="5" y="24"/>
                    <a:pt x="5" y="24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1" y="28"/>
                    <a:pt x="11" y="29"/>
                  </a:cubicBezTo>
                  <a:cubicBezTo>
                    <a:pt x="10" y="32"/>
                    <a:pt x="10" y="36"/>
                    <a:pt x="11" y="39"/>
                  </a:cubicBezTo>
                  <a:cubicBezTo>
                    <a:pt x="11" y="40"/>
                    <a:pt x="10" y="41"/>
                    <a:pt x="10" y="41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16" y="51"/>
                    <a:pt x="17" y="51"/>
                    <a:pt x="18" y="52"/>
                  </a:cubicBezTo>
                  <a:cubicBezTo>
                    <a:pt x="20" y="54"/>
                    <a:pt x="23" y="56"/>
                    <a:pt x="27" y="57"/>
                  </a:cubicBezTo>
                  <a:cubicBezTo>
                    <a:pt x="27" y="57"/>
                    <a:pt x="28" y="58"/>
                    <a:pt x="28" y="59"/>
                  </a:cubicBezTo>
                  <a:lnTo>
                    <a:pt x="28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260" name="Freeform 54"/>
            <p:cNvSpPr>
              <a:spLocks noEditPoints="1"/>
            </p:cNvSpPr>
            <p:nvPr/>
          </p:nvSpPr>
          <p:spPr bwMode="auto">
            <a:xfrm>
              <a:off x="6251575" y="1820863"/>
              <a:ext cx="61913" cy="61913"/>
            </a:xfrm>
            <a:custGeom>
              <a:avLst/>
              <a:gdLst>
                <a:gd name="T0" fmla="*/ 8 w 16"/>
                <a:gd name="T1" fmla="*/ 16 h 16"/>
                <a:gd name="T2" fmla="*/ 0 w 16"/>
                <a:gd name="T3" fmla="*/ 8 h 16"/>
                <a:gd name="T4" fmla="*/ 8 w 16"/>
                <a:gd name="T5" fmla="*/ 0 h 16"/>
                <a:gd name="T6" fmla="*/ 16 w 16"/>
                <a:gd name="T7" fmla="*/ 8 h 16"/>
                <a:gd name="T8" fmla="*/ 8 w 16"/>
                <a:gd name="T9" fmla="*/ 16 h 16"/>
                <a:gd name="T10" fmla="*/ 8 w 16"/>
                <a:gd name="T11" fmla="*/ 4 h 16"/>
                <a:gd name="T12" fmla="*/ 4 w 16"/>
                <a:gd name="T13" fmla="*/ 8 h 16"/>
                <a:gd name="T14" fmla="*/ 8 w 16"/>
                <a:gd name="T15" fmla="*/ 12 h 16"/>
                <a:gd name="T16" fmla="*/ 12 w 16"/>
                <a:gd name="T17" fmla="*/ 8 h 16"/>
                <a:gd name="T18" fmla="*/ 8 w 16"/>
                <a:gd name="T19" fmla="*/ 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6">
                  <a:moveTo>
                    <a:pt x="8" y="16"/>
                  </a:moveTo>
                  <a:cubicBezTo>
                    <a:pt x="4" y="16"/>
                    <a:pt x="0" y="12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12" y="0"/>
                    <a:pt x="16" y="4"/>
                    <a:pt x="16" y="8"/>
                  </a:cubicBezTo>
                  <a:cubicBezTo>
                    <a:pt x="16" y="12"/>
                    <a:pt x="12" y="16"/>
                    <a:pt x="8" y="16"/>
                  </a:cubicBezTo>
                  <a:close/>
                  <a:moveTo>
                    <a:pt x="8" y="4"/>
                  </a:moveTo>
                  <a:cubicBezTo>
                    <a:pt x="6" y="4"/>
                    <a:pt x="4" y="6"/>
                    <a:pt x="4" y="8"/>
                  </a:cubicBezTo>
                  <a:cubicBezTo>
                    <a:pt x="4" y="10"/>
                    <a:pt x="6" y="12"/>
                    <a:pt x="8" y="12"/>
                  </a:cubicBezTo>
                  <a:cubicBezTo>
                    <a:pt x="10" y="12"/>
                    <a:pt x="12" y="10"/>
                    <a:pt x="12" y="8"/>
                  </a:cubicBezTo>
                  <a:cubicBezTo>
                    <a:pt x="12" y="6"/>
                    <a:pt x="10" y="4"/>
                    <a:pt x="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261" name="Freeform 55"/>
            <p:cNvSpPr>
              <a:spLocks noEditPoints="1"/>
            </p:cNvSpPr>
            <p:nvPr/>
          </p:nvSpPr>
          <p:spPr bwMode="auto">
            <a:xfrm>
              <a:off x="6205538" y="1774825"/>
              <a:ext cx="153988" cy="155575"/>
            </a:xfrm>
            <a:custGeom>
              <a:avLst/>
              <a:gdLst>
                <a:gd name="T0" fmla="*/ 16 w 40"/>
                <a:gd name="T1" fmla="*/ 40 h 40"/>
                <a:gd name="T2" fmla="*/ 14 w 40"/>
                <a:gd name="T3" fmla="*/ 35 h 40"/>
                <a:gd name="T4" fmla="*/ 7 w 40"/>
                <a:gd name="T5" fmla="*/ 34 h 40"/>
                <a:gd name="T6" fmla="*/ 5 w 40"/>
                <a:gd name="T7" fmla="*/ 33 h 40"/>
                <a:gd name="T8" fmla="*/ 1 w 40"/>
                <a:gd name="T9" fmla="*/ 24 h 40"/>
                <a:gd name="T10" fmla="*/ 4 w 40"/>
                <a:gd name="T11" fmla="*/ 18 h 40"/>
                <a:gd name="T12" fmla="*/ 0 w 40"/>
                <a:gd name="T13" fmla="*/ 15 h 40"/>
                <a:gd name="T14" fmla="*/ 5 w 40"/>
                <a:gd name="T15" fmla="*/ 7 h 40"/>
                <a:gd name="T16" fmla="*/ 7 w 40"/>
                <a:gd name="T17" fmla="*/ 6 h 40"/>
                <a:gd name="T18" fmla="*/ 14 w 40"/>
                <a:gd name="T19" fmla="*/ 5 h 40"/>
                <a:gd name="T20" fmla="*/ 16 w 40"/>
                <a:gd name="T21" fmla="*/ 0 h 40"/>
                <a:gd name="T22" fmla="*/ 26 w 40"/>
                <a:gd name="T23" fmla="*/ 2 h 40"/>
                <a:gd name="T24" fmla="*/ 30 w 40"/>
                <a:gd name="T25" fmla="*/ 7 h 40"/>
                <a:gd name="T26" fmla="*/ 34 w 40"/>
                <a:gd name="T27" fmla="*/ 6 h 40"/>
                <a:gd name="T28" fmla="*/ 39 w 40"/>
                <a:gd name="T29" fmla="*/ 13 h 40"/>
                <a:gd name="T30" fmla="*/ 36 w 40"/>
                <a:gd name="T31" fmla="*/ 18 h 40"/>
                <a:gd name="T32" fmla="*/ 39 w 40"/>
                <a:gd name="T33" fmla="*/ 24 h 40"/>
                <a:gd name="T34" fmla="*/ 35 w 40"/>
                <a:gd name="T35" fmla="*/ 33 h 40"/>
                <a:gd name="T36" fmla="*/ 33 w 40"/>
                <a:gd name="T37" fmla="*/ 34 h 40"/>
                <a:gd name="T38" fmla="*/ 26 w 40"/>
                <a:gd name="T39" fmla="*/ 35 h 40"/>
                <a:gd name="T40" fmla="*/ 24 w 40"/>
                <a:gd name="T41" fmla="*/ 40 h 40"/>
                <a:gd name="T42" fmla="*/ 22 w 40"/>
                <a:gd name="T43" fmla="*/ 36 h 40"/>
                <a:gd name="T44" fmla="*/ 23 w 40"/>
                <a:gd name="T45" fmla="*/ 31 h 40"/>
                <a:gd name="T46" fmla="*/ 31 w 40"/>
                <a:gd name="T47" fmla="*/ 28 h 40"/>
                <a:gd name="T48" fmla="*/ 35 w 40"/>
                <a:gd name="T49" fmla="*/ 26 h 40"/>
                <a:gd name="T50" fmla="*/ 32 w 40"/>
                <a:gd name="T51" fmla="*/ 23 h 40"/>
                <a:gd name="T52" fmla="*/ 33 w 40"/>
                <a:gd name="T53" fmla="*/ 15 h 40"/>
                <a:gd name="T54" fmla="*/ 33 w 40"/>
                <a:gd name="T55" fmla="*/ 10 h 40"/>
                <a:gd name="T56" fmla="*/ 28 w 40"/>
                <a:gd name="T57" fmla="*/ 11 h 40"/>
                <a:gd name="T58" fmla="*/ 22 w 40"/>
                <a:gd name="T59" fmla="*/ 7 h 40"/>
                <a:gd name="T60" fmla="*/ 18 w 40"/>
                <a:gd name="T61" fmla="*/ 4 h 40"/>
                <a:gd name="T62" fmla="*/ 17 w 40"/>
                <a:gd name="T63" fmla="*/ 9 h 40"/>
                <a:gd name="T64" fmla="*/ 9 w 40"/>
                <a:gd name="T65" fmla="*/ 12 h 40"/>
                <a:gd name="T66" fmla="*/ 5 w 40"/>
                <a:gd name="T67" fmla="*/ 14 h 40"/>
                <a:gd name="T68" fmla="*/ 8 w 40"/>
                <a:gd name="T69" fmla="*/ 17 h 40"/>
                <a:gd name="T70" fmla="*/ 7 w 40"/>
                <a:gd name="T71" fmla="*/ 25 h 40"/>
                <a:gd name="T72" fmla="*/ 7 w 40"/>
                <a:gd name="T73" fmla="*/ 30 h 40"/>
                <a:gd name="T74" fmla="*/ 12 w 40"/>
                <a:gd name="T75" fmla="*/ 29 h 40"/>
                <a:gd name="T76" fmla="*/ 18 w 40"/>
                <a:gd name="T77" fmla="*/ 33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0" h="40">
                  <a:moveTo>
                    <a:pt x="24" y="40"/>
                  </a:moveTo>
                  <a:cubicBezTo>
                    <a:pt x="16" y="40"/>
                    <a:pt x="16" y="40"/>
                    <a:pt x="16" y="40"/>
                  </a:cubicBezTo>
                  <a:cubicBezTo>
                    <a:pt x="15" y="40"/>
                    <a:pt x="14" y="39"/>
                    <a:pt x="14" y="38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3" y="34"/>
                    <a:pt x="11" y="34"/>
                    <a:pt x="10" y="33"/>
                  </a:cubicBezTo>
                  <a:cubicBezTo>
                    <a:pt x="7" y="34"/>
                    <a:pt x="7" y="34"/>
                    <a:pt x="7" y="34"/>
                  </a:cubicBezTo>
                  <a:cubicBezTo>
                    <a:pt x="7" y="34"/>
                    <a:pt x="6" y="35"/>
                    <a:pt x="6" y="34"/>
                  </a:cubicBezTo>
                  <a:cubicBezTo>
                    <a:pt x="5" y="34"/>
                    <a:pt x="5" y="34"/>
                    <a:pt x="5" y="33"/>
                  </a:cubicBezTo>
                  <a:cubicBezTo>
                    <a:pt x="1" y="27"/>
                    <a:pt x="1" y="27"/>
                    <a:pt x="1" y="27"/>
                  </a:cubicBezTo>
                  <a:cubicBezTo>
                    <a:pt x="0" y="26"/>
                    <a:pt x="0" y="24"/>
                    <a:pt x="1" y="24"/>
                  </a:cubicBezTo>
                  <a:cubicBezTo>
                    <a:pt x="4" y="22"/>
                    <a:pt x="4" y="22"/>
                    <a:pt x="4" y="22"/>
                  </a:cubicBezTo>
                  <a:cubicBezTo>
                    <a:pt x="4" y="21"/>
                    <a:pt x="4" y="19"/>
                    <a:pt x="4" y="18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1" y="16"/>
                    <a:pt x="1" y="15"/>
                    <a:pt x="0" y="15"/>
                  </a:cubicBezTo>
                  <a:cubicBezTo>
                    <a:pt x="0" y="14"/>
                    <a:pt x="0" y="14"/>
                    <a:pt x="1" y="13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6" y="6"/>
                  </a:cubicBezTo>
                  <a:cubicBezTo>
                    <a:pt x="6" y="5"/>
                    <a:pt x="7" y="6"/>
                    <a:pt x="7" y="6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7"/>
                    <a:pt x="13" y="6"/>
                    <a:pt x="14" y="5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1"/>
                    <a:pt x="15" y="0"/>
                    <a:pt x="16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5" y="0"/>
                    <a:pt x="26" y="1"/>
                    <a:pt x="26" y="2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7" y="6"/>
                    <a:pt x="29" y="6"/>
                    <a:pt x="30" y="7"/>
                  </a:cubicBezTo>
                  <a:cubicBezTo>
                    <a:pt x="33" y="6"/>
                    <a:pt x="33" y="6"/>
                    <a:pt x="33" y="6"/>
                  </a:cubicBezTo>
                  <a:cubicBezTo>
                    <a:pt x="33" y="6"/>
                    <a:pt x="34" y="5"/>
                    <a:pt x="34" y="6"/>
                  </a:cubicBezTo>
                  <a:cubicBezTo>
                    <a:pt x="35" y="6"/>
                    <a:pt x="35" y="6"/>
                    <a:pt x="35" y="7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40" y="14"/>
                    <a:pt x="40" y="16"/>
                    <a:pt x="39" y="16"/>
                  </a:cubicBezTo>
                  <a:cubicBezTo>
                    <a:pt x="36" y="18"/>
                    <a:pt x="36" y="18"/>
                    <a:pt x="36" y="18"/>
                  </a:cubicBezTo>
                  <a:cubicBezTo>
                    <a:pt x="36" y="19"/>
                    <a:pt x="36" y="21"/>
                    <a:pt x="36" y="22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40" y="24"/>
                    <a:pt x="40" y="26"/>
                    <a:pt x="39" y="27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4"/>
                    <a:pt x="35" y="34"/>
                    <a:pt x="34" y="34"/>
                  </a:cubicBezTo>
                  <a:cubicBezTo>
                    <a:pt x="34" y="35"/>
                    <a:pt x="33" y="34"/>
                    <a:pt x="33" y="34"/>
                  </a:cubicBezTo>
                  <a:cubicBezTo>
                    <a:pt x="30" y="33"/>
                    <a:pt x="30" y="33"/>
                    <a:pt x="30" y="33"/>
                  </a:cubicBezTo>
                  <a:cubicBezTo>
                    <a:pt x="29" y="33"/>
                    <a:pt x="27" y="34"/>
                    <a:pt x="26" y="35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9"/>
                    <a:pt x="25" y="40"/>
                    <a:pt x="24" y="40"/>
                  </a:cubicBezTo>
                  <a:close/>
                  <a:moveTo>
                    <a:pt x="18" y="36"/>
                  </a:moveTo>
                  <a:cubicBezTo>
                    <a:pt x="22" y="36"/>
                    <a:pt x="22" y="36"/>
                    <a:pt x="22" y="36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2" y="32"/>
                    <a:pt x="23" y="32"/>
                    <a:pt x="23" y="31"/>
                  </a:cubicBezTo>
                  <a:cubicBezTo>
                    <a:pt x="25" y="31"/>
                    <a:pt x="27" y="30"/>
                    <a:pt x="28" y="29"/>
                  </a:cubicBezTo>
                  <a:cubicBezTo>
                    <a:pt x="29" y="28"/>
                    <a:pt x="30" y="28"/>
                    <a:pt x="31" y="28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35" y="26"/>
                    <a:pt x="35" y="26"/>
                    <a:pt x="35" y="26"/>
                  </a:cubicBezTo>
                  <a:cubicBezTo>
                    <a:pt x="33" y="25"/>
                    <a:pt x="33" y="25"/>
                    <a:pt x="33" y="25"/>
                  </a:cubicBezTo>
                  <a:cubicBezTo>
                    <a:pt x="32" y="25"/>
                    <a:pt x="31" y="24"/>
                    <a:pt x="32" y="23"/>
                  </a:cubicBezTo>
                  <a:cubicBezTo>
                    <a:pt x="32" y="21"/>
                    <a:pt x="32" y="19"/>
                    <a:pt x="32" y="17"/>
                  </a:cubicBezTo>
                  <a:cubicBezTo>
                    <a:pt x="31" y="16"/>
                    <a:pt x="32" y="15"/>
                    <a:pt x="33" y="15"/>
                  </a:cubicBezTo>
                  <a:cubicBezTo>
                    <a:pt x="35" y="14"/>
                    <a:pt x="35" y="14"/>
                    <a:pt x="35" y="14"/>
                  </a:cubicBezTo>
                  <a:cubicBezTo>
                    <a:pt x="33" y="10"/>
                    <a:pt x="33" y="10"/>
                    <a:pt x="33" y="10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30" y="12"/>
                    <a:pt x="29" y="12"/>
                    <a:pt x="28" y="11"/>
                  </a:cubicBezTo>
                  <a:cubicBezTo>
                    <a:pt x="27" y="10"/>
                    <a:pt x="25" y="9"/>
                    <a:pt x="23" y="9"/>
                  </a:cubicBezTo>
                  <a:cubicBezTo>
                    <a:pt x="23" y="8"/>
                    <a:pt x="22" y="8"/>
                    <a:pt x="22" y="7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8"/>
                    <a:pt x="17" y="8"/>
                    <a:pt x="17" y="9"/>
                  </a:cubicBezTo>
                  <a:cubicBezTo>
                    <a:pt x="15" y="9"/>
                    <a:pt x="13" y="10"/>
                    <a:pt x="12" y="11"/>
                  </a:cubicBezTo>
                  <a:cubicBezTo>
                    <a:pt x="11" y="12"/>
                    <a:pt x="10" y="12"/>
                    <a:pt x="9" y="12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8" y="15"/>
                    <a:pt x="9" y="16"/>
                    <a:pt x="8" y="17"/>
                  </a:cubicBezTo>
                  <a:cubicBezTo>
                    <a:pt x="8" y="19"/>
                    <a:pt x="8" y="21"/>
                    <a:pt x="8" y="23"/>
                  </a:cubicBezTo>
                  <a:cubicBezTo>
                    <a:pt x="9" y="24"/>
                    <a:pt x="8" y="24"/>
                    <a:pt x="7" y="25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7" y="30"/>
                    <a:pt x="7" y="30"/>
                    <a:pt x="7" y="30"/>
                  </a:cubicBezTo>
                  <a:cubicBezTo>
                    <a:pt x="9" y="28"/>
                    <a:pt x="9" y="28"/>
                    <a:pt x="9" y="28"/>
                  </a:cubicBezTo>
                  <a:cubicBezTo>
                    <a:pt x="10" y="28"/>
                    <a:pt x="11" y="28"/>
                    <a:pt x="12" y="29"/>
                  </a:cubicBezTo>
                  <a:cubicBezTo>
                    <a:pt x="13" y="30"/>
                    <a:pt x="15" y="31"/>
                    <a:pt x="17" y="31"/>
                  </a:cubicBezTo>
                  <a:cubicBezTo>
                    <a:pt x="17" y="32"/>
                    <a:pt x="18" y="33"/>
                    <a:pt x="18" y="33"/>
                  </a:cubicBezTo>
                  <a:lnTo>
                    <a:pt x="18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endParaRPr>
            </a:p>
          </p:txBody>
        </p:sp>
      </p:grpSp>
      <p:grpSp>
        <p:nvGrpSpPr>
          <p:cNvPr id="262" name="Group 261"/>
          <p:cNvGrpSpPr/>
          <p:nvPr/>
        </p:nvGrpSpPr>
        <p:grpSpPr>
          <a:xfrm>
            <a:off x="1659449" y="1710150"/>
            <a:ext cx="1910806" cy="1067838"/>
            <a:chOff x="1013695" y="2240659"/>
            <a:chExt cx="1532549" cy="856452"/>
          </a:xfrm>
        </p:grpSpPr>
        <p:grpSp>
          <p:nvGrpSpPr>
            <p:cNvPr id="263" name="Group 262"/>
            <p:cNvGrpSpPr/>
            <p:nvPr/>
          </p:nvGrpSpPr>
          <p:grpSpPr>
            <a:xfrm>
              <a:off x="1553008" y="2757488"/>
              <a:ext cx="453923" cy="339623"/>
              <a:chOff x="1553007" y="2757488"/>
              <a:chExt cx="453923" cy="339623"/>
            </a:xfrm>
          </p:grpSpPr>
          <p:cxnSp>
            <p:nvCxnSpPr>
              <p:cNvPr id="265" name="Straight Connector 264"/>
              <p:cNvCxnSpPr/>
              <p:nvPr/>
            </p:nvCxnSpPr>
            <p:spPr>
              <a:xfrm>
                <a:off x="1779969" y="2757488"/>
                <a:ext cx="0" cy="339623"/>
              </a:xfrm>
              <a:prstGeom prst="line">
                <a:avLst/>
              </a:prstGeom>
              <a:noFill/>
              <a:ln w="12700" cap="flat" cmpd="sng" algn="ctr">
                <a:solidFill>
                  <a:sysClr val="windowText" lastClr="000000">
                    <a:lumMod val="65000"/>
                    <a:lumOff val="35000"/>
                  </a:sys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66" name="Straight Connector 265"/>
              <p:cNvCxnSpPr/>
              <p:nvPr/>
            </p:nvCxnSpPr>
            <p:spPr>
              <a:xfrm rot="16200000">
                <a:off x="1779969" y="2530526"/>
                <a:ext cx="0" cy="453923"/>
              </a:xfrm>
              <a:prstGeom prst="line">
                <a:avLst/>
              </a:prstGeom>
              <a:noFill/>
              <a:ln w="12700" cap="flat" cmpd="sng" algn="ctr">
                <a:solidFill>
                  <a:sysClr val="windowText" lastClr="000000">
                    <a:lumMod val="65000"/>
                    <a:lumOff val="35000"/>
                  </a:sysClr>
                </a:solidFill>
                <a:prstDash val="solid"/>
                <a:miter lim="800000"/>
              </a:ln>
              <a:effectLst/>
            </p:spPr>
          </p:cxnSp>
        </p:grpSp>
        <p:sp>
          <p:nvSpPr>
            <p:cNvPr id="264" name="TextBox 263"/>
            <p:cNvSpPr txBox="1"/>
            <p:nvPr/>
          </p:nvSpPr>
          <p:spPr>
            <a:xfrm>
              <a:off x="1013695" y="2240659"/>
              <a:ext cx="1532549" cy="370275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Lorem </a:t>
              </a:r>
              <a:r>
                <a:rPr kumimoji="0" lang="en-US" sz="1000" b="0" i="0" u="none" strike="noStrike" kern="0" cap="none" spc="0" normalizeH="0" baseline="0" noProof="0" dirty="0" err="1">
                  <a:ln>
                    <a:noFill/>
                  </a:ln>
                  <a:effectLst/>
                  <a:uLnTx/>
                  <a:uFillTx/>
                </a:rPr>
                <a:t>Ipsum</a:t>
              </a: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 is simply dummy text of the printing and typesetting industry.</a:t>
              </a:r>
            </a:p>
          </p:txBody>
        </p:sp>
      </p:grpSp>
      <p:grpSp>
        <p:nvGrpSpPr>
          <p:cNvPr id="267" name="Group 266"/>
          <p:cNvGrpSpPr/>
          <p:nvPr/>
        </p:nvGrpSpPr>
        <p:grpSpPr>
          <a:xfrm>
            <a:off x="5140597" y="1710150"/>
            <a:ext cx="1910806" cy="1067838"/>
            <a:chOff x="1013695" y="2240659"/>
            <a:chExt cx="1532549" cy="856452"/>
          </a:xfrm>
        </p:grpSpPr>
        <p:grpSp>
          <p:nvGrpSpPr>
            <p:cNvPr id="268" name="Group 267"/>
            <p:cNvGrpSpPr/>
            <p:nvPr/>
          </p:nvGrpSpPr>
          <p:grpSpPr>
            <a:xfrm>
              <a:off x="1553008" y="2757488"/>
              <a:ext cx="453923" cy="339623"/>
              <a:chOff x="1553007" y="2757488"/>
              <a:chExt cx="453923" cy="339623"/>
            </a:xfrm>
          </p:grpSpPr>
          <p:cxnSp>
            <p:nvCxnSpPr>
              <p:cNvPr id="270" name="Straight Connector 269"/>
              <p:cNvCxnSpPr/>
              <p:nvPr/>
            </p:nvCxnSpPr>
            <p:spPr>
              <a:xfrm>
                <a:off x="1779969" y="2757488"/>
                <a:ext cx="0" cy="339623"/>
              </a:xfrm>
              <a:prstGeom prst="line">
                <a:avLst/>
              </a:prstGeom>
              <a:noFill/>
              <a:ln w="12700" cap="flat" cmpd="sng" algn="ctr">
                <a:solidFill>
                  <a:sysClr val="windowText" lastClr="000000">
                    <a:lumMod val="65000"/>
                    <a:lumOff val="35000"/>
                  </a:sys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71" name="Straight Connector 270"/>
              <p:cNvCxnSpPr/>
              <p:nvPr/>
            </p:nvCxnSpPr>
            <p:spPr>
              <a:xfrm rot="16200000">
                <a:off x="1779969" y="2530526"/>
                <a:ext cx="0" cy="453923"/>
              </a:xfrm>
              <a:prstGeom prst="line">
                <a:avLst/>
              </a:prstGeom>
              <a:noFill/>
              <a:ln w="12700" cap="flat" cmpd="sng" algn="ctr">
                <a:solidFill>
                  <a:sysClr val="windowText" lastClr="000000">
                    <a:lumMod val="65000"/>
                    <a:lumOff val="35000"/>
                  </a:sysClr>
                </a:solidFill>
                <a:prstDash val="solid"/>
                <a:miter lim="800000"/>
              </a:ln>
              <a:effectLst/>
            </p:spPr>
          </p:cxnSp>
        </p:grpSp>
        <p:sp>
          <p:nvSpPr>
            <p:cNvPr id="269" name="TextBox 268"/>
            <p:cNvSpPr txBox="1"/>
            <p:nvPr/>
          </p:nvSpPr>
          <p:spPr>
            <a:xfrm>
              <a:off x="1013695" y="2240659"/>
              <a:ext cx="1532549" cy="370275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Lorem </a:t>
              </a:r>
              <a:r>
                <a:rPr kumimoji="0" lang="en-US" sz="1000" b="0" i="0" u="none" strike="noStrike" kern="0" cap="none" spc="0" normalizeH="0" baseline="0" noProof="0" dirty="0" err="1">
                  <a:ln>
                    <a:noFill/>
                  </a:ln>
                  <a:effectLst/>
                  <a:uLnTx/>
                  <a:uFillTx/>
                </a:rPr>
                <a:t>Ipsum</a:t>
              </a: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 is simply dummy text of the printing and typesetting industry.</a:t>
              </a:r>
            </a:p>
          </p:txBody>
        </p:sp>
      </p:grpSp>
      <p:grpSp>
        <p:nvGrpSpPr>
          <p:cNvPr id="272" name="Group 271"/>
          <p:cNvGrpSpPr/>
          <p:nvPr/>
        </p:nvGrpSpPr>
        <p:grpSpPr>
          <a:xfrm>
            <a:off x="8621745" y="1710150"/>
            <a:ext cx="1910806" cy="1067838"/>
            <a:chOff x="1013695" y="2240659"/>
            <a:chExt cx="1532549" cy="856452"/>
          </a:xfrm>
        </p:grpSpPr>
        <p:grpSp>
          <p:nvGrpSpPr>
            <p:cNvPr id="273" name="Group 272"/>
            <p:cNvGrpSpPr/>
            <p:nvPr/>
          </p:nvGrpSpPr>
          <p:grpSpPr>
            <a:xfrm>
              <a:off x="1553008" y="2757488"/>
              <a:ext cx="453923" cy="339623"/>
              <a:chOff x="1553007" y="2757488"/>
              <a:chExt cx="453923" cy="339623"/>
            </a:xfrm>
          </p:grpSpPr>
          <p:cxnSp>
            <p:nvCxnSpPr>
              <p:cNvPr id="275" name="Straight Connector 274"/>
              <p:cNvCxnSpPr/>
              <p:nvPr/>
            </p:nvCxnSpPr>
            <p:spPr>
              <a:xfrm>
                <a:off x="1779969" y="2757488"/>
                <a:ext cx="0" cy="339623"/>
              </a:xfrm>
              <a:prstGeom prst="line">
                <a:avLst/>
              </a:prstGeom>
              <a:noFill/>
              <a:ln w="12700" cap="flat" cmpd="sng" algn="ctr">
                <a:solidFill>
                  <a:sysClr val="windowText" lastClr="000000">
                    <a:lumMod val="65000"/>
                    <a:lumOff val="35000"/>
                  </a:sys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76" name="Straight Connector 275"/>
              <p:cNvCxnSpPr/>
              <p:nvPr/>
            </p:nvCxnSpPr>
            <p:spPr>
              <a:xfrm rot="16200000">
                <a:off x="1779969" y="2530526"/>
                <a:ext cx="0" cy="453923"/>
              </a:xfrm>
              <a:prstGeom prst="line">
                <a:avLst/>
              </a:prstGeom>
              <a:noFill/>
              <a:ln w="12700" cap="flat" cmpd="sng" algn="ctr">
                <a:solidFill>
                  <a:sysClr val="windowText" lastClr="000000">
                    <a:lumMod val="65000"/>
                    <a:lumOff val="35000"/>
                  </a:sysClr>
                </a:solidFill>
                <a:prstDash val="solid"/>
                <a:miter lim="800000"/>
              </a:ln>
              <a:effectLst/>
            </p:spPr>
          </p:cxnSp>
        </p:grpSp>
        <p:sp>
          <p:nvSpPr>
            <p:cNvPr id="274" name="TextBox 273"/>
            <p:cNvSpPr txBox="1"/>
            <p:nvPr/>
          </p:nvSpPr>
          <p:spPr>
            <a:xfrm>
              <a:off x="1013695" y="2240659"/>
              <a:ext cx="1532549" cy="370275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Lorem </a:t>
              </a:r>
              <a:r>
                <a:rPr kumimoji="0" lang="en-US" sz="1000" b="0" i="0" u="none" strike="noStrike" kern="0" cap="none" spc="0" normalizeH="0" baseline="0" noProof="0" dirty="0" err="1">
                  <a:ln>
                    <a:noFill/>
                  </a:ln>
                  <a:effectLst/>
                  <a:uLnTx/>
                  <a:uFillTx/>
                </a:rPr>
                <a:t>Ipsum</a:t>
              </a: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 is simply dummy text of the printing and typesetting industry.</a:t>
              </a:r>
            </a:p>
          </p:txBody>
        </p:sp>
      </p:grpSp>
      <p:grpSp>
        <p:nvGrpSpPr>
          <p:cNvPr id="277" name="Group 276"/>
          <p:cNvGrpSpPr/>
          <p:nvPr/>
        </p:nvGrpSpPr>
        <p:grpSpPr>
          <a:xfrm flipV="1">
            <a:off x="3399348" y="5257778"/>
            <a:ext cx="1910806" cy="953891"/>
            <a:chOff x="1013695" y="2332049"/>
            <a:chExt cx="1532549" cy="765062"/>
          </a:xfrm>
        </p:grpSpPr>
        <p:grpSp>
          <p:nvGrpSpPr>
            <p:cNvPr id="278" name="Group 277"/>
            <p:cNvGrpSpPr/>
            <p:nvPr/>
          </p:nvGrpSpPr>
          <p:grpSpPr>
            <a:xfrm>
              <a:off x="1553008" y="2757488"/>
              <a:ext cx="453923" cy="339623"/>
              <a:chOff x="1553007" y="2757488"/>
              <a:chExt cx="453923" cy="339623"/>
            </a:xfrm>
          </p:grpSpPr>
          <p:cxnSp>
            <p:nvCxnSpPr>
              <p:cNvPr id="280" name="Straight Connector 279"/>
              <p:cNvCxnSpPr/>
              <p:nvPr/>
            </p:nvCxnSpPr>
            <p:spPr>
              <a:xfrm>
                <a:off x="1779969" y="2757488"/>
                <a:ext cx="0" cy="339623"/>
              </a:xfrm>
              <a:prstGeom prst="line">
                <a:avLst/>
              </a:prstGeom>
              <a:noFill/>
              <a:ln w="12700" cap="flat" cmpd="sng" algn="ctr">
                <a:solidFill>
                  <a:sysClr val="windowText" lastClr="000000">
                    <a:lumMod val="65000"/>
                    <a:lumOff val="35000"/>
                  </a:sys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81" name="Straight Connector 280"/>
              <p:cNvCxnSpPr/>
              <p:nvPr/>
            </p:nvCxnSpPr>
            <p:spPr>
              <a:xfrm rot="16200000">
                <a:off x="1779969" y="2530526"/>
                <a:ext cx="0" cy="453923"/>
              </a:xfrm>
              <a:prstGeom prst="line">
                <a:avLst/>
              </a:prstGeom>
              <a:noFill/>
              <a:ln w="12700" cap="flat" cmpd="sng" algn="ctr">
                <a:solidFill>
                  <a:sysClr val="windowText" lastClr="000000">
                    <a:lumMod val="65000"/>
                    <a:lumOff val="35000"/>
                  </a:sysClr>
                </a:solidFill>
                <a:prstDash val="solid"/>
                <a:miter lim="800000"/>
              </a:ln>
              <a:effectLst/>
            </p:spPr>
          </p:cxnSp>
        </p:grpSp>
        <p:sp>
          <p:nvSpPr>
            <p:cNvPr id="279" name="TextBox 278"/>
            <p:cNvSpPr txBox="1"/>
            <p:nvPr/>
          </p:nvSpPr>
          <p:spPr>
            <a:xfrm flipV="1">
              <a:off x="1013695" y="2332049"/>
              <a:ext cx="1532549" cy="370275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Lorem </a:t>
              </a:r>
              <a:r>
                <a:rPr kumimoji="0" lang="en-US" sz="1000" b="0" i="0" u="none" strike="noStrike" kern="0" cap="none" spc="0" normalizeH="0" baseline="0" noProof="0" dirty="0" err="1">
                  <a:ln>
                    <a:noFill/>
                  </a:ln>
                  <a:effectLst/>
                  <a:uLnTx/>
                  <a:uFillTx/>
                </a:rPr>
                <a:t>Ipsum</a:t>
              </a: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 is simply dummy text of the printing and typesetting industry.</a:t>
              </a:r>
            </a:p>
          </p:txBody>
        </p:sp>
      </p:grpSp>
      <p:grpSp>
        <p:nvGrpSpPr>
          <p:cNvPr id="282" name="Group 281"/>
          <p:cNvGrpSpPr/>
          <p:nvPr/>
        </p:nvGrpSpPr>
        <p:grpSpPr>
          <a:xfrm flipV="1">
            <a:off x="6880496" y="5257778"/>
            <a:ext cx="1910806" cy="953891"/>
            <a:chOff x="1013695" y="2332049"/>
            <a:chExt cx="1532549" cy="765062"/>
          </a:xfrm>
        </p:grpSpPr>
        <p:grpSp>
          <p:nvGrpSpPr>
            <p:cNvPr id="283" name="Group 282"/>
            <p:cNvGrpSpPr/>
            <p:nvPr/>
          </p:nvGrpSpPr>
          <p:grpSpPr>
            <a:xfrm>
              <a:off x="1553008" y="2757488"/>
              <a:ext cx="453923" cy="339623"/>
              <a:chOff x="1553007" y="2757488"/>
              <a:chExt cx="453923" cy="339623"/>
            </a:xfrm>
          </p:grpSpPr>
          <p:cxnSp>
            <p:nvCxnSpPr>
              <p:cNvPr id="285" name="Straight Connector 284"/>
              <p:cNvCxnSpPr/>
              <p:nvPr/>
            </p:nvCxnSpPr>
            <p:spPr>
              <a:xfrm>
                <a:off x="1779969" y="2757488"/>
                <a:ext cx="0" cy="339623"/>
              </a:xfrm>
              <a:prstGeom prst="line">
                <a:avLst/>
              </a:prstGeom>
              <a:noFill/>
              <a:ln w="12700" cap="flat" cmpd="sng" algn="ctr">
                <a:solidFill>
                  <a:sysClr val="windowText" lastClr="000000">
                    <a:lumMod val="65000"/>
                    <a:lumOff val="35000"/>
                  </a:sys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86" name="Straight Connector 285"/>
              <p:cNvCxnSpPr/>
              <p:nvPr/>
            </p:nvCxnSpPr>
            <p:spPr>
              <a:xfrm rot="16200000">
                <a:off x="1779969" y="2530526"/>
                <a:ext cx="0" cy="453923"/>
              </a:xfrm>
              <a:prstGeom prst="line">
                <a:avLst/>
              </a:prstGeom>
              <a:noFill/>
              <a:ln w="12700" cap="flat" cmpd="sng" algn="ctr">
                <a:solidFill>
                  <a:sysClr val="windowText" lastClr="000000">
                    <a:lumMod val="65000"/>
                    <a:lumOff val="35000"/>
                  </a:sysClr>
                </a:solidFill>
                <a:prstDash val="solid"/>
                <a:miter lim="800000"/>
              </a:ln>
              <a:effectLst/>
            </p:spPr>
          </p:cxnSp>
        </p:grpSp>
        <p:sp>
          <p:nvSpPr>
            <p:cNvPr id="284" name="TextBox 283"/>
            <p:cNvSpPr txBox="1"/>
            <p:nvPr/>
          </p:nvSpPr>
          <p:spPr>
            <a:xfrm flipV="1">
              <a:off x="1013695" y="2332049"/>
              <a:ext cx="1532549" cy="370275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Lorem </a:t>
              </a:r>
              <a:r>
                <a:rPr kumimoji="0" lang="en-US" sz="1000" b="0" i="0" u="none" strike="noStrike" kern="0" cap="none" spc="0" normalizeH="0" baseline="0" noProof="0" dirty="0" err="1">
                  <a:ln>
                    <a:noFill/>
                  </a:ln>
                  <a:effectLst/>
                  <a:uLnTx/>
                  <a:uFillTx/>
                </a:rPr>
                <a:t>Ipsum</a:t>
              </a: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 is simply dummy text of the printing and typesetting industry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2891714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Rectangle 102"/>
          <p:cNvSpPr/>
          <p:nvPr/>
        </p:nvSpPr>
        <p:spPr>
          <a:xfrm>
            <a:off x="12344400" y="0"/>
            <a:ext cx="469900" cy="469900"/>
          </a:xfrm>
          <a:prstGeom prst="rect">
            <a:avLst/>
          </a:pr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4" name="Rectangle 103"/>
          <p:cNvSpPr/>
          <p:nvPr/>
        </p:nvSpPr>
        <p:spPr>
          <a:xfrm>
            <a:off x="12344400" y="649557"/>
            <a:ext cx="469900" cy="469900"/>
          </a:xfrm>
          <a:prstGeom prst="rect">
            <a:avLst/>
          </a:prstGeom>
          <a:solidFill>
            <a:srgbClr val="AFAB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5" name="Rectangle 104"/>
          <p:cNvSpPr/>
          <p:nvPr/>
        </p:nvSpPr>
        <p:spPr>
          <a:xfrm>
            <a:off x="12344400" y="1299114"/>
            <a:ext cx="469900" cy="469900"/>
          </a:xfrm>
          <a:prstGeom prst="rect">
            <a:avLst/>
          </a:prstGeom>
          <a:solidFill>
            <a:srgbClr val="7671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7" name="Rectangle 106"/>
          <p:cNvSpPr/>
          <p:nvPr/>
        </p:nvSpPr>
        <p:spPr>
          <a:xfrm>
            <a:off x="12966699" y="0"/>
            <a:ext cx="469900" cy="469900"/>
          </a:xfrm>
          <a:prstGeom prst="rect">
            <a:avLst/>
          </a:prstGeom>
          <a:solidFill>
            <a:srgbClr val="E878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8" name="Rectangle 107"/>
          <p:cNvSpPr/>
          <p:nvPr/>
        </p:nvSpPr>
        <p:spPr>
          <a:xfrm>
            <a:off x="12966699" y="649557"/>
            <a:ext cx="469900" cy="469900"/>
          </a:xfrm>
          <a:prstGeom prst="rect">
            <a:avLst/>
          </a:prstGeom>
          <a:solidFill>
            <a:srgbClr val="E258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9" name="Rectangle 108"/>
          <p:cNvSpPr/>
          <p:nvPr/>
        </p:nvSpPr>
        <p:spPr>
          <a:xfrm>
            <a:off x="12966699" y="1299114"/>
            <a:ext cx="469900" cy="469900"/>
          </a:xfrm>
          <a:prstGeom prst="rect">
            <a:avLst/>
          </a:prstGeom>
          <a:solidFill>
            <a:srgbClr val="D63E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0" name="Rectangle 109"/>
          <p:cNvSpPr/>
          <p:nvPr/>
        </p:nvSpPr>
        <p:spPr>
          <a:xfrm>
            <a:off x="13588998" y="0"/>
            <a:ext cx="469900" cy="469900"/>
          </a:xfrm>
          <a:prstGeom prst="rect">
            <a:avLst/>
          </a:prstGeom>
          <a:solidFill>
            <a:srgbClr val="8EDC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1" name="Rectangle 110"/>
          <p:cNvSpPr/>
          <p:nvPr/>
        </p:nvSpPr>
        <p:spPr>
          <a:xfrm>
            <a:off x="13588998" y="649557"/>
            <a:ext cx="469900" cy="469900"/>
          </a:xfrm>
          <a:prstGeom prst="rect">
            <a:avLst/>
          </a:prstGeom>
          <a:solidFill>
            <a:srgbClr val="78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2" name="Rectangle 111"/>
          <p:cNvSpPr/>
          <p:nvPr/>
        </p:nvSpPr>
        <p:spPr>
          <a:xfrm>
            <a:off x="13588998" y="1299114"/>
            <a:ext cx="469900" cy="469900"/>
          </a:xfrm>
          <a:prstGeom prst="rect">
            <a:avLst/>
          </a:prstGeom>
          <a:solidFill>
            <a:srgbClr val="4CC7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3" name="Rectangle 112"/>
          <p:cNvSpPr/>
          <p:nvPr/>
        </p:nvSpPr>
        <p:spPr>
          <a:xfrm>
            <a:off x="14211297" y="0"/>
            <a:ext cx="469900" cy="469900"/>
          </a:xfrm>
          <a:prstGeom prst="rect">
            <a:avLst/>
          </a:prstGeom>
          <a:solidFill>
            <a:srgbClr val="5553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4" name="Rectangle 113"/>
          <p:cNvSpPr/>
          <p:nvPr/>
        </p:nvSpPr>
        <p:spPr>
          <a:xfrm>
            <a:off x="14211297" y="649557"/>
            <a:ext cx="469900" cy="469900"/>
          </a:xfrm>
          <a:prstGeom prst="rect">
            <a:avLst/>
          </a:prstGeom>
          <a:solidFill>
            <a:srgbClr val="3B39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5" name="Rectangle 114"/>
          <p:cNvSpPr/>
          <p:nvPr/>
        </p:nvSpPr>
        <p:spPr>
          <a:xfrm>
            <a:off x="14211297" y="1299114"/>
            <a:ext cx="469900" cy="469900"/>
          </a:xfrm>
          <a:prstGeom prst="rect">
            <a:avLst/>
          </a:prstGeom>
          <a:solidFill>
            <a:srgbClr val="2523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0" name="Text Placeholder 119"/>
          <p:cNvSpPr>
            <a:spLocks noGrp="1"/>
          </p:cNvSpPr>
          <p:nvPr>
            <p:ph type="body" sz="quarter" idx="13"/>
          </p:nvPr>
        </p:nvSpPr>
        <p:spPr>
          <a:xfrm>
            <a:off x="3107788" y="360971"/>
            <a:ext cx="5976424" cy="535531"/>
          </a:xfrm>
        </p:spPr>
        <p:txBody>
          <a:bodyPr/>
          <a:lstStyle/>
          <a:p>
            <a:r>
              <a:rPr lang="en-US" sz="3200" dirty="0"/>
              <a:t>PowerPoint Presentation</a:t>
            </a:r>
          </a:p>
        </p:txBody>
      </p:sp>
      <p:sp>
        <p:nvSpPr>
          <p:cNvPr id="116" name="Date Placeholder 11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E1B330-CB56-448E-9C70-830A2B9C05C8}" type="datetime1">
              <a:rPr lang="en-US" smtClean="0"/>
              <a:t>11/15/2018</a:t>
            </a:fld>
            <a:endParaRPr lang="en-US"/>
          </a:p>
        </p:txBody>
      </p:sp>
      <p:sp>
        <p:nvSpPr>
          <p:cNvPr id="117" name="Slide Number Placeholder 1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06E70-9524-410D-AE9B-78D656EAA14D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>
          <a:xfrm>
            <a:off x="1857375" y="1014880"/>
            <a:ext cx="8380505" cy="400110"/>
          </a:xfrm>
        </p:spPr>
        <p:txBody>
          <a:bodyPr/>
          <a:lstStyle/>
          <a:p>
            <a:r>
              <a:rPr lang="en-US" dirty="0"/>
              <a:t>Lorem Ipsum is simply dummy text of the printing and typesetting industry. Lorem Ipsum has been the industry's standard dummy text ever since the 1500s, when an unknown printer took a galley of type and scrambled it to make a type specimen book. </a:t>
            </a:r>
          </a:p>
        </p:txBody>
      </p:sp>
      <p:sp>
        <p:nvSpPr>
          <p:cNvPr id="91" name="TextBox 90"/>
          <p:cNvSpPr txBox="1"/>
          <p:nvPr/>
        </p:nvSpPr>
        <p:spPr>
          <a:xfrm>
            <a:off x="1813577" y="5345772"/>
            <a:ext cx="2370858" cy="353943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RAW MATERIALS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Lorem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Ipsum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is simply dummy</a:t>
            </a:r>
          </a:p>
        </p:txBody>
      </p:sp>
      <p:sp>
        <p:nvSpPr>
          <p:cNvPr id="92" name="TextBox 91"/>
          <p:cNvSpPr txBox="1"/>
          <p:nvPr/>
        </p:nvSpPr>
        <p:spPr>
          <a:xfrm>
            <a:off x="1270339" y="4329240"/>
            <a:ext cx="2315695" cy="353943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UPPLIERS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Lorem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Ipsum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is simply dummy</a:t>
            </a:r>
          </a:p>
        </p:txBody>
      </p:sp>
      <p:sp>
        <p:nvSpPr>
          <p:cNvPr id="93" name="TextBox 92"/>
          <p:cNvSpPr txBox="1"/>
          <p:nvPr/>
        </p:nvSpPr>
        <p:spPr>
          <a:xfrm>
            <a:off x="1270339" y="3312707"/>
            <a:ext cx="2356859" cy="353943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MANUFACTURERS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Lorem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Ipsum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is simply dummy</a:t>
            </a:r>
          </a:p>
        </p:txBody>
      </p:sp>
      <p:sp>
        <p:nvSpPr>
          <p:cNvPr id="94" name="TextBox 93"/>
          <p:cNvSpPr txBox="1"/>
          <p:nvPr/>
        </p:nvSpPr>
        <p:spPr>
          <a:xfrm>
            <a:off x="2011984" y="2296174"/>
            <a:ext cx="2318158" cy="353943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WAREHOUSE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Lorem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Ipsum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is simply dummy</a:t>
            </a:r>
          </a:p>
        </p:txBody>
      </p:sp>
      <p:sp>
        <p:nvSpPr>
          <p:cNvPr id="95" name="TextBox 94"/>
          <p:cNvSpPr txBox="1"/>
          <p:nvPr/>
        </p:nvSpPr>
        <p:spPr>
          <a:xfrm>
            <a:off x="8637383" y="4329240"/>
            <a:ext cx="2379529" cy="353943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TRANSPORT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Lorem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Ipsum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is simply dummy</a:t>
            </a:r>
          </a:p>
        </p:txBody>
      </p:sp>
      <p:sp>
        <p:nvSpPr>
          <p:cNvPr id="96" name="TextBox 95"/>
          <p:cNvSpPr txBox="1"/>
          <p:nvPr/>
        </p:nvSpPr>
        <p:spPr>
          <a:xfrm>
            <a:off x="8593249" y="3312707"/>
            <a:ext cx="2325240" cy="353943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CUSTOMER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Lorem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Ipsum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is simply dummy</a:t>
            </a:r>
          </a:p>
        </p:txBody>
      </p:sp>
      <p:sp>
        <p:nvSpPr>
          <p:cNvPr id="97" name="TextBox 96"/>
          <p:cNvSpPr txBox="1"/>
          <p:nvPr/>
        </p:nvSpPr>
        <p:spPr>
          <a:xfrm>
            <a:off x="7879368" y="2296174"/>
            <a:ext cx="2296083" cy="353943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INVENTOR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Lorem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Ipsum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is simply dummy</a:t>
            </a:r>
          </a:p>
        </p:txBody>
      </p:sp>
      <p:sp>
        <p:nvSpPr>
          <p:cNvPr id="98" name="TextBox 97"/>
          <p:cNvSpPr txBox="1"/>
          <p:nvPr/>
        </p:nvSpPr>
        <p:spPr>
          <a:xfrm>
            <a:off x="8008533" y="5345772"/>
            <a:ext cx="2365325" cy="353943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COS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Lorem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Ipsum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is simply dummy</a:t>
            </a:r>
          </a:p>
        </p:txBody>
      </p:sp>
      <p:sp>
        <p:nvSpPr>
          <p:cNvPr id="99" name="Freeform 23"/>
          <p:cNvSpPr>
            <a:spLocks/>
          </p:cNvSpPr>
          <p:nvPr/>
        </p:nvSpPr>
        <p:spPr bwMode="auto">
          <a:xfrm>
            <a:off x="4114813" y="2092192"/>
            <a:ext cx="3957810" cy="3631314"/>
          </a:xfrm>
          <a:custGeom>
            <a:avLst/>
            <a:gdLst>
              <a:gd name="T0" fmla="*/ 235 w 1090"/>
              <a:gd name="T1" fmla="*/ 1000 h 1000"/>
              <a:gd name="T2" fmla="*/ 254 w 1090"/>
              <a:gd name="T3" fmla="*/ 977 h 1000"/>
              <a:gd name="T4" fmla="*/ 32 w 1090"/>
              <a:gd name="T5" fmla="*/ 554 h 1000"/>
              <a:gd name="T6" fmla="*/ 545 w 1090"/>
              <a:gd name="T7" fmla="*/ 40 h 1000"/>
              <a:gd name="T8" fmla="*/ 1058 w 1090"/>
              <a:gd name="T9" fmla="*/ 554 h 1000"/>
              <a:gd name="T10" fmla="*/ 871 w 1090"/>
              <a:gd name="T11" fmla="*/ 951 h 1000"/>
              <a:gd name="T12" fmla="*/ 896 w 1090"/>
              <a:gd name="T13" fmla="*/ 969 h 1000"/>
              <a:gd name="T14" fmla="*/ 1090 w 1090"/>
              <a:gd name="T15" fmla="*/ 549 h 1000"/>
              <a:gd name="T16" fmla="*/ 545 w 1090"/>
              <a:gd name="T17" fmla="*/ 0 h 1000"/>
              <a:gd name="T18" fmla="*/ 0 w 1090"/>
              <a:gd name="T19" fmla="*/ 549 h 1000"/>
              <a:gd name="T20" fmla="*/ 235 w 1090"/>
              <a:gd name="T21" fmla="*/ 1000 h 10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090" h="1000">
                <a:moveTo>
                  <a:pt x="235" y="1000"/>
                </a:moveTo>
                <a:cubicBezTo>
                  <a:pt x="254" y="977"/>
                  <a:pt x="254" y="977"/>
                  <a:pt x="254" y="977"/>
                </a:cubicBezTo>
                <a:cubicBezTo>
                  <a:pt x="120" y="885"/>
                  <a:pt x="32" y="730"/>
                  <a:pt x="32" y="554"/>
                </a:cubicBezTo>
                <a:cubicBezTo>
                  <a:pt x="32" y="270"/>
                  <a:pt x="262" y="40"/>
                  <a:pt x="545" y="40"/>
                </a:cubicBezTo>
                <a:cubicBezTo>
                  <a:pt x="828" y="40"/>
                  <a:pt x="1058" y="270"/>
                  <a:pt x="1058" y="554"/>
                </a:cubicBezTo>
                <a:cubicBezTo>
                  <a:pt x="1058" y="714"/>
                  <a:pt x="985" y="856"/>
                  <a:pt x="871" y="951"/>
                </a:cubicBezTo>
                <a:cubicBezTo>
                  <a:pt x="896" y="969"/>
                  <a:pt x="896" y="969"/>
                  <a:pt x="896" y="969"/>
                </a:cubicBezTo>
                <a:cubicBezTo>
                  <a:pt x="1014" y="868"/>
                  <a:pt x="1090" y="718"/>
                  <a:pt x="1090" y="549"/>
                </a:cubicBezTo>
                <a:cubicBezTo>
                  <a:pt x="1090" y="246"/>
                  <a:pt x="846" y="0"/>
                  <a:pt x="545" y="0"/>
                </a:cubicBezTo>
                <a:cubicBezTo>
                  <a:pt x="244" y="0"/>
                  <a:pt x="0" y="246"/>
                  <a:pt x="0" y="549"/>
                </a:cubicBezTo>
                <a:cubicBezTo>
                  <a:pt x="0" y="736"/>
                  <a:pt x="93" y="901"/>
                  <a:pt x="235" y="1000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0" name="Oval 8"/>
          <p:cNvSpPr>
            <a:spLocks noChangeArrowheads="1"/>
          </p:cNvSpPr>
          <p:nvPr/>
        </p:nvSpPr>
        <p:spPr bwMode="auto">
          <a:xfrm>
            <a:off x="3844717" y="4195672"/>
            <a:ext cx="780848" cy="790123"/>
          </a:xfrm>
          <a:prstGeom prst="ellipse">
            <a:avLst/>
          </a:prstGeom>
          <a:solidFill>
            <a:srgbClr val="78D2D2"/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1" name="Oval 7"/>
          <p:cNvSpPr>
            <a:spLocks noChangeArrowheads="1"/>
          </p:cNvSpPr>
          <p:nvPr/>
        </p:nvSpPr>
        <p:spPr bwMode="auto">
          <a:xfrm>
            <a:off x="3943134" y="4297958"/>
            <a:ext cx="584017" cy="585547"/>
          </a:xfrm>
          <a:prstGeom prst="ellipse">
            <a:avLst/>
          </a:prstGeom>
          <a:solidFill>
            <a:schemeClr val="bg1"/>
          </a:solidFill>
          <a:ln w="15875" cap="flat">
            <a:noFill/>
            <a:prstDash val="solid"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2" name="Oval 10"/>
          <p:cNvSpPr>
            <a:spLocks noChangeArrowheads="1"/>
          </p:cNvSpPr>
          <p:nvPr/>
        </p:nvSpPr>
        <p:spPr bwMode="auto">
          <a:xfrm>
            <a:off x="3895301" y="3044827"/>
            <a:ext cx="780848" cy="786411"/>
          </a:xfrm>
          <a:prstGeom prst="ellipse">
            <a:avLst/>
          </a:prstGeom>
          <a:solidFill>
            <a:srgbClr val="3B3939"/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6" name="Oval 9"/>
          <p:cNvSpPr>
            <a:spLocks noChangeArrowheads="1"/>
          </p:cNvSpPr>
          <p:nvPr/>
        </p:nvSpPr>
        <p:spPr bwMode="auto">
          <a:xfrm>
            <a:off x="3993717" y="3146026"/>
            <a:ext cx="584017" cy="584017"/>
          </a:xfrm>
          <a:prstGeom prst="ellipse">
            <a:avLst/>
          </a:prstGeom>
          <a:solidFill>
            <a:schemeClr val="bg1"/>
          </a:solidFill>
          <a:ln w="15875" cap="flat">
            <a:noFill/>
            <a:prstDash val="solid"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8" name="Oval 12"/>
          <p:cNvSpPr>
            <a:spLocks noChangeArrowheads="1"/>
          </p:cNvSpPr>
          <p:nvPr/>
        </p:nvSpPr>
        <p:spPr bwMode="auto">
          <a:xfrm>
            <a:off x="4603476" y="2118664"/>
            <a:ext cx="780848" cy="790123"/>
          </a:xfrm>
          <a:prstGeom prst="ellipse">
            <a:avLst/>
          </a:prstGeom>
          <a:solidFill>
            <a:srgbClr val="E2583D"/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9" name="Oval 11"/>
          <p:cNvSpPr>
            <a:spLocks noChangeArrowheads="1"/>
          </p:cNvSpPr>
          <p:nvPr/>
        </p:nvSpPr>
        <p:spPr bwMode="auto">
          <a:xfrm>
            <a:off x="4703425" y="2219418"/>
            <a:ext cx="580949" cy="588614"/>
          </a:xfrm>
          <a:prstGeom prst="ellipse">
            <a:avLst/>
          </a:prstGeom>
          <a:solidFill>
            <a:schemeClr val="bg1"/>
          </a:solidFill>
          <a:ln w="15875" cap="flat">
            <a:noFill/>
            <a:prstDash val="solid"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22" name="Oval 14"/>
          <p:cNvSpPr>
            <a:spLocks noChangeArrowheads="1"/>
          </p:cNvSpPr>
          <p:nvPr/>
        </p:nvSpPr>
        <p:spPr bwMode="auto">
          <a:xfrm>
            <a:off x="5702366" y="1769014"/>
            <a:ext cx="782701" cy="791978"/>
          </a:xfrm>
          <a:prstGeom prst="ellipse">
            <a:avLst/>
          </a:prstGeom>
          <a:solidFill>
            <a:schemeClr val="accent3"/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23" name="Oval 13"/>
          <p:cNvSpPr>
            <a:spLocks noChangeArrowheads="1"/>
          </p:cNvSpPr>
          <p:nvPr/>
        </p:nvSpPr>
        <p:spPr bwMode="auto">
          <a:xfrm>
            <a:off x="5804010" y="1872995"/>
            <a:ext cx="579416" cy="584017"/>
          </a:xfrm>
          <a:prstGeom prst="ellipse">
            <a:avLst/>
          </a:prstGeom>
          <a:solidFill>
            <a:schemeClr val="bg1"/>
          </a:solidFill>
          <a:ln w="15875" cap="flat">
            <a:noFill/>
            <a:prstDash val="solid"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24" name="Oval 16"/>
          <p:cNvSpPr>
            <a:spLocks noChangeArrowheads="1"/>
          </p:cNvSpPr>
          <p:nvPr/>
        </p:nvSpPr>
        <p:spPr bwMode="auto">
          <a:xfrm>
            <a:off x="6810774" y="2118664"/>
            <a:ext cx="780848" cy="790123"/>
          </a:xfrm>
          <a:prstGeom prst="ellipse">
            <a:avLst/>
          </a:prstGeom>
          <a:solidFill>
            <a:srgbClr val="3B3939"/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25" name="Oval 15"/>
          <p:cNvSpPr>
            <a:spLocks noChangeArrowheads="1"/>
          </p:cNvSpPr>
          <p:nvPr/>
        </p:nvSpPr>
        <p:spPr bwMode="auto">
          <a:xfrm>
            <a:off x="6910725" y="2221718"/>
            <a:ext cx="580949" cy="584017"/>
          </a:xfrm>
          <a:prstGeom prst="ellipse">
            <a:avLst/>
          </a:prstGeom>
          <a:solidFill>
            <a:schemeClr val="bg1"/>
          </a:solidFill>
          <a:ln w="15875" cap="flat">
            <a:noFill/>
            <a:prstDash val="solid"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26" name="Oval 18"/>
          <p:cNvSpPr>
            <a:spLocks noChangeArrowheads="1"/>
          </p:cNvSpPr>
          <p:nvPr/>
        </p:nvSpPr>
        <p:spPr bwMode="auto">
          <a:xfrm>
            <a:off x="7522015" y="3033773"/>
            <a:ext cx="780848" cy="790123"/>
          </a:xfrm>
          <a:prstGeom prst="ellipse">
            <a:avLst/>
          </a:prstGeom>
          <a:solidFill>
            <a:srgbClr val="E2583D"/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27" name="Oval 17"/>
          <p:cNvSpPr>
            <a:spLocks noChangeArrowheads="1"/>
          </p:cNvSpPr>
          <p:nvPr/>
        </p:nvSpPr>
        <p:spPr bwMode="auto">
          <a:xfrm>
            <a:off x="7620432" y="3134527"/>
            <a:ext cx="584017" cy="588614"/>
          </a:xfrm>
          <a:prstGeom prst="ellipse">
            <a:avLst/>
          </a:prstGeom>
          <a:solidFill>
            <a:schemeClr val="bg1"/>
          </a:solidFill>
          <a:ln w="15875" cap="flat">
            <a:noFill/>
            <a:prstDash val="solid"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28" name="Oval 20"/>
          <p:cNvSpPr>
            <a:spLocks noChangeArrowheads="1"/>
          </p:cNvSpPr>
          <p:nvPr/>
        </p:nvSpPr>
        <p:spPr bwMode="auto">
          <a:xfrm>
            <a:off x="7569855" y="4195672"/>
            <a:ext cx="777139" cy="790123"/>
          </a:xfrm>
          <a:prstGeom prst="ellipse">
            <a:avLst/>
          </a:prstGeom>
          <a:solidFill>
            <a:schemeClr val="accent3"/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29" name="Oval 19"/>
          <p:cNvSpPr>
            <a:spLocks noChangeArrowheads="1"/>
          </p:cNvSpPr>
          <p:nvPr/>
        </p:nvSpPr>
        <p:spPr bwMode="auto">
          <a:xfrm>
            <a:off x="7665652" y="4296425"/>
            <a:ext cx="585546" cy="588614"/>
          </a:xfrm>
          <a:prstGeom prst="ellipse">
            <a:avLst/>
          </a:prstGeom>
          <a:solidFill>
            <a:schemeClr val="bg1"/>
          </a:solidFill>
          <a:ln w="15875" cap="flat">
            <a:noFill/>
            <a:prstDash val="solid"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30" name="Oval 22"/>
          <p:cNvSpPr>
            <a:spLocks noChangeArrowheads="1"/>
          </p:cNvSpPr>
          <p:nvPr/>
        </p:nvSpPr>
        <p:spPr bwMode="auto">
          <a:xfrm>
            <a:off x="6941066" y="5167334"/>
            <a:ext cx="780848" cy="791978"/>
          </a:xfrm>
          <a:prstGeom prst="ellipse">
            <a:avLst/>
          </a:prstGeom>
          <a:solidFill>
            <a:srgbClr val="3B3939"/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31" name="Oval 21"/>
          <p:cNvSpPr>
            <a:spLocks noChangeArrowheads="1"/>
          </p:cNvSpPr>
          <p:nvPr/>
        </p:nvSpPr>
        <p:spPr bwMode="auto">
          <a:xfrm>
            <a:off x="7039483" y="5269016"/>
            <a:ext cx="584017" cy="588614"/>
          </a:xfrm>
          <a:prstGeom prst="ellipse">
            <a:avLst/>
          </a:prstGeom>
          <a:solidFill>
            <a:schemeClr val="bg1"/>
          </a:solidFill>
          <a:ln w="15875" cap="flat">
            <a:noFill/>
            <a:prstDash val="solid"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32" name="TextBox 131"/>
          <p:cNvSpPr txBox="1"/>
          <p:nvPr/>
        </p:nvSpPr>
        <p:spPr>
          <a:xfrm>
            <a:off x="5500659" y="3966212"/>
            <a:ext cx="1190714" cy="184666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LOGISTICS</a:t>
            </a:r>
          </a:p>
        </p:txBody>
      </p:sp>
      <p:sp>
        <p:nvSpPr>
          <p:cNvPr id="133" name="TextBox 132"/>
          <p:cNvSpPr txBox="1"/>
          <p:nvPr/>
        </p:nvSpPr>
        <p:spPr>
          <a:xfrm>
            <a:off x="5012558" y="4232982"/>
            <a:ext cx="2166918" cy="33855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Lorem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Ipsum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is simply dummy text of the printing and typesetting industry. </a:t>
            </a:r>
          </a:p>
        </p:txBody>
      </p:sp>
      <p:sp>
        <p:nvSpPr>
          <p:cNvPr id="134" name="Oval 6"/>
          <p:cNvSpPr>
            <a:spLocks noChangeArrowheads="1"/>
          </p:cNvSpPr>
          <p:nvPr/>
        </p:nvSpPr>
        <p:spPr bwMode="auto">
          <a:xfrm>
            <a:off x="4465520" y="5172419"/>
            <a:ext cx="780848" cy="786411"/>
          </a:xfrm>
          <a:prstGeom prst="ellipse">
            <a:avLst/>
          </a:prstGeom>
          <a:solidFill>
            <a:srgbClr val="E2583D"/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35" name="Oval 5"/>
          <p:cNvSpPr>
            <a:spLocks noChangeArrowheads="1"/>
          </p:cNvSpPr>
          <p:nvPr/>
        </p:nvSpPr>
        <p:spPr bwMode="auto">
          <a:xfrm>
            <a:off x="4565469" y="5272851"/>
            <a:ext cx="580949" cy="585546"/>
          </a:xfrm>
          <a:prstGeom prst="ellipse">
            <a:avLst/>
          </a:prstGeom>
          <a:solidFill>
            <a:schemeClr val="bg1"/>
          </a:solidFill>
          <a:ln w="15875" cap="flat">
            <a:noFill/>
            <a:prstDash val="solid"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pSp>
        <p:nvGrpSpPr>
          <p:cNvPr id="182" name="Group 181"/>
          <p:cNvGrpSpPr/>
          <p:nvPr/>
        </p:nvGrpSpPr>
        <p:grpSpPr>
          <a:xfrm>
            <a:off x="4746406" y="5421955"/>
            <a:ext cx="219075" cy="287338"/>
            <a:chOff x="6445250" y="2498725"/>
            <a:chExt cx="219075" cy="287338"/>
          </a:xfrm>
          <a:solidFill>
            <a:srgbClr val="E2583D"/>
          </a:solidFill>
        </p:grpSpPr>
        <p:sp>
          <p:nvSpPr>
            <p:cNvPr id="183" name="Freeform 227"/>
            <p:cNvSpPr>
              <a:spLocks noEditPoints="1"/>
            </p:cNvSpPr>
            <p:nvPr/>
          </p:nvSpPr>
          <p:spPr bwMode="auto">
            <a:xfrm>
              <a:off x="6445250" y="2498725"/>
              <a:ext cx="219075" cy="287338"/>
            </a:xfrm>
            <a:custGeom>
              <a:avLst/>
              <a:gdLst>
                <a:gd name="T0" fmla="*/ 104 w 692"/>
                <a:gd name="T1" fmla="*/ 868 h 902"/>
                <a:gd name="T2" fmla="*/ 69 w 692"/>
                <a:gd name="T3" fmla="*/ 849 h 902"/>
                <a:gd name="T4" fmla="*/ 43 w 692"/>
                <a:gd name="T5" fmla="*/ 818 h 902"/>
                <a:gd name="T6" fmla="*/ 31 w 692"/>
                <a:gd name="T7" fmla="*/ 778 h 902"/>
                <a:gd name="T8" fmla="*/ 35 w 692"/>
                <a:gd name="T9" fmla="*/ 736 h 902"/>
                <a:gd name="T10" fmla="*/ 55 w 692"/>
                <a:gd name="T11" fmla="*/ 700 h 902"/>
                <a:gd name="T12" fmla="*/ 86 w 692"/>
                <a:gd name="T13" fmla="*/ 674 h 902"/>
                <a:gd name="T14" fmla="*/ 124 w 692"/>
                <a:gd name="T15" fmla="*/ 662 h 902"/>
                <a:gd name="T16" fmla="*/ 167 w 692"/>
                <a:gd name="T17" fmla="*/ 667 h 902"/>
                <a:gd name="T18" fmla="*/ 202 w 692"/>
                <a:gd name="T19" fmla="*/ 686 h 902"/>
                <a:gd name="T20" fmla="*/ 228 w 692"/>
                <a:gd name="T21" fmla="*/ 717 h 902"/>
                <a:gd name="T22" fmla="*/ 240 w 692"/>
                <a:gd name="T23" fmla="*/ 757 h 902"/>
                <a:gd name="T24" fmla="*/ 236 w 692"/>
                <a:gd name="T25" fmla="*/ 798 h 902"/>
                <a:gd name="T26" fmla="*/ 216 w 692"/>
                <a:gd name="T27" fmla="*/ 834 h 902"/>
                <a:gd name="T28" fmla="*/ 185 w 692"/>
                <a:gd name="T29" fmla="*/ 859 h 902"/>
                <a:gd name="T30" fmla="*/ 146 w 692"/>
                <a:gd name="T31" fmla="*/ 872 h 902"/>
                <a:gd name="T32" fmla="*/ 511 w 692"/>
                <a:gd name="T33" fmla="*/ 361 h 902"/>
                <a:gd name="T34" fmla="*/ 271 w 692"/>
                <a:gd name="T35" fmla="*/ 722 h 902"/>
                <a:gd name="T36" fmla="*/ 632 w 692"/>
                <a:gd name="T37" fmla="*/ 722 h 902"/>
                <a:gd name="T38" fmla="*/ 622 w 692"/>
                <a:gd name="T39" fmla="*/ 813 h 902"/>
                <a:gd name="T40" fmla="*/ 266 w 692"/>
                <a:gd name="T41" fmla="*/ 802 h 902"/>
                <a:gd name="T42" fmla="*/ 270 w 692"/>
                <a:gd name="T43" fmla="*/ 760 h 902"/>
                <a:gd name="T44" fmla="*/ 652 w 692"/>
                <a:gd name="T45" fmla="*/ 751 h 902"/>
                <a:gd name="T46" fmla="*/ 660 w 692"/>
                <a:gd name="T47" fmla="*/ 743 h 902"/>
                <a:gd name="T48" fmla="*/ 661 w 692"/>
                <a:gd name="T49" fmla="*/ 373 h 902"/>
                <a:gd name="T50" fmla="*/ 655 w 692"/>
                <a:gd name="T51" fmla="*/ 364 h 902"/>
                <a:gd name="T52" fmla="*/ 541 w 692"/>
                <a:gd name="T53" fmla="*/ 361 h 902"/>
                <a:gd name="T54" fmla="*/ 539 w 692"/>
                <a:gd name="T55" fmla="*/ 158 h 902"/>
                <a:gd name="T56" fmla="*/ 529 w 692"/>
                <a:gd name="T57" fmla="*/ 151 h 902"/>
                <a:gd name="T58" fmla="*/ 250 w 692"/>
                <a:gd name="T59" fmla="*/ 151 h 902"/>
                <a:gd name="T60" fmla="*/ 242 w 692"/>
                <a:gd name="T61" fmla="*/ 160 h 902"/>
                <a:gd name="T62" fmla="*/ 241 w 692"/>
                <a:gd name="T63" fmla="*/ 683 h 902"/>
                <a:gd name="T64" fmla="*/ 213 w 692"/>
                <a:gd name="T65" fmla="*/ 657 h 902"/>
                <a:gd name="T66" fmla="*/ 180 w 692"/>
                <a:gd name="T67" fmla="*/ 640 h 902"/>
                <a:gd name="T68" fmla="*/ 178 w 692"/>
                <a:gd name="T69" fmla="*/ 7 h 902"/>
                <a:gd name="T70" fmla="*/ 168 w 692"/>
                <a:gd name="T71" fmla="*/ 0 h 902"/>
                <a:gd name="T72" fmla="*/ 70 w 692"/>
                <a:gd name="T73" fmla="*/ 1 h 902"/>
                <a:gd name="T74" fmla="*/ 61 w 692"/>
                <a:gd name="T75" fmla="*/ 10 h 902"/>
                <a:gd name="T76" fmla="*/ 61 w 692"/>
                <a:gd name="T77" fmla="*/ 22 h 902"/>
                <a:gd name="T78" fmla="*/ 70 w 692"/>
                <a:gd name="T79" fmla="*/ 29 h 902"/>
                <a:gd name="T80" fmla="*/ 150 w 692"/>
                <a:gd name="T81" fmla="*/ 632 h 902"/>
                <a:gd name="T82" fmla="*/ 108 w 692"/>
                <a:gd name="T83" fmla="*/ 635 h 902"/>
                <a:gd name="T84" fmla="*/ 60 w 692"/>
                <a:gd name="T85" fmla="*/ 655 h 902"/>
                <a:gd name="T86" fmla="*/ 24 w 692"/>
                <a:gd name="T87" fmla="*/ 691 h 902"/>
                <a:gd name="T88" fmla="*/ 3 w 692"/>
                <a:gd name="T89" fmla="*/ 740 h 902"/>
                <a:gd name="T90" fmla="*/ 3 w 692"/>
                <a:gd name="T91" fmla="*/ 794 h 902"/>
                <a:gd name="T92" fmla="*/ 24 w 692"/>
                <a:gd name="T93" fmla="*/ 842 h 902"/>
                <a:gd name="T94" fmla="*/ 60 w 692"/>
                <a:gd name="T95" fmla="*/ 880 h 902"/>
                <a:gd name="T96" fmla="*/ 108 w 692"/>
                <a:gd name="T97" fmla="*/ 900 h 902"/>
                <a:gd name="T98" fmla="*/ 152 w 692"/>
                <a:gd name="T99" fmla="*/ 901 h 902"/>
                <a:gd name="T100" fmla="*/ 200 w 692"/>
                <a:gd name="T101" fmla="*/ 886 h 902"/>
                <a:gd name="T102" fmla="*/ 247 w 692"/>
                <a:gd name="T103" fmla="*/ 842 h 902"/>
                <a:gd name="T104" fmla="*/ 671 w 692"/>
                <a:gd name="T105" fmla="*/ 901 h 902"/>
                <a:gd name="T106" fmla="*/ 682 w 692"/>
                <a:gd name="T107" fmla="*/ 901 h 902"/>
                <a:gd name="T108" fmla="*/ 691 w 692"/>
                <a:gd name="T109" fmla="*/ 893 h 902"/>
                <a:gd name="T110" fmla="*/ 691 w 692"/>
                <a:gd name="T111" fmla="*/ 882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92" h="902">
                  <a:moveTo>
                    <a:pt x="135" y="872"/>
                  </a:moveTo>
                  <a:lnTo>
                    <a:pt x="124" y="872"/>
                  </a:lnTo>
                  <a:lnTo>
                    <a:pt x="115" y="870"/>
                  </a:lnTo>
                  <a:lnTo>
                    <a:pt x="104" y="868"/>
                  </a:lnTo>
                  <a:lnTo>
                    <a:pt x="94" y="864"/>
                  </a:lnTo>
                  <a:lnTo>
                    <a:pt x="86" y="859"/>
                  </a:lnTo>
                  <a:lnTo>
                    <a:pt x="76" y="854"/>
                  </a:lnTo>
                  <a:lnTo>
                    <a:pt x="69" y="849"/>
                  </a:lnTo>
                  <a:lnTo>
                    <a:pt x="61" y="841"/>
                  </a:lnTo>
                  <a:lnTo>
                    <a:pt x="55" y="834"/>
                  </a:lnTo>
                  <a:lnTo>
                    <a:pt x="48" y="826"/>
                  </a:lnTo>
                  <a:lnTo>
                    <a:pt x="43" y="818"/>
                  </a:lnTo>
                  <a:lnTo>
                    <a:pt x="39" y="808"/>
                  </a:lnTo>
                  <a:lnTo>
                    <a:pt x="35" y="798"/>
                  </a:lnTo>
                  <a:lnTo>
                    <a:pt x="32" y="789"/>
                  </a:lnTo>
                  <a:lnTo>
                    <a:pt x="31" y="778"/>
                  </a:lnTo>
                  <a:lnTo>
                    <a:pt x="30" y="767"/>
                  </a:lnTo>
                  <a:lnTo>
                    <a:pt x="31" y="757"/>
                  </a:lnTo>
                  <a:lnTo>
                    <a:pt x="32" y="746"/>
                  </a:lnTo>
                  <a:lnTo>
                    <a:pt x="35" y="736"/>
                  </a:lnTo>
                  <a:lnTo>
                    <a:pt x="39" y="727"/>
                  </a:lnTo>
                  <a:lnTo>
                    <a:pt x="43" y="717"/>
                  </a:lnTo>
                  <a:lnTo>
                    <a:pt x="48" y="708"/>
                  </a:lnTo>
                  <a:lnTo>
                    <a:pt x="55" y="700"/>
                  </a:lnTo>
                  <a:lnTo>
                    <a:pt x="61" y="692"/>
                  </a:lnTo>
                  <a:lnTo>
                    <a:pt x="69" y="686"/>
                  </a:lnTo>
                  <a:lnTo>
                    <a:pt x="76" y="680"/>
                  </a:lnTo>
                  <a:lnTo>
                    <a:pt x="86" y="674"/>
                  </a:lnTo>
                  <a:lnTo>
                    <a:pt x="94" y="670"/>
                  </a:lnTo>
                  <a:lnTo>
                    <a:pt x="104" y="667"/>
                  </a:lnTo>
                  <a:lnTo>
                    <a:pt x="115" y="665"/>
                  </a:lnTo>
                  <a:lnTo>
                    <a:pt x="124" y="662"/>
                  </a:lnTo>
                  <a:lnTo>
                    <a:pt x="135" y="662"/>
                  </a:lnTo>
                  <a:lnTo>
                    <a:pt x="146" y="662"/>
                  </a:lnTo>
                  <a:lnTo>
                    <a:pt x="156" y="665"/>
                  </a:lnTo>
                  <a:lnTo>
                    <a:pt x="167" y="667"/>
                  </a:lnTo>
                  <a:lnTo>
                    <a:pt x="177" y="670"/>
                  </a:lnTo>
                  <a:lnTo>
                    <a:pt x="185" y="674"/>
                  </a:lnTo>
                  <a:lnTo>
                    <a:pt x="194" y="680"/>
                  </a:lnTo>
                  <a:lnTo>
                    <a:pt x="202" y="686"/>
                  </a:lnTo>
                  <a:lnTo>
                    <a:pt x="210" y="692"/>
                  </a:lnTo>
                  <a:lnTo>
                    <a:pt x="216" y="700"/>
                  </a:lnTo>
                  <a:lnTo>
                    <a:pt x="223" y="708"/>
                  </a:lnTo>
                  <a:lnTo>
                    <a:pt x="228" y="717"/>
                  </a:lnTo>
                  <a:lnTo>
                    <a:pt x="232" y="727"/>
                  </a:lnTo>
                  <a:lnTo>
                    <a:pt x="236" y="736"/>
                  </a:lnTo>
                  <a:lnTo>
                    <a:pt x="239" y="746"/>
                  </a:lnTo>
                  <a:lnTo>
                    <a:pt x="240" y="757"/>
                  </a:lnTo>
                  <a:lnTo>
                    <a:pt x="241" y="767"/>
                  </a:lnTo>
                  <a:lnTo>
                    <a:pt x="240" y="778"/>
                  </a:lnTo>
                  <a:lnTo>
                    <a:pt x="239" y="789"/>
                  </a:lnTo>
                  <a:lnTo>
                    <a:pt x="236" y="798"/>
                  </a:lnTo>
                  <a:lnTo>
                    <a:pt x="232" y="808"/>
                  </a:lnTo>
                  <a:lnTo>
                    <a:pt x="228" y="818"/>
                  </a:lnTo>
                  <a:lnTo>
                    <a:pt x="223" y="826"/>
                  </a:lnTo>
                  <a:lnTo>
                    <a:pt x="216" y="834"/>
                  </a:lnTo>
                  <a:lnTo>
                    <a:pt x="210" y="841"/>
                  </a:lnTo>
                  <a:lnTo>
                    <a:pt x="202" y="849"/>
                  </a:lnTo>
                  <a:lnTo>
                    <a:pt x="194" y="854"/>
                  </a:lnTo>
                  <a:lnTo>
                    <a:pt x="185" y="859"/>
                  </a:lnTo>
                  <a:lnTo>
                    <a:pt x="177" y="864"/>
                  </a:lnTo>
                  <a:lnTo>
                    <a:pt x="167" y="868"/>
                  </a:lnTo>
                  <a:lnTo>
                    <a:pt x="156" y="870"/>
                  </a:lnTo>
                  <a:lnTo>
                    <a:pt x="146" y="872"/>
                  </a:lnTo>
                  <a:lnTo>
                    <a:pt x="135" y="872"/>
                  </a:lnTo>
                  <a:close/>
                  <a:moveTo>
                    <a:pt x="271" y="180"/>
                  </a:moveTo>
                  <a:lnTo>
                    <a:pt x="511" y="180"/>
                  </a:lnTo>
                  <a:lnTo>
                    <a:pt x="511" y="361"/>
                  </a:lnTo>
                  <a:lnTo>
                    <a:pt x="271" y="361"/>
                  </a:lnTo>
                  <a:lnTo>
                    <a:pt x="271" y="180"/>
                  </a:lnTo>
                  <a:close/>
                  <a:moveTo>
                    <a:pt x="632" y="722"/>
                  </a:moveTo>
                  <a:lnTo>
                    <a:pt x="271" y="722"/>
                  </a:lnTo>
                  <a:lnTo>
                    <a:pt x="271" y="391"/>
                  </a:lnTo>
                  <a:lnTo>
                    <a:pt x="526" y="391"/>
                  </a:lnTo>
                  <a:lnTo>
                    <a:pt x="632" y="391"/>
                  </a:lnTo>
                  <a:lnTo>
                    <a:pt x="632" y="722"/>
                  </a:lnTo>
                  <a:close/>
                  <a:moveTo>
                    <a:pt x="688" y="877"/>
                  </a:moveTo>
                  <a:lnTo>
                    <a:pt x="627" y="817"/>
                  </a:lnTo>
                  <a:lnTo>
                    <a:pt x="625" y="814"/>
                  </a:lnTo>
                  <a:lnTo>
                    <a:pt x="622" y="813"/>
                  </a:lnTo>
                  <a:lnTo>
                    <a:pt x="619" y="812"/>
                  </a:lnTo>
                  <a:lnTo>
                    <a:pt x="616" y="812"/>
                  </a:lnTo>
                  <a:lnTo>
                    <a:pt x="262" y="812"/>
                  </a:lnTo>
                  <a:lnTo>
                    <a:pt x="266" y="802"/>
                  </a:lnTo>
                  <a:lnTo>
                    <a:pt x="269" y="790"/>
                  </a:lnTo>
                  <a:lnTo>
                    <a:pt x="270" y="779"/>
                  </a:lnTo>
                  <a:lnTo>
                    <a:pt x="271" y="767"/>
                  </a:lnTo>
                  <a:lnTo>
                    <a:pt x="270" y="760"/>
                  </a:lnTo>
                  <a:lnTo>
                    <a:pt x="270" y="752"/>
                  </a:lnTo>
                  <a:lnTo>
                    <a:pt x="647" y="752"/>
                  </a:lnTo>
                  <a:lnTo>
                    <a:pt x="649" y="752"/>
                  </a:lnTo>
                  <a:lnTo>
                    <a:pt x="652" y="751"/>
                  </a:lnTo>
                  <a:lnTo>
                    <a:pt x="655" y="749"/>
                  </a:lnTo>
                  <a:lnTo>
                    <a:pt x="657" y="748"/>
                  </a:lnTo>
                  <a:lnTo>
                    <a:pt x="659" y="746"/>
                  </a:lnTo>
                  <a:lnTo>
                    <a:pt x="660" y="743"/>
                  </a:lnTo>
                  <a:lnTo>
                    <a:pt x="661" y="741"/>
                  </a:lnTo>
                  <a:lnTo>
                    <a:pt x="662" y="737"/>
                  </a:lnTo>
                  <a:lnTo>
                    <a:pt x="662" y="376"/>
                  </a:lnTo>
                  <a:lnTo>
                    <a:pt x="661" y="373"/>
                  </a:lnTo>
                  <a:lnTo>
                    <a:pt x="660" y="370"/>
                  </a:lnTo>
                  <a:lnTo>
                    <a:pt x="659" y="368"/>
                  </a:lnTo>
                  <a:lnTo>
                    <a:pt x="657" y="366"/>
                  </a:lnTo>
                  <a:lnTo>
                    <a:pt x="655" y="364"/>
                  </a:lnTo>
                  <a:lnTo>
                    <a:pt x="652" y="362"/>
                  </a:lnTo>
                  <a:lnTo>
                    <a:pt x="649" y="361"/>
                  </a:lnTo>
                  <a:lnTo>
                    <a:pt x="647" y="361"/>
                  </a:lnTo>
                  <a:lnTo>
                    <a:pt x="541" y="361"/>
                  </a:lnTo>
                  <a:lnTo>
                    <a:pt x="541" y="165"/>
                  </a:lnTo>
                  <a:lnTo>
                    <a:pt x="541" y="163"/>
                  </a:lnTo>
                  <a:lnTo>
                    <a:pt x="540" y="160"/>
                  </a:lnTo>
                  <a:lnTo>
                    <a:pt x="539" y="158"/>
                  </a:lnTo>
                  <a:lnTo>
                    <a:pt x="537" y="155"/>
                  </a:lnTo>
                  <a:lnTo>
                    <a:pt x="535" y="154"/>
                  </a:lnTo>
                  <a:lnTo>
                    <a:pt x="532" y="152"/>
                  </a:lnTo>
                  <a:lnTo>
                    <a:pt x="529" y="151"/>
                  </a:lnTo>
                  <a:lnTo>
                    <a:pt x="526" y="150"/>
                  </a:lnTo>
                  <a:lnTo>
                    <a:pt x="256" y="150"/>
                  </a:lnTo>
                  <a:lnTo>
                    <a:pt x="253" y="151"/>
                  </a:lnTo>
                  <a:lnTo>
                    <a:pt x="250" y="151"/>
                  </a:lnTo>
                  <a:lnTo>
                    <a:pt x="247" y="154"/>
                  </a:lnTo>
                  <a:lnTo>
                    <a:pt x="245" y="155"/>
                  </a:lnTo>
                  <a:lnTo>
                    <a:pt x="243" y="158"/>
                  </a:lnTo>
                  <a:lnTo>
                    <a:pt x="242" y="160"/>
                  </a:lnTo>
                  <a:lnTo>
                    <a:pt x="241" y="163"/>
                  </a:lnTo>
                  <a:lnTo>
                    <a:pt x="241" y="165"/>
                  </a:lnTo>
                  <a:lnTo>
                    <a:pt x="241" y="376"/>
                  </a:lnTo>
                  <a:lnTo>
                    <a:pt x="241" y="683"/>
                  </a:lnTo>
                  <a:lnTo>
                    <a:pt x="235" y="675"/>
                  </a:lnTo>
                  <a:lnTo>
                    <a:pt x="228" y="669"/>
                  </a:lnTo>
                  <a:lnTo>
                    <a:pt x="221" y="662"/>
                  </a:lnTo>
                  <a:lnTo>
                    <a:pt x="213" y="657"/>
                  </a:lnTo>
                  <a:lnTo>
                    <a:pt x="206" y="652"/>
                  </a:lnTo>
                  <a:lnTo>
                    <a:pt x="198" y="647"/>
                  </a:lnTo>
                  <a:lnTo>
                    <a:pt x="190" y="643"/>
                  </a:lnTo>
                  <a:lnTo>
                    <a:pt x="180" y="640"/>
                  </a:lnTo>
                  <a:lnTo>
                    <a:pt x="180" y="15"/>
                  </a:lnTo>
                  <a:lnTo>
                    <a:pt x="180" y="12"/>
                  </a:lnTo>
                  <a:lnTo>
                    <a:pt x="179" y="10"/>
                  </a:lnTo>
                  <a:lnTo>
                    <a:pt x="178" y="7"/>
                  </a:lnTo>
                  <a:lnTo>
                    <a:pt x="176" y="5"/>
                  </a:lnTo>
                  <a:lnTo>
                    <a:pt x="174" y="3"/>
                  </a:lnTo>
                  <a:lnTo>
                    <a:pt x="171" y="1"/>
                  </a:lnTo>
                  <a:lnTo>
                    <a:pt x="168" y="0"/>
                  </a:lnTo>
                  <a:lnTo>
                    <a:pt x="165" y="0"/>
                  </a:lnTo>
                  <a:lnTo>
                    <a:pt x="75" y="0"/>
                  </a:lnTo>
                  <a:lnTo>
                    <a:pt x="72" y="0"/>
                  </a:lnTo>
                  <a:lnTo>
                    <a:pt x="70" y="1"/>
                  </a:lnTo>
                  <a:lnTo>
                    <a:pt x="66" y="3"/>
                  </a:lnTo>
                  <a:lnTo>
                    <a:pt x="64" y="5"/>
                  </a:lnTo>
                  <a:lnTo>
                    <a:pt x="63" y="7"/>
                  </a:lnTo>
                  <a:lnTo>
                    <a:pt x="61" y="10"/>
                  </a:lnTo>
                  <a:lnTo>
                    <a:pt x="60" y="12"/>
                  </a:lnTo>
                  <a:lnTo>
                    <a:pt x="60" y="15"/>
                  </a:lnTo>
                  <a:lnTo>
                    <a:pt x="60" y="19"/>
                  </a:lnTo>
                  <a:lnTo>
                    <a:pt x="61" y="22"/>
                  </a:lnTo>
                  <a:lnTo>
                    <a:pt x="63" y="24"/>
                  </a:lnTo>
                  <a:lnTo>
                    <a:pt x="64" y="26"/>
                  </a:lnTo>
                  <a:lnTo>
                    <a:pt x="66" y="28"/>
                  </a:lnTo>
                  <a:lnTo>
                    <a:pt x="70" y="29"/>
                  </a:lnTo>
                  <a:lnTo>
                    <a:pt x="72" y="30"/>
                  </a:lnTo>
                  <a:lnTo>
                    <a:pt x="75" y="30"/>
                  </a:lnTo>
                  <a:lnTo>
                    <a:pt x="150" y="30"/>
                  </a:lnTo>
                  <a:lnTo>
                    <a:pt x="150" y="632"/>
                  </a:lnTo>
                  <a:lnTo>
                    <a:pt x="142" y="632"/>
                  </a:lnTo>
                  <a:lnTo>
                    <a:pt x="135" y="632"/>
                  </a:lnTo>
                  <a:lnTo>
                    <a:pt x="121" y="632"/>
                  </a:lnTo>
                  <a:lnTo>
                    <a:pt x="108" y="635"/>
                  </a:lnTo>
                  <a:lnTo>
                    <a:pt x="95" y="638"/>
                  </a:lnTo>
                  <a:lnTo>
                    <a:pt x="82" y="642"/>
                  </a:lnTo>
                  <a:lnTo>
                    <a:pt x="71" y="648"/>
                  </a:lnTo>
                  <a:lnTo>
                    <a:pt x="60" y="655"/>
                  </a:lnTo>
                  <a:lnTo>
                    <a:pt x="49" y="662"/>
                  </a:lnTo>
                  <a:lnTo>
                    <a:pt x="40" y="672"/>
                  </a:lnTo>
                  <a:lnTo>
                    <a:pt x="31" y="682"/>
                  </a:lnTo>
                  <a:lnTo>
                    <a:pt x="24" y="691"/>
                  </a:lnTo>
                  <a:lnTo>
                    <a:pt x="16" y="703"/>
                  </a:lnTo>
                  <a:lnTo>
                    <a:pt x="11" y="715"/>
                  </a:lnTo>
                  <a:lnTo>
                    <a:pt x="6" y="727"/>
                  </a:lnTo>
                  <a:lnTo>
                    <a:pt x="3" y="740"/>
                  </a:lnTo>
                  <a:lnTo>
                    <a:pt x="1" y="753"/>
                  </a:lnTo>
                  <a:lnTo>
                    <a:pt x="0" y="767"/>
                  </a:lnTo>
                  <a:lnTo>
                    <a:pt x="1" y="781"/>
                  </a:lnTo>
                  <a:lnTo>
                    <a:pt x="3" y="794"/>
                  </a:lnTo>
                  <a:lnTo>
                    <a:pt x="6" y="807"/>
                  </a:lnTo>
                  <a:lnTo>
                    <a:pt x="11" y="820"/>
                  </a:lnTo>
                  <a:lnTo>
                    <a:pt x="16" y="832"/>
                  </a:lnTo>
                  <a:lnTo>
                    <a:pt x="24" y="842"/>
                  </a:lnTo>
                  <a:lnTo>
                    <a:pt x="31" y="853"/>
                  </a:lnTo>
                  <a:lnTo>
                    <a:pt x="40" y="863"/>
                  </a:lnTo>
                  <a:lnTo>
                    <a:pt x="49" y="871"/>
                  </a:lnTo>
                  <a:lnTo>
                    <a:pt x="60" y="880"/>
                  </a:lnTo>
                  <a:lnTo>
                    <a:pt x="71" y="886"/>
                  </a:lnTo>
                  <a:lnTo>
                    <a:pt x="82" y="892"/>
                  </a:lnTo>
                  <a:lnTo>
                    <a:pt x="95" y="896"/>
                  </a:lnTo>
                  <a:lnTo>
                    <a:pt x="108" y="900"/>
                  </a:lnTo>
                  <a:lnTo>
                    <a:pt x="121" y="902"/>
                  </a:lnTo>
                  <a:lnTo>
                    <a:pt x="135" y="902"/>
                  </a:lnTo>
                  <a:lnTo>
                    <a:pt x="144" y="902"/>
                  </a:lnTo>
                  <a:lnTo>
                    <a:pt x="152" y="901"/>
                  </a:lnTo>
                  <a:lnTo>
                    <a:pt x="161" y="900"/>
                  </a:lnTo>
                  <a:lnTo>
                    <a:pt x="169" y="898"/>
                  </a:lnTo>
                  <a:lnTo>
                    <a:pt x="185" y="893"/>
                  </a:lnTo>
                  <a:lnTo>
                    <a:pt x="200" y="886"/>
                  </a:lnTo>
                  <a:lnTo>
                    <a:pt x="214" y="878"/>
                  </a:lnTo>
                  <a:lnTo>
                    <a:pt x="226" y="867"/>
                  </a:lnTo>
                  <a:lnTo>
                    <a:pt x="238" y="855"/>
                  </a:lnTo>
                  <a:lnTo>
                    <a:pt x="247" y="842"/>
                  </a:lnTo>
                  <a:lnTo>
                    <a:pt x="611" y="842"/>
                  </a:lnTo>
                  <a:lnTo>
                    <a:pt x="666" y="898"/>
                  </a:lnTo>
                  <a:lnTo>
                    <a:pt x="668" y="900"/>
                  </a:lnTo>
                  <a:lnTo>
                    <a:pt x="671" y="901"/>
                  </a:lnTo>
                  <a:lnTo>
                    <a:pt x="674" y="902"/>
                  </a:lnTo>
                  <a:lnTo>
                    <a:pt x="677" y="902"/>
                  </a:lnTo>
                  <a:lnTo>
                    <a:pt x="679" y="902"/>
                  </a:lnTo>
                  <a:lnTo>
                    <a:pt x="682" y="901"/>
                  </a:lnTo>
                  <a:lnTo>
                    <a:pt x="685" y="900"/>
                  </a:lnTo>
                  <a:lnTo>
                    <a:pt x="688" y="898"/>
                  </a:lnTo>
                  <a:lnTo>
                    <a:pt x="689" y="896"/>
                  </a:lnTo>
                  <a:lnTo>
                    <a:pt x="691" y="893"/>
                  </a:lnTo>
                  <a:lnTo>
                    <a:pt x="691" y="891"/>
                  </a:lnTo>
                  <a:lnTo>
                    <a:pt x="692" y="887"/>
                  </a:lnTo>
                  <a:lnTo>
                    <a:pt x="691" y="884"/>
                  </a:lnTo>
                  <a:lnTo>
                    <a:pt x="691" y="882"/>
                  </a:lnTo>
                  <a:lnTo>
                    <a:pt x="689" y="879"/>
                  </a:lnTo>
                  <a:lnTo>
                    <a:pt x="688" y="877"/>
                  </a:lnTo>
                  <a:lnTo>
                    <a:pt x="688" y="8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228"/>
            <p:cNvSpPr>
              <a:spLocks/>
            </p:cNvSpPr>
            <p:nvPr/>
          </p:nvSpPr>
          <p:spPr bwMode="auto">
            <a:xfrm>
              <a:off x="6592888" y="2709863"/>
              <a:ext cx="42863" cy="9525"/>
            </a:xfrm>
            <a:custGeom>
              <a:avLst/>
              <a:gdLst>
                <a:gd name="T0" fmla="*/ 0 w 135"/>
                <a:gd name="T1" fmla="*/ 15 h 30"/>
                <a:gd name="T2" fmla="*/ 0 w 135"/>
                <a:gd name="T3" fmla="*/ 18 h 30"/>
                <a:gd name="T4" fmla="*/ 1 w 135"/>
                <a:gd name="T5" fmla="*/ 21 h 30"/>
                <a:gd name="T6" fmla="*/ 3 w 135"/>
                <a:gd name="T7" fmla="*/ 23 h 30"/>
                <a:gd name="T8" fmla="*/ 4 w 135"/>
                <a:gd name="T9" fmla="*/ 26 h 30"/>
                <a:gd name="T10" fmla="*/ 6 w 135"/>
                <a:gd name="T11" fmla="*/ 27 h 30"/>
                <a:gd name="T12" fmla="*/ 10 w 135"/>
                <a:gd name="T13" fmla="*/ 29 h 30"/>
                <a:gd name="T14" fmla="*/ 12 w 135"/>
                <a:gd name="T15" fmla="*/ 29 h 30"/>
                <a:gd name="T16" fmla="*/ 15 w 135"/>
                <a:gd name="T17" fmla="*/ 30 h 30"/>
                <a:gd name="T18" fmla="*/ 120 w 135"/>
                <a:gd name="T19" fmla="*/ 30 h 30"/>
                <a:gd name="T20" fmla="*/ 123 w 135"/>
                <a:gd name="T21" fmla="*/ 29 h 30"/>
                <a:gd name="T22" fmla="*/ 126 w 135"/>
                <a:gd name="T23" fmla="*/ 28 h 30"/>
                <a:gd name="T24" fmla="*/ 129 w 135"/>
                <a:gd name="T25" fmla="*/ 27 h 30"/>
                <a:gd name="T26" fmla="*/ 131 w 135"/>
                <a:gd name="T27" fmla="*/ 26 h 30"/>
                <a:gd name="T28" fmla="*/ 133 w 135"/>
                <a:gd name="T29" fmla="*/ 23 h 30"/>
                <a:gd name="T30" fmla="*/ 134 w 135"/>
                <a:gd name="T31" fmla="*/ 21 h 30"/>
                <a:gd name="T32" fmla="*/ 135 w 135"/>
                <a:gd name="T33" fmla="*/ 18 h 30"/>
                <a:gd name="T34" fmla="*/ 135 w 135"/>
                <a:gd name="T35" fmla="*/ 15 h 30"/>
                <a:gd name="T36" fmla="*/ 135 w 135"/>
                <a:gd name="T37" fmla="*/ 12 h 30"/>
                <a:gd name="T38" fmla="*/ 134 w 135"/>
                <a:gd name="T39" fmla="*/ 9 h 30"/>
                <a:gd name="T40" fmla="*/ 133 w 135"/>
                <a:gd name="T41" fmla="*/ 7 h 30"/>
                <a:gd name="T42" fmla="*/ 131 w 135"/>
                <a:gd name="T43" fmla="*/ 5 h 30"/>
                <a:gd name="T44" fmla="*/ 129 w 135"/>
                <a:gd name="T45" fmla="*/ 3 h 30"/>
                <a:gd name="T46" fmla="*/ 126 w 135"/>
                <a:gd name="T47" fmla="*/ 1 h 30"/>
                <a:gd name="T48" fmla="*/ 123 w 135"/>
                <a:gd name="T49" fmla="*/ 0 h 30"/>
                <a:gd name="T50" fmla="*/ 120 w 135"/>
                <a:gd name="T51" fmla="*/ 0 h 30"/>
                <a:gd name="T52" fmla="*/ 15 w 135"/>
                <a:gd name="T53" fmla="*/ 0 h 30"/>
                <a:gd name="T54" fmla="*/ 12 w 135"/>
                <a:gd name="T55" fmla="*/ 0 h 30"/>
                <a:gd name="T56" fmla="*/ 10 w 135"/>
                <a:gd name="T57" fmla="*/ 1 h 30"/>
                <a:gd name="T58" fmla="*/ 6 w 135"/>
                <a:gd name="T59" fmla="*/ 3 h 30"/>
                <a:gd name="T60" fmla="*/ 4 w 135"/>
                <a:gd name="T61" fmla="*/ 5 h 30"/>
                <a:gd name="T62" fmla="*/ 3 w 135"/>
                <a:gd name="T63" fmla="*/ 7 h 30"/>
                <a:gd name="T64" fmla="*/ 1 w 135"/>
                <a:gd name="T65" fmla="*/ 9 h 30"/>
                <a:gd name="T66" fmla="*/ 0 w 135"/>
                <a:gd name="T67" fmla="*/ 12 h 30"/>
                <a:gd name="T68" fmla="*/ 0 w 135"/>
                <a:gd name="T69" fmla="*/ 15 h 30"/>
                <a:gd name="T70" fmla="*/ 0 w 135"/>
                <a:gd name="T71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35" h="30">
                  <a:moveTo>
                    <a:pt x="0" y="15"/>
                  </a:moveTo>
                  <a:lnTo>
                    <a:pt x="0" y="18"/>
                  </a:lnTo>
                  <a:lnTo>
                    <a:pt x="1" y="21"/>
                  </a:lnTo>
                  <a:lnTo>
                    <a:pt x="3" y="23"/>
                  </a:lnTo>
                  <a:lnTo>
                    <a:pt x="4" y="26"/>
                  </a:lnTo>
                  <a:lnTo>
                    <a:pt x="6" y="27"/>
                  </a:lnTo>
                  <a:lnTo>
                    <a:pt x="10" y="29"/>
                  </a:lnTo>
                  <a:lnTo>
                    <a:pt x="12" y="29"/>
                  </a:lnTo>
                  <a:lnTo>
                    <a:pt x="15" y="30"/>
                  </a:lnTo>
                  <a:lnTo>
                    <a:pt x="120" y="30"/>
                  </a:lnTo>
                  <a:lnTo>
                    <a:pt x="123" y="29"/>
                  </a:lnTo>
                  <a:lnTo>
                    <a:pt x="126" y="28"/>
                  </a:lnTo>
                  <a:lnTo>
                    <a:pt x="129" y="27"/>
                  </a:lnTo>
                  <a:lnTo>
                    <a:pt x="131" y="26"/>
                  </a:lnTo>
                  <a:lnTo>
                    <a:pt x="133" y="23"/>
                  </a:lnTo>
                  <a:lnTo>
                    <a:pt x="134" y="21"/>
                  </a:lnTo>
                  <a:lnTo>
                    <a:pt x="135" y="18"/>
                  </a:lnTo>
                  <a:lnTo>
                    <a:pt x="135" y="15"/>
                  </a:lnTo>
                  <a:lnTo>
                    <a:pt x="135" y="12"/>
                  </a:lnTo>
                  <a:lnTo>
                    <a:pt x="134" y="9"/>
                  </a:lnTo>
                  <a:lnTo>
                    <a:pt x="133" y="7"/>
                  </a:lnTo>
                  <a:lnTo>
                    <a:pt x="131" y="5"/>
                  </a:lnTo>
                  <a:lnTo>
                    <a:pt x="129" y="3"/>
                  </a:lnTo>
                  <a:lnTo>
                    <a:pt x="126" y="1"/>
                  </a:lnTo>
                  <a:lnTo>
                    <a:pt x="123" y="0"/>
                  </a:lnTo>
                  <a:lnTo>
                    <a:pt x="120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6" y="3"/>
                  </a:lnTo>
                  <a:lnTo>
                    <a:pt x="4" y="5"/>
                  </a:lnTo>
                  <a:lnTo>
                    <a:pt x="3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Freeform 229"/>
            <p:cNvSpPr>
              <a:spLocks/>
            </p:cNvSpPr>
            <p:nvPr/>
          </p:nvSpPr>
          <p:spPr bwMode="auto">
            <a:xfrm>
              <a:off x="6540500" y="2593975"/>
              <a:ext cx="28575" cy="9525"/>
            </a:xfrm>
            <a:custGeom>
              <a:avLst/>
              <a:gdLst>
                <a:gd name="T0" fmla="*/ 75 w 90"/>
                <a:gd name="T1" fmla="*/ 0 h 30"/>
                <a:gd name="T2" fmla="*/ 15 w 90"/>
                <a:gd name="T3" fmla="*/ 0 h 30"/>
                <a:gd name="T4" fmla="*/ 12 w 90"/>
                <a:gd name="T5" fmla="*/ 0 h 30"/>
                <a:gd name="T6" fmla="*/ 9 w 90"/>
                <a:gd name="T7" fmla="*/ 1 h 30"/>
                <a:gd name="T8" fmla="*/ 6 w 90"/>
                <a:gd name="T9" fmla="*/ 3 h 30"/>
                <a:gd name="T10" fmla="*/ 4 w 90"/>
                <a:gd name="T11" fmla="*/ 5 h 30"/>
                <a:gd name="T12" fmla="*/ 2 w 90"/>
                <a:gd name="T13" fmla="*/ 7 h 30"/>
                <a:gd name="T14" fmla="*/ 1 w 90"/>
                <a:gd name="T15" fmla="*/ 9 h 30"/>
                <a:gd name="T16" fmla="*/ 0 w 90"/>
                <a:gd name="T17" fmla="*/ 12 h 30"/>
                <a:gd name="T18" fmla="*/ 0 w 90"/>
                <a:gd name="T19" fmla="*/ 15 h 30"/>
                <a:gd name="T20" fmla="*/ 0 w 90"/>
                <a:gd name="T21" fmla="*/ 19 h 30"/>
                <a:gd name="T22" fmla="*/ 1 w 90"/>
                <a:gd name="T23" fmla="*/ 21 h 30"/>
                <a:gd name="T24" fmla="*/ 2 w 90"/>
                <a:gd name="T25" fmla="*/ 24 h 30"/>
                <a:gd name="T26" fmla="*/ 4 w 90"/>
                <a:gd name="T27" fmla="*/ 26 h 30"/>
                <a:gd name="T28" fmla="*/ 6 w 90"/>
                <a:gd name="T29" fmla="*/ 27 h 30"/>
                <a:gd name="T30" fmla="*/ 9 w 90"/>
                <a:gd name="T31" fmla="*/ 29 h 30"/>
                <a:gd name="T32" fmla="*/ 12 w 90"/>
                <a:gd name="T33" fmla="*/ 30 h 30"/>
                <a:gd name="T34" fmla="*/ 15 w 90"/>
                <a:gd name="T35" fmla="*/ 30 h 30"/>
                <a:gd name="T36" fmla="*/ 75 w 90"/>
                <a:gd name="T37" fmla="*/ 30 h 30"/>
                <a:gd name="T38" fmla="*/ 78 w 90"/>
                <a:gd name="T39" fmla="*/ 30 h 30"/>
                <a:gd name="T40" fmla="*/ 80 w 90"/>
                <a:gd name="T41" fmla="*/ 29 h 30"/>
                <a:gd name="T42" fmla="*/ 84 w 90"/>
                <a:gd name="T43" fmla="*/ 27 h 30"/>
                <a:gd name="T44" fmla="*/ 86 w 90"/>
                <a:gd name="T45" fmla="*/ 26 h 30"/>
                <a:gd name="T46" fmla="*/ 88 w 90"/>
                <a:gd name="T47" fmla="*/ 24 h 30"/>
                <a:gd name="T48" fmla="*/ 89 w 90"/>
                <a:gd name="T49" fmla="*/ 21 h 30"/>
                <a:gd name="T50" fmla="*/ 90 w 90"/>
                <a:gd name="T51" fmla="*/ 19 h 30"/>
                <a:gd name="T52" fmla="*/ 90 w 90"/>
                <a:gd name="T53" fmla="*/ 15 h 30"/>
                <a:gd name="T54" fmla="*/ 90 w 90"/>
                <a:gd name="T55" fmla="*/ 12 h 30"/>
                <a:gd name="T56" fmla="*/ 89 w 90"/>
                <a:gd name="T57" fmla="*/ 9 h 30"/>
                <a:gd name="T58" fmla="*/ 88 w 90"/>
                <a:gd name="T59" fmla="*/ 7 h 30"/>
                <a:gd name="T60" fmla="*/ 86 w 90"/>
                <a:gd name="T61" fmla="*/ 5 h 30"/>
                <a:gd name="T62" fmla="*/ 84 w 90"/>
                <a:gd name="T63" fmla="*/ 3 h 30"/>
                <a:gd name="T64" fmla="*/ 80 w 90"/>
                <a:gd name="T65" fmla="*/ 1 h 30"/>
                <a:gd name="T66" fmla="*/ 78 w 90"/>
                <a:gd name="T67" fmla="*/ 0 h 30"/>
                <a:gd name="T68" fmla="*/ 75 w 90"/>
                <a:gd name="T69" fmla="*/ 0 h 30"/>
                <a:gd name="T70" fmla="*/ 75 w 90"/>
                <a:gd name="T7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0" h="30">
                  <a:moveTo>
                    <a:pt x="75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9" y="1"/>
                  </a:lnTo>
                  <a:lnTo>
                    <a:pt x="6" y="3"/>
                  </a:lnTo>
                  <a:lnTo>
                    <a:pt x="4" y="5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9"/>
                  </a:lnTo>
                  <a:lnTo>
                    <a:pt x="1" y="21"/>
                  </a:lnTo>
                  <a:lnTo>
                    <a:pt x="2" y="24"/>
                  </a:lnTo>
                  <a:lnTo>
                    <a:pt x="4" y="26"/>
                  </a:lnTo>
                  <a:lnTo>
                    <a:pt x="6" y="27"/>
                  </a:lnTo>
                  <a:lnTo>
                    <a:pt x="9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75" y="30"/>
                  </a:lnTo>
                  <a:lnTo>
                    <a:pt x="78" y="30"/>
                  </a:lnTo>
                  <a:lnTo>
                    <a:pt x="80" y="29"/>
                  </a:lnTo>
                  <a:lnTo>
                    <a:pt x="84" y="27"/>
                  </a:lnTo>
                  <a:lnTo>
                    <a:pt x="86" y="26"/>
                  </a:lnTo>
                  <a:lnTo>
                    <a:pt x="88" y="24"/>
                  </a:lnTo>
                  <a:lnTo>
                    <a:pt x="89" y="21"/>
                  </a:lnTo>
                  <a:lnTo>
                    <a:pt x="90" y="19"/>
                  </a:lnTo>
                  <a:lnTo>
                    <a:pt x="90" y="15"/>
                  </a:lnTo>
                  <a:lnTo>
                    <a:pt x="90" y="12"/>
                  </a:lnTo>
                  <a:lnTo>
                    <a:pt x="89" y="9"/>
                  </a:lnTo>
                  <a:lnTo>
                    <a:pt x="88" y="7"/>
                  </a:lnTo>
                  <a:lnTo>
                    <a:pt x="86" y="5"/>
                  </a:lnTo>
                  <a:lnTo>
                    <a:pt x="84" y="3"/>
                  </a:lnTo>
                  <a:lnTo>
                    <a:pt x="80" y="1"/>
                  </a:lnTo>
                  <a:lnTo>
                    <a:pt x="78" y="0"/>
                  </a:lnTo>
                  <a:lnTo>
                    <a:pt x="75" y="0"/>
                  </a:lnTo>
                  <a:lnTo>
                    <a:pt x="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86" name="Group 185"/>
          <p:cNvGrpSpPr/>
          <p:nvPr/>
        </p:nvGrpSpPr>
        <p:grpSpPr>
          <a:xfrm>
            <a:off x="4091472" y="4447062"/>
            <a:ext cx="287338" cy="287338"/>
            <a:chOff x="8743951" y="1343025"/>
            <a:chExt cx="287338" cy="287338"/>
          </a:xfrm>
          <a:solidFill>
            <a:srgbClr val="78D2D2"/>
          </a:solidFill>
        </p:grpSpPr>
        <p:sp>
          <p:nvSpPr>
            <p:cNvPr id="187" name="Freeform 369"/>
            <p:cNvSpPr>
              <a:spLocks noEditPoints="1"/>
            </p:cNvSpPr>
            <p:nvPr/>
          </p:nvSpPr>
          <p:spPr bwMode="auto">
            <a:xfrm>
              <a:off x="8767763" y="1343025"/>
              <a:ext cx="171450" cy="53975"/>
            </a:xfrm>
            <a:custGeom>
              <a:avLst/>
              <a:gdLst>
                <a:gd name="T0" fmla="*/ 209 w 541"/>
                <a:gd name="T1" fmla="*/ 33 h 167"/>
                <a:gd name="T2" fmla="*/ 267 w 541"/>
                <a:gd name="T3" fmla="*/ 47 h 167"/>
                <a:gd name="T4" fmla="*/ 356 w 541"/>
                <a:gd name="T5" fmla="*/ 75 h 167"/>
                <a:gd name="T6" fmla="*/ 402 w 541"/>
                <a:gd name="T7" fmla="*/ 84 h 167"/>
                <a:gd name="T8" fmla="*/ 442 w 541"/>
                <a:gd name="T9" fmla="*/ 83 h 167"/>
                <a:gd name="T10" fmla="*/ 449 w 541"/>
                <a:gd name="T11" fmla="*/ 92 h 167"/>
                <a:gd name="T12" fmla="*/ 398 w 541"/>
                <a:gd name="T13" fmla="*/ 122 h 167"/>
                <a:gd name="T14" fmla="*/ 344 w 541"/>
                <a:gd name="T15" fmla="*/ 136 h 167"/>
                <a:gd name="T16" fmla="*/ 289 w 541"/>
                <a:gd name="T17" fmla="*/ 134 h 167"/>
                <a:gd name="T18" fmla="*/ 218 w 541"/>
                <a:gd name="T19" fmla="*/ 116 h 167"/>
                <a:gd name="T20" fmla="*/ 125 w 541"/>
                <a:gd name="T21" fmla="*/ 85 h 167"/>
                <a:gd name="T22" fmla="*/ 82 w 541"/>
                <a:gd name="T23" fmla="*/ 77 h 167"/>
                <a:gd name="T24" fmla="*/ 66 w 541"/>
                <a:gd name="T25" fmla="*/ 76 h 167"/>
                <a:gd name="T26" fmla="*/ 108 w 541"/>
                <a:gd name="T27" fmla="*/ 48 h 167"/>
                <a:gd name="T28" fmla="*/ 151 w 541"/>
                <a:gd name="T29" fmla="*/ 33 h 167"/>
                <a:gd name="T30" fmla="*/ 181 w 541"/>
                <a:gd name="T31" fmla="*/ 31 h 167"/>
                <a:gd name="T32" fmla="*/ 43 w 541"/>
                <a:gd name="T33" fmla="*/ 109 h 167"/>
                <a:gd name="T34" fmla="*/ 80 w 541"/>
                <a:gd name="T35" fmla="*/ 107 h 167"/>
                <a:gd name="T36" fmla="*/ 119 w 541"/>
                <a:gd name="T37" fmla="*/ 115 h 167"/>
                <a:gd name="T38" fmla="*/ 210 w 541"/>
                <a:gd name="T39" fmla="*/ 145 h 167"/>
                <a:gd name="T40" fmla="*/ 285 w 541"/>
                <a:gd name="T41" fmla="*/ 164 h 167"/>
                <a:gd name="T42" fmla="*/ 339 w 541"/>
                <a:gd name="T43" fmla="*/ 166 h 167"/>
                <a:gd name="T44" fmla="*/ 383 w 541"/>
                <a:gd name="T45" fmla="*/ 159 h 167"/>
                <a:gd name="T46" fmla="*/ 425 w 541"/>
                <a:gd name="T47" fmla="*/ 143 h 167"/>
                <a:gd name="T48" fmla="*/ 465 w 541"/>
                <a:gd name="T49" fmla="*/ 118 h 167"/>
                <a:gd name="T50" fmla="*/ 503 w 541"/>
                <a:gd name="T51" fmla="*/ 84 h 167"/>
                <a:gd name="T52" fmla="*/ 539 w 541"/>
                <a:gd name="T53" fmla="*/ 40 h 167"/>
                <a:gd name="T54" fmla="*/ 540 w 541"/>
                <a:gd name="T55" fmla="*/ 25 h 167"/>
                <a:gd name="T56" fmla="*/ 527 w 541"/>
                <a:gd name="T57" fmla="*/ 16 h 167"/>
                <a:gd name="T58" fmla="*/ 506 w 541"/>
                <a:gd name="T59" fmla="*/ 27 h 167"/>
                <a:gd name="T60" fmla="*/ 469 w 541"/>
                <a:gd name="T61" fmla="*/ 45 h 167"/>
                <a:gd name="T62" fmla="*/ 432 w 541"/>
                <a:gd name="T63" fmla="*/ 54 h 167"/>
                <a:gd name="T64" fmla="*/ 390 w 541"/>
                <a:gd name="T65" fmla="*/ 51 h 167"/>
                <a:gd name="T66" fmla="*/ 333 w 541"/>
                <a:gd name="T67" fmla="*/ 37 h 167"/>
                <a:gd name="T68" fmla="*/ 244 w 541"/>
                <a:gd name="T69" fmla="*/ 10 h 167"/>
                <a:gd name="T70" fmla="*/ 197 w 541"/>
                <a:gd name="T71" fmla="*/ 1 h 167"/>
                <a:gd name="T72" fmla="*/ 156 w 541"/>
                <a:gd name="T73" fmla="*/ 2 h 167"/>
                <a:gd name="T74" fmla="*/ 122 w 541"/>
                <a:gd name="T75" fmla="*/ 10 h 167"/>
                <a:gd name="T76" fmla="*/ 89 w 541"/>
                <a:gd name="T77" fmla="*/ 24 h 167"/>
                <a:gd name="T78" fmla="*/ 56 w 541"/>
                <a:gd name="T79" fmla="*/ 45 h 167"/>
                <a:gd name="T80" fmla="*/ 24 w 541"/>
                <a:gd name="T81" fmla="*/ 73 h 167"/>
                <a:gd name="T82" fmla="*/ 1 w 541"/>
                <a:gd name="T83" fmla="*/ 101 h 167"/>
                <a:gd name="T84" fmla="*/ 3 w 541"/>
                <a:gd name="T85" fmla="*/ 116 h 167"/>
                <a:gd name="T86" fmla="*/ 18 w 541"/>
                <a:gd name="T87" fmla="*/ 120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41" h="167">
                  <a:moveTo>
                    <a:pt x="181" y="31"/>
                  </a:moveTo>
                  <a:lnTo>
                    <a:pt x="195" y="31"/>
                  </a:lnTo>
                  <a:lnTo>
                    <a:pt x="209" y="33"/>
                  </a:lnTo>
                  <a:lnTo>
                    <a:pt x="224" y="35"/>
                  </a:lnTo>
                  <a:lnTo>
                    <a:pt x="238" y="39"/>
                  </a:lnTo>
                  <a:lnTo>
                    <a:pt x="267" y="47"/>
                  </a:lnTo>
                  <a:lnTo>
                    <a:pt x="296" y="57"/>
                  </a:lnTo>
                  <a:lnTo>
                    <a:pt x="324" y="66"/>
                  </a:lnTo>
                  <a:lnTo>
                    <a:pt x="356" y="75"/>
                  </a:lnTo>
                  <a:lnTo>
                    <a:pt x="371" y="78"/>
                  </a:lnTo>
                  <a:lnTo>
                    <a:pt x="387" y="81"/>
                  </a:lnTo>
                  <a:lnTo>
                    <a:pt x="402" y="84"/>
                  </a:lnTo>
                  <a:lnTo>
                    <a:pt x="418" y="84"/>
                  </a:lnTo>
                  <a:lnTo>
                    <a:pt x="430" y="84"/>
                  </a:lnTo>
                  <a:lnTo>
                    <a:pt x="442" y="83"/>
                  </a:lnTo>
                  <a:lnTo>
                    <a:pt x="453" y="80"/>
                  </a:lnTo>
                  <a:lnTo>
                    <a:pt x="465" y="77"/>
                  </a:lnTo>
                  <a:lnTo>
                    <a:pt x="449" y="92"/>
                  </a:lnTo>
                  <a:lnTo>
                    <a:pt x="433" y="104"/>
                  </a:lnTo>
                  <a:lnTo>
                    <a:pt x="416" y="114"/>
                  </a:lnTo>
                  <a:lnTo>
                    <a:pt x="398" y="122"/>
                  </a:lnTo>
                  <a:lnTo>
                    <a:pt x="380" y="129"/>
                  </a:lnTo>
                  <a:lnTo>
                    <a:pt x="363" y="133"/>
                  </a:lnTo>
                  <a:lnTo>
                    <a:pt x="344" y="136"/>
                  </a:lnTo>
                  <a:lnTo>
                    <a:pt x="324" y="137"/>
                  </a:lnTo>
                  <a:lnTo>
                    <a:pt x="307" y="136"/>
                  </a:lnTo>
                  <a:lnTo>
                    <a:pt x="289" y="134"/>
                  </a:lnTo>
                  <a:lnTo>
                    <a:pt x="271" y="131"/>
                  </a:lnTo>
                  <a:lnTo>
                    <a:pt x="254" y="127"/>
                  </a:lnTo>
                  <a:lnTo>
                    <a:pt x="218" y="116"/>
                  </a:lnTo>
                  <a:lnTo>
                    <a:pt x="184" y="104"/>
                  </a:lnTo>
                  <a:lnTo>
                    <a:pt x="154" y="94"/>
                  </a:lnTo>
                  <a:lnTo>
                    <a:pt x="125" y="85"/>
                  </a:lnTo>
                  <a:lnTo>
                    <a:pt x="110" y="81"/>
                  </a:lnTo>
                  <a:lnTo>
                    <a:pt x="96" y="78"/>
                  </a:lnTo>
                  <a:lnTo>
                    <a:pt x="82" y="77"/>
                  </a:lnTo>
                  <a:lnTo>
                    <a:pt x="68" y="76"/>
                  </a:lnTo>
                  <a:lnTo>
                    <a:pt x="67" y="76"/>
                  </a:lnTo>
                  <a:lnTo>
                    <a:pt x="66" y="76"/>
                  </a:lnTo>
                  <a:lnTo>
                    <a:pt x="80" y="65"/>
                  </a:lnTo>
                  <a:lnTo>
                    <a:pt x="94" y="56"/>
                  </a:lnTo>
                  <a:lnTo>
                    <a:pt x="108" y="48"/>
                  </a:lnTo>
                  <a:lnTo>
                    <a:pt x="122" y="42"/>
                  </a:lnTo>
                  <a:lnTo>
                    <a:pt x="136" y="36"/>
                  </a:lnTo>
                  <a:lnTo>
                    <a:pt x="151" y="33"/>
                  </a:lnTo>
                  <a:lnTo>
                    <a:pt x="166" y="31"/>
                  </a:lnTo>
                  <a:lnTo>
                    <a:pt x="181" y="31"/>
                  </a:lnTo>
                  <a:lnTo>
                    <a:pt x="181" y="31"/>
                  </a:lnTo>
                  <a:close/>
                  <a:moveTo>
                    <a:pt x="23" y="119"/>
                  </a:moveTo>
                  <a:lnTo>
                    <a:pt x="33" y="114"/>
                  </a:lnTo>
                  <a:lnTo>
                    <a:pt x="43" y="109"/>
                  </a:lnTo>
                  <a:lnTo>
                    <a:pt x="55" y="107"/>
                  </a:lnTo>
                  <a:lnTo>
                    <a:pt x="68" y="106"/>
                  </a:lnTo>
                  <a:lnTo>
                    <a:pt x="80" y="107"/>
                  </a:lnTo>
                  <a:lnTo>
                    <a:pt x="93" y="108"/>
                  </a:lnTo>
                  <a:lnTo>
                    <a:pt x="106" y="112"/>
                  </a:lnTo>
                  <a:lnTo>
                    <a:pt x="119" y="115"/>
                  </a:lnTo>
                  <a:lnTo>
                    <a:pt x="145" y="123"/>
                  </a:lnTo>
                  <a:lnTo>
                    <a:pt x="174" y="133"/>
                  </a:lnTo>
                  <a:lnTo>
                    <a:pt x="210" y="145"/>
                  </a:lnTo>
                  <a:lnTo>
                    <a:pt x="246" y="155"/>
                  </a:lnTo>
                  <a:lnTo>
                    <a:pt x="265" y="161"/>
                  </a:lnTo>
                  <a:lnTo>
                    <a:pt x="285" y="164"/>
                  </a:lnTo>
                  <a:lnTo>
                    <a:pt x="305" y="166"/>
                  </a:lnTo>
                  <a:lnTo>
                    <a:pt x="324" y="167"/>
                  </a:lnTo>
                  <a:lnTo>
                    <a:pt x="339" y="166"/>
                  </a:lnTo>
                  <a:lnTo>
                    <a:pt x="355" y="165"/>
                  </a:lnTo>
                  <a:lnTo>
                    <a:pt x="370" y="163"/>
                  </a:lnTo>
                  <a:lnTo>
                    <a:pt x="383" y="159"/>
                  </a:lnTo>
                  <a:lnTo>
                    <a:pt x="397" y="154"/>
                  </a:lnTo>
                  <a:lnTo>
                    <a:pt x="411" y="149"/>
                  </a:lnTo>
                  <a:lnTo>
                    <a:pt x="425" y="143"/>
                  </a:lnTo>
                  <a:lnTo>
                    <a:pt x="438" y="135"/>
                  </a:lnTo>
                  <a:lnTo>
                    <a:pt x="451" y="127"/>
                  </a:lnTo>
                  <a:lnTo>
                    <a:pt x="465" y="118"/>
                  </a:lnTo>
                  <a:lnTo>
                    <a:pt x="478" y="107"/>
                  </a:lnTo>
                  <a:lnTo>
                    <a:pt x="490" y="95"/>
                  </a:lnTo>
                  <a:lnTo>
                    <a:pt x="503" y="84"/>
                  </a:lnTo>
                  <a:lnTo>
                    <a:pt x="514" y="70"/>
                  </a:lnTo>
                  <a:lnTo>
                    <a:pt x="527" y="55"/>
                  </a:lnTo>
                  <a:lnTo>
                    <a:pt x="539" y="40"/>
                  </a:lnTo>
                  <a:lnTo>
                    <a:pt x="541" y="34"/>
                  </a:lnTo>
                  <a:lnTo>
                    <a:pt x="541" y="29"/>
                  </a:lnTo>
                  <a:lnTo>
                    <a:pt x="540" y="25"/>
                  </a:lnTo>
                  <a:lnTo>
                    <a:pt x="537" y="20"/>
                  </a:lnTo>
                  <a:lnTo>
                    <a:pt x="533" y="17"/>
                  </a:lnTo>
                  <a:lnTo>
                    <a:pt x="527" y="16"/>
                  </a:lnTo>
                  <a:lnTo>
                    <a:pt x="522" y="16"/>
                  </a:lnTo>
                  <a:lnTo>
                    <a:pt x="518" y="18"/>
                  </a:lnTo>
                  <a:lnTo>
                    <a:pt x="506" y="27"/>
                  </a:lnTo>
                  <a:lnTo>
                    <a:pt x="493" y="34"/>
                  </a:lnTo>
                  <a:lnTo>
                    <a:pt x="481" y="41"/>
                  </a:lnTo>
                  <a:lnTo>
                    <a:pt x="469" y="45"/>
                  </a:lnTo>
                  <a:lnTo>
                    <a:pt x="456" y="49"/>
                  </a:lnTo>
                  <a:lnTo>
                    <a:pt x="445" y="51"/>
                  </a:lnTo>
                  <a:lnTo>
                    <a:pt x="432" y="54"/>
                  </a:lnTo>
                  <a:lnTo>
                    <a:pt x="418" y="54"/>
                  </a:lnTo>
                  <a:lnTo>
                    <a:pt x="404" y="54"/>
                  </a:lnTo>
                  <a:lnTo>
                    <a:pt x="390" y="51"/>
                  </a:lnTo>
                  <a:lnTo>
                    <a:pt x="376" y="49"/>
                  </a:lnTo>
                  <a:lnTo>
                    <a:pt x="362" y="46"/>
                  </a:lnTo>
                  <a:lnTo>
                    <a:pt x="333" y="37"/>
                  </a:lnTo>
                  <a:lnTo>
                    <a:pt x="305" y="28"/>
                  </a:lnTo>
                  <a:lnTo>
                    <a:pt x="275" y="18"/>
                  </a:lnTo>
                  <a:lnTo>
                    <a:pt x="244" y="10"/>
                  </a:lnTo>
                  <a:lnTo>
                    <a:pt x="228" y="5"/>
                  </a:lnTo>
                  <a:lnTo>
                    <a:pt x="213" y="3"/>
                  </a:lnTo>
                  <a:lnTo>
                    <a:pt x="197" y="1"/>
                  </a:lnTo>
                  <a:lnTo>
                    <a:pt x="181" y="0"/>
                  </a:lnTo>
                  <a:lnTo>
                    <a:pt x="168" y="1"/>
                  </a:lnTo>
                  <a:lnTo>
                    <a:pt x="156" y="2"/>
                  </a:lnTo>
                  <a:lnTo>
                    <a:pt x="145" y="3"/>
                  </a:lnTo>
                  <a:lnTo>
                    <a:pt x="134" y="6"/>
                  </a:lnTo>
                  <a:lnTo>
                    <a:pt x="122" y="10"/>
                  </a:lnTo>
                  <a:lnTo>
                    <a:pt x="111" y="14"/>
                  </a:lnTo>
                  <a:lnTo>
                    <a:pt x="99" y="18"/>
                  </a:lnTo>
                  <a:lnTo>
                    <a:pt x="89" y="24"/>
                  </a:lnTo>
                  <a:lnTo>
                    <a:pt x="78" y="30"/>
                  </a:lnTo>
                  <a:lnTo>
                    <a:pt x="67" y="37"/>
                  </a:lnTo>
                  <a:lnTo>
                    <a:pt x="56" y="45"/>
                  </a:lnTo>
                  <a:lnTo>
                    <a:pt x="46" y="54"/>
                  </a:lnTo>
                  <a:lnTo>
                    <a:pt x="35" y="63"/>
                  </a:lnTo>
                  <a:lnTo>
                    <a:pt x="24" y="73"/>
                  </a:lnTo>
                  <a:lnTo>
                    <a:pt x="13" y="84"/>
                  </a:lnTo>
                  <a:lnTo>
                    <a:pt x="3" y="95"/>
                  </a:lnTo>
                  <a:lnTo>
                    <a:pt x="1" y="101"/>
                  </a:lnTo>
                  <a:lnTo>
                    <a:pt x="0" y="106"/>
                  </a:lnTo>
                  <a:lnTo>
                    <a:pt x="1" y="110"/>
                  </a:lnTo>
                  <a:lnTo>
                    <a:pt x="3" y="116"/>
                  </a:lnTo>
                  <a:lnTo>
                    <a:pt x="7" y="119"/>
                  </a:lnTo>
                  <a:lnTo>
                    <a:pt x="12" y="121"/>
                  </a:lnTo>
                  <a:lnTo>
                    <a:pt x="18" y="120"/>
                  </a:lnTo>
                  <a:lnTo>
                    <a:pt x="23" y="1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370"/>
            <p:cNvSpPr>
              <a:spLocks/>
            </p:cNvSpPr>
            <p:nvPr/>
          </p:nvSpPr>
          <p:spPr bwMode="auto">
            <a:xfrm>
              <a:off x="8829676" y="1563688"/>
              <a:ext cx="28575" cy="9525"/>
            </a:xfrm>
            <a:custGeom>
              <a:avLst/>
              <a:gdLst>
                <a:gd name="T0" fmla="*/ 76 w 91"/>
                <a:gd name="T1" fmla="*/ 0 h 30"/>
                <a:gd name="T2" fmla="*/ 16 w 91"/>
                <a:gd name="T3" fmla="*/ 0 h 30"/>
                <a:gd name="T4" fmla="*/ 13 w 91"/>
                <a:gd name="T5" fmla="*/ 0 h 30"/>
                <a:gd name="T6" fmla="*/ 9 w 91"/>
                <a:gd name="T7" fmla="*/ 1 h 30"/>
                <a:gd name="T8" fmla="*/ 7 w 91"/>
                <a:gd name="T9" fmla="*/ 2 h 30"/>
                <a:gd name="T10" fmla="*/ 5 w 91"/>
                <a:gd name="T11" fmla="*/ 4 h 30"/>
                <a:gd name="T12" fmla="*/ 3 w 91"/>
                <a:gd name="T13" fmla="*/ 6 h 30"/>
                <a:gd name="T14" fmla="*/ 2 w 91"/>
                <a:gd name="T15" fmla="*/ 10 h 30"/>
                <a:gd name="T16" fmla="*/ 1 w 91"/>
                <a:gd name="T17" fmla="*/ 12 h 30"/>
                <a:gd name="T18" fmla="*/ 0 w 91"/>
                <a:gd name="T19" fmla="*/ 15 h 30"/>
                <a:gd name="T20" fmla="*/ 1 w 91"/>
                <a:gd name="T21" fmla="*/ 18 h 30"/>
                <a:gd name="T22" fmla="*/ 2 w 91"/>
                <a:gd name="T23" fmla="*/ 21 h 30"/>
                <a:gd name="T24" fmla="*/ 3 w 91"/>
                <a:gd name="T25" fmla="*/ 24 h 30"/>
                <a:gd name="T26" fmla="*/ 5 w 91"/>
                <a:gd name="T27" fmla="*/ 26 h 30"/>
                <a:gd name="T28" fmla="*/ 7 w 91"/>
                <a:gd name="T29" fmla="*/ 28 h 30"/>
                <a:gd name="T30" fmla="*/ 9 w 91"/>
                <a:gd name="T31" fmla="*/ 29 h 30"/>
                <a:gd name="T32" fmla="*/ 13 w 91"/>
                <a:gd name="T33" fmla="*/ 30 h 30"/>
                <a:gd name="T34" fmla="*/ 16 w 91"/>
                <a:gd name="T35" fmla="*/ 30 h 30"/>
                <a:gd name="T36" fmla="*/ 76 w 91"/>
                <a:gd name="T37" fmla="*/ 30 h 30"/>
                <a:gd name="T38" fmla="*/ 78 w 91"/>
                <a:gd name="T39" fmla="*/ 30 h 30"/>
                <a:gd name="T40" fmla="*/ 81 w 91"/>
                <a:gd name="T41" fmla="*/ 29 h 30"/>
                <a:gd name="T42" fmla="*/ 83 w 91"/>
                <a:gd name="T43" fmla="*/ 28 h 30"/>
                <a:gd name="T44" fmla="*/ 87 w 91"/>
                <a:gd name="T45" fmla="*/ 26 h 30"/>
                <a:gd name="T46" fmla="*/ 88 w 91"/>
                <a:gd name="T47" fmla="*/ 24 h 30"/>
                <a:gd name="T48" fmla="*/ 90 w 91"/>
                <a:gd name="T49" fmla="*/ 21 h 30"/>
                <a:gd name="T50" fmla="*/ 90 w 91"/>
                <a:gd name="T51" fmla="*/ 18 h 30"/>
                <a:gd name="T52" fmla="*/ 91 w 91"/>
                <a:gd name="T53" fmla="*/ 15 h 30"/>
                <a:gd name="T54" fmla="*/ 90 w 91"/>
                <a:gd name="T55" fmla="*/ 12 h 30"/>
                <a:gd name="T56" fmla="*/ 90 w 91"/>
                <a:gd name="T57" fmla="*/ 10 h 30"/>
                <a:gd name="T58" fmla="*/ 88 w 91"/>
                <a:gd name="T59" fmla="*/ 6 h 30"/>
                <a:gd name="T60" fmla="*/ 87 w 91"/>
                <a:gd name="T61" fmla="*/ 4 h 30"/>
                <a:gd name="T62" fmla="*/ 83 w 91"/>
                <a:gd name="T63" fmla="*/ 2 h 30"/>
                <a:gd name="T64" fmla="*/ 81 w 91"/>
                <a:gd name="T65" fmla="*/ 1 h 30"/>
                <a:gd name="T66" fmla="*/ 78 w 91"/>
                <a:gd name="T67" fmla="*/ 0 h 30"/>
                <a:gd name="T68" fmla="*/ 76 w 91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91" h="30">
                  <a:moveTo>
                    <a:pt x="76" y="0"/>
                  </a:moveTo>
                  <a:lnTo>
                    <a:pt x="16" y="0"/>
                  </a:lnTo>
                  <a:lnTo>
                    <a:pt x="13" y="0"/>
                  </a:lnTo>
                  <a:lnTo>
                    <a:pt x="9" y="1"/>
                  </a:lnTo>
                  <a:lnTo>
                    <a:pt x="7" y="2"/>
                  </a:lnTo>
                  <a:lnTo>
                    <a:pt x="5" y="4"/>
                  </a:lnTo>
                  <a:lnTo>
                    <a:pt x="3" y="6"/>
                  </a:lnTo>
                  <a:lnTo>
                    <a:pt x="2" y="10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1" y="18"/>
                  </a:lnTo>
                  <a:lnTo>
                    <a:pt x="2" y="21"/>
                  </a:lnTo>
                  <a:lnTo>
                    <a:pt x="3" y="24"/>
                  </a:lnTo>
                  <a:lnTo>
                    <a:pt x="5" y="26"/>
                  </a:lnTo>
                  <a:lnTo>
                    <a:pt x="7" y="28"/>
                  </a:lnTo>
                  <a:lnTo>
                    <a:pt x="9" y="29"/>
                  </a:lnTo>
                  <a:lnTo>
                    <a:pt x="13" y="30"/>
                  </a:lnTo>
                  <a:lnTo>
                    <a:pt x="16" y="30"/>
                  </a:lnTo>
                  <a:lnTo>
                    <a:pt x="76" y="30"/>
                  </a:lnTo>
                  <a:lnTo>
                    <a:pt x="78" y="30"/>
                  </a:lnTo>
                  <a:lnTo>
                    <a:pt x="81" y="29"/>
                  </a:lnTo>
                  <a:lnTo>
                    <a:pt x="83" y="28"/>
                  </a:lnTo>
                  <a:lnTo>
                    <a:pt x="87" y="26"/>
                  </a:lnTo>
                  <a:lnTo>
                    <a:pt x="88" y="24"/>
                  </a:lnTo>
                  <a:lnTo>
                    <a:pt x="90" y="21"/>
                  </a:lnTo>
                  <a:lnTo>
                    <a:pt x="90" y="18"/>
                  </a:lnTo>
                  <a:lnTo>
                    <a:pt x="91" y="15"/>
                  </a:lnTo>
                  <a:lnTo>
                    <a:pt x="90" y="12"/>
                  </a:lnTo>
                  <a:lnTo>
                    <a:pt x="90" y="10"/>
                  </a:lnTo>
                  <a:lnTo>
                    <a:pt x="88" y="6"/>
                  </a:lnTo>
                  <a:lnTo>
                    <a:pt x="87" y="4"/>
                  </a:lnTo>
                  <a:lnTo>
                    <a:pt x="83" y="2"/>
                  </a:lnTo>
                  <a:lnTo>
                    <a:pt x="81" y="1"/>
                  </a:lnTo>
                  <a:lnTo>
                    <a:pt x="78" y="0"/>
                  </a:lnTo>
                  <a:lnTo>
                    <a:pt x="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371"/>
            <p:cNvSpPr>
              <a:spLocks/>
            </p:cNvSpPr>
            <p:nvPr/>
          </p:nvSpPr>
          <p:spPr bwMode="auto">
            <a:xfrm>
              <a:off x="8829676" y="1592263"/>
              <a:ext cx="28575" cy="9525"/>
            </a:xfrm>
            <a:custGeom>
              <a:avLst/>
              <a:gdLst>
                <a:gd name="T0" fmla="*/ 76 w 91"/>
                <a:gd name="T1" fmla="*/ 0 h 30"/>
                <a:gd name="T2" fmla="*/ 16 w 91"/>
                <a:gd name="T3" fmla="*/ 0 h 30"/>
                <a:gd name="T4" fmla="*/ 13 w 91"/>
                <a:gd name="T5" fmla="*/ 1 h 30"/>
                <a:gd name="T6" fmla="*/ 9 w 91"/>
                <a:gd name="T7" fmla="*/ 1 h 30"/>
                <a:gd name="T8" fmla="*/ 7 w 91"/>
                <a:gd name="T9" fmla="*/ 3 h 30"/>
                <a:gd name="T10" fmla="*/ 5 w 91"/>
                <a:gd name="T11" fmla="*/ 4 h 30"/>
                <a:gd name="T12" fmla="*/ 3 w 91"/>
                <a:gd name="T13" fmla="*/ 8 h 30"/>
                <a:gd name="T14" fmla="*/ 2 w 91"/>
                <a:gd name="T15" fmla="*/ 10 h 30"/>
                <a:gd name="T16" fmla="*/ 1 w 91"/>
                <a:gd name="T17" fmla="*/ 13 h 30"/>
                <a:gd name="T18" fmla="*/ 0 w 91"/>
                <a:gd name="T19" fmla="*/ 15 h 30"/>
                <a:gd name="T20" fmla="*/ 1 w 91"/>
                <a:gd name="T21" fmla="*/ 18 h 30"/>
                <a:gd name="T22" fmla="*/ 2 w 91"/>
                <a:gd name="T23" fmla="*/ 22 h 30"/>
                <a:gd name="T24" fmla="*/ 3 w 91"/>
                <a:gd name="T25" fmla="*/ 24 h 30"/>
                <a:gd name="T26" fmla="*/ 5 w 91"/>
                <a:gd name="T27" fmla="*/ 26 h 30"/>
                <a:gd name="T28" fmla="*/ 7 w 91"/>
                <a:gd name="T29" fmla="*/ 28 h 30"/>
                <a:gd name="T30" fmla="*/ 9 w 91"/>
                <a:gd name="T31" fmla="*/ 29 h 30"/>
                <a:gd name="T32" fmla="*/ 13 w 91"/>
                <a:gd name="T33" fmla="*/ 30 h 30"/>
                <a:gd name="T34" fmla="*/ 16 w 91"/>
                <a:gd name="T35" fmla="*/ 30 h 30"/>
                <a:gd name="T36" fmla="*/ 76 w 91"/>
                <a:gd name="T37" fmla="*/ 30 h 30"/>
                <a:gd name="T38" fmla="*/ 78 w 91"/>
                <a:gd name="T39" fmla="*/ 30 h 30"/>
                <a:gd name="T40" fmla="*/ 81 w 91"/>
                <a:gd name="T41" fmla="*/ 29 h 30"/>
                <a:gd name="T42" fmla="*/ 83 w 91"/>
                <a:gd name="T43" fmla="*/ 28 h 30"/>
                <a:gd name="T44" fmla="*/ 87 w 91"/>
                <a:gd name="T45" fmla="*/ 26 h 30"/>
                <a:gd name="T46" fmla="*/ 88 w 91"/>
                <a:gd name="T47" fmla="*/ 24 h 30"/>
                <a:gd name="T48" fmla="*/ 90 w 91"/>
                <a:gd name="T49" fmla="*/ 22 h 30"/>
                <a:gd name="T50" fmla="*/ 90 w 91"/>
                <a:gd name="T51" fmla="*/ 18 h 30"/>
                <a:gd name="T52" fmla="*/ 91 w 91"/>
                <a:gd name="T53" fmla="*/ 15 h 30"/>
                <a:gd name="T54" fmla="*/ 90 w 91"/>
                <a:gd name="T55" fmla="*/ 13 h 30"/>
                <a:gd name="T56" fmla="*/ 90 w 91"/>
                <a:gd name="T57" fmla="*/ 10 h 30"/>
                <a:gd name="T58" fmla="*/ 88 w 91"/>
                <a:gd name="T59" fmla="*/ 8 h 30"/>
                <a:gd name="T60" fmla="*/ 87 w 91"/>
                <a:gd name="T61" fmla="*/ 4 h 30"/>
                <a:gd name="T62" fmla="*/ 83 w 91"/>
                <a:gd name="T63" fmla="*/ 3 h 30"/>
                <a:gd name="T64" fmla="*/ 81 w 91"/>
                <a:gd name="T65" fmla="*/ 1 h 30"/>
                <a:gd name="T66" fmla="*/ 78 w 91"/>
                <a:gd name="T67" fmla="*/ 1 h 30"/>
                <a:gd name="T68" fmla="*/ 76 w 91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91" h="30">
                  <a:moveTo>
                    <a:pt x="76" y="0"/>
                  </a:moveTo>
                  <a:lnTo>
                    <a:pt x="16" y="0"/>
                  </a:lnTo>
                  <a:lnTo>
                    <a:pt x="13" y="1"/>
                  </a:lnTo>
                  <a:lnTo>
                    <a:pt x="9" y="1"/>
                  </a:lnTo>
                  <a:lnTo>
                    <a:pt x="7" y="3"/>
                  </a:lnTo>
                  <a:lnTo>
                    <a:pt x="5" y="4"/>
                  </a:lnTo>
                  <a:lnTo>
                    <a:pt x="3" y="8"/>
                  </a:lnTo>
                  <a:lnTo>
                    <a:pt x="2" y="10"/>
                  </a:lnTo>
                  <a:lnTo>
                    <a:pt x="1" y="13"/>
                  </a:lnTo>
                  <a:lnTo>
                    <a:pt x="0" y="15"/>
                  </a:lnTo>
                  <a:lnTo>
                    <a:pt x="1" y="18"/>
                  </a:lnTo>
                  <a:lnTo>
                    <a:pt x="2" y="22"/>
                  </a:lnTo>
                  <a:lnTo>
                    <a:pt x="3" y="24"/>
                  </a:lnTo>
                  <a:lnTo>
                    <a:pt x="5" y="26"/>
                  </a:lnTo>
                  <a:lnTo>
                    <a:pt x="7" y="28"/>
                  </a:lnTo>
                  <a:lnTo>
                    <a:pt x="9" y="29"/>
                  </a:lnTo>
                  <a:lnTo>
                    <a:pt x="13" y="30"/>
                  </a:lnTo>
                  <a:lnTo>
                    <a:pt x="16" y="30"/>
                  </a:lnTo>
                  <a:lnTo>
                    <a:pt x="76" y="30"/>
                  </a:lnTo>
                  <a:lnTo>
                    <a:pt x="78" y="30"/>
                  </a:lnTo>
                  <a:lnTo>
                    <a:pt x="81" y="29"/>
                  </a:lnTo>
                  <a:lnTo>
                    <a:pt x="83" y="28"/>
                  </a:lnTo>
                  <a:lnTo>
                    <a:pt x="87" y="26"/>
                  </a:lnTo>
                  <a:lnTo>
                    <a:pt x="88" y="24"/>
                  </a:lnTo>
                  <a:lnTo>
                    <a:pt x="90" y="22"/>
                  </a:lnTo>
                  <a:lnTo>
                    <a:pt x="90" y="18"/>
                  </a:lnTo>
                  <a:lnTo>
                    <a:pt x="91" y="15"/>
                  </a:lnTo>
                  <a:lnTo>
                    <a:pt x="90" y="13"/>
                  </a:lnTo>
                  <a:lnTo>
                    <a:pt x="90" y="10"/>
                  </a:lnTo>
                  <a:lnTo>
                    <a:pt x="88" y="8"/>
                  </a:lnTo>
                  <a:lnTo>
                    <a:pt x="87" y="4"/>
                  </a:lnTo>
                  <a:lnTo>
                    <a:pt x="83" y="3"/>
                  </a:lnTo>
                  <a:lnTo>
                    <a:pt x="81" y="1"/>
                  </a:lnTo>
                  <a:lnTo>
                    <a:pt x="78" y="1"/>
                  </a:lnTo>
                  <a:lnTo>
                    <a:pt x="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372"/>
            <p:cNvSpPr>
              <a:spLocks/>
            </p:cNvSpPr>
            <p:nvPr/>
          </p:nvSpPr>
          <p:spPr bwMode="auto">
            <a:xfrm>
              <a:off x="8901113" y="1563688"/>
              <a:ext cx="28575" cy="9525"/>
            </a:xfrm>
            <a:custGeom>
              <a:avLst/>
              <a:gdLst>
                <a:gd name="T0" fmla="*/ 75 w 90"/>
                <a:gd name="T1" fmla="*/ 0 h 30"/>
                <a:gd name="T2" fmla="*/ 15 w 90"/>
                <a:gd name="T3" fmla="*/ 0 h 30"/>
                <a:gd name="T4" fmla="*/ 12 w 90"/>
                <a:gd name="T5" fmla="*/ 0 h 30"/>
                <a:gd name="T6" fmla="*/ 10 w 90"/>
                <a:gd name="T7" fmla="*/ 1 h 30"/>
                <a:gd name="T8" fmla="*/ 6 w 90"/>
                <a:gd name="T9" fmla="*/ 2 h 30"/>
                <a:gd name="T10" fmla="*/ 4 w 90"/>
                <a:gd name="T11" fmla="*/ 4 h 30"/>
                <a:gd name="T12" fmla="*/ 2 w 90"/>
                <a:gd name="T13" fmla="*/ 6 h 30"/>
                <a:gd name="T14" fmla="*/ 1 w 90"/>
                <a:gd name="T15" fmla="*/ 10 h 30"/>
                <a:gd name="T16" fmla="*/ 0 w 90"/>
                <a:gd name="T17" fmla="*/ 12 h 30"/>
                <a:gd name="T18" fmla="*/ 0 w 90"/>
                <a:gd name="T19" fmla="*/ 15 h 30"/>
                <a:gd name="T20" fmla="*/ 0 w 90"/>
                <a:gd name="T21" fmla="*/ 18 h 30"/>
                <a:gd name="T22" fmla="*/ 1 w 90"/>
                <a:gd name="T23" fmla="*/ 21 h 30"/>
                <a:gd name="T24" fmla="*/ 2 w 90"/>
                <a:gd name="T25" fmla="*/ 24 h 30"/>
                <a:gd name="T26" fmla="*/ 4 w 90"/>
                <a:gd name="T27" fmla="*/ 26 h 30"/>
                <a:gd name="T28" fmla="*/ 6 w 90"/>
                <a:gd name="T29" fmla="*/ 28 h 30"/>
                <a:gd name="T30" fmla="*/ 10 w 90"/>
                <a:gd name="T31" fmla="*/ 29 h 30"/>
                <a:gd name="T32" fmla="*/ 12 w 90"/>
                <a:gd name="T33" fmla="*/ 30 h 30"/>
                <a:gd name="T34" fmla="*/ 15 w 90"/>
                <a:gd name="T35" fmla="*/ 30 h 30"/>
                <a:gd name="T36" fmla="*/ 75 w 90"/>
                <a:gd name="T37" fmla="*/ 30 h 30"/>
                <a:gd name="T38" fmla="*/ 78 w 90"/>
                <a:gd name="T39" fmla="*/ 30 h 30"/>
                <a:gd name="T40" fmla="*/ 82 w 90"/>
                <a:gd name="T41" fmla="*/ 29 h 30"/>
                <a:gd name="T42" fmla="*/ 84 w 90"/>
                <a:gd name="T43" fmla="*/ 28 h 30"/>
                <a:gd name="T44" fmla="*/ 86 w 90"/>
                <a:gd name="T45" fmla="*/ 26 h 30"/>
                <a:gd name="T46" fmla="*/ 88 w 90"/>
                <a:gd name="T47" fmla="*/ 24 h 30"/>
                <a:gd name="T48" fmla="*/ 89 w 90"/>
                <a:gd name="T49" fmla="*/ 21 h 30"/>
                <a:gd name="T50" fmla="*/ 90 w 90"/>
                <a:gd name="T51" fmla="*/ 18 h 30"/>
                <a:gd name="T52" fmla="*/ 90 w 90"/>
                <a:gd name="T53" fmla="*/ 15 h 30"/>
                <a:gd name="T54" fmla="*/ 90 w 90"/>
                <a:gd name="T55" fmla="*/ 12 h 30"/>
                <a:gd name="T56" fmla="*/ 89 w 90"/>
                <a:gd name="T57" fmla="*/ 10 h 30"/>
                <a:gd name="T58" fmla="*/ 88 w 90"/>
                <a:gd name="T59" fmla="*/ 6 h 30"/>
                <a:gd name="T60" fmla="*/ 86 w 90"/>
                <a:gd name="T61" fmla="*/ 4 h 30"/>
                <a:gd name="T62" fmla="*/ 84 w 90"/>
                <a:gd name="T63" fmla="*/ 2 h 30"/>
                <a:gd name="T64" fmla="*/ 82 w 90"/>
                <a:gd name="T65" fmla="*/ 1 h 30"/>
                <a:gd name="T66" fmla="*/ 78 w 90"/>
                <a:gd name="T67" fmla="*/ 0 h 30"/>
                <a:gd name="T68" fmla="*/ 75 w 90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90" h="30">
                  <a:moveTo>
                    <a:pt x="75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10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1"/>
                  </a:lnTo>
                  <a:lnTo>
                    <a:pt x="2" y="24"/>
                  </a:lnTo>
                  <a:lnTo>
                    <a:pt x="4" y="26"/>
                  </a:lnTo>
                  <a:lnTo>
                    <a:pt x="6" y="28"/>
                  </a:lnTo>
                  <a:lnTo>
                    <a:pt x="10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75" y="30"/>
                  </a:lnTo>
                  <a:lnTo>
                    <a:pt x="78" y="30"/>
                  </a:lnTo>
                  <a:lnTo>
                    <a:pt x="82" y="29"/>
                  </a:lnTo>
                  <a:lnTo>
                    <a:pt x="84" y="28"/>
                  </a:lnTo>
                  <a:lnTo>
                    <a:pt x="86" y="26"/>
                  </a:lnTo>
                  <a:lnTo>
                    <a:pt x="88" y="24"/>
                  </a:lnTo>
                  <a:lnTo>
                    <a:pt x="89" y="21"/>
                  </a:lnTo>
                  <a:lnTo>
                    <a:pt x="90" y="18"/>
                  </a:lnTo>
                  <a:lnTo>
                    <a:pt x="90" y="15"/>
                  </a:lnTo>
                  <a:lnTo>
                    <a:pt x="90" y="12"/>
                  </a:lnTo>
                  <a:lnTo>
                    <a:pt x="89" y="10"/>
                  </a:lnTo>
                  <a:lnTo>
                    <a:pt x="88" y="6"/>
                  </a:lnTo>
                  <a:lnTo>
                    <a:pt x="86" y="4"/>
                  </a:lnTo>
                  <a:lnTo>
                    <a:pt x="84" y="2"/>
                  </a:lnTo>
                  <a:lnTo>
                    <a:pt x="82" y="1"/>
                  </a:lnTo>
                  <a:lnTo>
                    <a:pt x="78" y="0"/>
                  </a:lnTo>
                  <a:lnTo>
                    <a:pt x="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373"/>
            <p:cNvSpPr>
              <a:spLocks/>
            </p:cNvSpPr>
            <p:nvPr/>
          </p:nvSpPr>
          <p:spPr bwMode="auto">
            <a:xfrm>
              <a:off x="8901113" y="1592263"/>
              <a:ext cx="28575" cy="9525"/>
            </a:xfrm>
            <a:custGeom>
              <a:avLst/>
              <a:gdLst>
                <a:gd name="T0" fmla="*/ 75 w 90"/>
                <a:gd name="T1" fmla="*/ 0 h 30"/>
                <a:gd name="T2" fmla="*/ 15 w 90"/>
                <a:gd name="T3" fmla="*/ 0 h 30"/>
                <a:gd name="T4" fmla="*/ 12 w 90"/>
                <a:gd name="T5" fmla="*/ 1 h 30"/>
                <a:gd name="T6" fmla="*/ 10 w 90"/>
                <a:gd name="T7" fmla="*/ 1 h 30"/>
                <a:gd name="T8" fmla="*/ 6 w 90"/>
                <a:gd name="T9" fmla="*/ 3 h 30"/>
                <a:gd name="T10" fmla="*/ 4 w 90"/>
                <a:gd name="T11" fmla="*/ 4 h 30"/>
                <a:gd name="T12" fmla="*/ 2 w 90"/>
                <a:gd name="T13" fmla="*/ 8 h 30"/>
                <a:gd name="T14" fmla="*/ 1 w 90"/>
                <a:gd name="T15" fmla="*/ 10 h 30"/>
                <a:gd name="T16" fmla="*/ 0 w 90"/>
                <a:gd name="T17" fmla="*/ 13 h 30"/>
                <a:gd name="T18" fmla="*/ 0 w 90"/>
                <a:gd name="T19" fmla="*/ 15 h 30"/>
                <a:gd name="T20" fmla="*/ 0 w 90"/>
                <a:gd name="T21" fmla="*/ 18 h 30"/>
                <a:gd name="T22" fmla="*/ 1 w 90"/>
                <a:gd name="T23" fmla="*/ 22 h 30"/>
                <a:gd name="T24" fmla="*/ 2 w 90"/>
                <a:gd name="T25" fmla="*/ 24 h 30"/>
                <a:gd name="T26" fmla="*/ 4 w 90"/>
                <a:gd name="T27" fmla="*/ 26 h 30"/>
                <a:gd name="T28" fmla="*/ 6 w 90"/>
                <a:gd name="T29" fmla="*/ 28 h 30"/>
                <a:gd name="T30" fmla="*/ 10 w 90"/>
                <a:gd name="T31" fmla="*/ 29 h 30"/>
                <a:gd name="T32" fmla="*/ 12 w 90"/>
                <a:gd name="T33" fmla="*/ 30 h 30"/>
                <a:gd name="T34" fmla="*/ 15 w 90"/>
                <a:gd name="T35" fmla="*/ 30 h 30"/>
                <a:gd name="T36" fmla="*/ 75 w 90"/>
                <a:gd name="T37" fmla="*/ 30 h 30"/>
                <a:gd name="T38" fmla="*/ 78 w 90"/>
                <a:gd name="T39" fmla="*/ 30 h 30"/>
                <a:gd name="T40" fmla="*/ 82 w 90"/>
                <a:gd name="T41" fmla="*/ 29 h 30"/>
                <a:gd name="T42" fmla="*/ 84 w 90"/>
                <a:gd name="T43" fmla="*/ 28 h 30"/>
                <a:gd name="T44" fmla="*/ 86 w 90"/>
                <a:gd name="T45" fmla="*/ 26 h 30"/>
                <a:gd name="T46" fmla="*/ 88 w 90"/>
                <a:gd name="T47" fmla="*/ 24 h 30"/>
                <a:gd name="T48" fmla="*/ 89 w 90"/>
                <a:gd name="T49" fmla="*/ 22 h 30"/>
                <a:gd name="T50" fmla="*/ 90 w 90"/>
                <a:gd name="T51" fmla="*/ 18 h 30"/>
                <a:gd name="T52" fmla="*/ 90 w 90"/>
                <a:gd name="T53" fmla="*/ 15 h 30"/>
                <a:gd name="T54" fmla="*/ 90 w 90"/>
                <a:gd name="T55" fmla="*/ 13 h 30"/>
                <a:gd name="T56" fmla="*/ 89 w 90"/>
                <a:gd name="T57" fmla="*/ 10 h 30"/>
                <a:gd name="T58" fmla="*/ 88 w 90"/>
                <a:gd name="T59" fmla="*/ 8 h 30"/>
                <a:gd name="T60" fmla="*/ 86 w 90"/>
                <a:gd name="T61" fmla="*/ 4 h 30"/>
                <a:gd name="T62" fmla="*/ 84 w 90"/>
                <a:gd name="T63" fmla="*/ 3 h 30"/>
                <a:gd name="T64" fmla="*/ 82 w 90"/>
                <a:gd name="T65" fmla="*/ 1 h 30"/>
                <a:gd name="T66" fmla="*/ 78 w 90"/>
                <a:gd name="T67" fmla="*/ 1 h 30"/>
                <a:gd name="T68" fmla="*/ 75 w 90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90" h="30">
                  <a:moveTo>
                    <a:pt x="75" y="0"/>
                  </a:moveTo>
                  <a:lnTo>
                    <a:pt x="15" y="0"/>
                  </a:lnTo>
                  <a:lnTo>
                    <a:pt x="12" y="1"/>
                  </a:lnTo>
                  <a:lnTo>
                    <a:pt x="10" y="1"/>
                  </a:lnTo>
                  <a:lnTo>
                    <a:pt x="6" y="3"/>
                  </a:lnTo>
                  <a:lnTo>
                    <a:pt x="4" y="4"/>
                  </a:lnTo>
                  <a:lnTo>
                    <a:pt x="2" y="8"/>
                  </a:lnTo>
                  <a:lnTo>
                    <a:pt x="1" y="10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2"/>
                  </a:lnTo>
                  <a:lnTo>
                    <a:pt x="2" y="24"/>
                  </a:lnTo>
                  <a:lnTo>
                    <a:pt x="4" y="26"/>
                  </a:lnTo>
                  <a:lnTo>
                    <a:pt x="6" y="28"/>
                  </a:lnTo>
                  <a:lnTo>
                    <a:pt x="10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75" y="30"/>
                  </a:lnTo>
                  <a:lnTo>
                    <a:pt x="78" y="30"/>
                  </a:lnTo>
                  <a:lnTo>
                    <a:pt x="82" y="29"/>
                  </a:lnTo>
                  <a:lnTo>
                    <a:pt x="84" y="28"/>
                  </a:lnTo>
                  <a:lnTo>
                    <a:pt x="86" y="26"/>
                  </a:lnTo>
                  <a:lnTo>
                    <a:pt x="88" y="24"/>
                  </a:lnTo>
                  <a:lnTo>
                    <a:pt x="89" y="22"/>
                  </a:lnTo>
                  <a:lnTo>
                    <a:pt x="90" y="18"/>
                  </a:lnTo>
                  <a:lnTo>
                    <a:pt x="90" y="15"/>
                  </a:lnTo>
                  <a:lnTo>
                    <a:pt x="90" y="13"/>
                  </a:lnTo>
                  <a:lnTo>
                    <a:pt x="89" y="10"/>
                  </a:lnTo>
                  <a:lnTo>
                    <a:pt x="88" y="8"/>
                  </a:lnTo>
                  <a:lnTo>
                    <a:pt x="86" y="4"/>
                  </a:lnTo>
                  <a:lnTo>
                    <a:pt x="84" y="3"/>
                  </a:lnTo>
                  <a:lnTo>
                    <a:pt x="82" y="1"/>
                  </a:lnTo>
                  <a:lnTo>
                    <a:pt x="78" y="1"/>
                  </a:lnTo>
                  <a:lnTo>
                    <a:pt x="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374"/>
            <p:cNvSpPr>
              <a:spLocks/>
            </p:cNvSpPr>
            <p:nvPr/>
          </p:nvSpPr>
          <p:spPr bwMode="auto">
            <a:xfrm>
              <a:off x="8974138" y="1563688"/>
              <a:ext cx="28575" cy="9525"/>
            </a:xfrm>
            <a:custGeom>
              <a:avLst/>
              <a:gdLst>
                <a:gd name="T0" fmla="*/ 15 w 90"/>
                <a:gd name="T1" fmla="*/ 30 h 30"/>
                <a:gd name="T2" fmla="*/ 75 w 90"/>
                <a:gd name="T3" fmla="*/ 30 h 30"/>
                <a:gd name="T4" fmla="*/ 79 w 90"/>
                <a:gd name="T5" fmla="*/ 30 h 30"/>
                <a:gd name="T6" fmla="*/ 81 w 90"/>
                <a:gd name="T7" fmla="*/ 29 h 30"/>
                <a:gd name="T8" fmla="*/ 84 w 90"/>
                <a:gd name="T9" fmla="*/ 28 h 30"/>
                <a:gd name="T10" fmla="*/ 86 w 90"/>
                <a:gd name="T11" fmla="*/ 26 h 30"/>
                <a:gd name="T12" fmla="*/ 87 w 90"/>
                <a:gd name="T13" fmla="*/ 24 h 30"/>
                <a:gd name="T14" fmla="*/ 89 w 90"/>
                <a:gd name="T15" fmla="*/ 21 h 30"/>
                <a:gd name="T16" fmla="*/ 89 w 90"/>
                <a:gd name="T17" fmla="*/ 18 h 30"/>
                <a:gd name="T18" fmla="*/ 90 w 90"/>
                <a:gd name="T19" fmla="*/ 15 h 30"/>
                <a:gd name="T20" fmla="*/ 89 w 90"/>
                <a:gd name="T21" fmla="*/ 12 h 30"/>
                <a:gd name="T22" fmla="*/ 89 w 90"/>
                <a:gd name="T23" fmla="*/ 10 h 30"/>
                <a:gd name="T24" fmla="*/ 87 w 90"/>
                <a:gd name="T25" fmla="*/ 6 h 30"/>
                <a:gd name="T26" fmla="*/ 86 w 90"/>
                <a:gd name="T27" fmla="*/ 4 h 30"/>
                <a:gd name="T28" fmla="*/ 84 w 90"/>
                <a:gd name="T29" fmla="*/ 3 h 30"/>
                <a:gd name="T30" fmla="*/ 81 w 90"/>
                <a:gd name="T31" fmla="*/ 1 h 30"/>
                <a:gd name="T32" fmla="*/ 79 w 90"/>
                <a:gd name="T33" fmla="*/ 0 h 30"/>
                <a:gd name="T34" fmla="*/ 75 w 90"/>
                <a:gd name="T35" fmla="*/ 0 h 30"/>
                <a:gd name="T36" fmla="*/ 15 w 90"/>
                <a:gd name="T37" fmla="*/ 0 h 30"/>
                <a:gd name="T38" fmla="*/ 12 w 90"/>
                <a:gd name="T39" fmla="*/ 0 h 30"/>
                <a:gd name="T40" fmla="*/ 9 w 90"/>
                <a:gd name="T41" fmla="*/ 1 h 30"/>
                <a:gd name="T42" fmla="*/ 7 w 90"/>
                <a:gd name="T43" fmla="*/ 2 h 30"/>
                <a:gd name="T44" fmla="*/ 5 w 90"/>
                <a:gd name="T45" fmla="*/ 4 h 30"/>
                <a:gd name="T46" fmla="*/ 2 w 90"/>
                <a:gd name="T47" fmla="*/ 6 h 30"/>
                <a:gd name="T48" fmla="*/ 1 w 90"/>
                <a:gd name="T49" fmla="*/ 10 h 30"/>
                <a:gd name="T50" fmla="*/ 0 w 90"/>
                <a:gd name="T51" fmla="*/ 12 h 30"/>
                <a:gd name="T52" fmla="*/ 0 w 90"/>
                <a:gd name="T53" fmla="*/ 15 h 30"/>
                <a:gd name="T54" fmla="*/ 0 w 90"/>
                <a:gd name="T55" fmla="*/ 18 h 30"/>
                <a:gd name="T56" fmla="*/ 1 w 90"/>
                <a:gd name="T57" fmla="*/ 21 h 30"/>
                <a:gd name="T58" fmla="*/ 2 w 90"/>
                <a:gd name="T59" fmla="*/ 24 h 30"/>
                <a:gd name="T60" fmla="*/ 5 w 90"/>
                <a:gd name="T61" fmla="*/ 26 h 30"/>
                <a:gd name="T62" fmla="*/ 7 w 90"/>
                <a:gd name="T63" fmla="*/ 28 h 30"/>
                <a:gd name="T64" fmla="*/ 9 w 90"/>
                <a:gd name="T65" fmla="*/ 29 h 30"/>
                <a:gd name="T66" fmla="*/ 12 w 90"/>
                <a:gd name="T67" fmla="*/ 30 h 30"/>
                <a:gd name="T68" fmla="*/ 15 w 90"/>
                <a:gd name="T69" fmla="*/ 30 h 30"/>
                <a:gd name="T70" fmla="*/ 15 w 90"/>
                <a:gd name="T7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0" h="30">
                  <a:moveTo>
                    <a:pt x="15" y="30"/>
                  </a:moveTo>
                  <a:lnTo>
                    <a:pt x="75" y="30"/>
                  </a:lnTo>
                  <a:lnTo>
                    <a:pt x="79" y="30"/>
                  </a:lnTo>
                  <a:lnTo>
                    <a:pt x="81" y="29"/>
                  </a:lnTo>
                  <a:lnTo>
                    <a:pt x="84" y="28"/>
                  </a:lnTo>
                  <a:lnTo>
                    <a:pt x="86" y="26"/>
                  </a:lnTo>
                  <a:lnTo>
                    <a:pt x="87" y="24"/>
                  </a:lnTo>
                  <a:lnTo>
                    <a:pt x="89" y="21"/>
                  </a:lnTo>
                  <a:lnTo>
                    <a:pt x="89" y="18"/>
                  </a:lnTo>
                  <a:lnTo>
                    <a:pt x="90" y="15"/>
                  </a:lnTo>
                  <a:lnTo>
                    <a:pt x="89" y="12"/>
                  </a:lnTo>
                  <a:lnTo>
                    <a:pt x="89" y="10"/>
                  </a:lnTo>
                  <a:lnTo>
                    <a:pt x="87" y="6"/>
                  </a:lnTo>
                  <a:lnTo>
                    <a:pt x="86" y="4"/>
                  </a:lnTo>
                  <a:lnTo>
                    <a:pt x="84" y="3"/>
                  </a:lnTo>
                  <a:lnTo>
                    <a:pt x="81" y="1"/>
                  </a:lnTo>
                  <a:lnTo>
                    <a:pt x="79" y="0"/>
                  </a:lnTo>
                  <a:lnTo>
                    <a:pt x="75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9" y="1"/>
                  </a:lnTo>
                  <a:lnTo>
                    <a:pt x="7" y="2"/>
                  </a:lnTo>
                  <a:lnTo>
                    <a:pt x="5" y="4"/>
                  </a:lnTo>
                  <a:lnTo>
                    <a:pt x="2" y="6"/>
                  </a:lnTo>
                  <a:lnTo>
                    <a:pt x="1" y="10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1"/>
                  </a:lnTo>
                  <a:lnTo>
                    <a:pt x="2" y="24"/>
                  </a:lnTo>
                  <a:lnTo>
                    <a:pt x="5" y="26"/>
                  </a:lnTo>
                  <a:lnTo>
                    <a:pt x="7" y="28"/>
                  </a:lnTo>
                  <a:lnTo>
                    <a:pt x="9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15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375"/>
            <p:cNvSpPr>
              <a:spLocks/>
            </p:cNvSpPr>
            <p:nvPr/>
          </p:nvSpPr>
          <p:spPr bwMode="auto">
            <a:xfrm>
              <a:off x="8974138" y="1592263"/>
              <a:ext cx="28575" cy="9525"/>
            </a:xfrm>
            <a:custGeom>
              <a:avLst/>
              <a:gdLst>
                <a:gd name="T0" fmla="*/ 15 w 90"/>
                <a:gd name="T1" fmla="*/ 30 h 30"/>
                <a:gd name="T2" fmla="*/ 75 w 90"/>
                <a:gd name="T3" fmla="*/ 30 h 30"/>
                <a:gd name="T4" fmla="*/ 79 w 90"/>
                <a:gd name="T5" fmla="*/ 30 h 30"/>
                <a:gd name="T6" fmla="*/ 81 w 90"/>
                <a:gd name="T7" fmla="*/ 29 h 30"/>
                <a:gd name="T8" fmla="*/ 84 w 90"/>
                <a:gd name="T9" fmla="*/ 28 h 30"/>
                <a:gd name="T10" fmla="*/ 86 w 90"/>
                <a:gd name="T11" fmla="*/ 26 h 30"/>
                <a:gd name="T12" fmla="*/ 87 w 90"/>
                <a:gd name="T13" fmla="*/ 24 h 30"/>
                <a:gd name="T14" fmla="*/ 89 w 90"/>
                <a:gd name="T15" fmla="*/ 22 h 30"/>
                <a:gd name="T16" fmla="*/ 89 w 90"/>
                <a:gd name="T17" fmla="*/ 18 h 30"/>
                <a:gd name="T18" fmla="*/ 90 w 90"/>
                <a:gd name="T19" fmla="*/ 15 h 30"/>
                <a:gd name="T20" fmla="*/ 89 w 90"/>
                <a:gd name="T21" fmla="*/ 13 h 30"/>
                <a:gd name="T22" fmla="*/ 89 w 90"/>
                <a:gd name="T23" fmla="*/ 10 h 30"/>
                <a:gd name="T24" fmla="*/ 87 w 90"/>
                <a:gd name="T25" fmla="*/ 8 h 30"/>
                <a:gd name="T26" fmla="*/ 86 w 90"/>
                <a:gd name="T27" fmla="*/ 4 h 30"/>
                <a:gd name="T28" fmla="*/ 84 w 90"/>
                <a:gd name="T29" fmla="*/ 3 h 30"/>
                <a:gd name="T30" fmla="*/ 81 w 90"/>
                <a:gd name="T31" fmla="*/ 1 h 30"/>
                <a:gd name="T32" fmla="*/ 79 w 90"/>
                <a:gd name="T33" fmla="*/ 1 h 30"/>
                <a:gd name="T34" fmla="*/ 75 w 90"/>
                <a:gd name="T35" fmla="*/ 0 h 30"/>
                <a:gd name="T36" fmla="*/ 15 w 90"/>
                <a:gd name="T37" fmla="*/ 0 h 30"/>
                <a:gd name="T38" fmla="*/ 12 w 90"/>
                <a:gd name="T39" fmla="*/ 1 h 30"/>
                <a:gd name="T40" fmla="*/ 9 w 90"/>
                <a:gd name="T41" fmla="*/ 1 h 30"/>
                <a:gd name="T42" fmla="*/ 7 w 90"/>
                <a:gd name="T43" fmla="*/ 3 h 30"/>
                <a:gd name="T44" fmla="*/ 5 w 90"/>
                <a:gd name="T45" fmla="*/ 4 h 30"/>
                <a:gd name="T46" fmla="*/ 2 w 90"/>
                <a:gd name="T47" fmla="*/ 8 h 30"/>
                <a:gd name="T48" fmla="*/ 1 w 90"/>
                <a:gd name="T49" fmla="*/ 10 h 30"/>
                <a:gd name="T50" fmla="*/ 0 w 90"/>
                <a:gd name="T51" fmla="*/ 13 h 30"/>
                <a:gd name="T52" fmla="*/ 0 w 90"/>
                <a:gd name="T53" fmla="*/ 15 h 30"/>
                <a:gd name="T54" fmla="*/ 0 w 90"/>
                <a:gd name="T55" fmla="*/ 18 h 30"/>
                <a:gd name="T56" fmla="*/ 1 w 90"/>
                <a:gd name="T57" fmla="*/ 22 h 30"/>
                <a:gd name="T58" fmla="*/ 2 w 90"/>
                <a:gd name="T59" fmla="*/ 24 h 30"/>
                <a:gd name="T60" fmla="*/ 5 w 90"/>
                <a:gd name="T61" fmla="*/ 26 h 30"/>
                <a:gd name="T62" fmla="*/ 7 w 90"/>
                <a:gd name="T63" fmla="*/ 28 h 30"/>
                <a:gd name="T64" fmla="*/ 9 w 90"/>
                <a:gd name="T65" fmla="*/ 29 h 30"/>
                <a:gd name="T66" fmla="*/ 12 w 90"/>
                <a:gd name="T67" fmla="*/ 30 h 30"/>
                <a:gd name="T68" fmla="*/ 15 w 90"/>
                <a:gd name="T69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90" h="30">
                  <a:moveTo>
                    <a:pt x="15" y="30"/>
                  </a:moveTo>
                  <a:lnTo>
                    <a:pt x="75" y="30"/>
                  </a:lnTo>
                  <a:lnTo>
                    <a:pt x="79" y="30"/>
                  </a:lnTo>
                  <a:lnTo>
                    <a:pt x="81" y="29"/>
                  </a:lnTo>
                  <a:lnTo>
                    <a:pt x="84" y="28"/>
                  </a:lnTo>
                  <a:lnTo>
                    <a:pt x="86" y="26"/>
                  </a:lnTo>
                  <a:lnTo>
                    <a:pt x="87" y="24"/>
                  </a:lnTo>
                  <a:lnTo>
                    <a:pt x="89" y="22"/>
                  </a:lnTo>
                  <a:lnTo>
                    <a:pt x="89" y="18"/>
                  </a:lnTo>
                  <a:lnTo>
                    <a:pt x="90" y="15"/>
                  </a:lnTo>
                  <a:lnTo>
                    <a:pt x="89" y="13"/>
                  </a:lnTo>
                  <a:lnTo>
                    <a:pt x="89" y="10"/>
                  </a:lnTo>
                  <a:lnTo>
                    <a:pt x="87" y="8"/>
                  </a:lnTo>
                  <a:lnTo>
                    <a:pt x="86" y="4"/>
                  </a:lnTo>
                  <a:lnTo>
                    <a:pt x="84" y="3"/>
                  </a:lnTo>
                  <a:lnTo>
                    <a:pt x="81" y="1"/>
                  </a:lnTo>
                  <a:lnTo>
                    <a:pt x="79" y="1"/>
                  </a:lnTo>
                  <a:lnTo>
                    <a:pt x="75" y="0"/>
                  </a:lnTo>
                  <a:lnTo>
                    <a:pt x="15" y="0"/>
                  </a:lnTo>
                  <a:lnTo>
                    <a:pt x="12" y="1"/>
                  </a:lnTo>
                  <a:lnTo>
                    <a:pt x="9" y="1"/>
                  </a:lnTo>
                  <a:lnTo>
                    <a:pt x="7" y="3"/>
                  </a:lnTo>
                  <a:lnTo>
                    <a:pt x="5" y="4"/>
                  </a:lnTo>
                  <a:lnTo>
                    <a:pt x="2" y="8"/>
                  </a:lnTo>
                  <a:lnTo>
                    <a:pt x="1" y="10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2"/>
                  </a:lnTo>
                  <a:lnTo>
                    <a:pt x="2" y="24"/>
                  </a:lnTo>
                  <a:lnTo>
                    <a:pt x="5" y="26"/>
                  </a:lnTo>
                  <a:lnTo>
                    <a:pt x="7" y="28"/>
                  </a:lnTo>
                  <a:lnTo>
                    <a:pt x="9" y="29"/>
                  </a:lnTo>
                  <a:lnTo>
                    <a:pt x="12" y="30"/>
                  </a:lnTo>
                  <a:lnTo>
                    <a:pt x="15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376"/>
            <p:cNvSpPr>
              <a:spLocks noEditPoints="1"/>
            </p:cNvSpPr>
            <p:nvPr/>
          </p:nvSpPr>
          <p:spPr bwMode="auto">
            <a:xfrm>
              <a:off x="8743951" y="1401763"/>
              <a:ext cx="287338" cy="228600"/>
            </a:xfrm>
            <a:custGeom>
              <a:avLst/>
              <a:gdLst>
                <a:gd name="T0" fmla="*/ 873 w 903"/>
                <a:gd name="T1" fmla="*/ 692 h 722"/>
                <a:gd name="T2" fmla="*/ 30 w 903"/>
                <a:gd name="T3" fmla="*/ 692 h 722"/>
                <a:gd name="T4" fmla="*/ 30 w 903"/>
                <a:gd name="T5" fmla="*/ 394 h 722"/>
                <a:gd name="T6" fmla="*/ 86 w 903"/>
                <a:gd name="T7" fmla="*/ 30 h 722"/>
                <a:gd name="T8" fmla="*/ 126 w 903"/>
                <a:gd name="T9" fmla="*/ 30 h 722"/>
                <a:gd name="T10" fmla="*/ 197 w 903"/>
                <a:gd name="T11" fmla="*/ 397 h 722"/>
                <a:gd name="T12" fmla="*/ 205 w 903"/>
                <a:gd name="T13" fmla="*/ 442 h 722"/>
                <a:gd name="T14" fmla="*/ 243 w 903"/>
                <a:gd name="T15" fmla="*/ 417 h 722"/>
                <a:gd name="T16" fmla="*/ 422 w 903"/>
                <a:gd name="T17" fmla="*/ 297 h 722"/>
                <a:gd name="T18" fmla="*/ 422 w 903"/>
                <a:gd name="T19" fmla="*/ 392 h 722"/>
                <a:gd name="T20" fmla="*/ 422 w 903"/>
                <a:gd name="T21" fmla="*/ 448 h 722"/>
                <a:gd name="T22" fmla="*/ 468 w 903"/>
                <a:gd name="T23" fmla="*/ 417 h 722"/>
                <a:gd name="T24" fmla="*/ 647 w 903"/>
                <a:gd name="T25" fmla="*/ 297 h 722"/>
                <a:gd name="T26" fmla="*/ 647 w 903"/>
                <a:gd name="T27" fmla="*/ 392 h 722"/>
                <a:gd name="T28" fmla="*/ 647 w 903"/>
                <a:gd name="T29" fmla="*/ 448 h 722"/>
                <a:gd name="T30" fmla="*/ 694 w 903"/>
                <a:gd name="T31" fmla="*/ 417 h 722"/>
                <a:gd name="T32" fmla="*/ 873 w 903"/>
                <a:gd name="T33" fmla="*/ 297 h 722"/>
                <a:gd name="T34" fmla="*/ 873 w 903"/>
                <a:gd name="T35" fmla="*/ 692 h 722"/>
                <a:gd name="T36" fmla="*/ 677 w 903"/>
                <a:gd name="T37" fmla="*/ 392 h 722"/>
                <a:gd name="T38" fmla="*/ 677 w 903"/>
                <a:gd name="T39" fmla="*/ 241 h 722"/>
                <a:gd name="T40" fmla="*/ 452 w 903"/>
                <a:gd name="T41" fmla="*/ 392 h 722"/>
                <a:gd name="T42" fmla="*/ 452 w 903"/>
                <a:gd name="T43" fmla="*/ 241 h 722"/>
                <a:gd name="T44" fmla="*/ 226 w 903"/>
                <a:gd name="T45" fmla="*/ 392 h 722"/>
                <a:gd name="T46" fmla="*/ 151 w 903"/>
                <a:gd name="T47" fmla="*/ 0 h 722"/>
                <a:gd name="T48" fmla="*/ 60 w 903"/>
                <a:gd name="T49" fmla="*/ 0 h 722"/>
                <a:gd name="T50" fmla="*/ 0 w 903"/>
                <a:gd name="T51" fmla="*/ 392 h 722"/>
                <a:gd name="T52" fmla="*/ 0 w 903"/>
                <a:gd name="T53" fmla="*/ 722 h 722"/>
                <a:gd name="T54" fmla="*/ 903 w 903"/>
                <a:gd name="T55" fmla="*/ 722 h 722"/>
                <a:gd name="T56" fmla="*/ 903 w 903"/>
                <a:gd name="T57" fmla="*/ 241 h 722"/>
                <a:gd name="T58" fmla="*/ 677 w 903"/>
                <a:gd name="T59" fmla="*/ 392 h 7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903" h="722">
                  <a:moveTo>
                    <a:pt x="873" y="692"/>
                  </a:moveTo>
                  <a:lnTo>
                    <a:pt x="30" y="692"/>
                  </a:lnTo>
                  <a:lnTo>
                    <a:pt x="30" y="394"/>
                  </a:lnTo>
                  <a:lnTo>
                    <a:pt x="86" y="30"/>
                  </a:lnTo>
                  <a:lnTo>
                    <a:pt x="126" y="30"/>
                  </a:lnTo>
                  <a:lnTo>
                    <a:pt x="197" y="397"/>
                  </a:lnTo>
                  <a:lnTo>
                    <a:pt x="205" y="442"/>
                  </a:lnTo>
                  <a:lnTo>
                    <a:pt x="243" y="417"/>
                  </a:lnTo>
                  <a:lnTo>
                    <a:pt x="422" y="297"/>
                  </a:lnTo>
                  <a:lnTo>
                    <a:pt x="422" y="392"/>
                  </a:lnTo>
                  <a:lnTo>
                    <a:pt x="422" y="448"/>
                  </a:lnTo>
                  <a:lnTo>
                    <a:pt x="468" y="417"/>
                  </a:lnTo>
                  <a:lnTo>
                    <a:pt x="647" y="297"/>
                  </a:lnTo>
                  <a:lnTo>
                    <a:pt x="647" y="392"/>
                  </a:lnTo>
                  <a:lnTo>
                    <a:pt x="647" y="448"/>
                  </a:lnTo>
                  <a:lnTo>
                    <a:pt x="694" y="417"/>
                  </a:lnTo>
                  <a:lnTo>
                    <a:pt x="873" y="297"/>
                  </a:lnTo>
                  <a:lnTo>
                    <a:pt x="873" y="692"/>
                  </a:lnTo>
                  <a:close/>
                  <a:moveTo>
                    <a:pt x="677" y="392"/>
                  </a:moveTo>
                  <a:lnTo>
                    <a:pt x="677" y="241"/>
                  </a:lnTo>
                  <a:lnTo>
                    <a:pt x="452" y="392"/>
                  </a:lnTo>
                  <a:lnTo>
                    <a:pt x="452" y="241"/>
                  </a:lnTo>
                  <a:lnTo>
                    <a:pt x="226" y="392"/>
                  </a:lnTo>
                  <a:lnTo>
                    <a:pt x="151" y="0"/>
                  </a:lnTo>
                  <a:lnTo>
                    <a:pt x="60" y="0"/>
                  </a:lnTo>
                  <a:lnTo>
                    <a:pt x="0" y="392"/>
                  </a:lnTo>
                  <a:lnTo>
                    <a:pt x="0" y="722"/>
                  </a:lnTo>
                  <a:lnTo>
                    <a:pt x="903" y="722"/>
                  </a:lnTo>
                  <a:lnTo>
                    <a:pt x="903" y="241"/>
                  </a:lnTo>
                  <a:lnTo>
                    <a:pt x="677" y="3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95" name="Group 194"/>
          <p:cNvGrpSpPr/>
          <p:nvPr/>
        </p:nvGrpSpPr>
        <p:grpSpPr>
          <a:xfrm>
            <a:off x="4142056" y="3318178"/>
            <a:ext cx="287338" cy="239712"/>
            <a:chOff x="10464801" y="817563"/>
            <a:chExt cx="287338" cy="239712"/>
          </a:xfrm>
          <a:solidFill>
            <a:srgbClr val="3B3939"/>
          </a:solidFill>
        </p:grpSpPr>
        <p:sp>
          <p:nvSpPr>
            <p:cNvPr id="196" name="Freeform 334"/>
            <p:cNvSpPr>
              <a:spLocks noEditPoints="1"/>
            </p:cNvSpPr>
            <p:nvPr/>
          </p:nvSpPr>
          <p:spPr bwMode="auto">
            <a:xfrm>
              <a:off x="10464801" y="817563"/>
              <a:ext cx="287338" cy="239712"/>
            </a:xfrm>
            <a:custGeom>
              <a:avLst/>
              <a:gdLst>
                <a:gd name="T0" fmla="*/ 723 w 904"/>
                <a:gd name="T1" fmla="*/ 602 h 753"/>
                <a:gd name="T2" fmla="*/ 512 w 904"/>
                <a:gd name="T3" fmla="*/ 602 h 753"/>
                <a:gd name="T4" fmla="*/ 512 w 904"/>
                <a:gd name="T5" fmla="*/ 722 h 753"/>
                <a:gd name="T6" fmla="*/ 181 w 904"/>
                <a:gd name="T7" fmla="*/ 542 h 753"/>
                <a:gd name="T8" fmla="*/ 181 w 904"/>
                <a:gd name="T9" fmla="*/ 722 h 753"/>
                <a:gd name="T10" fmla="*/ 391 w 904"/>
                <a:gd name="T11" fmla="*/ 722 h 753"/>
                <a:gd name="T12" fmla="*/ 331 w 904"/>
                <a:gd name="T13" fmla="*/ 524 h 753"/>
                <a:gd name="T14" fmla="*/ 327 w 904"/>
                <a:gd name="T15" fmla="*/ 516 h 753"/>
                <a:gd name="T16" fmla="*/ 319 w 904"/>
                <a:gd name="T17" fmla="*/ 512 h 753"/>
                <a:gd name="T18" fmla="*/ 163 w 904"/>
                <a:gd name="T19" fmla="*/ 512 h 753"/>
                <a:gd name="T20" fmla="*/ 155 w 904"/>
                <a:gd name="T21" fmla="*/ 516 h 753"/>
                <a:gd name="T22" fmla="*/ 151 w 904"/>
                <a:gd name="T23" fmla="*/ 524 h 753"/>
                <a:gd name="T24" fmla="*/ 91 w 904"/>
                <a:gd name="T25" fmla="*/ 722 h 753"/>
                <a:gd name="T26" fmla="*/ 813 w 904"/>
                <a:gd name="T27" fmla="*/ 722 h 753"/>
                <a:gd name="T28" fmla="*/ 753 w 904"/>
                <a:gd name="T29" fmla="*/ 584 h 753"/>
                <a:gd name="T30" fmla="*/ 748 w 904"/>
                <a:gd name="T31" fmla="*/ 577 h 753"/>
                <a:gd name="T32" fmla="*/ 741 w 904"/>
                <a:gd name="T33" fmla="*/ 572 h 753"/>
                <a:gd name="T34" fmla="*/ 494 w 904"/>
                <a:gd name="T35" fmla="*/ 572 h 753"/>
                <a:gd name="T36" fmla="*/ 487 w 904"/>
                <a:gd name="T37" fmla="*/ 577 h 753"/>
                <a:gd name="T38" fmla="*/ 482 w 904"/>
                <a:gd name="T39" fmla="*/ 584 h 753"/>
                <a:gd name="T40" fmla="*/ 421 w 904"/>
                <a:gd name="T41" fmla="*/ 722 h 753"/>
                <a:gd name="T42" fmla="*/ 723 w 904"/>
                <a:gd name="T43" fmla="*/ 121 h 753"/>
                <a:gd name="T44" fmla="*/ 723 w 904"/>
                <a:gd name="T45" fmla="*/ 241 h 753"/>
                <a:gd name="T46" fmla="*/ 843 w 904"/>
                <a:gd name="T47" fmla="*/ 722 h 753"/>
                <a:gd name="T48" fmla="*/ 885 w 904"/>
                <a:gd name="T49" fmla="*/ 376 h 753"/>
                <a:gd name="T50" fmla="*/ 895 w 904"/>
                <a:gd name="T51" fmla="*/ 375 h 753"/>
                <a:gd name="T52" fmla="*/ 903 w 904"/>
                <a:gd name="T53" fmla="*/ 366 h 753"/>
                <a:gd name="T54" fmla="*/ 903 w 904"/>
                <a:gd name="T55" fmla="*/ 358 h 753"/>
                <a:gd name="T56" fmla="*/ 898 w 904"/>
                <a:gd name="T57" fmla="*/ 350 h 753"/>
                <a:gd name="T58" fmla="*/ 813 w 904"/>
                <a:gd name="T59" fmla="*/ 106 h 753"/>
                <a:gd name="T60" fmla="*/ 811 w 904"/>
                <a:gd name="T61" fmla="*/ 97 h 753"/>
                <a:gd name="T62" fmla="*/ 804 w 904"/>
                <a:gd name="T63" fmla="*/ 92 h 753"/>
                <a:gd name="T64" fmla="*/ 708 w 904"/>
                <a:gd name="T65" fmla="*/ 91 h 753"/>
                <a:gd name="T66" fmla="*/ 699 w 904"/>
                <a:gd name="T67" fmla="*/ 93 h 753"/>
                <a:gd name="T68" fmla="*/ 694 w 904"/>
                <a:gd name="T69" fmla="*/ 99 h 753"/>
                <a:gd name="T70" fmla="*/ 693 w 904"/>
                <a:gd name="T71" fmla="*/ 221 h 753"/>
                <a:gd name="T72" fmla="*/ 333 w 904"/>
                <a:gd name="T73" fmla="*/ 0 h 753"/>
                <a:gd name="T74" fmla="*/ 325 w 904"/>
                <a:gd name="T75" fmla="*/ 1 h 753"/>
                <a:gd name="T76" fmla="*/ 318 w 904"/>
                <a:gd name="T77" fmla="*/ 7 h 753"/>
                <a:gd name="T78" fmla="*/ 316 w 904"/>
                <a:gd name="T79" fmla="*/ 15 h 753"/>
                <a:gd name="T80" fmla="*/ 319 w 904"/>
                <a:gd name="T81" fmla="*/ 24 h 753"/>
                <a:gd name="T82" fmla="*/ 391 w 904"/>
                <a:gd name="T83" fmla="*/ 70 h 753"/>
                <a:gd name="T84" fmla="*/ 69 w 904"/>
                <a:gd name="T85" fmla="*/ 394 h 753"/>
                <a:gd name="T86" fmla="*/ 6 w 904"/>
                <a:gd name="T87" fmla="*/ 424 h 753"/>
                <a:gd name="T88" fmla="*/ 1 w 904"/>
                <a:gd name="T89" fmla="*/ 432 h 753"/>
                <a:gd name="T90" fmla="*/ 1 w 904"/>
                <a:gd name="T91" fmla="*/ 440 h 753"/>
                <a:gd name="T92" fmla="*/ 7 w 904"/>
                <a:gd name="T93" fmla="*/ 450 h 753"/>
                <a:gd name="T94" fmla="*/ 19 w 904"/>
                <a:gd name="T95" fmla="*/ 451 h 753"/>
                <a:gd name="T96" fmla="*/ 61 w 904"/>
                <a:gd name="T97" fmla="*/ 722 h 753"/>
                <a:gd name="T98" fmla="*/ 9 w 904"/>
                <a:gd name="T99" fmla="*/ 724 h 753"/>
                <a:gd name="T100" fmla="*/ 3 w 904"/>
                <a:gd name="T101" fmla="*/ 730 h 753"/>
                <a:gd name="T102" fmla="*/ 0 w 904"/>
                <a:gd name="T103" fmla="*/ 738 h 753"/>
                <a:gd name="T104" fmla="*/ 3 w 904"/>
                <a:gd name="T105" fmla="*/ 746 h 753"/>
                <a:gd name="T106" fmla="*/ 9 w 904"/>
                <a:gd name="T107" fmla="*/ 751 h 753"/>
                <a:gd name="T108" fmla="*/ 166 w 904"/>
                <a:gd name="T109" fmla="*/ 753 h 753"/>
                <a:gd name="T110" fmla="*/ 738 w 904"/>
                <a:gd name="T111" fmla="*/ 753 h 753"/>
                <a:gd name="T112" fmla="*/ 894 w 904"/>
                <a:gd name="T113" fmla="*/ 751 h 753"/>
                <a:gd name="T114" fmla="*/ 901 w 904"/>
                <a:gd name="T115" fmla="*/ 746 h 753"/>
                <a:gd name="T116" fmla="*/ 904 w 904"/>
                <a:gd name="T117" fmla="*/ 738 h 753"/>
                <a:gd name="T118" fmla="*/ 901 w 904"/>
                <a:gd name="T119" fmla="*/ 730 h 753"/>
                <a:gd name="T120" fmla="*/ 894 w 904"/>
                <a:gd name="T121" fmla="*/ 724 h 7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04" h="753">
                  <a:moveTo>
                    <a:pt x="632" y="722"/>
                  </a:moveTo>
                  <a:lnTo>
                    <a:pt x="632" y="602"/>
                  </a:lnTo>
                  <a:lnTo>
                    <a:pt x="723" y="602"/>
                  </a:lnTo>
                  <a:lnTo>
                    <a:pt x="723" y="722"/>
                  </a:lnTo>
                  <a:lnTo>
                    <a:pt x="632" y="722"/>
                  </a:lnTo>
                  <a:close/>
                  <a:moveTo>
                    <a:pt x="512" y="602"/>
                  </a:moveTo>
                  <a:lnTo>
                    <a:pt x="602" y="602"/>
                  </a:lnTo>
                  <a:lnTo>
                    <a:pt x="602" y="722"/>
                  </a:lnTo>
                  <a:lnTo>
                    <a:pt x="512" y="722"/>
                  </a:lnTo>
                  <a:lnTo>
                    <a:pt x="512" y="602"/>
                  </a:lnTo>
                  <a:close/>
                  <a:moveTo>
                    <a:pt x="181" y="722"/>
                  </a:moveTo>
                  <a:lnTo>
                    <a:pt x="181" y="542"/>
                  </a:lnTo>
                  <a:lnTo>
                    <a:pt x="301" y="542"/>
                  </a:lnTo>
                  <a:lnTo>
                    <a:pt x="301" y="722"/>
                  </a:lnTo>
                  <a:lnTo>
                    <a:pt x="181" y="722"/>
                  </a:lnTo>
                  <a:close/>
                  <a:moveTo>
                    <a:pt x="91" y="417"/>
                  </a:moveTo>
                  <a:lnTo>
                    <a:pt x="391" y="273"/>
                  </a:lnTo>
                  <a:lnTo>
                    <a:pt x="391" y="722"/>
                  </a:lnTo>
                  <a:lnTo>
                    <a:pt x="331" y="722"/>
                  </a:lnTo>
                  <a:lnTo>
                    <a:pt x="331" y="527"/>
                  </a:lnTo>
                  <a:lnTo>
                    <a:pt x="331" y="524"/>
                  </a:lnTo>
                  <a:lnTo>
                    <a:pt x="330" y="521"/>
                  </a:lnTo>
                  <a:lnTo>
                    <a:pt x="329" y="519"/>
                  </a:lnTo>
                  <a:lnTo>
                    <a:pt x="327" y="516"/>
                  </a:lnTo>
                  <a:lnTo>
                    <a:pt x="325" y="514"/>
                  </a:lnTo>
                  <a:lnTo>
                    <a:pt x="323" y="513"/>
                  </a:lnTo>
                  <a:lnTo>
                    <a:pt x="319" y="512"/>
                  </a:lnTo>
                  <a:lnTo>
                    <a:pt x="316" y="512"/>
                  </a:lnTo>
                  <a:lnTo>
                    <a:pt x="166" y="512"/>
                  </a:lnTo>
                  <a:lnTo>
                    <a:pt x="163" y="512"/>
                  </a:lnTo>
                  <a:lnTo>
                    <a:pt x="160" y="513"/>
                  </a:lnTo>
                  <a:lnTo>
                    <a:pt x="157" y="514"/>
                  </a:lnTo>
                  <a:lnTo>
                    <a:pt x="155" y="516"/>
                  </a:lnTo>
                  <a:lnTo>
                    <a:pt x="153" y="519"/>
                  </a:lnTo>
                  <a:lnTo>
                    <a:pt x="152" y="521"/>
                  </a:lnTo>
                  <a:lnTo>
                    <a:pt x="151" y="524"/>
                  </a:lnTo>
                  <a:lnTo>
                    <a:pt x="151" y="527"/>
                  </a:lnTo>
                  <a:lnTo>
                    <a:pt x="151" y="722"/>
                  </a:lnTo>
                  <a:lnTo>
                    <a:pt x="91" y="722"/>
                  </a:lnTo>
                  <a:lnTo>
                    <a:pt x="91" y="417"/>
                  </a:lnTo>
                  <a:close/>
                  <a:moveTo>
                    <a:pt x="813" y="332"/>
                  </a:moveTo>
                  <a:lnTo>
                    <a:pt x="813" y="722"/>
                  </a:lnTo>
                  <a:lnTo>
                    <a:pt x="753" y="722"/>
                  </a:lnTo>
                  <a:lnTo>
                    <a:pt x="753" y="587"/>
                  </a:lnTo>
                  <a:lnTo>
                    <a:pt x="753" y="584"/>
                  </a:lnTo>
                  <a:lnTo>
                    <a:pt x="752" y="582"/>
                  </a:lnTo>
                  <a:lnTo>
                    <a:pt x="750" y="579"/>
                  </a:lnTo>
                  <a:lnTo>
                    <a:pt x="748" y="577"/>
                  </a:lnTo>
                  <a:lnTo>
                    <a:pt x="746" y="574"/>
                  </a:lnTo>
                  <a:lnTo>
                    <a:pt x="744" y="573"/>
                  </a:lnTo>
                  <a:lnTo>
                    <a:pt x="741" y="572"/>
                  </a:lnTo>
                  <a:lnTo>
                    <a:pt x="738" y="572"/>
                  </a:lnTo>
                  <a:lnTo>
                    <a:pt x="497" y="572"/>
                  </a:lnTo>
                  <a:lnTo>
                    <a:pt x="494" y="572"/>
                  </a:lnTo>
                  <a:lnTo>
                    <a:pt x="491" y="573"/>
                  </a:lnTo>
                  <a:lnTo>
                    <a:pt x="489" y="574"/>
                  </a:lnTo>
                  <a:lnTo>
                    <a:pt x="487" y="577"/>
                  </a:lnTo>
                  <a:lnTo>
                    <a:pt x="484" y="579"/>
                  </a:lnTo>
                  <a:lnTo>
                    <a:pt x="483" y="582"/>
                  </a:lnTo>
                  <a:lnTo>
                    <a:pt x="482" y="584"/>
                  </a:lnTo>
                  <a:lnTo>
                    <a:pt x="482" y="587"/>
                  </a:lnTo>
                  <a:lnTo>
                    <a:pt x="482" y="722"/>
                  </a:lnTo>
                  <a:lnTo>
                    <a:pt x="421" y="722"/>
                  </a:lnTo>
                  <a:lnTo>
                    <a:pt x="421" y="89"/>
                  </a:lnTo>
                  <a:lnTo>
                    <a:pt x="813" y="332"/>
                  </a:lnTo>
                  <a:close/>
                  <a:moveTo>
                    <a:pt x="723" y="121"/>
                  </a:moveTo>
                  <a:lnTo>
                    <a:pt x="783" y="121"/>
                  </a:lnTo>
                  <a:lnTo>
                    <a:pt x="783" y="278"/>
                  </a:lnTo>
                  <a:lnTo>
                    <a:pt x="723" y="241"/>
                  </a:lnTo>
                  <a:lnTo>
                    <a:pt x="723" y="121"/>
                  </a:lnTo>
                  <a:close/>
                  <a:moveTo>
                    <a:pt x="889" y="722"/>
                  </a:moveTo>
                  <a:lnTo>
                    <a:pt x="843" y="722"/>
                  </a:lnTo>
                  <a:lnTo>
                    <a:pt x="843" y="351"/>
                  </a:lnTo>
                  <a:lnTo>
                    <a:pt x="880" y="374"/>
                  </a:lnTo>
                  <a:lnTo>
                    <a:pt x="885" y="376"/>
                  </a:lnTo>
                  <a:lnTo>
                    <a:pt x="889" y="377"/>
                  </a:lnTo>
                  <a:lnTo>
                    <a:pt x="892" y="376"/>
                  </a:lnTo>
                  <a:lnTo>
                    <a:pt x="895" y="375"/>
                  </a:lnTo>
                  <a:lnTo>
                    <a:pt x="898" y="373"/>
                  </a:lnTo>
                  <a:lnTo>
                    <a:pt x="901" y="369"/>
                  </a:lnTo>
                  <a:lnTo>
                    <a:pt x="903" y="366"/>
                  </a:lnTo>
                  <a:lnTo>
                    <a:pt x="903" y="364"/>
                  </a:lnTo>
                  <a:lnTo>
                    <a:pt x="904" y="361"/>
                  </a:lnTo>
                  <a:lnTo>
                    <a:pt x="903" y="358"/>
                  </a:lnTo>
                  <a:lnTo>
                    <a:pt x="902" y="356"/>
                  </a:lnTo>
                  <a:lnTo>
                    <a:pt x="901" y="352"/>
                  </a:lnTo>
                  <a:lnTo>
                    <a:pt x="898" y="350"/>
                  </a:lnTo>
                  <a:lnTo>
                    <a:pt x="896" y="349"/>
                  </a:lnTo>
                  <a:lnTo>
                    <a:pt x="813" y="297"/>
                  </a:lnTo>
                  <a:lnTo>
                    <a:pt x="813" y="106"/>
                  </a:lnTo>
                  <a:lnTo>
                    <a:pt x="813" y="102"/>
                  </a:lnTo>
                  <a:lnTo>
                    <a:pt x="812" y="99"/>
                  </a:lnTo>
                  <a:lnTo>
                    <a:pt x="811" y="97"/>
                  </a:lnTo>
                  <a:lnTo>
                    <a:pt x="808" y="95"/>
                  </a:lnTo>
                  <a:lnTo>
                    <a:pt x="806" y="93"/>
                  </a:lnTo>
                  <a:lnTo>
                    <a:pt x="804" y="92"/>
                  </a:lnTo>
                  <a:lnTo>
                    <a:pt x="801" y="91"/>
                  </a:lnTo>
                  <a:lnTo>
                    <a:pt x="798" y="91"/>
                  </a:lnTo>
                  <a:lnTo>
                    <a:pt x="708" y="91"/>
                  </a:lnTo>
                  <a:lnTo>
                    <a:pt x="704" y="91"/>
                  </a:lnTo>
                  <a:lnTo>
                    <a:pt x="702" y="92"/>
                  </a:lnTo>
                  <a:lnTo>
                    <a:pt x="699" y="93"/>
                  </a:lnTo>
                  <a:lnTo>
                    <a:pt x="697" y="95"/>
                  </a:lnTo>
                  <a:lnTo>
                    <a:pt x="695" y="97"/>
                  </a:lnTo>
                  <a:lnTo>
                    <a:pt x="694" y="99"/>
                  </a:lnTo>
                  <a:lnTo>
                    <a:pt x="693" y="102"/>
                  </a:lnTo>
                  <a:lnTo>
                    <a:pt x="693" y="106"/>
                  </a:lnTo>
                  <a:lnTo>
                    <a:pt x="693" y="221"/>
                  </a:lnTo>
                  <a:lnTo>
                    <a:pt x="340" y="3"/>
                  </a:lnTo>
                  <a:lnTo>
                    <a:pt x="336" y="0"/>
                  </a:lnTo>
                  <a:lnTo>
                    <a:pt x="333" y="0"/>
                  </a:lnTo>
                  <a:lnTo>
                    <a:pt x="331" y="0"/>
                  </a:lnTo>
                  <a:lnTo>
                    <a:pt x="328" y="0"/>
                  </a:lnTo>
                  <a:lnTo>
                    <a:pt x="325" y="1"/>
                  </a:lnTo>
                  <a:lnTo>
                    <a:pt x="323" y="3"/>
                  </a:lnTo>
                  <a:lnTo>
                    <a:pt x="320" y="5"/>
                  </a:lnTo>
                  <a:lnTo>
                    <a:pt x="318" y="7"/>
                  </a:lnTo>
                  <a:lnTo>
                    <a:pt x="317" y="10"/>
                  </a:lnTo>
                  <a:lnTo>
                    <a:pt x="316" y="12"/>
                  </a:lnTo>
                  <a:lnTo>
                    <a:pt x="316" y="15"/>
                  </a:lnTo>
                  <a:lnTo>
                    <a:pt x="317" y="19"/>
                  </a:lnTo>
                  <a:lnTo>
                    <a:pt x="317" y="21"/>
                  </a:lnTo>
                  <a:lnTo>
                    <a:pt x="319" y="24"/>
                  </a:lnTo>
                  <a:lnTo>
                    <a:pt x="321" y="26"/>
                  </a:lnTo>
                  <a:lnTo>
                    <a:pt x="324" y="28"/>
                  </a:lnTo>
                  <a:lnTo>
                    <a:pt x="391" y="70"/>
                  </a:lnTo>
                  <a:lnTo>
                    <a:pt x="391" y="239"/>
                  </a:lnTo>
                  <a:lnTo>
                    <a:pt x="72" y="393"/>
                  </a:lnTo>
                  <a:lnTo>
                    <a:pt x="69" y="394"/>
                  </a:lnTo>
                  <a:lnTo>
                    <a:pt x="67" y="395"/>
                  </a:lnTo>
                  <a:lnTo>
                    <a:pt x="8" y="423"/>
                  </a:lnTo>
                  <a:lnTo>
                    <a:pt x="6" y="424"/>
                  </a:lnTo>
                  <a:lnTo>
                    <a:pt x="4" y="426"/>
                  </a:lnTo>
                  <a:lnTo>
                    <a:pt x="2" y="429"/>
                  </a:lnTo>
                  <a:lnTo>
                    <a:pt x="1" y="432"/>
                  </a:lnTo>
                  <a:lnTo>
                    <a:pt x="1" y="435"/>
                  </a:lnTo>
                  <a:lnTo>
                    <a:pt x="1" y="437"/>
                  </a:lnTo>
                  <a:lnTo>
                    <a:pt x="1" y="440"/>
                  </a:lnTo>
                  <a:lnTo>
                    <a:pt x="2" y="444"/>
                  </a:lnTo>
                  <a:lnTo>
                    <a:pt x="4" y="447"/>
                  </a:lnTo>
                  <a:lnTo>
                    <a:pt x="7" y="450"/>
                  </a:lnTo>
                  <a:lnTo>
                    <a:pt x="12" y="451"/>
                  </a:lnTo>
                  <a:lnTo>
                    <a:pt x="16" y="452"/>
                  </a:lnTo>
                  <a:lnTo>
                    <a:pt x="19" y="451"/>
                  </a:lnTo>
                  <a:lnTo>
                    <a:pt x="22" y="450"/>
                  </a:lnTo>
                  <a:lnTo>
                    <a:pt x="61" y="432"/>
                  </a:lnTo>
                  <a:lnTo>
                    <a:pt x="61" y="722"/>
                  </a:lnTo>
                  <a:lnTo>
                    <a:pt x="16" y="722"/>
                  </a:lnTo>
                  <a:lnTo>
                    <a:pt x="13" y="724"/>
                  </a:lnTo>
                  <a:lnTo>
                    <a:pt x="9" y="724"/>
                  </a:lnTo>
                  <a:lnTo>
                    <a:pt x="7" y="726"/>
                  </a:lnTo>
                  <a:lnTo>
                    <a:pt x="5" y="727"/>
                  </a:lnTo>
                  <a:lnTo>
                    <a:pt x="3" y="730"/>
                  </a:lnTo>
                  <a:lnTo>
                    <a:pt x="2" y="732"/>
                  </a:lnTo>
                  <a:lnTo>
                    <a:pt x="1" y="735"/>
                  </a:lnTo>
                  <a:lnTo>
                    <a:pt x="0" y="738"/>
                  </a:lnTo>
                  <a:lnTo>
                    <a:pt x="1" y="741"/>
                  </a:lnTo>
                  <a:lnTo>
                    <a:pt x="2" y="744"/>
                  </a:lnTo>
                  <a:lnTo>
                    <a:pt x="3" y="746"/>
                  </a:lnTo>
                  <a:lnTo>
                    <a:pt x="5" y="748"/>
                  </a:lnTo>
                  <a:lnTo>
                    <a:pt x="7" y="750"/>
                  </a:lnTo>
                  <a:lnTo>
                    <a:pt x="9" y="751"/>
                  </a:lnTo>
                  <a:lnTo>
                    <a:pt x="13" y="753"/>
                  </a:lnTo>
                  <a:lnTo>
                    <a:pt x="16" y="753"/>
                  </a:lnTo>
                  <a:lnTo>
                    <a:pt x="166" y="753"/>
                  </a:lnTo>
                  <a:lnTo>
                    <a:pt x="316" y="753"/>
                  </a:lnTo>
                  <a:lnTo>
                    <a:pt x="497" y="753"/>
                  </a:lnTo>
                  <a:lnTo>
                    <a:pt x="738" y="753"/>
                  </a:lnTo>
                  <a:lnTo>
                    <a:pt x="889" y="753"/>
                  </a:lnTo>
                  <a:lnTo>
                    <a:pt x="891" y="753"/>
                  </a:lnTo>
                  <a:lnTo>
                    <a:pt x="894" y="751"/>
                  </a:lnTo>
                  <a:lnTo>
                    <a:pt x="896" y="750"/>
                  </a:lnTo>
                  <a:lnTo>
                    <a:pt x="898" y="748"/>
                  </a:lnTo>
                  <a:lnTo>
                    <a:pt x="901" y="746"/>
                  </a:lnTo>
                  <a:lnTo>
                    <a:pt x="902" y="744"/>
                  </a:lnTo>
                  <a:lnTo>
                    <a:pt x="903" y="741"/>
                  </a:lnTo>
                  <a:lnTo>
                    <a:pt x="904" y="738"/>
                  </a:lnTo>
                  <a:lnTo>
                    <a:pt x="903" y="735"/>
                  </a:lnTo>
                  <a:lnTo>
                    <a:pt x="902" y="732"/>
                  </a:lnTo>
                  <a:lnTo>
                    <a:pt x="901" y="730"/>
                  </a:lnTo>
                  <a:lnTo>
                    <a:pt x="898" y="727"/>
                  </a:lnTo>
                  <a:lnTo>
                    <a:pt x="896" y="726"/>
                  </a:lnTo>
                  <a:lnTo>
                    <a:pt x="894" y="724"/>
                  </a:lnTo>
                  <a:lnTo>
                    <a:pt x="891" y="724"/>
                  </a:lnTo>
                  <a:lnTo>
                    <a:pt x="889" y="7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335"/>
            <p:cNvSpPr>
              <a:spLocks/>
            </p:cNvSpPr>
            <p:nvPr/>
          </p:nvSpPr>
          <p:spPr bwMode="auto">
            <a:xfrm>
              <a:off x="10512426" y="962025"/>
              <a:ext cx="57150" cy="9525"/>
            </a:xfrm>
            <a:custGeom>
              <a:avLst/>
              <a:gdLst>
                <a:gd name="T0" fmla="*/ 15 w 180"/>
                <a:gd name="T1" fmla="*/ 30 h 30"/>
                <a:gd name="T2" fmla="*/ 165 w 180"/>
                <a:gd name="T3" fmla="*/ 30 h 30"/>
                <a:gd name="T4" fmla="*/ 168 w 180"/>
                <a:gd name="T5" fmla="*/ 29 h 30"/>
                <a:gd name="T6" fmla="*/ 172 w 180"/>
                <a:gd name="T7" fmla="*/ 29 h 30"/>
                <a:gd name="T8" fmla="*/ 174 w 180"/>
                <a:gd name="T9" fmla="*/ 27 h 30"/>
                <a:gd name="T10" fmla="*/ 176 w 180"/>
                <a:gd name="T11" fmla="*/ 26 h 30"/>
                <a:gd name="T12" fmla="*/ 178 w 180"/>
                <a:gd name="T13" fmla="*/ 24 h 30"/>
                <a:gd name="T14" fmla="*/ 179 w 180"/>
                <a:gd name="T15" fmla="*/ 20 h 30"/>
                <a:gd name="T16" fmla="*/ 180 w 180"/>
                <a:gd name="T17" fmla="*/ 18 h 30"/>
                <a:gd name="T18" fmla="*/ 180 w 180"/>
                <a:gd name="T19" fmla="*/ 15 h 30"/>
                <a:gd name="T20" fmla="*/ 180 w 180"/>
                <a:gd name="T21" fmla="*/ 12 h 30"/>
                <a:gd name="T22" fmla="*/ 179 w 180"/>
                <a:gd name="T23" fmla="*/ 9 h 30"/>
                <a:gd name="T24" fmla="*/ 178 w 180"/>
                <a:gd name="T25" fmla="*/ 7 h 30"/>
                <a:gd name="T26" fmla="*/ 176 w 180"/>
                <a:gd name="T27" fmla="*/ 4 h 30"/>
                <a:gd name="T28" fmla="*/ 174 w 180"/>
                <a:gd name="T29" fmla="*/ 2 h 30"/>
                <a:gd name="T30" fmla="*/ 172 w 180"/>
                <a:gd name="T31" fmla="*/ 1 h 30"/>
                <a:gd name="T32" fmla="*/ 168 w 180"/>
                <a:gd name="T33" fmla="*/ 0 h 30"/>
                <a:gd name="T34" fmla="*/ 165 w 180"/>
                <a:gd name="T35" fmla="*/ 0 h 30"/>
                <a:gd name="T36" fmla="*/ 15 w 180"/>
                <a:gd name="T37" fmla="*/ 0 h 30"/>
                <a:gd name="T38" fmla="*/ 12 w 180"/>
                <a:gd name="T39" fmla="*/ 0 h 30"/>
                <a:gd name="T40" fmla="*/ 9 w 180"/>
                <a:gd name="T41" fmla="*/ 1 h 30"/>
                <a:gd name="T42" fmla="*/ 6 w 180"/>
                <a:gd name="T43" fmla="*/ 2 h 30"/>
                <a:gd name="T44" fmla="*/ 4 w 180"/>
                <a:gd name="T45" fmla="*/ 4 h 30"/>
                <a:gd name="T46" fmla="*/ 2 w 180"/>
                <a:gd name="T47" fmla="*/ 7 h 30"/>
                <a:gd name="T48" fmla="*/ 1 w 180"/>
                <a:gd name="T49" fmla="*/ 9 h 30"/>
                <a:gd name="T50" fmla="*/ 0 w 180"/>
                <a:gd name="T51" fmla="*/ 12 h 30"/>
                <a:gd name="T52" fmla="*/ 0 w 180"/>
                <a:gd name="T53" fmla="*/ 15 h 30"/>
                <a:gd name="T54" fmla="*/ 0 w 180"/>
                <a:gd name="T55" fmla="*/ 18 h 30"/>
                <a:gd name="T56" fmla="*/ 1 w 180"/>
                <a:gd name="T57" fmla="*/ 20 h 30"/>
                <a:gd name="T58" fmla="*/ 2 w 180"/>
                <a:gd name="T59" fmla="*/ 24 h 30"/>
                <a:gd name="T60" fmla="*/ 4 w 180"/>
                <a:gd name="T61" fmla="*/ 26 h 30"/>
                <a:gd name="T62" fmla="*/ 6 w 180"/>
                <a:gd name="T63" fmla="*/ 27 h 30"/>
                <a:gd name="T64" fmla="*/ 9 w 180"/>
                <a:gd name="T65" fmla="*/ 29 h 30"/>
                <a:gd name="T66" fmla="*/ 12 w 180"/>
                <a:gd name="T67" fmla="*/ 29 h 30"/>
                <a:gd name="T68" fmla="*/ 15 w 180"/>
                <a:gd name="T69" fmla="*/ 30 h 30"/>
                <a:gd name="T70" fmla="*/ 15 w 180"/>
                <a:gd name="T7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80" h="30">
                  <a:moveTo>
                    <a:pt x="15" y="30"/>
                  </a:moveTo>
                  <a:lnTo>
                    <a:pt x="165" y="30"/>
                  </a:lnTo>
                  <a:lnTo>
                    <a:pt x="168" y="29"/>
                  </a:lnTo>
                  <a:lnTo>
                    <a:pt x="172" y="29"/>
                  </a:lnTo>
                  <a:lnTo>
                    <a:pt x="174" y="27"/>
                  </a:lnTo>
                  <a:lnTo>
                    <a:pt x="176" y="26"/>
                  </a:lnTo>
                  <a:lnTo>
                    <a:pt x="178" y="24"/>
                  </a:lnTo>
                  <a:lnTo>
                    <a:pt x="179" y="20"/>
                  </a:lnTo>
                  <a:lnTo>
                    <a:pt x="180" y="18"/>
                  </a:lnTo>
                  <a:lnTo>
                    <a:pt x="180" y="15"/>
                  </a:lnTo>
                  <a:lnTo>
                    <a:pt x="180" y="12"/>
                  </a:lnTo>
                  <a:lnTo>
                    <a:pt x="179" y="9"/>
                  </a:lnTo>
                  <a:lnTo>
                    <a:pt x="178" y="7"/>
                  </a:lnTo>
                  <a:lnTo>
                    <a:pt x="176" y="4"/>
                  </a:lnTo>
                  <a:lnTo>
                    <a:pt x="174" y="2"/>
                  </a:lnTo>
                  <a:lnTo>
                    <a:pt x="172" y="1"/>
                  </a:lnTo>
                  <a:lnTo>
                    <a:pt x="168" y="0"/>
                  </a:lnTo>
                  <a:lnTo>
                    <a:pt x="165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9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0"/>
                  </a:lnTo>
                  <a:lnTo>
                    <a:pt x="2" y="24"/>
                  </a:lnTo>
                  <a:lnTo>
                    <a:pt x="4" y="26"/>
                  </a:lnTo>
                  <a:lnTo>
                    <a:pt x="6" y="27"/>
                  </a:lnTo>
                  <a:lnTo>
                    <a:pt x="9" y="29"/>
                  </a:lnTo>
                  <a:lnTo>
                    <a:pt x="12" y="29"/>
                  </a:lnTo>
                  <a:lnTo>
                    <a:pt x="15" y="30"/>
                  </a:lnTo>
                  <a:lnTo>
                    <a:pt x="15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336"/>
            <p:cNvSpPr>
              <a:spLocks noEditPoints="1"/>
            </p:cNvSpPr>
            <p:nvPr/>
          </p:nvSpPr>
          <p:spPr bwMode="auto">
            <a:xfrm>
              <a:off x="10607676" y="893763"/>
              <a:ext cx="47625" cy="49212"/>
            </a:xfrm>
            <a:custGeom>
              <a:avLst/>
              <a:gdLst>
                <a:gd name="T0" fmla="*/ 84 w 150"/>
                <a:gd name="T1" fmla="*/ 31 h 151"/>
                <a:gd name="T2" fmla="*/ 100 w 150"/>
                <a:gd name="T3" fmla="*/ 37 h 151"/>
                <a:gd name="T4" fmla="*/ 113 w 150"/>
                <a:gd name="T5" fmla="*/ 50 h 151"/>
                <a:gd name="T6" fmla="*/ 119 w 150"/>
                <a:gd name="T7" fmla="*/ 66 h 151"/>
                <a:gd name="T8" fmla="*/ 119 w 150"/>
                <a:gd name="T9" fmla="*/ 84 h 151"/>
                <a:gd name="T10" fmla="*/ 113 w 150"/>
                <a:gd name="T11" fmla="*/ 101 h 151"/>
                <a:gd name="T12" fmla="*/ 100 w 150"/>
                <a:gd name="T13" fmla="*/ 112 h 151"/>
                <a:gd name="T14" fmla="*/ 84 w 150"/>
                <a:gd name="T15" fmla="*/ 120 h 151"/>
                <a:gd name="T16" fmla="*/ 66 w 150"/>
                <a:gd name="T17" fmla="*/ 120 h 151"/>
                <a:gd name="T18" fmla="*/ 50 w 150"/>
                <a:gd name="T19" fmla="*/ 112 h 151"/>
                <a:gd name="T20" fmla="*/ 38 w 150"/>
                <a:gd name="T21" fmla="*/ 101 h 151"/>
                <a:gd name="T22" fmla="*/ 30 w 150"/>
                <a:gd name="T23" fmla="*/ 84 h 151"/>
                <a:gd name="T24" fmla="*/ 30 w 150"/>
                <a:gd name="T25" fmla="*/ 66 h 151"/>
                <a:gd name="T26" fmla="*/ 38 w 150"/>
                <a:gd name="T27" fmla="*/ 50 h 151"/>
                <a:gd name="T28" fmla="*/ 50 w 150"/>
                <a:gd name="T29" fmla="*/ 37 h 151"/>
                <a:gd name="T30" fmla="*/ 66 w 150"/>
                <a:gd name="T31" fmla="*/ 31 h 151"/>
                <a:gd name="T32" fmla="*/ 75 w 150"/>
                <a:gd name="T33" fmla="*/ 150 h 151"/>
                <a:gd name="T34" fmla="*/ 90 w 150"/>
                <a:gd name="T35" fmla="*/ 149 h 151"/>
                <a:gd name="T36" fmla="*/ 104 w 150"/>
                <a:gd name="T37" fmla="*/ 145 h 151"/>
                <a:gd name="T38" fmla="*/ 117 w 150"/>
                <a:gd name="T39" fmla="*/ 137 h 151"/>
                <a:gd name="T40" fmla="*/ 128 w 150"/>
                <a:gd name="T41" fmla="*/ 128 h 151"/>
                <a:gd name="T42" fmla="*/ 138 w 150"/>
                <a:gd name="T43" fmla="*/ 118 h 151"/>
                <a:gd name="T44" fmla="*/ 144 w 150"/>
                <a:gd name="T45" fmla="*/ 105 h 151"/>
                <a:gd name="T46" fmla="*/ 148 w 150"/>
                <a:gd name="T47" fmla="*/ 90 h 151"/>
                <a:gd name="T48" fmla="*/ 150 w 150"/>
                <a:gd name="T49" fmla="*/ 75 h 151"/>
                <a:gd name="T50" fmla="*/ 148 w 150"/>
                <a:gd name="T51" fmla="*/ 60 h 151"/>
                <a:gd name="T52" fmla="*/ 144 w 150"/>
                <a:gd name="T53" fmla="*/ 46 h 151"/>
                <a:gd name="T54" fmla="*/ 138 w 150"/>
                <a:gd name="T55" fmla="*/ 33 h 151"/>
                <a:gd name="T56" fmla="*/ 128 w 150"/>
                <a:gd name="T57" fmla="*/ 22 h 151"/>
                <a:gd name="T58" fmla="*/ 117 w 150"/>
                <a:gd name="T59" fmla="*/ 13 h 151"/>
                <a:gd name="T60" fmla="*/ 104 w 150"/>
                <a:gd name="T61" fmla="*/ 6 h 151"/>
                <a:gd name="T62" fmla="*/ 90 w 150"/>
                <a:gd name="T63" fmla="*/ 2 h 151"/>
                <a:gd name="T64" fmla="*/ 75 w 150"/>
                <a:gd name="T65" fmla="*/ 0 h 151"/>
                <a:gd name="T66" fmla="*/ 60 w 150"/>
                <a:gd name="T67" fmla="*/ 2 h 151"/>
                <a:gd name="T68" fmla="*/ 45 w 150"/>
                <a:gd name="T69" fmla="*/ 6 h 151"/>
                <a:gd name="T70" fmla="*/ 32 w 150"/>
                <a:gd name="T71" fmla="*/ 13 h 151"/>
                <a:gd name="T72" fmla="*/ 22 w 150"/>
                <a:gd name="T73" fmla="*/ 22 h 151"/>
                <a:gd name="T74" fmla="*/ 13 w 150"/>
                <a:gd name="T75" fmla="*/ 33 h 151"/>
                <a:gd name="T76" fmla="*/ 6 w 150"/>
                <a:gd name="T77" fmla="*/ 46 h 151"/>
                <a:gd name="T78" fmla="*/ 1 w 150"/>
                <a:gd name="T79" fmla="*/ 60 h 151"/>
                <a:gd name="T80" fmla="*/ 0 w 150"/>
                <a:gd name="T81" fmla="*/ 75 h 151"/>
                <a:gd name="T82" fmla="*/ 1 w 150"/>
                <a:gd name="T83" fmla="*/ 90 h 151"/>
                <a:gd name="T84" fmla="*/ 6 w 150"/>
                <a:gd name="T85" fmla="*/ 105 h 151"/>
                <a:gd name="T86" fmla="*/ 13 w 150"/>
                <a:gd name="T87" fmla="*/ 117 h 151"/>
                <a:gd name="T88" fmla="*/ 22 w 150"/>
                <a:gd name="T89" fmla="*/ 128 h 151"/>
                <a:gd name="T90" fmla="*/ 32 w 150"/>
                <a:gd name="T91" fmla="*/ 137 h 151"/>
                <a:gd name="T92" fmla="*/ 45 w 150"/>
                <a:gd name="T93" fmla="*/ 145 h 151"/>
                <a:gd name="T94" fmla="*/ 60 w 150"/>
                <a:gd name="T95" fmla="*/ 149 h 151"/>
                <a:gd name="T96" fmla="*/ 75 w 150"/>
                <a:gd name="T97" fmla="*/ 15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50" h="151">
                  <a:moveTo>
                    <a:pt x="75" y="30"/>
                  </a:moveTo>
                  <a:lnTo>
                    <a:pt x="84" y="31"/>
                  </a:lnTo>
                  <a:lnTo>
                    <a:pt x="93" y="34"/>
                  </a:lnTo>
                  <a:lnTo>
                    <a:pt x="100" y="37"/>
                  </a:lnTo>
                  <a:lnTo>
                    <a:pt x="106" y="44"/>
                  </a:lnTo>
                  <a:lnTo>
                    <a:pt x="113" y="50"/>
                  </a:lnTo>
                  <a:lnTo>
                    <a:pt x="116" y="58"/>
                  </a:lnTo>
                  <a:lnTo>
                    <a:pt x="119" y="66"/>
                  </a:lnTo>
                  <a:lnTo>
                    <a:pt x="120" y="75"/>
                  </a:lnTo>
                  <a:lnTo>
                    <a:pt x="119" y="84"/>
                  </a:lnTo>
                  <a:lnTo>
                    <a:pt x="116" y="93"/>
                  </a:lnTo>
                  <a:lnTo>
                    <a:pt x="113" y="101"/>
                  </a:lnTo>
                  <a:lnTo>
                    <a:pt x="106" y="107"/>
                  </a:lnTo>
                  <a:lnTo>
                    <a:pt x="100" y="112"/>
                  </a:lnTo>
                  <a:lnTo>
                    <a:pt x="93" y="117"/>
                  </a:lnTo>
                  <a:lnTo>
                    <a:pt x="84" y="120"/>
                  </a:lnTo>
                  <a:lnTo>
                    <a:pt x="75" y="120"/>
                  </a:lnTo>
                  <a:lnTo>
                    <a:pt x="66" y="120"/>
                  </a:lnTo>
                  <a:lnTo>
                    <a:pt x="57" y="117"/>
                  </a:lnTo>
                  <a:lnTo>
                    <a:pt x="50" y="112"/>
                  </a:lnTo>
                  <a:lnTo>
                    <a:pt x="43" y="107"/>
                  </a:lnTo>
                  <a:lnTo>
                    <a:pt x="38" y="101"/>
                  </a:lnTo>
                  <a:lnTo>
                    <a:pt x="34" y="93"/>
                  </a:lnTo>
                  <a:lnTo>
                    <a:pt x="30" y="84"/>
                  </a:lnTo>
                  <a:lnTo>
                    <a:pt x="30" y="75"/>
                  </a:lnTo>
                  <a:lnTo>
                    <a:pt x="30" y="66"/>
                  </a:lnTo>
                  <a:lnTo>
                    <a:pt x="34" y="58"/>
                  </a:lnTo>
                  <a:lnTo>
                    <a:pt x="38" y="50"/>
                  </a:lnTo>
                  <a:lnTo>
                    <a:pt x="43" y="44"/>
                  </a:lnTo>
                  <a:lnTo>
                    <a:pt x="50" y="37"/>
                  </a:lnTo>
                  <a:lnTo>
                    <a:pt x="57" y="34"/>
                  </a:lnTo>
                  <a:lnTo>
                    <a:pt x="66" y="31"/>
                  </a:lnTo>
                  <a:lnTo>
                    <a:pt x="75" y="30"/>
                  </a:lnTo>
                  <a:close/>
                  <a:moveTo>
                    <a:pt x="75" y="150"/>
                  </a:moveTo>
                  <a:lnTo>
                    <a:pt x="83" y="150"/>
                  </a:lnTo>
                  <a:lnTo>
                    <a:pt x="90" y="149"/>
                  </a:lnTo>
                  <a:lnTo>
                    <a:pt x="98" y="147"/>
                  </a:lnTo>
                  <a:lnTo>
                    <a:pt x="104" y="145"/>
                  </a:lnTo>
                  <a:lnTo>
                    <a:pt x="111" y="141"/>
                  </a:lnTo>
                  <a:lnTo>
                    <a:pt x="117" y="137"/>
                  </a:lnTo>
                  <a:lnTo>
                    <a:pt x="123" y="133"/>
                  </a:lnTo>
                  <a:lnTo>
                    <a:pt x="128" y="128"/>
                  </a:lnTo>
                  <a:lnTo>
                    <a:pt x="133" y="123"/>
                  </a:lnTo>
                  <a:lnTo>
                    <a:pt x="138" y="118"/>
                  </a:lnTo>
                  <a:lnTo>
                    <a:pt x="141" y="111"/>
                  </a:lnTo>
                  <a:lnTo>
                    <a:pt x="144" y="105"/>
                  </a:lnTo>
                  <a:lnTo>
                    <a:pt x="147" y="97"/>
                  </a:lnTo>
                  <a:lnTo>
                    <a:pt x="148" y="90"/>
                  </a:lnTo>
                  <a:lnTo>
                    <a:pt x="150" y="83"/>
                  </a:lnTo>
                  <a:lnTo>
                    <a:pt x="150" y="75"/>
                  </a:lnTo>
                  <a:lnTo>
                    <a:pt x="150" y="67"/>
                  </a:lnTo>
                  <a:lnTo>
                    <a:pt x="148" y="60"/>
                  </a:lnTo>
                  <a:lnTo>
                    <a:pt x="147" y="52"/>
                  </a:lnTo>
                  <a:lnTo>
                    <a:pt x="144" y="46"/>
                  </a:lnTo>
                  <a:lnTo>
                    <a:pt x="141" y="39"/>
                  </a:lnTo>
                  <a:lnTo>
                    <a:pt x="138" y="33"/>
                  </a:lnTo>
                  <a:lnTo>
                    <a:pt x="133" y="28"/>
                  </a:lnTo>
                  <a:lnTo>
                    <a:pt x="128" y="22"/>
                  </a:lnTo>
                  <a:lnTo>
                    <a:pt x="123" y="17"/>
                  </a:lnTo>
                  <a:lnTo>
                    <a:pt x="117" y="13"/>
                  </a:lnTo>
                  <a:lnTo>
                    <a:pt x="111" y="9"/>
                  </a:lnTo>
                  <a:lnTo>
                    <a:pt x="104" y="6"/>
                  </a:lnTo>
                  <a:lnTo>
                    <a:pt x="98" y="3"/>
                  </a:lnTo>
                  <a:lnTo>
                    <a:pt x="90" y="2"/>
                  </a:lnTo>
                  <a:lnTo>
                    <a:pt x="83" y="1"/>
                  </a:lnTo>
                  <a:lnTo>
                    <a:pt x="75" y="0"/>
                  </a:lnTo>
                  <a:lnTo>
                    <a:pt x="68" y="1"/>
                  </a:lnTo>
                  <a:lnTo>
                    <a:pt x="60" y="2"/>
                  </a:lnTo>
                  <a:lnTo>
                    <a:pt x="53" y="3"/>
                  </a:lnTo>
                  <a:lnTo>
                    <a:pt x="45" y="6"/>
                  </a:lnTo>
                  <a:lnTo>
                    <a:pt x="39" y="9"/>
                  </a:lnTo>
                  <a:lnTo>
                    <a:pt x="32" y="13"/>
                  </a:lnTo>
                  <a:lnTo>
                    <a:pt x="27" y="17"/>
                  </a:lnTo>
                  <a:lnTo>
                    <a:pt x="22" y="22"/>
                  </a:lnTo>
                  <a:lnTo>
                    <a:pt x="17" y="28"/>
                  </a:lnTo>
                  <a:lnTo>
                    <a:pt x="13" y="33"/>
                  </a:lnTo>
                  <a:lnTo>
                    <a:pt x="9" y="39"/>
                  </a:lnTo>
                  <a:lnTo>
                    <a:pt x="6" y="46"/>
                  </a:lnTo>
                  <a:lnTo>
                    <a:pt x="4" y="53"/>
                  </a:lnTo>
                  <a:lnTo>
                    <a:pt x="1" y="60"/>
                  </a:lnTo>
                  <a:lnTo>
                    <a:pt x="0" y="67"/>
                  </a:lnTo>
                  <a:lnTo>
                    <a:pt x="0" y="75"/>
                  </a:lnTo>
                  <a:lnTo>
                    <a:pt x="0" y="83"/>
                  </a:lnTo>
                  <a:lnTo>
                    <a:pt x="1" y="90"/>
                  </a:lnTo>
                  <a:lnTo>
                    <a:pt x="4" y="97"/>
                  </a:lnTo>
                  <a:lnTo>
                    <a:pt x="6" y="105"/>
                  </a:lnTo>
                  <a:lnTo>
                    <a:pt x="9" y="111"/>
                  </a:lnTo>
                  <a:lnTo>
                    <a:pt x="13" y="117"/>
                  </a:lnTo>
                  <a:lnTo>
                    <a:pt x="17" y="123"/>
                  </a:lnTo>
                  <a:lnTo>
                    <a:pt x="22" y="128"/>
                  </a:lnTo>
                  <a:lnTo>
                    <a:pt x="27" y="133"/>
                  </a:lnTo>
                  <a:lnTo>
                    <a:pt x="32" y="137"/>
                  </a:lnTo>
                  <a:lnTo>
                    <a:pt x="39" y="141"/>
                  </a:lnTo>
                  <a:lnTo>
                    <a:pt x="45" y="145"/>
                  </a:lnTo>
                  <a:lnTo>
                    <a:pt x="53" y="147"/>
                  </a:lnTo>
                  <a:lnTo>
                    <a:pt x="60" y="149"/>
                  </a:lnTo>
                  <a:lnTo>
                    <a:pt x="68" y="150"/>
                  </a:lnTo>
                  <a:lnTo>
                    <a:pt x="75" y="151"/>
                  </a:lnTo>
                  <a:lnTo>
                    <a:pt x="75" y="1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99" name="Group 198"/>
          <p:cNvGrpSpPr/>
          <p:nvPr/>
        </p:nvGrpSpPr>
        <p:grpSpPr>
          <a:xfrm>
            <a:off x="4850230" y="2393869"/>
            <a:ext cx="287338" cy="239712"/>
            <a:chOff x="11037888" y="817563"/>
            <a:chExt cx="287338" cy="239712"/>
          </a:xfrm>
          <a:solidFill>
            <a:srgbClr val="E2583D"/>
          </a:solidFill>
        </p:grpSpPr>
        <p:sp>
          <p:nvSpPr>
            <p:cNvPr id="200" name="Freeform 294"/>
            <p:cNvSpPr>
              <a:spLocks noEditPoints="1"/>
            </p:cNvSpPr>
            <p:nvPr/>
          </p:nvSpPr>
          <p:spPr bwMode="auto">
            <a:xfrm>
              <a:off x="11037888" y="817563"/>
              <a:ext cx="287338" cy="239712"/>
            </a:xfrm>
            <a:custGeom>
              <a:avLst/>
              <a:gdLst>
                <a:gd name="T0" fmla="*/ 752 w 903"/>
                <a:gd name="T1" fmla="*/ 722 h 753"/>
                <a:gd name="T2" fmla="*/ 752 w 903"/>
                <a:gd name="T3" fmla="*/ 374 h 753"/>
                <a:gd name="T4" fmla="*/ 750 w 903"/>
                <a:gd name="T5" fmla="*/ 368 h 753"/>
                <a:gd name="T6" fmla="*/ 745 w 903"/>
                <a:gd name="T7" fmla="*/ 364 h 753"/>
                <a:gd name="T8" fmla="*/ 740 w 903"/>
                <a:gd name="T9" fmla="*/ 362 h 753"/>
                <a:gd name="T10" fmla="*/ 165 w 903"/>
                <a:gd name="T11" fmla="*/ 361 h 753"/>
                <a:gd name="T12" fmla="*/ 160 w 903"/>
                <a:gd name="T13" fmla="*/ 363 h 753"/>
                <a:gd name="T14" fmla="*/ 154 w 903"/>
                <a:gd name="T15" fmla="*/ 366 h 753"/>
                <a:gd name="T16" fmla="*/ 151 w 903"/>
                <a:gd name="T17" fmla="*/ 371 h 753"/>
                <a:gd name="T18" fmla="*/ 150 w 903"/>
                <a:gd name="T19" fmla="*/ 377 h 753"/>
                <a:gd name="T20" fmla="*/ 90 w 903"/>
                <a:gd name="T21" fmla="*/ 722 h 753"/>
                <a:gd name="T22" fmla="*/ 813 w 903"/>
                <a:gd name="T23" fmla="*/ 301 h 753"/>
                <a:gd name="T24" fmla="*/ 180 w 903"/>
                <a:gd name="T25" fmla="*/ 722 h 753"/>
                <a:gd name="T26" fmla="*/ 722 w 903"/>
                <a:gd name="T27" fmla="*/ 391 h 753"/>
                <a:gd name="T28" fmla="*/ 180 w 903"/>
                <a:gd name="T29" fmla="*/ 722 h 753"/>
                <a:gd name="T30" fmla="*/ 451 w 903"/>
                <a:gd name="T31" fmla="*/ 32 h 753"/>
                <a:gd name="T32" fmla="*/ 873 w 903"/>
                <a:gd name="T33" fmla="*/ 271 h 753"/>
                <a:gd name="T34" fmla="*/ 75 w 903"/>
                <a:gd name="T35" fmla="*/ 271 h 753"/>
                <a:gd name="T36" fmla="*/ 30 w 903"/>
                <a:gd name="T37" fmla="*/ 220 h 753"/>
                <a:gd name="T38" fmla="*/ 891 w 903"/>
                <a:gd name="T39" fmla="*/ 301 h 753"/>
                <a:gd name="T40" fmla="*/ 896 w 903"/>
                <a:gd name="T41" fmla="*/ 299 h 753"/>
                <a:gd name="T42" fmla="*/ 900 w 903"/>
                <a:gd name="T43" fmla="*/ 294 h 753"/>
                <a:gd name="T44" fmla="*/ 902 w 903"/>
                <a:gd name="T45" fmla="*/ 289 h 753"/>
                <a:gd name="T46" fmla="*/ 903 w 903"/>
                <a:gd name="T47" fmla="*/ 211 h 753"/>
                <a:gd name="T48" fmla="*/ 901 w 903"/>
                <a:gd name="T49" fmla="*/ 202 h 753"/>
                <a:gd name="T50" fmla="*/ 894 w 903"/>
                <a:gd name="T51" fmla="*/ 197 h 753"/>
                <a:gd name="T52" fmla="*/ 455 w 903"/>
                <a:gd name="T53" fmla="*/ 0 h 753"/>
                <a:gd name="T54" fmla="*/ 448 w 903"/>
                <a:gd name="T55" fmla="*/ 0 h 753"/>
                <a:gd name="T56" fmla="*/ 8 w 903"/>
                <a:gd name="T57" fmla="*/ 197 h 753"/>
                <a:gd name="T58" fmla="*/ 2 w 903"/>
                <a:gd name="T59" fmla="*/ 202 h 753"/>
                <a:gd name="T60" fmla="*/ 0 w 903"/>
                <a:gd name="T61" fmla="*/ 211 h 753"/>
                <a:gd name="T62" fmla="*/ 0 w 903"/>
                <a:gd name="T63" fmla="*/ 289 h 753"/>
                <a:gd name="T64" fmla="*/ 2 w 903"/>
                <a:gd name="T65" fmla="*/ 294 h 753"/>
                <a:gd name="T66" fmla="*/ 6 w 903"/>
                <a:gd name="T67" fmla="*/ 299 h 753"/>
                <a:gd name="T68" fmla="*/ 12 w 903"/>
                <a:gd name="T69" fmla="*/ 301 h 753"/>
                <a:gd name="T70" fmla="*/ 60 w 903"/>
                <a:gd name="T71" fmla="*/ 301 h 753"/>
                <a:gd name="T72" fmla="*/ 15 w 903"/>
                <a:gd name="T73" fmla="*/ 722 h 753"/>
                <a:gd name="T74" fmla="*/ 8 w 903"/>
                <a:gd name="T75" fmla="*/ 724 h 753"/>
                <a:gd name="T76" fmla="*/ 4 w 903"/>
                <a:gd name="T77" fmla="*/ 727 h 753"/>
                <a:gd name="T78" fmla="*/ 1 w 903"/>
                <a:gd name="T79" fmla="*/ 732 h 753"/>
                <a:gd name="T80" fmla="*/ 0 w 903"/>
                <a:gd name="T81" fmla="*/ 738 h 753"/>
                <a:gd name="T82" fmla="*/ 1 w 903"/>
                <a:gd name="T83" fmla="*/ 744 h 753"/>
                <a:gd name="T84" fmla="*/ 4 w 903"/>
                <a:gd name="T85" fmla="*/ 748 h 753"/>
                <a:gd name="T86" fmla="*/ 8 w 903"/>
                <a:gd name="T87" fmla="*/ 751 h 753"/>
                <a:gd name="T88" fmla="*/ 15 w 903"/>
                <a:gd name="T89" fmla="*/ 753 h 753"/>
                <a:gd name="T90" fmla="*/ 165 w 903"/>
                <a:gd name="T91" fmla="*/ 753 h 753"/>
                <a:gd name="T92" fmla="*/ 828 w 903"/>
                <a:gd name="T93" fmla="*/ 753 h 753"/>
                <a:gd name="T94" fmla="*/ 891 w 903"/>
                <a:gd name="T95" fmla="*/ 753 h 753"/>
                <a:gd name="T96" fmla="*/ 896 w 903"/>
                <a:gd name="T97" fmla="*/ 750 h 753"/>
                <a:gd name="T98" fmla="*/ 900 w 903"/>
                <a:gd name="T99" fmla="*/ 746 h 753"/>
                <a:gd name="T100" fmla="*/ 902 w 903"/>
                <a:gd name="T101" fmla="*/ 741 h 753"/>
                <a:gd name="T102" fmla="*/ 903 w 903"/>
                <a:gd name="T103" fmla="*/ 735 h 753"/>
                <a:gd name="T104" fmla="*/ 900 w 903"/>
                <a:gd name="T105" fmla="*/ 730 h 753"/>
                <a:gd name="T106" fmla="*/ 896 w 903"/>
                <a:gd name="T107" fmla="*/ 726 h 753"/>
                <a:gd name="T108" fmla="*/ 891 w 903"/>
                <a:gd name="T109" fmla="*/ 724 h 753"/>
                <a:gd name="T110" fmla="*/ 843 w 903"/>
                <a:gd name="T111" fmla="*/ 722 h 753"/>
                <a:gd name="T112" fmla="*/ 888 w 903"/>
                <a:gd name="T113" fmla="*/ 301 h 7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903" h="753">
                  <a:moveTo>
                    <a:pt x="813" y="722"/>
                  </a:moveTo>
                  <a:lnTo>
                    <a:pt x="752" y="722"/>
                  </a:lnTo>
                  <a:lnTo>
                    <a:pt x="752" y="376"/>
                  </a:lnTo>
                  <a:lnTo>
                    <a:pt x="752" y="374"/>
                  </a:lnTo>
                  <a:lnTo>
                    <a:pt x="751" y="371"/>
                  </a:lnTo>
                  <a:lnTo>
                    <a:pt x="750" y="368"/>
                  </a:lnTo>
                  <a:lnTo>
                    <a:pt x="747" y="366"/>
                  </a:lnTo>
                  <a:lnTo>
                    <a:pt x="745" y="364"/>
                  </a:lnTo>
                  <a:lnTo>
                    <a:pt x="743" y="363"/>
                  </a:lnTo>
                  <a:lnTo>
                    <a:pt x="740" y="362"/>
                  </a:lnTo>
                  <a:lnTo>
                    <a:pt x="737" y="361"/>
                  </a:lnTo>
                  <a:lnTo>
                    <a:pt x="165" y="361"/>
                  </a:lnTo>
                  <a:lnTo>
                    <a:pt x="162" y="362"/>
                  </a:lnTo>
                  <a:lnTo>
                    <a:pt x="160" y="363"/>
                  </a:lnTo>
                  <a:lnTo>
                    <a:pt x="156" y="364"/>
                  </a:lnTo>
                  <a:lnTo>
                    <a:pt x="154" y="366"/>
                  </a:lnTo>
                  <a:lnTo>
                    <a:pt x="152" y="368"/>
                  </a:lnTo>
                  <a:lnTo>
                    <a:pt x="151" y="371"/>
                  </a:lnTo>
                  <a:lnTo>
                    <a:pt x="150" y="374"/>
                  </a:lnTo>
                  <a:lnTo>
                    <a:pt x="150" y="377"/>
                  </a:lnTo>
                  <a:lnTo>
                    <a:pt x="150" y="722"/>
                  </a:lnTo>
                  <a:lnTo>
                    <a:pt x="90" y="722"/>
                  </a:lnTo>
                  <a:lnTo>
                    <a:pt x="90" y="301"/>
                  </a:lnTo>
                  <a:lnTo>
                    <a:pt x="813" y="301"/>
                  </a:lnTo>
                  <a:lnTo>
                    <a:pt x="813" y="722"/>
                  </a:lnTo>
                  <a:close/>
                  <a:moveTo>
                    <a:pt x="180" y="722"/>
                  </a:moveTo>
                  <a:lnTo>
                    <a:pt x="180" y="391"/>
                  </a:lnTo>
                  <a:lnTo>
                    <a:pt x="722" y="391"/>
                  </a:lnTo>
                  <a:lnTo>
                    <a:pt x="722" y="722"/>
                  </a:lnTo>
                  <a:lnTo>
                    <a:pt x="180" y="722"/>
                  </a:lnTo>
                  <a:close/>
                  <a:moveTo>
                    <a:pt x="30" y="220"/>
                  </a:moveTo>
                  <a:lnTo>
                    <a:pt x="451" y="32"/>
                  </a:lnTo>
                  <a:lnTo>
                    <a:pt x="873" y="220"/>
                  </a:lnTo>
                  <a:lnTo>
                    <a:pt x="873" y="271"/>
                  </a:lnTo>
                  <a:lnTo>
                    <a:pt x="828" y="271"/>
                  </a:lnTo>
                  <a:lnTo>
                    <a:pt x="75" y="271"/>
                  </a:lnTo>
                  <a:lnTo>
                    <a:pt x="30" y="271"/>
                  </a:lnTo>
                  <a:lnTo>
                    <a:pt x="30" y="220"/>
                  </a:lnTo>
                  <a:close/>
                  <a:moveTo>
                    <a:pt x="888" y="301"/>
                  </a:moveTo>
                  <a:lnTo>
                    <a:pt x="891" y="301"/>
                  </a:lnTo>
                  <a:lnTo>
                    <a:pt x="893" y="300"/>
                  </a:lnTo>
                  <a:lnTo>
                    <a:pt x="896" y="299"/>
                  </a:lnTo>
                  <a:lnTo>
                    <a:pt x="899" y="297"/>
                  </a:lnTo>
                  <a:lnTo>
                    <a:pt x="900" y="294"/>
                  </a:lnTo>
                  <a:lnTo>
                    <a:pt x="902" y="292"/>
                  </a:lnTo>
                  <a:lnTo>
                    <a:pt x="902" y="289"/>
                  </a:lnTo>
                  <a:lnTo>
                    <a:pt x="903" y="286"/>
                  </a:lnTo>
                  <a:lnTo>
                    <a:pt x="903" y="211"/>
                  </a:lnTo>
                  <a:lnTo>
                    <a:pt x="902" y="206"/>
                  </a:lnTo>
                  <a:lnTo>
                    <a:pt x="901" y="202"/>
                  </a:lnTo>
                  <a:lnTo>
                    <a:pt x="898" y="199"/>
                  </a:lnTo>
                  <a:lnTo>
                    <a:pt x="894" y="197"/>
                  </a:lnTo>
                  <a:lnTo>
                    <a:pt x="458" y="1"/>
                  </a:lnTo>
                  <a:lnTo>
                    <a:pt x="455" y="0"/>
                  </a:lnTo>
                  <a:lnTo>
                    <a:pt x="451" y="0"/>
                  </a:lnTo>
                  <a:lnTo>
                    <a:pt x="448" y="0"/>
                  </a:lnTo>
                  <a:lnTo>
                    <a:pt x="445" y="1"/>
                  </a:lnTo>
                  <a:lnTo>
                    <a:pt x="8" y="197"/>
                  </a:lnTo>
                  <a:lnTo>
                    <a:pt x="5" y="199"/>
                  </a:lnTo>
                  <a:lnTo>
                    <a:pt x="2" y="202"/>
                  </a:lnTo>
                  <a:lnTo>
                    <a:pt x="0" y="206"/>
                  </a:lnTo>
                  <a:lnTo>
                    <a:pt x="0" y="211"/>
                  </a:lnTo>
                  <a:lnTo>
                    <a:pt x="0" y="286"/>
                  </a:lnTo>
                  <a:lnTo>
                    <a:pt x="0" y="289"/>
                  </a:lnTo>
                  <a:lnTo>
                    <a:pt x="1" y="292"/>
                  </a:lnTo>
                  <a:lnTo>
                    <a:pt x="2" y="294"/>
                  </a:lnTo>
                  <a:lnTo>
                    <a:pt x="4" y="297"/>
                  </a:lnTo>
                  <a:lnTo>
                    <a:pt x="6" y="299"/>
                  </a:lnTo>
                  <a:lnTo>
                    <a:pt x="8" y="300"/>
                  </a:lnTo>
                  <a:lnTo>
                    <a:pt x="12" y="301"/>
                  </a:lnTo>
                  <a:lnTo>
                    <a:pt x="15" y="301"/>
                  </a:lnTo>
                  <a:lnTo>
                    <a:pt x="60" y="301"/>
                  </a:lnTo>
                  <a:lnTo>
                    <a:pt x="60" y="722"/>
                  </a:lnTo>
                  <a:lnTo>
                    <a:pt x="15" y="722"/>
                  </a:lnTo>
                  <a:lnTo>
                    <a:pt x="12" y="724"/>
                  </a:lnTo>
                  <a:lnTo>
                    <a:pt x="8" y="724"/>
                  </a:lnTo>
                  <a:lnTo>
                    <a:pt x="6" y="726"/>
                  </a:lnTo>
                  <a:lnTo>
                    <a:pt x="4" y="727"/>
                  </a:lnTo>
                  <a:lnTo>
                    <a:pt x="2" y="730"/>
                  </a:lnTo>
                  <a:lnTo>
                    <a:pt x="1" y="732"/>
                  </a:lnTo>
                  <a:lnTo>
                    <a:pt x="0" y="735"/>
                  </a:lnTo>
                  <a:lnTo>
                    <a:pt x="0" y="738"/>
                  </a:lnTo>
                  <a:lnTo>
                    <a:pt x="0" y="741"/>
                  </a:lnTo>
                  <a:lnTo>
                    <a:pt x="1" y="744"/>
                  </a:lnTo>
                  <a:lnTo>
                    <a:pt x="2" y="746"/>
                  </a:lnTo>
                  <a:lnTo>
                    <a:pt x="4" y="748"/>
                  </a:lnTo>
                  <a:lnTo>
                    <a:pt x="6" y="750"/>
                  </a:lnTo>
                  <a:lnTo>
                    <a:pt x="8" y="751"/>
                  </a:lnTo>
                  <a:lnTo>
                    <a:pt x="12" y="753"/>
                  </a:lnTo>
                  <a:lnTo>
                    <a:pt x="15" y="753"/>
                  </a:lnTo>
                  <a:lnTo>
                    <a:pt x="75" y="753"/>
                  </a:lnTo>
                  <a:lnTo>
                    <a:pt x="165" y="753"/>
                  </a:lnTo>
                  <a:lnTo>
                    <a:pt x="737" y="753"/>
                  </a:lnTo>
                  <a:lnTo>
                    <a:pt x="828" y="753"/>
                  </a:lnTo>
                  <a:lnTo>
                    <a:pt x="888" y="753"/>
                  </a:lnTo>
                  <a:lnTo>
                    <a:pt x="891" y="753"/>
                  </a:lnTo>
                  <a:lnTo>
                    <a:pt x="893" y="751"/>
                  </a:lnTo>
                  <a:lnTo>
                    <a:pt x="896" y="750"/>
                  </a:lnTo>
                  <a:lnTo>
                    <a:pt x="899" y="748"/>
                  </a:lnTo>
                  <a:lnTo>
                    <a:pt x="900" y="746"/>
                  </a:lnTo>
                  <a:lnTo>
                    <a:pt x="902" y="744"/>
                  </a:lnTo>
                  <a:lnTo>
                    <a:pt x="902" y="741"/>
                  </a:lnTo>
                  <a:lnTo>
                    <a:pt x="903" y="738"/>
                  </a:lnTo>
                  <a:lnTo>
                    <a:pt x="903" y="735"/>
                  </a:lnTo>
                  <a:lnTo>
                    <a:pt x="902" y="732"/>
                  </a:lnTo>
                  <a:lnTo>
                    <a:pt x="900" y="730"/>
                  </a:lnTo>
                  <a:lnTo>
                    <a:pt x="899" y="727"/>
                  </a:lnTo>
                  <a:lnTo>
                    <a:pt x="896" y="726"/>
                  </a:lnTo>
                  <a:lnTo>
                    <a:pt x="893" y="724"/>
                  </a:lnTo>
                  <a:lnTo>
                    <a:pt x="891" y="724"/>
                  </a:lnTo>
                  <a:lnTo>
                    <a:pt x="888" y="722"/>
                  </a:lnTo>
                  <a:lnTo>
                    <a:pt x="843" y="722"/>
                  </a:lnTo>
                  <a:lnTo>
                    <a:pt x="843" y="301"/>
                  </a:lnTo>
                  <a:lnTo>
                    <a:pt x="888" y="3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295"/>
            <p:cNvSpPr>
              <a:spLocks/>
            </p:cNvSpPr>
            <p:nvPr/>
          </p:nvSpPr>
          <p:spPr bwMode="auto">
            <a:xfrm>
              <a:off x="11114088" y="962025"/>
              <a:ext cx="134938" cy="9525"/>
            </a:xfrm>
            <a:custGeom>
              <a:avLst/>
              <a:gdLst>
                <a:gd name="T0" fmla="*/ 407 w 422"/>
                <a:gd name="T1" fmla="*/ 0 h 30"/>
                <a:gd name="T2" fmla="*/ 15 w 422"/>
                <a:gd name="T3" fmla="*/ 0 h 30"/>
                <a:gd name="T4" fmla="*/ 12 w 422"/>
                <a:gd name="T5" fmla="*/ 0 h 30"/>
                <a:gd name="T6" fmla="*/ 10 w 422"/>
                <a:gd name="T7" fmla="*/ 1 h 30"/>
                <a:gd name="T8" fmla="*/ 7 w 422"/>
                <a:gd name="T9" fmla="*/ 2 h 30"/>
                <a:gd name="T10" fmla="*/ 4 w 422"/>
                <a:gd name="T11" fmla="*/ 4 h 30"/>
                <a:gd name="T12" fmla="*/ 3 w 422"/>
                <a:gd name="T13" fmla="*/ 7 h 30"/>
                <a:gd name="T14" fmla="*/ 1 w 422"/>
                <a:gd name="T15" fmla="*/ 9 h 30"/>
                <a:gd name="T16" fmla="*/ 1 w 422"/>
                <a:gd name="T17" fmla="*/ 12 h 30"/>
                <a:gd name="T18" fmla="*/ 0 w 422"/>
                <a:gd name="T19" fmla="*/ 15 h 30"/>
                <a:gd name="T20" fmla="*/ 1 w 422"/>
                <a:gd name="T21" fmla="*/ 18 h 30"/>
                <a:gd name="T22" fmla="*/ 1 w 422"/>
                <a:gd name="T23" fmla="*/ 20 h 30"/>
                <a:gd name="T24" fmla="*/ 3 w 422"/>
                <a:gd name="T25" fmla="*/ 24 h 30"/>
                <a:gd name="T26" fmla="*/ 4 w 422"/>
                <a:gd name="T27" fmla="*/ 26 h 30"/>
                <a:gd name="T28" fmla="*/ 7 w 422"/>
                <a:gd name="T29" fmla="*/ 27 h 30"/>
                <a:gd name="T30" fmla="*/ 10 w 422"/>
                <a:gd name="T31" fmla="*/ 29 h 30"/>
                <a:gd name="T32" fmla="*/ 12 w 422"/>
                <a:gd name="T33" fmla="*/ 29 h 30"/>
                <a:gd name="T34" fmla="*/ 15 w 422"/>
                <a:gd name="T35" fmla="*/ 30 h 30"/>
                <a:gd name="T36" fmla="*/ 407 w 422"/>
                <a:gd name="T37" fmla="*/ 30 h 30"/>
                <a:gd name="T38" fmla="*/ 410 w 422"/>
                <a:gd name="T39" fmla="*/ 29 h 30"/>
                <a:gd name="T40" fmla="*/ 413 w 422"/>
                <a:gd name="T41" fmla="*/ 29 h 30"/>
                <a:gd name="T42" fmla="*/ 415 w 422"/>
                <a:gd name="T43" fmla="*/ 27 h 30"/>
                <a:gd name="T44" fmla="*/ 417 w 422"/>
                <a:gd name="T45" fmla="*/ 26 h 30"/>
                <a:gd name="T46" fmla="*/ 419 w 422"/>
                <a:gd name="T47" fmla="*/ 24 h 30"/>
                <a:gd name="T48" fmla="*/ 421 w 422"/>
                <a:gd name="T49" fmla="*/ 20 h 30"/>
                <a:gd name="T50" fmla="*/ 422 w 422"/>
                <a:gd name="T51" fmla="*/ 18 h 30"/>
                <a:gd name="T52" fmla="*/ 422 w 422"/>
                <a:gd name="T53" fmla="*/ 15 h 30"/>
                <a:gd name="T54" fmla="*/ 422 w 422"/>
                <a:gd name="T55" fmla="*/ 12 h 30"/>
                <a:gd name="T56" fmla="*/ 421 w 422"/>
                <a:gd name="T57" fmla="*/ 9 h 30"/>
                <a:gd name="T58" fmla="*/ 419 w 422"/>
                <a:gd name="T59" fmla="*/ 7 h 30"/>
                <a:gd name="T60" fmla="*/ 417 w 422"/>
                <a:gd name="T61" fmla="*/ 4 h 30"/>
                <a:gd name="T62" fmla="*/ 415 w 422"/>
                <a:gd name="T63" fmla="*/ 2 h 30"/>
                <a:gd name="T64" fmla="*/ 413 w 422"/>
                <a:gd name="T65" fmla="*/ 1 h 30"/>
                <a:gd name="T66" fmla="*/ 410 w 422"/>
                <a:gd name="T67" fmla="*/ 0 h 30"/>
                <a:gd name="T68" fmla="*/ 407 w 422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22" h="30">
                  <a:moveTo>
                    <a:pt x="407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7" y="2"/>
                  </a:lnTo>
                  <a:lnTo>
                    <a:pt x="4" y="4"/>
                  </a:lnTo>
                  <a:lnTo>
                    <a:pt x="3" y="7"/>
                  </a:lnTo>
                  <a:lnTo>
                    <a:pt x="1" y="9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1" y="18"/>
                  </a:lnTo>
                  <a:lnTo>
                    <a:pt x="1" y="20"/>
                  </a:lnTo>
                  <a:lnTo>
                    <a:pt x="3" y="24"/>
                  </a:lnTo>
                  <a:lnTo>
                    <a:pt x="4" y="26"/>
                  </a:lnTo>
                  <a:lnTo>
                    <a:pt x="7" y="27"/>
                  </a:lnTo>
                  <a:lnTo>
                    <a:pt x="10" y="29"/>
                  </a:lnTo>
                  <a:lnTo>
                    <a:pt x="12" y="29"/>
                  </a:lnTo>
                  <a:lnTo>
                    <a:pt x="15" y="30"/>
                  </a:lnTo>
                  <a:lnTo>
                    <a:pt x="407" y="30"/>
                  </a:lnTo>
                  <a:lnTo>
                    <a:pt x="410" y="29"/>
                  </a:lnTo>
                  <a:lnTo>
                    <a:pt x="413" y="29"/>
                  </a:lnTo>
                  <a:lnTo>
                    <a:pt x="415" y="27"/>
                  </a:lnTo>
                  <a:lnTo>
                    <a:pt x="417" y="26"/>
                  </a:lnTo>
                  <a:lnTo>
                    <a:pt x="419" y="24"/>
                  </a:lnTo>
                  <a:lnTo>
                    <a:pt x="421" y="20"/>
                  </a:lnTo>
                  <a:lnTo>
                    <a:pt x="422" y="18"/>
                  </a:lnTo>
                  <a:lnTo>
                    <a:pt x="422" y="15"/>
                  </a:lnTo>
                  <a:lnTo>
                    <a:pt x="422" y="12"/>
                  </a:lnTo>
                  <a:lnTo>
                    <a:pt x="421" y="9"/>
                  </a:lnTo>
                  <a:lnTo>
                    <a:pt x="419" y="7"/>
                  </a:lnTo>
                  <a:lnTo>
                    <a:pt x="417" y="4"/>
                  </a:lnTo>
                  <a:lnTo>
                    <a:pt x="415" y="2"/>
                  </a:lnTo>
                  <a:lnTo>
                    <a:pt x="413" y="1"/>
                  </a:lnTo>
                  <a:lnTo>
                    <a:pt x="410" y="0"/>
                  </a:lnTo>
                  <a:lnTo>
                    <a:pt x="40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296"/>
            <p:cNvSpPr>
              <a:spLocks/>
            </p:cNvSpPr>
            <p:nvPr/>
          </p:nvSpPr>
          <p:spPr bwMode="auto">
            <a:xfrm>
              <a:off x="11114088" y="990600"/>
              <a:ext cx="134938" cy="9525"/>
            </a:xfrm>
            <a:custGeom>
              <a:avLst/>
              <a:gdLst>
                <a:gd name="T0" fmla="*/ 407 w 422"/>
                <a:gd name="T1" fmla="*/ 0 h 30"/>
                <a:gd name="T2" fmla="*/ 15 w 422"/>
                <a:gd name="T3" fmla="*/ 0 h 30"/>
                <a:gd name="T4" fmla="*/ 12 w 422"/>
                <a:gd name="T5" fmla="*/ 0 h 30"/>
                <a:gd name="T6" fmla="*/ 10 w 422"/>
                <a:gd name="T7" fmla="*/ 1 h 30"/>
                <a:gd name="T8" fmla="*/ 7 w 422"/>
                <a:gd name="T9" fmla="*/ 2 h 30"/>
                <a:gd name="T10" fmla="*/ 4 w 422"/>
                <a:gd name="T11" fmla="*/ 5 h 30"/>
                <a:gd name="T12" fmla="*/ 3 w 422"/>
                <a:gd name="T13" fmla="*/ 7 h 30"/>
                <a:gd name="T14" fmla="*/ 1 w 422"/>
                <a:gd name="T15" fmla="*/ 9 h 30"/>
                <a:gd name="T16" fmla="*/ 1 w 422"/>
                <a:gd name="T17" fmla="*/ 12 h 30"/>
                <a:gd name="T18" fmla="*/ 0 w 422"/>
                <a:gd name="T19" fmla="*/ 15 h 30"/>
                <a:gd name="T20" fmla="*/ 1 w 422"/>
                <a:gd name="T21" fmla="*/ 18 h 30"/>
                <a:gd name="T22" fmla="*/ 1 w 422"/>
                <a:gd name="T23" fmla="*/ 21 h 30"/>
                <a:gd name="T24" fmla="*/ 3 w 422"/>
                <a:gd name="T25" fmla="*/ 24 h 30"/>
                <a:gd name="T26" fmla="*/ 4 w 422"/>
                <a:gd name="T27" fmla="*/ 26 h 30"/>
                <a:gd name="T28" fmla="*/ 7 w 422"/>
                <a:gd name="T29" fmla="*/ 28 h 30"/>
                <a:gd name="T30" fmla="*/ 10 w 422"/>
                <a:gd name="T31" fmla="*/ 29 h 30"/>
                <a:gd name="T32" fmla="*/ 12 w 422"/>
                <a:gd name="T33" fmla="*/ 30 h 30"/>
                <a:gd name="T34" fmla="*/ 15 w 422"/>
                <a:gd name="T35" fmla="*/ 30 h 30"/>
                <a:gd name="T36" fmla="*/ 407 w 422"/>
                <a:gd name="T37" fmla="*/ 30 h 30"/>
                <a:gd name="T38" fmla="*/ 410 w 422"/>
                <a:gd name="T39" fmla="*/ 30 h 30"/>
                <a:gd name="T40" fmla="*/ 413 w 422"/>
                <a:gd name="T41" fmla="*/ 29 h 30"/>
                <a:gd name="T42" fmla="*/ 415 w 422"/>
                <a:gd name="T43" fmla="*/ 28 h 30"/>
                <a:gd name="T44" fmla="*/ 417 w 422"/>
                <a:gd name="T45" fmla="*/ 26 h 30"/>
                <a:gd name="T46" fmla="*/ 419 w 422"/>
                <a:gd name="T47" fmla="*/ 24 h 30"/>
                <a:gd name="T48" fmla="*/ 421 w 422"/>
                <a:gd name="T49" fmla="*/ 21 h 30"/>
                <a:gd name="T50" fmla="*/ 422 w 422"/>
                <a:gd name="T51" fmla="*/ 18 h 30"/>
                <a:gd name="T52" fmla="*/ 422 w 422"/>
                <a:gd name="T53" fmla="*/ 15 h 30"/>
                <a:gd name="T54" fmla="*/ 422 w 422"/>
                <a:gd name="T55" fmla="*/ 12 h 30"/>
                <a:gd name="T56" fmla="*/ 421 w 422"/>
                <a:gd name="T57" fmla="*/ 9 h 30"/>
                <a:gd name="T58" fmla="*/ 419 w 422"/>
                <a:gd name="T59" fmla="*/ 7 h 30"/>
                <a:gd name="T60" fmla="*/ 417 w 422"/>
                <a:gd name="T61" fmla="*/ 5 h 30"/>
                <a:gd name="T62" fmla="*/ 415 w 422"/>
                <a:gd name="T63" fmla="*/ 2 h 30"/>
                <a:gd name="T64" fmla="*/ 413 w 422"/>
                <a:gd name="T65" fmla="*/ 1 h 30"/>
                <a:gd name="T66" fmla="*/ 410 w 422"/>
                <a:gd name="T67" fmla="*/ 0 h 30"/>
                <a:gd name="T68" fmla="*/ 407 w 422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22" h="30">
                  <a:moveTo>
                    <a:pt x="407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7" y="2"/>
                  </a:lnTo>
                  <a:lnTo>
                    <a:pt x="4" y="5"/>
                  </a:lnTo>
                  <a:lnTo>
                    <a:pt x="3" y="7"/>
                  </a:lnTo>
                  <a:lnTo>
                    <a:pt x="1" y="9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1" y="18"/>
                  </a:lnTo>
                  <a:lnTo>
                    <a:pt x="1" y="21"/>
                  </a:lnTo>
                  <a:lnTo>
                    <a:pt x="3" y="24"/>
                  </a:lnTo>
                  <a:lnTo>
                    <a:pt x="4" y="26"/>
                  </a:lnTo>
                  <a:lnTo>
                    <a:pt x="7" y="28"/>
                  </a:lnTo>
                  <a:lnTo>
                    <a:pt x="10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407" y="30"/>
                  </a:lnTo>
                  <a:lnTo>
                    <a:pt x="410" y="30"/>
                  </a:lnTo>
                  <a:lnTo>
                    <a:pt x="413" y="29"/>
                  </a:lnTo>
                  <a:lnTo>
                    <a:pt x="415" y="28"/>
                  </a:lnTo>
                  <a:lnTo>
                    <a:pt x="417" y="26"/>
                  </a:lnTo>
                  <a:lnTo>
                    <a:pt x="419" y="24"/>
                  </a:lnTo>
                  <a:lnTo>
                    <a:pt x="421" y="21"/>
                  </a:lnTo>
                  <a:lnTo>
                    <a:pt x="422" y="18"/>
                  </a:lnTo>
                  <a:lnTo>
                    <a:pt x="422" y="15"/>
                  </a:lnTo>
                  <a:lnTo>
                    <a:pt x="422" y="12"/>
                  </a:lnTo>
                  <a:lnTo>
                    <a:pt x="421" y="9"/>
                  </a:lnTo>
                  <a:lnTo>
                    <a:pt x="419" y="7"/>
                  </a:lnTo>
                  <a:lnTo>
                    <a:pt x="417" y="5"/>
                  </a:lnTo>
                  <a:lnTo>
                    <a:pt x="415" y="2"/>
                  </a:lnTo>
                  <a:lnTo>
                    <a:pt x="413" y="1"/>
                  </a:lnTo>
                  <a:lnTo>
                    <a:pt x="410" y="0"/>
                  </a:lnTo>
                  <a:lnTo>
                    <a:pt x="40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297"/>
            <p:cNvSpPr>
              <a:spLocks/>
            </p:cNvSpPr>
            <p:nvPr/>
          </p:nvSpPr>
          <p:spPr bwMode="auto">
            <a:xfrm>
              <a:off x="11114088" y="1019175"/>
              <a:ext cx="134938" cy="9525"/>
            </a:xfrm>
            <a:custGeom>
              <a:avLst/>
              <a:gdLst>
                <a:gd name="T0" fmla="*/ 407 w 422"/>
                <a:gd name="T1" fmla="*/ 0 h 30"/>
                <a:gd name="T2" fmla="*/ 15 w 422"/>
                <a:gd name="T3" fmla="*/ 0 h 30"/>
                <a:gd name="T4" fmla="*/ 12 w 422"/>
                <a:gd name="T5" fmla="*/ 0 h 30"/>
                <a:gd name="T6" fmla="*/ 10 w 422"/>
                <a:gd name="T7" fmla="*/ 1 h 30"/>
                <a:gd name="T8" fmla="*/ 7 w 422"/>
                <a:gd name="T9" fmla="*/ 3 h 30"/>
                <a:gd name="T10" fmla="*/ 4 w 422"/>
                <a:gd name="T11" fmla="*/ 5 h 30"/>
                <a:gd name="T12" fmla="*/ 3 w 422"/>
                <a:gd name="T13" fmla="*/ 7 h 30"/>
                <a:gd name="T14" fmla="*/ 1 w 422"/>
                <a:gd name="T15" fmla="*/ 10 h 30"/>
                <a:gd name="T16" fmla="*/ 1 w 422"/>
                <a:gd name="T17" fmla="*/ 12 h 30"/>
                <a:gd name="T18" fmla="*/ 0 w 422"/>
                <a:gd name="T19" fmla="*/ 15 h 30"/>
                <a:gd name="T20" fmla="*/ 1 w 422"/>
                <a:gd name="T21" fmla="*/ 19 h 30"/>
                <a:gd name="T22" fmla="*/ 1 w 422"/>
                <a:gd name="T23" fmla="*/ 22 h 30"/>
                <a:gd name="T24" fmla="*/ 3 w 422"/>
                <a:gd name="T25" fmla="*/ 24 h 30"/>
                <a:gd name="T26" fmla="*/ 4 w 422"/>
                <a:gd name="T27" fmla="*/ 26 h 30"/>
                <a:gd name="T28" fmla="*/ 7 w 422"/>
                <a:gd name="T29" fmla="*/ 28 h 30"/>
                <a:gd name="T30" fmla="*/ 10 w 422"/>
                <a:gd name="T31" fmla="*/ 29 h 30"/>
                <a:gd name="T32" fmla="*/ 12 w 422"/>
                <a:gd name="T33" fmla="*/ 30 h 30"/>
                <a:gd name="T34" fmla="*/ 15 w 422"/>
                <a:gd name="T35" fmla="*/ 30 h 30"/>
                <a:gd name="T36" fmla="*/ 407 w 422"/>
                <a:gd name="T37" fmla="*/ 30 h 30"/>
                <a:gd name="T38" fmla="*/ 410 w 422"/>
                <a:gd name="T39" fmla="*/ 30 h 30"/>
                <a:gd name="T40" fmla="*/ 413 w 422"/>
                <a:gd name="T41" fmla="*/ 29 h 30"/>
                <a:gd name="T42" fmla="*/ 415 w 422"/>
                <a:gd name="T43" fmla="*/ 28 h 30"/>
                <a:gd name="T44" fmla="*/ 417 w 422"/>
                <a:gd name="T45" fmla="*/ 26 h 30"/>
                <a:gd name="T46" fmla="*/ 419 w 422"/>
                <a:gd name="T47" fmla="*/ 24 h 30"/>
                <a:gd name="T48" fmla="*/ 421 w 422"/>
                <a:gd name="T49" fmla="*/ 22 h 30"/>
                <a:gd name="T50" fmla="*/ 422 w 422"/>
                <a:gd name="T51" fmla="*/ 19 h 30"/>
                <a:gd name="T52" fmla="*/ 422 w 422"/>
                <a:gd name="T53" fmla="*/ 15 h 30"/>
                <a:gd name="T54" fmla="*/ 422 w 422"/>
                <a:gd name="T55" fmla="*/ 12 h 30"/>
                <a:gd name="T56" fmla="*/ 421 w 422"/>
                <a:gd name="T57" fmla="*/ 10 h 30"/>
                <a:gd name="T58" fmla="*/ 419 w 422"/>
                <a:gd name="T59" fmla="*/ 7 h 30"/>
                <a:gd name="T60" fmla="*/ 417 w 422"/>
                <a:gd name="T61" fmla="*/ 5 h 30"/>
                <a:gd name="T62" fmla="*/ 415 w 422"/>
                <a:gd name="T63" fmla="*/ 3 h 30"/>
                <a:gd name="T64" fmla="*/ 413 w 422"/>
                <a:gd name="T65" fmla="*/ 1 h 30"/>
                <a:gd name="T66" fmla="*/ 410 w 422"/>
                <a:gd name="T67" fmla="*/ 0 h 30"/>
                <a:gd name="T68" fmla="*/ 407 w 422"/>
                <a:gd name="T69" fmla="*/ 0 h 30"/>
                <a:gd name="T70" fmla="*/ 407 w 422"/>
                <a:gd name="T7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22" h="30">
                  <a:moveTo>
                    <a:pt x="407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7" y="3"/>
                  </a:lnTo>
                  <a:lnTo>
                    <a:pt x="4" y="5"/>
                  </a:lnTo>
                  <a:lnTo>
                    <a:pt x="3" y="7"/>
                  </a:lnTo>
                  <a:lnTo>
                    <a:pt x="1" y="10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1" y="19"/>
                  </a:lnTo>
                  <a:lnTo>
                    <a:pt x="1" y="22"/>
                  </a:lnTo>
                  <a:lnTo>
                    <a:pt x="3" y="24"/>
                  </a:lnTo>
                  <a:lnTo>
                    <a:pt x="4" y="26"/>
                  </a:lnTo>
                  <a:lnTo>
                    <a:pt x="7" y="28"/>
                  </a:lnTo>
                  <a:lnTo>
                    <a:pt x="10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407" y="30"/>
                  </a:lnTo>
                  <a:lnTo>
                    <a:pt x="410" y="30"/>
                  </a:lnTo>
                  <a:lnTo>
                    <a:pt x="413" y="29"/>
                  </a:lnTo>
                  <a:lnTo>
                    <a:pt x="415" y="28"/>
                  </a:lnTo>
                  <a:lnTo>
                    <a:pt x="417" y="26"/>
                  </a:lnTo>
                  <a:lnTo>
                    <a:pt x="419" y="24"/>
                  </a:lnTo>
                  <a:lnTo>
                    <a:pt x="421" y="22"/>
                  </a:lnTo>
                  <a:lnTo>
                    <a:pt x="422" y="19"/>
                  </a:lnTo>
                  <a:lnTo>
                    <a:pt x="422" y="15"/>
                  </a:lnTo>
                  <a:lnTo>
                    <a:pt x="422" y="12"/>
                  </a:lnTo>
                  <a:lnTo>
                    <a:pt x="421" y="10"/>
                  </a:lnTo>
                  <a:lnTo>
                    <a:pt x="419" y="7"/>
                  </a:lnTo>
                  <a:lnTo>
                    <a:pt x="417" y="5"/>
                  </a:lnTo>
                  <a:lnTo>
                    <a:pt x="415" y="3"/>
                  </a:lnTo>
                  <a:lnTo>
                    <a:pt x="413" y="1"/>
                  </a:lnTo>
                  <a:lnTo>
                    <a:pt x="410" y="0"/>
                  </a:lnTo>
                  <a:lnTo>
                    <a:pt x="407" y="0"/>
                  </a:lnTo>
                  <a:lnTo>
                    <a:pt x="40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04" name="Group 203"/>
          <p:cNvGrpSpPr/>
          <p:nvPr/>
        </p:nvGrpSpPr>
        <p:grpSpPr>
          <a:xfrm>
            <a:off x="5952331" y="2021335"/>
            <a:ext cx="287338" cy="287337"/>
            <a:chOff x="7023101" y="1917700"/>
            <a:chExt cx="287338" cy="287337"/>
          </a:xfrm>
          <a:solidFill>
            <a:srgbClr val="78D2D2"/>
          </a:solidFill>
        </p:grpSpPr>
        <p:sp>
          <p:nvSpPr>
            <p:cNvPr id="205" name="Freeform 274"/>
            <p:cNvSpPr>
              <a:spLocks noEditPoints="1"/>
            </p:cNvSpPr>
            <p:nvPr/>
          </p:nvSpPr>
          <p:spPr bwMode="auto">
            <a:xfrm>
              <a:off x="7023101" y="1917700"/>
              <a:ext cx="287338" cy="287337"/>
            </a:xfrm>
            <a:custGeom>
              <a:avLst/>
              <a:gdLst>
                <a:gd name="T0" fmla="*/ 813 w 903"/>
                <a:gd name="T1" fmla="*/ 795 h 903"/>
                <a:gd name="T2" fmla="*/ 807 w 903"/>
                <a:gd name="T3" fmla="*/ 785 h 903"/>
                <a:gd name="T4" fmla="*/ 738 w 903"/>
                <a:gd name="T5" fmla="*/ 782 h 903"/>
                <a:gd name="T6" fmla="*/ 727 w 903"/>
                <a:gd name="T7" fmla="*/ 787 h 903"/>
                <a:gd name="T8" fmla="*/ 723 w 903"/>
                <a:gd name="T9" fmla="*/ 798 h 903"/>
                <a:gd name="T10" fmla="*/ 678 w 903"/>
                <a:gd name="T11" fmla="*/ 391 h 903"/>
                <a:gd name="T12" fmla="*/ 753 w 903"/>
                <a:gd name="T13" fmla="*/ 873 h 903"/>
                <a:gd name="T14" fmla="*/ 753 w 903"/>
                <a:gd name="T15" fmla="*/ 873 h 903"/>
                <a:gd name="T16" fmla="*/ 181 w 903"/>
                <a:gd name="T17" fmla="*/ 873 h 903"/>
                <a:gd name="T18" fmla="*/ 286 w 903"/>
                <a:gd name="T19" fmla="*/ 300 h 903"/>
                <a:gd name="T20" fmla="*/ 211 w 903"/>
                <a:gd name="T21" fmla="*/ 797 h 903"/>
                <a:gd name="T22" fmla="*/ 207 w 903"/>
                <a:gd name="T23" fmla="*/ 787 h 903"/>
                <a:gd name="T24" fmla="*/ 196 w 903"/>
                <a:gd name="T25" fmla="*/ 783 h 903"/>
                <a:gd name="T26" fmla="*/ 128 w 903"/>
                <a:gd name="T27" fmla="*/ 785 h 903"/>
                <a:gd name="T28" fmla="*/ 121 w 903"/>
                <a:gd name="T29" fmla="*/ 795 h 903"/>
                <a:gd name="T30" fmla="*/ 30 w 903"/>
                <a:gd name="T31" fmla="*/ 300 h 903"/>
                <a:gd name="T32" fmla="*/ 90 w 903"/>
                <a:gd name="T33" fmla="*/ 270 h 903"/>
                <a:gd name="T34" fmla="*/ 362 w 903"/>
                <a:gd name="T35" fmla="*/ 873 h 903"/>
                <a:gd name="T36" fmla="*/ 813 w 903"/>
                <a:gd name="T37" fmla="*/ 300 h 903"/>
                <a:gd name="T38" fmla="*/ 888 w 903"/>
                <a:gd name="T39" fmla="*/ 361 h 903"/>
                <a:gd name="T40" fmla="*/ 842 w 903"/>
                <a:gd name="T41" fmla="*/ 280 h 903"/>
                <a:gd name="T42" fmla="*/ 834 w 903"/>
                <a:gd name="T43" fmla="*/ 271 h 903"/>
                <a:gd name="T44" fmla="*/ 675 w 903"/>
                <a:gd name="T45" fmla="*/ 271 h 903"/>
                <a:gd name="T46" fmla="*/ 665 w 903"/>
                <a:gd name="T47" fmla="*/ 278 h 903"/>
                <a:gd name="T48" fmla="*/ 663 w 903"/>
                <a:gd name="T49" fmla="*/ 361 h 903"/>
                <a:gd name="T50" fmla="*/ 609 w 903"/>
                <a:gd name="T51" fmla="*/ 364 h 903"/>
                <a:gd name="T52" fmla="*/ 603 w 903"/>
                <a:gd name="T53" fmla="*/ 373 h 903"/>
                <a:gd name="T54" fmla="*/ 362 w 903"/>
                <a:gd name="T55" fmla="*/ 285 h 903"/>
                <a:gd name="T56" fmla="*/ 357 w 903"/>
                <a:gd name="T57" fmla="*/ 274 h 903"/>
                <a:gd name="T58" fmla="*/ 347 w 903"/>
                <a:gd name="T59" fmla="*/ 270 h 903"/>
                <a:gd name="T60" fmla="*/ 300 w 903"/>
                <a:gd name="T61" fmla="*/ 160 h 903"/>
                <a:gd name="T62" fmla="*/ 292 w 903"/>
                <a:gd name="T63" fmla="*/ 151 h 903"/>
                <a:gd name="T64" fmla="*/ 181 w 903"/>
                <a:gd name="T65" fmla="*/ 15 h 903"/>
                <a:gd name="T66" fmla="*/ 177 w 903"/>
                <a:gd name="T67" fmla="*/ 4 h 903"/>
                <a:gd name="T68" fmla="*/ 166 w 903"/>
                <a:gd name="T69" fmla="*/ 0 h 903"/>
                <a:gd name="T70" fmla="*/ 156 w 903"/>
                <a:gd name="T71" fmla="*/ 4 h 903"/>
                <a:gd name="T72" fmla="*/ 151 w 903"/>
                <a:gd name="T73" fmla="*/ 15 h 903"/>
                <a:gd name="T74" fmla="*/ 70 w 903"/>
                <a:gd name="T75" fmla="*/ 151 h 903"/>
                <a:gd name="T76" fmla="*/ 61 w 903"/>
                <a:gd name="T77" fmla="*/ 160 h 903"/>
                <a:gd name="T78" fmla="*/ 15 w 903"/>
                <a:gd name="T79" fmla="*/ 270 h 903"/>
                <a:gd name="T80" fmla="*/ 4 w 903"/>
                <a:gd name="T81" fmla="*/ 274 h 903"/>
                <a:gd name="T82" fmla="*/ 0 w 903"/>
                <a:gd name="T83" fmla="*/ 285 h 903"/>
                <a:gd name="T84" fmla="*/ 3 w 903"/>
                <a:gd name="T85" fmla="*/ 897 h 903"/>
                <a:gd name="T86" fmla="*/ 12 w 903"/>
                <a:gd name="T87" fmla="*/ 903 h 903"/>
                <a:gd name="T88" fmla="*/ 347 w 903"/>
                <a:gd name="T89" fmla="*/ 903 h 903"/>
                <a:gd name="T90" fmla="*/ 888 w 903"/>
                <a:gd name="T91" fmla="*/ 903 h 903"/>
                <a:gd name="T92" fmla="*/ 899 w 903"/>
                <a:gd name="T93" fmla="*/ 899 h 903"/>
                <a:gd name="T94" fmla="*/ 903 w 903"/>
                <a:gd name="T95" fmla="*/ 888 h 903"/>
                <a:gd name="T96" fmla="*/ 901 w 903"/>
                <a:gd name="T97" fmla="*/ 368 h 903"/>
                <a:gd name="T98" fmla="*/ 891 w 903"/>
                <a:gd name="T99" fmla="*/ 361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903" h="903">
                  <a:moveTo>
                    <a:pt x="873" y="873"/>
                  </a:moveTo>
                  <a:lnTo>
                    <a:pt x="813" y="873"/>
                  </a:lnTo>
                  <a:lnTo>
                    <a:pt x="813" y="797"/>
                  </a:lnTo>
                  <a:lnTo>
                    <a:pt x="813" y="795"/>
                  </a:lnTo>
                  <a:lnTo>
                    <a:pt x="812" y="792"/>
                  </a:lnTo>
                  <a:lnTo>
                    <a:pt x="811" y="789"/>
                  </a:lnTo>
                  <a:lnTo>
                    <a:pt x="809" y="787"/>
                  </a:lnTo>
                  <a:lnTo>
                    <a:pt x="807" y="785"/>
                  </a:lnTo>
                  <a:lnTo>
                    <a:pt x="804" y="784"/>
                  </a:lnTo>
                  <a:lnTo>
                    <a:pt x="801" y="783"/>
                  </a:lnTo>
                  <a:lnTo>
                    <a:pt x="798" y="783"/>
                  </a:lnTo>
                  <a:lnTo>
                    <a:pt x="738" y="782"/>
                  </a:lnTo>
                  <a:lnTo>
                    <a:pt x="735" y="783"/>
                  </a:lnTo>
                  <a:lnTo>
                    <a:pt x="733" y="784"/>
                  </a:lnTo>
                  <a:lnTo>
                    <a:pt x="729" y="785"/>
                  </a:lnTo>
                  <a:lnTo>
                    <a:pt x="727" y="787"/>
                  </a:lnTo>
                  <a:lnTo>
                    <a:pt x="725" y="789"/>
                  </a:lnTo>
                  <a:lnTo>
                    <a:pt x="724" y="792"/>
                  </a:lnTo>
                  <a:lnTo>
                    <a:pt x="723" y="795"/>
                  </a:lnTo>
                  <a:lnTo>
                    <a:pt x="723" y="798"/>
                  </a:lnTo>
                  <a:lnTo>
                    <a:pt x="723" y="873"/>
                  </a:lnTo>
                  <a:lnTo>
                    <a:pt x="633" y="873"/>
                  </a:lnTo>
                  <a:lnTo>
                    <a:pt x="633" y="391"/>
                  </a:lnTo>
                  <a:lnTo>
                    <a:pt x="678" y="391"/>
                  </a:lnTo>
                  <a:lnTo>
                    <a:pt x="828" y="391"/>
                  </a:lnTo>
                  <a:lnTo>
                    <a:pt x="873" y="391"/>
                  </a:lnTo>
                  <a:lnTo>
                    <a:pt x="873" y="873"/>
                  </a:lnTo>
                  <a:close/>
                  <a:moveTo>
                    <a:pt x="753" y="873"/>
                  </a:moveTo>
                  <a:lnTo>
                    <a:pt x="753" y="813"/>
                  </a:lnTo>
                  <a:lnTo>
                    <a:pt x="783" y="813"/>
                  </a:lnTo>
                  <a:lnTo>
                    <a:pt x="783" y="873"/>
                  </a:lnTo>
                  <a:lnTo>
                    <a:pt x="753" y="873"/>
                  </a:lnTo>
                  <a:close/>
                  <a:moveTo>
                    <a:pt x="151" y="873"/>
                  </a:moveTo>
                  <a:lnTo>
                    <a:pt x="151" y="813"/>
                  </a:lnTo>
                  <a:lnTo>
                    <a:pt x="181" y="813"/>
                  </a:lnTo>
                  <a:lnTo>
                    <a:pt x="181" y="873"/>
                  </a:lnTo>
                  <a:lnTo>
                    <a:pt x="151" y="873"/>
                  </a:lnTo>
                  <a:close/>
                  <a:moveTo>
                    <a:pt x="30" y="300"/>
                  </a:moveTo>
                  <a:lnTo>
                    <a:pt x="75" y="300"/>
                  </a:lnTo>
                  <a:lnTo>
                    <a:pt x="286" y="300"/>
                  </a:lnTo>
                  <a:lnTo>
                    <a:pt x="331" y="300"/>
                  </a:lnTo>
                  <a:lnTo>
                    <a:pt x="331" y="873"/>
                  </a:lnTo>
                  <a:lnTo>
                    <a:pt x="211" y="873"/>
                  </a:lnTo>
                  <a:lnTo>
                    <a:pt x="211" y="797"/>
                  </a:lnTo>
                  <a:lnTo>
                    <a:pt x="210" y="795"/>
                  </a:lnTo>
                  <a:lnTo>
                    <a:pt x="210" y="792"/>
                  </a:lnTo>
                  <a:lnTo>
                    <a:pt x="208" y="789"/>
                  </a:lnTo>
                  <a:lnTo>
                    <a:pt x="207" y="787"/>
                  </a:lnTo>
                  <a:lnTo>
                    <a:pt x="205" y="785"/>
                  </a:lnTo>
                  <a:lnTo>
                    <a:pt x="202" y="784"/>
                  </a:lnTo>
                  <a:lnTo>
                    <a:pt x="200" y="783"/>
                  </a:lnTo>
                  <a:lnTo>
                    <a:pt x="196" y="783"/>
                  </a:lnTo>
                  <a:lnTo>
                    <a:pt x="136" y="782"/>
                  </a:lnTo>
                  <a:lnTo>
                    <a:pt x="133" y="783"/>
                  </a:lnTo>
                  <a:lnTo>
                    <a:pt x="130" y="784"/>
                  </a:lnTo>
                  <a:lnTo>
                    <a:pt x="128" y="785"/>
                  </a:lnTo>
                  <a:lnTo>
                    <a:pt x="126" y="787"/>
                  </a:lnTo>
                  <a:lnTo>
                    <a:pt x="123" y="789"/>
                  </a:lnTo>
                  <a:lnTo>
                    <a:pt x="122" y="792"/>
                  </a:lnTo>
                  <a:lnTo>
                    <a:pt x="121" y="795"/>
                  </a:lnTo>
                  <a:lnTo>
                    <a:pt x="121" y="798"/>
                  </a:lnTo>
                  <a:lnTo>
                    <a:pt x="121" y="873"/>
                  </a:lnTo>
                  <a:lnTo>
                    <a:pt x="30" y="873"/>
                  </a:lnTo>
                  <a:lnTo>
                    <a:pt x="30" y="300"/>
                  </a:lnTo>
                  <a:close/>
                  <a:moveTo>
                    <a:pt x="90" y="180"/>
                  </a:moveTo>
                  <a:lnTo>
                    <a:pt x="271" y="180"/>
                  </a:lnTo>
                  <a:lnTo>
                    <a:pt x="271" y="270"/>
                  </a:lnTo>
                  <a:lnTo>
                    <a:pt x="90" y="270"/>
                  </a:lnTo>
                  <a:lnTo>
                    <a:pt x="90" y="180"/>
                  </a:lnTo>
                  <a:close/>
                  <a:moveTo>
                    <a:pt x="603" y="542"/>
                  </a:moveTo>
                  <a:lnTo>
                    <a:pt x="603" y="873"/>
                  </a:lnTo>
                  <a:lnTo>
                    <a:pt x="362" y="873"/>
                  </a:lnTo>
                  <a:lnTo>
                    <a:pt x="362" y="542"/>
                  </a:lnTo>
                  <a:lnTo>
                    <a:pt x="603" y="542"/>
                  </a:lnTo>
                  <a:close/>
                  <a:moveTo>
                    <a:pt x="693" y="300"/>
                  </a:moveTo>
                  <a:lnTo>
                    <a:pt x="813" y="300"/>
                  </a:lnTo>
                  <a:lnTo>
                    <a:pt x="813" y="361"/>
                  </a:lnTo>
                  <a:lnTo>
                    <a:pt x="693" y="361"/>
                  </a:lnTo>
                  <a:lnTo>
                    <a:pt x="693" y="300"/>
                  </a:lnTo>
                  <a:close/>
                  <a:moveTo>
                    <a:pt x="888" y="361"/>
                  </a:moveTo>
                  <a:lnTo>
                    <a:pt x="843" y="361"/>
                  </a:lnTo>
                  <a:lnTo>
                    <a:pt x="843" y="285"/>
                  </a:lnTo>
                  <a:lnTo>
                    <a:pt x="843" y="282"/>
                  </a:lnTo>
                  <a:lnTo>
                    <a:pt x="842" y="280"/>
                  </a:lnTo>
                  <a:lnTo>
                    <a:pt x="841" y="277"/>
                  </a:lnTo>
                  <a:lnTo>
                    <a:pt x="839" y="274"/>
                  </a:lnTo>
                  <a:lnTo>
                    <a:pt x="837" y="273"/>
                  </a:lnTo>
                  <a:lnTo>
                    <a:pt x="834" y="271"/>
                  </a:lnTo>
                  <a:lnTo>
                    <a:pt x="831" y="271"/>
                  </a:lnTo>
                  <a:lnTo>
                    <a:pt x="828" y="270"/>
                  </a:lnTo>
                  <a:lnTo>
                    <a:pt x="678" y="270"/>
                  </a:lnTo>
                  <a:lnTo>
                    <a:pt x="675" y="271"/>
                  </a:lnTo>
                  <a:lnTo>
                    <a:pt x="671" y="271"/>
                  </a:lnTo>
                  <a:lnTo>
                    <a:pt x="669" y="273"/>
                  </a:lnTo>
                  <a:lnTo>
                    <a:pt x="667" y="274"/>
                  </a:lnTo>
                  <a:lnTo>
                    <a:pt x="665" y="278"/>
                  </a:lnTo>
                  <a:lnTo>
                    <a:pt x="664" y="280"/>
                  </a:lnTo>
                  <a:lnTo>
                    <a:pt x="663" y="283"/>
                  </a:lnTo>
                  <a:lnTo>
                    <a:pt x="663" y="285"/>
                  </a:lnTo>
                  <a:lnTo>
                    <a:pt x="663" y="361"/>
                  </a:lnTo>
                  <a:lnTo>
                    <a:pt x="618" y="361"/>
                  </a:lnTo>
                  <a:lnTo>
                    <a:pt x="615" y="361"/>
                  </a:lnTo>
                  <a:lnTo>
                    <a:pt x="611" y="362"/>
                  </a:lnTo>
                  <a:lnTo>
                    <a:pt x="609" y="364"/>
                  </a:lnTo>
                  <a:lnTo>
                    <a:pt x="607" y="366"/>
                  </a:lnTo>
                  <a:lnTo>
                    <a:pt x="605" y="368"/>
                  </a:lnTo>
                  <a:lnTo>
                    <a:pt x="604" y="370"/>
                  </a:lnTo>
                  <a:lnTo>
                    <a:pt x="603" y="373"/>
                  </a:lnTo>
                  <a:lnTo>
                    <a:pt x="603" y="376"/>
                  </a:lnTo>
                  <a:lnTo>
                    <a:pt x="603" y="512"/>
                  </a:lnTo>
                  <a:lnTo>
                    <a:pt x="362" y="512"/>
                  </a:lnTo>
                  <a:lnTo>
                    <a:pt x="362" y="285"/>
                  </a:lnTo>
                  <a:lnTo>
                    <a:pt x="362" y="282"/>
                  </a:lnTo>
                  <a:lnTo>
                    <a:pt x="360" y="280"/>
                  </a:lnTo>
                  <a:lnTo>
                    <a:pt x="359" y="277"/>
                  </a:lnTo>
                  <a:lnTo>
                    <a:pt x="357" y="274"/>
                  </a:lnTo>
                  <a:lnTo>
                    <a:pt x="355" y="273"/>
                  </a:lnTo>
                  <a:lnTo>
                    <a:pt x="352" y="271"/>
                  </a:lnTo>
                  <a:lnTo>
                    <a:pt x="350" y="271"/>
                  </a:lnTo>
                  <a:lnTo>
                    <a:pt x="347" y="270"/>
                  </a:lnTo>
                  <a:lnTo>
                    <a:pt x="301" y="270"/>
                  </a:lnTo>
                  <a:lnTo>
                    <a:pt x="301" y="165"/>
                  </a:lnTo>
                  <a:lnTo>
                    <a:pt x="301" y="162"/>
                  </a:lnTo>
                  <a:lnTo>
                    <a:pt x="300" y="160"/>
                  </a:lnTo>
                  <a:lnTo>
                    <a:pt x="299" y="156"/>
                  </a:lnTo>
                  <a:lnTo>
                    <a:pt x="297" y="154"/>
                  </a:lnTo>
                  <a:lnTo>
                    <a:pt x="295" y="152"/>
                  </a:lnTo>
                  <a:lnTo>
                    <a:pt x="292" y="151"/>
                  </a:lnTo>
                  <a:lnTo>
                    <a:pt x="290" y="150"/>
                  </a:lnTo>
                  <a:lnTo>
                    <a:pt x="286" y="150"/>
                  </a:lnTo>
                  <a:lnTo>
                    <a:pt x="181" y="150"/>
                  </a:lnTo>
                  <a:lnTo>
                    <a:pt x="181" y="15"/>
                  </a:lnTo>
                  <a:lnTo>
                    <a:pt x="180" y="12"/>
                  </a:lnTo>
                  <a:lnTo>
                    <a:pt x="180" y="8"/>
                  </a:lnTo>
                  <a:lnTo>
                    <a:pt x="178" y="6"/>
                  </a:lnTo>
                  <a:lnTo>
                    <a:pt x="177" y="4"/>
                  </a:lnTo>
                  <a:lnTo>
                    <a:pt x="174" y="2"/>
                  </a:lnTo>
                  <a:lnTo>
                    <a:pt x="172" y="1"/>
                  </a:lnTo>
                  <a:lnTo>
                    <a:pt x="168" y="0"/>
                  </a:lnTo>
                  <a:lnTo>
                    <a:pt x="166" y="0"/>
                  </a:lnTo>
                  <a:lnTo>
                    <a:pt x="163" y="0"/>
                  </a:lnTo>
                  <a:lnTo>
                    <a:pt x="160" y="1"/>
                  </a:lnTo>
                  <a:lnTo>
                    <a:pt x="158" y="2"/>
                  </a:lnTo>
                  <a:lnTo>
                    <a:pt x="156" y="4"/>
                  </a:lnTo>
                  <a:lnTo>
                    <a:pt x="153" y="6"/>
                  </a:lnTo>
                  <a:lnTo>
                    <a:pt x="152" y="8"/>
                  </a:lnTo>
                  <a:lnTo>
                    <a:pt x="151" y="12"/>
                  </a:lnTo>
                  <a:lnTo>
                    <a:pt x="151" y="15"/>
                  </a:lnTo>
                  <a:lnTo>
                    <a:pt x="151" y="150"/>
                  </a:lnTo>
                  <a:lnTo>
                    <a:pt x="75" y="150"/>
                  </a:lnTo>
                  <a:lnTo>
                    <a:pt x="73" y="150"/>
                  </a:lnTo>
                  <a:lnTo>
                    <a:pt x="70" y="151"/>
                  </a:lnTo>
                  <a:lnTo>
                    <a:pt x="68" y="152"/>
                  </a:lnTo>
                  <a:lnTo>
                    <a:pt x="64" y="154"/>
                  </a:lnTo>
                  <a:lnTo>
                    <a:pt x="63" y="156"/>
                  </a:lnTo>
                  <a:lnTo>
                    <a:pt x="61" y="160"/>
                  </a:lnTo>
                  <a:lnTo>
                    <a:pt x="61" y="162"/>
                  </a:lnTo>
                  <a:lnTo>
                    <a:pt x="60" y="165"/>
                  </a:lnTo>
                  <a:lnTo>
                    <a:pt x="60" y="270"/>
                  </a:lnTo>
                  <a:lnTo>
                    <a:pt x="15" y="270"/>
                  </a:lnTo>
                  <a:lnTo>
                    <a:pt x="12" y="271"/>
                  </a:lnTo>
                  <a:lnTo>
                    <a:pt x="10" y="271"/>
                  </a:lnTo>
                  <a:lnTo>
                    <a:pt x="7" y="273"/>
                  </a:lnTo>
                  <a:lnTo>
                    <a:pt x="4" y="274"/>
                  </a:lnTo>
                  <a:lnTo>
                    <a:pt x="3" y="278"/>
                  </a:lnTo>
                  <a:lnTo>
                    <a:pt x="1" y="280"/>
                  </a:lnTo>
                  <a:lnTo>
                    <a:pt x="1" y="283"/>
                  </a:lnTo>
                  <a:lnTo>
                    <a:pt x="0" y="285"/>
                  </a:lnTo>
                  <a:lnTo>
                    <a:pt x="0" y="888"/>
                  </a:lnTo>
                  <a:lnTo>
                    <a:pt x="1" y="891"/>
                  </a:lnTo>
                  <a:lnTo>
                    <a:pt x="1" y="894"/>
                  </a:lnTo>
                  <a:lnTo>
                    <a:pt x="3" y="897"/>
                  </a:lnTo>
                  <a:lnTo>
                    <a:pt x="4" y="899"/>
                  </a:lnTo>
                  <a:lnTo>
                    <a:pt x="7" y="900"/>
                  </a:lnTo>
                  <a:lnTo>
                    <a:pt x="10" y="902"/>
                  </a:lnTo>
                  <a:lnTo>
                    <a:pt x="12" y="903"/>
                  </a:lnTo>
                  <a:lnTo>
                    <a:pt x="15" y="903"/>
                  </a:lnTo>
                  <a:lnTo>
                    <a:pt x="136" y="903"/>
                  </a:lnTo>
                  <a:lnTo>
                    <a:pt x="196" y="903"/>
                  </a:lnTo>
                  <a:lnTo>
                    <a:pt x="347" y="903"/>
                  </a:lnTo>
                  <a:lnTo>
                    <a:pt x="618" y="903"/>
                  </a:lnTo>
                  <a:lnTo>
                    <a:pt x="738" y="903"/>
                  </a:lnTo>
                  <a:lnTo>
                    <a:pt x="798" y="903"/>
                  </a:lnTo>
                  <a:lnTo>
                    <a:pt x="888" y="903"/>
                  </a:lnTo>
                  <a:lnTo>
                    <a:pt x="891" y="902"/>
                  </a:lnTo>
                  <a:lnTo>
                    <a:pt x="895" y="902"/>
                  </a:lnTo>
                  <a:lnTo>
                    <a:pt x="897" y="900"/>
                  </a:lnTo>
                  <a:lnTo>
                    <a:pt x="899" y="899"/>
                  </a:lnTo>
                  <a:lnTo>
                    <a:pt x="901" y="897"/>
                  </a:lnTo>
                  <a:lnTo>
                    <a:pt x="902" y="894"/>
                  </a:lnTo>
                  <a:lnTo>
                    <a:pt x="903" y="891"/>
                  </a:lnTo>
                  <a:lnTo>
                    <a:pt x="903" y="888"/>
                  </a:lnTo>
                  <a:lnTo>
                    <a:pt x="903" y="376"/>
                  </a:lnTo>
                  <a:lnTo>
                    <a:pt x="903" y="373"/>
                  </a:lnTo>
                  <a:lnTo>
                    <a:pt x="902" y="370"/>
                  </a:lnTo>
                  <a:lnTo>
                    <a:pt x="901" y="368"/>
                  </a:lnTo>
                  <a:lnTo>
                    <a:pt x="899" y="366"/>
                  </a:lnTo>
                  <a:lnTo>
                    <a:pt x="897" y="364"/>
                  </a:lnTo>
                  <a:lnTo>
                    <a:pt x="895" y="362"/>
                  </a:lnTo>
                  <a:lnTo>
                    <a:pt x="891" y="361"/>
                  </a:lnTo>
                  <a:lnTo>
                    <a:pt x="888" y="3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Freeform 275"/>
            <p:cNvSpPr>
              <a:spLocks/>
            </p:cNvSpPr>
            <p:nvPr/>
          </p:nvSpPr>
          <p:spPr bwMode="auto">
            <a:xfrm>
              <a:off x="7061201" y="1984375"/>
              <a:ext cx="38100" cy="9525"/>
            </a:xfrm>
            <a:custGeom>
              <a:avLst/>
              <a:gdLst>
                <a:gd name="T0" fmla="*/ 105 w 120"/>
                <a:gd name="T1" fmla="*/ 0 h 30"/>
                <a:gd name="T2" fmla="*/ 15 w 120"/>
                <a:gd name="T3" fmla="*/ 0 h 30"/>
                <a:gd name="T4" fmla="*/ 12 w 120"/>
                <a:gd name="T5" fmla="*/ 0 h 30"/>
                <a:gd name="T6" fmla="*/ 9 w 120"/>
                <a:gd name="T7" fmla="*/ 1 h 30"/>
                <a:gd name="T8" fmla="*/ 7 w 120"/>
                <a:gd name="T9" fmla="*/ 3 h 30"/>
                <a:gd name="T10" fmla="*/ 5 w 120"/>
                <a:gd name="T11" fmla="*/ 4 h 30"/>
                <a:gd name="T12" fmla="*/ 2 w 120"/>
                <a:gd name="T13" fmla="*/ 7 h 30"/>
                <a:gd name="T14" fmla="*/ 1 w 120"/>
                <a:gd name="T15" fmla="*/ 10 h 30"/>
                <a:gd name="T16" fmla="*/ 0 w 120"/>
                <a:gd name="T17" fmla="*/ 12 h 30"/>
                <a:gd name="T18" fmla="*/ 0 w 120"/>
                <a:gd name="T19" fmla="*/ 15 h 30"/>
                <a:gd name="T20" fmla="*/ 0 w 120"/>
                <a:gd name="T21" fmla="*/ 18 h 30"/>
                <a:gd name="T22" fmla="*/ 1 w 120"/>
                <a:gd name="T23" fmla="*/ 22 h 30"/>
                <a:gd name="T24" fmla="*/ 2 w 120"/>
                <a:gd name="T25" fmla="*/ 24 h 30"/>
                <a:gd name="T26" fmla="*/ 5 w 120"/>
                <a:gd name="T27" fmla="*/ 26 h 30"/>
                <a:gd name="T28" fmla="*/ 7 w 120"/>
                <a:gd name="T29" fmla="*/ 28 h 30"/>
                <a:gd name="T30" fmla="*/ 9 w 120"/>
                <a:gd name="T31" fmla="*/ 29 h 30"/>
                <a:gd name="T32" fmla="*/ 12 w 120"/>
                <a:gd name="T33" fmla="*/ 30 h 30"/>
                <a:gd name="T34" fmla="*/ 15 w 120"/>
                <a:gd name="T35" fmla="*/ 30 h 30"/>
                <a:gd name="T36" fmla="*/ 105 w 120"/>
                <a:gd name="T37" fmla="*/ 30 h 30"/>
                <a:gd name="T38" fmla="*/ 109 w 120"/>
                <a:gd name="T39" fmla="*/ 30 h 30"/>
                <a:gd name="T40" fmla="*/ 111 w 120"/>
                <a:gd name="T41" fmla="*/ 29 h 30"/>
                <a:gd name="T42" fmla="*/ 114 w 120"/>
                <a:gd name="T43" fmla="*/ 28 h 30"/>
                <a:gd name="T44" fmla="*/ 116 w 120"/>
                <a:gd name="T45" fmla="*/ 26 h 30"/>
                <a:gd name="T46" fmla="*/ 117 w 120"/>
                <a:gd name="T47" fmla="*/ 24 h 30"/>
                <a:gd name="T48" fmla="*/ 119 w 120"/>
                <a:gd name="T49" fmla="*/ 22 h 30"/>
                <a:gd name="T50" fmla="*/ 120 w 120"/>
                <a:gd name="T51" fmla="*/ 18 h 30"/>
                <a:gd name="T52" fmla="*/ 120 w 120"/>
                <a:gd name="T53" fmla="*/ 15 h 30"/>
                <a:gd name="T54" fmla="*/ 120 w 120"/>
                <a:gd name="T55" fmla="*/ 12 h 30"/>
                <a:gd name="T56" fmla="*/ 119 w 120"/>
                <a:gd name="T57" fmla="*/ 10 h 30"/>
                <a:gd name="T58" fmla="*/ 117 w 120"/>
                <a:gd name="T59" fmla="*/ 7 h 30"/>
                <a:gd name="T60" fmla="*/ 116 w 120"/>
                <a:gd name="T61" fmla="*/ 4 h 30"/>
                <a:gd name="T62" fmla="*/ 114 w 120"/>
                <a:gd name="T63" fmla="*/ 3 h 30"/>
                <a:gd name="T64" fmla="*/ 111 w 120"/>
                <a:gd name="T65" fmla="*/ 1 h 30"/>
                <a:gd name="T66" fmla="*/ 109 w 120"/>
                <a:gd name="T67" fmla="*/ 0 h 30"/>
                <a:gd name="T68" fmla="*/ 105 w 120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0" h="30">
                  <a:moveTo>
                    <a:pt x="105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9" y="1"/>
                  </a:lnTo>
                  <a:lnTo>
                    <a:pt x="7" y="3"/>
                  </a:lnTo>
                  <a:lnTo>
                    <a:pt x="5" y="4"/>
                  </a:lnTo>
                  <a:lnTo>
                    <a:pt x="2" y="7"/>
                  </a:lnTo>
                  <a:lnTo>
                    <a:pt x="1" y="10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2"/>
                  </a:lnTo>
                  <a:lnTo>
                    <a:pt x="2" y="24"/>
                  </a:lnTo>
                  <a:lnTo>
                    <a:pt x="5" y="26"/>
                  </a:lnTo>
                  <a:lnTo>
                    <a:pt x="7" y="28"/>
                  </a:lnTo>
                  <a:lnTo>
                    <a:pt x="9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105" y="30"/>
                  </a:lnTo>
                  <a:lnTo>
                    <a:pt x="109" y="30"/>
                  </a:lnTo>
                  <a:lnTo>
                    <a:pt x="111" y="29"/>
                  </a:lnTo>
                  <a:lnTo>
                    <a:pt x="114" y="28"/>
                  </a:lnTo>
                  <a:lnTo>
                    <a:pt x="116" y="26"/>
                  </a:lnTo>
                  <a:lnTo>
                    <a:pt x="117" y="24"/>
                  </a:lnTo>
                  <a:lnTo>
                    <a:pt x="119" y="22"/>
                  </a:lnTo>
                  <a:lnTo>
                    <a:pt x="120" y="18"/>
                  </a:lnTo>
                  <a:lnTo>
                    <a:pt x="120" y="15"/>
                  </a:lnTo>
                  <a:lnTo>
                    <a:pt x="120" y="12"/>
                  </a:lnTo>
                  <a:lnTo>
                    <a:pt x="119" y="10"/>
                  </a:lnTo>
                  <a:lnTo>
                    <a:pt x="117" y="7"/>
                  </a:lnTo>
                  <a:lnTo>
                    <a:pt x="116" y="4"/>
                  </a:lnTo>
                  <a:lnTo>
                    <a:pt x="114" y="3"/>
                  </a:lnTo>
                  <a:lnTo>
                    <a:pt x="111" y="1"/>
                  </a:lnTo>
                  <a:lnTo>
                    <a:pt x="109" y="0"/>
                  </a:lnTo>
                  <a:lnTo>
                    <a:pt x="10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Freeform 276"/>
            <p:cNvSpPr>
              <a:spLocks/>
            </p:cNvSpPr>
            <p:nvPr/>
          </p:nvSpPr>
          <p:spPr bwMode="auto">
            <a:xfrm>
              <a:off x="7042151" y="2041525"/>
              <a:ext cx="76200" cy="9525"/>
            </a:xfrm>
            <a:custGeom>
              <a:avLst/>
              <a:gdLst>
                <a:gd name="T0" fmla="*/ 15 w 241"/>
                <a:gd name="T1" fmla="*/ 30 h 30"/>
                <a:gd name="T2" fmla="*/ 226 w 241"/>
                <a:gd name="T3" fmla="*/ 30 h 30"/>
                <a:gd name="T4" fmla="*/ 230 w 241"/>
                <a:gd name="T5" fmla="*/ 29 h 30"/>
                <a:gd name="T6" fmla="*/ 232 w 241"/>
                <a:gd name="T7" fmla="*/ 29 h 30"/>
                <a:gd name="T8" fmla="*/ 235 w 241"/>
                <a:gd name="T9" fmla="*/ 27 h 30"/>
                <a:gd name="T10" fmla="*/ 237 w 241"/>
                <a:gd name="T11" fmla="*/ 26 h 30"/>
                <a:gd name="T12" fmla="*/ 239 w 241"/>
                <a:gd name="T13" fmla="*/ 23 h 30"/>
                <a:gd name="T14" fmla="*/ 240 w 241"/>
                <a:gd name="T15" fmla="*/ 21 h 30"/>
                <a:gd name="T16" fmla="*/ 241 w 241"/>
                <a:gd name="T17" fmla="*/ 18 h 30"/>
                <a:gd name="T18" fmla="*/ 241 w 241"/>
                <a:gd name="T19" fmla="*/ 15 h 30"/>
                <a:gd name="T20" fmla="*/ 241 w 241"/>
                <a:gd name="T21" fmla="*/ 12 h 30"/>
                <a:gd name="T22" fmla="*/ 240 w 241"/>
                <a:gd name="T23" fmla="*/ 9 h 30"/>
                <a:gd name="T24" fmla="*/ 239 w 241"/>
                <a:gd name="T25" fmla="*/ 7 h 30"/>
                <a:gd name="T26" fmla="*/ 237 w 241"/>
                <a:gd name="T27" fmla="*/ 5 h 30"/>
                <a:gd name="T28" fmla="*/ 235 w 241"/>
                <a:gd name="T29" fmla="*/ 3 h 30"/>
                <a:gd name="T30" fmla="*/ 232 w 241"/>
                <a:gd name="T31" fmla="*/ 1 h 30"/>
                <a:gd name="T32" fmla="*/ 230 w 241"/>
                <a:gd name="T33" fmla="*/ 0 h 30"/>
                <a:gd name="T34" fmla="*/ 226 w 241"/>
                <a:gd name="T35" fmla="*/ 0 h 30"/>
                <a:gd name="T36" fmla="*/ 15 w 241"/>
                <a:gd name="T37" fmla="*/ 0 h 30"/>
                <a:gd name="T38" fmla="*/ 13 w 241"/>
                <a:gd name="T39" fmla="*/ 0 h 30"/>
                <a:gd name="T40" fmla="*/ 10 w 241"/>
                <a:gd name="T41" fmla="*/ 1 h 30"/>
                <a:gd name="T42" fmla="*/ 8 w 241"/>
                <a:gd name="T43" fmla="*/ 3 h 30"/>
                <a:gd name="T44" fmla="*/ 4 w 241"/>
                <a:gd name="T45" fmla="*/ 5 h 30"/>
                <a:gd name="T46" fmla="*/ 3 w 241"/>
                <a:gd name="T47" fmla="*/ 7 h 30"/>
                <a:gd name="T48" fmla="*/ 1 w 241"/>
                <a:gd name="T49" fmla="*/ 9 h 30"/>
                <a:gd name="T50" fmla="*/ 1 w 241"/>
                <a:gd name="T51" fmla="*/ 12 h 30"/>
                <a:gd name="T52" fmla="*/ 0 w 241"/>
                <a:gd name="T53" fmla="*/ 15 h 30"/>
                <a:gd name="T54" fmla="*/ 1 w 241"/>
                <a:gd name="T55" fmla="*/ 18 h 30"/>
                <a:gd name="T56" fmla="*/ 1 w 241"/>
                <a:gd name="T57" fmla="*/ 21 h 30"/>
                <a:gd name="T58" fmla="*/ 3 w 241"/>
                <a:gd name="T59" fmla="*/ 23 h 30"/>
                <a:gd name="T60" fmla="*/ 4 w 241"/>
                <a:gd name="T61" fmla="*/ 26 h 30"/>
                <a:gd name="T62" fmla="*/ 8 w 241"/>
                <a:gd name="T63" fmla="*/ 27 h 30"/>
                <a:gd name="T64" fmla="*/ 10 w 241"/>
                <a:gd name="T65" fmla="*/ 29 h 30"/>
                <a:gd name="T66" fmla="*/ 13 w 241"/>
                <a:gd name="T67" fmla="*/ 29 h 30"/>
                <a:gd name="T68" fmla="*/ 15 w 241"/>
                <a:gd name="T69" fmla="*/ 30 h 30"/>
                <a:gd name="T70" fmla="*/ 15 w 241"/>
                <a:gd name="T7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41" h="30">
                  <a:moveTo>
                    <a:pt x="15" y="30"/>
                  </a:moveTo>
                  <a:lnTo>
                    <a:pt x="226" y="30"/>
                  </a:lnTo>
                  <a:lnTo>
                    <a:pt x="230" y="29"/>
                  </a:lnTo>
                  <a:lnTo>
                    <a:pt x="232" y="29"/>
                  </a:lnTo>
                  <a:lnTo>
                    <a:pt x="235" y="27"/>
                  </a:lnTo>
                  <a:lnTo>
                    <a:pt x="237" y="26"/>
                  </a:lnTo>
                  <a:lnTo>
                    <a:pt x="239" y="23"/>
                  </a:lnTo>
                  <a:lnTo>
                    <a:pt x="240" y="21"/>
                  </a:lnTo>
                  <a:lnTo>
                    <a:pt x="241" y="18"/>
                  </a:lnTo>
                  <a:lnTo>
                    <a:pt x="241" y="15"/>
                  </a:lnTo>
                  <a:lnTo>
                    <a:pt x="241" y="12"/>
                  </a:lnTo>
                  <a:lnTo>
                    <a:pt x="240" y="9"/>
                  </a:lnTo>
                  <a:lnTo>
                    <a:pt x="239" y="7"/>
                  </a:lnTo>
                  <a:lnTo>
                    <a:pt x="237" y="5"/>
                  </a:lnTo>
                  <a:lnTo>
                    <a:pt x="235" y="3"/>
                  </a:lnTo>
                  <a:lnTo>
                    <a:pt x="232" y="1"/>
                  </a:lnTo>
                  <a:lnTo>
                    <a:pt x="230" y="0"/>
                  </a:lnTo>
                  <a:lnTo>
                    <a:pt x="226" y="0"/>
                  </a:lnTo>
                  <a:lnTo>
                    <a:pt x="15" y="0"/>
                  </a:lnTo>
                  <a:lnTo>
                    <a:pt x="13" y="0"/>
                  </a:lnTo>
                  <a:lnTo>
                    <a:pt x="10" y="1"/>
                  </a:lnTo>
                  <a:lnTo>
                    <a:pt x="8" y="3"/>
                  </a:lnTo>
                  <a:lnTo>
                    <a:pt x="4" y="5"/>
                  </a:lnTo>
                  <a:lnTo>
                    <a:pt x="3" y="7"/>
                  </a:lnTo>
                  <a:lnTo>
                    <a:pt x="1" y="9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1" y="18"/>
                  </a:lnTo>
                  <a:lnTo>
                    <a:pt x="1" y="21"/>
                  </a:lnTo>
                  <a:lnTo>
                    <a:pt x="3" y="23"/>
                  </a:lnTo>
                  <a:lnTo>
                    <a:pt x="4" y="26"/>
                  </a:lnTo>
                  <a:lnTo>
                    <a:pt x="8" y="27"/>
                  </a:lnTo>
                  <a:lnTo>
                    <a:pt x="10" y="29"/>
                  </a:lnTo>
                  <a:lnTo>
                    <a:pt x="13" y="29"/>
                  </a:lnTo>
                  <a:lnTo>
                    <a:pt x="15" y="30"/>
                  </a:lnTo>
                  <a:lnTo>
                    <a:pt x="15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Freeform 277"/>
            <p:cNvSpPr>
              <a:spLocks/>
            </p:cNvSpPr>
            <p:nvPr/>
          </p:nvSpPr>
          <p:spPr bwMode="auto">
            <a:xfrm>
              <a:off x="7042151" y="2022475"/>
              <a:ext cx="76200" cy="9525"/>
            </a:xfrm>
            <a:custGeom>
              <a:avLst/>
              <a:gdLst>
                <a:gd name="T0" fmla="*/ 15 w 241"/>
                <a:gd name="T1" fmla="*/ 31 h 31"/>
                <a:gd name="T2" fmla="*/ 226 w 241"/>
                <a:gd name="T3" fmla="*/ 31 h 31"/>
                <a:gd name="T4" fmla="*/ 230 w 241"/>
                <a:gd name="T5" fmla="*/ 30 h 31"/>
                <a:gd name="T6" fmla="*/ 232 w 241"/>
                <a:gd name="T7" fmla="*/ 29 h 31"/>
                <a:gd name="T8" fmla="*/ 235 w 241"/>
                <a:gd name="T9" fmla="*/ 28 h 31"/>
                <a:gd name="T10" fmla="*/ 237 w 241"/>
                <a:gd name="T11" fmla="*/ 26 h 31"/>
                <a:gd name="T12" fmla="*/ 239 w 241"/>
                <a:gd name="T13" fmla="*/ 24 h 31"/>
                <a:gd name="T14" fmla="*/ 240 w 241"/>
                <a:gd name="T15" fmla="*/ 22 h 31"/>
                <a:gd name="T16" fmla="*/ 241 w 241"/>
                <a:gd name="T17" fmla="*/ 18 h 31"/>
                <a:gd name="T18" fmla="*/ 241 w 241"/>
                <a:gd name="T19" fmla="*/ 16 h 31"/>
                <a:gd name="T20" fmla="*/ 241 w 241"/>
                <a:gd name="T21" fmla="*/ 13 h 31"/>
                <a:gd name="T22" fmla="*/ 240 w 241"/>
                <a:gd name="T23" fmla="*/ 10 h 31"/>
                <a:gd name="T24" fmla="*/ 239 w 241"/>
                <a:gd name="T25" fmla="*/ 8 h 31"/>
                <a:gd name="T26" fmla="*/ 237 w 241"/>
                <a:gd name="T27" fmla="*/ 6 h 31"/>
                <a:gd name="T28" fmla="*/ 235 w 241"/>
                <a:gd name="T29" fmla="*/ 3 h 31"/>
                <a:gd name="T30" fmla="*/ 232 w 241"/>
                <a:gd name="T31" fmla="*/ 2 h 31"/>
                <a:gd name="T32" fmla="*/ 230 w 241"/>
                <a:gd name="T33" fmla="*/ 1 h 31"/>
                <a:gd name="T34" fmla="*/ 226 w 241"/>
                <a:gd name="T35" fmla="*/ 0 h 31"/>
                <a:gd name="T36" fmla="*/ 15 w 241"/>
                <a:gd name="T37" fmla="*/ 0 h 31"/>
                <a:gd name="T38" fmla="*/ 13 w 241"/>
                <a:gd name="T39" fmla="*/ 1 h 31"/>
                <a:gd name="T40" fmla="*/ 10 w 241"/>
                <a:gd name="T41" fmla="*/ 2 h 31"/>
                <a:gd name="T42" fmla="*/ 8 w 241"/>
                <a:gd name="T43" fmla="*/ 3 h 31"/>
                <a:gd name="T44" fmla="*/ 4 w 241"/>
                <a:gd name="T45" fmla="*/ 6 h 31"/>
                <a:gd name="T46" fmla="*/ 3 w 241"/>
                <a:gd name="T47" fmla="*/ 8 h 31"/>
                <a:gd name="T48" fmla="*/ 1 w 241"/>
                <a:gd name="T49" fmla="*/ 10 h 31"/>
                <a:gd name="T50" fmla="*/ 1 w 241"/>
                <a:gd name="T51" fmla="*/ 13 h 31"/>
                <a:gd name="T52" fmla="*/ 0 w 241"/>
                <a:gd name="T53" fmla="*/ 16 h 31"/>
                <a:gd name="T54" fmla="*/ 1 w 241"/>
                <a:gd name="T55" fmla="*/ 18 h 31"/>
                <a:gd name="T56" fmla="*/ 1 w 241"/>
                <a:gd name="T57" fmla="*/ 22 h 31"/>
                <a:gd name="T58" fmla="*/ 3 w 241"/>
                <a:gd name="T59" fmla="*/ 24 h 31"/>
                <a:gd name="T60" fmla="*/ 4 w 241"/>
                <a:gd name="T61" fmla="*/ 26 h 31"/>
                <a:gd name="T62" fmla="*/ 8 w 241"/>
                <a:gd name="T63" fmla="*/ 28 h 31"/>
                <a:gd name="T64" fmla="*/ 10 w 241"/>
                <a:gd name="T65" fmla="*/ 29 h 31"/>
                <a:gd name="T66" fmla="*/ 13 w 241"/>
                <a:gd name="T67" fmla="*/ 30 h 31"/>
                <a:gd name="T68" fmla="*/ 15 w 241"/>
                <a:gd name="T6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41" h="31">
                  <a:moveTo>
                    <a:pt x="15" y="31"/>
                  </a:moveTo>
                  <a:lnTo>
                    <a:pt x="226" y="31"/>
                  </a:lnTo>
                  <a:lnTo>
                    <a:pt x="230" y="30"/>
                  </a:lnTo>
                  <a:lnTo>
                    <a:pt x="232" y="29"/>
                  </a:lnTo>
                  <a:lnTo>
                    <a:pt x="235" y="28"/>
                  </a:lnTo>
                  <a:lnTo>
                    <a:pt x="237" y="26"/>
                  </a:lnTo>
                  <a:lnTo>
                    <a:pt x="239" y="24"/>
                  </a:lnTo>
                  <a:lnTo>
                    <a:pt x="240" y="22"/>
                  </a:lnTo>
                  <a:lnTo>
                    <a:pt x="241" y="18"/>
                  </a:lnTo>
                  <a:lnTo>
                    <a:pt x="241" y="16"/>
                  </a:lnTo>
                  <a:lnTo>
                    <a:pt x="241" y="13"/>
                  </a:lnTo>
                  <a:lnTo>
                    <a:pt x="240" y="10"/>
                  </a:lnTo>
                  <a:lnTo>
                    <a:pt x="239" y="8"/>
                  </a:lnTo>
                  <a:lnTo>
                    <a:pt x="237" y="6"/>
                  </a:lnTo>
                  <a:lnTo>
                    <a:pt x="235" y="3"/>
                  </a:lnTo>
                  <a:lnTo>
                    <a:pt x="232" y="2"/>
                  </a:lnTo>
                  <a:lnTo>
                    <a:pt x="230" y="1"/>
                  </a:lnTo>
                  <a:lnTo>
                    <a:pt x="226" y="0"/>
                  </a:lnTo>
                  <a:lnTo>
                    <a:pt x="15" y="0"/>
                  </a:lnTo>
                  <a:lnTo>
                    <a:pt x="13" y="1"/>
                  </a:lnTo>
                  <a:lnTo>
                    <a:pt x="10" y="2"/>
                  </a:lnTo>
                  <a:lnTo>
                    <a:pt x="8" y="3"/>
                  </a:lnTo>
                  <a:lnTo>
                    <a:pt x="4" y="6"/>
                  </a:lnTo>
                  <a:lnTo>
                    <a:pt x="3" y="8"/>
                  </a:lnTo>
                  <a:lnTo>
                    <a:pt x="1" y="10"/>
                  </a:lnTo>
                  <a:lnTo>
                    <a:pt x="1" y="13"/>
                  </a:lnTo>
                  <a:lnTo>
                    <a:pt x="0" y="16"/>
                  </a:lnTo>
                  <a:lnTo>
                    <a:pt x="1" y="18"/>
                  </a:lnTo>
                  <a:lnTo>
                    <a:pt x="1" y="22"/>
                  </a:lnTo>
                  <a:lnTo>
                    <a:pt x="3" y="24"/>
                  </a:lnTo>
                  <a:lnTo>
                    <a:pt x="4" y="26"/>
                  </a:lnTo>
                  <a:lnTo>
                    <a:pt x="8" y="28"/>
                  </a:lnTo>
                  <a:lnTo>
                    <a:pt x="10" y="29"/>
                  </a:lnTo>
                  <a:lnTo>
                    <a:pt x="13" y="30"/>
                  </a:lnTo>
                  <a:lnTo>
                    <a:pt x="15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Freeform 278"/>
            <p:cNvSpPr>
              <a:spLocks/>
            </p:cNvSpPr>
            <p:nvPr/>
          </p:nvSpPr>
          <p:spPr bwMode="auto">
            <a:xfrm>
              <a:off x="7042151" y="2060575"/>
              <a:ext cx="76200" cy="9525"/>
            </a:xfrm>
            <a:custGeom>
              <a:avLst/>
              <a:gdLst>
                <a:gd name="T0" fmla="*/ 15 w 241"/>
                <a:gd name="T1" fmla="*/ 31 h 31"/>
                <a:gd name="T2" fmla="*/ 226 w 241"/>
                <a:gd name="T3" fmla="*/ 31 h 31"/>
                <a:gd name="T4" fmla="*/ 230 w 241"/>
                <a:gd name="T5" fmla="*/ 31 h 31"/>
                <a:gd name="T6" fmla="*/ 232 w 241"/>
                <a:gd name="T7" fmla="*/ 29 h 31"/>
                <a:gd name="T8" fmla="*/ 235 w 241"/>
                <a:gd name="T9" fmla="*/ 27 h 31"/>
                <a:gd name="T10" fmla="*/ 237 w 241"/>
                <a:gd name="T11" fmla="*/ 26 h 31"/>
                <a:gd name="T12" fmla="*/ 239 w 241"/>
                <a:gd name="T13" fmla="*/ 24 h 31"/>
                <a:gd name="T14" fmla="*/ 240 w 241"/>
                <a:gd name="T15" fmla="*/ 21 h 31"/>
                <a:gd name="T16" fmla="*/ 241 w 241"/>
                <a:gd name="T17" fmla="*/ 19 h 31"/>
                <a:gd name="T18" fmla="*/ 241 w 241"/>
                <a:gd name="T19" fmla="*/ 16 h 31"/>
                <a:gd name="T20" fmla="*/ 241 w 241"/>
                <a:gd name="T21" fmla="*/ 12 h 31"/>
                <a:gd name="T22" fmla="*/ 240 w 241"/>
                <a:gd name="T23" fmla="*/ 9 h 31"/>
                <a:gd name="T24" fmla="*/ 239 w 241"/>
                <a:gd name="T25" fmla="*/ 7 h 31"/>
                <a:gd name="T26" fmla="*/ 237 w 241"/>
                <a:gd name="T27" fmla="*/ 5 h 31"/>
                <a:gd name="T28" fmla="*/ 235 w 241"/>
                <a:gd name="T29" fmla="*/ 3 h 31"/>
                <a:gd name="T30" fmla="*/ 232 w 241"/>
                <a:gd name="T31" fmla="*/ 2 h 31"/>
                <a:gd name="T32" fmla="*/ 230 w 241"/>
                <a:gd name="T33" fmla="*/ 0 h 31"/>
                <a:gd name="T34" fmla="*/ 226 w 241"/>
                <a:gd name="T35" fmla="*/ 0 h 31"/>
                <a:gd name="T36" fmla="*/ 15 w 241"/>
                <a:gd name="T37" fmla="*/ 0 h 31"/>
                <a:gd name="T38" fmla="*/ 13 w 241"/>
                <a:gd name="T39" fmla="*/ 0 h 31"/>
                <a:gd name="T40" fmla="*/ 10 w 241"/>
                <a:gd name="T41" fmla="*/ 2 h 31"/>
                <a:gd name="T42" fmla="*/ 8 w 241"/>
                <a:gd name="T43" fmla="*/ 3 h 31"/>
                <a:gd name="T44" fmla="*/ 4 w 241"/>
                <a:gd name="T45" fmla="*/ 5 h 31"/>
                <a:gd name="T46" fmla="*/ 3 w 241"/>
                <a:gd name="T47" fmla="*/ 7 h 31"/>
                <a:gd name="T48" fmla="*/ 1 w 241"/>
                <a:gd name="T49" fmla="*/ 9 h 31"/>
                <a:gd name="T50" fmla="*/ 1 w 241"/>
                <a:gd name="T51" fmla="*/ 12 h 31"/>
                <a:gd name="T52" fmla="*/ 0 w 241"/>
                <a:gd name="T53" fmla="*/ 16 h 31"/>
                <a:gd name="T54" fmla="*/ 1 w 241"/>
                <a:gd name="T55" fmla="*/ 19 h 31"/>
                <a:gd name="T56" fmla="*/ 1 w 241"/>
                <a:gd name="T57" fmla="*/ 21 h 31"/>
                <a:gd name="T58" fmla="*/ 3 w 241"/>
                <a:gd name="T59" fmla="*/ 24 h 31"/>
                <a:gd name="T60" fmla="*/ 4 w 241"/>
                <a:gd name="T61" fmla="*/ 26 h 31"/>
                <a:gd name="T62" fmla="*/ 8 w 241"/>
                <a:gd name="T63" fmla="*/ 27 h 31"/>
                <a:gd name="T64" fmla="*/ 10 w 241"/>
                <a:gd name="T65" fmla="*/ 29 h 31"/>
                <a:gd name="T66" fmla="*/ 13 w 241"/>
                <a:gd name="T67" fmla="*/ 31 h 31"/>
                <a:gd name="T68" fmla="*/ 15 w 241"/>
                <a:gd name="T6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41" h="31">
                  <a:moveTo>
                    <a:pt x="15" y="31"/>
                  </a:moveTo>
                  <a:lnTo>
                    <a:pt x="226" y="31"/>
                  </a:lnTo>
                  <a:lnTo>
                    <a:pt x="230" y="31"/>
                  </a:lnTo>
                  <a:lnTo>
                    <a:pt x="232" y="29"/>
                  </a:lnTo>
                  <a:lnTo>
                    <a:pt x="235" y="27"/>
                  </a:lnTo>
                  <a:lnTo>
                    <a:pt x="237" y="26"/>
                  </a:lnTo>
                  <a:lnTo>
                    <a:pt x="239" y="24"/>
                  </a:lnTo>
                  <a:lnTo>
                    <a:pt x="240" y="21"/>
                  </a:lnTo>
                  <a:lnTo>
                    <a:pt x="241" y="19"/>
                  </a:lnTo>
                  <a:lnTo>
                    <a:pt x="241" y="16"/>
                  </a:lnTo>
                  <a:lnTo>
                    <a:pt x="241" y="12"/>
                  </a:lnTo>
                  <a:lnTo>
                    <a:pt x="240" y="9"/>
                  </a:lnTo>
                  <a:lnTo>
                    <a:pt x="239" y="7"/>
                  </a:lnTo>
                  <a:lnTo>
                    <a:pt x="237" y="5"/>
                  </a:lnTo>
                  <a:lnTo>
                    <a:pt x="235" y="3"/>
                  </a:lnTo>
                  <a:lnTo>
                    <a:pt x="232" y="2"/>
                  </a:lnTo>
                  <a:lnTo>
                    <a:pt x="230" y="0"/>
                  </a:lnTo>
                  <a:lnTo>
                    <a:pt x="226" y="0"/>
                  </a:lnTo>
                  <a:lnTo>
                    <a:pt x="15" y="0"/>
                  </a:lnTo>
                  <a:lnTo>
                    <a:pt x="13" y="0"/>
                  </a:lnTo>
                  <a:lnTo>
                    <a:pt x="10" y="2"/>
                  </a:lnTo>
                  <a:lnTo>
                    <a:pt x="8" y="3"/>
                  </a:lnTo>
                  <a:lnTo>
                    <a:pt x="4" y="5"/>
                  </a:lnTo>
                  <a:lnTo>
                    <a:pt x="3" y="7"/>
                  </a:lnTo>
                  <a:lnTo>
                    <a:pt x="1" y="9"/>
                  </a:lnTo>
                  <a:lnTo>
                    <a:pt x="1" y="12"/>
                  </a:lnTo>
                  <a:lnTo>
                    <a:pt x="0" y="16"/>
                  </a:lnTo>
                  <a:lnTo>
                    <a:pt x="1" y="19"/>
                  </a:lnTo>
                  <a:lnTo>
                    <a:pt x="1" y="21"/>
                  </a:lnTo>
                  <a:lnTo>
                    <a:pt x="3" y="24"/>
                  </a:lnTo>
                  <a:lnTo>
                    <a:pt x="4" y="26"/>
                  </a:lnTo>
                  <a:lnTo>
                    <a:pt x="8" y="27"/>
                  </a:lnTo>
                  <a:lnTo>
                    <a:pt x="10" y="29"/>
                  </a:lnTo>
                  <a:lnTo>
                    <a:pt x="13" y="31"/>
                  </a:lnTo>
                  <a:lnTo>
                    <a:pt x="15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Freeform 279"/>
            <p:cNvSpPr>
              <a:spLocks/>
            </p:cNvSpPr>
            <p:nvPr/>
          </p:nvSpPr>
          <p:spPr bwMode="auto">
            <a:xfrm>
              <a:off x="7042151" y="2079625"/>
              <a:ext cx="76200" cy="9525"/>
            </a:xfrm>
            <a:custGeom>
              <a:avLst/>
              <a:gdLst>
                <a:gd name="T0" fmla="*/ 15 w 241"/>
                <a:gd name="T1" fmla="*/ 30 h 30"/>
                <a:gd name="T2" fmla="*/ 226 w 241"/>
                <a:gd name="T3" fmla="*/ 30 h 30"/>
                <a:gd name="T4" fmla="*/ 230 w 241"/>
                <a:gd name="T5" fmla="*/ 30 h 30"/>
                <a:gd name="T6" fmla="*/ 232 w 241"/>
                <a:gd name="T7" fmla="*/ 29 h 30"/>
                <a:gd name="T8" fmla="*/ 235 w 241"/>
                <a:gd name="T9" fmla="*/ 27 h 30"/>
                <a:gd name="T10" fmla="*/ 237 w 241"/>
                <a:gd name="T11" fmla="*/ 25 h 30"/>
                <a:gd name="T12" fmla="*/ 239 w 241"/>
                <a:gd name="T13" fmla="*/ 23 h 30"/>
                <a:gd name="T14" fmla="*/ 240 w 241"/>
                <a:gd name="T15" fmla="*/ 20 h 30"/>
                <a:gd name="T16" fmla="*/ 241 w 241"/>
                <a:gd name="T17" fmla="*/ 18 h 30"/>
                <a:gd name="T18" fmla="*/ 241 w 241"/>
                <a:gd name="T19" fmla="*/ 15 h 30"/>
                <a:gd name="T20" fmla="*/ 241 w 241"/>
                <a:gd name="T21" fmla="*/ 11 h 30"/>
                <a:gd name="T22" fmla="*/ 240 w 241"/>
                <a:gd name="T23" fmla="*/ 8 h 30"/>
                <a:gd name="T24" fmla="*/ 239 w 241"/>
                <a:gd name="T25" fmla="*/ 6 h 30"/>
                <a:gd name="T26" fmla="*/ 237 w 241"/>
                <a:gd name="T27" fmla="*/ 4 h 30"/>
                <a:gd name="T28" fmla="*/ 235 w 241"/>
                <a:gd name="T29" fmla="*/ 2 h 30"/>
                <a:gd name="T30" fmla="*/ 232 w 241"/>
                <a:gd name="T31" fmla="*/ 1 h 30"/>
                <a:gd name="T32" fmla="*/ 230 w 241"/>
                <a:gd name="T33" fmla="*/ 0 h 30"/>
                <a:gd name="T34" fmla="*/ 226 w 241"/>
                <a:gd name="T35" fmla="*/ 0 h 30"/>
                <a:gd name="T36" fmla="*/ 15 w 241"/>
                <a:gd name="T37" fmla="*/ 0 h 30"/>
                <a:gd name="T38" fmla="*/ 13 w 241"/>
                <a:gd name="T39" fmla="*/ 0 h 30"/>
                <a:gd name="T40" fmla="*/ 10 w 241"/>
                <a:gd name="T41" fmla="*/ 1 h 30"/>
                <a:gd name="T42" fmla="*/ 8 w 241"/>
                <a:gd name="T43" fmla="*/ 2 h 30"/>
                <a:gd name="T44" fmla="*/ 4 w 241"/>
                <a:gd name="T45" fmla="*/ 4 h 30"/>
                <a:gd name="T46" fmla="*/ 3 w 241"/>
                <a:gd name="T47" fmla="*/ 6 h 30"/>
                <a:gd name="T48" fmla="*/ 1 w 241"/>
                <a:gd name="T49" fmla="*/ 8 h 30"/>
                <a:gd name="T50" fmla="*/ 1 w 241"/>
                <a:gd name="T51" fmla="*/ 11 h 30"/>
                <a:gd name="T52" fmla="*/ 0 w 241"/>
                <a:gd name="T53" fmla="*/ 15 h 30"/>
                <a:gd name="T54" fmla="*/ 1 w 241"/>
                <a:gd name="T55" fmla="*/ 18 h 30"/>
                <a:gd name="T56" fmla="*/ 1 w 241"/>
                <a:gd name="T57" fmla="*/ 20 h 30"/>
                <a:gd name="T58" fmla="*/ 3 w 241"/>
                <a:gd name="T59" fmla="*/ 23 h 30"/>
                <a:gd name="T60" fmla="*/ 4 w 241"/>
                <a:gd name="T61" fmla="*/ 25 h 30"/>
                <a:gd name="T62" fmla="*/ 8 w 241"/>
                <a:gd name="T63" fmla="*/ 27 h 30"/>
                <a:gd name="T64" fmla="*/ 10 w 241"/>
                <a:gd name="T65" fmla="*/ 29 h 30"/>
                <a:gd name="T66" fmla="*/ 13 w 241"/>
                <a:gd name="T67" fmla="*/ 30 h 30"/>
                <a:gd name="T68" fmla="*/ 15 w 241"/>
                <a:gd name="T69" fmla="*/ 30 h 30"/>
                <a:gd name="T70" fmla="*/ 15 w 241"/>
                <a:gd name="T7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41" h="30">
                  <a:moveTo>
                    <a:pt x="15" y="30"/>
                  </a:moveTo>
                  <a:lnTo>
                    <a:pt x="226" y="30"/>
                  </a:lnTo>
                  <a:lnTo>
                    <a:pt x="230" y="30"/>
                  </a:lnTo>
                  <a:lnTo>
                    <a:pt x="232" y="29"/>
                  </a:lnTo>
                  <a:lnTo>
                    <a:pt x="235" y="27"/>
                  </a:lnTo>
                  <a:lnTo>
                    <a:pt x="237" y="25"/>
                  </a:lnTo>
                  <a:lnTo>
                    <a:pt x="239" y="23"/>
                  </a:lnTo>
                  <a:lnTo>
                    <a:pt x="240" y="20"/>
                  </a:lnTo>
                  <a:lnTo>
                    <a:pt x="241" y="18"/>
                  </a:lnTo>
                  <a:lnTo>
                    <a:pt x="241" y="15"/>
                  </a:lnTo>
                  <a:lnTo>
                    <a:pt x="241" y="11"/>
                  </a:lnTo>
                  <a:lnTo>
                    <a:pt x="240" y="8"/>
                  </a:lnTo>
                  <a:lnTo>
                    <a:pt x="239" y="6"/>
                  </a:lnTo>
                  <a:lnTo>
                    <a:pt x="237" y="4"/>
                  </a:lnTo>
                  <a:lnTo>
                    <a:pt x="235" y="2"/>
                  </a:lnTo>
                  <a:lnTo>
                    <a:pt x="232" y="1"/>
                  </a:lnTo>
                  <a:lnTo>
                    <a:pt x="230" y="0"/>
                  </a:lnTo>
                  <a:lnTo>
                    <a:pt x="226" y="0"/>
                  </a:lnTo>
                  <a:lnTo>
                    <a:pt x="15" y="0"/>
                  </a:lnTo>
                  <a:lnTo>
                    <a:pt x="13" y="0"/>
                  </a:lnTo>
                  <a:lnTo>
                    <a:pt x="10" y="1"/>
                  </a:lnTo>
                  <a:lnTo>
                    <a:pt x="8" y="2"/>
                  </a:lnTo>
                  <a:lnTo>
                    <a:pt x="4" y="4"/>
                  </a:lnTo>
                  <a:lnTo>
                    <a:pt x="3" y="6"/>
                  </a:lnTo>
                  <a:lnTo>
                    <a:pt x="1" y="8"/>
                  </a:lnTo>
                  <a:lnTo>
                    <a:pt x="1" y="11"/>
                  </a:lnTo>
                  <a:lnTo>
                    <a:pt x="0" y="15"/>
                  </a:lnTo>
                  <a:lnTo>
                    <a:pt x="1" y="18"/>
                  </a:lnTo>
                  <a:lnTo>
                    <a:pt x="1" y="20"/>
                  </a:lnTo>
                  <a:lnTo>
                    <a:pt x="3" y="23"/>
                  </a:lnTo>
                  <a:lnTo>
                    <a:pt x="4" y="25"/>
                  </a:lnTo>
                  <a:lnTo>
                    <a:pt x="8" y="27"/>
                  </a:lnTo>
                  <a:lnTo>
                    <a:pt x="10" y="29"/>
                  </a:lnTo>
                  <a:lnTo>
                    <a:pt x="13" y="30"/>
                  </a:lnTo>
                  <a:lnTo>
                    <a:pt x="15" y="30"/>
                  </a:lnTo>
                  <a:lnTo>
                    <a:pt x="15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Freeform 280"/>
            <p:cNvSpPr>
              <a:spLocks/>
            </p:cNvSpPr>
            <p:nvPr/>
          </p:nvSpPr>
          <p:spPr bwMode="auto">
            <a:xfrm>
              <a:off x="7042151" y="2098675"/>
              <a:ext cx="76200" cy="9525"/>
            </a:xfrm>
            <a:custGeom>
              <a:avLst/>
              <a:gdLst>
                <a:gd name="T0" fmla="*/ 15 w 241"/>
                <a:gd name="T1" fmla="*/ 30 h 30"/>
                <a:gd name="T2" fmla="*/ 226 w 241"/>
                <a:gd name="T3" fmla="*/ 30 h 30"/>
                <a:gd name="T4" fmla="*/ 230 w 241"/>
                <a:gd name="T5" fmla="*/ 30 h 30"/>
                <a:gd name="T6" fmla="*/ 232 w 241"/>
                <a:gd name="T7" fmla="*/ 29 h 30"/>
                <a:gd name="T8" fmla="*/ 235 w 241"/>
                <a:gd name="T9" fmla="*/ 28 h 30"/>
                <a:gd name="T10" fmla="*/ 237 w 241"/>
                <a:gd name="T11" fmla="*/ 25 h 30"/>
                <a:gd name="T12" fmla="*/ 239 w 241"/>
                <a:gd name="T13" fmla="*/ 23 h 30"/>
                <a:gd name="T14" fmla="*/ 240 w 241"/>
                <a:gd name="T15" fmla="*/ 21 h 30"/>
                <a:gd name="T16" fmla="*/ 241 w 241"/>
                <a:gd name="T17" fmla="*/ 18 h 30"/>
                <a:gd name="T18" fmla="*/ 241 w 241"/>
                <a:gd name="T19" fmla="*/ 15 h 30"/>
                <a:gd name="T20" fmla="*/ 241 w 241"/>
                <a:gd name="T21" fmla="*/ 11 h 30"/>
                <a:gd name="T22" fmla="*/ 240 w 241"/>
                <a:gd name="T23" fmla="*/ 9 h 30"/>
                <a:gd name="T24" fmla="*/ 239 w 241"/>
                <a:gd name="T25" fmla="*/ 6 h 30"/>
                <a:gd name="T26" fmla="*/ 237 w 241"/>
                <a:gd name="T27" fmla="*/ 4 h 30"/>
                <a:gd name="T28" fmla="*/ 235 w 241"/>
                <a:gd name="T29" fmla="*/ 2 h 30"/>
                <a:gd name="T30" fmla="*/ 232 w 241"/>
                <a:gd name="T31" fmla="*/ 1 h 30"/>
                <a:gd name="T32" fmla="*/ 230 w 241"/>
                <a:gd name="T33" fmla="*/ 0 h 30"/>
                <a:gd name="T34" fmla="*/ 226 w 241"/>
                <a:gd name="T35" fmla="*/ 0 h 30"/>
                <a:gd name="T36" fmla="*/ 15 w 241"/>
                <a:gd name="T37" fmla="*/ 0 h 30"/>
                <a:gd name="T38" fmla="*/ 13 w 241"/>
                <a:gd name="T39" fmla="*/ 0 h 30"/>
                <a:gd name="T40" fmla="*/ 10 w 241"/>
                <a:gd name="T41" fmla="*/ 1 h 30"/>
                <a:gd name="T42" fmla="*/ 8 w 241"/>
                <a:gd name="T43" fmla="*/ 2 h 30"/>
                <a:gd name="T44" fmla="*/ 4 w 241"/>
                <a:gd name="T45" fmla="*/ 4 h 30"/>
                <a:gd name="T46" fmla="*/ 3 w 241"/>
                <a:gd name="T47" fmla="*/ 6 h 30"/>
                <a:gd name="T48" fmla="*/ 1 w 241"/>
                <a:gd name="T49" fmla="*/ 9 h 30"/>
                <a:gd name="T50" fmla="*/ 1 w 241"/>
                <a:gd name="T51" fmla="*/ 11 h 30"/>
                <a:gd name="T52" fmla="*/ 0 w 241"/>
                <a:gd name="T53" fmla="*/ 15 h 30"/>
                <a:gd name="T54" fmla="*/ 1 w 241"/>
                <a:gd name="T55" fmla="*/ 18 h 30"/>
                <a:gd name="T56" fmla="*/ 1 w 241"/>
                <a:gd name="T57" fmla="*/ 21 h 30"/>
                <a:gd name="T58" fmla="*/ 3 w 241"/>
                <a:gd name="T59" fmla="*/ 23 h 30"/>
                <a:gd name="T60" fmla="*/ 4 w 241"/>
                <a:gd name="T61" fmla="*/ 25 h 30"/>
                <a:gd name="T62" fmla="*/ 8 w 241"/>
                <a:gd name="T63" fmla="*/ 28 h 30"/>
                <a:gd name="T64" fmla="*/ 10 w 241"/>
                <a:gd name="T65" fmla="*/ 29 h 30"/>
                <a:gd name="T66" fmla="*/ 13 w 241"/>
                <a:gd name="T67" fmla="*/ 30 h 30"/>
                <a:gd name="T68" fmla="*/ 15 w 241"/>
                <a:gd name="T69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41" h="30">
                  <a:moveTo>
                    <a:pt x="15" y="30"/>
                  </a:moveTo>
                  <a:lnTo>
                    <a:pt x="226" y="30"/>
                  </a:lnTo>
                  <a:lnTo>
                    <a:pt x="230" y="30"/>
                  </a:lnTo>
                  <a:lnTo>
                    <a:pt x="232" y="29"/>
                  </a:lnTo>
                  <a:lnTo>
                    <a:pt x="235" y="28"/>
                  </a:lnTo>
                  <a:lnTo>
                    <a:pt x="237" y="25"/>
                  </a:lnTo>
                  <a:lnTo>
                    <a:pt x="239" y="23"/>
                  </a:lnTo>
                  <a:lnTo>
                    <a:pt x="240" y="21"/>
                  </a:lnTo>
                  <a:lnTo>
                    <a:pt x="241" y="18"/>
                  </a:lnTo>
                  <a:lnTo>
                    <a:pt x="241" y="15"/>
                  </a:lnTo>
                  <a:lnTo>
                    <a:pt x="241" y="11"/>
                  </a:lnTo>
                  <a:lnTo>
                    <a:pt x="240" y="9"/>
                  </a:lnTo>
                  <a:lnTo>
                    <a:pt x="239" y="6"/>
                  </a:lnTo>
                  <a:lnTo>
                    <a:pt x="237" y="4"/>
                  </a:lnTo>
                  <a:lnTo>
                    <a:pt x="235" y="2"/>
                  </a:lnTo>
                  <a:lnTo>
                    <a:pt x="232" y="1"/>
                  </a:lnTo>
                  <a:lnTo>
                    <a:pt x="230" y="0"/>
                  </a:lnTo>
                  <a:lnTo>
                    <a:pt x="226" y="0"/>
                  </a:lnTo>
                  <a:lnTo>
                    <a:pt x="15" y="0"/>
                  </a:lnTo>
                  <a:lnTo>
                    <a:pt x="13" y="0"/>
                  </a:lnTo>
                  <a:lnTo>
                    <a:pt x="10" y="1"/>
                  </a:lnTo>
                  <a:lnTo>
                    <a:pt x="8" y="2"/>
                  </a:lnTo>
                  <a:lnTo>
                    <a:pt x="4" y="4"/>
                  </a:lnTo>
                  <a:lnTo>
                    <a:pt x="3" y="6"/>
                  </a:lnTo>
                  <a:lnTo>
                    <a:pt x="1" y="9"/>
                  </a:lnTo>
                  <a:lnTo>
                    <a:pt x="1" y="11"/>
                  </a:lnTo>
                  <a:lnTo>
                    <a:pt x="0" y="15"/>
                  </a:lnTo>
                  <a:lnTo>
                    <a:pt x="1" y="18"/>
                  </a:lnTo>
                  <a:lnTo>
                    <a:pt x="1" y="21"/>
                  </a:lnTo>
                  <a:lnTo>
                    <a:pt x="3" y="23"/>
                  </a:lnTo>
                  <a:lnTo>
                    <a:pt x="4" y="25"/>
                  </a:lnTo>
                  <a:lnTo>
                    <a:pt x="8" y="28"/>
                  </a:lnTo>
                  <a:lnTo>
                    <a:pt x="10" y="29"/>
                  </a:lnTo>
                  <a:lnTo>
                    <a:pt x="13" y="30"/>
                  </a:lnTo>
                  <a:lnTo>
                    <a:pt x="15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Freeform 281"/>
            <p:cNvSpPr>
              <a:spLocks/>
            </p:cNvSpPr>
            <p:nvPr/>
          </p:nvSpPr>
          <p:spPr bwMode="auto">
            <a:xfrm>
              <a:off x="7042151" y="2117725"/>
              <a:ext cx="76200" cy="9525"/>
            </a:xfrm>
            <a:custGeom>
              <a:avLst/>
              <a:gdLst>
                <a:gd name="T0" fmla="*/ 15 w 241"/>
                <a:gd name="T1" fmla="*/ 30 h 30"/>
                <a:gd name="T2" fmla="*/ 226 w 241"/>
                <a:gd name="T3" fmla="*/ 30 h 30"/>
                <a:gd name="T4" fmla="*/ 230 w 241"/>
                <a:gd name="T5" fmla="*/ 30 h 30"/>
                <a:gd name="T6" fmla="*/ 232 w 241"/>
                <a:gd name="T7" fmla="*/ 29 h 30"/>
                <a:gd name="T8" fmla="*/ 235 w 241"/>
                <a:gd name="T9" fmla="*/ 28 h 30"/>
                <a:gd name="T10" fmla="*/ 237 w 241"/>
                <a:gd name="T11" fmla="*/ 25 h 30"/>
                <a:gd name="T12" fmla="*/ 239 w 241"/>
                <a:gd name="T13" fmla="*/ 23 h 30"/>
                <a:gd name="T14" fmla="*/ 240 w 241"/>
                <a:gd name="T15" fmla="*/ 21 h 30"/>
                <a:gd name="T16" fmla="*/ 241 w 241"/>
                <a:gd name="T17" fmla="*/ 18 h 30"/>
                <a:gd name="T18" fmla="*/ 241 w 241"/>
                <a:gd name="T19" fmla="*/ 15 h 30"/>
                <a:gd name="T20" fmla="*/ 241 w 241"/>
                <a:gd name="T21" fmla="*/ 12 h 30"/>
                <a:gd name="T22" fmla="*/ 240 w 241"/>
                <a:gd name="T23" fmla="*/ 9 h 30"/>
                <a:gd name="T24" fmla="*/ 239 w 241"/>
                <a:gd name="T25" fmla="*/ 6 h 30"/>
                <a:gd name="T26" fmla="*/ 237 w 241"/>
                <a:gd name="T27" fmla="*/ 4 h 30"/>
                <a:gd name="T28" fmla="*/ 235 w 241"/>
                <a:gd name="T29" fmla="*/ 3 h 30"/>
                <a:gd name="T30" fmla="*/ 232 w 241"/>
                <a:gd name="T31" fmla="*/ 1 h 30"/>
                <a:gd name="T32" fmla="*/ 230 w 241"/>
                <a:gd name="T33" fmla="*/ 0 h 30"/>
                <a:gd name="T34" fmla="*/ 226 w 241"/>
                <a:gd name="T35" fmla="*/ 0 h 30"/>
                <a:gd name="T36" fmla="*/ 15 w 241"/>
                <a:gd name="T37" fmla="*/ 0 h 30"/>
                <a:gd name="T38" fmla="*/ 13 w 241"/>
                <a:gd name="T39" fmla="*/ 0 h 30"/>
                <a:gd name="T40" fmla="*/ 10 w 241"/>
                <a:gd name="T41" fmla="*/ 1 h 30"/>
                <a:gd name="T42" fmla="*/ 8 w 241"/>
                <a:gd name="T43" fmla="*/ 3 h 30"/>
                <a:gd name="T44" fmla="*/ 4 w 241"/>
                <a:gd name="T45" fmla="*/ 4 h 30"/>
                <a:gd name="T46" fmla="*/ 3 w 241"/>
                <a:gd name="T47" fmla="*/ 6 h 30"/>
                <a:gd name="T48" fmla="*/ 1 w 241"/>
                <a:gd name="T49" fmla="*/ 9 h 30"/>
                <a:gd name="T50" fmla="*/ 1 w 241"/>
                <a:gd name="T51" fmla="*/ 12 h 30"/>
                <a:gd name="T52" fmla="*/ 0 w 241"/>
                <a:gd name="T53" fmla="*/ 15 h 30"/>
                <a:gd name="T54" fmla="*/ 1 w 241"/>
                <a:gd name="T55" fmla="*/ 18 h 30"/>
                <a:gd name="T56" fmla="*/ 1 w 241"/>
                <a:gd name="T57" fmla="*/ 21 h 30"/>
                <a:gd name="T58" fmla="*/ 3 w 241"/>
                <a:gd name="T59" fmla="*/ 23 h 30"/>
                <a:gd name="T60" fmla="*/ 4 w 241"/>
                <a:gd name="T61" fmla="*/ 25 h 30"/>
                <a:gd name="T62" fmla="*/ 8 w 241"/>
                <a:gd name="T63" fmla="*/ 28 h 30"/>
                <a:gd name="T64" fmla="*/ 10 w 241"/>
                <a:gd name="T65" fmla="*/ 29 h 30"/>
                <a:gd name="T66" fmla="*/ 13 w 241"/>
                <a:gd name="T67" fmla="*/ 30 h 30"/>
                <a:gd name="T68" fmla="*/ 15 w 241"/>
                <a:gd name="T69" fmla="*/ 30 h 30"/>
                <a:gd name="T70" fmla="*/ 15 w 241"/>
                <a:gd name="T7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41" h="30">
                  <a:moveTo>
                    <a:pt x="15" y="30"/>
                  </a:moveTo>
                  <a:lnTo>
                    <a:pt x="226" y="30"/>
                  </a:lnTo>
                  <a:lnTo>
                    <a:pt x="230" y="30"/>
                  </a:lnTo>
                  <a:lnTo>
                    <a:pt x="232" y="29"/>
                  </a:lnTo>
                  <a:lnTo>
                    <a:pt x="235" y="28"/>
                  </a:lnTo>
                  <a:lnTo>
                    <a:pt x="237" y="25"/>
                  </a:lnTo>
                  <a:lnTo>
                    <a:pt x="239" y="23"/>
                  </a:lnTo>
                  <a:lnTo>
                    <a:pt x="240" y="21"/>
                  </a:lnTo>
                  <a:lnTo>
                    <a:pt x="241" y="18"/>
                  </a:lnTo>
                  <a:lnTo>
                    <a:pt x="241" y="15"/>
                  </a:lnTo>
                  <a:lnTo>
                    <a:pt x="241" y="12"/>
                  </a:lnTo>
                  <a:lnTo>
                    <a:pt x="240" y="9"/>
                  </a:lnTo>
                  <a:lnTo>
                    <a:pt x="239" y="6"/>
                  </a:lnTo>
                  <a:lnTo>
                    <a:pt x="237" y="4"/>
                  </a:lnTo>
                  <a:lnTo>
                    <a:pt x="235" y="3"/>
                  </a:lnTo>
                  <a:lnTo>
                    <a:pt x="232" y="1"/>
                  </a:lnTo>
                  <a:lnTo>
                    <a:pt x="230" y="0"/>
                  </a:lnTo>
                  <a:lnTo>
                    <a:pt x="226" y="0"/>
                  </a:lnTo>
                  <a:lnTo>
                    <a:pt x="15" y="0"/>
                  </a:lnTo>
                  <a:lnTo>
                    <a:pt x="13" y="0"/>
                  </a:lnTo>
                  <a:lnTo>
                    <a:pt x="10" y="1"/>
                  </a:lnTo>
                  <a:lnTo>
                    <a:pt x="8" y="3"/>
                  </a:lnTo>
                  <a:lnTo>
                    <a:pt x="4" y="4"/>
                  </a:lnTo>
                  <a:lnTo>
                    <a:pt x="3" y="6"/>
                  </a:lnTo>
                  <a:lnTo>
                    <a:pt x="1" y="9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1" y="18"/>
                  </a:lnTo>
                  <a:lnTo>
                    <a:pt x="1" y="21"/>
                  </a:lnTo>
                  <a:lnTo>
                    <a:pt x="3" y="23"/>
                  </a:lnTo>
                  <a:lnTo>
                    <a:pt x="4" y="25"/>
                  </a:lnTo>
                  <a:lnTo>
                    <a:pt x="8" y="28"/>
                  </a:lnTo>
                  <a:lnTo>
                    <a:pt x="10" y="29"/>
                  </a:lnTo>
                  <a:lnTo>
                    <a:pt x="13" y="30"/>
                  </a:lnTo>
                  <a:lnTo>
                    <a:pt x="15" y="30"/>
                  </a:lnTo>
                  <a:lnTo>
                    <a:pt x="15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8" name="Freeform 282"/>
            <p:cNvSpPr>
              <a:spLocks/>
            </p:cNvSpPr>
            <p:nvPr/>
          </p:nvSpPr>
          <p:spPr bwMode="auto">
            <a:xfrm>
              <a:off x="7042151" y="2136775"/>
              <a:ext cx="76200" cy="9525"/>
            </a:xfrm>
            <a:custGeom>
              <a:avLst/>
              <a:gdLst>
                <a:gd name="T0" fmla="*/ 226 w 241"/>
                <a:gd name="T1" fmla="*/ 30 h 30"/>
                <a:gd name="T2" fmla="*/ 230 w 241"/>
                <a:gd name="T3" fmla="*/ 30 h 30"/>
                <a:gd name="T4" fmla="*/ 232 w 241"/>
                <a:gd name="T5" fmla="*/ 29 h 30"/>
                <a:gd name="T6" fmla="*/ 235 w 241"/>
                <a:gd name="T7" fmla="*/ 28 h 30"/>
                <a:gd name="T8" fmla="*/ 237 w 241"/>
                <a:gd name="T9" fmla="*/ 26 h 30"/>
                <a:gd name="T10" fmla="*/ 239 w 241"/>
                <a:gd name="T11" fmla="*/ 23 h 30"/>
                <a:gd name="T12" fmla="*/ 240 w 241"/>
                <a:gd name="T13" fmla="*/ 21 h 30"/>
                <a:gd name="T14" fmla="*/ 241 w 241"/>
                <a:gd name="T15" fmla="*/ 18 h 30"/>
                <a:gd name="T16" fmla="*/ 241 w 241"/>
                <a:gd name="T17" fmla="*/ 15 h 30"/>
                <a:gd name="T18" fmla="*/ 241 w 241"/>
                <a:gd name="T19" fmla="*/ 13 h 30"/>
                <a:gd name="T20" fmla="*/ 240 w 241"/>
                <a:gd name="T21" fmla="*/ 9 h 30"/>
                <a:gd name="T22" fmla="*/ 239 w 241"/>
                <a:gd name="T23" fmla="*/ 6 h 30"/>
                <a:gd name="T24" fmla="*/ 237 w 241"/>
                <a:gd name="T25" fmla="*/ 4 h 30"/>
                <a:gd name="T26" fmla="*/ 235 w 241"/>
                <a:gd name="T27" fmla="*/ 3 h 30"/>
                <a:gd name="T28" fmla="*/ 232 w 241"/>
                <a:gd name="T29" fmla="*/ 1 h 30"/>
                <a:gd name="T30" fmla="*/ 230 w 241"/>
                <a:gd name="T31" fmla="*/ 1 h 30"/>
                <a:gd name="T32" fmla="*/ 226 w 241"/>
                <a:gd name="T33" fmla="*/ 0 h 30"/>
                <a:gd name="T34" fmla="*/ 15 w 241"/>
                <a:gd name="T35" fmla="*/ 0 h 30"/>
                <a:gd name="T36" fmla="*/ 13 w 241"/>
                <a:gd name="T37" fmla="*/ 1 h 30"/>
                <a:gd name="T38" fmla="*/ 10 w 241"/>
                <a:gd name="T39" fmla="*/ 1 h 30"/>
                <a:gd name="T40" fmla="*/ 8 w 241"/>
                <a:gd name="T41" fmla="*/ 3 h 30"/>
                <a:gd name="T42" fmla="*/ 4 w 241"/>
                <a:gd name="T43" fmla="*/ 4 h 30"/>
                <a:gd name="T44" fmla="*/ 3 w 241"/>
                <a:gd name="T45" fmla="*/ 6 h 30"/>
                <a:gd name="T46" fmla="*/ 1 w 241"/>
                <a:gd name="T47" fmla="*/ 9 h 30"/>
                <a:gd name="T48" fmla="*/ 1 w 241"/>
                <a:gd name="T49" fmla="*/ 13 h 30"/>
                <a:gd name="T50" fmla="*/ 0 w 241"/>
                <a:gd name="T51" fmla="*/ 15 h 30"/>
                <a:gd name="T52" fmla="*/ 1 w 241"/>
                <a:gd name="T53" fmla="*/ 18 h 30"/>
                <a:gd name="T54" fmla="*/ 1 w 241"/>
                <a:gd name="T55" fmla="*/ 21 h 30"/>
                <a:gd name="T56" fmla="*/ 3 w 241"/>
                <a:gd name="T57" fmla="*/ 23 h 30"/>
                <a:gd name="T58" fmla="*/ 4 w 241"/>
                <a:gd name="T59" fmla="*/ 26 h 30"/>
                <a:gd name="T60" fmla="*/ 8 w 241"/>
                <a:gd name="T61" fmla="*/ 28 h 30"/>
                <a:gd name="T62" fmla="*/ 10 w 241"/>
                <a:gd name="T63" fmla="*/ 29 h 30"/>
                <a:gd name="T64" fmla="*/ 13 w 241"/>
                <a:gd name="T65" fmla="*/ 30 h 30"/>
                <a:gd name="T66" fmla="*/ 15 w 241"/>
                <a:gd name="T67" fmla="*/ 30 h 30"/>
                <a:gd name="T68" fmla="*/ 226 w 241"/>
                <a:gd name="T69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41" h="30">
                  <a:moveTo>
                    <a:pt x="226" y="30"/>
                  </a:moveTo>
                  <a:lnTo>
                    <a:pt x="230" y="30"/>
                  </a:lnTo>
                  <a:lnTo>
                    <a:pt x="232" y="29"/>
                  </a:lnTo>
                  <a:lnTo>
                    <a:pt x="235" y="28"/>
                  </a:lnTo>
                  <a:lnTo>
                    <a:pt x="237" y="26"/>
                  </a:lnTo>
                  <a:lnTo>
                    <a:pt x="239" y="23"/>
                  </a:lnTo>
                  <a:lnTo>
                    <a:pt x="240" y="21"/>
                  </a:lnTo>
                  <a:lnTo>
                    <a:pt x="241" y="18"/>
                  </a:lnTo>
                  <a:lnTo>
                    <a:pt x="241" y="15"/>
                  </a:lnTo>
                  <a:lnTo>
                    <a:pt x="241" y="13"/>
                  </a:lnTo>
                  <a:lnTo>
                    <a:pt x="240" y="9"/>
                  </a:lnTo>
                  <a:lnTo>
                    <a:pt x="239" y="6"/>
                  </a:lnTo>
                  <a:lnTo>
                    <a:pt x="237" y="4"/>
                  </a:lnTo>
                  <a:lnTo>
                    <a:pt x="235" y="3"/>
                  </a:lnTo>
                  <a:lnTo>
                    <a:pt x="232" y="1"/>
                  </a:lnTo>
                  <a:lnTo>
                    <a:pt x="230" y="1"/>
                  </a:lnTo>
                  <a:lnTo>
                    <a:pt x="226" y="0"/>
                  </a:lnTo>
                  <a:lnTo>
                    <a:pt x="15" y="0"/>
                  </a:lnTo>
                  <a:lnTo>
                    <a:pt x="13" y="1"/>
                  </a:lnTo>
                  <a:lnTo>
                    <a:pt x="10" y="1"/>
                  </a:lnTo>
                  <a:lnTo>
                    <a:pt x="8" y="3"/>
                  </a:lnTo>
                  <a:lnTo>
                    <a:pt x="4" y="4"/>
                  </a:lnTo>
                  <a:lnTo>
                    <a:pt x="3" y="6"/>
                  </a:lnTo>
                  <a:lnTo>
                    <a:pt x="1" y="9"/>
                  </a:lnTo>
                  <a:lnTo>
                    <a:pt x="1" y="13"/>
                  </a:lnTo>
                  <a:lnTo>
                    <a:pt x="0" y="15"/>
                  </a:lnTo>
                  <a:lnTo>
                    <a:pt x="1" y="18"/>
                  </a:lnTo>
                  <a:lnTo>
                    <a:pt x="1" y="21"/>
                  </a:lnTo>
                  <a:lnTo>
                    <a:pt x="3" y="23"/>
                  </a:lnTo>
                  <a:lnTo>
                    <a:pt x="4" y="26"/>
                  </a:lnTo>
                  <a:lnTo>
                    <a:pt x="8" y="28"/>
                  </a:lnTo>
                  <a:lnTo>
                    <a:pt x="10" y="29"/>
                  </a:lnTo>
                  <a:lnTo>
                    <a:pt x="13" y="30"/>
                  </a:lnTo>
                  <a:lnTo>
                    <a:pt x="15" y="30"/>
                  </a:lnTo>
                  <a:lnTo>
                    <a:pt x="226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4" name="Freeform 283"/>
            <p:cNvSpPr>
              <a:spLocks/>
            </p:cNvSpPr>
            <p:nvPr/>
          </p:nvSpPr>
          <p:spPr bwMode="auto">
            <a:xfrm>
              <a:off x="7234238" y="2051050"/>
              <a:ext cx="57150" cy="9525"/>
            </a:xfrm>
            <a:custGeom>
              <a:avLst/>
              <a:gdLst>
                <a:gd name="T0" fmla="*/ 15 w 180"/>
                <a:gd name="T1" fmla="*/ 0 h 30"/>
                <a:gd name="T2" fmla="*/ 12 w 180"/>
                <a:gd name="T3" fmla="*/ 0 h 30"/>
                <a:gd name="T4" fmla="*/ 8 w 180"/>
                <a:gd name="T5" fmla="*/ 2 h 30"/>
                <a:gd name="T6" fmla="*/ 6 w 180"/>
                <a:gd name="T7" fmla="*/ 3 h 30"/>
                <a:gd name="T8" fmla="*/ 4 w 180"/>
                <a:gd name="T9" fmla="*/ 5 h 30"/>
                <a:gd name="T10" fmla="*/ 2 w 180"/>
                <a:gd name="T11" fmla="*/ 7 h 30"/>
                <a:gd name="T12" fmla="*/ 1 w 180"/>
                <a:gd name="T13" fmla="*/ 9 h 30"/>
                <a:gd name="T14" fmla="*/ 0 w 180"/>
                <a:gd name="T15" fmla="*/ 12 h 30"/>
                <a:gd name="T16" fmla="*/ 0 w 180"/>
                <a:gd name="T17" fmla="*/ 15 h 30"/>
                <a:gd name="T18" fmla="*/ 0 w 180"/>
                <a:gd name="T19" fmla="*/ 19 h 30"/>
                <a:gd name="T20" fmla="*/ 1 w 180"/>
                <a:gd name="T21" fmla="*/ 21 h 30"/>
                <a:gd name="T22" fmla="*/ 2 w 180"/>
                <a:gd name="T23" fmla="*/ 24 h 30"/>
                <a:gd name="T24" fmla="*/ 4 w 180"/>
                <a:gd name="T25" fmla="*/ 26 h 30"/>
                <a:gd name="T26" fmla="*/ 6 w 180"/>
                <a:gd name="T27" fmla="*/ 27 h 30"/>
                <a:gd name="T28" fmla="*/ 8 w 180"/>
                <a:gd name="T29" fmla="*/ 29 h 30"/>
                <a:gd name="T30" fmla="*/ 12 w 180"/>
                <a:gd name="T31" fmla="*/ 29 h 30"/>
                <a:gd name="T32" fmla="*/ 15 w 180"/>
                <a:gd name="T33" fmla="*/ 30 h 30"/>
                <a:gd name="T34" fmla="*/ 165 w 180"/>
                <a:gd name="T35" fmla="*/ 30 h 30"/>
                <a:gd name="T36" fmla="*/ 168 w 180"/>
                <a:gd name="T37" fmla="*/ 29 h 30"/>
                <a:gd name="T38" fmla="*/ 171 w 180"/>
                <a:gd name="T39" fmla="*/ 29 h 30"/>
                <a:gd name="T40" fmla="*/ 174 w 180"/>
                <a:gd name="T41" fmla="*/ 27 h 30"/>
                <a:gd name="T42" fmla="*/ 176 w 180"/>
                <a:gd name="T43" fmla="*/ 26 h 30"/>
                <a:gd name="T44" fmla="*/ 178 w 180"/>
                <a:gd name="T45" fmla="*/ 24 h 30"/>
                <a:gd name="T46" fmla="*/ 179 w 180"/>
                <a:gd name="T47" fmla="*/ 21 h 30"/>
                <a:gd name="T48" fmla="*/ 180 w 180"/>
                <a:gd name="T49" fmla="*/ 19 h 30"/>
                <a:gd name="T50" fmla="*/ 180 w 180"/>
                <a:gd name="T51" fmla="*/ 15 h 30"/>
                <a:gd name="T52" fmla="*/ 180 w 180"/>
                <a:gd name="T53" fmla="*/ 12 h 30"/>
                <a:gd name="T54" fmla="*/ 179 w 180"/>
                <a:gd name="T55" fmla="*/ 9 h 30"/>
                <a:gd name="T56" fmla="*/ 178 w 180"/>
                <a:gd name="T57" fmla="*/ 7 h 30"/>
                <a:gd name="T58" fmla="*/ 176 w 180"/>
                <a:gd name="T59" fmla="*/ 5 h 30"/>
                <a:gd name="T60" fmla="*/ 174 w 180"/>
                <a:gd name="T61" fmla="*/ 3 h 30"/>
                <a:gd name="T62" fmla="*/ 171 w 180"/>
                <a:gd name="T63" fmla="*/ 2 h 30"/>
                <a:gd name="T64" fmla="*/ 168 w 180"/>
                <a:gd name="T65" fmla="*/ 0 h 30"/>
                <a:gd name="T66" fmla="*/ 165 w 180"/>
                <a:gd name="T67" fmla="*/ 0 h 30"/>
                <a:gd name="T68" fmla="*/ 15 w 180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80" h="30">
                  <a:moveTo>
                    <a:pt x="15" y="0"/>
                  </a:moveTo>
                  <a:lnTo>
                    <a:pt x="12" y="0"/>
                  </a:lnTo>
                  <a:lnTo>
                    <a:pt x="8" y="2"/>
                  </a:lnTo>
                  <a:lnTo>
                    <a:pt x="6" y="3"/>
                  </a:lnTo>
                  <a:lnTo>
                    <a:pt x="4" y="5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9"/>
                  </a:lnTo>
                  <a:lnTo>
                    <a:pt x="1" y="21"/>
                  </a:lnTo>
                  <a:lnTo>
                    <a:pt x="2" y="24"/>
                  </a:lnTo>
                  <a:lnTo>
                    <a:pt x="4" y="26"/>
                  </a:lnTo>
                  <a:lnTo>
                    <a:pt x="6" y="27"/>
                  </a:lnTo>
                  <a:lnTo>
                    <a:pt x="8" y="29"/>
                  </a:lnTo>
                  <a:lnTo>
                    <a:pt x="12" y="29"/>
                  </a:lnTo>
                  <a:lnTo>
                    <a:pt x="15" y="30"/>
                  </a:lnTo>
                  <a:lnTo>
                    <a:pt x="165" y="30"/>
                  </a:lnTo>
                  <a:lnTo>
                    <a:pt x="168" y="29"/>
                  </a:lnTo>
                  <a:lnTo>
                    <a:pt x="171" y="29"/>
                  </a:lnTo>
                  <a:lnTo>
                    <a:pt x="174" y="27"/>
                  </a:lnTo>
                  <a:lnTo>
                    <a:pt x="176" y="26"/>
                  </a:lnTo>
                  <a:lnTo>
                    <a:pt x="178" y="24"/>
                  </a:lnTo>
                  <a:lnTo>
                    <a:pt x="179" y="21"/>
                  </a:lnTo>
                  <a:lnTo>
                    <a:pt x="180" y="19"/>
                  </a:lnTo>
                  <a:lnTo>
                    <a:pt x="180" y="15"/>
                  </a:lnTo>
                  <a:lnTo>
                    <a:pt x="180" y="12"/>
                  </a:lnTo>
                  <a:lnTo>
                    <a:pt x="179" y="9"/>
                  </a:lnTo>
                  <a:lnTo>
                    <a:pt x="178" y="7"/>
                  </a:lnTo>
                  <a:lnTo>
                    <a:pt x="176" y="5"/>
                  </a:lnTo>
                  <a:lnTo>
                    <a:pt x="174" y="3"/>
                  </a:lnTo>
                  <a:lnTo>
                    <a:pt x="171" y="2"/>
                  </a:lnTo>
                  <a:lnTo>
                    <a:pt x="168" y="0"/>
                  </a:lnTo>
                  <a:lnTo>
                    <a:pt x="165" y="0"/>
                  </a:ln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7" name="Freeform 284"/>
            <p:cNvSpPr>
              <a:spLocks/>
            </p:cNvSpPr>
            <p:nvPr/>
          </p:nvSpPr>
          <p:spPr bwMode="auto">
            <a:xfrm>
              <a:off x="7234238" y="2070100"/>
              <a:ext cx="57150" cy="9525"/>
            </a:xfrm>
            <a:custGeom>
              <a:avLst/>
              <a:gdLst>
                <a:gd name="T0" fmla="*/ 165 w 180"/>
                <a:gd name="T1" fmla="*/ 0 h 30"/>
                <a:gd name="T2" fmla="*/ 15 w 180"/>
                <a:gd name="T3" fmla="*/ 0 h 30"/>
                <a:gd name="T4" fmla="*/ 12 w 180"/>
                <a:gd name="T5" fmla="*/ 0 h 30"/>
                <a:gd name="T6" fmla="*/ 8 w 180"/>
                <a:gd name="T7" fmla="*/ 1 h 30"/>
                <a:gd name="T8" fmla="*/ 6 w 180"/>
                <a:gd name="T9" fmla="*/ 2 h 30"/>
                <a:gd name="T10" fmla="*/ 4 w 180"/>
                <a:gd name="T11" fmla="*/ 4 h 30"/>
                <a:gd name="T12" fmla="*/ 2 w 180"/>
                <a:gd name="T13" fmla="*/ 6 h 30"/>
                <a:gd name="T14" fmla="*/ 1 w 180"/>
                <a:gd name="T15" fmla="*/ 8 h 30"/>
                <a:gd name="T16" fmla="*/ 0 w 180"/>
                <a:gd name="T17" fmla="*/ 11 h 30"/>
                <a:gd name="T18" fmla="*/ 0 w 180"/>
                <a:gd name="T19" fmla="*/ 15 h 30"/>
                <a:gd name="T20" fmla="*/ 0 w 180"/>
                <a:gd name="T21" fmla="*/ 18 h 30"/>
                <a:gd name="T22" fmla="*/ 1 w 180"/>
                <a:gd name="T23" fmla="*/ 20 h 30"/>
                <a:gd name="T24" fmla="*/ 2 w 180"/>
                <a:gd name="T25" fmla="*/ 23 h 30"/>
                <a:gd name="T26" fmla="*/ 4 w 180"/>
                <a:gd name="T27" fmla="*/ 25 h 30"/>
                <a:gd name="T28" fmla="*/ 6 w 180"/>
                <a:gd name="T29" fmla="*/ 26 h 30"/>
                <a:gd name="T30" fmla="*/ 8 w 180"/>
                <a:gd name="T31" fmla="*/ 29 h 30"/>
                <a:gd name="T32" fmla="*/ 12 w 180"/>
                <a:gd name="T33" fmla="*/ 30 h 30"/>
                <a:gd name="T34" fmla="*/ 15 w 180"/>
                <a:gd name="T35" fmla="*/ 30 h 30"/>
                <a:gd name="T36" fmla="*/ 165 w 180"/>
                <a:gd name="T37" fmla="*/ 30 h 30"/>
                <a:gd name="T38" fmla="*/ 168 w 180"/>
                <a:gd name="T39" fmla="*/ 30 h 30"/>
                <a:gd name="T40" fmla="*/ 171 w 180"/>
                <a:gd name="T41" fmla="*/ 29 h 30"/>
                <a:gd name="T42" fmla="*/ 174 w 180"/>
                <a:gd name="T43" fmla="*/ 26 h 30"/>
                <a:gd name="T44" fmla="*/ 176 w 180"/>
                <a:gd name="T45" fmla="*/ 25 h 30"/>
                <a:gd name="T46" fmla="*/ 178 w 180"/>
                <a:gd name="T47" fmla="*/ 23 h 30"/>
                <a:gd name="T48" fmla="*/ 179 w 180"/>
                <a:gd name="T49" fmla="*/ 20 h 30"/>
                <a:gd name="T50" fmla="*/ 180 w 180"/>
                <a:gd name="T51" fmla="*/ 18 h 30"/>
                <a:gd name="T52" fmla="*/ 180 w 180"/>
                <a:gd name="T53" fmla="*/ 15 h 30"/>
                <a:gd name="T54" fmla="*/ 180 w 180"/>
                <a:gd name="T55" fmla="*/ 11 h 30"/>
                <a:gd name="T56" fmla="*/ 179 w 180"/>
                <a:gd name="T57" fmla="*/ 8 h 30"/>
                <a:gd name="T58" fmla="*/ 178 w 180"/>
                <a:gd name="T59" fmla="*/ 6 h 30"/>
                <a:gd name="T60" fmla="*/ 176 w 180"/>
                <a:gd name="T61" fmla="*/ 4 h 30"/>
                <a:gd name="T62" fmla="*/ 174 w 180"/>
                <a:gd name="T63" fmla="*/ 2 h 30"/>
                <a:gd name="T64" fmla="*/ 171 w 180"/>
                <a:gd name="T65" fmla="*/ 1 h 30"/>
                <a:gd name="T66" fmla="*/ 168 w 180"/>
                <a:gd name="T67" fmla="*/ 0 h 30"/>
                <a:gd name="T68" fmla="*/ 165 w 180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80" h="30">
                  <a:moveTo>
                    <a:pt x="165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8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8"/>
                  </a:lnTo>
                  <a:lnTo>
                    <a:pt x="0" y="11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0"/>
                  </a:lnTo>
                  <a:lnTo>
                    <a:pt x="2" y="23"/>
                  </a:lnTo>
                  <a:lnTo>
                    <a:pt x="4" y="25"/>
                  </a:lnTo>
                  <a:lnTo>
                    <a:pt x="6" y="26"/>
                  </a:lnTo>
                  <a:lnTo>
                    <a:pt x="8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165" y="30"/>
                  </a:lnTo>
                  <a:lnTo>
                    <a:pt x="168" y="30"/>
                  </a:lnTo>
                  <a:lnTo>
                    <a:pt x="171" y="29"/>
                  </a:lnTo>
                  <a:lnTo>
                    <a:pt x="174" y="26"/>
                  </a:lnTo>
                  <a:lnTo>
                    <a:pt x="176" y="25"/>
                  </a:lnTo>
                  <a:lnTo>
                    <a:pt x="178" y="23"/>
                  </a:lnTo>
                  <a:lnTo>
                    <a:pt x="179" y="20"/>
                  </a:lnTo>
                  <a:lnTo>
                    <a:pt x="180" y="18"/>
                  </a:lnTo>
                  <a:lnTo>
                    <a:pt x="180" y="15"/>
                  </a:lnTo>
                  <a:lnTo>
                    <a:pt x="180" y="11"/>
                  </a:lnTo>
                  <a:lnTo>
                    <a:pt x="179" y="8"/>
                  </a:lnTo>
                  <a:lnTo>
                    <a:pt x="178" y="6"/>
                  </a:lnTo>
                  <a:lnTo>
                    <a:pt x="176" y="4"/>
                  </a:lnTo>
                  <a:lnTo>
                    <a:pt x="174" y="2"/>
                  </a:lnTo>
                  <a:lnTo>
                    <a:pt x="171" y="1"/>
                  </a:lnTo>
                  <a:lnTo>
                    <a:pt x="168" y="0"/>
                  </a:lnTo>
                  <a:lnTo>
                    <a:pt x="1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8" name="Freeform 285"/>
            <p:cNvSpPr>
              <a:spLocks/>
            </p:cNvSpPr>
            <p:nvPr/>
          </p:nvSpPr>
          <p:spPr bwMode="auto">
            <a:xfrm>
              <a:off x="7234238" y="2089150"/>
              <a:ext cx="57150" cy="9525"/>
            </a:xfrm>
            <a:custGeom>
              <a:avLst/>
              <a:gdLst>
                <a:gd name="T0" fmla="*/ 165 w 180"/>
                <a:gd name="T1" fmla="*/ 0 h 30"/>
                <a:gd name="T2" fmla="*/ 15 w 180"/>
                <a:gd name="T3" fmla="*/ 0 h 30"/>
                <a:gd name="T4" fmla="*/ 12 w 180"/>
                <a:gd name="T5" fmla="*/ 0 h 30"/>
                <a:gd name="T6" fmla="*/ 8 w 180"/>
                <a:gd name="T7" fmla="*/ 1 h 30"/>
                <a:gd name="T8" fmla="*/ 6 w 180"/>
                <a:gd name="T9" fmla="*/ 2 h 30"/>
                <a:gd name="T10" fmla="*/ 4 w 180"/>
                <a:gd name="T11" fmla="*/ 4 h 30"/>
                <a:gd name="T12" fmla="*/ 2 w 180"/>
                <a:gd name="T13" fmla="*/ 6 h 30"/>
                <a:gd name="T14" fmla="*/ 1 w 180"/>
                <a:gd name="T15" fmla="*/ 9 h 30"/>
                <a:gd name="T16" fmla="*/ 0 w 180"/>
                <a:gd name="T17" fmla="*/ 11 h 30"/>
                <a:gd name="T18" fmla="*/ 0 w 180"/>
                <a:gd name="T19" fmla="*/ 15 h 30"/>
                <a:gd name="T20" fmla="*/ 0 w 180"/>
                <a:gd name="T21" fmla="*/ 18 h 30"/>
                <a:gd name="T22" fmla="*/ 1 w 180"/>
                <a:gd name="T23" fmla="*/ 20 h 30"/>
                <a:gd name="T24" fmla="*/ 2 w 180"/>
                <a:gd name="T25" fmla="*/ 23 h 30"/>
                <a:gd name="T26" fmla="*/ 4 w 180"/>
                <a:gd name="T27" fmla="*/ 25 h 30"/>
                <a:gd name="T28" fmla="*/ 6 w 180"/>
                <a:gd name="T29" fmla="*/ 28 h 30"/>
                <a:gd name="T30" fmla="*/ 8 w 180"/>
                <a:gd name="T31" fmla="*/ 29 h 30"/>
                <a:gd name="T32" fmla="*/ 12 w 180"/>
                <a:gd name="T33" fmla="*/ 30 h 30"/>
                <a:gd name="T34" fmla="*/ 15 w 180"/>
                <a:gd name="T35" fmla="*/ 30 h 30"/>
                <a:gd name="T36" fmla="*/ 165 w 180"/>
                <a:gd name="T37" fmla="*/ 30 h 30"/>
                <a:gd name="T38" fmla="*/ 168 w 180"/>
                <a:gd name="T39" fmla="*/ 30 h 30"/>
                <a:gd name="T40" fmla="*/ 171 w 180"/>
                <a:gd name="T41" fmla="*/ 29 h 30"/>
                <a:gd name="T42" fmla="*/ 174 w 180"/>
                <a:gd name="T43" fmla="*/ 28 h 30"/>
                <a:gd name="T44" fmla="*/ 176 w 180"/>
                <a:gd name="T45" fmla="*/ 25 h 30"/>
                <a:gd name="T46" fmla="*/ 178 w 180"/>
                <a:gd name="T47" fmla="*/ 23 h 30"/>
                <a:gd name="T48" fmla="*/ 179 w 180"/>
                <a:gd name="T49" fmla="*/ 20 h 30"/>
                <a:gd name="T50" fmla="*/ 180 w 180"/>
                <a:gd name="T51" fmla="*/ 18 h 30"/>
                <a:gd name="T52" fmla="*/ 180 w 180"/>
                <a:gd name="T53" fmla="*/ 15 h 30"/>
                <a:gd name="T54" fmla="*/ 180 w 180"/>
                <a:gd name="T55" fmla="*/ 11 h 30"/>
                <a:gd name="T56" fmla="*/ 179 w 180"/>
                <a:gd name="T57" fmla="*/ 9 h 30"/>
                <a:gd name="T58" fmla="*/ 178 w 180"/>
                <a:gd name="T59" fmla="*/ 6 h 30"/>
                <a:gd name="T60" fmla="*/ 176 w 180"/>
                <a:gd name="T61" fmla="*/ 4 h 30"/>
                <a:gd name="T62" fmla="*/ 174 w 180"/>
                <a:gd name="T63" fmla="*/ 2 h 30"/>
                <a:gd name="T64" fmla="*/ 171 w 180"/>
                <a:gd name="T65" fmla="*/ 1 h 30"/>
                <a:gd name="T66" fmla="*/ 168 w 180"/>
                <a:gd name="T67" fmla="*/ 0 h 30"/>
                <a:gd name="T68" fmla="*/ 165 w 180"/>
                <a:gd name="T69" fmla="*/ 0 h 30"/>
                <a:gd name="T70" fmla="*/ 165 w 180"/>
                <a:gd name="T7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80" h="30">
                  <a:moveTo>
                    <a:pt x="165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8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9"/>
                  </a:lnTo>
                  <a:lnTo>
                    <a:pt x="0" y="11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0"/>
                  </a:lnTo>
                  <a:lnTo>
                    <a:pt x="2" y="23"/>
                  </a:lnTo>
                  <a:lnTo>
                    <a:pt x="4" y="25"/>
                  </a:lnTo>
                  <a:lnTo>
                    <a:pt x="6" y="28"/>
                  </a:lnTo>
                  <a:lnTo>
                    <a:pt x="8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165" y="30"/>
                  </a:lnTo>
                  <a:lnTo>
                    <a:pt x="168" y="30"/>
                  </a:lnTo>
                  <a:lnTo>
                    <a:pt x="171" y="29"/>
                  </a:lnTo>
                  <a:lnTo>
                    <a:pt x="174" y="28"/>
                  </a:lnTo>
                  <a:lnTo>
                    <a:pt x="176" y="25"/>
                  </a:lnTo>
                  <a:lnTo>
                    <a:pt x="178" y="23"/>
                  </a:lnTo>
                  <a:lnTo>
                    <a:pt x="179" y="20"/>
                  </a:lnTo>
                  <a:lnTo>
                    <a:pt x="180" y="18"/>
                  </a:lnTo>
                  <a:lnTo>
                    <a:pt x="180" y="15"/>
                  </a:lnTo>
                  <a:lnTo>
                    <a:pt x="180" y="11"/>
                  </a:lnTo>
                  <a:lnTo>
                    <a:pt x="179" y="9"/>
                  </a:lnTo>
                  <a:lnTo>
                    <a:pt x="178" y="6"/>
                  </a:lnTo>
                  <a:lnTo>
                    <a:pt x="176" y="4"/>
                  </a:lnTo>
                  <a:lnTo>
                    <a:pt x="174" y="2"/>
                  </a:lnTo>
                  <a:lnTo>
                    <a:pt x="171" y="1"/>
                  </a:lnTo>
                  <a:lnTo>
                    <a:pt x="168" y="0"/>
                  </a:lnTo>
                  <a:lnTo>
                    <a:pt x="165" y="0"/>
                  </a:lnTo>
                  <a:lnTo>
                    <a:pt x="1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9" name="Freeform 286"/>
            <p:cNvSpPr>
              <a:spLocks/>
            </p:cNvSpPr>
            <p:nvPr/>
          </p:nvSpPr>
          <p:spPr bwMode="auto">
            <a:xfrm>
              <a:off x="7234238" y="2108200"/>
              <a:ext cx="57150" cy="9525"/>
            </a:xfrm>
            <a:custGeom>
              <a:avLst/>
              <a:gdLst>
                <a:gd name="T0" fmla="*/ 165 w 180"/>
                <a:gd name="T1" fmla="*/ 0 h 30"/>
                <a:gd name="T2" fmla="*/ 15 w 180"/>
                <a:gd name="T3" fmla="*/ 0 h 30"/>
                <a:gd name="T4" fmla="*/ 12 w 180"/>
                <a:gd name="T5" fmla="*/ 0 h 30"/>
                <a:gd name="T6" fmla="*/ 8 w 180"/>
                <a:gd name="T7" fmla="*/ 1 h 30"/>
                <a:gd name="T8" fmla="*/ 6 w 180"/>
                <a:gd name="T9" fmla="*/ 3 h 30"/>
                <a:gd name="T10" fmla="*/ 4 w 180"/>
                <a:gd name="T11" fmla="*/ 4 h 30"/>
                <a:gd name="T12" fmla="*/ 2 w 180"/>
                <a:gd name="T13" fmla="*/ 6 h 30"/>
                <a:gd name="T14" fmla="*/ 1 w 180"/>
                <a:gd name="T15" fmla="*/ 9 h 30"/>
                <a:gd name="T16" fmla="*/ 0 w 180"/>
                <a:gd name="T17" fmla="*/ 12 h 30"/>
                <a:gd name="T18" fmla="*/ 0 w 180"/>
                <a:gd name="T19" fmla="*/ 15 h 30"/>
                <a:gd name="T20" fmla="*/ 0 w 180"/>
                <a:gd name="T21" fmla="*/ 18 h 30"/>
                <a:gd name="T22" fmla="*/ 1 w 180"/>
                <a:gd name="T23" fmla="*/ 21 h 30"/>
                <a:gd name="T24" fmla="*/ 2 w 180"/>
                <a:gd name="T25" fmla="*/ 23 h 30"/>
                <a:gd name="T26" fmla="*/ 4 w 180"/>
                <a:gd name="T27" fmla="*/ 25 h 30"/>
                <a:gd name="T28" fmla="*/ 6 w 180"/>
                <a:gd name="T29" fmla="*/ 28 h 30"/>
                <a:gd name="T30" fmla="*/ 8 w 180"/>
                <a:gd name="T31" fmla="*/ 29 h 30"/>
                <a:gd name="T32" fmla="*/ 12 w 180"/>
                <a:gd name="T33" fmla="*/ 30 h 30"/>
                <a:gd name="T34" fmla="*/ 15 w 180"/>
                <a:gd name="T35" fmla="*/ 30 h 30"/>
                <a:gd name="T36" fmla="*/ 165 w 180"/>
                <a:gd name="T37" fmla="*/ 30 h 30"/>
                <a:gd name="T38" fmla="*/ 168 w 180"/>
                <a:gd name="T39" fmla="*/ 30 h 30"/>
                <a:gd name="T40" fmla="*/ 171 w 180"/>
                <a:gd name="T41" fmla="*/ 29 h 30"/>
                <a:gd name="T42" fmla="*/ 174 w 180"/>
                <a:gd name="T43" fmla="*/ 28 h 30"/>
                <a:gd name="T44" fmla="*/ 176 w 180"/>
                <a:gd name="T45" fmla="*/ 25 h 30"/>
                <a:gd name="T46" fmla="*/ 178 w 180"/>
                <a:gd name="T47" fmla="*/ 23 h 30"/>
                <a:gd name="T48" fmla="*/ 179 w 180"/>
                <a:gd name="T49" fmla="*/ 21 h 30"/>
                <a:gd name="T50" fmla="*/ 180 w 180"/>
                <a:gd name="T51" fmla="*/ 18 h 30"/>
                <a:gd name="T52" fmla="*/ 180 w 180"/>
                <a:gd name="T53" fmla="*/ 15 h 30"/>
                <a:gd name="T54" fmla="*/ 180 w 180"/>
                <a:gd name="T55" fmla="*/ 12 h 30"/>
                <a:gd name="T56" fmla="*/ 179 w 180"/>
                <a:gd name="T57" fmla="*/ 9 h 30"/>
                <a:gd name="T58" fmla="*/ 178 w 180"/>
                <a:gd name="T59" fmla="*/ 6 h 30"/>
                <a:gd name="T60" fmla="*/ 176 w 180"/>
                <a:gd name="T61" fmla="*/ 4 h 30"/>
                <a:gd name="T62" fmla="*/ 174 w 180"/>
                <a:gd name="T63" fmla="*/ 3 h 30"/>
                <a:gd name="T64" fmla="*/ 171 w 180"/>
                <a:gd name="T65" fmla="*/ 1 h 30"/>
                <a:gd name="T66" fmla="*/ 168 w 180"/>
                <a:gd name="T67" fmla="*/ 0 h 30"/>
                <a:gd name="T68" fmla="*/ 165 w 180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80" h="30">
                  <a:moveTo>
                    <a:pt x="165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8" y="1"/>
                  </a:lnTo>
                  <a:lnTo>
                    <a:pt x="6" y="3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1"/>
                  </a:lnTo>
                  <a:lnTo>
                    <a:pt x="2" y="23"/>
                  </a:lnTo>
                  <a:lnTo>
                    <a:pt x="4" y="25"/>
                  </a:lnTo>
                  <a:lnTo>
                    <a:pt x="6" y="28"/>
                  </a:lnTo>
                  <a:lnTo>
                    <a:pt x="8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165" y="30"/>
                  </a:lnTo>
                  <a:lnTo>
                    <a:pt x="168" y="30"/>
                  </a:lnTo>
                  <a:lnTo>
                    <a:pt x="171" y="29"/>
                  </a:lnTo>
                  <a:lnTo>
                    <a:pt x="174" y="28"/>
                  </a:lnTo>
                  <a:lnTo>
                    <a:pt x="176" y="25"/>
                  </a:lnTo>
                  <a:lnTo>
                    <a:pt x="178" y="23"/>
                  </a:lnTo>
                  <a:lnTo>
                    <a:pt x="179" y="21"/>
                  </a:lnTo>
                  <a:lnTo>
                    <a:pt x="180" y="18"/>
                  </a:lnTo>
                  <a:lnTo>
                    <a:pt x="180" y="15"/>
                  </a:lnTo>
                  <a:lnTo>
                    <a:pt x="180" y="12"/>
                  </a:lnTo>
                  <a:lnTo>
                    <a:pt x="179" y="9"/>
                  </a:lnTo>
                  <a:lnTo>
                    <a:pt x="178" y="6"/>
                  </a:lnTo>
                  <a:lnTo>
                    <a:pt x="176" y="4"/>
                  </a:lnTo>
                  <a:lnTo>
                    <a:pt x="174" y="3"/>
                  </a:lnTo>
                  <a:lnTo>
                    <a:pt x="171" y="1"/>
                  </a:lnTo>
                  <a:lnTo>
                    <a:pt x="168" y="0"/>
                  </a:lnTo>
                  <a:lnTo>
                    <a:pt x="1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0" name="Freeform 287"/>
            <p:cNvSpPr>
              <a:spLocks/>
            </p:cNvSpPr>
            <p:nvPr/>
          </p:nvSpPr>
          <p:spPr bwMode="auto">
            <a:xfrm>
              <a:off x="7234238" y="2146300"/>
              <a:ext cx="57150" cy="9525"/>
            </a:xfrm>
            <a:custGeom>
              <a:avLst/>
              <a:gdLst>
                <a:gd name="T0" fmla="*/ 165 w 180"/>
                <a:gd name="T1" fmla="*/ 0 h 30"/>
                <a:gd name="T2" fmla="*/ 15 w 180"/>
                <a:gd name="T3" fmla="*/ 0 h 30"/>
                <a:gd name="T4" fmla="*/ 12 w 180"/>
                <a:gd name="T5" fmla="*/ 1 h 30"/>
                <a:gd name="T6" fmla="*/ 8 w 180"/>
                <a:gd name="T7" fmla="*/ 1 h 30"/>
                <a:gd name="T8" fmla="*/ 6 w 180"/>
                <a:gd name="T9" fmla="*/ 3 h 30"/>
                <a:gd name="T10" fmla="*/ 4 w 180"/>
                <a:gd name="T11" fmla="*/ 4 h 30"/>
                <a:gd name="T12" fmla="*/ 2 w 180"/>
                <a:gd name="T13" fmla="*/ 7 h 30"/>
                <a:gd name="T14" fmla="*/ 1 w 180"/>
                <a:gd name="T15" fmla="*/ 10 h 30"/>
                <a:gd name="T16" fmla="*/ 0 w 180"/>
                <a:gd name="T17" fmla="*/ 13 h 30"/>
                <a:gd name="T18" fmla="*/ 0 w 180"/>
                <a:gd name="T19" fmla="*/ 15 h 30"/>
                <a:gd name="T20" fmla="*/ 0 w 180"/>
                <a:gd name="T21" fmla="*/ 18 h 30"/>
                <a:gd name="T22" fmla="*/ 1 w 180"/>
                <a:gd name="T23" fmla="*/ 21 h 30"/>
                <a:gd name="T24" fmla="*/ 2 w 180"/>
                <a:gd name="T25" fmla="*/ 23 h 30"/>
                <a:gd name="T26" fmla="*/ 4 w 180"/>
                <a:gd name="T27" fmla="*/ 26 h 30"/>
                <a:gd name="T28" fmla="*/ 6 w 180"/>
                <a:gd name="T29" fmla="*/ 28 h 30"/>
                <a:gd name="T30" fmla="*/ 8 w 180"/>
                <a:gd name="T31" fmla="*/ 29 h 30"/>
                <a:gd name="T32" fmla="*/ 12 w 180"/>
                <a:gd name="T33" fmla="*/ 30 h 30"/>
                <a:gd name="T34" fmla="*/ 15 w 180"/>
                <a:gd name="T35" fmla="*/ 30 h 30"/>
                <a:gd name="T36" fmla="*/ 165 w 180"/>
                <a:gd name="T37" fmla="*/ 30 h 30"/>
                <a:gd name="T38" fmla="*/ 168 w 180"/>
                <a:gd name="T39" fmla="*/ 30 h 30"/>
                <a:gd name="T40" fmla="*/ 171 w 180"/>
                <a:gd name="T41" fmla="*/ 29 h 30"/>
                <a:gd name="T42" fmla="*/ 174 w 180"/>
                <a:gd name="T43" fmla="*/ 28 h 30"/>
                <a:gd name="T44" fmla="*/ 176 w 180"/>
                <a:gd name="T45" fmla="*/ 26 h 30"/>
                <a:gd name="T46" fmla="*/ 178 w 180"/>
                <a:gd name="T47" fmla="*/ 23 h 30"/>
                <a:gd name="T48" fmla="*/ 179 w 180"/>
                <a:gd name="T49" fmla="*/ 21 h 30"/>
                <a:gd name="T50" fmla="*/ 180 w 180"/>
                <a:gd name="T51" fmla="*/ 18 h 30"/>
                <a:gd name="T52" fmla="*/ 180 w 180"/>
                <a:gd name="T53" fmla="*/ 15 h 30"/>
                <a:gd name="T54" fmla="*/ 180 w 180"/>
                <a:gd name="T55" fmla="*/ 13 h 30"/>
                <a:gd name="T56" fmla="*/ 179 w 180"/>
                <a:gd name="T57" fmla="*/ 10 h 30"/>
                <a:gd name="T58" fmla="*/ 178 w 180"/>
                <a:gd name="T59" fmla="*/ 7 h 30"/>
                <a:gd name="T60" fmla="*/ 176 w 180"/>
                <a:gd name="T61" fmla="*/ 4 h 30"/>
                <a:gd name="T62" fmla="*/ 174 w 180"/>
                <a:gd name="T63" fmla="*/ 3 h 30"/>
                <a:gd name="T64" fmla="*/ 171 w 180"/>
                <a:gd name="T65" fmla="*/ 1 h 30"/>
                <a:gd name="T66" fmla="*/ 168 w 180"/>
                <a:gd name="T67" fmla="*/ 1 h 30"/>
                <a:gd name="T68" fmla="*/ 165 w 180"/>
                <a:gd name="T69" fmla="*/ 0 h 30"/>
                <a:gd name="T70" fmla="*/ 165 w 180"/>
                <a:gd name="T7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80" h="30">
                  <a:moveTo>
                    <a:pt x="165" y="0"/>
                  </a:moveTo>
                  <a:lnTo>
                    <a:pt x="15" y="0"/>
                  </a:lnTo>
                  <a:lnTo>
                    <a:pt x="12" y="1"/>
                  </a:lnTo>
                  <a:lnTo>
                    <a:pt x="8" y="1"/>
                  </a:lnTo>
                  <a:lnTo>
                    <a:pt x="6" y="3"/>
                  </a:lnTo>
                  <a:lnTo>
                    <a:pt x="4" y="4"/>
                  </a:lnTo>
                  <a:lnTo>
                    <a:pt x="2" y="7"/>
                  </a:lnTo>
                  <a:lnTo>
                    <a:pt x="1" y="10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1"/>
                  </a:lnTo>
                  <a:lnTo>
                    <a:pt x="2" y="23"/>
                  </a:lnTo>
                  <a:lnTo>
                    <a:pt x="4" y="26"/>
                  </a:lnTo>
                  <a:lnTo>
                    <a:pt x="6" y="28"/>
                  </a:lnTo>
                  <a:lnTo>
                    <a:pt x="8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165" y="30"/>
                  </a:lnTo>
                  <a:lnTo>
                    <a:pt x="168" y="30"/>
                  </a:lnTo>
                  <a:lnTo>
                    <a:pt x="171" y="29"/>
                  </a:lnTo>
                  <a:lnTo>
                    <a:pt x="174" y="28"/>
                  </a:lnTo>
                  <a:lnTo>
                    <a:pt x="176" y="26"/>
                  </a:lnTo>
                  <a:lnTo>
                    <a:pt x="178" y="23"/>
                  </a:lnTo>
                  <a:lnTo>
                    <a:pt x="179" y="21"/>
                  </a:lnTo>
                  <a:lnTo>
                    <a:pt x="180" y="18"/>
                  </a:lnTo>
                  <a:lnTo>
                    <a:pt x="180" y="15"/>
                  </a:lnTo>
                  <a:lnTo>
                    <a:pt x="180" y="13"/>
                  </a:lnTo>
                  <a:lnTo>
                    <a:pt x="179" y="10"/>
                  </a:lnTo>
                  <a:lnTo>
                    <a:pt x="178" y="7"/>
                  </a:lnTo>
                  <a:lnTo>
                    <a:pt x="176" y="4"/>
                  </a:lnTo>
                  <a:lnTo>
                    <a:pt x="174" y="3"/>
                  </a:lnTo>
                  <a:lnTo>
                    <a:pt x="171" y="1"/>
                  </a:lnTo>
                  <a:lnTo>
                    <a:pt x="168" y="1"/>
                  </a:lnTo>
                  <a:lnTo>
                    <a:pt x="165" y="0"/>
                  </a:lnTo>
                  <a:lnTo>
                    <a:pt x="1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1" name="Freeform 288"/>
            <p:cNvSpPr>
              <a:spLocks/>
            </p:cNvSpPr>
            <p:nvPr/>
          </p:nvSpPr>
          <p:spPr bwMode="auto">
            <a:xfrm>
              <a:off x="7234238" y="2127250"/>
              <a:ext cx="57150" cy="9525"/>
            </a:xfrm>
            <a:custGeom>
              <a:avLst/>
              <a:gdLst>
                <a:gd name="T0" fmla="*/ 165 w 180"/>
                <a:gd name="T1" fmla="*/ 0 h 30"/>
                <a:gd name="T2" fmla="*/ 15 w 180"/>
                <a:gd name="T3" fmla="*/ 0 h 30"/>
                <a:gd name="T4" fmla="*/ 12 w 180"/>
                <a:gd name="T5" fmla="*/ 0 h 30"/>
                <a:gd name="T6" fmla="*/ 8 w 180"/>
                <a:gd name="T7" fmla="*/ 1 h 30"/>
                <a:gd name="T8" fmla="*/ 6 w 180"/>
                <a:gd name="T9" fmla="*/ 3 h 30"/>
                <a:gd name="T10" fmla="*/ 4 w 180"/>
                <a:gd name="T11" fmla="*/ 4 h 30"/>
                <a:gd name="T12" fmla="*/ 2 w 180"/>
                <a:gd name="T13" fmla="*/ 6 h 30"/>
                <a:gd name="T14" fmla="*/ 1 w 180"/>
                <a:gd name="T15" fmla="*/ 9 h 30"/>
                <a:gd name="T16" fmla="*/ 0 w 180"/>
                <a:gd name="T17" fmla="*/ 12 h 30"/>
                <a:gd name="T18" fmla="*/ 0 w 180"/>
                <a:gd name="T19" fmla="*/ 15 h 30"/>
                <a:gd name="T20" fmla="*/ 0 w 180"/>
                <a:gd name="T21" fmla="*/ 18 h 30"/>
                <a:gd name="T22" fmla="*/ 1 w 180"/>
                <a:gd name="T23" fmla="*/ 21 h 30"/>
                <a:gd name="T24" fmla="*/ 2 w 180"/>
                <a:gd name="T25" fmla="*/ 23 h 30"/>
                <a:gd name="T26" fmla="*/ 4 w 180"/>
                <a:gd name="T27" fmla="*/ 26 h 30"/>
                <a:gd name="T28" fmla="*/ 6 w 180"/>
                <a:gd name="T29" fmla="*/ 28 h 30"/>
                <a:gd name="T30" fmla="*/ 8 w 180"/>
                <a:gd name="T31" fmla="*/ 29 h 30"/>
                <a:gd name="T32" fmla="*/ 12 w 180"/>
                <a:gd name="T33" fmla="*/ 30 h 30"/>
                <a:gd name="T34" fmla="*/ 15 w 180"/>
                <a:gd name="T35" fmla="*/ 30 h 30"/>
                <a:gd name="T36" fmla="*/ 165 w 180"/>
                <a:gd name="T37" fmla="*/ 30 h 30"/>
                <a:gd name="T38" fmla="*/ 168 w 180"/>
                <a:gd name="T39" fmla="*/ 30 h 30"/>
                <a:gd name="T40" fmla="*/ 171 w 180"/>
                <a:gd name="T41" fmla="*/ 29 h 30"/>
                <a:gd name="T42" fmla="*/ 174 w 180"/>
                <a:gd name="T43" fmla="*/ 28 h 30"/>
                <a:gd name="T44" fmla="*/ 176 w 180"/>
                <a:gd name="T45" fmla="*/ 26 h 30"/>
                <a:gd name="T46" fmla="*/ 178 w 180"/>
                <a:gd name="T47" fmla="*/ 23 h 30"/>
                <a:gd name="T48" fmla="*/ 179 w 180"/>
                <a:gd name="T49" fmla="*/ 21 h 30"/>
                <a:gd name="T50" fmla="*/ 180 w 180"/>
                <a:gd name="T51" fmla="*/ 18 h 30"/>
                <a:gd name="T52" fmla="*/ 180 w 180"/>
                <a:gd name="T53" fmla="*/ 15 h 30"/>
                <a:gd name="T54" fmla="*/ 180 w 180"/>
                <a:gd name="T55" fmla="*/ 12 h 30"/>
                <a:gd name="T56" fmla="*/ 179 w 180"/>
                <a:gd name="T57" fmla="*/ 9 h 30"/>
                <a:gd name="T58" fmla="*/ 178 w 180"/>
                <a:gd name="T59" fmla="*/ 6 h 30"/>
                <a:gd name="T60" fmla="*/ 176 w 180"/>
                <a:gd name="T61" fmla="*/ 4 h 30"/>
                <a:gd name="T62" fmla="*/ 174 w 180"/>
                <a:gd name="T63" fmla="*/ 3 h 30"/>
                <a:gd name="T64" fmla="*/ 171 w 180"/>
                <a:gd name="T65" fmla="*/ 1 h 30"/>
                <a:gd name="T66" fmla="*/ 168 w 180"/>
                <a:gd name="T67" fmla="*/ 1 h 30"/>
                <a:gd name="T68" fmla="*/ 165 w 180"/>
                <a:gd name="T69" fmla="*/ 0 h 30"/>
                <a:gd name="T70" fmla="*/ 165 w 180"/>
                <a:gd name="T7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80" h="30">
                  <a:moveTo>
                    <a:pt x="165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8" y="1"/>
                  </a:lnTo>
                  <a:lnTo>
                    <a:pt x="6" y="3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1"/>
                  </a:lnTo>
                  <a:lnTo>
                    <a:pt x="2" y="23"/>
                  </a:lnTo>
                  <a:lnTo>
                    <a:pt x="4" y="26"/>
                  </a:lnTo>
                  <a:lnTo>
                    <a:pt x="6" y="28"/>
                  </a:lnTo>
                  <a:lnTo>
                    <a:pt x="8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165" y="30"/>
                  </a:lnTo>
                  <a:lnTo>
                    <a:pt x="168" y="30"/>
                  </a:lnTo>
                  <a:lnTo>
                    <a:pt x="171" y="29"/>
                  </a:lnTo>
                  <a:lnTo>
                    <a:pt x="174" y="28"/>
                  </a:lnTo>
                  <a:lnTo>
                    <a:pt x="176" y="26"/>
                  </a:lnTo>
                  <a:lnTo>
                    <a:pt x="178" y="23"/>
                  </a:lnTo>
                  <a:lnTo>
                    <a:pt x="179" y="21"/>
                  </a:lnTo>
                  <a:lnTo>
                    <a:pt x="180" y="18"/>
                  </a:lnTo>
                  <a:lnTo>
                    <a:pt x="180" y="15"/>
                  </a:lnTo>
                  <a:lnTo>
                    <a:pt x="180" y="12"/>
                  </a:lnTo>
                  <a:lnTo>
                    <a:pt x="179" y="9"/>
                  </a:lnTo>
                  <a:lnTo>
                    <a:pt x="178" y="6"/>
                  </a:lnTo>
                  <a:lnTo>
                    <a:pt x="176" y="4"/>
                  </a:lnTo>
                  <a:lnTo>
                    <a:pt x="174" y="3"/>
                  </a:lnTo>
                  <a:lnTo>
                    <a:pt x="171" y="1"/>
                  </a:lnTo>
                  <a:lnTo>
                    <a:pt x="168" y="1"/>
                  </a:lnTo>
                  <a:lnTo>
                    <a:pt x="165" y="0"/>
                  </a:lnTo>
                  <a:lnTo>
                    <a:pt x="1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2" name="Freeform 289"/>
            <p:cNvSpPr>
              <a:spLocks/>
            </p:cNvSpPr>
            <p:nvPr/>
          </p:nvSpPr>
          <p:spPr bwMode="auto">
            <a:xfrm>
              <a:off x="7148513" y="2108200"/>
              <a:ext cx="57150" cy="9525"/>
            </a:xfrm>
            <a:custGeom>
              <a:avLst/>
              <a:gdLst>
                <a:gd name="T0" fmla="*/ 15 w 181"/>
                <a:gd name="T1" fmla="*/ 30 h 30"/>
                <a:gd name="T2" fmla="*/ 166 w 181"/>
                <a:gd name="T3" fmla="*/ 30 h 30"/>
                <a:gd name="T4" fmla="*/ 168 w 181"/>
                <a:gd name="T5" fmla="*/ 30 h 30"/>
                <a:gd name="T6" fmla="*/ 171 w 181"/>
                <a:gd name="T7" fmla="*/ 29 h 30"/>
                <a:gd name="T8" fmla="*/ 173 w 181"/>
                <a:gd name="T9" fmla="*/ 28 h 30"/>
                <a:gd name="T10" fmla="*/ 175 w 181"/>
                <a:gd name="T11" fmla="*/ 25 h 30"/>
                <a:gd name="T12" fmla="*/ 178 w 181"/>
                <a:gd name="T13" fmla="*/ 23 h 30"/>
                <a:gd name="T14" fmla="*/ 179 w 181"/>
                <a:gd name="T15" fmla="*/ 21 h 30"/>
                <a:gd name="T16" fmla="*/ 180 w 181"/>
                <a:gd name="T17" fmla="*/ 18 h 30"/>
                <a:gd name="T18" fmla="*/ 181 w 181"/>
                <a:gd name="T19" fmla="*/ 15 h 30"/>
                <a:gd name="T20" fmla="*/ 180 w 181"/>
                <a:gd name="T21" fmla="*/ 12 h 30"/>
                <a:gd name="T22" fmla="*/ 179 w 181"/>
                <a:gd name="T23" fmla="*/ 9 h 30"/>
                <a:gd name="T24" fmla="*/ 178 w 181"/>
                <a:gd name="T25" fmla="*/ 6 h 30"/>
                <a:gd name="T26" fmla="*/ 175 w 181"/>
                <a:gd name="T27" fmla="*/ 4 h 30"/>
                <a:gd name="T28" fmla="*/ 173 w 181"/>
                <a:gd name="T29" fmla="*/ 3 h 30"/>
                <a:gd name="T30" fmla="*/ 171 w 181"/>
                <a:gd name="T31" fmla="*/ 1 h 30"/>
                <a:gd name="T32" fmla="*/ 168 w 181"/>
                <a:gd name="T33" fmla="*/ 0 h 30"/>
                <a:gd name="T34" fmla="*/ 166 w 181"/>
                <a:gd name="T35" fmla="*/ 0 h 30"/>
                <a:gd name="T36" fmla="*/ 15 w 181"/>
                <a:gd name="T37" fmla="*/ 0 h 30"/>
                <a:gd name="T38" fmla="*/ 11 w 181"/>
                <a:gd name="T39" fmla="*/ 0 h 30"/>
                <a:gd name="T40" fmla="*/ 9 w 181"/>
                <a:gd name="T41" fmla="*/ 1 h 30"/>
                <a:gd name="T42" fmla="*/ 6 w 181"/>
                <a:gd name="T43" fmla="*/ 3 h 30"/>
                <a:gd name="T44" fmla="*/ 4 w 181"/>
                <a:gd name="T45" fmla="*/ 4 h 30"/>
                <a:gd name="T46" fmla="*/ 3 w 181"/>
                <a:gd name="T47" fmla="*/ 6 h 30"/>
                <a:gd name="T48" fmla="*/ 1 w 181"/>
                <a:gd name="T49" fmla="*/ 9 h 30"/>
                <a:gd name="T50" fmla="*/ 0 w 181"/>
                <a:gd name="T51" fmla="*/ 12 h 30"/>
                <a:gd name="T52" fmla="*/ 0 w 181"/>
                <a:gd name="T53" fmla="*/ 15 h 30"/>
                <a:gd name="T54" fmla="*/ 0 w 181"/>
                <a:gd name="T55" fmla="*/ 18 h 30"/>
                <a:gd name="T56" fmla="*/ 1 w 181"/>
                <a:gd name="T57" fmla="*/ 21 h 30"/>
                <a:gd name="T58" fmla="*/ 3 w 181"/>
                <a:gd name="T59" fmla="*/ 23 h 30"/>
                <a:gd name="T60" fmla="*/ 4 w 181"/>
                <a:gd name="T61" fmla="*/ 25 h 30"/>
                <a:gd name="T62" fmla="*/ 6 w 181"/>
                <a:gd name="T63" fmla="*/ 28 h 30"/>
                <a:gd name="T64" fmla="*/ 9 w 181"/>
                <a:gd name="T65" fmla="*/ 29 h 30"/>
                <a:gd name="T66" fmla="*/ 11 w 181"/>
                <a:gd name="T67" fmla="*/ 30 h 30"/>
                <a:gd name="T68" fmla="*/ 15 w 181"/>
                <a:gd name="T69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81" h="30">
                  <a:moveTo>
                    <a:pt x="15" y="30"/>
                  </a:moveTo>
                  <a:lnTo>
                    <a:pt x="166" y="30"/>
                  </a:lnTo>
                  <a:lnTo>
                    <a:pt x="168" y="30"/>
                  </a:lnTo>
                  <a:lnTo>
                    <a:pt x="171" y="29"/>
                  </a:lnTo>
                  <a:lnTo>
                    <a:pt x="173" y="28"/>
                  </a:lnTo>
                  <a:lnTo>
                    <a:pt x="175" y="25"/>
                  </a:lnTo>
                  <a:lnTo>
                    <a:pt x="178" y="23"/>
                  </a:lnTo>
                  <a:lnTo>
                    <a:pt x="179" y="21"/>
                  </a:lnTo>
                  <a:lnTo>
                    <a:pt x="180" y="18"/>
                  </a:lnTo>
                  <a:lnTo>
                    <a:pt x="181" y="15"/>
                  </a:lnTo>
                  <a:lnTo>
                    <a:pt x="180" y="12"/>
                  </a:lnTo>
                  <a:lnTo>
                    <a:pt x="179" y="9"/>
                  </a:lnTo>
                  <a:lnTo>
                    <a:pt x="178" y="6"/>
                  </a:lnTo>
                  <a:lnTo>
                    <a:pt x="175" y="4"/>
                  </a:lnTo>
                  <a:lnTo>
                    <a:pt x="173" y="3"/>
                  </a:lnTo>
                  <a:lnTo>
                    <a:pt x="171" y="1"/>
                  </a:lnTo>
                  <a:lnTo>
                    <a:pt x="168" y="0"/>
                  </a:lnTo>
                  <a:lnTo>
                    <a:pt x="166" y="0"/>
                  </a:lnTo>
                  <a:lnTo>
                    <a:pt x="15" y="0"/>
                  </a:lnTo>
                  <a:lnTo>
                    <a:pt x="11" y="0"/>
                  </a:lnTo>
                  <a:lnTo>
                    <a:pt x="9" y="1"/>
                  </a:lnTo>
                  <a:lnTo>
                    <a:pt x="6" y="3"/>
                  </a:lnTo>
                  <a:lnTo>
                    <a:pt x="4" y="4"/>
                  </a:lnTo>
                  <a:lnTo>
                    <a:pt x="3" y="6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1"/>
                  </a:lnTo>
                  <a:lnTo>
                    <a:pt x="3" y="23"/>
                  </a:lnTo>
                  <a:lnTo>
                    <a:pt x="4" y="25"/>
                  </a:lnTo>
                  <a:lnTo>
                    <a:pt x="6" y="28"/>
                  </a:lnTo>
                  <a:lnTo>
                    <a:pt x="9" y="29"/>
                  </a:lnTo>
                  <a:lnTo>
                    <a:pt x="11" y="30"/>
                  </a:lnTo>
                  <a:lnTo>
                    <a:pt x="15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3" name="Freeform 290"/>
            <p:cNvSpPr>
              <a:spLocks/>
            </p:cNvSpPr>
            <p:nvPr/>
          </p:nvSpPr>
          <p:spPr bwMode="auto">
            <a:xfrm>
              <a:off x="7148513" y="2127250"/>
              <a:ext cx="57150" cy="9525"/>
            </a:xfrm>
            <a:custGeom>
              <a:avLst/>
              <a:gdLst>
                <a:gd name="T0" fmla="*/ 15 w 181"/>
                <a:gd name="T1" fmla="*/ 30 h 30"/>
                <a:gd name="T2" fmla="*/ 166 w 181"/>
                <a:gd name="T3" fmla="*/ 30 h 30"/>
                <a:gd name="T4" fmla="*/ 168 w 181"/>
                <a:gd name="T5" fmla="*/ 30 h 30"/>
                <a:gd name="T6" fmla="*/ 171 w 181"/>
                <a:gd name="T7" fmla="*/ 29 h 30"/>
                <a:gd name="T8" fmla="*/ 173 w 181"/>
                <a:gd name="T9" fmla="*/ 28 h 30"/>
                <a:gd name="T10" fmla="*/ 175 w 181"/>
                <a:gd name="T11" fmla="*/ 26 h 30"/>
                <a:gd name="T12" fmla="*/ 178 w 181"/>
                <a:gd name="T13" fmla="*/ 23 h 30"/>
                <a:gd name="T14" fmla="*/ 179 w 181"/>
                <a:gd name="T15" fmla="*/ 21 h 30"/>
                <a:gd name="T16" fmla="*/ 180 w 181"/>
                <a:gd name="T17" fmla="*/ 18 h 30"/>
                <a:gd name="T18" fmla="*/ 181 w 181"/>
                <a:gd name="T19" fmla="*/ 15 h 30"/>
                <a:gd name="T20" fmla="*/ 180 w 181"/>
                <a:gd name="T21" fmla="*/ 12 h 30"/>
                <a:gd name="T22" fmla="*/ 179 w 181"/>
                <a:gd name="T23" fmla="*/ 9 h 30"/>
                <a:gd name="T24" fmla="*/ 178 w 181"/>
                <a:gd name="T25" fmla="*/ 6 h 30"/>
                <a:gd name="T26" fmla="*/ 175 w 181"/>
                <a:gd name="T27" fmla="*/ 4 h 30"/>
                <a:gd name="T28" fmla="*/ 173 w 181"/>
                <a:gd name="T29" fmla="*/ 3 h 30"/>
                <a:gd name="T30" fmla="*/ 171 w 181"/>
                <a:gd name="T31" fmla="*/ 1 h 30"/>
                <a:gd name="T32" fmla="*/ 168 w 181"/>
                <a:gd name="T33" fmla="*/ 1 h 30"/>
                <a:gd name="T34" fmla="*/ 166 w 181"/>
                <a:gd name="T35" fmla="*/ 0 h 30"/>
                <a:gd name="T36" fmla="*/ 15 w 181"/>
                <a:gd name="T37" fmla="*/ 0 h 30"/>
                <a:gd name="T38" fmla="*/ 11 w 181"/>
                <a:gd name="T39" fmla="*/ 0 h 30"/>
                <a:gd name="T40" fmla="*/ 9 w 181"/>
                <a:gd name="T41" fmla="*/ 1 h 30"/>
                <a:gd name="T42" fmla="*/ 6 w 181"/>
                <a:gd name="T43" fmla="*/ 3 h 30"/>
                <a:gd name="T44" fmla="*/ 4 w 181"/>
                <a:gd name="T45" fmla="*/ 4 h 30"/>
                <a:gd name="T46" fmla="*/ 3 w 181"/>
                <a:gd name="T47" fmla="*/ 6 h 30"/>
                <a:gd name="T48" fmla="*/ 1 w 181"/>
                <a:gd name="T49" fmla="*/ 9 h 30"/>
                <a:gd name="T50" fmla="*/ 0 w 181"/>
                <a:gd name="T51" fmla="*/ 12 h 30"/>
                <a:gd name="T52" fmla="*/ 0 w 181"/>
                <a:gd name="T53" fmla="*/ 15 h 30"/>
                <a:gd name="T54" fmla="*/ 0 w 181"/>
                <a:gd name="T55" fmla="*/ 18 h 30"/>
                <a:gd name="T56" fmla="*/ 1 w 181"/>
                <a:gd name="T57" fmla="*/ 21 h 30"/>
                <a:gd name="T58" fmla="*/ 3 w 181"/>
                <a:gd name="T59" fmla="*/ 23 h 30"/>
                <a:gd name="T60" fmla="*/ 4 w 181"/>
                <a:gd name="T61" fmla="*/ 26 h 30"/>
                <a:gd name="T62" fmla="*/ 6 w 181"/>
                <a:gd name="T63" fmla="*/ 28 h 30"/>
                <a:gd name="T64" fmla="*/ 9 w 181"/>
                <a:gd name="T65" fmla="*/ 29 h 30"/>
                <a:gd name="T66" fmla="*/ 11 w 181"/>
                <a:gd name="T67" fmla="*/ 30 h 30"/>
                <a:gd name="T68" fmla="*/ 15 w 181"/>
                <a:gd name="T69" fmla="*/ 30 h 30"/>
                <a:gd name="T70" fmla="*/ 15 w 181"/>
                <a:gd name="T7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81" h="30">
                  <a:moveTo>
                    <a:pt x="15" y="30"/>
                  </a:moveTo>
                  <a:lnTo>
                    <a:pt x="166" y="30"/>
                  </a:lnTo>
                  <a:lnTo>
                    <a:pt x="168" y="30"/>
                  </a:lnTo>
                  <a:lnTo>
                    <a:pt x="171" y="29"/>
                  </a:lnTo>
                  <a:lnTo>
                    <a:pt x="173" y="28"/>
                  </a:lnTo>
                  <a:lnTo>
                    <a:pt x="175" y="26"/>
                  </a:lnTo>
                  <a:lnTo>
                    <a:pt x="178" y="23"/>
                  </a:lnTo>
                  <a:lnTo>
                    <a:pt x="179" y="21"/>
                  </a:lnTo>
                  <a:lnTo>
                    <a:pt x="180" y="18"/>
                  </a:lnTo>
                  <a:lnTo>
                    <a:pt x="181" y="15"/>
                  </a:lnTo>
                  <a:lnTo>
                    <a:pt x="180" y="12"/>
                  </a:lnTo>
                  <a:lnTo>
                    <a:pt x="179" y="9"/>
                  </a:lnTo>
                  <a:lnTo>
                    <a:pt x="178" y="6"/>
                  </a:lnTo>
                  <a:lnTo>
                    <a:pt x="175" y="4"/>
                  </a:lnTo>
                  <a:lnTo>
                    <a:pt x="173" y="3"/>
                  </a:lnTo>
                  <a:lnTo>
                    <a:pt x="171" y="1"/>
                  </a:lnTo>
                  <a:lnTo>
                    <a:pt x="168" y="1"/>
                  </a:lnTo>
                  <a:lnTo>
                    <a:pt x="166" y="0"/>
                  </a:lnTo>
                  <a:lnTo>
                    <a:pt x="15" y="0"/>
                  </a:lnTo>
                  <a:lnTo>
                    <a:pt x="11" y="0"/>
                  </a:lnTo>
                  <a:lnTo>
                    <a:pt x="9" y="1"/>
                  </a:lnTo>
                  <a:lnTo>
                    <a:pt x="6" y="3"/>
                  </a:lnTo>
                  <a:lnTo>
                    <a:pt x="4" y="4"/>
                  </a:lnTo>
                  <a:lnTo>
                    <a:pt x="3" y="6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1"/>
                  </a:lnTo>
                  <a:lnTo>
                    <a:pt x="3" y="23"/>
                  </a:lnTo>
                  <a:lnTo>
                    <a:pt x="4" y="26"/>
                  </a:lnTo>
                  <a:lnTo>
                    <a:pt x="6" y="28"/>
                  </a:lnTo>
                  <a:lnTo>
                    <a:pt x="9" y="29"/>
                  </a:lnTo>
                  <a:lnTo>
                    <a:pt x="11" y="30"/>
                  </a:lnTo>
                  <a:lnTo>
                    <a:pt x="15" y="30"/>
                  </a:lnTo>
                  <a:lnTo>
                    <a:pt x="15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4" name="Freeform 291"/>
            <p:cNvSpPr>
              <a:spLocks/>
            </p:cNvSpPr>
            <p:nvPr/>
          </p:nvSpPr>
          <p:spPr bwMode="auto">
            <a:xfrm>
              <a:off x="7148513" y="2146300"/>
              <a:ext cx="57150" cy="9525"/>
            </a:xfrm>
            <a:custGeom>
              <a:avLst/>
              <a:gdLst>
                <a:gd name="T0" fmla="*/ 166 w 181"/>
                <a:gd name="T1" fmla="*/ 0 h 30"/>
                <a:gd name="T2" fmla="*/ 15 w 181"/>
                <a:gd name="T3" fmla="*/ 0 h 30"/>
                <a:gd name="T4" fmla="*/ 11 w 181"/>
                <a:gd name="T5" fmla="*/ 1 h 30"/>
                <a:gd name="T6" fmla="*/ 9 w 181"/>
                <a:gd name="T7" fmla="*/ 1 h 30"/>
                <a:gd name="T8" fmla="*/ 6 w 181"/>
                <a:gd name="T9" fmla="*/ 3 h 30"/>
                <a:gd name="T10" fmla="*/ 4 w 181"/>
                <a:gd name="T11" fmla="*/ 4 h 30"/>
                <a:gd name="T12" fmla="*/ 3 w 181"/>
                <a:gd name="T13" fmla="*/ 7 h 30"/>
                <a:gd name="T14" fmla="*/ 1 w 181"/>
                <a:gd name="T15" fmla="*/ 10 h 30"/>
                <a:gd name="T16" fmla="*/ 0 w 181"/>
                <a:gd name="T17" fmla="*/ 13 h 30"/>
                <a:gd name="T18" fmla="*/ 0 w 181"/>
                <a:gd name="T19" fmla="*/ 15 h 30"/>
                <a:gd name="T20" fmla="*/ 0 w 181"/>
                <a:gd name="T21" fmla="*/ 18 h 30"/>
                <a:gd name="T22" fmla="*/ 1 w 181"/>
                <a:gd name="T23" fmla="*/ 21 h 30"/>
                <a:gd name="T24" fmla="*/ 3 w 181"/>
                <a:gd name="T25" fmla="*/ 23 h 30"/>
                <a:gd name="T26" fmla="*/ 4 w 181"/>
                <a:gd name="T27" fmla="*/ 26 h 30"/>
                <a:gd name="T28" fmla="*/ 6 w 181"/>
                <a:gd name="T29" fmla="*/ 28 h 30"/>
                <a:gd name="T30" fmla="*/ 9 w 181"/>
                <a:gd name="T31" fmla="*/ 29 h 30"/>
                <a:gd name="T32" fmla="*/ 11 w 181"/>
                <a:gd name="T33" fmla="*/ 30 h 30"/>
                <a:gd name="T34" fmla="*/ 15 w 181"/>
                <a:gd name="T35" fmla="*/ 30 h 30"/>
                <a:gd name="T36" fmla="*/ 166 w 181"/>
                <a:gd name="T37" fmla="*/ 30 h 30"/>
                <a:gd name="T38" fmla="*/ 168 w 181"/>
                <a:gd name="T39" fmla="*/ 30 h 30"/>
                <a:gd name="T40" fmla="*/ 171 w 181"/>
                <a:gd name="T41" fmla="*/ 29 h 30"/>
                <a:gd name="T42" fmla="*/ 173 w 181"/>
                <a:gd name="T43" fmla="*/ 28 h 30"/>
                <a:gd name="T44" fmla="*/ 175 w 181"/>
                <a:gd name="T45" fmla="*/ 26 h 30"/>
                <a:gd name="T46" fmla="*/ 178 w 181"/>
                <a:gd name="T47" fmla="*/ 23 h 30"/>
                <a:gd name="T48" fmla="*/ 179 w 181"/>
                <a:gd name="T49" fmla="*/ 21 h 30"/>
                <a:gd name="T50" fmla="*/ 180 w 181"/>
                <a:gd name="T51" fmla="*/ 18 h 30"/>
                <a:gd name="T52" fmla="*/ 181 w 181"/>
                <a:gd name="T53" fmla="*/ 15 h 30"/>
                <a:gd name="T54" fmla="*/ 180 w 181"/>
                <a:gd name="T55" fmla="*/ 13 h 30"/>
                <a:gd name="T56" fmla="*/ 179 w 181"/>
                <a:gd name="T57" fmla="*/ 10 h 30"/>
                <a:gd name="T58" fmla="*/ 178 w 181"/>
                <a:gd name="T59" fmla="*/ 7 h 30"/>
                <a:gd name="T60" fmla="*/ 175 w 181"/>
                <a:gd name="T61" fmla="*/ 4 h 30"/>
                <a:gd name="T62" fmla="*/ 173 w 181"/>
                <a:gd name="T63" fmla="*/ 3 h 30"/>
                <a:gd name="T64" fmla="*/ 171 w 181"/>
                <a:gd name="T65" fmla="*/ 1 h 30"/>
                <a:gd name="T66" fmla="*/ 168 w 181"/>
                <a:gd name="T67" fmla="*/ 1 h 30"/>
                <a:gd name="T68" fmla="*/ 166 w 181"/>
                <a:gd name="T69" fmla="*/ 0 h 30"/>
                <a:gd name="T70" fmla="*/ 166 w 181"/>
                <a:gd name="T7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81" h="30">
                  <a:moveTo>
                    <a:pt x="166" y="0"/>
                  </a:moveTo>
                  <a:lnTo>
                    <a:pt x="15" y="0"/>
                  </a:lnTo>
                  <a:lnTo>
                    <a:pt x="11" y="1"/>
                  </a:lnTo>
                  <a:lnTo>
                    <a:pt x="9" y="1"/>
                  </a:lnTo>
                  <a:lnTo>
                    <a:pt x="6" y="3"/>
                  </a:lnTo>
                  <a:lnTo>
                    <a:pt x="4" y="4"/>
                  </a:lnTo>
                  <a:lnTo>
                    <a:pt x="3" y="7"/>
                  </a:lnTo>
                  <a:lnTo>
                    <a:pt x="1" y="10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1"/>
                  </a:lnTo>
                  <a:lnTo>
                    <a:pt x="3" y="23"/>
                  </a:lnTo>
                  <a:lnTo>
                    <a:pt x="4" y="26"/>
                  </a:lnTo>
                  <a:lnTo>
                    <a:pt x="6" y="28"/>
                  </a:lnTo>
                  <a:lnTo>
                    <a:pt x="9" y="29"/>
                  </a:lnTo>
                  <a:lnTo>
                    <a:pt x="11" y="30"/>
                  </a:lnTo>
                  <a:lnTo>
                    <a:pt x="15" y="30"/>
                  </a:lnTo>
                  <a:lnTo>
                    <a:pt x="166" y="30"/>
                  </a:lnTo>
                  <a:lnTo>
                    <a:pt x="168" y="30"/>
                  </a:lnTo>
                  <a:lnTo>
                    <a:pt x="171" y="29"/>
                  </a:lnTo>
                  <a:lnTo>
                    <a:pt x="173" y="28"/>
                  </a:lnTo>
                  <a:lnTo>
                    <a:pt x="175" y="26"/>
                  </a:lnTo>
                  <a:lnTo>
                    <a:pt x="178" y="23"/>
                  </a:lnTo>
                  <a:lnTo>
                    <a:pt x="179" y="21"/>
                  </a:lnTo>
                  <a:lnTo>
                    <a:pt x="180" y="18"/>
                  </a:lnTo>
                  <a:lnTo>
                    <a:pt x="181" y="15"/>
                  </a:lnTo>
                  <a:lnTo>
                    <a:pt x="180" y="13"/>
                  </a:lnTo>
                  <a:lnTo>
                    <a:pt x="179" y="10"/>
                  </a:lnTo>
                  <a:lnTo>
                    <a:pt x="178" y="7"/>
                  </a:lnTo>
                  <a:lnTo>
                    <a:pt x="175" y="4"/>
                  </a:lnTo>
                  <a:lnTo>
                    <a:pt x="173" y="3"/>
                  </a:lnTo>
                  <a:lnTo>
                    <a:pt x="171" y="1"/>
                  </a:lnTo>
                  <a:lnTo>
                    <a:pt x="168" y="1"/>
                  </a:lnTo>
                  <a:lnTo>
                    <a:pt x="166" y="0"/>
                  </a:lnTo>
                  <a:lnTo>
                    <a:pt x="16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95" name="Group 294"/>
          <p:cNvGrpSpPr/>
          <p:nvPr/>
        </p:nvGrpSpPr>
        <p:grpSpPr>
          <a:xfrm>
            <a:off x="7057530" y="2370057"/>
            <a:ext cx="287338" cy="287338"/>
            <a:chOff x="885825" y="1925638"/>
            <a:chExt cx="287338" cy="287338"/>
          </a:xfrm>
          <a:solidFill>
            <a:srgbClr val="3B3939"/>
          </a:solidFill>
        </p:grpSpPr>
        <p:sp>
          <p:nvSpPr>
            <p:cNvPr id="296" name="Freeform 50"/>
            <p:cNvSpPr>
              <a:spLocks noEditPoints="1"/>
            </p:cNvSpPr>
            <p:nvPr/>
          </p:nvSpPr>
          <p:spPr bwMode="auto">
            <a:xfrm>
              <a:off x="885825" y="1925638"/>
              <a:ext cx="228600" cy="287338"/>
            </a:xfrm>
            <a:custGeom>
              <a:avLst/>
              <a:gdLst>
                <a:gd name="T0" fmla="*/ 230 w 722"/>
                <a:gd name="T1" fmla="*/ 221 h 905"/>
                <a:gd name="T2" fmla="*/ 252 w 722"/>
                <a:gd name="T3" fmla="*/ 167 h 905"/>
                <a:gd name="T4" fmla="*/ 252 w 722"/>
                <a:gd name="T5" fmla="*/ 105 h 905"/>
                <a:gd name="T6" fmla="*/ 227 w 722"/>
                <a:gd name="T7" fmla="*/ 52 h 905"/>
                <a:gd name="T8" fmla="*/ 598 w 722"/>
                <a:gd name="T9" fmla="*/ 30 h 905"/>
                <a:gd name="T10" fmla="*/ 635 w 722"/>
                <a:gd name="T11" fmla="*/ 43 h 905"/>
                <a:gd name="T12" fmla="*/ 668 w 722"/>
                <a:gd name="T13" fmla="*/ 70 h 905"/>
                <a:gd name="T14" fmla="*/ 688 w 722"/>
                <a:gd name="T15" fmla="*/ 106 h 905"/>
                <a:gd name="T16" fmla="*/ 692 w 722"/>
                <a:gd name="T17" fmla="*/ 145 h 905"/>
                <a:gd name="T18" fmla="*/ 679 w 722"/>
                <a:gd name="T19" fmla="*/ 184 h 905"/>
                <a:gd name="T20" fmla="*/ 652 w 722"/>
                <a:gd name="T21" fmla="*/ 216 h 905"/>
                <a:gd name="T22" fmla="*/ 617 w 722"/>
                <a:gd name="T23" fmla="*/ 236 h 905"/>
                <a:gd name="T24" fmla="*/ 587 w 722"/>
                <a:gd name="T25" fmla="*/ 241 h 905"/>
                <a:gd name="T26" fmla="*/ 572 w 722"/>
                <a:gd name="T27" fmla="*/ 271 h 905"/>
                <a:gd name="T28" fmla="*/ 217 w 722"/>
                <a:gd name="T29" fmla="*/ 181 h 905"/>
                <a:gd name="T30" fmla="*/ 191 w 722"/>
                <a:gd name="T31" fmla="*/ 220 h 905"/>
                <a:gd name="T32" fmla="*/ 150 w 722"/>
                <a:gd name="T33" fmla="*/ 240 h 905"/>
                <a:gd name="T34" fmla="*/ 30 w 722"/>
                <a:gd name="T35" fmla="*/ 125 h 905"/>
                <a:gd name="T36" fmla="*/ 42 w 722"/>
                <a:gd name="T37" fmla="*/ 86 h 905"/>
                <a:gd name="T38" fmla="*/ 66 w 722"/>
                <a:gd name="T39" fmla="*/ 55 h 905"/>
                <a:gd name="T40" fmla="*/ 100 w 722"/>
                <a:gd name="T41" fmla="*/ 35 h 905"/>
                <a:gd name="T42" fmla="*/ 138 w 722"/>
                <a:gd name="T43" fmla="*/ 30 h 905"/>
                <a:gd name="T44" fmla="*/ 174 w 722"/>
                <a:gd name="T45" fmla="*/ 43 h 905"/>
                <a:gd name="T46" fmla="*/ 203 w 722"/>
                <a:gd name="T47" fmla="*/ 69 h 905"/>
                <a:gd name="T48" fmla="*/ 221 w 722"/>
                <a:gd name="T49" fmla="*/ 105 h 905"/>
                <a:gd name="T50" fmla="*/ 225 w 722"/>
                <a:gd name="T51" fmla="*/ 143 h 905"/>
                <a:gd name="T52" fmla="*/ 129 w 722"/>
                <a:gd name="T53" fmla="*/ 152 h 905"/>
                <a:gd name="T54" fmla="*/ 121 w 722"/>
                <a:gd name="T55" fmla="*/ 160 h 905"/>
                <a:gd name="T56" fmla="*/ 120 w 722"/>
                <a:gd name="T57" fmla="*/ 604 h 905"/>
                <a:gd name="T58" fmla="*/ 720 w 722"/>
                <a:gd name="T59" fmla="*/ 110 h 905"/>
                <a:gd name="T60" fmla="*/ 699 w 722"/>
                <a:gd name="T61" fmla="*/ 62 h 905"/>
                <a:gd name="T62" fmla="*/ 661 w 722"/>
                <a:gd name="T63" fmla="*/ 24 h 905"/>
                <a:gd name="T64" fmla="*/ 614 w 722"/>
                <a:gd name="T65" fmla="*/ 3 h 905"/>
                <a:gd name="T66" fmla="*/ 134 w 722"/>
                <a:gd name="T67" fmla="*/ 0 h 905"/>
                <a:gd name="T68" fmla="*/ 116 w 722"/>
                <a:gd name="T69" fmla="*/ 1 h 905"/>
                <a:gd name="T70" fmla="*/ 67 w 722"/>
                <a:gd name="T71" fmla="*/ 16 h 905"/>
                <a:gd name="T72" fmla="*/ 29 w 722"/>
                <a:gd name="T73" fmla="*/ 50 h 905"/>
                <a:gd name="T74" fmla="*/ 5 w 722"/>
                <a:gd name="T75" fmla="*/ 96 h 905"/>
                <a:gd name="T76" fmla="*/ 0 w 722"/>
                <a:gd name="T77" fmla="*/ 619 h 905"/>
                <a:gd name="T78" fmla="*/ 4 w 722"/>
                <a:gd name="T79" fmla="*/ 629 h 905"/>
                <a:gd name="T80" fmla="*/ 15 w 722"/>
                <a:gd name="T81" fmla="*/ 634 h 905"/>
                <a:gd name="T82" fmla="*/ 121 w 722"/>
                <a:gd name="T83" fmla="*/ 895 h 905"/>
                <a:gd name="T84" fmla="*/ 129 w 722"/>
                <a:gd name="T85" fmla="*/ 904 h 905"/>
                <a:gd name="T86" fmla="*/ 590 w 722"/>
                <a:gd name="T87" fmla="*/ 905 h 905"/>
                <a:gd name="T88" fmla="*/ 600 w 722"/>
                <a:gd name="T89" fmla="*/ 898 h 905"/>
                <a:gd name="T90" fmla="*/ 602 w 722"/>
                <a:gd name="T91" fmla="*/ 270 h 905"/>
                <a:gd name="T92" fmla="*/ 648 w 722"/>
                <a:gd name="T93" fmla="*/ 255 h 905"/>
                <a:gd name="T94" fmla="*/ 687 w 722"/>
                <a:gd name="T95" fmla="*/ 225 h 905"/>
                <a:gd name="T96" fmla="*/ 713 w 722"/>
                <a:gd name="T97" fmla="*/ 183 h 905"/>
                <a:gd name="T98" fmla="*/ 722 w 722"/>
                <a:gd name="T99" fmla="*/ 136 h 9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722" h="905">
                  <a:moveTo>
                    <a:pt x="587" y="241"/>
                  </a:moveTo>
                  <a:lnTo>
                    <a:pt x="211" y="241"/>
                  </a:lnTo>
                  <a:lnTo>
                    <a:pt x="221" y="231"/>
                  </a:lnTo>
                  <a:lnTo>
                    <a:pt x="230" y="221"/>
                  </a:lnTo>
                  <a:lnTo>
                    <a:pt x="237" y="209"/>
                  </a:lnTo>
                  <a:lnTo>
                    <a:pt x="244" y="195"/>
                  </a:lnTo>
                  <a:lnTo>
                    <a:pt x="249" y="182"/>
                  </a:lnTo>
                  <a:lnTo>
                    <a:pt x="252" y="167"/>
                  </a:lnTo>
                  <a:lnTo>
                    <a:pt x="254" y="152"/>
                  </a:lnTo>
                  <a:lnTo>
                    <a:pt x="256" y="136"/>
                  </a:lnTo>
                  <a:lnTo>
                    <a:pt x="254" y="120"/>
                  </a:lnTo>
                  <a:lnTo>
                    <a:pt x="252" y="105"/>
                  </a:lnTo>
                  <a:lnTo>
                    <a:pt x="248" y="91"/>
                  </a:lnTo>
                  <a:lnTo>
                    <a:pt x="243" y="77"/>
                  </a:lnTo>
                  <a:lnTo>
                    <a:pt x="235" y="64"/>
                  </a:lnTo>
                  <a:lnTo>
                    <a:pt x="227" y="52"/>
                  </a:lnTo>
                  <a:lnTo>
                    <a:pt x="218" y="40"/>
                  </a:lnTo>
                  <a:lnTo>
                    <a:pt x="207" y="30"/>
                  </a:lnTo>
                  <a:lnTo>
                    <a:pt x="587" y="30"/>
                  </a:lnTo>
                  <a:lnTo>
                    <a:pt x="598" y="30"/>
                  </a:lnTo>
                  <a:lnTo>
                    <a:pt x="607" y="33"/>
                  </a:lnTo>
                  <a:lnTo>
                    <a:pt x="617" y="36"/>
                  </a:lnTo>
                  <a:lnTo>
                    <a:pt x="627" y="39"/>
                  </a:lnTo>
                  <a:lnTo>
                    <a:pt x="635" y="43"/>
                  </a:lnTo>
                  <a:lnTo>
                    <a:pt x="645" y="50"/>
                  </a:lnTo>
                  <a:lnTo>
                    <a:pt x="652" y="56"/>
                  </a:lnTo>
                  <a:lnTo>
                    <a:pt x="660" y="63"/>
                  </a:lnTo>
                  <a:lnTo>
                    <a:pt x="668" y="70"/>
                  </a:lnTo>
                  <a:lnTo>
                    <a:pt x="674" y="79"/>
                  </a:lnTo>
                  <a:lnTo>
                    <a:pt x="679" y="87"/>
                  </a:lnTo>
                  <a:lnTo>
                    <a:pt x="684" y="96"/>
                  </a:lnTo>
                  <a:lnTo>
                    <a:pt x="688" y="106"/>
                  </a:lnTo>
                  <a:lnTo>
                    <a:pt x="690" y="115"/>
                  </a:lnTo>
                  <a:lnTo>
                    <a:pt x="692" y="126"/>
                  </a:lnTo>
                  <a:lnTo>
                    <a:pt x="692" y="136"/>
                  </a:lnTo>
                  <a:lnTo>
                    <a:pt x="692" y="145"/>
                  </a:lnTo>
                  <a:lnTo>
                    <a:pt x="690" y="156"/>
                  </a:lnTo>
                  <a:lnTo>
                    <a:pt x="688" y="166"/>
                  </a:lnTo>
                  <a:lnTo>
                    <a:pt x="684" y="176"/>
                  </a:lnTo>
                  <a:lnTo>
                    <a:pt x="679" y="184"/>
                  </a:lnTo>
                  <a:lnTo>
                    <a:pt x="674" y="193"/>
                  </a:lnTo>
                  <a:lnTo>
                    <a:pt x="668" y="201"/>
                  </a:lnTo>
                  <a:lnTo>
                    <a:pt x="660" y="209"/>
                  </a:lnTo>
                  <a:lnTo>
                    <a:pt x="652" y="216"/>
                  </a:lnTo>
                  <a:lnTo>
                    <a:pt x="645" y="222"/>
                  </a:lnTo>
                  <a:lnTo>
                    <a:pt x="635" y="228"/>
                  </a:lnTo>
                  <a:lnTo>
                    <a:pt x="627" y="233"/>
                  </a:lnTo>
                  <a:lnTo>
                    <a:pt x="617" y="236"/>
                  </a:lnTo>
                  <a:lnTo>
                    <a:pt x="607" y="239"/>
                  </a:lnTo>
                  <a:lnTo>
                    <a:pt x="598" y="241"/>
                  </a:lnTo>
                  <a:lnTo>
                    <a:pt x="587" y="241"/>
                  </a:lnTo>
                  <a:lnTo>
                    <a:pt x="587" y="241"/>
                  </a:lnTo>
                  <a:close/>
                  <a:moveTo>
                    <a:pt x="572" y="874"/>
                  </a:moveTo>
                  <a:lnTo>
                    <a:pt x="150" y="874"/>
                  </a:lnTo>
                  <a:lnTo>
                    <a:pt x="150" y="271"/>
                  </a:lnTo>
                  <a:lnTo>
                    <a:pt x="572" y="271"/>
                  </a:lnTo>
                  <a:lnTo>
                    <a:pt x="572" y="874"/>
                  </a:lnTo>
                  <a:close/>
                  <a:moveTo>
                    <a:pt x="150" y="240"/>
                  </a:moveTo>
                  <a:lnTo>
                    <a:pt x="150" y="181"/>
                  </a:lnTo>
                  <a:lnTo>
                    <a:pt x="217" y="181"/>
                  </a:lnTo>
                  <a:lnTo>
                    <a:pt x="211" y="192"/>
                  </a:lnTo>
                  <a:lnTo>
                    <a:pt x="206" y="201"/>
                  </a:lnTo>
                  <a:lnTo>
                    <a:pt x="199" y="211"/>
                  </a:lnTo>
                  <a:lnTo>
                    <a:pt x="191" y="220"/>
                  </a:lnTo>
                  <a:lnTo>
                    <a:pt x="182" y="226"/>
                  </a:lnTo>
                  <a:lnTo>
                    <a:pt x="172" y="233"/>
                  </a:lnTo>
                  <a:lnTo>
                    <a:pt x="161" y="237"/>
                  </a:lnTo>
                  <a:lnTo>
                    <a:pt x="150" y="240"/>
                  </a:lnTo>
                  <a:lnTo>
                    <a:pt x="150" y="240"/>
                  </a:lnTo>
                  <a:close/>
                  <a:moveTo>
                    <a:pt x="30" y="604"/>
                  </a:moveTo>
                  <a:lnTo>
                    <a:pt x="30" y="136"/>
                  </a:lnTo>
                  <a:lnTo>
                    <a:pt x="30" y="125"/>
                  </a:lnTo>
                  <a:lnTo>
                    <a:pt x="32" y="115"/>
                  </a:lnTo>
                  <a:lnTo>
                    <a:pt x="34" y="105"/>
                  </a:lnTo>
                  <a:lnTo>
                    <a:pt x="37" y="96"/>
                  </a:lnTo>
                  <a:lnTo>
                    <a:pt x="42" y="86"/>
                  </a:lnTo>
                  <a:lnTo>
                    <a:pt x="47" y="78"/>
                  </a:lnTo>
                  <a:lnTo>
                    <a:pt x="52" y="69"/>
                  </a:lnTo>
                  <a:lnTo>
                    <a:pt x="59" y="62"/>
                  </a:lnTo>
                  <a:lnTo>
                    <a:pt x="66" y="55"/>
                  </a:lnTo>
                  <a:lnTo>
                    <a:pt x="74" y="49"/>
                  </a:lnTo>
                  <a:lnTo>
                    <a:pt x="82" y="43"/>
                  </a:lnTo>
                  <a:lnTo>
                    <a:pt x="91" y="39"/>
                  </a:lnTo>
                  <a:lnTo>
                    <a:pt x="100" y="35"/>
                  </a:lnTo>
                  <a:lnTo>
                    <a:pt x="109" y="33"/>
                  </a:lnTo>
                  <a:lnTo>
                    <a:pt x="119" y="30"/>
                  </a:lnTo>
                  <a:lnTo>
                    <a:pt x="129" y="30"/>
                  </a:lnTo>
                  <a:lnTo>
                    <a:pt x="138" y="30"/>
                  </a:lnTo>
                  <a:lnTo>
                    <a:pt x="148" y="33"/>
                  </a:lnTo>
                  <a:lnTo>
                    <a:pt x="157" y="35"/>
                  </a:lnTo>
                  <a:lnTo>
                    <a:pt x="165" y="39"/>
                  </a:lnTo>
                  <a:lnTo>
                    <a:pt x="174" y="43"/>
                  </a:lnTo>
                  <a:lnTo>
                    <a:pt x="182" y="49"/>
                  </a:lnTo>
                  <a:lnTo>
                    <a:pt x="190" y="55"/>
                  </a:lnTo>
                  <a:lnTo>
                    <a:pt x="196" y="62"/>
                  </a:lnTo>
                  <a:lnTo>
                    <a:pt x="203" y="69"/>
                  </a:lnTo>
                  <a:lnTo>
                    <a:pt x="208" y="78"/>
                  </a:lnTo>
                  <a:lnTo>
                    <a:pt x="214" y="86"/>
                  </a:lnTo>
                  <a:lnTo>
                    <a:pt x="218" y="95"/>
                  </a:lnTo>
                  <a:lnTo>
                    <a:pt x="221" y="105"/>
                  </a:lnTo>
                  <a:lnTo>
                    <a:pt x="223" y="115"/>
                  </a:lnTo>
                  <a:lnTo>
                    <a:pt x="224" y="125"/>
                  </a:lnTo>
                  <a:lnTo>
                    <a:pt x="225" y="136"/>
                  </a:lnTo>
                  <a:lnTo>
                    <a:pt x="225" y="143"/>
                  </a:lnTo>
                  <a:lnTo>
                    <a:pt x="224" y="151"/>
                  </a:lnTo>
                  <a:lnTo>
                    <a:pt x="135" y="151"/>
                  </a:lnTo>
                  <a:lnTo>
                    <a:pt x="132" y="151"/>
                  </a:lnTo>
                  <a:lnTo>
                    <a:pt x="129" y="152"/>
                  </a:lnTo>
                  <a:lnTo>
                    <a:pt x="126" y="153"/>
                  </a:lnTo>
                  <a:lnTo>
                    <a:pt x="124" y="155"/>
                  </a:lnTo>
                  <a:lnTo>
                    <a:pt x="122" y="157"/>
                  </a:lnTo>
                  <a:lnTo>
                    <a:pt x="121" y="160"/>
                  </a:lnTo>
                  <a:lnTo>
                    <a:pt x="120" y="163"/>
                  </a:lnTo>
                  <a:lnTo>
                    <a:pt x="120" y="166"/>
                  </a:lnTo>
                  <a:lnTo>
                    <a:pt x="120" y="256"/>
                  </a:lnTo>
                  <a:lnTo>
                    <a:pt x="120" y="604"/>
                  </a:lnTo>
                  <a:lnTo>
                    <a:pt x="30" y="604"/>
                  </a:lnTo>
                  <a:close/>
                  <a:moveTo>
                    <a:pt x="722" y="136"/>
                  </a:moveTo>
                  <a:lnTo>
                    <a:pt x="722" y="123"/>
                  </a:lnTo>
                  <a:lnTo>
                    <a:pt x="720" y="110"/>
                  </a:lnTo>
                  <a:lnTo>
                    <a:pt x="717" y="97"/>
                  </a:lnTo>
                  <a:lnTo>
                    <a:pt x="712" y="84"/>
                  </a:lnTo>
                  <a:lnTo>
                    <a:pt x="706" y="72"/>
                  </a:lnTo>
                  <a:lnTo>
                    <a:pt x="699" y="62"/>
                  </a:lnTo>
                  <a:lnTo>
                    <a:pt x="691" y="51"/>
                  </a:lnTo>
                  <a:lnTo>
                    <a:pt x="682" y="41"/>
                  </a:lnTo>
                  <a:lnTo>
                    <a:pt x="672" y="33"/>
                  </a:lnTo>
                  <a:lnTo>
                    <a:pt x="661" y="24"/>
                  </a:lnTo>
                  <a:lnTo>
                    <a:pt x="650" y="17"/>
                  </a:lnTo>
                  <a:lnTo>
                    <a:pt x="638" y="11"/>
                  </a:lnTo>
                  <a:lnTo>
                    <a:pt x="626" y="7"/>
                  </a:lnTo>
                  <a:lnTo>
                    <a:pt x="614" y="3"/>
                  </a:lnTo>
                  <a:lnTo>
                    <a:pt x="601" y="1"/>
                  </a:lnTo>
                  <a:lnTo>
                    <a:pt x="587" y="0"/>
                  </a:lnTo>
                  <a:lnTo>
                    <a:pt x="135" y="0"/>
                  </a:lnTo>
                  <a:lnTo>
                    <a:pt x="134" y="0"/>
                  </a:lnTo>
                  <a:lnTo>
                    <a:pt x="133" y="0"/>
                  </a:lnTo>
                  <a:lnTo>
                    <a:pt x="131" y="0"/>
                  </a:lnTo>
                  <a:lnTo>
                    <a:pt x="129" y="0"/>
                  </a:lnTo>
                  <a:lnTo>
                    <a:pt x="116" y="1"/>
                  </a:lnTo>
                  <a:lnTo>
                    <a:pt x="103" y="2"/>
                  </a:lnTo>
                  <a:lnTo>
                    <a:pt x="90" y="7"/>
                  </a:lnTo>
                  <a:lnTo>
                    <a:pt x="78" y="11"/>
                  </a:lnTo>
                  <a:lnTo>
                    <a:pt x="67" y="16"/>
                  </a:lnTo>
                  <a:lnTo>
                    <a:pt x="57" y="24"/>
                  </a:lnTo>
                  <a:lnTo>
                    <a:pt x="47" y="31"/>
                  </a:lnTo>
                  <a:lnTo>
                    <a:pt x="37" y="40"/>
                  </a:lnTo>
                  <a:lnTo>
                    <a:pt x="29" y="50"/>
                  </a:lnTo>
                  <a:lnTo>
                    <a:pt x="21" y="60"/>
                  </a:lnTo>
                  <a:lnTo>
                    <a:pt x="15" y="71"/>
                  </a:lnTo>
                  <a:lnTo>
                    <a:pt x="9" y="83"/>
                  </a:lnTo>
                  <a:lnTo>
                    <a:pt x="5" y="96"/>
                  </a:lnTo>
                  <a:lnTo>
                    <a:pt x="2" y="109"/>
                  </a:lnTo>
                  <a:lnTo>
                    <a:pt x="0" y="122"/>
                  </a:lnTo>
                  <a:lnTo>
                    <a:pt x="0" y="136"/>
                  </a:lnTo>
                  <a:lnTo>
                    <a:pt x="0" y="619"/>
                  </a:lnTo>
                  <a:lnTo>
                    <a:pt x="0" y="621"/>
                  </a:lnTo>
                  <a:lnTo>
                    <a:pt x="1" y="624"/>
                  </a:lnTo>
                  <a:lnTo>
                    <a:pt x="2" y="626"/>
                  </a:lnTo>
                  <a:lnTo>
                    <a:pt x="4" y="629"/>
                  </a:lnTo>
                  <a:lnTo>
                    <a:pt x="6" y="630"/>
                  </a:lnTo>
                  <a:lnTo>
                    <a:pt x="8" y="633"/>
                  </a:lnTo>
                  <a:lnTo>
                    <a:pt x="11" y="633"/>
                  </a:lnTo>
                  <a:lnTo>
                    <a:pt x="15" y="634"/>
                  </a:lnTo>
                  <a:lnTo>
                    <a:pt x="120" y="634"/>
                  </a:lnTo>
                  <a:lnTo>
                    <a:pt x="120" y="890"/>
                  </a:lnTo>
                  <a:lnTo>
                    <a:pt x="120" y="893"/>
                  </a:lnTo>
                  <a:lnTo>
                    <a:pt x="121" y="895"/>
                  </a:lnTo>
                  <a:lnTo>
                    <a:pt x="122" y="898"/>
                  </a:lnTo>
                  <a:lnTo>
                    <a:pt x="124" y="900"/>
                  </a:lnTo>
                  <a:lnTo>
                    <a:pt x="126" y="902"/>
                  </a:lnTo>
                  <a:lnTo>
                    <a:pt x="129" y="904"/>
                  </a:lnTo>
                  <a:lnTo>
                    <a:pt x="132" y="905"/>
                  </a:lnTo>
                  <a:lnTo>
                    <a:pt x="135" y="905"/>
                  </a:lnTo>
                  <a:lnTo>
                    <a:pt x="587" y="905"/>
                  </a:lnTo>
                  <a:lnTo>
                    <a:pt x="590" y="905"/>
                  </a:lnTo>
                  <a:lnTo>
                    <a:pt x="593" y="904"/>
                  </a:lnTo>
                  <a:lnTo>
                    <a:pt x="595" y="902"/>
                  </a:lnTo>
                  <a:lnTo>
                    <a:pt x="598" y="900"/>
                  </a:lnTo>
                  <a:lnTo>
                    <a:pt x="600" y="898"/>
                  </a:lnTo>
                  <a:lnTo>
                    <a:pt x="601" y="895"/>
                  </a:lnTo>
                  <a:lnTo>
                    <a:pt x="602" y="893"/>
                  </a:lnTo>
                  <a:lnTo>
                    <a:pt x="602" y="890"/>
                  </a:lnTo>
                  <a:lnTo>
                    <a:pt x="602" y="270"/>
                  </a:lnTo>
                  <a:lnTo>
                    <a:pt x="615" y="268"/>
                  </a:lnTo>
                  <a:lnTo>
                    <a:pt x="626" y="265"/>
                  </a:lnTo>
                  <a:lnTo>
                    <a:pt x="637" y="260"/>
                  </a:lnTo>
                  <a:lnTo>
                    <a:pt x="648" y="255"/>
                  </a:lnTo>
                  <a:lnTo>
                    <a:pt x="659" y="249"/>
                  </a:lnTo>
                  <a:lnTo>
                    <a:pt x="669" y="241"/>
                  </a:lnTo>
                  <a:lnTo>
                    <a:pt x="678" y="234"/>
                  </a:lnTo>
                  <a:lnTo>
                    <a:pt x="687" y="225"/>
                  </a:lnTo>
                  <a:lnTo>
                    <a:pt x="694" y="215"/>
                  </a:lnTo>
                  <a:lnTo>
                    <a:pt x="702" y="206"/>
                  </a:lnTo>
                  <a:lnTo>
                    <a:pt x="708" y="195"/>
                  </a:lnTo>
                  <a:lnTo>
                    <a:pt x="713" y="183"/>
                  </a:lnTo>
                  <a:lnTo>
                    <a:pt x="717" y="172"/>
                  </a:lnTo>
                  <a:lnTo>
                    <a:pt x="720" y="160"/>
                  </a:lnTo>
                  <a:lnTo>
                    <a:pt x="722" y="148"/>
                  </a:lnTo>
                  <a:lnTo>
                    <a:pt x="722" y="136"/>
                  </a:lnTo>
                  <a:lnTo>
                    <a:pt x="722" y="1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7" name="Freeform 51"/>
            <p:cNvSpPr>
              <a:spLocks/>
            </p:cNvSpPr>
            <p:nvPr/>
          </p:nvSpPr>
          <p:spPr bwMode="auto">
            <a:xfrm>
              <a:off x="995363" y="2051050"/>
              <a:ext cx="57150" cy="9525"/>
            </a:xfrm>
            <a:custGeom>
              <a:avLst/>
              <a:gdLst>
                <a:gd name="T0" fmla="*/ 15 w 181"/>
                <a:gd name="T1" fmla="*/ 30 h 30"/>
                <a:gd name="T2" fmla="*/ 166 w 181"/>
                <a:gd name="T3" fmla="*/ 30 h 30"/>
                <a:gd name="T4" fmla="*/ 169 w 181"/>
                <a:gd name="T5" fmla="*/ 30 h 30"/>
                <a:gd name="T6" fmla="*/ 172 w 181"/>
                <a:gd name="T7" fmla="*/ 29 h 30"/>
                <a:gd name="T8" fmla="*/ 174 w 181"/>
                <a:gd name="T9" fmla="*/ 28 h 30"/>
                <a:gd name="T10" fmla="*/ 176 w 181"/>
                <a:gd name="T11" fmla="*/ 25 h 30"/>
                <a:gd name="T12" fmla="*/ 178 w 181"/>
                <a:gd name="T13" fmla="*/ 23 h 30"/>
                <a:gd name="T14" fmla="*/ 180 w 181"/>
                <a:gd name="T15" fmla="*/ 21 h 30"/>
                <a:gd name="T16" fmla="*/ 181 w 181"/>
                <a:gd name="T17" fmla="*/ 18 h 30"/>
                <a:gd name="T18" fmla="*/ 181 w 181"/>
                <a:gd name="T19" fmla="*/ 15 h 30"/>
                <a:gd name="T20" fmla="*/ 181 w 181"/>
                <a:gd name="T21" fmla="*/ 13 h 30"/>
                <a:gd name="T22" fmla="*/ 180 w 181"/>
                <a:gd name="T23" fmla="*/ 9 h 30"/>
                <a:gd name="T24" fmla="*/ 178 w 181"/>
                <a:gd name="T25" fmla="*/ 7 h 30"/>
                <a:gd name="T26" fmla="*/ 176 w 181"/>
                <a:gd name="T27" fmla="*/ 4 h 30"/>
                <a:gd name="T28" fmla="*/ 174 w 181"/>
                <a:gd name="T29" fmla="*/ 3 h 30"/>
                <a:gd name="T30" fmla="*/ 172 w 181"/>
                <a:gd name="T31" fmla="*/ 1 h 30"/>
                <a:gd name="T32" fmla="*/ 169 w 181"/>
                <a:gd name="T33" fmla="*/ 1 h 30"/>
                <a:gd name="T34" fmla="*/ 166 w 181"/>
                <a:gd name="T35" fmla="*/ 0 h 30"/>
                <a:gd name="T36" fmla="*/ 15 w 181"/>
                <a:gd name="T37" fmla="*/ 0 h 30"/>
                <a:gd name="T38" fmla="*/ 12 w 181"/>
                <a:gd name="T39" fmla="*/ 1 h 30"/>
                <a:gd name="T40" fmla="*/ 10 w 181"/>
                <a:gd name="T41" fmla="*/ 1 h 30"/>
                <a:gd name="T42" fmla="*/ 6 w 181"/>
                <a:gd name="T43" fmla="*/ 3 h 30"/>
                <a:gd name="T44" fmla="*/ 4 w 181"/>
                <a:gd name="T45" fmla="*/ 4 h 30"/>
                <a:gd name="T46" fmla="*/ 2 w 181"/>
                <a:gd name="T47" fmla="*/ 7 h 30"/>
                <a:gd name="T48" fmla="*/ 1 w 181"/>
                <a:gd name="T49" fmla="*/ 9 h 30"/>
                <a:gd name="T50" fmla="*/ 0 w 181"/>
                <a:gd name="T51" fmla="*/ 13 h 30"/>
                <a:gd name="T52" fmla="*/ 0 w 181"/>
                <a:gd name="T53" fmla="*/ 15 h 30"/>
                <a:gd name="T54" fmla="*/ 0 w 181"/>
                <a:gd name="T55" fmla="*/ 18 h 30"/>
                <a:gd name="T56" fmla="*/ 1 w 181"/>
                <a:gd name="T57" fmla="*/ 21 h 30"/>
                <a:gd name="T58" fmla="*/ 2 w 181"/>
                <a:gd name="T59" fmla="*/ 23 h 30"/>
                <a:gd name="T60" fmla="*/ 4 w 181"/>
                <a:gd name="T61" fmla="*/ 25 h 30"/>
                <a:gd name="T62" fmla="*/ 6 w 181"/>
                <a:gd name="T63" fmla="*/ 28 h 30"/>
                <a:gd name="T64" fmla="*/ 10 w 181"/>
                <a:gd name="T65" fmla="*/ 29 h 30"/>
                <a:gd name="T66" fmla="*/ 12 w 181"/>
                <a:gd name="T67" fmla="*/ 30 h 30"/>
                <a:gd name="T68" fmla="*/ 15 w 181"/>
                <a:gd name="T69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81" h="30">
                  <a:moveTo>
                    <a:pt x="15" y="30"/>
                  </a:moveTo>
                  <a:lnTo>
                    <a:pt x="166" y="30"/>
                  </a:lnTo>
                  <a:lnTo>
                    <a:pt x="169" y="30"/>
                  </a:lnTo>
                  <a:lnTo>
                    <a:pt x="172" y="29"/>
                  </a:lnTo>
                  <a:lnTo>
                    <a:pt x="174" y="28"/>
                  </a:lnTo>
                  <a:lnTo>
                    <a:pt x="176" y="25"/>
                  </a:lnTo>
                  <a:lnTo>
                    <a:pt x="178" y="23"/>
                  </a:lnTo>
                  <a:lnTo>
                    <a:pt x="180" y="21"/>
                  </a:lnTo>
                  <a:lnTo>
                    <a:pt x="181" y="18"/>
                  </a:lnTo>
                  <a:lnTo>
                    <a:pt x="181" y="15"/>
                  </a:lnTo>
                  <a:lnTo>
                    <a:pt x="181" y="13"/>
                  </a:lnTo>
                  <a:lnTo>
                    <a:pt x="180" y="9"/>
                  </a:lnTo>
                  <a:lnTo>
                    <a:pt x="178" y="7"/>
                  </a:lnTo>
                  <a:lnTo>
                    <a:pt x="176" y="4"/>
                  </a:lnTo>
                  <a:lnTo>
                    <a:pt x="174" y="3"/>
                  </a:lnTo>
                  <a:lnTo>
                    <a:pt x="172" y="1"/>
                  </a:lnTo>
                  <a:lnTo>
                    <a:pt x="169" y="1"/>
                  </a:lnTo>
                  <a:lnTo>
                    <a:pt x="166" y="0"/>
                  </a:lnTo>
                  <a:lnTo>
                    <a:pt x="15" y="0"/>
                  </a:lnTo>
                  <a:lnTo>
                    <a:pt x="12" y="1"/>
                  </a:lnTo>
                  <a:lnTo>
                    <a:pt x="10" y="1"/>
                  </a:lnTo>
                  <a:lnTo>
                    <a:pt x="6" y="3"/>
                  </a:lnTo>
                  <a:lnTo>
                    <a:pt x="4" y="4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1"/>
                  </a:lnTo>
                  <a:lnTo>
                    <a:pt x="2" y="23"/>
                  </a:lnTo>
                  <a:lnTo>
                    <a:pt x="4" y="25"/>
                  </a:lnTo>
                  <a:lnTo>
                    <a:pt x="6" y="28"/>
                  </a:lnTo>
                  <a:lnTo>
                    <a:pt x="10" y="29"/>
                  </a:lnTo>
                  <a:lnTo>
                    <a:pt x="12" y="30"/>
                  </a:lnTo>
                  <a:lnTo>
                    <a:pt x="15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8" name="Freeform 52"/>
            <p:cNvSpPr>
              <a:spLocks/>
            </p:cNvSpPr>
            <p:nvPr/>
          </p:nvSpPr>
          <p:spPr bwMode="auto">
            <a:xfrm>
              <a:off x="995363" y="2098675"/>
              <a:ext cx="57150" cy="9525"/>
            </a:xfrm>
            <a:custGeom>
              <a:avLst/>
              <a:gdLst>
                <a:gd name="T0" fmla="*/ 15 w 181"/>
                <a:gd name="T1" fmla="*/ 31 h 31"/>
                <a:gd name="T2" fmla="*/ 166 w 181"/>
                <a:gd name="T3" fmla="*/ 31 h 31"/>
                <a:gd name="T4" fmla="*/ 169 w 181"/>
                <a:gd name="T5" fmla="*/ 30 h 31"/>
                <a:gd name="T6" fmla="*/ 172 w 181"/>
                <a:gd name="T7" fmla="*/ 30 h 31"/>
                <a:gd name="T8" fmla="*/ 174 w 181"/>
                <a:gd name="T9" fmla="*/ 28 h 31"/>
                <a:gd name="T10" fmla="*/ 176 w 181"/>
                <a:gd name="T11" fmla="*/ 27 h 31"/>
                <a:gd name="T12" fmla="*/ 178 w 181"/>
                <a:gd name="T13" fmla="*/ 24 h 31"/>
                <a:gd name="T14" fmla="*/ 180 w 181"/>
                <a:gd name="T15" fmla="*/ 22 h 31"/>
                <a:gd name="T16" fmla="*/ 181 w 181"/>
                <a:gd name="T17" fmla="*/ 19 h 31"/>
                <a:gd name="T18" fmla="*/ 181 w 181"/>
                <a:gd name="T19" fmla="*/ 16 h 31"/>
                <a:gd name="T20" fmla="*/ 181 w 181"/>
                <a:gd name="T21" fmla="*/ 13 h 31"/>
                <a:gd name="T22" fmla="*/ 180 w 181"/>
                <a:gd name="T23" fmla="*/ 10 h 31"/>
                <a:gd name="T24" fmla="*/ 178 w 181"/>
                <a:gd name="T25" fmla="*/ 8 h 31"/>
                <a:gd name="T26" fmla="*/ 176 w 181"/>
                <a:gd name="T27" fmla="*/ 6 h 31"/>
                <a:gd name="T28" fmla="*/ 174 w 181"/>
                <a:gd name="T29" fmla="*/ 3 h 31"/>
                <a:gd name="T30" fmla="*/ 172 w 181"/>
                <a:gd name="T31" fmla="*/ 2 h 31"/>
                <a:gd name="T32" fmla="*/ 169 w 181"/>
                <a:gd name="T33" fmla="*/ 1 h 31"/>
                <a:gd name="T34" fmla="*/ 166 w 181"/>
                <a:gd name="T35" fmla="*/ 1 h 31"/>
                <a:gd name="T36" fmla="*/ 15 w 181"/>
                <a:gd name="T37" fmla="*/ 0 h 31"/>
                <a:gd name="T38" fmla="*/ 12 w 181"/>
                <a:gd name="T39" fmla="*/ 1 h 31"/>
                <a:gd name="T40" fmla="*/ 10 w 181"/>
                <a:gd name="T41" fmla="*/ 2 h 31"/>
                <a:gd name="T42" fmla="*/ 6 w 181"/>
                <a:gd name="T43" fmla="*/ 3 h 31"/>
                <a:gd name="T44" fmla="*/ 4 w 181"/>
                <a:gd name="T45" fmla="*/ 6 h 31"/>
                <a:gd name="T46" fmla="*/ 2 w 181"/>
                <a:gd name="T47" fmla="*/ 8 h 31"/>
                <a:gd name="T48" fmla="*/ 1 w 181"/>
                <a:gd name="T49" fmla="*/ 10 h 31"/>
                <a:gd name="T50" fmla="*/ 0 w 181"/>
                <a:gd name="T51" fmla="*/ 13 h 31"/>
                <a:gd name="T52" fmla="*/ 0 w 181"/>
                <a:gd name="T53" fmla="*/ 16 h 31"/>
                <a:gd name="T54" fmla="*/ 0 w 181"/>
                <a:gd name="T55" fmla="*/ 19 h 31"/>
                <a:gd name="T56" fmla="*/ 1 w 181"/>
                <a:gd name="T57" fmla="*/ 22 h 31"/>
                <a:gd name="T58" fmla="*/ 2 w 181"/>
                <a:gd name="T59" fmla="*/ 24 h 31"/>
                <a:gd name="T60" fmla="*/ 4 w 181"/>
                <a:gd name="T61" fmla="*/ 27 h 31"/>
                <a:gd name="T62" fmla="*/ 6 w 181"/>
                <a:gd name="T63" fmla="*/ 28 h 31"/>
                <a:gd name="T64" fmla="*/ 10 w 181"/>
                <a:gd name="T65" fmla="*/ 30 h 31"/>
                <a:gd name="T66" fmla="*/ 12 w 181"/>
                <a:gd name="T67" fmla="*/ 30 h 31"/>
                <a:gd name="T68" fmla="*/ 15 w 181"/>
                <a:gd name="T6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81" h="31">
                  <a:moveTo>
                    <a:pt x="15" y="31"/>
                  </a:moveTo>
                  <a:lnTo>
                    <a:pt x="166" y="31"/>
                  </a:lnTo>
                  <a:lnTo>
                    <a:pt x="169" y="30"/>
                  </a:lnTo>
                  <a:lnTo>
                    <a:pt x="172" y="30"/>
                  </a:lnTo>
                  <a:lnTo>
                    <a:pt x="174" y="28"/>
                  </a:lnTo>
                  <a:lnTo>
                    <a:pt x="176" y="27"/>
                  </a:lnTo>
                  <a:lnTo>
                    <a:pt x="178" y="24"/>
                  </a:lnTo>
                  <a:lnTo>
                    <a:pt x="180" y="22"/>
                  </a:lnTo>
                  <a:lnTo>
                    <a:pt x="181" y="19"/>
                  </a:lnTo>
                  <a:lnTo>
                    <a:pt x="181" y="16"/>
                  </a:lnTo>
                  <a:lnTo>
                    <a:pt x="181" y="13"/>
                  </a:lnTo>
                  <a:lnTo>
                    <a:pt x="180" y="10"/>
                  </a:lnTo>
                  <a:lnTo>
                    <a:pt x="178" y="8"/>
                  </a:lnTo>
                  <a:lnTo>
                    <a:pt x="176" y="6"/>
                  </a:lnTo>
                  <a:lnTo>
                    <a:pt x="174" y="3"/>
                  </a:lnTo>
                  <a:lnTo>
                    <a:pt x="172" y="2"/>
                  </a:lnTo>
                  <a:lnTo>
                    <a:pt x="169" y="1"/>
                  </a:lnTo>
                  <a:lnTo>
                    <a:pt x="166" y="1"/>
                  </a:lnTo>
                  <a:lnTo>
                    <a:pt x="15" y="0"/>
                  </a:lnTo>
                  <a:lnTo>
                    <a:pt x="12" y="1"/>
                  </a:lnTo>
                  <a:lnTo>
                    <a:pt x="10" y="2"/>
                  </a:lnTo>
                  <a:lnTo>
                    <a:pt x="6" y="3"/>
                  </a:lnTo>
                  <a:lnTo>
                    <a:pt x="4" y="6"/>
                  </a:lnTo>
                  <a:lnTo>
                    <a:pt x="2" y="8"/>
                  </a:lnTo>
                  <a:lnTo>
                    <a:pt x="1" y="10"/>
                  </a:lnTo>
                  <a:lnTo>
                    <a:pt x="0" y="13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1" y="22"/>
                  </a:lnTo>
                  <a:lnTo>
                    <a:pt x="2" y="24"/>
                  </a:lnTo>
                  <a:lnTo>
                    <a:pt x="4" y="27"/>
                  </a:lnTo>
                  <a:lnTo>
                    <a:pt x="6" y="28"/>
                  </a:lnTo>
                  <a:lnTo>
                    <a:pt x="10" y="30"/>
                  </a:lnTo>
                  <a:lnTo>
                    <a:pt x="12" y="30"/>
                  </a:lnTo>
                  <a:lnTo>
                    <a:pt x="15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9" name="Freeform 53"/>
            <p:cNvSpPr>
              <a:spLocks/>
            </p:cNvSpPr>
            <p:nvPr/>
          </p:nvSpPr>
          <p:spPr bwMode="auto">
            <a:xfrm>
              <a:off x="995363" y="2146300"/>
              <a:ext cx="57150" cy="9525"/>
            </a:xfrm>
            <a:custGeom>
              <a:avLst/>
              <a:gdLst>
                <a:gd name="T0" fmla="*/ 15 w 181"/>
                <a:gd name="T1" fmla="*/ 30 h 30"/>
                <a:gd name="T2" fmla="*/ 166 w 181"/>
                <a:gd name="T3" fmla="*/ 30 h 30"/>
                <a:gd name="T4" fmla="*/ 169 w 181"/>
                <a:gd name="T5" fmla="*/ 30 h 30"/>
                <a:gd name="T6" fmla="*/ 172 w 181"/>
                <a:gd name="T7" fmla="*/ 29 h 30"/>
                <a:gd name="T8" fmla="*/ 174 w 181"/>
                <a:gd name="T9" fmla="*/ 27 h 30"/>
                <a:gd name="T10" fmla="*/ 176 w 181"/>
                <a:gd name="T11" fmla="*/ 26 h 30"/>
                <a:gd name="T12" fmla="*/ 178 w 181"/>
                <a:gd name="T13" fmla="*/ 23 h 30"/>
                <a:gd name="T14" fmla="*/ 180 w 181"/>
                <a:gd name="T15" fmla="*/ 20 h 30"/>
                <a:gd name="T16" fmla="*/ 181 w 181"/>
                <a:gd name="T17" fmla="*/ 18 h 30"/>
                <a:gd name="T18" fmla="*/ 181 w 181"/>
                <a:gd name="T19" fmla="*/ 15 h 30"/>
                <a:gd name="T20" fmla="*/ 181 w 181"/>
                <a:gd name="T21" fmla="*/ 12 h 30"/>
                <a:gd name="T22" fmla="*/ 180 w 181"/>
                <a:gd name="T23" fmla="*/ 8 h 30"/>
                <a:gd name="T24" fmla="*/ 178 w 181"/>
                <a:gd name="T25" fmla="*/ 6 h 30"/>
                <a:gd name="T26" fmla="*/ 176 w 181"/>
                <a:gd name="T27" fmla="*/ 4 h 30"/>
                <a:gd name="T28" fmla="*/ 174 w 181"/>
                <a:gd name="T29" fmla="*/ 2 h 30"/>
                <a:gd name="T30" fmla="*/ 172 w 181"/>
                <a:gd name="T31" fmla="*/ 1 h 30"/>
                <a:gd name="T32" fmla="*/ 169 w 181"/>
                <a:gd name="T33" fmla="*/ 0 h 30"/>
                <a:gd name="T34" fmla="*/ 166 w 181"/>
                <a:gd name="T35" fmla="*/ 0 h 30"/>
                <a:gd name="T36" fmla="*/ 15 w 181"/>
                <a:gd name="T37" fmla="*/ 0 h 30"/>
                <a:gd name="T38" fmla="*/ 12 w 181"/>
                <a:gd name="T39" fmla="*/ 0 h 30"/>
                <a:gd name="T40" fmla="*/ 10 w 181"/>
                <a:gd name="T41" fmla="*/ 1 h 30"/>
                <a:gd name="T42" fmla="*/ 6 w 181"/>
                <a:gd name="T43" fmla="*/ 2 h 30"/>
                <a:gd name="T44" fmla="*/ 4 w 181"/>
                <a:gd name="T45" fmla="*/ 4 h 30"/>
                <a:gd name="T46" fmla="*/ 2 w 181"/>
                <a:gd name="T47" fmla="*/ 6 h 30"/>
                <a:gd name="T48" fmla="*/ 1 w 181"/>
                <a:gd name="T49" fmla="*/ 8 h 30"/>
                <a:gd name="T50" fmla="*/ 0 w 181"/>
                <a:gd name="T51" fmla="*/ 12 h 30"/>
                <a:gd name="T52" fmla="*/ 0 w 181"/>
                <a:gd name="T53" fmla="*/ 15 h 30"/>
                <a:gd name="T54" fmla="*/ 0 w 181"/>
                <a:gd name="T55" fmla="*/ 18 h 30"/>
                <a:gd name="T56" fmla="*/ 1 w 181"/>
                <a:gd name="T57" fmla="*/ 20 h 30"/>
                <a:gd name="T58" fmla="*/ 2 w 181"/>
                <a:gd name="T59" fmla="*/ 23 h 30"/>
                <a:gd name="T60" fmla="*/ 4 w 181"/>
                <a:gd name="T61" fmla="*/ 26 h 30"/>
                <a:gd name="T62" fmla="*/ 6 w 181"/>
                <a:gd name="T63" fmla="*/ 27 h 30"/>
                <a:gd name="T64" fmla="*/ 10 w 181"/>
                <a:gd name="T65" fmla="*/ 29 h 30"/>
                <a:gd name="T66" fmla="*/ 12 w 181"/>
                <a:gd name="T67" fmla="*/ 30 h 30"/>
                <a:gd name="T68" fmla="*/ 15 w 181"/>
                <a:gd name="T69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81" h="30">
                  <a:moveTo>
                    <a:pt x="15" y="30"/>
                  </a:moveTo>
                  <a:lnTo>
                    <a:pt x="166" y="30"/>
                  </a:lnTo>
                  <a:lnTo>
                    <a:pt x="169" y="30"/>
                  </a:lnTo>
                  <a:lnTo>
                    <a:pt x="172" y="29"/>
                  </a:lnTo>
                  <a:lnTo>
                    <a:pt x="174" y="27"/>
                  </a:lnTo>
                  <a:lnTo>
                    <a:pt x="176" y="26"/>
                  </a:lnTo>
                  <a:lnTo>
                    <a:pt x="178" y="23"/>
                  </a:lnTo>
                  <a:lnTo>
                    <a:pt x="180" y="20"/>
                  </a:lnTo>
                  <a:lnTo>
                    <a:pt x="181" y="18"/>
                  </a:lnTo>
                  <a:lnTo>
                    <a:pt x="181" y="15"/>
                  </a:lnTo>
                  <a:lnTo>
                    <a:pt x="181" y="12"/>
                  </a:lnTo>
                  <a:lnTo>
                    <a:pt x="180" y="8"/>
                  </a:lnTo>
                  <a:lnTo>
                    <a:pt x="178" y="6"/>
                  </a:lnTo>
                  <a:lnTo>
                    <a:pt x="176" y="4"/>
                  </a:lnTo>
                  <a:lnTo>
                    <a:pt x="174" y="2"/>
                  </a:lnTo>
                  <a:lnTo>
                    <a:pt x="172" y="1"/>
                  </a:lnTo>
                  <a:lnTo>
                    <a:pt x="169" y="0"/>
                  </a:lnTo>
                  <a:lnTo>
                    <a:pt x="166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8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0"/>
                  </a:lnTo>
                  <a:lnTo>
                    <a:pt x="2" y="23"/>
                  </a:lnTo>
                  <a:lnTo>
                    <a:pt x="4" y="26"/>
                  </a:lnTo>
                  <a:lnTo>
                    <a:pt x="6" y="27"/>
                  </a:lnTo>
                  <a:lnTo>
                    <a:pt x="10" y="29"/>
                  </a:lnTo>
                  <a:lnTo>
                    <a:pt x="12" y="30"/>
                  </a:lnTo>
                  <a:lnTo>
                    <a:pt x="15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0" name="Freeform 54"/>
            <p:cNvSpPr>
              <a:spLocks/>
            </p:cNvSpPr>
            <p:nvPr/>
          </p:nvSpPr>
          <p:spPr bwMode="auto">
            <a:xfrm>
              <a:off x="947738" y="2022475"/>
              <a:ext cx="38100" cy="33338"/>
            </a:xfrm>
            <a:custGeom>
              <a:avLst/>
              <a:gdLst>
                <a:gd name="T0" fmla="*/ 20 w 121"/>
                <a:gd name="T1" fmla="*/ 101 h 106"/>
                <a:gd name="T2" fmla="*/ 22 w 121"/>
                <a:gd name="T3" fmla="*/ 104 h 106"/>
                <a:gd name="T4" fmla="*/ 25 w 121"/>
                <a:gd name="T5" fmla="*/ 105 h 106"/>
                <a:gd name="T6" fmla="*/ 27 w 121"/>
                <a:gd name="T7" fmla="*/ 106 h 106"/>
                <a:gd name="T8" fmla="*/ 30 w 121"/>
                <a:gd name="T9" fmla="*/ 106 h 106"/>
                <a:gd name="T10" fmla="*/ 36 w 121"/>
                <a:gd name="T11" fmla="*/ 105 h 106"/>
                <a:gd name="T12" fmla="*/ 41 w 121"/>
                <a:gd name="T13" fmla="*/ 101 h 106"/>
                <a:gd name="T14" fmla="*/ 116 w 121"/>
                <a:gd name="T15" fmla="*/ 26 h 106"/>
                <a:gd name="T16" fmla="*/ 119 w 121"/>
                <a:gd name="T17" fmla="*/ 24 h 106"/>
                <a:gd name="T18" fmla="*/ 120 w 121"/>
                <a:gd name="T19" fmla="*/ 21 h 106"/>
                <a:gd name="T20" fmla="*/ 121 w 121"/>
                <a:gd name="T21" fmla="*/ 19 h 106"/>
                <a:gd name="T22" fmla="*/ 121 w 121"/>
                <a:gd name="T23" fmla="*/ 15 h 106"/>
                <a:gd name="T24" fmla="*/ 121 w 121"/>
                <a:gd name="T25" fmla="*/ 13 h 106"/>
                <a:gd name="T26" fmla="*/ 120 w 121"/>
                <a:gd name="T27" fmla="*/ 10 h 106"/>
                <a:gd name="T28" fmla="*/ 119 w 121"/>
                <a:gd name="T29" fmla="*/ 8 h 106"/>
                <a:gd name="T30" fmla="*/ 116 w 121"/>
                <a:gd name="T31" fmla="*/ 5 h 106"/>
                <a:gd name="T32" fmla="*/ 114 w 121"/>
                <a:gd name="T33" fmla="*/ 4 h 106"/>
                <a:gd name="T34" fmla="*/ 111 w 121"/>
                <a:gd name="T35" fmla="*/ 1 h 106"/>
                <a:gd name="T36" fmla="*/ 109 w 121"/>
                <a:gd name="T37" fmla="*/ 0 h 106"/>
                <a:gd name="T38" fmla="*/ 106 w 121"/>
                <a:gd name="T39" fmla="*/ 0 h 106"/>
                <a:gd name="T40" fmla="*/ 103 w 121"/>
                <a:gd name="T41" fmla="*/ 0 h 106"/>
                <a:gd name="T42" fmla="*/ 100 w 121"/>
                <a:gd name="T43" fmla="*/ 1 h 106"/>
                <a:gd name="T44" fmla="*/ 97 w 121"/>
                <a:gd name="T45" fmla="*/ 4 h 106"/>
                <a:gd name="T46" fmla="*/ 95 w 121"/>
                <a:gd name="T47" fmla="*/ 5 h 106"/>
                <a:gd name="T48" fmla="*/ 30 w 121"/>
                <a:gd name="T49" fmla="*/ 69 h 106"/>
                <a:gd name="T50" fmla="*/ 26 w 121"/>
                <a:gd name="T51" fmla="*/ 65 h 106"/>
                <a:gd name="T52" fmla="*/ 24 w 121"/>
                <a:gd name="T53" fmla="*/ 64 h 106"/>
                <a:gd name="T54" fmla="*/ 21 w 121"/>
                <a:gd name="T55" fmla="*/ 62 h 106"/>
                <a:gd name="T56" fmla="*/ 18 w 121"/>
                <a:gd name="T57" fmla="*/ 62 h 106"/>
                <a:gd name="T58" fmla="*/ 15 w 121"/>
                <a:gd name="T59" fmla="*/ 61 h 106"/>
                <a:gd name="T60" fmla="*/ 12 w 121"/>
                <a:gd name="T61" fmla="*/ 62 h 106"/>
                <a:gd name="T62" fmla="*/ 10 w 121"/>
                <a:gd name="T63" fmla="*/ 62 h 106"/>
                <a:gd name="T64" fmla="*/ 7 w 121"/>
                <a:gd name="T65" fmla="*/ 64 h 106"/>
                <a:gd name="T66" fmla="*/ 5 w 121"/>
                <a:gd name="T67" fmla="*/ 65 h 106"/>
                <a:gd name="T68" fmla="*/ 2 w 121"/>
                <a:gd name="T69" fmla="*/ 68 h 106"/>
                <a:gd name="T70" fmla="*/ 1 w 121"/>
                <a:gd name="T71" fmla="*/ 70 h 106"/>
                <a:gd name="T72" fmla="*/ 0 w 121"/>
                <a:gd name="T73" fmla="*/ 73 h 106"/>
                <a:gd name="T74" fmla="*/ 0 w 121"/>
                <a:gd name="T75" fmla="*/ 76 h 106"/>
                <a:gd name="T76" fmla="*/ 0 w 121"/>
                <a:gd name="T77" fmla="*/ 79 h 106"/>
                <a:gd name="T78" fmla="*/ 1 w 121"/>
                <a:gd name="T79" fmla="*/ 82 h 106"/>
                <a:gd name="T80" fmla="*/ 2 w 121"/>
                <a:gd name="T81" fmla="*/ 84 h 106"/>
                <a:gd name="T82" fmla="*/ 5 w 121"/>
                <a:gd name="T83" fmla="*/ 86 h 106"/>
                <a:gd name="T84" fmla="*/ 20 w 121"/>
                <a:gd name="T85" fmla="*/ 101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1" h="106">
                  <a:moveTo>
                    <a:pt x="20" y="101"/>
                  </a:moveTo>
                  <a:lnTo>
                    <a:pt x="22" y="104"/>
                  </a:lnTo>
                  <a:lnTo>
                    <a:pt x="25" y="105"/>
                  </a:lnTo>
                  <a:lnTo>
                    <a:pt x="27" y="106"/>
                  </a:lnTo>
                  <a:lnTo>
                    <a:pt x="30" y="106"/>
                  </a:lnTo>
                  <a:lnTo>
                    <a:pt x="36" y="105"/>
                  </a:lnTo>
                  <a:lnTo>
                    <a:pt x="41" y="101"/>
                  </a:lnTo>
                  <a:lnTo>
                    <a:pt x="116" y="26"/>
                  </a:lnTo>
                  <a:lnTo>
                    <a:pt x="119" y="24"/>
                  </a:lnTo>
                  <a:lnTo>
                    <a:pt x="120" y="21"/>
                  </a:lnTo>
                  <a:lnTo>
                    <a:pt x="121" y="19"/>
                  </a:lnTo>
                  <a:lnTo>
                    <a:pt x="121" y="15"/>
                  </a:lnTo>
                  <a:lnTo>
                    <a:pt x="121" y="13"/>
                  </a:lnTo>
                  <a:lnTo>
                    <a:pt x="120" y="10"/>
                  </a:lnTo>
                  <a:lnTo>
                    <a:pt x="119" y="8"/>
                  </a:lnTo>
                  <a:lnTo>
                    <a:pt x="116" y="5"/>
                  </a:lnTo>
                  <a:lnTo>
                    <a:pt x="114" y="4"/>
                  </a:lnTo>
                  <a:lnTo>
                    <a:pt x="111" y="1"/>
                  </a:lnTo>
                  <a:lnTo>
                    <a:pt x="109" y="0"/>
                  </a:lnTo>
                  <a:lnTo>
                    <a:pt x="106" y="0"/>
                  </a:lnTo>
                  <a:lnTo>
                    <a:pt x="103" y="0"/>
                  </a:lnTo>
                  <a:lnTo>
                    <a:pt x="100" y="1"/>
                  </a:lnTo>
                  <a:lnTo>
                    <a:pt x="97" y="4"/>
                  </a:lnTo>
                  <a:lnTo>
                    <a:pt x="95" y="5"/>
                  </a:lnTo>
                  <a:lnTo>
                    <a:pt x="30" y="69"/>
                  </a:lnTo>
                  <a:lnTo>
                    <a:pt x="26" y="65"/>
                  </a:lnTo>
                  <a:lnTo>
                    <a:pt x="24" y="64"/>
                  </a:lnTo>
                  <a:lnTo>
                    <a:pt x="21" y="62"/>
                  </a:lnTo>
                  <a:lnTo>
                    <a:pt x="18" y="62"/>
                  </a:lnTo>
                  <a:lnTo>
                    <a:pt x="15" y="61"/>
                  </a:lnTo>
                  <a:lnTo>
                    <a:pt x="12" y="62"/>
                  </a:lnTo>
                  <a:lnTo>
                    <a:pt x="10" y="62"/>
                  </a:lnTo>
                  <a:lnTo>
                    <a:pt x="7" y="64"/>
                  </a:lnTo>
                  <a:lnTo>
                    <a:pt x="5" y="65"/>
                  </a:lnTo>
                  <a:lnTo>
                    <a:pt x="2" y="68"/>
                  </a:lnTo>
                  <a:lnTo>
                    <a:pt x="1" y="70"/>
                  </a:lnTo>
                  <a:lnTo>
                    <a:pt x="0" y="73"/>
                  </a:lnTo>
                  <a:lnTo>
                    <a:pt x="0" y="76"/>
                  </a:lnTo>
                  <a:lnTo>
                    <a:pt x="0" y="79"/>
                  </a:lnTo>
                  <a:lnTo>
                    <a:pt x="1" y="82"/>
                  </a:lnTo>
                  <a:lnTo>
                    <a:pt x="2" y="84"/>
                  </a:lnTo>
                  <a:lnTo>
                    <a:pt x="5" y="86"/>
                  </a:lnTo>
                  <a:lnTo>
                    <a:pt x="20" y="1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1" name="Freeform 55"/>
            <p:cNvSpPr>
              <a:spLocks/>
            </p:cNvSpPr>
            <p:nvPr/>
          </p:nvSpPr>
          <p:spPr bwMode="auto">
            <a:xfrm>
              <a:off x="947738" y="2070100"/>
              <a:ext cx="38100" cy="33338"/>
            </a:xfrm>
            <a:custGeom>
              <a:avLst/>
              <a:gdLst>
                <a:gd name="T0" fmla="*/ 20 w 121"/>
                <a:gd name="T1" fmla="*/ 101 h 106"/>
                <a:gd name="T2" fmla="*/ 22 w 121"/>
                <a:gd name="T3" fmla="*/ 103 h 106"/>
                <a:gd name="T4" fmla="*/ 25 w 121"/>
                <a:gd name="T5" fmla="*/ 105 h 106"/>
                <a:gd name="T6" fmla="*/ 27 w 121"/>
                <a:gd name="T7" fmla="*/ 105 h 106"/>
                <a:gd name="T8" fmla="*/ 30 w 121"/>
                <a:gd name="T9" fmla="*/ 106 h 106"/>
                <a:gd name="T10" fmla="*/ 34 w 121"/>
                <a:gd name="T11" fmla="*/ 105 h 106"/>
                <a:gd name="T12" fmla="*/ 36 w 121"/>
                <a:gd name="T13" fmla="*/ 105 h 106"/>
                <a:gd name="T14" fmla="*/ 39 w 121"/>
                <a:gd name="T15" fmla="*/ 103 h 106"/>
                <a:gd name="T16" fmla="*/ 41 w 121"/>
                <a:gd name="T17" fmla="*/ 102 h 106"/>
                <a:gd name="T18" fmla="*/ 116 w 121"/>
                <a:gd name="T19" fmla="*/ 26 h 106"/>
                <a:gd name="T20" fmla="*/ 119 w 121"/>
                <a:gd name="T21" fmla="*/ 24 h 106"/>
                <a:gd name="T22" fmla="*/ 120 w 121"/>
                <a:gd name="T23" fmla="*/ 21 h 106"/>
                <a:gd name="T24" fmla="*/ 121 w 121"/>
                <a:gd name="T25" fmla="*/ 18 h 106"/>
                <a:gd name="T26" fmla="*/ 121 w 121"/>
                <a:gd name="T27" fmla="*/ 15 h 106"/>
                <a:gd name="T28" fmla="*/ 121 w 121"/>
                <a:gd name="T29" fmla="*/ 13 h 106"/>
                <a:gd name="T30" fmla="*/ 120 w 121"/>
                <a:gd name="T31" fmla="*/ 10 h 106"/>
                <a:gd name="T32" fmla="*/ 119 w 121"/>
                <a:gd name="T33" fmla="*/ 7 h 106"/>
                <a:gd name="T34" fmla="*/ 116 w 121"/>
                <a:gd name="T35" fmla="*/ 5 h 106"/>
                <a:gd name="T36" fmla="*/ 114 w 121"/>
                <a:gd name="T37" fmla="*/ 3 h 106"/>
                <a:gd name="T38" fmla="*/ 111 w 121"/>
                <a:gd name="T39" fmla="*/ 1 h 106"/>
                <a:gd name="T40" fmla="*/ 109 w 121"/>
                <a:gd name="T41" fmla="*/ 1 h 106"/>
                <a:gd name="T42" fmla="*/ 106 w 121"/>
                <a:gd name="T43" fmla="*/ 0 h 106"/>
                <a:gd name="T44" fmla="*/ 103 w 121"/>
                <a:gd name="T45" fmla="*/ 1 h 106"/>
                <a:gd name="T46" fmla="*/ 100 w 121"/>
                <a:gd name="T47" fmla="*/ 1 h 106"/>
                <a:gd name="T48" fmla="*/ 97 w 121"/>
                <a:gd name="T49" fmla="*/ 3 h 106"/>
                <a:gd name="T50" fmla="*/ 95 w 121"/>
                <a:gd name="T51" fmla="*/ 5 h 106"/>
                <a:gd name="T52" fmla="*/ 30 w 121"/>
                <a:gd name="T53" fmla="*/ 70 h 106"/>
                <a:gd name="T54" fmla="*/ 26 w 121"/>
                <a:gd name="T55" fmla="*/ 65 h 106"/>
                <a:gd name="T56" fmla="*/ 24 w 121"/>
                <a:gd name="T57" fmla="*/ 63 h 106"/>
                <a:gd name="T58" fmla="*/ 21 w 121"/>
                <a:gd name="T59" fmla="*/ 61 h 106"/>
                <a:gd name="T60" fmla="*/ 18 w 121"/>
                <a:gd name="T61" fmla="*/ 61 h 106"/>
                <a:gd name="T62" fmla="*/ 15 w 121"/>
                <a:gd name="T63" fmla="*/ 60 h 106"/>
                <a:gd name="T64" fmla="*/ 12 w 121"/>
                <a:gd name="T65" fmla="*/ 61 h 106"/>
                <a:gd name="T66" fmla="*/ 10 w 121"/>
                <a:gd name="T67" fmla="*/ 62 h 106"/>
                <a:gd name="T68" fmla="*/ 7 w 121"/>
                <a:gd name="T69" fmla="*/ 63 h 106"/>
                <a:gd name="T70" fmla="*/ 5 w 121"/>
                <a:gd name="T71" fmla="*/ 65 h 106"/>
                <a:gd name="T72" fmla="*/ 2 w 121"/>
                <a:gd name="T73" fmla="*/ 68 h 106"/>
                <a:gd name="T74" fmla="*/ 1 w 121"/>
                <a:gd name="T75" fmla="*/ 70 h 106"/>
                <a:gd name="T76" fmla="*/ 0 w 121"/>
                <a:gd name="T77" fmla="*/ 73 h 106"/>
                <a:gd name="T78" fmla="*/ 0 w 121"/>
                <a:gd name="T79" fmla="*/ 76 h 106"/>
                <a:gd name="T80" fmla="*/ 0 w 121"/>
                <a:gd name="T81" fmla="*/ 78 h 106"/>
                <a:gd name="T82" fmla="*/ 1 w 121"/>
                <a:gd name="T83" fmla="*/ 82 h 106"/>
                <a:gd name="T84" fmla="*/ 2 w 121"/>
                <a:gd name="T85" fmla="*/ 84 h 106"/>
                <a:gd name="T86" fmla="*/ 5 w 121"/>
                <a:gd name="T87" fmla="*/ 87 h 106"/>
                <a:gd name="T88" fmla="*/ 20 w 121"/>
                <a:gd name="T89" fmla="*/ 101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21" h="106">
                  <a:moveTo>
                    <a:pt x="20" y="101"/>
                  </a:moveTo>
                  <a:lnTo>
                    <a:pt x="22" y="103"/>
                  </a:lnTo>
                  <a:lnTo>
                    <a:pt x="25" y="105"/>
                  </a:lnTo>
                  <a:lnTo>
                    <a:pt x="27" y="105"/>
                  </a:lnTo>
                  <a:lnTo>
                    <a:pt x="30" y="106"/>
                  </a:lnTo>
                  <a:lnTo>
                    <a:pt x="34" y="105"/>
                  </a:lnTo>
                  <a:lnTo>
                    <a:pt x="36" y="105"/>
                  </a:lnTo>
                  <a:lnTo>
                    <a:pt x="39" y="103"/>
                  </a:lnTo>
                  <a:lnTo>
                    <a:pt x="41" y="102"/>
                  </a:lnTo>
                  <a:lnTo>
                    <a:pt x="116" y="26"/>
                  </a:lnTo>
                  <a:lnTo>
                    <a:pt x="119" y="24"/>
                  </a:lnTo>
                  <a:lnTo>
                    <a:pt x="120" y="21"/>
                  </a:lnTo>
                  <a:lnTo>
                    <a:pt x="121" y="18"/>
                  </a:lnTo>
                  <a:lnTo>
                    <a:pt x="121" y="15"/>
                  </a:lnTo>
                  <a:lnTo>
                    <a:pt x="121" y="13"/>
                  </a:lnTo>
                  <a:lnTo>
                    <a:pt x="120" y="10"/>
                  </a:lnTo>
                  <a:lnTo>
                    <a:pt x="119" y="7"/>
                  </a:lnTo>
                  <a:lnTo>
                    <a:pt x="116" y="5"/>
                  </a:lnTo>
                  <a:lnTo>
                    <a:pt x="114" y="3"/>
                  </a:lnTo>
                  <a:lnTo>
                    <a:pt x="111" y="1"/>
                  </a:lnTo>
                  <a:lnTo>
                    <a:pt x="109" y="1"/>
                  </a:lnTo>
                  <a:lnTo>
                    <a:pt x="106" y="0"/>
                  </a:lnTo>
                  <a:lnTo>
                    <a:pt x="103" y="1"/>
                  </a:lnTo>
                  <a:lnTo>
                    <a:pt x="100" y="1"/>
                  </a:lnTo>
                  <a:lnTo>
                    <a:pt x="97" y="3"/>
                  </a:lnTo>
                  <a:lnTo>
                    <a:pt x="95" y="5"/>
                  </a:lnTo>
                  <a:lnTo>
                    <a:pt x="30" y="70"/>
                  </a:lnTo>
                  <a:lnTo>
                    <a:pt x="26" y="65"/>
                  </a:lnTo>
                  <a:lnTo>
                    <a:pt x="24" y="63"/>
                  </a:lnTo>
                  <a:lnTo>
                    <a:pt x="21" y="61"/>
                  </a:lnTo>
                  <a:lnTo>
                    <a:pt x="18" y="61"/>
                  </a:lnTo>
                  <a:lnTo>
                    <a:pt x="15" y="60"/>
                  </a:lnTo>
                  <a:lnTo>
                    <a:pt x="12" y="61"/>
                  </a:lnTo>
                  <a:lnTo>
                    <a:pt x="10" y="62"/>
                  </a:lnTo>
                  <a:lnTo>
                    <a:pt x="7" y="63"/>
                  </a:lnTo>
                  <a:lnTo>
                    <a:pt x="5" y="65"/>
                  </a:lnTo>
                  <a:lnTo>
                    <a:pt x="2" y="68"/>
                  </a:lnTo>
                  <a:lnTo>
                    <a:pt x="1" y="70"/>
                  </a:lnTo>
                  <a:lnTo>
                    <a:pt x="0" y="73"/>
                  </a:lnTo>
                  <a:lnTo>
                    <a:pt x="0" y="76"/>
                  </a:lnTo>
                  <a:lnTo>
                    <a:pt x="0" y="78"/>
                  </a:lnTo>
                  <a:lnTo>
                    <a:pt x="1" y="82"/>
                  </a:lnTo>
                  <a:lnTo>
                    <a:pt x="2" y="84"/>
                  </a:lnTo>
                  <a:lnTo>
                    <a:pt x="5" y="87"/>
                  </a:lnTo>
                  <a:lnTo>
                    <a:pt x="20" y="1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2" name="Freeform 56"/>
            <p:cNvSpPr>
              <a:spLocks noEditPoints="1"/>
            </p:cNvSpPr>
            <p:nvPr/>
          </p:nvSpPr>
          <p:spPr bwMode="auto">
            <a:xfrm>
              <a:off x="1104900" y="1993900"/>
              <a:ext cx="68263" cy="219075"/>
            </a:xfrm>
            <a:custGeom>
              <a:avLst/>
              <a:gdLst>
                <a:gd name="T0" fmla="*/ 120 w 212"/>
                <a:gd name="T1" fmla="*/ 659 h 694"/>
                <a:gd name="T2" fmla="*/ 99 w 212"/>
                <a:gd name="T3" fmla="*/ 643 h 694"/>
                <a:gd name="T4" fmla="*/ 92 w 212"/>
                <a:gd name="T5" fmla="*/ 618 h 694"/>
                <a:gd name="T6" fmla="*/ 181 w 212"/>
                <a:gd name="T7" fmla="*/ 616 h 694"/>
                <a:gd name="T8" fmla="*/ 167 w 212"/>
                <a:gd name="T9" fmla="*/ 647 h 694"/>
                <a:gd name="T10" fmla="*/ 144 w 212"/>
                <a:gd name="T11" fmla="*/ 662 h 694"/>
                <a:gd name="T12" fmla="*/ 145 w 212"/>
                <a:gd name="T13" fmla="*/ 31 h 694"/>
                <a:gd name="T14" fmla="*/ 168 w 212"/>
                <a:gd name="T15" fmla="*/ 43 h 694"/>
                <a:gd name="T16" fmla="*/ 181 w 212"/>
                <a:gd name="T17" fmla="*/ 57 h 694"/>
                <a:gd name="T18" fmla="*/ 92 w 212"/>
                <a:gd name="T19" fmla="*/ 331 h 694"/>
                <a:gd name="T20" fmla="*/ 95 w 212"/>
                <a:gd name="T21" fmla="*/ 53 h 694"/>
                <a:gd name="T22" fmla="*/ 112 w 212"/>
                <a:gd name="T23" fmla="*/ 38 h 694"/>
                <a:gd name="T24" fmla="*/ 137 w 212"/>
                <a:gd name="T25" fmla="*/ 30 h 694"/>
                <a:gd name="T26" fmla="*/ 182 w 212"/>
                <a:gd name="T27" fmla="*/ 362 h 694"/>
                <a:gd name="T28" fmla="*/ 92 w 212"/>
                <a:gd name="T29" fmla="*/ 362 h 694"/>
                <a:gd name="T30" fmla="*/ 113 w 212"/>
                <a:gd name="T31" fmla="*/ 4 h 694"/>
                <a:gd name="T32" fmla="*/ 84 w 212"/>
                <a:gd name="T33" fmla="*/ 22 h 694"/>
                <a:gd name="T34" fmla="*/ 65 w 212"/>
                <a:gd name="T35" fmla="*/ 46 h 694"/>
                <a:gd name="T36" fmla="*/ 36 w 212"/>
                <a:gd name="T37" fmla="*/ 55 h 694"/>
                <a:gd name="T38" fmla="*/ 21 w 212"/>
                <a:gd name="T39" fmla="*/ 67 h 694"/>
                <a:gd name="T40" fmla="*/ 9 w 212"/>
                <a:gd name="T41" fmla="*/ 82 h 694"/>
                <a:gd name="T42" fmla="*/ 2 w 212"/>
                <a:gd name="T43" fmla="*/ 103 h 694"/>
                <a:gd name="T44" fmla="*/ 0 w 212"/>
                <a:gd name="T45" fmla="*/ 394 h 694"/>
                <a:gd name="T46" fmla="*/ 3 w 212"/>
                <a:gd name="T47" fmla="*/ 402 h 694"/>
                <a:gd name="T48" fmla="*/ 10 w 212"/>
                <a:gd name="T49" fmla="*/ 408 h 694"/>
                <a:gd name="T50" fmla="*/ 19 w 212"/>
                <a:gd name="T51" fmla="*/ 409 h 694"/>
                <a:gd name="T52" fmla="*/ 26 w 212"/>
                <a:gd name="T53" fmla="*/ 404 h 694"/>
                <a:gd name="T54" fmla="*/ 30 w 212"/>
                <a:gd name="T55" fmla="*/ 397 h 694"/>
                <a:gd name="T56" fmla="*/ 31 w 212"/>
                <a:gd name="T57" fmla="*/ 111 h 694"/>
                <a:gd name="T58" fmla="*/ 40 w 212"/>
                <a:gd name="T59" fmla="*/ 89 h 694"/>
                <a:gd name="T60" fmla="*/ 55 w 212"/>
                <a:gd name="T61" fmla="*/ 79 h 694"/>
                <a:gd name="T62" fmla="*/ 62 w 212"/>
                <a:gd name="T63" fmla="*/ 626 h 694"/>
                <a:gd name="T64" fmla="*/ 67 w 212"/>
                <a:gd name="T65" fmla="*/ 647 h 694"/>
                <a:gd name="T66" fmla="*/ 79 w 212"/>
                <a:gd name="T67" fmla="*/ 666 h 694"/>
                <a:gd name="T68" fmla="*/ 95 w 212"/>
                <a:gd name="T69" fmla="*/ 681 h 694"/>
                <a:gd name="T70" fmla="*/ 114 w 212"/>
                <a:gd name="T71" fmla="*/ 690 h 694"/>
                <a:gd name="T72" fmla="*/ 137 w 212"/>
                <a:gd name="T73" fmla="*/ 694 h 694"/>
                <a:gd name="T74" fmla="*/ 157 w 212"/>
                <a:gd name="T75" fmla="*/ 690 h 694"/>
                <a:gd name="T76" fmla="*/ 177 w 212"/>
                <a:gd name="T77" fmla="*/ 680 h 694"/>
                <a:gd name="T78" fmla="*/ 193 w 212"/>
                <a:gd name="T79" fmla="*/ 663 h 694"/>
                <a:gd name="T80" fmla="*/ 206 w 212"/>
                <a:gd name="T81" fmla="*/ 641 h 694"/>
                <a:gd name="T82" fmla="*/ 211 w 212"/>
                <a:gd name="T83" fmla="*/ 613 h 694"/>
                <a:gd name="T84" fmla="*/ 211 w 212"/>
                <a:gd name="T85" fmla="*/ 56 h 694"/>
                <a:gd name="T86" fmla="*/ 206 w 212"/>
                <a:gd name="T87" fmla="*/ 41 h 694"/>
                <a:gd name="T88" fmla="*/ 177 w 212"/>
                <a:gd name="T89" fmla="*/ 13 h 694"/>
                <a:gd name="T90" fmla="*/ 151 w 212"/>
                <a:gd name="T91" fmla="*/ 2 h 694"/>
                <a:gd name="T92" fmla="*/ 137 w 212"/>
                <a:gd name="T93" fmla="*/ 0 h 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12" h="694">
                  <a:moveTo>
                    <a:pt x="137" y="663"/>
                  </a:moveTo>
                  <a:lnTo>
                    <a:pt x="128" y="662"/>
                  </a:lnTo>
                  <a:lnTo>
                    <a:pt x="120" y="659"/>
                  </a:lnTo>
                  <a:lnTo>
                    <a:pt x="112" y="655"/>
                  </a:lnTo>
                  <a:lnTo>
                    <a:pt x="105" y="650"/>
                  </a:lnTo>
                  <a:lnTo>
                    <a:pt x="99" y="643"/>
                  </a:lnTo>
                  <a:lnTo>
                    <a:pt x="95" y="636"/>
                  </a:lnTo>
                  <a:lnTo>
                    <a:pt x="92" y="627"/>
                  </a:lnTo>
                  <a:lnTo>
                    <a:pt x="92" y="618"/>
                  </a:lnTo>
                  <a:lnTo>
                    <a:pt x="92" y="603"/>
                  </a:lnTo>
                  <a:lnTo>
                    <a:pt x="182" y="603"/>
                  </a:lnTo>
                  <a:lnTo>
                    <a:pt x="181" y="616"/>
                  </a:lnTo>
                  <a:lnTo>
                    <a:pt x="178" y="628"/>
                  </a:lnTo>
                  <a:lnTo>
                    <a:pt x="173" y="639"/>
                  </a:lnTo>
                  <a:lnTo>
                    <a:pt x="167" y="647"/>
                  </a:lnTo>
                  <a:lnTo>
                    <a:pt x="161" y="654"/>
                  </a:lnTo>
                  <a:lnTo>
                    <a:pt x="153" y="659"/>
                  </a:lnTo>
                  <a:lnTo>
                    <a:pt x="144" y="662"/>
                  </a:lnTo>
                  <a:lnTo>
                    <a:pt x="137" y="663"/>
                  </a:lnTo>
                  <a:close/>
                  <a:moveTo>
                    <a:pt x="137" y="30"/>
                  </a:moveTo>
                  <a:lnTo>
                    <a:pt x="145" y="31"/>
                  </a:lnTo>
                  <a:lnTo>
                    <a:pt x="153" y="34"/>
                  </a:lnTo>
                  <a:lnTo>
                    <a:pt x="161" y="38"/>
                  </a:lnTo>
                  <a:lnTo>
                    <a:pt x="168" y="43"/>
                  </a:lnTo>
                  <a:lnTo>
                    <a:pt x="173" y="47"/>
                  </a:lnTo>
                  <a:lnTo>
                    <a:pt x="178" y="53"/>
                  </a:lnTo>
                  <a:lnTo>
                    <a:pt x="181" y="57"/>
                  </a:lnTo>
                  <a:lnTo>
                    <a:pt x="182" y="60"/>
                  </a:lnTo>
                  <a:lnTo>
                    <a:pt x="182" y="331"/>
                  </a:lnTo>
                  <a:lnTo>
                    <a:pt x="92" y="331"/>
                  </a:lnTo>
                  <a:lnTo>
                    <a:pt x="92" y="60"/>
                  </a:lnTo>
                  <a:lnTo>
                    <a:pt x="93" y="57"/>
                  </a:lnTo>
                  <a:lnTo>
                    <a:pt x="95" y="53"/>
                  </a:lnTo>
                  <a:lnTo>
                    <a:pt x="99" y="48"/>
                  </a:lnTo>
                  <a:lnTo>
                    <a:pt x="106" y="43"/>
                  </a:lnTo>
                  <a:lnTo>
                    <a:pt x="112" y="38"/>
                  </a:lnTo>
                  <a:lnTo>
                    <a:pt x="120" y="34"/>
                  </a:lnTo>
                  <a:lnTo>
                    <a:pt x="127" y="31"/>
                  </a:lnTo>
                  <a:lnTo>
                    <a:pt x="137" y="30"/>
                  </a:lnTo>
                  <a:lnTo>
                    <a:pt x="137" y="30"/>
                  </a:lnTo>
                  <a:close/>
                  <a:moveTo>
                    <a:pt x="92" y="362"/>
                  </a:moveTo>
                  <a:lnTo>
                    <a:pt x="182" y="362"/>
                  </a:lnTo>
                  <a:lnTo>
                    <a:pt x="182" y="573"/>
                  </a:lnTo>
                  <a:lnTo>
                    <a:pt x="92" y="573"/>
                  </a:lnTo>
                  <a:lnTo>
                    <a:pt x="92" y="362"/>
                  </a:lnTo>
                  <a:close/>
                  <a:moveTo>
                    <a:pt x="137" y="0"/>
                  </a:moveTo>
                  <a:lnTo>
                    <a:pt x="125" y="1"/>
                  </a:lnTo>
                  <a:lnTo>
                    <a:pt x="113" y="4"/>
                  </a:lnTo>
                  <a:lnTo>
                    <a:pt x="102" y="9"/>
                  </a:lnTo>
                  <a:lnTo>
                    <a:pt x="93" y="15"/>
                  </a:lnTo>
                  <a:lnTo>
                    <a:pt x="84" y="22"/>
                  </a:lnTo>
                  <a:lnTo>
                    <a:pt x="76" y="29"/>
                  </a:lnTo>
                  <a:lnTo>
                    <a:pt x="69" y="38"/>
                  </a:lnTo>
                  <a:lnTo>
                    <a:pt x="65" y="46"/>
                  </a:lnTo>
                  <a:lnTo>
                    <a:pt x="53" y="48"/>
                  </a:lnTo>
                  <a:lnTo>
                    <a:pt x="41" y="53"/>
                  </a:lnTo>
                  <a:lnTo>
                    <a:pt x="36" y="55"/>
                  </a:lnTo>
                  <a:lnTo>
                    <a:pt x="30" y="58"/>
                  </a:lnTo>
                  <a:lnTo>
                    <a:pt x="25" y="62"/>
                  </a:lnTo>
                  <a:lnTo>
                    <a:pt x="21" y="67"/>
                  </a:lnTo>
                  <a:lnTo>
                    <a:pt x="16" y="71"/>
                  </a:lnTo>
                  <a:lnTo>
                    <a:pt x="12" y="76"/>
                  </a:lnTo>
                  <a:lnTo>
                    <a:pt x="9" y="82"/>
                  </a:lnTo>
                  <a:lnTo>
                    <a:pt x="6" y="88"/>
                  </a:lnTo>
                  <a:lnTo>
                    <a:pt x="3" y="96"/>
                  </a:lnTo>
                  <a:lnTo>
                    <a:pt x="2" y="103"/>
                  </a:lnTo>
                  <a:lnTo>
                    <a:pt x="1" y="112"/>
                  </a:lnTo>
                  <a:lnTo>
                    <a:pt x="0" y="120"/>
                  </a:lnTo>
                  <a:lnTo>
                    <a:pt x="0" y="394"/>
                  </a:lnTo>
                  <a:lnTo>
                    <a:pt x="1" y="397"/>
                  </a:lnTo>
                  <a:lnTo>
                    <a:pt x="2" y="399"/>
                  </a:lnTo>
                  <a:lnTo>
                    <a:pt x="3" y="402"/>
                  </a:lnTo>
                  <a:lnTo>
                    <a:pt x="6" y="404"/>
                  </a:lnTo>
                  <a:lnTo>
                    <a:pt x="8" y="406"/>
                  </a:lnTo>
                  <a:lnTo>
                    <a:pt x="10" y="408"/>
                  </a:lnTo>
                  <a:lnTo>
                    <a:pt x="13" y="409"/>
                  </a:lnTo>
                  <a:lnTo>
                    <a:pt x="15" y="409"/>
                  </a:lnTo>
                  <a:lnTo>
                    <a:pt x="19" y="409"/>
                  </a:lnTo>
                  <a:lnTo>
                    <a:pt x="22" y="408"/>
                  </a:lnTo>
                  <a:lnTo>
                    <a:pt x="24" y="406"/>
                  </a:lnTo>
                  <a:lnTo>
                    <a:pt x="26" y="404"/>
                  </a:lnTo>
                  <a:lnTo>
                    <a:pt x="28" y="402"/>
                  </a:lnTo>
                  <a:lnTo>
                    <a:pt x="29" y="399"/>
                  </a:lnTo>
                  <a:lnTo>
                    <a:pt x="30" y="397"/>
                  </a:lnTo>
                  <a:lnTo>
                    <a:pt x="30" y="394"/>
                  </a:lnTo>
                  <a:lnTo>
                    <a:pt x="30" y="120"/>
                  </a:lnTo>
                  <a:lnTo>
                    <a:pt x="31" y="111"/>
                  </a:lnTo>
                  <a:lnTo>
                    <a:pt x="34" y="102"/>
                  </a:lnTo>
                  <a:lnTo>
                    <a:pt x="36" y="96"/>
                  </a:lnTo>
                  <a:lnTo>
                    <a:pt x="40" y="89"/>
                  </a:lnTo>
                  <a:lnTo>
                    <a:pt x="44" y="85"/>
                  </a:lnTo>
                  <a:lnTo>
                    <a:pt x="50" y="82"/>
                  </a:lnTo>
                  <a:lnTo>
                    <a:pt x="55" y="79"/>
                  </a:lnTo>
                  <a:lnTo>
                    <a:pt x="62" y="77"/>
                  </a:lnTo>
                  <a:lnTo>
                    <a:pt x="62" y="618"/>
                  </a:lnTo>
                  <a:lnTo>
                    <a:pt x="62" y="626"/>
                  </a:lnTo>
                  <a:lnTo>
                    <a:pt x="63" y="633"/>
                  </a:lnTo>
                  <a:lnTo>
                    <a:pt x="65" y="640"/>
                  </a:lnTo>
                  <a:lnTo>
                    <a:pt x="67" y="647"/>
                  </a:lnTo>
                  <a:lnTo>
                    <a:pt x="70" y="654"/>
                  </a:lnTo>
                  <a:lnTo>
                    <a:pt x="74" y="660"/>
                  </a:lnTo>
                  <a:lnTo>
                    <a:pt x="79" y="666"/>
                  </a:lnTo>
                  <a:lnTo>
                    <a:pt x="84" y="671"/>
                  </a:lnTo>
                  <a:lnTo>
                    <a:pt x="90" y="676"/>
                  </a:lnTo>
                  <a:lnTo>
                    <a:pt x="95" y="681"/>
                  </a:lnTo>
                  <a:lnTo>
                    <a:pt x="101" y="684"/>
                  </a:lnTo>
                  <a:lnTo>
                    <a:pt x="108" y="687"/>
                  </a:lnTo>
                  <a:lnTo>
                    <a:pt x="114" y="690"/>
                  </a:lnTo>
                  <a:lnTo>
                    <a:pt x="122" y="693"/>
                  </a:lnTo>
                  <a:lnTo>
                    <a:pt x="129" y="694"/>
                  </a:lnTo>
                  <a:lnTo>
                    <a:pt x="137" y="694"/>
                  </a:lnTo>
                  <a:lnTo>
                    <a:pt x="143" y="694"/>
                  </a:lnTo>
                  <a:lnTo>
                    <a:pt x="150" y="693"/>
                  </a:lnTo>
                  <a:lnTo>
                    <a:pt x="157" y="690"/>
                  </a:lnTo>
                  <a:lnTo>
                    <a:pt x="164" y="687"/>
                  </a:lnTo>
                  <a:lnTo>
                    <a:pt x="170" y="684"/>
                  </a:lnTo>
                  <a:lnTo>
                    <a:pt x="177" y="680"/>
                  </a:lnTo>
                  <a:lnTo>
                    <a:pt x="182" y="675"/>
                  </a:lnTo>
                  <a:lnTo>
                    <a:pt x="187" y="669"/>
                  </a:lnTo>
                  <a:lnTo>
                    <a:pt x="193" y="663"/>
                  </a:lnTo>
                  <a:lnTo>
                    <a:pt x="197" y="656"/>
                  </a:lnTo>
                  <a:lnTo>
                    <a:pt x="201" y="648"/>
                  </a:lnTo>
                  <a:lnTo>
                    <a:pt x="206" y="641"/>
                  </a:lnTo>
                  <a:lnTo>
                    <a:pt x="208" y="632"/>
                  </a:lnTo>
                  <a:lnTo>
                    <a:pt x="210" y="623"/>
                  </a:lnTo>
                  <a:lnTo>
                    <a:pt x="211" y="613"/>
                  </a:lnTo>
                  <a:lnTo>
                    <a:pt x="212" y="603"/>
                  </a:lnTo>
                  <a:lnTo>
                    <a:pt x="212" y="60"/>
                  </a:lnTo>
                  <a:lnTo>
                    <a:pt x="211" y="56"/>
                  </a:lnTo>
                  <a:lnTo>
                    <a:pt x="210" y="51"/>
                  </a:lnTo>
                  <a:lnTo>
                    <a:pt x="208" y="45"/>
                  </a:lnTo>
                  <a:lnTo>
                    <a:pt x="206" y="41"/>
                  </a:lnTo>
                  <a:lnTo>
                    <a:pt x="198" y="30"/>
                  </a:lnTo>
                  <a:lnTo>
                    <a:pt x="188" y="20"/>
                  </a:lnTo>
                  <a:lnTo>
                    <a:pt x="177" y="13"/>
                  </a:lnTo>
                  <a:lnTo>
                    <a:pt x="164" y="6"/>
                  </a:lnTo>
                  <a:lnTo>
                    <a:pt x="157" y="3"/>
                  </a:lnTo>
                  <a:lnTo>
                    <a:pt x="151" y="2"/>
                  </a:lnTo>
                  <a:lnTo>
                    <a:pt x="143" y="1"/>
                  </a:lnTo>
                  <a:lnTo>
                    <a:pt x="137" y="0"/>
                  </a:lnTo>
                  <a:lnTo>
                    <a:pt x="13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03" name="Group 302"/>
          <p:cNvGrpSpPr/>
          <p:nvPr/>
        </p:nvGrpSpPr>
        <p:grpSpPr>
          <a:xfrm>
            <a:off x="7769565" y="3304215"/>
            <a:ext cx="285750" cy="249238"/>
            <a:chOff x="3173413" y="1952625"/>
            <a:chExt cx="285750" cy="249238"/>
          </a:xfrm>
          <a:solidFill>
            <a:srgbClr val="E2583D"/>
          </a:solidFill>
        </p:grpSpPr>
        <p:sp>
          <p:nvSpPr>
            <p:cNvPr id="304" name="Freeform 83"/>
            <p:cNvSpPr>
              <a:spLocks noEditPoints="1"/>
            </p:cNvSpPr>
            <p:nvPr/>
          </p:nvSpPr>
          <p:spPr bwMode="auto">
            <a:xfrm>
              <a:off x="3173413" y="1952625"/>
              <a:ext cx="225425" cy="249238"/>
            </a:xfrm>
            <a:custGeom>
              <a:avLst/>
              <a:gdLst>
                <a:gd name="T0" fmla="*/ 37 w 713"/>
                <a:gd name="T1" fmla="*/ 654 h 786"/>
                <a:gd name="T2" fmla="*/ 60 w 713"/>
                <a:gd name="T3" fmla="*/ 578 h 786"/>
                <a:gd name="T4" fmla="*/ 188 w 713"/>
                <a:gd name="T5" fmla="*/ 520 h 786"/>
                <a:gd name="T6" fmla="*/ 295 w 713"/>
                <a:gd name="T7" fmla="*/ 482 h 786"/>
                <a:gd name="T8" fmla="*/ 299 w 713"/>
                <a:gd name="T9" fmla="*/ 372 h 786"/>
                <a:gd name="T10" fmla="*/ 265 w 713"/>
                <a:gd name="T11" fmla="*/ 342 h 786"/>
                <a:gd name="T12" fmla="*/ 241 w 713"/>
                <a:gd name="T13" fmla="*/ 287 h 786"/>
                <a:gd name="T14" fmla="*/ 235 w 713"/>
                <a:gd name="T15" fmla="*/ 248 h 786"/>
                <a:gd name="T16" fmla="*/ 220 w 713"/>
                <a:gd name="T17" fmla="*/ 237 h 786"/>
                <a:gd name="T18" fmla="*/ 221 w 713"/>
                <a:gd name="T19" fmla="*/ 202 h 786"/>
                <a:gd name="T20" fmla="*/ 235 w 713"/>
                <a:gd name="T21" fmla="*/ 193 h 786"/>
                <a:gd name="T22" fmla="*/ 235 w 713"/>
                <a:gd name="T23" fmla="*/ 164 h 786"/>
                <a:gd name="T24" fmla="*/ 225 w 713"/>
                <a:gd name="T25" fmla="*/ 96 h 786"/>
                <a:gd name="T26" fmla="*/ 246 w 713"/>
                <a:gd name="T27" fmla="*/ 83 h 786"/>
                <a:gd name="T28" fmla="*/ 275 w 713"/>
                <a:gd name="T29" fmla="*/ 79 h 786"/>
                <a:gd name="T30" fmla="*/ 289 w 713"/>
                <a:gd name="T31" fmla="*/ 56 h 786"/>
                <a:gd name="T32" fmla="*/ 345 w 713"/>
                <a:gd name="T33" fmla="*/ 34 h 786"/>
                <a:gd name="T34" fmla="*/ 459 w 713"/>
                <a:gd name="T35" fmla="*/ 42 h 786"/>
                <a:gd name="T36" fmla="*/ 490 w 713"/>
                <a:gd name="T37" fmla="*/ 64 h 786"/>
                <a:gd name="T38" fmla="*/ 493 w 713"/>
                <a:gd name="T39" fmla="*/ 123 h 786"/>
                <a:gd name="T40" fmla="*/ 476 w 713"/>
                <a:gd name="T41" fmla="*/ 189 h 786"/>
                <a:gd name="T42" fmla="*/ 489 w 713"/>
                <a:gd name="T43" fmla="*/ 198 h 786"/>
                <a:gd name="T44" fmla="*/ 493 w 713"/>
                <a:gd name="T45" fmla="*/ 238 h 786"/>
                <a:gd name="T46" fmla="*/ 479 w 713"/>
                <a:gd name="T47" fmla="*/ 248 h 786"/>
                <a:gd name="T48" fmla="*/ 473 w 713"/>
                <a:gd name="T49" fmla="*/ 287 h 786"/>
                <a:gd name="T50" fmla="*/ 453 w 713"/>
                <a:gd name="T51" fmla="*/ 342 h 786"/>
                <a:gd name="T52" fmla="*/ 424 w 713"/>
                <a:gd name="T53" fmla="*/ 372 h 786"/>
                <a:gd name="T54" fmla="*/ 427 w 713"/>
                <a:gd name="T55" fmla="*/ 482 h 786"/>
                <a:gd name="T56" fmla="*/ 531 w 713"/>
                <a:gd name="T57" fmla="*/ 520 h 786"/>
                <a:gd name="T58" fmla="*/ 654 w 713"/>
                <a:gd name="T59" fmla="*/ 578 h 786"/>
                <a:gd name="T60" fmla="*/ 677 w 713"/>
                <a:gd name="T61" fmla="*/ 654 h 786"/>
                <a:gd name="T62" fmla="*/ 30 w 713"/>
                <a:gd name="T63" fmla="*/ 756 h 786"/>
                <a:gd name="T64" fmla="*/ 452 w 713"/>
                <a:gd name="T65" fmla="*/ 387 h 786"/>
                <a:gd name="T66" fmla="*/ 490 w 713"/>
                <a:gd name="T67" fmla="*/ 335 h 786"/>
                <a:gd name="T68" fmla="*/ 504 w 713"/>
                <a:gd name="T69" fmla="*/ 271 h 786"/>
                <a:gd name="T70" fmla="*/ 524 w 713"/>
                <a:gd name="T71" fmla="*/ 238 h 786"/>
                <a:gd name="T72" fmla="*/ 522 w 713"/>
                <a:gd name="T73" fmla="*/ 193 h 786"/>
                <a:gd name="T74" fmla="*/ 523 w 713"/>
                <a:gd name="T75" fmla="*/ 127 h 786"/>
                <a:gd name="T76" fmla="*/ 516 w 713"/>
                <a:gd name="T77" fmla="*/ 49 h 786"/>
                <a:gd name="T78" fmla="*/ 471 w 713"/>
                <a:gd name="T79" fmla="*/ 14 h 786"/>
                <a:gd name="T80" fmla="*/ 385 w 713"/>
                <a:gd name="T81" fmla="*/ 0 h 786"/>
                <a:gd name="T82" fmla="*/ 290 w 713"/>
                <a:gd name="T83" fmla="*/ 19 h 786"/>
                <a:gd name="T84" fmla="*/ 252 w 713"/>
                <a:gd name="T85" fmla="*/ 53 h 786"/>
                <a:gd name="T86" fmla="*/ 211 w 713"/>
                <a:gd name="T87" fmla="*/ 64 h 786"/>
                <a:gd name="T88" fmla="*/ 195 w 713"/>
                <a:gd name="T89" fmla="*/ 95 h 786"/>
                <a:gd name="T90" fmla="*/ 206 w 713"/>
                <a:gd name="T91" fmla="*/ 173 h 786"/>
                <a:gd name="T92" fmla="*/ 192 w 713"/>
                <a:gd name="T93" fmla="*/ 192 h 786"/>
                <a:gd name="T94" fmla="*/ 189 w 713"/>
                <a:gd name="T95" fmla="*/ 237 h 786"/>
                <a:gd name="T96" fmla="*/ 209 w 713"/>
                <a:gd name="T97" fmla="*/ 271 h 786"/>
                <a:gd name="T98" fmla="*/ 226 w 713"/>
                <a:gd name="T99" fmla="*/ 336 h 786"/>
                <a:gd name="T100" fmla="*/ 271 w 713"/>
                <a:gd name="T101" fmla="*/ 388 h 786"/>
                <a:gd name="T102" fmla="*/ 173 w 713"/>
                <a:gd name="T103" fmla="*/ 495 h 786"/>
                <a:gd name="T104" fmla="*/ 51 w 713"/>
                <a:gd name="T105" fmla="*/ 549 h 786"/>
                <a:gd name="T106" fmla="*/ 16 w 713"/>
                <a:gd name="T107" fmla="*/ 596 h 786"/>
                <a:gd name="T108" fmla="*/ 1 w 713"/>
                <a:gd name="T109" fmla="*/ 725 h 786"/>
                <a:gd name="T110" fmla="*/ 3 w 713"/>
                <a:gd name="T111" fmla="*/ 780 h 786"/>
                <a:gd name="T112" fmla="*/ 698 w 713"/>
                <a:gd name="T113" fmla="*/ 786 h 786"/>
                <a:gd name="T114" fmla="*/ 712 w 713"/>
                <a:gd name="T115" fmla="*/ 777 h 786"/>
                <a:gd name="T116" fmla="*/ 711 w 713"/>
                <a:gd name="T117" fmla="*/ 697 h 786"/>
                <a:gd name="T118" fmla="*/ 695 w 713"/>
                <a:gd name="T119" fmla="*/ 586 h 786"/>
                <a:gd name="T120" fmla="*/ 655 w 713"/>
                <a:gd name="T121" fmla="*/ 542 h 786"/>
                <a:gd name="T122" fmla="*/ 512 w 713"/>
                <a:gd name="T123" fmla="*/ 482 h 7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13" h="786">
                  <a:moveTo>
                    <a:pt x="30" y="756"/>
                  </a:moveTo>
                  <a:lnTo>
                    <a:pt x="31" y="740"/>
                  </a:lnTo>
                  <a:lnTo>
                    <a:pt x="31" y="722"/>
                  </a:lnTo>
                  <a:lnTo>
                    <a:pt x="32" y="700"/>
                  </a:lnTo>
                  <a:lnTo>
                    <a:pt x="34" y="678"/>
                  </a:lnTo>
                  <a:lnTo>
                    <a:pt x="37" y="654"/>
                  </a:lnTo>
                  <a:lnTo>
                    <a:pt x="40" y="632"/>
                  </a:lnTo>
                  <a:lnTo>
                    <a:pt x="43" y="613"/>
                  </a:lnTo>
                  <a:lnTo>
                    <a:pt x="47" y="595"/>
                  </a:lnTo>
                  <a:lnTo>
                    <a:pt x="51" y="589"/>
                  </a:lnTo>
                  <a:lnTo>
                    <a:pt x="55" y="584"/>
                  </a:lnTo>
                  <a:lnTo>
                    <a:pt x="60" y="578"/>
                  </a:lnTo>
                  <a:lnTo>
                    <a:pt x="68" y="573"/>
                  </a:lnTo>
                  <a:lnTo>
                    <a:pt x="86" y="562"/>
                  </a:lnTo>
                  <a:lnTo>
                    <a:pt x="107" y="551"/>
                  </a:lnTo>
                  <a:lnTo>
                    <a:pt x="133" y="541"/>
                  </a:lnTo>
                  <a:lnTo>
                    <a:pt x="160" y="531"/>
                  </a:lnTo>
                  <a:lnTo>
                    <a:pt x="188" y="520"/>
                  </a:lnTo>
                  <a:lnTo>
                    <a:pt x="216" y="511"/>
                  </a:lnTo>
                  <a:lnTo>
                    <a:pt x="235" y="504"/>
                  </a:lnTo>
                  <a:lnTo>
                    <a:pt x="254" y="498"/>
                  </a:lnTo>
                  <a:lnTo>
                    <a:pt x="273" y="491"/>
                  </a:lnTo>
                  <a:lnTo>
                    <a:pt x="292" y="484"/>
                  </a:lnTo>
                  <a:lnTo>
                    <a:pt x="295" y="482"/>
                  </a:lnTo>
                  <a:lnTo>
                    <a:pt x="298" y="479"/>
                  </a:lnTo>
                  <a:lnTo>
                    <a:pt x="300" y="474"/>
                  </a:lnTo>
                  <a:lnTo>
                    <a:pt x="301" y="470"/>
                  </a:lnTo>
                  <a:lnTo>
                    <a:pt x="301" y="380"/>
                  </a:lnTo>
                  <a:lnTo>
                    <a:pt x="300" y="376"/>
                  </a:lnTo>
                  <a:lnTo>
                    <a:pt x="299" y="372"/>
                  </a:lnTo>
                  <a:lnTo>
                    <a:pt x="296" y="369"/>
                  </a:lnTo>
                  <a:lnTo>
                    <a:pt x="293" y="366"/>
                  </a:lnTo>
                  <a:lnTo>
                    <a:pt x="290" y="365"/>
                  </a:lnTo>
                  <a:lnTo>
                    <a:pt x="283" y="361"/>
                  </a:lnTo>
                  <a:lnTo>
                    <a:pt x="275" y="353"/>
                  </a:lnTo>
                  <a:lnTo>
                    <a:pt x="265" y="342"/>
                  </a:lnTo>
                  <a:lnTo>
                    <a:pt x="261" y="335"/>
                  </a:lnTo>
                  <a:lnTo>
                    <a:pt x="255" y="327"/>
                  </a:lnTo>
                  <a:lnTo>
                    <a:pt x="251" y="319"/>
                  </a:lnTo>
                  <a:lnTo>
                    <a:pt x="247" y="309"/>
                  </a:lnTo>
                  <a:lnTo>
                    <a:pt x="244" y="298"/>
                  </a:lnTo>
                  <a:lnTo>
                    <a:pt x="241" y="287"/>
                  </a:lnTo>
                  <a:lnTo>
                    <a:pt x="239" y="273"/>
                  </a:lnTo>
                  <a:lnTo>
                    <a:pt x="239" y="259"/>
                  </a:lnTo>
                  <a:lnTo>
                    <a:pt x="239" y="256"/>
                  </a:lnTo>
                  <a:lnTo>
                    <a:pt x="238" y="253"/>
                  </a:lnTo>
                  <a:lnTo>
                    <a:pt x="236" y="250"/>
                  </a:lnTo>
                  <a:lnTo>
                    <a:pt x="235" y="248"/>
                  </a:lnTo>
                  <a:lnTo>
                    <a:pt x="233" y="246"/>
                  </a:lnTo>
                  <a:lnTo>
                    <a:pt x="230" y="245"/>
                  </a:lnTo>
                  <a:lnTo>
                    <a:pt x="227" y="244"/>
                  </a:lnTo>
                  <a:lnTo>
                    <a:pt x="224" y="244"/>
                  </a:lnTo>
                  <a:lnTo>
                    <a:pt x="222" y="243"/>
                  </a:lnTo>
                  <a:lnTo>
                    <a:pt x="220" y="237"/>
                  </a:lnTo>
                  <a:lnTo>
                    <a:pt x="218" y="231"/>
                  </a:lnTo>
                  <a:lnTo>
                    <a:pt x="217" y="221"/>
                  </a:lnTo>
                  <a:lnTo>
                    <a:pt x="217" y="216"/>
                  </a:lnTo>
                  <a:lnTo>
                    <a:pt x="218" y="210"/>
                  </a:lnTo>
                  <a:lnTo>
                    <a:pt x="219" y="206"/>
                  </a:lnTo>
                  <a:lnTo>
                    <a:pt x="221" y="202"/>
                  </a:lnTo>
                  <a:lnTo>
                    <a:pt x="222" y="200"/>
                  </a:lnTo>
                  <a:lnTo>
                    <a:pt x="224" y="198"/>
                  </a:lnTo>
                  <a:lnTo>
                    <a:pt x="227" y="198"/>
                  </a:lnTo>
                  <a:lnTo>
                    <a:pt x="230" y="197"/>
                  </a:lnTo>
                  <a:lnTo>
                    <a:pt x="233" y="195"/>
                  </a:lnTo>
                  <a:lnTo>
                    <a:pt x="235" y="193"/>
                  </a:lnTo>
                  <a:lnTo>
                    <a:pt x="236" y="191"/>
                  </a:lnTo>
                  <a:lnTo>
                    <a:pt x="238" y="189"/>
                  </a:lnTo>
                  <a:lnTo>
                    <a:pt x="239" y="186"/>
                  </a:lnTo>
                  <a:lnTo>
                    <a:pt x="239" y="183"/>
                  </a:lnTo>
                  <a:lnTo>
                    <a:pt x="238" y="176"/>
                  </a:lnTo>
                  <a:lnTo>
                    <a:pt x="235" y="164"/>
                  </a:lnTo>
                  <a:lnTo>
                    <a:pt x="231" y="147"/>
                  </a:lnTo>
                  <a:lnTo>
                    <a:pt x="225" y="126"/>
                  </a:lnTo>
                  <a:lnTo>
                    <a:pt x="224" y="114"/>
                  </a:lnTo>
                  <a:lnTo>
                    <a:pt x="224" y="104"/>
                  </a:lnTo>
                  <a:lnTo>
                    <a:pt x="224" y="100"/>
                  </a:lnTo>
                  <a:lnTo>
                    <a:pt x="225" y="96"/>
                  </a:lnTo>
                  <a:lnTo>
                    <a:pt x="227" y="91"/>
                  </a:lnTo>
                  <a:lnTo>
                    <a:pt x="229" y="88"/>
                  </a:lnTo>
                  <a:lnTo>
                    <a:pt x="231" y="87"/>
                  </a:lnTo>
                  <a:lnTo>
                    <a:pt x="233" y="85"/>
                  </a:lnTo>
                  <a:lnTo>
                    <a:pt x="238" y="83"/>
                  </a:lnTo>
                  <a:lnTo>
                    <a:pt x="246" y="83"/>
                  </a:lnTo>
                  <a:lnTo>
                    <a:pt x="252" y="83"/>
                  </a:lnTo>
                  <a:lnTo>
                    <a:pt x="259" y="84"/>
                  </a:lnTo>
                  <a:lnTo>
                    <a:pt x="265" y="84"/>
                  </a:lnTo>
                  <a:lnTo>
                    <a:pt x="270" y="82"/>
                  </a:lnTo>
                  <a:lnTo>
                    <a:pt x="273" y="81"/>
                  </a:lnTo>
                  <a:lnTo>
                    <a:pt x="275" y="79"/>
                  </a:lnTo>
                  <a:lnTo>
                    <a:pt x="276" y="75"/>
                  </a:lnTo>
                  <a:lnTo>
                    <a:pt x="277" y="73"/>
                  </a:lnTo>
                  <a:lnTo>
                    <a:pt x="278" y="68"/>
                  </a:lnTo>
                  <a:lnTo>
                    <a:pt x="281" y="64"/>
                  </a:lnTo>
                  <a:lnTo>
                    <a:pt x="284" y="59"/>
                  </a:lnTo>
                  <a:lnTo>
                    <a:pt x="289" y="56"/>
                  </a:lnTo>
                  <a:lnTo>
                    <a:pt x="293" y="52"/>
                  </a:lnTo>
                  <a:lnTo>
                    <a:pt x="298" y="49"/>
                  </a:lnTo>
                  <a:lnTo>
                    <a:pt x="305" y="45"/>
                  </a:lnTo>
                  <a:lnTo>
                    <a:pt x="312" y="42"/>
                  </a:lnTo>
                  <a:lnTo>
                    <a:pt x="327" y="37"/>
                  </a:lnTo>
                  <a:lnTo>
                    <a:pt x="345" y="34"/>
                  </a:lnTo>
                  <a:lnTo>
                    <a:pt x="365" y="30"/>
                  </a:lnTo>
                  <a:lnTo>
                    <a:pt x="385" y="30"/>
                  </a:lnTo>
                  <a:lnTo>
                    <a:pt x="407" y="30"/>
                  </a:lnTo>
                  <a:lnTo>
                    <a:pt x="426" y="34"/>
                  </a:lnTo>
                  <a:lnTo>
                    <a:pt x="443" y="37"/>
                  </a:lnTo>
                  <a:lnTo>
                    <a:pt x="459" y="42"/>
                  </a:lnTo>
                  <a:lnTo>
                    <a:pt x="466" y="45"/>
                  </a:lnTo>
                  <a:lnTo>
                    <a:pt x="472" y="49"/>
                  </a:lnTo>
                  <a:lnTo>
                    <a:pt x="477" y="52"/>
                  </a:lnTo>
                  <a:lnTo>
                    <a:pt x="483" y="56"/>
                  </a:lnTo>
                  <a:lnTo>
                    <a:pt x="487" y="59"/>
                  </a:lnTo>
                  <a:lnTo>
                    <a:pt x="490" y="64"/>
                  </a:lnTo>
                  <a:lnTo>
                    <a:pt x="492" y="68"/>
                  </a:lnTo>
                  <a:lnTo>
                    <a:pt x="494" y="73"/>
                  </a:lnTo>
                  <a:lnTo>
                    <a:pt x="496" y="85"/>
                  </a:lnTo>
                  <a:lnTo>
                    <a:pt x="497" y="98"/>
                  </a:lnTo>
                  <a:lnTo>
                    <a:pt x="496" y="111"/>
                  </a:lnTo>
                  <a:lnTo>
                    <a:pt x="493" y="123"/>
                  </a:lnTo>
                  <a:lnTo>
                    <a:pt x="487" y="145"/>
                  </a:lnTo>
                  <a:lnTo>
                    <a:pt x="481" y="163"/>
                  </a:lnTo>
                  <a:lnTo>
                    <a:pt x="476" y="175"/>
                  </a:lnTo>
                  <a:lnTo>
                    <a:pt x="474" y="183"/>
                  </a:lnTo>
                  <a:lnTo>
                    <a:pt x="475" y="186"/>
                  </a:lnTo>
                  <a:lnTo>
                    <a:pt x="476" y="189"/>
                  </a:lnTo>
                  <a:lnTo>
                    <a:pt x="477" y="191"/>
                  </a:lnTo>
                  <a:lnTo>
                    <a:pt x="479" y="193"/>
                  </a:lnTo>
                  <a:lnTo>
                    <a:pt x="482" y="195"/>
                  </a:lnTo>
                  <a:lnTo>
                    <a:pt x="484" y="197"/>
                  </a:lnTo>
                  <a:lnTo>
                    <a:pt x="487" y="198"/>
                  </a:lnTo>
                  <a:lnTo>
                    <a:pt x="489" y="198"/>
                  </a:lnTo>
                  <a:lnTo>
                    <a:pt x="491" y="200"/>
                  </a:lnTo>
                  <a:lnTo>
                    <a:pt x="493" y="204"/>
                  </a:lnTo>
                  <a:lnTo>
                    <a:pt x="496" y="210"/>
                  </a:lnTo>
                  <a:lnTo>
                    <a:pt x="497" y="221"/>
                  </a:lnTo>
                  <a:lnTo>
                    <a:pt x="496" y="231"/>
                  </a:lnTo>
                  <a:lnTo>
                    <a:pt x="493" y="238"/>
                  </a:lnTo>
                  <a:lnTo>
                    <a:pt x="491" y="243"/>
                  </a:lnTo>
                  <a:lnTo>
                    <a:pt x="489" y="244"/>
                  </a:lnTo>
                  <a:lnTo>
                    <a:pt x="487" y="244"/>
                  </a:lnTo>
                  <a:lnTo>
                    <a:pt x="484" y="245"/>
                  </a:lnTo>
                  <a:lnTo>
                    <a:pt x="482" y="246"/>
                  </a:lnTo>
                  <a:lnTo>
                    <a:pt x="479" y="248"/>
                  </a:lnTo>
                  <a:lnTo>
                    <a:pt x="477" y="250"/>
                  </a:lnTo>
                  <a:lnTo>
                    <a:pt x="476" y="253"/>
                  </a:lnTo>
                  <a:lnTo>
                    <a:pt x="475" y="256"/>
                  </a:lnTo>
                  <a:lnTo>
                    <a:pt x="474" y="259"/>
                  </a:lnTo>
                  <a:lnTo>
                    <a:pt x="474" y="273"/>
                  </a:lnTo>
                  <a:lnTo>
                    <a:pt x="473" y="287"/>
                  </a:lnTo>
                  <a:lnTo>
                    <a:pt x="471" y="298"/>
                  </a:lnTo>
                  <a:lnTo>
                    <a:pt x="468" y="309"/>
                  </a:lnTo>
                  <a:lnTo>
                    <a:pt x="464" y="319"/>
                  </a:lnTo>
                  <a:lnTo>
                    <a:pt x="460" y="327"/>
                  </a:lnTo>
                  <a:lnTo>
                    <a:pt x="457" y="336"/>
                  </a:lnTo>
                  <a:lnTo>
                    <a:pt x="453" y="342"/>
                  </a:lnTo>
                  <a:lnTo>
                    <a:pt x="444" y="353"/>
                  </a:lnTo>
                  <a:lnTo>
                    <a:pt x="437" y="361"/>
                  </a:lnTo>
                  <a:lnTo>
                    <a:pt x="431" y="365"/>
                  </a:lnTo>
                  <a:lnTo>
                    <a:pt x="429" y="367"/>
                  </a:lnTo>
                  <a:lnTo>
                    <a:pt x="426" y="369"/>
                  </a:lnTo>
                  <a:lnTo>
                    <a:pt x="424" y="372"/>
                  </a:lnTo>
                  <a:lnTo>
                    <a:pt x="423" y="376"/>
                  </a:lnTo>
                  <a:lnTo>
                    <a:pt x="422" y="380"/>
                  </a:lnTo>
                  <a:lnTo>
                    <a:pt x="422" y="470"/>
                  </a:lnTo>
                  <a:lnTo>
                    <a:pt x="423" y="474"/>
                  </a:lnTo>
                  <a:lnTo>
                    <a:pt x="425" y="479"/>
                  </a:lnTo>
                  <a:lnTo>
                    <a:pt x="427" y="482"/>
                  </a:lnTo>
                  <a:lnTo>
                    <a:pt x="431" y="484"/>
                  </a:lnTo>
                  <a:lnTo>
                    <a:pt x="449" y="490"/>
                  </a:lnTo>
                  <a:lnTo>
                    <a:pt x="467" y="497"/>
                  </a:lnTo>
                  <a:lnTo>
                    <a:pt x="485" y="503"/>
                  </a:lnTo>
                  <a:lnTo>
                    <a:pt x="502" y="510"/>
                  </a:lnTo>
                  <a:lnTo>
                    <a:pt x="531" y="520"/>
                  </a:lnTo>
                  <a:lnTo>
                    <a:pt x="559" y="530"/>
                  </a:lnTo>
                  <a:lnTo>
                    <a:pt x="586" y="541"/>
                  </a:lnTo>
                  <a:lnTo>
                    <a:pt x="609" y="551"/>
                  </a:lnTo>
                  <a:lnTo>
                    <a:pt x="631" y="562"/>
                  </a:lnTo>
                  <a:lnTo>
                    <a:pt x="647" y="573"/>
                  </a:lnTo>
                  <a:lnTo>
                    <a:pt x="654" y="578"/>
                  </a:lnTo>
                  <a:lnTo>
                    <a:pt x="660" y="584"/>
                  </a:lnTo>
                  <a:lnTo>
                    <a:pt x="663" y="589"/>
                  </a:lnTo>
                  <a:lnTo>
                    <a:pt x="666" y="595"/>
                  </a:lnTo>
                  <a:lnTo>
                    <a:pt x="670" y="613"/>
                  </a:lnTo>
                  <a:lnTo>
                    <a:pt x="675" y="632"/>
                  </a:lnTo>
                  <a:lnTo>
                    <a:pt x="677" y="654"/>
                  </a:lnTo>
                  <a:lnTo>
                    <a:pt x="679" y="678"/>
                  </a:lnTo>
                  <a:lnTo>
                    <a:pt x="681" y="700"/>
                  </a:lnTo>
                  <a:lnTo>
                    <a:pt x="682" y="722"/>
                  </a:lnTo>
                  <a:lnTo>
                    <a:pt x="682" y="740"/>
                  </a:lnTo>
                  <a:lnTo>
                    <a:pt x="683" y="756"/>
                  </a:lnTo>
                  <a:lnTo>
                    <a:pt x="30" y="756"/>
                  </a:lnTo>
                  <a:close/>
                  <a:moveTo>
                    <a:pt x="512" y="482"/>
                  </a:moveTo>
                  <a:lnTo>
                    <a:pt x="497" y="476"/>
                  </a:lnTo>
                  <a:lnTo>
                    <a:pt x="482" y="471"/>
                  </a:lnTo>
                  <a:lnTo>
                    <a:pt x="467" y="466"/>
                  </a:lnTo>
                  <a:lnTo>
                    <a:pt x="452" y="459"/>
                  </a:lnTo>
                  <a:lnTo>
                    <a:pt x="452" y="387"/>
                  </a:lnTo>
                  <a:lnTo>
                    <a:pt x="458" y="382"/>
                  </a:lnTo>
                  <a:lnTo>
                    <a:pt x="466" y="373"/>
                  </a:lnTo>
                  <a:lnTo>
                    <a:pt x="474" y="364"/>
                  </a:lnTo>
                  <a:lnTo>
                    <a:pt x="483" y="351"/>
                  </a:lnTo>
                  <a:lnTo>
                    <a:pt x="487" y="343"/>
                  </a:lnTo>
                  <a:lnTo>
                    <a:pt x="490" y="335"/>
                  </a:lnTo>
                  <a:lnTo>
                    <a:pt x="493" y="326"/>
                  </a:lnTo>
                  <a:lnTo>
                    <a:pt x="497" y="317"/>
                  </a:lnTo>
                  <a:lnTo>
                    <a:pt x="500" y="306"/>
                  </a:lnTo>
                  <a:lnTo>
                    <a:pt x="502" y="295"/>
                  </a:lnTo>
                  <a:lnTo>
                    <a:pt x="503" y="283"/>
                  </a:lnTo>
                  <a:lnTo>
                    <a:pt x="504" y="271"/>
                  </a:lnTo>
                  <a:lnTo>
                    <a:pt x="508" y="267"/>
                  </a:lnTo>
                  <a:lnTo>
                    <a:pt x="513" y="264"/>
                  </a:lnTo>
                  <a:lnTo>
                    <a:pt x="517" y="259"/>
                  </a:lnTo>
                  <a:lnTo>
                    <a:pt x="519" y="254"/>
                  </a:lnTo>
                  <a:lnTo>
                    <a:pt x="522" y="247"/>
                  </a:lnTo>
                  <a:lnTo>
                    <a:pt x="524" y="238"/>
                  </a:lnTo>
                  <a:lnTo>
                    <a:pt x="527" y="230"/>
                  </a:lnTo>
                  <a:lnTo>
                    <a:pt x="527" y="221"/>
                  </a:lnTo>
                  <a:lnTo>
                    <a:pt x="527" y="213"/>
                  </a:lnTo>
                  <a:lnTo>
                    <a:pt x="526" y="206"/>
                  </a:lnTo>
                  <a:lnTo>
                    <a:pt x="524" y="199"/>
                  </a:lnTo>
                  <a:lnTo>
                    <a:pt x="522" y="193"/>
                  </a:lnTo>
                  <a:lnTo>
                    <a:pt x="519" y="187"/>
                  </a:lnTo>
                  <a:lnTo>
                    <a:pt x="516" y="183"/>
                  </a:lnTo>
                  <a:lnTo>
                    <a:pt x="513" y="177"/>
                  </a:lnTo>
                  <a:lnTo>
                    <a:pt x="508" y="174"/>
                  </a:lnTo>
                  <a:lnTo>
                    <a:pt x="516" y="154"/>
                  </a:lnTo>
                  <a:lnTo>
                    <a:pt x="523" y="127"/>
                  </a:lnTo>
                  <a:lnTo>
                    <a:pt x="526" y="113"/>
                  </a:lnTo>
                  <a:lnTo>
                    <a:pt x="527" y="97"/>
                  </a:lnTo>
                  <a:lnTo>
                    <a:pt x="526" y="82"/>
                  </a:lnTo>
                  <a:lnTo>
                    <a:pt x="523" y="66"/>
                  </a:lnTo>
                  <a:lnTo>
                    <a:pt x="520" y="57"/>
                  </a:lnTo>
                  <a:lnTo>
                    <a:pt x="516" y="49"/>
                  </a:lnTo>
                  <a:lnTo>
                    <a:pt x="511" y="41"/>
                  </a:lnTo>
                  <a:lnTo>
                    <a:pt x="504" y="35"/>
                  </a:lnTo>
                  <a:lnTo>
                    <a:pt x="497" y="29"/>
                  </a:lnTo>
                  <a:lnTo>
                    <a:pt x="489" y="24"/>
                  </a:lnTo>
                  <a:lnTo>
                    <a:pt x="481" y="19"/>
                  </a:lnTo>
                  <a:lnTo>
                    <a:pt x="471" y="14"/>
                  </a:lnTo>
                  <a:lnTo>
                    <a:pt x="461" y="11"/>
                  </a:lnTo>
                  <a:lnTo>
                    <a:pt x="450" y="8"/>
                  </a:lnTo>
                  <a:lnTo>
                    <a:pt x="440" y="6"/>
                  </a:lnTo>
                  <a:lnTo>
                    <a:pt x="429" y="4"/>
                  </a:lnTo>
                  <a:lnTo>
                    <a:pt x="407" y="0"/>
                  </a:lnTo>
                  <a:lnTo>
                    <a:pt x="385" y="0"/>
                  </a:lnTo>
                  <a:lnTo>
                    <a:pt x="366" y="0"/>
                  </a:lnTo>
                  <a:lnTo>
                    <a:pt x="345" y="3"/>
                  </a:lnTo>
                  <a:lnTo>
                    <a:pt x="326" y="7"/>
                  </a:lnTo>
                  <a:lnTo>
                    <a:pt x="308" y="12"/>
                  </a:lnTo>
                  <a:lnTo>
                    <a:pt x="298" y="15"/>
                  </a:lnTo>
                  <a:lnTo>
                    <a:pt x="290" y="19"/>
                  </a:lnTo>
                  <a:lnTo>
                    <a:pt x="282" y="23"/>
                  </a:lnTo>
                  <a:lnTo>
                    <a:pt x="275" y="28"/>
                  </a:lnTo>
                  <a:lnTo>
                    <a:pt x="268" y="34"/>
                  </a:lnTo>
                  <a:lnTo>
                    <a:pt x="262" y="39"/>
                  </a:lnTo>
                  <a:lnTo>
                    <a:pt x="256" y="45"/>
                  </a:lnTo>
                  <a:lnTo>
                    <a:pt x="252" y="53"/>
                  </a:lnTo>
                  <a:lnTo>
                    <a:pt x="244" y="53"/>
                  </a:lnTo>
                  <a:lnTo>
                    <a:pt x="235" y="53"/>
                  </a:lnTo>
                  <a:lnTo>
                    <a:pt x="227" y="55"/>
                  </a:lnTo>
                  <a:lnTo>
                    <a:pt x="221" y="57"/>
                  </a:lnTo>
                  <a:lnTo>
                    <a:pt x="216" y="60"/>
                  </a:lnTo>
                  <a:lnTo>
                    <a:pt x="211" y="64"/>
                  </a:lnTo>
                  <a:lnTo>
                    <a:pt x="208" y="67"/>
                  </a:lnTo>
                  <a:lnTo>
                    <a:pt x="205" y="70"/>
                  </a:lnTo>
                  <a:lnTo>
                    <a:pt x="202" y="75"/>
                  </a:lnTo>
                  <a:lnTo>
                    <a:pt x="199" y="82"/>
                  </a:lnTo>
                  <a:lnTo>
                    <a:pt x="196" y="87"/>
                  </a:lnTo>
                  <a:lnTo>
                    <a:pt x="195" y="95"/>
                  </a:lnTo>
                  <a:lnTo>
                    <a:pt x="194" y="108"/>
                  </a:lnTo>
                  <a:lnTo>
                    <a:pt x="195" y="122"/>
                  </a:lnTo>
                  <a:lnTo>
                    <a:pt x="197" y="137"/>
                  </a:lnTo>
                  <a:lnTo>
                    <a:pt x="200" y="149"/>
                  </a:lnTo>
                  <a:lnTo>
                    <a:pt x="203" y="162"/>
                  </a:lnTo>
                  <a:lnTo>
                    <a:pt x="206" y="173"/>
                  </a:lnTo>
                  <a:lnTo>
                    <a:pt x="206" y="173"/>
                  </a:lnTo>
                  <a:lnTo>
                    <a:pt x="206" y="174"/>
                  </a:lnTo>
                  <a:lnTo>
                    <a:pt x="202" y="177"/>
                  </a:lnTo>
                  <a:lnTo>
                    <a:pt x="199" y="182"/>
                  </a:lnTo>
                  <a:lnTo>
                    <a:pt x="195" y="187"/>
                  </a:lnTo>
                  <a:lnTo>
                    <a:pt x="192" y="192"/>
                  </a:lnTo>
                  <a:lnTo>
                    <a:pt x="190" y="199"/>
                  </a:lnTo>
                  <a:lnTo>
                    <a:pt x="188" y="205"/>
                  </a:lnTo>
                  <a:lnTo>
                    <a:pt x="187" y="213"/>
                  </a:lnTo>
                  <a:lnTo>
                    <a:pt x="187" y="221"/>
                  </a:lnTo>
                  <a:lnTo>
                    <a:pt x="187" y="230"/>
                  </a:lnTo>
                  <a:lnTo>
                    <a:pt x="189" y="237"/>
                  </a:lnTo>
                  <a:lnTo>
                    <a:pt x="190" y="245"/>
                  </a:lnTo>
                  <a:lnTo>
                    <a:pt x="193" y="251"/>
                  </a:lnTo>
                  <a:lnTo>
                    <a:pt x="196" y="258"/>
                  </a:lnTo>
                  <a:lnTo>
                    <a:pt x="200" y="263"/>
                  </a:lnTo>
                  <a:lnTo>
                    <a:pt x="205" y="267"/>
                  </a:lnTo>
                  <a:lnTo>
                    <a:pt x="209" y="271"/>
                  </a:lnTo>
                  <a:lnTo>
                    <a:pt x="210" y="283"/>
                  </a:lnTo>
                  <a:lnTo>
                    <a:pt x="212" y="295"/>
                  </a:lnTo>
                  <a:lnTo>
                    <a:pt x="215" y="307"/>
                  </a:lnTo>
                  <a:lnTo>
                    <a:pt x="218" y="317"/>
                  </a:lnTo>
                  <a:lnTo>
                    <a:pt x="222" y="326"/>
                  </a:lnTo>
                  <a:lnTo>
                    <a:pt x="226" y="336"/>
                  </a:lnTo>
                  <a:lnTo>
                    <a:pt x="231" y="343"/>
                  </a:lnTo>
                  <a:lnTo>
                    <a:pt x="235" y="351"/>
                  </a:lnTo>
                  <a:lnTo>
                    <a:pt x="245" y="365"/>
                  </a:lnTo>
                  <a:lnTo>
                    <a:pt x="254" y="375"/>
                  </a:lnTo>
                  <a:lnTo>
                    <a:pt x="264" y="383"/>
                  </a:lnTo>
                  <a:lnTo>
                    <a:pt x="271" y="388"/>
                  </a:lnTo>
                  <a:lnTo>
                    <a:pt x="271" y="459"/>
                  </a:lnTo>
                  <a:lnTo>
                    <a:pt x="255" y="466"/>
                  </a:lnTo>
                  <a:lnTo>
                    <a:pt x="239" y="471"/>
                  </a:lnTo>
                  <a:lnTo>
                    <a:pt x="222" y="477"/>
                  </a:lnTo>
                  <a:lnTo>
                    <a:pt x="206" y="483"/>
                  </a:lnTo>
                  <a:lnTo>
                    <a:pt x="173" y="495"/>
                  </a:lnTo>
                  <a:lnTo>
                    <a:pt x="140" y="506"/>
                  </a:lnTo>
                  <a:lnTo>
                    <a:pt x="111" y="518"/>
                  </a:lnTo>
                  <a:lnTo>
                    <a:pt x="84" y="530"/>
                  </a:lnTo>
                  <a:lnTo>
                    <a:pt x="71" y="536"/>
                  </a:lnTo>
                  <a:lnTo>
                    <a:pt x="60" y="542"/>
                  </a:lnTo>
                  <a:lnTo>
                    <a:pt x="51" y="549"/>
                  </a:lnTo>
                  <a:lnTo>
                    <a:pt x="42" y="556"/>
                  </a:lnTo>
                  <a:lnTo>
                    <a:pt x="33" y="562"/>
                  </a:lnTo>
                  <a:lnTo>
                    <a:pt x="28" y="570"/>
                  </a:lnTo>
                  <a:lnTo>
                    <a:pt x="23" y="577"/>
                  </a:lnTo>
                  <a:lnTo>
                    <a:pt x="19" y="586"/>
                  </a:lnTo>
                  <a:lnTo>
                    <a:pt x="16" y="596"/>
                  </a:lnTo>
                  <a:lnTo>
                    <a:pt x="13" y="609"/>
                  </a:lnTo>
                  <a:lnTo>
                    <a:pt x="11" y="623"/>
                  </a:lnTo>
                  <a:lnTo>
                    <a:pt x="9" y="637"/>
                  </a:lnTo>
                  <a:lnTo>
                    <a:pt x="6" y="667"/>
                  </a:lnTo>
                  <a:lnTo>
                    <a:pt x="3" y="697"/>
                  </a:lnTo>
                  <a:lnTo>
                    <a:pt x="1" y="725"/>
                  </a:lnTo>
                  <a:lnTo>
                    <a:pt x="1" y="748"/>
                  </a:lnTo>
                  <a:lnTo>
                    <a:pt x="0" y="764"/>
                  </a:lnTo>
                  <a:lnTo>
                    <a:pt x="0" y="771"/>
                  </a:lnTo>
                  <a:lnTo>
                    <a:pt x="1" y="774"/>
                  </a:lnTo>
                  <a:lnTo>
                    <a:pt x="1" y="777"/>
                  </a:lnTo>
                  <a:lnTo>
                    <a:pt x="3" y="780"/>
                  </a:lnTo>
                  <a:lnTo>
                    <a:pt x="4" y="782"/>
                  </a:lnTo>
                  <a:lnTo>
                    <a:pt x="7" y="783"/>
                  </a:lnTo>
                  <a:lnTo>
                    <a:pt x="10" y="785"/>
                  </a:lnTo>
                  <a:lnTo>
                    <a:pt x="12" y="785"/>
                  </a:lnTo>
                  <a:lnTo>
                    <a:pt x="15" y="786"/>
                  </a:lnTo>
                  <a:lnTo>
                    <a:pt x="698" y="786"/>
                  </a:lnTo>
                  <a:lnTo>
                    <a:pt x="701" y="785"/>
                  </a:lnTo>
                  <a:lnTo>
                    <a:pt x="704" y="785"/>
                  </a:lnTo>
                  <a:lnTo>
                    <a:pt x="707" y="783"/>
                  </a:lnTo>
                  <a:lnTo>
                    <a:pt x="709" y="782"/>
                  </a:lnTo>
                  <a:lnTo>
                    <a:pt x="711" y="780"/>
                  </a:lnTo>
                  <a:lnTo>
                    <a:pt x="712" y="777"/>
                  </a:lnTo>
                  <a:lnTo>
                    <a:pt x="713" y="774"/>
                  </a:lnTo>
                  <a:lnTo>
                    <a:pt x="713" y="771"/>
                  </a:lnTo>
                  <a:lnTo>
                    <a:pt x="713" y="764"/>
                  </a:lnTo>
                  <a:lnTo>
                    <a:pt x="713" y="748"/>
                  </a:lnTo>
                  <a:lnTo>
                    <a:pt x="712" y="725"/>
                  </a:lnTo>
                  <a:lnTo>
                    <a:pt x="711" y="697"/>
                  </a:lnTo>
                  <a:lnTo>
                    <a:pt x="709" y="667"/>
                  </a:lnTo>
                  <a:lnTo>
                    <a:pt x="706" y="637"/>
                  </a:lnTo>
                  <a:lnTo>
                    <a:pt x="704" y="623"/>
                  </a:lnTo>
                  <a:lnTo>
                    <a:pt x="700" y="609"/>
                  </a:lnTo>
                  <a:lnTo>
                    <a:pt x="698" y="596"/>
                  </a:lnTo>
                  <a:lnTo>
                    <a:pt x="695" y="586"/>
                  </a:lnTo>
                  <a:lnTo>
                    <a:pt x="691" y="577"/>
                  </a:lnTo>
                  <a:lnTo>
                    <a:pt x="686" y="570"/>
                  </a:lnTo>
                  <a:lnTo>
                    <a:pt x="680" y="562"/>
                  </a:lnTo>
                  <a:lnTo>
                    <a:pt x="672" y="555"/>
                  </a:lnTo>
                  <a:lnTo>
                    <a:pt x="665" y="548"/>
                  </a:lnTo>
                  <a:lnTo>
                    <a:pt x="655" y="542"/>
                  </a:lnTo>
                  <a:lnTo>
                    <a:pt x="645" y="535"/>
                  </a:lnTo>
                  <a:lnTo>
                    <a:pt x="633" y="529"/>
                  </a:lnTo>
                  <a:lnTo>
                    <a:pt x="607" y="517"/>
                  </a:lnTo>
                  <a:lnTo>
                    <a:pt x="578" y="505"/>
                  </a:lnTo>
                  <a:lnTo>
                    <a:pt x="546" y="494"/>
                  </a:lnTo>
                  <a:lnTo>
                    <a:pt x="512" y="4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5" name="Freeform 84"/>
            <p:cNvSpPr>
              <a:spLocks/>
            </p:cNvSpPr>
            <p:nvPr/>
          </p:nvSpPr>
          <p:spPr bwMode="auto">
            <a:xfrm>
              <a:off x="3348038" y="1954213"/>
              <a:ext cx="111125" cy="247650"/>
            </a:xfrm>
            <a:custGeom>
              <a:avLst/>
              <a:gdLst>
                <a:gd name="T0" fmla="*/ 315 w 353"/>
                <a:gd name="T1" fmla="*/ 553 h 782"/>
                <a:gd name="T2" fmla="*/ 265 w 353"/>
                <a:gd name="T3" fmla="*/ 517 h 782"/>
                <a:gd name="T4" fmla="*/ 129 w 353"/>
                <a:gd name="T5" fmla="*/ 458 h 782"/>
                <a:gd name="T6" fmla="*/ 90 w 353"/>
                <a:gd name="T7" fmla="*/ 394 h 782"/>
                <a:gd name="T8" fmla="*/ 124 w 353"/>
                <a:gd name="T9" fmla="*/ 358 h 782"/>
                <a:gd name="T10" fmla="*/ 139 w 353"/>
                <a:gd name="T11" fmla="*/ 321 h 782"/>
                <a:gd name="T12" fmla="*/ 148 w 353"/>
                <a:gd name="T13" fmla="*/ 283 h 782"/>
                <a:gd name="T14" fmla="*/ 162 w 353"/>
                <a:gd name="T15" fmla="*/ 261 h 782"/>
                <a:gd name="T16" fmla="*/ 166 w 353"/>
                <a:gd name="T17" fmla="*/ 228 h 782"/>
                <a:gd name="T18" fmla="*/ 159 w 353"/>
                <a:gd name="T19" fmla="*/ 202 h 782"/>
                <a:gd name="T20" fmla="*/ 148 w 353"/>
                <a:gd name="T21" fmla="*/ 188 h 782"/>
                <a:gd name="T22" fmla="*/ 165 w 353"/>
                <a:gd name="T23" fmla="*/ 122 h 782"/>
                <a:gd name="T24" fmla="*/ 159 w 353"/>
                <a:gd name="T25" fmla="*/ 64 h 782"/>
                <a:gd name="T26" fmla="*/ 129 w 353"/>
                <a:gd name="T27" fmla="*/ 26 h 782"/>
                <a:gd name="T28" fmla="*/ 83 w 353"/>
                <a:gd name="T29" fmla="*/ 3 h 782"/>
                <a:gd name="T30" fmla="*/ 38 w 353"/>
                <a:gd name="T31" fmla="*/ 2 h 782"/>
                <a:gd name="T32" fmla="*/ 5 w 353"/>
                <a:gd name="T33" fmla="*/ 17 h 782"/>
                <a:gd name="T34" fmla="*/ 0 w 353"/>
                <a:gd name="T35" fmla="*/ 27 h 782"/>
                <a:gd name="T36" fmla="*/ 5 w 353"/>
                <a:gd name="T37" fmla="*/ 38 h 782"/>
                <a:gd name="T38" fmla="*/ 15 w 353"/>
                <a:gd name="T39" fmla="*/ 42 h 782"/>
                <a:gd name="T40" fmla="*/ 32 w 353"/>
                <a:gd name="T41" fmla="*/ 35 h 782"/>
                <a:gd name="T42" fmla="*/ 65 w 353"/>
                <a:gd name="T43" fmla="*/ 30 h 782"/>
                <a:gd name="T44" fmla="*/ 93 w 353"/>
                <a:gd name="T45" fmla="*/ 39 h 782"/>
                <a:gd name="T46" fmla="*/ 124 w 353"/>
                <a:gd name="T47" fmla="*/ 64 h 782"/>
                <a:gd name="T48" fmla="*/ 135 w 353"/>
                <a:gd name="T49" fmla="*/ 94 h 782"/>
                <a:gd name="T50" fmla="*/ 127 w 353"/>
                <a:gd name="T51" fmla="*/ 158 h 782"/>
                <a:gd name="T52" fmla="*/ 115 w 353"/>
                <a:gd name="T53" fmla="*/ 201 h 782"/>
                <a:gd name="T54" fmla="*/ 120 w 353"/>
                <a:gd name="T55" fmla="*/ 211 h 782"/>
                <a:gd name="T56" fmla="*/ 131 w 353"/>
                <a:gd name="T57" fmla="*/ 214 h 782"/>
                <a:gd name="T58" fmla="*/ 136 w 353"/>
                <a:gd name="T59" fmla="*/ 241 h 782"/>
                <a:gd name="T60" fmla="*/ 131 w 353"/>
                <a:gd name="T61" fmla="*/ 258 h 782"/>
                <a:gd name="T62" fmla="*/ 120 w 353"/>
                <a:gd name="T63" fmla="*/ 261 h 782"/>
                <a:gd name="T64" fmla="*/ 115 w 353"/>
                <a:gd name="T65" fmla="*/ 271 h 782"/>
                <a:gd name="T66" fmla="*/ 110 w 353"/>
                <a:gd name="T67" fmla="*/ 313 h 782"/>
                <a:gd name="T68" fmla="*/ 93 w 353"/>
                <a:gd name="T69" fmla="*/ 348 h 782"/>
                <a:gd name="T70" fmla="*/ 65 w 353"/>
                <a:gd name="T71" fmla="*/ 376 h 782"/>
                <a:gd name="T72" fmla="*/ 53 w 353"/>
                <a:gd name="T73" fmla="*/ 387 h 782"/>
                <a:gd name="T74" fmla="*/ 55 w 353"/>
                <a:gd name="T75" fmla="*/ 460 h 782"/>
                <a:gd name="T76" fmla="*/ 112 w 353"/>
                <a:gd name="T77" fmla="*/ 484 h 782"/>
                <a:gd name="T78" fmla="*/ 239 w 353"/>
                <a:gd name="T79" fmla="*/ 538 h 782"/>
                <a:gd name="T80" fmla="*/ 289 w 353"/>
                <a:gd name="T81" fmla="*/ 569 h 782"/>
                <a:gd name="T82" fmla="*/ 310 w 353"/>
                <a:gd name="T83" fmla="*/ 609 h 782"/>
                <a:gd name="T84" fmla="*/ 321 w 353"/>
                <a:gd name="T85" fmla="*/ 696 h 782"/>
                <a:gd name="T86" fmla="*/ 262 w 353"/>
                <a:gd name="T87" fmla="*/ 752 h 782"/>
                <a:gd name="T88" fmla="*/ 251 w 353"/>
                <a:gd name="T89" fmla="*/ 756 h 782"/>
                <a:gd name="T90" fmla="*/ 247 w 353"/>
                <a:gd name="T91" fmla="*/ 767 h 782"/>
                <a:gd name="T92" fmla="*/ 251 w 353"/>
                <a:gd name="T93" fmla="*/ 778 h 782"/>
                <a:gd name="T94" fmla="*/ 262 w 353"/>
                <a:gd name="T95" fmla="*/ 782 h 782"/>
                <a:gd name="T96" fmla="*/ 347 w 353"/>
                <a:gd name="T97" fmla="*/ 779 h 782"/>
                <a:gd name="T98" fmla="*/ 353 w 353"/>
                <a:gd name="T99" fmla="*/ 770 h 782"/>
                <a:gd name="T100" fmla="*/ 352 w 353"/>
                <a:gd name="T101" fmla="*/ 721 h 782"/>
                <a:gd name="T102" fmla="*/ 342 w 353"/>
                <a:gd name="T103" fmla="*/ 619 h 7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53" h="782">
                  <a:moveTo>
                    <a:pt x="334" y="582"/>
                  </a:moveTo>
                  <a:lnTo>
                    <a:pt x="329" y="572"/>
                  </a:lnTo>
                  <a:lnTo>
                    <a:pt x="323" y="562"/>
                  </a:lnTo>
                  <a:lnTo>
                    <a:pt x="315" y="553"/>
                  </a:lnTo>
                  <a:lnTo>
                    <a:pt x="305" y="544"/>
                  </a:lnTo>
                  <a:lnTo>
                    <a:pt x="293" y="536"/>
                  </a:lnTo>
                  <a:lnTo>
                    <a:pt x="280" y="526"/>
                  </a:lnTo>
                  <a:lnTo>
                    <a:pt x="265" y="517"/>
                  </a:lnTo>
                  <a:lnTo>
                    <a:pt x="249" y="509"/>
                  </a:lnTo>
                  <a:lnTo>
                    <a:pt x="214" y="493"/>
                  </a:lnTo>
                  <a:lnTo>
                    <a:pt x="173" y="476"/>
                  </a:lnTo>
                  <a:lnTo>
                    <a:pt x="129" y="458"/>
                  </a:lnTo>
                  <a:lnTo>
                    <a:pt x="83" y="441"/>
                  </a:lnTo>
                  <a:lnTo>
                    <a:pt x="82" y="440"/>
                  </a:lnTo>
                  <a:lnTo>
                    <a:pt x="82" y="399"/>
                  </a:lnTo>
                  <a:lnTo>
                    <a:pt x="90" y="394"/>
                  </a:lnTo>
                  <a:lnTo>
                    <a:pt x="99" y="387"/>
                  </a:lnTo>
                  <a:lnTo>
                    <a:pt x="109" y="377"/>
                  </a:lnTo>
                  <a:lnTo>
                    <a:pt x="118" y="364"/>
                  </a:lnTo>
                  <a:lnTo>
                    <a:pt x="124" y="358"/>
                  </a:lnTo>
                  <a:lnTo>
                    <a:pt x="128" y="349"/>
                  </a:lnTo>
                  <a:lnTo>
                    <a:pt x="132" y="341"/>
                  </a:lnTo>
                  <a:lnTo>
                    <a:pt x="135" y="331"/>
                  </a:lnTo>
                  <a:lnTo>
                    <a:pt x="139" y="321"/>
                  </a:lnTo>
                  <a:lnTo>
                    <a:pt x="141" y="309"/>
                  </a:lnTo>
                  <a:lnTo>
                    <a:pt x="143" y="298"/>
                  </a:lnTo>
                  <a:lnTo>
                    <a:pt x="144" y="285"/>
                  </a:lnTo>
                  <a:lnTo>
                    <a:pt x="148" y="283"/>
                  </a:lnTo>
                  <a:lnTo>
                    <a:pt x="152" y="278"/>
                  </a:lnTo>
                  <a:lnTo>
                    <a:pt x="156" y="274"/>
                  </a:lnTo>
                  <a:lnTo>
                    <a:pt x="159" y="269"/>
                  </a:lnTo>
                  <a:lnTo>
                    <a:pt x="162" y="261"/>
                  </a:lnTo>
                  <a:lnTo>
                    <a:pt x="164" y="254"/>
                  </a:lnTo>
                  <a:lnTo>
                    <a:pt x="166" y="245"/>
                  </a:lnTo>
                  <a:lnTo>
                    <a:pt x="166" y="235"/>
                  </a:lnTo>
                  <a:lnTo>
                    <a:pt x="166" y="228"/>
                  </a:lnTo>
                  <a:lnTo>
                    <a:pt x="165" y="220"/>
                  </a:lnTo>
                  <a:lnTo>
                    <a:pt x="163" y="214"/>
                  </a:lnTo>
                  <a:lnTo>
                    <a:pt x="161" y="208"/>
                  </a:lnTo>
                  <a:lnTo>
                    <a:pt x="159" y="202"/>
                  </a:lnTo>
                  <a:lnTo>
                    <a:pt x="156" y="197"/>
                  </a:lnTo>
                  <a:lnTo>
                    <a:pt x="151" y="193"/>
                  </a:lnTo>
                  <a:lnTo>
                    <a:pt x="147" y="189"/>
                  </a:lnTo>
                  <a:lnTo>
                    <a:pt x="148" y="188"/>
                  </a:lnTo>
                  <a:lnTo>
                    <a:pt x="148" y="188"/>
                  </a:lnTo>
                  <a:lnTo>
                    <a:pt x="156" y="166"/>
                  </a:lnTo>
                  <a:lnTo>
                    <a:pt x="162" y="137"/>
                  </a:lnTo>
                  <a:lnTo>
                    <a:pt x="165" y="122"/>
                  </a:lnTo>
                  <a:lnTo>
                    <a:pt x="166" y="106"/>
                  </a:lnTo>
                  <a:lnTo>
                    <a:pt x="165" y="90"/>
                  </a:lnTo>
                  <a:lnTo>
                    <a:pt x="163" y="74"/>
                  </a:lnTo>
                  <a:lnTo>
                    <a:pt x="159" y="64"/>
                  </a:lnTo>
                  <a:lnTo>
                    <a:pt x="154" y="54"/>
                  </a:lnTo>
                  <a:lnTo>
                    <a:pt x="147" y="45"/>
                  </a:lnTo>
                  <a:lnTo>
                    <a:pt x="139" y="35"/>
                  </a:lnTo>
                  <a:lnTo>
                    <a:pt x="129" y="26"/>
                  </a:lnTo>
                  <a:lnTo>
                    <a:pt x="118" y="19"/>
                  </a:lnTo>
                  <a:lnTo>
                    <a:pt x="106" y="12"/>
                  </a:lnTo>
                  <a:lnTo>
                    <a:pt x="95" y="6"/>
                  </a:lnTo>
                  <a:lnTo>
                    <a:pt x="83" y="3"/>
                  </a:lnTo>
                  <a:lnTo>
                    <a:pt x="72" y="1"/>
                  </a:lnTo>
                  <a:lnTo>
                    <a:pt x="60" y="0"/>
                  </a:lnTo>
                  <a:lnTo>
                    <a:pt x="50" y="0"/>
                  </a:lnTo>
                  <a:lnTo>
                    <a:pt x="38" y="2"/>
                  </a:lnTo>
                  <a:lnTo>
                    <a:pt x="27" y="5"/>
                  </a:lnTo>
                  <a:lnTo>
                    <a:pt x="17" y="9"/>
                  </a:lnTo>
                  <a:lnTo>
                    <a:pt x="7" y="15"/>
                  </a:lnTo>
                  <a:lnTo>
                    <a:pt x="5" y="17"/>
                  </a:lnTo>
                  <a:lnTo>
                    <a:pt x="3" y="19"/>
                  </a:lnTo>
                  <a:lnTo>
                    <a:pt x="1" y="22"/>
                  </a:lnTo>
                  <a:lnTo>
                    <a:pt x="0" y="24"/>
                  </a:lnTo>
                  <a:lnTo>
                    <a:pt x="0" y="27"/>
                  </a:lnTo>
                  <a:lnTo>
                    <a:pt x="0" y="31"/>
                  </a:lnTo>
                  <a:lnTo>
                    <a:pt x="1" y="33"/>
                  </a:lnTo>
                  <a:lnTo>
                    <a:pt x="3" y="36"/>
                  </a:lnTo>
                  <a:lnTo>
                    <a:pt x="5" y="38"/>
                  </a:lnTo>
                  <a:lnTo>
                    <a:pt x="7" y="40"/>
                  </a:lnTo>
                  <a:lnTo>
                    <a:pt x="10" y="41"/>
                  </a:lnTo>
                  <a:lnTo>
                    <a:pt x="12" y="42"/>
                  </a:lnTo>
                  <a:lnTo>
                    <a:pt x="15" y="42"/>
                  </a:lnTo>
                  <a:lnTo>
                    <a:pt x="18" y="42"/>
                  </a:lnTo>
                  <a:lnTo>
                    <a:pt x="21" y="41"/>
                  </a:lnTo>
                  <a:lnTo>
                    <a:pt x="24" y="40"/>
                  </a:lnTo>
                  <a:lnTo>
                    <a:pt x="32" y="35"/>
                  </a:lnTo>
                  <a:lnTo>
                    <a:pt x="41" y="32"/>
                  </a:lnTo>
                  <a:lnTo>
                    <a:pt x="48" y="31"/>
                  </a:lnTo>
                  <a:lnTo>
                    <a:pt x="57" y="30"/>
                  </a:lnTo>
                  <a:lnTo>
                    <a:pt x="65" y="30"/>
                  </a:lnTo>
                  <a:lnTo>
                    <a:pt x="71" y="31"/>
                  </a:lnTo>
                  <a:lnTo>
                    <a:pt x="77" y="33"/>
                  </a:lnTo>
                  <a:lnTo>
                    <a:pt x="84" y="35"/>
                  </a:lnTo>
                  <a:lnTo>
                    <a:pt x="93" y="39"/>
                  </a:lnTo>
                  <a:lnTo>
                    <a:pt x="103" y="45"/>
                  </a:lnTo>
                  <a:lnTo>
                    <a:pt x="111" y="51"/>
                  </a:lnTo>
                  <a:lnTo>
                    <a:pt x="118" y="57"/>
                  </a:lnTo>
                  <a:lnTo>
                    <a:pt x="124" y="64"/>
                  </a:lnTo>
                  <a:lnTo>
                    <a:pt x="129" y="70"/>
                  </a:lnTo>
                  <a:lnTo>
                    <a:pt x="132" y="76"/>
                  </a:lnTo>
                  <a:lnTo>
                    <a:pt x="133" y="81"/>
                  </a:lnTo>
                  <a:lnTo>
                    <a:pt x="135" y="94"/>
                  </a:lnTo>
                  <a:lnTo>
                    <a:pt x="136" y="107"/>
                  </a:lnTo>
                  <a:lnTo>
                    <a:pt x="135" y="121"/>
                  </a:lnTo>
                  <a:lnTo>
                    <a:pt x="133" y="134"/>
                  </a:lnTo>
                  <a:lnTo>
                    <a:pt x="127" y="158"/>
                  </a:lnTo>
                  <a:lnTo>
                    <a:pt x="119" y="178"/>
                  </a:lnTo>
                  <a:lnTo>
                    <a:pt x="116" y="190"/>
                  </a:lnTo>
                  <a:lnTo>
                    <a:pt x="114" y="198"/>
                  </a:lnTo>
                  <a:lnTo>
                    <a:pt x="115" y="201"/>
                  </a:lnTo>
                  <a:lnTo>
                    <a:pt x="115" y="203"/>
                  </a:lnTo>
                  <a:lnTo>
                    <a:pt x="117" y="206"/>
                  </a:lnTo>
                  <a:lnTo>
                    <a:pt x="118" y="209"/>
                  </a:lnTo>
                  <a:lnTo>
                    <a:pt x="120" y="211"/>
                  </a:lnTo>
                  <a:lnTo>
                    <a:pt x="124" y="212"/>
                  </a:lnTo>
                  <a:lnTo>
                    <a:pt x="127" y="213"/>
                  </a:lnTo>
                  <a:lnTo>
                    <a:pt x="129" y="213"/>
                  </a:lnTo>
                  <a:lnTo>
                    <a:pt x="131" y="214"/>
                  </a:lnTo>
                  <a:lnTo>
                    <a:pt x="133" y="218"/>
                  </a:lnTo>
                  <a:lnTo>
                    <a:pt x="135" y="226"/>
                  </a:lnTo>
                  <a:lnTo>
                    <a:pt x="136" y="235"/>
                  </a:lnTo>
                  <a:lnTo>
                    <a:pt x="136" y="241"/>
                  </a:lnTo>
                  <a:lnTo>
                    <a:pt x="135" y="246"/>
                  </a:lnTo>
                  <a:lnTo>
                    <a:pt x="134" y="252"/>
                  </a:lnTo>
                  <a:lnTo>
                    <a:pt x="132" y="255"/>
                  </a:lnTo>
                  <a:lnTo>
                    <a:pt x="131" y="258"/>
                  </a:lnTo>
                  <a:lnTo>
                    <a:pt x="129" y="259"/>
                  </a:lnTo>
                  <a:lnTo>
                    <a:pt x="127" y="259"/>
                  </a:lnTo>
                  <a:lnTo>
                    <a:pt x="124" y="260"/>
                  </a:lnTo>
                  <a:lnTo>
                    <a:pt x="120" y="261"/>
                  </a:lnTo>
                  <a:lnTo>
                    <a:pt x="118" y="263"/>
                  </a:lnTo>
                  <a:lnTo>
                    <a:pt x="117" y="265"/>
                  </a:lnTo>
                  <a:lnTo>
                    <a:pt x="115" y="268"/>
                  </a:lnTo>
                  <a:lnTo>
                    <a:pt x="115" y="271"/>
                  </a:lnTo>
                  <a:lnTo>
                    <a:pt x="114" y="274"/>
                  </a:lnTo>
                  <a:lnTo>
                    <a:pt x="114" y="288"/>
                  </a:lnTo>
                  <a:lnTo>
                    <a:pt x="112" y="301"/>
                  </a:lnTo>
                  <a:lnTo>
                    <a:pt x="110" y="313"/>
                  </a:lnTo>
                  <a:lnTo>
                    <a:pt x="106" y="323"/>
                  </a:lnTo>
                  <a:lnTo>
                    <a:pt x="102" y="332"/>
                  </a:lnTo>
                  <a:lnTo>
                    <a:pt x="98" y="341"/>
                  </a:lnTo>
                  <a:lnTo>
                    <a:pt x="93" y="348"/>
                  </a:lnTo>
                  <a:lnTo>
                    <a:pt x="88" y="354"/>
                  </a:lnTo>
                  <a:lnTo>
                    <a:pt x="78" y="365"/>
                  </a:lnTo>
                  <a:lnTo>
                    <a:pt x="70" y="372"/>
                  </a:lnTo>
                  <a:lnTo>
                    <a:pt x="65" y="376"/>
                  </a:lnTo>
                  <a:lnTo>
                    <a:pt x="61" y="377"/>
                  </a:lnTo>
                  <a:lnTo>
                    <a:pt x="57" y="379"/>
                  </a:lnTo>
                  <a:lnTo>
                    <a:pt x="55" y="382"/>
                  </a:lnTo>
                  <a:lnTo>
                    <a:pt x="53" y="387"/>
                  </a:lnTo>
                  <a:lnTo>
                    <a:pt x="52" y="391"/>
                  </a:lnTo>
                  <a:lnTo>
                    <a:pt x="52" y="451"/>
                  </a:lnTo>
                  <a:lnTo>
                    <a:pt x="53" y="455"/>
                  </a:lnTo>
                  <a:lnTo>
                    <a:pt x="55" y="460"/>
                  </a:lnTo>
                  <a:lnTo>
                    <a:pt x="58" y="463"/>
                  </a:lnTo>
                  <a:lnTo>
                    <a:pt x="61" y="465"/>
                  </a:lnTo>
                  <a:lnTo>
                    <a:pt x="73" y="469"/>
                  </a:lnTo>
                  <a:lnTo>
                    <a:pt x="112" y="484"/>
                  </a:lnTo>
                  <a:lnTo>
                    <a:pt x="150" y="499"/>
                  </a:lnTo>
                  <a:lnTo>
                    <a:pt x="188" y="514"/>
                  </a:lnTo>
                  <a:lnTo>
                    <a:pt x="223" y="530"/>
                  </a:lnTo>
                  <a:lnTo>
                    <a:pt x="239" y="538"/>
                  </a:lnTo>
                  <a:lnTo>
                    <a:pt x="253" y="545"/>
                  </a:lnTo>
                  <a:lnTo>
                    <a:pt x="266" y="553"/>
                  </a:lnTo>
                  <a:lnTo>
                    <a:pt x="278" y="561"/>
                  </a:lnTo>
                  <a:lnTo>
                    <a:pt x="289" y="569"/>
                  </a:lnTo>
                  <a:lnTo>
                    <a:pt x="296" y="576"/>
                  </a:lnTo>
                  <a:lnTo>
                    <a:pt x="301" y="584"/>
                  </a:lnTo>
                  <a:lnTo>
                    <a:pt x="306" y="591"/>
                  </a:lnTo>
                  <a:lnTo>
                    <a:pt x="310" y="609"/>
                  </a:lnTo>
                  <a:lnTo>
                    <a:pt x="313" y="628"/>
                  </a:lnTo>
                  <a:lnTo>
                    <a:pt x="317" y="650"/>
                  </a:lnTo>
                  <a:lnTo>
                    <a:pt x="319" y="674"/>
                  </a:lnTo>
                  <a:lnTo>
                    <a:pt x="321" y="696"/>
                  </a:lnTo>
                  <a:lnTo>
                    <a:pt x="322" y="718"/>
                  </a:lnTo>
                  <a:lnTo>
                    <a:pt x="322" y="736"/>
                  </a:lnTo>
                  <a:lnTo>
                    <a:pt x="323" y="752"/>
                  </a:lnTo>
                  <a:lnTo>
                    <a:pt x="262" y="752"/>
                  </a:lnTo>
                  <a:lnTo>
                    <a:pt x="259" y="752"/>
                  </a:lnTo>
                  <a:lnTo>
                    <a:pt x="256" y="753"/>
                  </a:lnTo>
                  <a:lnTo>
                    <a:pt x="253" y="754"/>
                  </a:lnTo>
                  <a:lnTo>
                    <a:pt x="251" y="756"/>
                  </a:lnTo>
                  <a:lnTo>
                    <a:pt x="249" y="759"/>
                  </a:lnTo>
                  <a:lnTo>
                    <a:pt x="248" y="761"/>
                  </a:lnTo>
                  <a:lnTo>
                    <a:pt x="247" y="764"/>
                  </a:lnTo>
                  <a:lnTo>
                    <a:pt x="247" y="767"/>
                  </a:lnTo>
                  <a:lnTo>
                    <a:pt x="247" y="770"/>
                  </a:lnTo>
                  <a:lnTo>
                    <a:pt x="248" y="773"/>
                  </a:lnTo>
                  <a:lnTo>
                    <a:pt x="249" y="776"/>
                  </a:lnTo>
                  <a:lnTo>
                    <a:pt x="251" y="778"/>
                  </a:lnTo>
                  <a:lnTo>
                    <a:pt x="253" y="779"/>
                  </a:lnTo>
                  <a:lnTo>
                    <a:pt x="256" y="781"/>
                  </a:lnTo>
                  <a:lnTo>
                    <a:pt x="259" y="781"/>
                  </a:lnTo>
                  <a:lnTo>
                    <a:pt x="262" y="782"/>
                  </a:lnTo>
                  <a:lnTo>
                    <a:pt x="338" y="782"/>
                  </a:lnTo>
                  <a:lnTo>
                    <a:pt x="341" y="781"/>
                  </a:lnTo>
                  <a:lnTo>
                    <a:pt x="343" y="781"/>
                  </a:lnTo>
                  <a:lnTo>
                    <a:pt x="347" y="779"/>
                  </a:lnTo>
                  <a:lnTo>
                    <a:pt x="349" y="778"/>
                  </a:lnTo>
                  <a:lnTo>
                    <a:pt x="351" y="776"/>
                  </a:lnTo>
                  <a:lnTo>
                    <a:pt x="352" y="773"/>
                  </a:lnTo>
                  <a:lnTo>
                    <a:pt x="353" y="770"/>
                  </a:lnTo>
                  <a:lnTo>
                    <a:pt x="353" y="767"/>
                  </a:lnTo>
                  <a:lnTo>
                    <a:pt x="353" y="760"/>
                  </a:lnTo>
                  <a:lnTo>
                    <a:pt x="353" y="744"/>
                  </a:lnTo>
                  <a:lnTo>
                    <a:pt x="352" y="721"/>
                  </a:lnTo>
                  <a:lnTo>
                    <a:pt x="351" y="693"/>
                  </a:lnTo>
                  <a:lnTo>
                    <a:pt x="349" y="663"/>
                  </a:lnTo>
                  <a:lnTo>
                    <a:pt x="344" y="633"/>
                  </a:lnTo>
                  <a:lnTo>
                    <a:pt x="342" y="619"/>
                  </a:lnTo>
                  <a:lnTo>
                    <a:pt x="340" y="605"/>
                  </a:lnTo>
                  <a:lnTo>
                    <a:pt x="337" y="592"/>
                  </a:lnTo>
                  <a:lnTo>
                    <a:pt x="334" y="5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06" name="Group 305"/>
          <p:cNvGrpSpPr/>
          <p:nvPr/>
        </p:nvGrpSpPr>
        <p:grpSpPr>
          <a:xfrm>
            <a:off x="7814756" y="4466113"/>
            <a:ext cx="287338" cy="249238"/>
            <a:chOff x="8736013" y="2536825"/>
            <a:chExt cx="287338" cy="249238"/>
          </a:xfrm>
          <a:solidFill>
            <a:schemeClr val="accent3"/>
          </a:solidFill>
        </p:grpSpPr>
        <p:sp>
          <p:nvSpPr>
            <p:cNvPr id="307" name="Freeform 219"/>
            <p:cNvSpPr>
              <a:spLocks noEditPoints="1"/>
            </p:cNvSpPr>
            <p:nvPr/>
          </p:nvSpPr>
          <p:spPr bwMode="auto">
            <a:xfrm>
              <a:off x="8793163" y="2632075"/>
              <a:ext cx="230188" cy="153988"/>
            </a:xfrm>
            <a:custGeom>
              <a:avLst/>
              <a:gdLst>
                <a:gd name="T0" fmla="*/ 621 w 722"/>
                <a:gd name="T1" fmla="*/ 368 h 481"/>
                <a:gd name="T2" fmla="*/ 588 w 722"/>
                <a:gd name="T3" fmla="*/ 338 h 481"/>
                <a:gd name="T4" fmla="*/ 557 w 722"/>
                <a:gd name="T5" fmla="*/ 331 h 481"/>
                <a:gd name="T6" fmla="*/ 525 w 722"/>
                <a:gd name="T7" fmla="*/ 338 h 481"/>
                <a:gd name="T8" fmla="*/ 493 w 722"/>
                <a:gd name="T9" fmla="*/ 368 h 481"/>
                <a:gd name="T10" fmla="*/ 451 w 722"/>
                <a:gd name="T11" fmla="*/ 391 h 481"/>
                <a:gd name="T12" fmla="*/ 557 w 722"/>
                <a:gd name="T13" fmla="*/ 451 h 481"/>
                <a:gd name="T14" fmla="*/ 520 w 722"/>
                <a:gd name="T15" fmla="*/ 432 h 481"/>
                <a:gd name="T16" fmla="*/ 515 w 722"/>
                <a:gd name="T17" fmla="*/ 389 h 481"/>
                <a:gd name="T18" fmla="*/ 547 w 722"/>
                <a:gd name="T19" fmla="*/ 362 h 481"/>
                <a:gd name="T20" fmla="*/ 588 w 722"/>
                <a:gd name="T21" fmla="*/ 374 h 481"/>
                <a:gd name="T22" fmla="*/ 601 w 722"/>
                <a:gd name="T23" fmla="*/ 415 h 481"/>
                <a:gd name="T24" fmla="*/ 574 w 722"/>
                <a:gd name="T25" fmla="*/ 448 h 481"/>
                <a:gd name="T26" fmla="*/ 451 w 722"/>
                <a:gd name="T27" fmla="*/ 241 h 481"/>
                <a:gd name="T28" fmla="*/ 163 w 722"/>
                <a:gd name="T29" fmla="*/ 448 h 481"/>
                <a:gd name="T30" fmla="*/ 136 w 722"/>
                <a:gd name="T31" fmla="*/ 415 h 481"/>
                <a:gd name="T32" fmla="*/ 149 w 722"/>
                <a:gd name="T33" fmla="*/ 374 h 481"/>
                <a:gd name="T34" fmla="*/ 190 w 722"/>
                <a:gd name="T35" fmla="*/ 362 h 481"/>
                <a:gd name="T36" fmla="*/ 222 w 722"/>
                <a:gd name="T37" fmla="*/ 389 h 481"/>
                <a:gd name="T38" fmla="*/ 219 w 722"/>
                <a:gd name="T39" fmla="*/ 431 h 481"/>
                <a:gd name="T40" fmla="*/ 181 w 722"/>
                <a:gd name="T41" fmla="*/ 451 h 481"/>
                <a:gd name="T42" fmla="*/ 565 w 722"/>
                <a:gd name="T43" fmla="*/ 94 h 481"/>
                <a:gd name="T44" fmla="*/ 451 w 722"/>
                <a:gd name="T45" fmla="*/ 15 h 481"/>
                <a:gd name="T46" fmla="*/ 445 w 722"/>
                <a:gd name="T47" fmla="*/ 3 h 481"/>
                <a:gd name="T48" fmla="*/ 253 w 722"/>
                <a:gd name="T49" fmla="*/ 0 h 481"/>
                <a:gd name="T50" fmla="*/ 242 w 722"/>
                <a:gd name="T51" fmla="*/ 10 h 481"/>
                <a:gd name="T52" fmla="*/ 243 w 722"/>
                <a:gd name="T53" fmla="*/ 24 h 481"/>
                <a:gd name="T54" fmla="*/ 256 w 722"/>
                <a:gd name="T55" fmla="*/ 30 h 481"/>
                <a:gd name="T56" fmla="*/ 251 w 722"/>
                <a:gd name="T57" fmla="*/ 378 h 481"/>
                <a:gd name="T58" fmla="*/ 224 w 722"/>
                <a:gd name="T59" fmla="*/ 344 h 481"/>
                <a:gd name="T60" fmla="*/ 194 w 722"/>
                <a:gd name="T61" fmla="*/ 332 h 481"/>
                <a:gd name="T62" fmla="*/ 161 w 722"/>
                <a:gd name="T63" fmla="*/ 334 h 481"/>
                <a:gd name="T64" fmla="*/ 133 w 722"/>
                <a:gd name="T65" fmla="*/ 349 h 481"/>
                <a:gd name="T66" fmla="*/ 108 w 722"/>
                <a:gd name="T67" fmla="*/ 385 h 481"/>
                <a:gd name="T68" fmla="*/ 29 w 722"/>
                <a:gd name="T69" fmla="*/ 115 h 481"/>
                <a:gd name="T70" fmla="*/ 18 w 722"/>
                <a:gd name="T71" fmla="*/ 106 h 481"/>
                <a:gd name="T72" fmla="*/ 4 w 722"/>
                <a:gd name="T73" fmla="*/ 110 h 481"/>
                <a:gd name="T74" fmla="*/ 0 w 722"/>
                <a:gd name="T75" fmla="*/ 406 h 481"/>
                <a:gd name="T76" fmla="*/ 6 w 722"/>
                <a:gd name="T77" fmla="*/ 419 h 481"/>
                <a:gd name="T78" fmla="*/ 108 w 722"/>
                <a:gd name="T79" fmla="*/ 428 h 481"/>
                <a:gd name="T80" fmla="*/ 133 w 722"/>
                <a:gd name="T81" fmla="*/ 464 h 481"/>
                <a:gd name="T82" fmla="*/ 161 w 722"/>
                <a:gd name="T83" fmla="*/ 479 h 481"/>
                <a:gd name="T84" fmla="*/ 194 w 722"/>
                <a:gd name="T85" fmla="*/ 480 h 481"/>
                <a:gd name="T86" fmla="*/ 224 w 722"/>
                <a:gd name="T87" fmla="*/ 468 h 481"/>
                <a:gd name="T88" fmla="*/ 251 w 722"/>
                <a:gd name="T89" fmla="*/ 434 h 481"/>
                <a:gd name="T90" fmla="*/ 484 w 722"/>
                <a:gd name="T91" fmla="*/ 428 h 481"/>
                <a:gd name="T92" fmla="*/ 509 w 722"/>
                <a:gd name="T93" fmla="*/ 464 h 481"/>
                <a:gd name="T94" fmla="*/ 537 w 722"/>
                <a:gd name="T95" fmla="*/ 479 h 481"/>
                <a:gd name="T96" fmla="*/ 570 w 722"/>
                <a:gd name="T97" fmla="*/ 480 h 481"/>
                <a:gd name="T98" fmla="*/ 599 w 722"/>
                <a:gd name="T99" fmla="*/ 468 h 481"/>
                <a:gd name="T100" fmla="*/ 627 w 722"/>
                <a:gd name="T101" fmla="*/ 434 h 481"/>
                <a:gd name="T102" fmla="*/ 712 w 722"/>
                <a:gd name="T103" fmla="*/ 420 h 481"/>
                <a:gd name="T104" fmla="*/ 722 w 722"/>
                <a:gd name="T105" fmla="*/ 410 h 481"/>
                <a:gd name="T106" fmla="*/ 721 w 722"/>
                <a:gd name="T107" fmla="*/ 25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22" h="481">
                  <a:moveTo>
                    <a:pt x="630" y="391"/>
                  </a:moveTo>
                  <a:lnTo>
                    <a:pt x="629" y="385"/>
                  </a:lnTo>
                  <a:lnTo>
                    <a:pt x="627" y="378"/>
                  </a:lnTo>
                  <a:lnTo>
                    <a:pt x="623" y="373"/>
                  </a:lnTo>
                  <a:lnTo>
                    <a:pt x="621" y="368"/>
                  </a:lnTo>
                  <a:lnTo>
                    <a:pt x="614" y="357"/>
                  </a:lnTo>
                  <a:lnTo>
                    <a:pt x="604" y="349"/>
                  </a:lnTo>
                  <a:lnTo>
                    <a:pt x="599" y="344"/>
                  </a:lnTo>
                  <a:lnTo>
                    <a:pt x="593" y="341"/>
                  </a:lnTo>
                  <a:lnTo>
                    <a:pt x="588" y="338"/>
                  </a:lnTo>
                  <a:lnTo>
                    <a:pt x="583" y="336"/>
                  </a:lnTo>
                  <a:lnTo>
                    <a:pt x="576" y="334"/>
                  </a:lnTo>
                  <a:lnTo>
                    <a:pt x="570" y="332"/>
                  </a:lnTo>
                  <a:lnTo>
                    <a:pt x="563" y="331"/>
                  </a:lnTo>
                  <a:lnTo>
                    <a:pt x="557" y="331"/>
                  </a:lnTo>
                  <a:lnTo>
                    <a:pt x="550" y="331"/>
                  </a:lnTo>
                  <a:lnTo>
                    <a:pt x="543" y="332"/>
                  </a:lnTo>
                  <a:lnTo>
                    <a:pt x="537" y="334"/>
                  </a:lnTo>
                  <a:lnTo>
                    <a:pt x="530" y="336"/>
                  </a:lnTo>
                  <a:lnTo>
                    <a:pt x="525" y="338"/>
                  </a:lnTo>
                  <a:lnTo>
                    <a:pt x="520" y="341"/>
                  </a:lnTo>
                  <a:lnTo>
                    <a:pt x="514" y="344"/>
                  </a:lnTo>
                  <a:lnTo>
                    <a:pt x="509" y="349"/>
                  </a:lnTo>
                  <a:lnTo>
                    <a:pt x="499" y="357"/>
                  </a:lnTo>
                  <a:lnTo>
                    <a:pt x="493" y="368"/>
                  </a:lnTo>
                  <a:lnTo>
                    <a:pt x="490" y="373"/>
                  </a:lnTo>
                  <a:lnTo>
                    <a:pt x="486" y="378"/>
                  </a:lnTo>
                  <a:lnTo>
                    <a:pt x="484" y="385"/>
                  </a:lnTo>
                  <a:lnTo>
                    <a:pt x="483" y="391"/>
                  </a:lnTo>
                  <a:lnTo>
                    <a:pt x="451" y="391"/>
                  </a:lnTo>
                  <a:lnTo>
                    <a:pt x="451" y="271"/>
                  </a:lnTo>
                  <a:lnTo>
                    <a:pt x="692" y="271"/>
                  </a:lnTo>
                  <a:lnTo>
                    <a:pt x="692" y="391"/>
                  </a:lnTo>
                  <a:lnTo>
                    <a:pt x="630" y="391"/>
                  </a:lnTo>
                  <a:close/>
                  <a:moveTo>
                    <a:pt x="557" y="451"/>
                  </a:moveTo>
                  <a:lnTo>
                    <a:pt x="547" y="450"/>
                  </a:lnTo>
                  <a:lnTo>
                    <a:pt x="539" y="448"/>
                  </a:lnTo>
                  <a:lnTo>
                    <a:pt x="531" y="444"/>
                  </a:lnTo>
                  <a:lnTo>
                    <a:pt x="525" y="438"/>
                  </a:lnTo>
                  <a:lnTo>
                    <a:pt x="520" y="432"/>
                  </a:lnTo>
                  <a:lnTo>
                    <a:pt x="515" y="423"/>
                  </a:lnTo>
                  <a:lnTo>
                    <a:pt x="512" y="415"/>
                  </a:lnTo>
                  <a:lnTo>
                    <a:pt x="511" y="406"/>
                  </a:lnTo>
                  <a:lnTo>
                    <a:pt x="512" y="398"/>
                  </a:lnTo>
                  <a:lnTo>
                    <a:pt x="515" y="389"/>
                  </a:lnTo>
                  <a:lnTo>
                    <a:pt x="520" y="381"/>
                  </a:lnTo>
                  <a:lnTo>
                    <a:pt x="525" y="374"/>
                  </a:lnTo>
                  <a:lnTo>
                    <a:pt x="531" y="369"/>
                  </a:lnTo>
                  <a:lnTo>
                    <a:pt x="539" y="365"/>
                  </a:lnTo>
                  <a:lnTo>
                    <a:pt x="547" y="362"/>
                  </a:lnTo>
                  <a:lnTo>
                    <a:pt x="557" y="361"/>
                  </a:lnTo>
                  <a:lnTo>
                    <a:pt x="566" y="362"/>
                  </a:lnTo>
                  <a:lnTo>
                    <a:pt x="574" y="365"/>
                  </a:lnTo>
                  <a:lnTo>
                    <a:pt x="582" y="369"/>
                  </a:lnTo>
                  <a:lnTo>
                    <a:pt x="588" y="374"/>
                  </a:lnTo>
                  <a:lnTo>
                    <a:pt x="593" y="381"/>
                  </a:lnTo>
                  <a:lnTo>
                    <a:pt x="598" y="389"/>
                  </a:lnTo>
                  <a:lnTo>
                    <a:pt x="601" y="398"/>
                  </a:lnTo>
                  <a:lnTo>
                    <a:pt x="602" y="406"/>
                  </a:lnTo>
                  <a:lnTo>
                    <a:pt x="601" y="415"/>
                  </a:lnTo>
                  <a:lnTo>
                    <a:pt x="598" y="423"/>
                  </a:lnTo>
                  <a:lnTo>
                    <a:pt x="593" y="431"/>
                  </a:lnTo>
                  <a:lnTo>
                    <a:pt x="588" y="438"/>
                  </a:lnTo>
                  <a:lnTo>
                    <a:pt x="582" y="444"/>
                  </a:lnTo>
                  <a:lnTo>
                    <a:pt x="574" y="448"/>
                  </a:lnTo>
                  <a:lnTo>
                    <a:pt x="566" y="450"/>
                  </a:lnTo>
                  <a:lnTo>
                    <a:pt x="557" y="451"/>
                  </a:lnTo>
                  <a:close/>
                  <a:moveTo>
                    <a:pt x="551" y="120"/>
                  </a:moveTo>
                  <a:lnTo>
                    <a:pt x="671" y="241"/>
                  </a:lnTo>
                  <a:lnTo>
                    <a:pt x="451" y="241"/>
                  </a:lnTo>
                  <a:lnTo>
                    <a:pt x="451" y="120"/>
                  </a:lnTo>
                  <a:lnTo>
                    <a:pt x="551" y="120"/>
                  </a:lnTo>
                  <a:close/>
                  <a:moveTo>
                    <a:pt x="181" y="451"/>
                  </a:moveTo>
                  <a:lnTo>
                    <a:pt x="171" y="450"/>
                  </a:lnTo>
                  <a:lnTo>
                    <a:pt x="163" y="448"/>
                  </a:lnTo>
                  <a:lnTo>
                    <a:pt x="155" y="444"/>
                  </a:lnTo>
                  <a:lnTo>
                    <a:pt x="149" y="438"/>
                  </a:lnTo>
                  <a:lnTo>
                    <a:pt x="144" y="432"/>
                  </a:lnTo>
                  <a:lnTo>
                    <a:pt x="139" y="423"/>
                  </a:lnTo>
                  <a:lnTo>
                    <a:pt x="136" y="415"/>
                  </a:lnTo>
                  <a:lnTo>
                    <a:pt x="136" y="406"/>
                  </a:lnTo>
                  <a:lnTo>
                    <a:pt x="136" y="398"/>
                  </a:lnTo>
                  <a:lnTo>
                    <a:pt x="139" y="389"/>
                  </a:lnTo>
                  <a:lnTo>
                    <a:pt x="144" y="381"/>
                  </a:lnTo>
                  <a:lnTo>
                    <a:pt x="149" y="374"/>
                  </a:lnTo>
                  <a:lnTo>
                    <a:pt x="155" y="369"/>
                  </a:lnTo>
                  <a:lnTo>
                    <a:pt x="163" y="365"/>
                  </a:lnTo>
                  <a:lnTo>
                    <a:pt x="171" y="362"/>
                  </a:lnTo>
                  <a:lnTo>
                    <a:pt x="181" y="361"/>
                  </a:lnTo>
                  <a:lnTo>
                    <a:pt x="190" y="362"/>
                  </a:lnTo>
                  <a:lnTo>
                    <a:pt x="198" y="365"/>
                  </a:lnTo>
                  <a:lnTo>
                    <a:pt x="206" y="369"/>
                  </a:lnTo>
                  <a:lnTo>
                    <a:pt x="212" y="374"/>
                  </a:lnTo>
                  <a:lnTo>
                    <a:pt x="219" y="381"/>
                  </a:lnTo>
                  <a:lnTo>
                    <a:pt x="222" y="389"/>
                  </a:lnTo>
                  <a:lnTo>
                    <a:pt x="225" y="398"/>
                  </a:lnTo>
                  <a:lnTo>
                    <a:pt x="226" y="406"/>
                  </a:lnTo>
                  <a:lnTo>
                    <a:pt x="225" y="415"/>
                  </a:lnTo>
                  <a:lnTo>
                    <a:pt x="222" y="423"/>
                  </a:lnTo>
                  <a:lnTo>
                    <a:pt x="219" y="431"/>
                  </a:lnTo>
                  <a:lnTo>
                    <a:pt x="212" y="438"/>
                  </a:lnTo>
                  <a:lnTo>
                    <a:pt x="206" y="444"/>
                  </a:lnTo>
                  <a:lnTo>
                    <a:pt x="198" y="448"/>
                  </a:lnTo>
                  <a:lnTo>
                    <a:pt x="190" y="450"/>
                  </a:lnTo>
                  <a:lnTo>
                    <a:pt x="181" y="451"/>
                  </a:lnTo>
                  <a:close/>
                  <a:moveTo>
                    <a:pt x="721" y="250"/>
                  </a:moveTo>
                  <a:lnTo>
                    <a:pt x="720" y="248"/>
                  </a:lnTo>
                  <a:lnTo>
                    <a:pt x="718" y="246"/>
                  </a:lnTo>
                  <a:lnTo>
                    <a:pt x="568" y="95"/>
                  </a:lnTo>
                  <a:lnTo>
                    <a:pt x="565" y="94"/>
                  </a:lnTo>
                  <a:lnTo>
                    <a:pt x="562" y="91"/>
                  </a:lnTo>
                  <a:lnTo>
                    <a:pt x="559" y="91"/>
                  </a:lnTo>
                  <a:lnTo>
                    <a:pt x="557" y="90"/>
                  </a:lnTo>
                  <a:lnTo>
                    <a:pt x="451" y="90"/>
                  </a:lnTo>
                  <a:lnTo>
                    <a:pt x="451" y="15"/>
                  </a:lnTo>
                  <a:lnTo>
                    <a:pt x="451" y="12"/>
                  </a:lnTo>
                  <a:lnTo>
                    <a:pt x="450" y="10"/>
                  </a:lnTo>
                  <a:lnTo>
                    <a:pt x="449" y="7"/>
                  </a:lnTo>
                  <a:lnTo>
                    <a:pt x="447" y="5"/>
                  </a:lnTo>
                  <a:lnTo>
                    <a:pt x="445" y="3"/>
                  </a:lnTo>
                  <a:lnTo>
                    <a:pt x="442" y="1"/>
                  </a:lnTo>
                  <a:lnTo>
                    <a:pt x="439" y="0"/>
                  </a:lnTo>
                  <a:lnTo>
                    <a:pt x="436" y="0"/>
                  </a:lnTo>
                  <a:lnTo>
                    <a:pt x="256" y="0"/>
                  </a:lnTo>
                  <a:lnTo>
                    <a:pt x="253" y="0"/>
                  </a:lnTo>
                  <a:lnTo>
                    <a:pt x="250" y="1"/>
                  </a:lnTo>
                  <a:lnTo>
                    <a:pt x="247" y="3"/>
                  </a:lnTo>
                  <a:lnTo>
                    <a:pt x="245" y="5"/>
                  </a:lnTo>
                  <a:lnTo>
                    <a:pt x="243" y="7"/>
                  </a:lnTo>
                  <a:lnTo>
                    <a:pt x="242" y="10"/>
                  </a:lnTo>
                  <a:lnTo>
                    <a:pt x="241" y="12"/>
                  </a:lnTo>
                  <a:lnTo>
                    <a:pt x="241" y="15"/>
                  </a:lnTo>
                  <a:lnTo>
                    <a:pt x="241" y="19"/>
                  </a:lnTo>
                  <a:lnTo>
                    <a:pt x="242" y="22"/>
                  </a:lnTo>
                  <a:lnTo>
                    <a:pt x="243" y="24"/>
                  </a:lnTo>
                  <a:lnTo>
                    <a:pt x="245" y="26"/>
                  </a:lnTo>
                  <a:lnTo>
                    <a:pt x="247" y="28"/>
                  </a:lnTo>
                  <a:lnTo>
                    <a:pt x="250" y="29"/>
                  </a:lnTo>
                  <a:lnTo>
                    <a:pt x="253" y="30"/>
                  </a:lnTo>
                  <a:lnTo>
                    <a:pt x="256" y="30"/>
                  </a:lnTo>
                  <a:lnTo>
                    <a:pt x="421" y="30"/>
                  </a:lnTo>
                  <a:lnTo>
                    <a:pt x="421" y="391"/>
                  </a:lnTo>
                  <a:lnTo>
                    <a:pt x="254" y="391"/>
                  </a:lnTo>
                  <a:lnTo>
                    <a:pt x="253" y="385"/>
                  </a:lnTo>
                  <a:lnTo>
                    <a:pt x="251" y="378"/>
                  </a:lnTo>
                  <a:lnTo>
                    <a:pt x="249" y="373"/>
                  </a:lnTo>
                  <a:lnTo>
                    <a:pt x="245" y="368"/>
                  </a:lnTo>
                  <a:lnTo>
                    <a:pt x="238" y="357"/>
                  </a:lnTo>
                  <a:lnTo>
                    <a:pt x="228" y="349"/>
                  </a:lnTo>
                  <a:lnTo>
                    <a:pt x="224" y="344"/>
                  </a:lnTo>
                  <a:lnTo>
                    <a:pt x="219" y="341"/>
                  </a:lnTo>
                  <a:lnTo>
                    <a:pt x="212" y="338"/>
                  </a:lnTo>
                  <a:lnTo>
                    <a:pt x="207" y="336"/>
                  </a:lnTo>
                  <a:lnTo>
                    <a:pt x="200" y="334"/>
                  </a:lnTo>
                  <a:lnTo>
                    <a:pt x="194" y="332"/>
                  </a:lnTo>
                  <a:lnTo>
                    <a:pt x="187" y="331"/>
                  </a:lnTo>
                  <a:lnTo>
                    <a:pt x="181" y="331"/>
                  </a:lnTo>
                  <a:lnTo>
                    <a:pt x="174" y="331"/>
                  </a:lnTo>
                  <a:lnTo>
                    <a:pt x="167" y="332"/>
                  </a:lnTo>
                  <a:lnTo>
                    <a:pt x="161" y="334"/>
                  </a:lnTo>
                  <a:lnTo>
                    <a:pt x="155" y="336"/>
                  </a:lnTo>
                  <a:lnTo>
                    <a:pt x="149" y="338"/>
                  </a:lnTo>
                  <a:lnTo>
                    <a:pt x="144" y="341"/>
                  </a:lnTo>
                  <a:lnTo>
                    <a:pt x="138" y="344"/>
                  </a:lnTo>
                  <a:lnTo>
                    <a:pt x="133" y="349"/>
                  </a:lnTo>
                  <a:lnTo>
                    <a:pt x="124" y="357"/>
                  </a:lnTo>
                  <a:lnTo>
                    <a:pt x="117" y="368"/>
                  </a:lnTo>
                  <a:lnTo>
                    <a:pt x="114" y="373"/>
                  </a:lnTo>
                  <a:lnTo>
                    <a:pt x="110" y="378"/>
                  </a:lnTo>
                  <a:lnTo>
                    <a:pt x="108" y="385"/>
                  </a:lnTo>
                  <a:lnTo>
                    <a:pt x="107" y="391"/>
                  </a:lnTo>
                  <a:lnTo>
                    <a:pt x="30" y="391"/>
                  </a:lnTo>
                  <a:lnTo>
                    <a:pt x="30" y="120"/>
                  </a:lnTo>
                  <a:lnTo>
                    <a:pt x="30" y="117"/>
                  </a:lnTo>
                  <a:lnTo>
                    <a:pt x="29" y="115"/>
                  </a:lnTo>
                  <a:lnTo>
                    <a:pt x="28" y="112"/>
                  </a:lnTo>
                  <a:lnTo>
                    <a:pt x="26" y="110"/>
                  </a:lnTo>
                  <a:lnTo>
                    <a:pt x="24" y="109"/>
                  </a:lnTo>
                  <a:lnTo>
                    <a:pt x="21" y="106"/>
                  </a:lnTo>
                  <a:lnTo>
                    <a:pt x="18" y="106"/>
                  </a:lnTo>
                  <a:lnTo>
                    <a:pt x="15" y="105"/>
                  </a:lnTo>
                  <a:lnTo>
                    <a:pt x="12" y="106"/>
                  </a:lnTo>
                  <a:lnTo>
                    <a:pt x="10" y="106"/>
                  </a:lnTo>
                  <a:lnTo>
                    <a:pt x="6" y="109"/>
                  </a:lnTo>
                  <a:lnTo>
                    <a:pt x="4" y="110"/>
                  </a:lnTo>
                  <a:lnTo>
                    <a:pt x="3" y="112"/>
                  </a:lnTo>
                  <a:lnTo>
                    <a:pt x="1" y="115"/>
                  </a:lnTo>
                  <a:lnTo>
                    <a:pt x="1" y="117"/>
                  </a:lnTo>
                  <a:lnTo>
                    <a:pt x="0" y="120"/>
                  </a:lnTo>
                  <a:lnTo>
                    <a:pt x="0" y="406"/>
                  </a:lnTo>
                  <a:lnTo>
                    <a:pt x="1" y="410"/>
                  </a:lnTo>
                  <a:lnTo>
                    <a:pt x="1" y="412"/>
                  </a:lnTo>
                  <a:lnTo>
                    <a:pt x="3" y="415"/>
                  </a:lnTo>
                  <a:lnTo>
                    <a:pt x="4" y="417"/>
                  </a:lnTo>
                  <a:lnTo>
                    <a:pt x="6" y="419"/>
                  </a:lnTo>
                  <a:lnTo>
                    <a:pt x="10" y="420"/>
                  </a:lnTo>
                  <a:lnTo>
                    <a:pt x="12" y="421"/>
                  </a:lnTo>
                  <a:lnTo>
                    <a:pt x="15" y="421"/>
                  </a:lnTo>
                  <a:lnTo>
                    <a:pt x="107" y="421"/>
                  </a:lnTo>
                  <a:lnTo>
                    <a:pt x="108" y="428"/>
                  </a:lnTo>
                  <a:lnTo>
                    <a:pt x="110" y="434"/>
                  </a:lnTo>
                  <a:lnTo>
                    <a:pt x="114" y="440"/>
                  </a:lnTo>
                  <a:lnTo>
                    <a:pt x="117" y="445"/>
                  </a:lnTo>
                  <a:lnTo>
                    <a:pt x="124" y="456"/>
                  </a:lnTo>
                  <a:lnTo>
                    <a:pt x="133" y="464"/>
                  </a:lnTo>
                  <a:lnTo>
                    <a:pt x="138" y="468"/>
                  </a:lnTo>
                  <a:lnTo>
                    <a:pt x="144" y="472"/>
                  </a:lnTo>
                  <a:lnTo>
                    <a:pt x="149" y="475"/>
                  </a:lnTo>
                  <a:lnTo>
                    <a:pt x="155" y="477"/>
                  </a:lnTo>
                  <a:lnTo>
                    <a:pt x="161" y="479"/>
                  </a:lnTo>
                  <a:lnTo>
                    <a:pt x="167" y="480"/>
                  </a:lnTo>
                  <a:lnTo>
                    <a:pt x="174" y="481"/>
                  </a:lnTo>
                  <a:lnTo>
                    <a:pt x="181" y="481"/>
                  </a:lnTo>
                  <a:lnTo>
                    <a:pt x="187" y="481"/>
                  </a:lnTo>
                  <a:lnTo>
                    <a:pt x="194" y="480"/>
                  </a:lnTo>
                  <a:lnTo>
                    <a:pt x="200" y="479"/>
                  </a:lnTo>
                  <a:lnTo>
                    <a:pt x="207" y="477"/>
                  </a:lnTo>
                  <a:lnTo>
                    <a:pt x="212" y="475"/>
                  </a:lnTo>
                  <a:lnTo>
                    <a:pt x="219" y="472"/>
                  </a:lnTo>
                  <a:lnTo>
                    <a:pt x="224" y="468"/>
                  </a:lnTo>
                  <a:lnTo>
                    <a:pt x="228" y="464"/>
                  </a:lnTo>
                  <a:lnTo>
                    <a:pt x="238" y="456"/>
                  </a:lnTo>
                  <a:lnTo>
                    <a:pt x="245" y="445"/>
                  </a:lnTo>
                  <a:lnTo>
                    <a:pt x="249" y="440"/>
                  </a:lnTo>
                  <a:lnTo>
                    <a:pt x="251" y="434"/>
                  </a:lnTo>
                  <a:lnTo>
                    <a:pt x="253" y="428"/>
                  </a:lnTo>
                  <a:lnTo>
                    <a:pt x="254" y="421"/>
                  </a:lnTo>
                  <a:lnTo>
                    <a:pt x="436" y="421"/>
                  </a:lnTo>
                  <a:lnTo>
                    <a:pt x="483" y="421"/>
                  </a:lnTo>
                  <a:lnTo>
                    <a:pt x="484" y="428"/>
                  </a:lnTo>
                  <a:lnTo>
                    <a:pt x="486" y="434"/>
                  </a:lnTo>
                  <a:lnTo>
                    <a:pt x="490" y="440"/>
                  </a:lnTo>
                  <a:lnTo>
                    <a:pt x="493" y="445"/>
                  </a:lnTo>
                  <a:lnTo>
                    <a:pt x="499" y="456"/>
                  </a:lnTo>
                  <a:lnTo>
                    <a:pt x="509" y="464"/>
                  </a:lnTo>
                  <a:lnTo>
                    <a:pt x="514" y="468"/>
                  </a:lnTo>
                  <a:lnTo>
                    <a:pt x="520" y="472"/>
                  </a:lnTo>
                  <a:lnTo>
                    <a:pt x="525" y="475"/>
                  </a:lnTo>
                  <a:lnTo>
                    <a:pt x="530" y="477"/>
                  </a:lnTo>
                  <a:lnTo>
                    <a:pt x="537" y="479"/>
                  </a:lnTo>
                  <a:lnTo>
                    <a:pt x="543" y="480"/>
                  </a:lnTo>
                  <a:lnTo>
                    <a:pt x="550" y="481"/>
                  </a:lnTo>
                  <a:lnTo>
                    <a:pt x="557" y="481"/>
                  </a:lnTo>
                  <a:lnTo>
                    <a:pt x="563" y="481"/>
                  </a:lnTo>
                  <a:lnTo>
                    <a:pt x="570" y="480"/>
                  </a:lnTo>
                  <a:lnTo>
                    <a:pt x="576" y="479"/>
                  </a:lnTo>
                  <a:lnTo>
                    <a:pt x="583" y="477"/>
                  </a:lnTo>
                  <a:lnTo>
                    <a:pt x="588" y="475"/>
                  </a:lnTo>
                  <a:lnTo>
                    <a:pt x="593" y="472"/>
                  </a:lnTo>
                  <a:lnTo>
                    <a:pt x="599" y="468"/>
                  </a:lnTo>
                  <a:lnTo>
                    <a:pt x="604" y="464"/>
                  </a:lnTo>
                  <a:lnTo>
                    <a:pt x="614" y="456"/>
                  </a:lnTo>
                  <a:lnTo>
                    <a:pt x="621" y="445"/>
                  </a:lnTo>
                  <a:lnTo>
                    <a:pt x="623" y="440"/>
                  </a:lnTo>
                  <a:lnTo>
                    <a:pt x="627" y="434"/>
                  </a:lnTo>
                  <a:lnTo>
                    <a:pt x="629" y="428"/>
                  </a:lnTo>
                  <a:lnTo>
                    <a:pt x="630" y="421"/>
                  </a:lnTo>
                  <a:lnTo>
                    <a:pt x="707" y="421"/>
                  </a:lnTo>
                  <a:lnTo>
                    <a:pt x="710" y="421"/>
                  </a:lnTo>
                  <a:lnTo>
                    <a:pt x="712" y="420"/>
                  </a:lnTo>
                  <a:lnTo>
                    <a:pt x="716" y="419"/>
                  </a:lnTo>
                  <a:lnTo>
                    <a:pt x="718" y="417"/>
                  </a:lnTo>
                  <a:lnTo>
                    <a:pt x="720" y="415"/>
                  </a:lnTo>
                  <a:lnTo>
                    <a:pt x="721" y="412"/>
                  </a:lnTo>
                  <a:lnTo>
                    <a:pt x="722" y="410"/>
                  </a:lnTo>
                  <a:lnTo>
                    <a:pt x="722" y="406"/>
                  </a:lnTo>
                  <a:lnTo>
                    <a:pt x="722" y="256"/>
                  </a:lnTo>
                  <a:lnTo>
                    <a:pt x="722" y="253"/>
                  </a:lnTo>
                  <a:lnTo>
                    <a:pt x="721" y="250"/>
                  </a:lnTo>
                  <a:lnTo>
                    <a:pt x="721" y="2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8" name="Freeform 220"/>
            <p:cNvSpPr>
              <a:spLocks/>
            </p:cNvSpPr>
            <p:nvPr/>
          </p:nvSpPr>
          <p:spPr bwMode="auto">
            <a:xfrm>
              <a:off x="8793163" y="2565400"/>
              <a:ext cx="28575" cy="38100"/>
            </a:xfrm>
            <a:custGeom>
              <a:avLst/>
              <a:gdLst>
                <a:gd name="T0" fmla="*/ 15 w 90"/>
                <a:gd name="T1" fmla="*/ 120 h 120"/>
                <a:gd name="T2" fmla="*/ 75 w 90"/>
                <a:gd name="T3" fmla="*/ 120 h 120"/>
                <a:gd name="T4" fmla="*/ 78 w 90"/>
                <a:gd name="T5" fmla="*/ 120 h 120"/>
                <a:gd name="T6" fmla="*/ 81 w 90"/>
                <a:gd name="T7" fmla="*/ 119 h 120"/>
                <a:gd name="T8" fmla="*/ 84 w 90"/>
                <a:gd name="T9" fmla="*/ 117 h 120"/>
                <a:gd name="T10" fmla="*/ 86 w 90"/>
                <a:gd name="T11" fmla="*/ 116 h 120"/>
                <a:gd name="T12" fmla="*/ 88 w 90"/>
                <a:gd name="T13" fmla="*/ 114 h 120"/>
                <a:gd name="T14" fmla="*/ 89 w 90"/>
                <a:gd name="T15" fmla="*/ 111 h 120"/>
                <a:gd name="T16" fmla="*/ 90 w 90"/>
                <a:gd name="T17" fmla="*/ 109 h 120"/>
                <a:gd name="T18" fmla="*/ 90 w 90"/>
                <a:gd name="T19" fmla="*/ 105 h 120"/>
                <a:gd name="T20" fmla="*/ 90 w 90"/>
                <a:gd name="T21" fmla="*/ 102 h 120"/>
                <a:gd name="T22" fmla="*/ 89 w 90"/>
                <a:gd name="T23" fmla="*/ 99 h 120"/>
                <a:gd name="T24" fmla="*/ 88 w 90"/>
                <a:gd name="T25" fmla="*/ 97 h 120"/>
                <a:gd name="T26" fmla="*/ 86 w 90"/>
                <a:gd name="T27" fmla="*/ 95 h 120"/>
                <a:gd name="T28" fmla="*/ 84 w 90"/>
                <a:gd name="T29" fmla="*/ 93 h 120"/>
                <a:gd name="T30" fmla="*/ 81 w 90"/>
                <a:gd name="T31" fmla="*/ 91 h 120"/>
                <a:gd name="T32" fmla="*/ 78 w 90"/>
                <a:gd name="T33" fmla="*/ 90 h 120"/>
                <a:gd name="T34" fmla="*/ 75 w 90"/>
                <a:gd name="T35" fmla="*/ 90 h 120"/>
                <a:gd name="T36" fmla="*/ 30 w 90"/>
                <a:gd name="T37" fmla="*/ 90 h 120"/>
                <a:gd name="T38" fmla="*/ 30 w 90"/>
                <a:gd name="T39" fmla="*/ 15 h 120"/>
                <a:gd name="T40" fmla="*/ 30 w 90"/>
                <a:gd name="T41" fmla="*/ 12 h 120"/>
                <a:gd name="T42" fmla="*/ 29 w 90"/>
                <a:gd name="T43" fmla="*/ 9 h 120"/>
                <a:gd name="T44" fmla="*/ 28 w 90"/>
                <a:gd name="T45" fmla="*/ 7 h 120"/>
                <a:gd name="T46" fmla="*/ 26 w 90"/>
                <a:gd name="T47" fmla="*/ 5 h 120"/>
                <a:gd name="T48" fmla="*/ 24 w 90"/>
                <a:gd name="T49" fmla="*/ 3 h 120"/>
                <a:gd name="T50" fmla="*/ 21 w 90"/>
                <a:gd name="T51" fmla="*/ 1 h 120"/>
                <a:gd name="T52" fmla="*/ 18 w 90"/>
                <a:gd name="T53" fmla="*/ 0 h 120"/>
                <a:gd name="T54" fmla="*/ 15 w 90"/>
                <a:gd name="T55" fmla="*/ 0 h 120"/>
                <a:gd name="T56" fmla="*/ 12 w 90"/>
                <a:gd name="T57" fmla="*/ 0 h 120"/>
                <a:gd name="T58" fmla="*/ 10 w 90"/>
                <a:gd name="T59" fmla="*/ 1 h 120"/>
                <a:gd name="T60" fmla="*/ 6 w 90"/>
                <a:gd name="T61" fmla="*/ 3 h 120"/>
                <a:gd name="T62" fmla="*/ 4 w 90"/>
                <a:gd name="T63" fmla="*/ 5 h 120"/>
                <a:gd name="T64" fmla="*/ 3 w 90"/>
                <a:gd name="T65" fmla="*/ 7 h 120"/>
                <a:gd name="T66" fmla="*/ 1 w 90"/>
                <a:gd name="T67" fmla="*/ 9 h 120"/>
                <a:gd name="T68" fmla="*/ 1 w 90"/>
                <a:gd name="T69" fmla="*/ 12 h 120"/>
                <a:gd name="T70" fmla="*/ 0 w 90"/>
                <a:gd name="T71" fmla="*/ 15 h 120"/>
                <a:gd name="T72" fmla="*/ 0 w 90"/>
                <a:gd name="T73" fmla="*/ 105 h 120"/>
                <a:gd name="T74" fmla="*/ 1 w 90"/>
                <a:gd name="T75" fmla="*/ 109 h 120"/>
                <a:gd name="T76" fmla="*/ 1 w 90"/>
                <a:gd name="T77" fmla="*/ 111 h 120"/>
                <a:gd name="T78" fmla="*/ 3 w 90"/>
                <a:gd name="T79" fmla="*/ 114 h 120"/>
                <a:gd name="T80" fmla="*/ 4 w 90"/>
                <a:gd name="T81" fmla="*/ 116 h 120"/>
                <a:gd name="T82" fmla="*/ 6 w 90"/>
                <a:gd name="T83" fmla="*/ 117 h 120"/>
                <a:gd name="T84" fmla="*/ 10 w 90"/>
                <a:gd name="T85" fmla="*/ 119 h 120"/>
                <a:gd name="T86" fmla="*/ 13 w 90"/>
                <a:gd name="T87" fmla="*/ 120 h 120"/>
                <a:gd name="T88" fmla="*/ 15 w 90"/>
                <a:gd name="T89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90" h="120">
                  <a:moveTo>
                    <a:pt x="15" y="120"/>
                  </a:moveTo>
                  <a:lnTo>
                    <a:pt x="75" y="120"/>
                  </a:lnTo>
                  <a:lnTo>
                    <a:pt x="78" y="120"/>
                  </a:lnTo>
                  <a:lnTo>
                    <a:pt x="81" y="119"/>
                  </a:lnTo>
                  <a:lnTo>
                    <a:pt x="84" y="117"/>
                  </a:lnTo>
                  <a:lnTo>
                    <a:pt x="86" y="116"/>
                  </a:lnTo>
                  <a:lnTo>
                    <a:pt x="88" y="114"/>
                  </a:lnTo>
                  <a:lnTo>
                    <a:pt x="89" y="111"/>
                  </a:lnTo>
                  <a:lnTo>
                    <a:pt x="90" y="109"/>
                  </a:lnTo>
                  <a:lnTo>
                    <a:pt x="90" y="105"/>
                  </a:lnTo>
                  <a:lnTo>
                    <a:pt x="90" y="102"/>
                  </a:lnTo>
                  <a:lnTo>
                    <a:pt x="89" y="99"/>
                  </a:lnTo>
                  <a:lnTo>
                    <a:pt x="88" y="97"/>
                  </a:lnTo>
                  <a:lnTo>
                    <a:pt x="86" y="95"/>
                  </a:lnTo>
                  <a:lnTo>
                    <a:pt x="84" y="93"/>
                  </a:lnTo>
                  <a:lnTo>
                    <a:pt x="81" y="91"/>
                  </a:lnTo>
                  <a:lnTo>
                    <a:pt x="78" y="90"/>
                  </a:lnTo>
                  <a:lnTo>
                    <a:pt x="75" y="90"/>
                  </a:lnTo>
                  <a:lnTo>
                    <a:pt x="30" y="90"/>
                  </a:lnTo>
                  <a:lnTo>
                    <a:pt x="30" y="15"/>
                  </a:lnTo>
                  <a:lnTo>
                    <a:pt x="30" y="12"/>
                  </a:lnTo>
                  <a:lnTo>
                    <a:pt x="29" y="9"/>
                  </a:lnTo>
                  <a:lnTo>
                    <a:pt x="28" y="7"/>
                  </a:lnTo>
                  <a:lnTo>
                    <a:pt x="26" y="5"/>
                  </a:lnTo>
                  <a:lnTo>
                    <a:pt x="24" y="3"/>
                  </a:lnTo>
                  <a:lnTo>
                    <a:pt x="21" y="1"/>
                  </a:lnTo>
                  <a:lnTo>
                    <a:pt x="18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6" y="3"/>
                  </a:lnTo>
                  <a:lnTo>
                    <a:pt x="4" y="5"/>
                  </a:lnTo>
                  <a:lnTo>
                    <a:pt x="3" y="7"/>
                  </a:lnTo>
                  <a:lnTo>
                    <a:pt x="1" y="9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0" y="105"/>
                  </a:lnTo>
                  <a:lnTo>
                    <a:pt x="1" y="109"/>
                  </a:lnTo>
                  <a:lnTo>
                    <a:pt x="1" y="111"/>
                  </a:lnTo>
                  <a:lnTo>
                    <a:pt x="3" y="114"/>
                  </a:lnTo>
                  <a:lnTo>
                    <a:pt x="4" y="116"/>
                  </a:lnTo>
                  <a:lnTo>
                    <a:pt x="6" y="117"/>
                  </a:lnTo>
                  <a:lnTo>
                    <a:pt x="10" y="119"/>
                  </a:lnTo>
                  <a:lnTo>
                    <a:pt x="13" y="120"/>
                  </a:lnTo>
                  <a:lnTo>
                    <a:pt x="15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9" name="Freeform 221"/>
            <p:cNvSpPr>
              <a:spLocks/>
            </p:cNvSpPr>
            <p:nvPr/>
          </p:nvSpPr>
          <p:spPr bwMode="auto">
            <a:xfrm>
              <a:off x="8736013" y="2698750"/>
              <a:ext cx="47625" cy="11113"/>
            </a:xfrm>
            <a:custGeom>
              <a:avLst/>
              <a:gdLst>
                <a:gd name="T0" fmla="*/ 135 w 150"/>
                <a:gd name="T1" fmla="*/ 0 h 31"/>
                <a:gd name="T2" fmla="*/ 15 w 150"/>
                <a:gd name="T3" fmla="*/ 0 h 31"/>
                <a:gd name="T4" fmla="*/ 12 w 150"/>
                <a:gd name="T5" fmla="*/ 1 h 31"/>
                <a:gd name="T6" fmla="*/ 9 w 150"/>
                <a:gd name="T7" fmla="*/ 2 h 31"/>
                <a:gd name="T8" fmla="*/ 6 w 150"/>
                <a:gd name="T9" fmla="*/ 4 h 31"/>
                <a:gd name="T10" fmla="*/ 4 w 150"/>
                <a:gd name="T11" fmla="*/ 6 h 31"/>
                <a:gd name="T12" fmla="*/ 2 w 150"/>
                <a:gd name="T13" fmla="*/ 8 h 31"/>
                <a:gd name="T14" fmla="*/ 1 w 150"/>
                <a:gd name="T15" fmla="*/ 10 h 31"/>
                <a:gd name="T16" fmla="*/ 0 w 150"/>
                <a:gd name="T17" fmla="*/ 13 h 31"/>
                <a:gd name="T18" fmla="*/ 0 w 150"/>
                <a:gd name="T19" fmla="*/ 16 h 31"/>
                <a:gd name="T20" fmla="*/ 0 w 150"/>
                <a:gd name="T21" fmla="*/ 19 h 31"/>
                <a:gd name="T22" fmla="*/ 1 w 150"/>
                <a:gd name="T23" fmla="*/ 22 h 31"/>
                <a:gd name="T24" fmla="*/ 2 w 150"/>
                <a:gd name="T25" fmla="*/ 24 h 31"/>
                <a:gd name="T26" fmla="*/ 4 w 150"/>
                <a:gd name="T27" fmla="*/ 26 h 31"/>
                <a:gd name="T28" fmla="*/ 6 w 150"/>
                <a:gd name="T29" fmla="*/ 28 h 31"/>
                <a:gd name="T30" fmla="*/ 9 w 150"/>
                <a:gd name="T31" fmla="*/ 29 h 31"/>
                <a:gd name="T32" fmla="*/ 12 w 150"/>
                <a:gd name="T33" fmla="*/ 30 h 31"/>
                <a:gd name="T34" fmla="*/ 15 w 150"/>
                <a:gd name="T35" fmla="*/ 31 h 31"/>
                <a:gd name="T36" fmla="*/ 135 w 150"/>
                <a:gd name="T37" fmla="*/ 31 h 31"/>
                <a:gd name="T38" fmla="*/ 138 w 150"/>
                <a:gd name="T39" fmla="*/ 30 h 31"/>
                <a:gd name="T40" fmla="*/ 141 w 150"/>
                <a:gd name="T41" fmla="*/ 29 h 31"/>
                <a:gd name="T42" fmla="*/ 144 w 150"/>
                <a:gd name="T43" fmla="*/ 28 h 31"/>
                <a:gd name="T44" fmla="*/ 146 w 150"/>
                <a:gd name="T45" fmla="*/ 26 h 31"/>
                <a:gd name="T46" fmla="*/ 148 w 150"/>
                <a:gd name="T47" fmla="*/ 24 h 31"/>
                <a:gd name="T48" fmla="*/ 149 w 150"/>
                <a:gd name="T49" fmla="*/ 22 h 31"/>
                <a:gd name="T50" fmla="*/ 150 w 150"/>
                <a:gd name="T51" fmla="*/ 19 h 31"/>
                <a:gd name="T52" fmla="*/ 150 w 150"/>
                <a:gd name="T53" fmla="*/ 16 h 31"/>
                <a:gd name="T54" fmla="*/ 150 w 150"/>
                <a:gd name="T55" fmla="*/ 13 h 31"/>
                <a:gd name="T56" fmla="*/ 149 w 150"/>
                <a:gd name="T57" fmla="*/ 10 h 31"/>
                <a:gd name="T58" fmla="*/ 148 w 150"/>
                <a:gd name="T59" fmla="*/ 8 h 31"/>
                <a:gd name="T60" fmla="*/ 146 w 150"/>
                <a:gd name="T61" fmla="*/ 6 h 31"/>
                <a:gd name="T62" fmla="*/ 144 w 150"/>
                <a:gd name="T63" fmla="*/ 4 h 31"/>
                <a:gd name="T64" fmla="*/ 141 w 150"/>
                <a:gd name="T65" fmla="*/ 2 h 31"/>
                <a:gd name="T66" fmla="*/ 138 w 150"/>
                <a:gd name="T67" fmla="*/ 1 h 31"/>
                <a:gd name="T68" fmla="*/ 135 w 150"/>
                <a:gd name="T69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0" h="31">
                  <a:moveTo>
                    <a:pt x="135" y="0"/>
                  </a:moveTo>
                  <a:lnTo>
                    <a:pt x="15" y="0"/>
                  </a:lnTo>
                  <a:lnTo>
                    <a:pt x="12" y="1"/>
                  </a:lnTo>
                  <a:lnTo>
                    <a:pt x="9" y="2"/>
                  </a:lnTo>
                  <a:lnTo>
                    <a:pt x="6" y="4"/>
                  </a:lnTo>
                  <a:lnTo>
                    <a:pt x="4" y="6"/>
                  </a:lnTo>
                  <a:lnTo>
                    <a:pt x="2" y="8"/>
                  </a:lnTo>
                  <a:lnTo>
                    <a:pt x="1" y="10"/>
                  </a:lnTo>
                  <a:lnTo>
                    <a:pt x="0" y="13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1" y="22"/>
                  </a:lnTo>
                  <a:lnTo>
                    <a:pt x="2" y="24"/>
                  </a:lnTo>
                  <a:lnTo>
                    <a:pt x="4" y="26"/>
                  </a:lnTo>
                  <a:lnTo>
                    <a:pt x="6" y="28"/>
                  </a:lnTo>
                  <a:lnTo>
                    <a:pt x="9" y="29"/>
                  </a:lnTo>
                  <a:lnTo>
                    <a:pt x="12" y="30"/>
                  </a:lnTo>
                  <a:lnTo>
                    <a:pt x="15" y="31"/>
                  </a:lnTo>
                  <a:lnTo>
                    <a:pt x="135" y="31"/>
                  </a:lnTo>
                  <a:lnTo>
                    <a:pt x="138" y="30"/>
                  </a:lnTo>
                  <a:lnTo>
                    <a:pt x="141" y="29"/>
                  </a:lnTo>
                  <a:lnTo>
                    <a:pt x="144" y="28"/>
                  </a:lnTo>
                  <a:lnTo>
                    <a:pt x="146" y="26"/>
                  </a:lnTo>
                  <a:lnTo>
                    <a:pt x="148" y="24"/>
                  </a:lnTo>
                  <a:lnTo>
                    <a:pt x="149" y="22"/>
                  </a:lnTo>
                  <a:lnTo>
                    <a:pt x="150" y="19"/>
                  </a:lnTo>
                  <a:lnTo>
                    <a:pt x="150" y="16"/>
                  </a:lnTo>
                  <a:lnTo>
                    <a:pt x="150" y="13"/>
                  </a:lnTo>
                  <a:lnTo>
                    <a:pt x="149" y="10"/>
                  </a:lnTo>
                  <a:lnTo>
                    <a:pt x="148" y="8"/>
                  </a:lnTo>
                  <a:lnTo>
                    <a:pt x="146" y="6"/>
                  </a:lnTo>
                  <a:lnTo>
                    <a:pt x="144" y="4"/>
                  </a:lnTo>
                  <a:lnTo>
                    <a:pt x="141" y="2"/>
                  </a:lnTo>
                  <a:lnTo>
                    <a:pt x="138" y="1"/>
                  </a:lnTo>
                  <a:lnTo>
                    <a:pt x="13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0" name="Freeform 222"/>
            <p:cNvSpPr>
              <a:spLocks/>
            </p:cNvSpPr>
            <p:nvPr/>
          </p:nvSpPr>
          <p:spPr bwMode="auto">
            <a:xfrm>
              <a:off x="8755063" y="2719388"/>
              <a:ext cx="28575" cy="9525"/>
            </a:xfrm>
            <a:custGeom>
              <a:avLst/>
              <a:gdLst>
                <a:gd name="T0" fmla="*/ 75 w 90"/>
                <a:gd name="T1" fmla="*/ 0 h 30"/>
                <a:gd name="T2" fmla="*/ 15 w 90"/>
                <a:gd name="T3" fmla="*/ 0 h 30"/>
                <a:gd name="T4" fmla="*/ 12 w 90"/>
                <a:gd name="T5" fmla="*/ 0 h 30"/>
                <a:gd name="T6" fmla="*/ 10 w 90"/>
                <a:gd name="T7" fmla="*/ 1 h 30"/>
                <a:gd name="T8" fmla="*/ 6 w 90"/>
                <a:gd name="T9" fmla="*/ 3 h 30"/>
                <a:gd name="T10" fmla="*/ 4 w 90"/>
                <a:gd name="T11" fmla="*/ 5 h 30"/>
                <a:gd name="T12" fmla="*/ 2 w 90"/>
                <a:gd name="T13" fmla="*/ 7 h 30"/>
                <a:gd name="T14" fmla="*/ 1 w 90"/>
                <a:gd name="T15" fmla="*/ 9 h 30"/>
                <a:gd name="T16" fmla="*/ 0 w 90"/>
                <a:gd name="T17" fmla="*/ 12 h 30"/>
                <a:gd name="T18" fmla="*/ 0 w 90"/>
                <a:gd name="T19" fmla="*/ 15 h 30"/>
                <a:gd name="T20" fmla="*/ 0 w 90"/>
                <a:gd name="T21" fmla="*/ 19 h 30"/>
                <a:gd name="T22" fmla="*/ 1 w 90"/>
                <a:gd name="T23" fmla="*/ 21 h 30"/>
                <a:gd name="T24" fmla="*/ 2 w 90"/>
                <a:gd name="T25" fmla="*/ 24 h 30"/>
                <a:gd name="T26" fmla="*/ 4 w 90"/>
                <a:gd name="T27" fmla="*/ 26 h 30"/>
                <a:gd name="T28" fmla="*/ 6 w 90"/>
                <a:gd name="T29" fmla="*/ 27 h 30"/>
                <a:gd name="T30" fmla="*/ 10 w 90"/>
                <a:gd name="T31" fmla="*/ 29 h 30"/>
                <a:gd name="T32" fmla="*/ 12 w 90"/>
                <a:gd name="T33" fmla="*/ 29 h 30"/>
                <a:gd name="T34" fmla="*/ 15 w 90"/>
                <a:gd name="T35" fmla="*/ 30 h 30"/>
                <a:gd name="T36" fmla="*/ 75 w 90"/>
                <a:gd name="T37" fmla="*/ 30 h 30"/>
                <a:gd name="T38" fmla="*/ 78 w 90"/>
                <a:gd name="T39" fmla="*/ 29 h 30"/>
                <a:gd name="T40" fmla="*/ 81 w 90"/>
                <a:gd name="T41" fmla="*/ 29 h 30"/>
                <a:gd name="T42" fmla="*/ 84 w 90"/>
                <a:gd name="T43" fmla="*/ 27 h 30"/>
                <a:gd name="T44" fmla="*/ 86 w 90"/>
                <a:gd name="T45" fmla="*/ 26 h 30"/>
                <a:gd name="T46" fmla="*/ 88 w 90"/>
                <a:gd name="T47" fmla="*/ 24 h 30"/>
                <a:gd name="T48" fmla="*/ 89 w 90"/>
                <a:gd name="T49" fmla="*/ 21 h 30"/>
                <a:gd name="T50" fmla="*/ 90 w 90"/>
                <a:gd name="T51" fmla="*/ 19 h 30"/>
                <a:gd name="T52" fmla="*/ 90 w 90"/>
                <a:gd name="T53" fmla="*/ 15 h 30"/>
                <a:gd name="T54" fmla="*/ 90 w 90"/>
                <a:gd name="T55" fmla="*/ 12 h 30"/>
                <a:gd name="T56" fmla="*/ 89 w 90"/>
                <a:gd name="T57" fmla="*/ 9 h 30"/>
                <a:gd name="T58" fmla="*/ 88 w 90"/>
                <a:gd name="T59" fmla="*/ 7 h 30"/>
                <a:gd name="T60" fmla="*/ 86 w 90"/>
                <a:gd name="T61" fmla="*/ 5 h 30"/>
                <a:gd name="T62" fmla="*/ 84 w 90"/>
                <a:gd name="T63" fmla="*/ 3 h 30"/>
                <a:gd name="T64" fmla="*/ 81 w 90"/>
                <a:gd name="T65" fmla="*/ 1 h 30"/>
                <a:gd name="T66" fmla="*/ 78 w 90"/>
                <a:gd name="T67" fmla="*/ 0 h 30"/>
                <a:gd name="T68" fmla="*/ 75 w 90"/>
                <a:gd name="T69" fmla="*/ 0 h 30"/>
                <a:gd name="T70" fmla="*/ 75 w 90"/>
                <a:gd name="T7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0" h="30">
                  <a:moveTo>
                    <a:pt x="75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6" y="3"/>
                  </a:lnTo>
                  <a:lnTo>
                    <a:pt x="4" y="5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9"/>
                  </a:lnTo>
                  <a:lnTo>
                    <a:pt x="1" y="21"/>
                  </a:lnTo>
                  <a:lnTo>
                    <a:pt x="2" y="24"/>
                  </a:lnTo>
                  <a:lnTo>
                    <a:pt x="4" y="26"/>
                  </a:lnTo>
                  <a:lnTo>
                    <a:pt x="6" y="27"/>
                  </a:lnTo>
                  <a:lnTo>
                    <a:pt x="10" y="29"/>
                  </a:lnTo>
                  <a:lnTo>
                    <a:pt x="12" y="29"/>
                  </a:lnTo>
                  <a:lnTo>
                    <a:pt x="15" y="30"/>
                  </a:lnTo>
                  <a:lnTo>
                    <a:pt x="75" y="30"/>
                  </a:lnTo>
                  <a:lnTo>
                    <a:pt x="78" y="29"/>
                  </a:lnTo>
                  <a:lnTo>
                    <a:pt x="81" y="29"/>
                  </a:lnTo>
                  <a:lnTo>
                    <a:pt x="84" y="27"/>
                  </a:lnTo>
                  <a:lnTo>
                    <a:pt x="86" y="26"/>
                  </a:lnTo>
                  <a:lnTo>
                    <a:pt x="88" y="24"/>
                  </a:lnTo>
                  <a:lnTo>
                    <a:pt x="89" y="21"/>
                  </a:lnTo>
                  <a:lnTo>
                    <a:pt x="90" y="19"/>
                  </a:lnTo>
                  <a:lnTo>
                    <a:pt x="90" y="15"/>
                  </a:lnTo>
                  <a:lnTo>
                    <a:pt x="90" y="12"/>
                  </a:lnTo>
                  <a:lnTo>
                    <a:pt x="89" y="9"/>
                  </a:lnTo>
                  <a:lnTo>
                    <a:pt x="88" y="7"/>
                  </a:lnTo>
                  <a:lnTo>
                    <a:pt x="86" y="5"/>
                  </a:lnTo>
                  <a:lnTo>
                    <a:pt x="84" y="3"/>
                  </a:lnTo>
                  <a:lnTo>
                    <a:pt x="81" y="1"/>
                  </a:lnTo>
                  <a:lnTo>
                    <a:pt x="78" y="0"/>
                  </a:lnTo>
                  <a:lnTo>
                    <a:pt x="75" y="0"/>
                  </a:lnTo>
                  <a:lnTo>
                    <a:pt x="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1" name="Freeform 223"/>
            <p:cNvSpPr>
              <a:spLocks/>
            </p:cNvSpPr>
            <p:nvPr/>
          </p:nvSpPr>
          <p:spPr bwMode="auto">
            <a:xfrm>
              <a:off x="8764588" y="2738438"/>
              <a:ext cx="19050" cy="9525"/>
            </a:xfrm>
            <a:custGeom>
              <a:avLst/>
              <a:gdLst>
                <a:gd name="T0" fmla="*/ 45 w 60"/>
                <a:gd name="T1" fmla="*/ 0 h 30"/>
                <a:gd name="T2" fmla="*/ 15 w 60"/>
                <a:gd name="T3" fmla="*/ 0 h 30"/>
                <a:gd name="T4" fmla="*/ 12 w 60"/>
                <a:gd name="T5" fmla="*/ 0 h 30"/>
                <a:gd name="T6" fmla="*/ 10 w 60"/>
                <a:gd name="T7" fmla="*/ 1 h 30"/>
                <a:gd name="T8" fmla="*/ 6 w 60"/>
                <a:gd name="T9" fmla="*/ 3 h 30"/>
                <a:gd name="T10" fmla="*/ 4 w 60"/>
                <a:gd name="T11" fmla="*/ 5 h 30"/>
                <a:gd name="T12" fmla="*/ 2 w 60"/>
                <a:gd name="T13" fmla="*/ 7 h 30"/>
                <a:gd name="T14" fmla="*/ 1 w 60"/>
                <a:gd name="T15" fmla="*/ 9 h 30"/>
                <a:gd name="T16" fmla="*/ 0 w 60"/>
                <a:gd name="T17" fmla="*/ 12 h 30"/>
                <a:gd name="T18" fmla="*/ 0 w 60"/>
                <a:gd name="T19" fmla="*/ 15 h 30"/>
                <a:gd name="T20" fmla="*/ 0 w 60"/>
                <a:gd name="T21" fmla="*/ 19 h 30"/>
                <a:gd name="T22" fmla="*/ 1 w 60"/>
                <a:gd name="T23" fmla="*/ 21 h 30"/>
                <a:gd name="T24" fmla="*/ 2 w 60"/>
                <a:gd name="T25" fmla="*/ 24 h 30"/>
                <a:gd name="T26" fmla="*/ 4 w 60"/>
                <a:gd name="T27" fmla="*/ 26 h 30"/>
                <a:gd name="T28" fmla="*/ 6 w 60"/>
                <a:gd name="T29" fmla="*/ 27 h 30"/>
                <a:gd name="T30" fmla="*/ 10 w 60"/>
                <a:gd name="T31" fmla="*/ 29 h 30"/>
                <a:gd name="T32" fmla="*/ 12 w 60"/>
                <a:gd name="T33" fmla="*/ 30 h 30"/>
                <a:gd name="T34" fmla="*/ 15 w 60"/>
                <a:gd name="T35" fmla="*/ 30 h 30"/>
                <a:gd name="T36" fmla="*/ 45 w 60"/>
                <a:gd name="T37" fmla="*/ 30 h 30"/>
                <a:gd name="T38" fmla="*/ 48 w 60"/>
                <a:gd name="T39" fmla="*/ 30 h 30"/>
                <a:gd name="T40" fmla="*/ 51 w 60"/>
                <a:gd name="T41" fmla="*/ 29 h 30"/>
                <a:gd name="T42" fmla="*/ 54 w 60"/>
                <a:gd name="T43" fmla="*/ 27 h 30"/>
                <a:gd name="T44" fmla="*/ 56 w 60"/>
                <a:gd name="T45" fmla="*/ 26 h 30"/>
                <a:gd name="T46" fmla="*/ 58 w 60"/>
                <a:gd name="T47" fmla="*/ 24 h 30"/>
                <a:gd name="T48" fmla="*/ 59 w 60"/>
                <a:gd name="T49" fmla="*/ 21 h 30"/>
                <a:gd name="T50" fmla="*/ 60 w 60"/>
                <a:gd name="T51" fmla="*/ 19 h 30"/>
                <a:gd name="T52" fmla="*/ 60 w 60"/>
                <a:gd name="T53" fmla="*/ 15 h 30"/>
                <a:gd name="T54" fmla="*/ 60 w 60"/>
                <a:gd name="T55" fmla="*/ 12 h 30"/>
                <a:gd name="T56" fmla="*/ 59 w 60"/>
                <a:gd name="T57" fmla="*/ 9 h 30"/>
                <a:gd name="T58" fmla="*/ 58 w 60"/>
                <a:gd name="T59" fmla="*/ 7 h 30"/>
                <a:gd name="T60" fmla="*/ 56 w 60"/>
                <a:gd name="T61" fmla="*/ 5 h 30"/>
                <a:gd name="T62" fmla="*/ 54 w 60"/>
                <a:gd name="T63" fmla="*/ 3 h 30"/>
                <a:gd name="T64" fmla="*/ 51 w 60"/>
                <a:gd name="T65" fmla="*/ 1 h 30"/>
                <a:gd name="T66" fmla="*/ 48 w 60"/>
                <a:gd name="T67" fmla="*/ 0 h 30"/>
                <a:gd name="T68" fmla="*/ 45 w 60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" h="30">
                  <a:moveTo>
                    <a:pt x="45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6" y="3"/>
                  </a:lnTo>
                  <a:lnTo>
                    <a:pt x="4" y="5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9"/>
                  </a:lnTo>
                  <a:lnTo>
                    <a:pt x="1" y="21"/>
                  </a:lnTo>
                  <a:lnTo>
                    <a:pt x="2" y="24"/>
                  </a:lnTo>
                  <a:lnTo>
                    <a:pt x="4" y="26"/>
                  </a:lnTo>
                  <a:lnTo>
                    <a:pt x="6" y="27"/>
                  </a:lnTo>
                  <a:lnTo>
                    <a:pt x="10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45" y="30"/>
                  </a:lnTo>
                  <a:lnTo>
                    <a:pt x="48" y="30"/>
                  </a:lnTo>
                  <a:lnTo>
                    <a:pt x="51" y="29"/>
                  </a:lnTo>
                  <a:lnTo>
                    <a:pt x="54" y="27"/>
                  </a:lnTo>
                  <a:lnTo>
                    <a:pt x="56" y="26"/>
                  </a:lnTo>
                  <a:lnTo>
                    <a:pt x="58" y="24"/>
                  </a:lnTo>
                  <a:lnTo>
                    <a:pt x="59" y="21"/>
                  </a:lnTo>
                  <a:lnTo>
                    <a:pt x="60" y="19"/>
                  </a:lnTo>
                  <a:lnTo>
                    <a:pt x="60" y="15"/>
                  </a:lnTo>
                  <a:lnTo>
                    <a:pt x="60" y="12"/>
                  </a:lnTo>
                  <a:lnTo>
                    <a:pt x="59" y="9"/>
                  </a:lnTo>
                  <a:lnTo>
                    <a:pt x="58" y="7"/>
                  </a:lnTo>
                  <a:lnTo>
                    <a:pt x="56" y="5"/>
                  </a:lnTo>
                  <a:lnTo>
                    <a:pt x="54" y="3"/>
                  </a:lnTo>
                  <a:lnTo>
                    <a:pt x="51" y="1"/>
                  </a:lnTo>
                  <a:lnTo>
                    <a:pt x="48" y="0"/>
                  </a:lnTo>
                  <a:lnTo>
                    <a:pt x="4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2" name="Freeform 224"/>
            <p:cNvSpPr>
              <a:spLocks noEditPoints="1"/>
            </p:cNvSpPr>
            <p:nvPr/>
          </p:nvSpPr>
          <p:spPr bwMode="auto">
            <a:xfrm>
              <a:off x="8740775" y="2536825"/>
              <a:ext cx="115888" cy="114300"/>
            </a:xfrm>
            <a:custGeom>
              <a:avLst/>
              <a:gdLst>
                <a:gd name="T0" fmla="*/ 211 w 361"/>
                <a:gd name="T1" fmla="*/ 34 h 361"/>
                <a:gd name="T2" fmla="*/ 252 w 361"/>
                <a:gd name="T3" fmla="*/ 49 h 361"/>
                <a:gd name="T4" fmla="*/ 286 w 361"/>
                <a:gd name="T5" fmla="*/ 75 h 361"/>
                <a:gd name="T6" fmla="*/ 313 w 361"/>
                <a:gd name="T7" fmla="*/ 110 h 361"/>
                <a:gd name="T8" fmla="*/ 328 w 361"/>
                <a:gd name="T9" fmla="*/ 151 h 361"/>
                <a:gd name="T10" fmla="*/ 330 w 361"/>
                <a:gd name="T11" fmla="*/ 196 h 361"/>
                <a:gd name="T12" fmla="*/ 319 w 361"/>
                <a:gd name="T13" fmla="*/ 239 h 361"/>
                <a:gd name="T14" fmla="*/ 297 w 361"/>
                <a:gd name="T15" fmla="*/ 277 h 361"/>
                <a:gd name="T16" fmla="*/ 265 w 361"/>
                <a:gd name="T17" fmla="*/ 306 h 361"/>
                <a:gd name="T18" fmla="*/ 225 w 361"/>
                <a:gd name="T19" fmla="*/ 325 h 361"/>
                <a:gd name="T20" fmla="*/ 180 w 361"/>
                <a:gd name="T21" fmla="*/ 331 h 361"/>
                <a:gd name="T22" fmla="*/ 136 w 361"/>
                <a:gd name="T23" fmla="*/ 325 h 361"/>
                <a:gd name="T24" fmla="*/ 96 w 361"/>
                <a:gd name="T25" fmla="*/ 306 h 361"/>
                <a:gd name="T26" fmla="*/ 64 w 361"/>
                <a:gd name="T27" fmla="*/ 277 h 361"/>
                <a:gd name="T28" fmla="*/ 42 w 361"/>
                <a:gd name="T29" fmla="*/ 239 h 361"/>
                <a:gd name="T30" fmla="*/ 31 w 361"/>
                <a:gd name="T31" fmla="*/ 196 h 361"/>
                <a:gd name="T32" fmla="*/ 33 w 361"/>
                <a:gd name="T33" fmla="*/ 151 h 361"/>
                <a:gd name="T34" fmla="*/ 48 w 361"/>
                <a:gd name="T35" fmla="*/ 110 h 361"/>
                <a:gd name="T36" fmla="*/ 74 w 361"/>
                <a:gd name="T37" fmla="*/ 75 h 361"/>
                <a:gd name="T38" fmla="*/ 108 w 361"/>
                <a:gd name="T39" fmla="*/ 49 h 361"/>
                <a:gd name="T40" fmla="*/ 150 w 361"/>
                <a:gd name="T41" fmla="*/ 34 h 361"/>
                <a:gd name="T42" fmla="*/ 180 w 361"/>
                <a:gd name="T43" fmla="*/ 30 h 361"/>
                <a:gd name="T44" fmla="*/ 216 w 361"/>
                <a:gd name="T45" fmla="*/ 358 h 361"/>
                <a:gd name="T46" fmla="*/ 267 w 361"/>
                <a:gd name="T47" fmla="*/ 340 h 361"/>
                <a:gd name="T48" fmla="*/ 307 w 361"/>
                <a:gd name="T49" fmla="*/ 309 h 361"/>
                <a:gd name="T50" fmla="*/ 339 w 361"/>
                <a:gd name="T51" fmla="*/ 267 h 361"/>
                <a:gd name="T52" fmla="*/ 357 w 361"/>
                <a:gd name="T53" fmla="*/ 218 h 361"/>
                <a:gd name="T54" fmla="*/ 360 w 361"/>
                <a:gd name="T55" fmla="*/ 163 h 361"/>
                <a:gd name="T56" fmla="*/ 346 w 361"/>
                <a:gd name="T57" fmla="*/ 111 h 361"/>
                <a:gd name="T58" fmla="*/ 319 w 361"/>
                <a:gd name="T59" fmla="*/ 67 h 361"/>
                <a:gd name="T60" fmla="*/ 281 w 361"/>
                <a:gd name="T61" fmla="*/ 31 h 361"/>
                <a:gd name="T62" fmla="*/ 234 w 361"/>
                <a:gd name="T63" fmla="*/ 9 h 361"/>
                <a:gd name="T64" fmla="*/ 180 w 361"/>
                <a:gd name="T65" fmla="*/ 0 h 361"/>
                <a:gd name="T66" fmla="*/ 126 w 361"/>
                <a:gd name="T67" fmla="*/ 9 h 361"/>
                <a:gd name="T68" fmla="*/ 79 w 361"/>
                <a:gd name="T69" fmla="*/ 31 h 361"/>
                <a:gd name="T70" fmla="*/ 41 w 361"/>
                <a:gd name="T71" fmla="*/ 67 h 361"/>
                <a:gd name="T72" fmla="*/ 14 w 361"/>
                <a:gd name="T73" fmla="*/ 111 h 361"/>
                <a:gd name="T74" fmla="*/ 1 w 361"/>
                <a:gd name="T75" fmla="*/ 163 h 361"/>
                <a:gd name="T76" fmla="*/ 3 w 361"/>
                <a:gd name="T77" fmla="*/ 218 h 361"/>
                <a:gd name="T78" fmla="*/ 21 w 361"/>
                <a:gd name="T79" fmla="*/ 267 h 361"/>
                <a:gd name="T80" fmla="*/ 53 w 361"/>
                <a:gd name="T81" fmla="*/ 309 h 361"/>
                <a:gd name="T82" fmla="*/ 94 w 361"/>
                <a:gd name="T83" fmla="*/ 340 h 361"/>
                <a:gd name="T84" fmla="*/ 144 w 361"/>
                <a:gd name="T85" fmla="*/ 358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61" h="361">
                  <a:moveTo>
                    <a:pt x="180" y="30"/>
                  </a:moveTo>
                  <a:lnTo>
                    <a:pt x="196" y="31"/>
                  </a:lnTo>
                  <a:lnTo>
                    <a:pt x="211" y="34"/>
                  </a:lnTo>
                  <a:lnTo>
                    <a:pt x="225" y="38"/>
                  </a:lnTo>
                  <a:lnTo>
                    <a:pt x="239" y="42"/>
                  </a:lnTo>
                  <a:lnTo>
                    <a:pt x="252" y="49"/>
                  </a:lnTo>
                  <a:lnTo>
                    <a:pt x="265" y="56"/>
                  </a:lnTo>
                  <a:lnTo>
                    <a:pt x="276" y="65"/>
                  </a:lnTo>
                  <a:lnTo>
                    <a:pt x="286" y="75"/>
                  </a:lnTo>
                  <a:lnTo>
                    <a:pt x="297" y="85"/>
                  </a:lnTo>
                  <a:lnTo>
                    <a:pt x="305" y="97"/>
                  </a:lnTo>
                  <a:lnTo>
                    <a:pt x="313" y="110"/>
                  </a:lnTo>
                  <a:lnTo>
                    <a:pt x="319" y="122"/>
                  </a:lnTo>
                  <a:lnTo>
                    <a:pt x="324" y="136"/>
                  </a:lnTo>
                  <a:lnTo>
                    <a:pt x="328" y="151"/>
                  </a:lnTo>
                  <a:lnTo>
                    <a:pt x="330" y="165"/>
                  </a:lnTo>
                  <a:lnTo>
                    <a:pt x="331" y="181"/>
                  </a:lnTo>
                  <a:lnTo>
                    <a:pt x="330" y="196"/>
                  </a:lnTo>
                  <a:lnTo>
                    <a:pt x="328" y="211"/>
                  </a:lnTo>
                  <a:lnTo>
                    <a:pt x="324" y="225"/>
                  </a:lnTo>
                  <a:lnTo>
                    <a:pt x="319" y="239"/>
                  </a:lnTo>
                  <a:lnTo>
                    <a:pt x="313" y="253"/>
                  </a:lnTo>
                  <a:lnTo>
                    <a:pt x="305" y="265"/>
                  </a:lnTo>
                  <a:lnTo>
                    <a:pt x="297" y="277"/>
                  </a:lnTo>
                  <a:lnTo>
                    <a:pt x="286" y="287"/>
                  </a:lnTo>
                  <a:lnTo>
                    <a:pt x="276" y="297"/>
                  </a:lnTo>
                  <a:lnTo>
                    <a:pt x="265" y="306"/>
                  </a:lnTo>
                  <a:lnTo>
                    <a:pt x="252" y="313"/>
                  </a:lnTo>
                  <a:lnTo>
                    <a:pt x="239" y="320"/>
                  </a:lnTo>
                  <a:lnTo>
                    <a:pt x="225" y="325"/>
                  </a:lnTo>
                  <a:lnTo>
                    <a:pt x="211" y="328"/>
                  </a:lnTo>
                  <a:lnTo>
                    <a:pt x="196" y="330"/>
                  </a:lnTo>
                  <a:lnTo>
                    <a:pt x="180" y="331"/>
                  </a:lnTo>
                  <a:lnTo>
                    <a:pt x="165" y="330"/>
                  </a:lnTo>
                  <a:lnTo>
                    <a:pt x="150" y="328"/>
                  </a:lnTo>
                  <a:lnTo>
                    <a:pt x="136" y="325"/>
                  </a:lnTo>
                  <a:lnTo>
                    <a:pt x="122" y="320"/>
                  </a:lnTo>
                  <a:lnTo>
                    <a:pt x="108" y="313"/>
                  </a:lnTo>
                  <a:lnTo>
                    <a:pt x="96" y="306"/>
                  </a:lnTo>
                  <a:lnTo>
                    <a:pt x="85" y="297"/>
                  </a:lnTo>
                  <a:lnTo>
                    <a:pt x="74" y="287"/>
                  </a:lnTo>
                  <a:lnTo>
                    <a:pt x="64" y="277"/>
                  </a:lnTo>
                  <a:lnTo>
                    <a:pt x="56" y="265"/>
                  </a:lnTo>
                  <a:lnTo>
                    <a:pt x="48" y="253"/>
                  </a:lnTo>
                  <a:lnTo>
                    <a:pt x="42" y="239"/>
                  </a:lnTo>
                  <a:lnTo>
                    <a:pt x="36" y="225"/>
                  </a:lnTo>
                  <a:lnTo>
                    <a:pt x="33" y="211"/>
                  </a:lnTo>
                  <a:lnTo>
                    <a:pt x="31" y="196"/>
                  </a:lnTo>
                  <a:lnTo>
                    <a:pt x="30" y="181"/>
                  </a:lnTo>
                  <a:lnTo>
                    <a:pt x="31" y="165"/>
                  </a:lnTo>
                  <a:lnTo>
                    <a:pt x="33" y="151"/>
                  </a:lnTo>
                  <a:lnTo>
                    <a:pt x="36" y="136"/>
                  </a:lnTo>
                  <a:lnTo>
                    <a:pt x="42" y="122"/>
                  </a:lnTo>
                  <a:lnTo>
                    <a:pt x="48" y="110"/>
                  </a:lnTo>
                  <a:lnTo>
                    <a:pt x="56" y="97"/>
                  </a:lnTo>
                  <a:lnTo>
                    <a:pt x="64" y="86"/>
                  </a:lnTo>
                  <a:lnTo>
                    <a:pt x="74" y="75"/>
                  </a:lnTo>
                  <a:lnTo>
                    <a:pt x="85" y="65"/>
                  </a:lnTo>
                  <a:lnTo>
                    <a:pt x="96" y="56"/>
                  </a:lnTo>
                  <a:lnTo>
                    <a:pt x="108" y="49"/>
                  </a:lnTo>
                  <a:lnTo>
                    <a:pt x="122" y="42"/>
                  </a:lnTo>
                  <a:lnTo>
                    <a:pt x="136" y="38"/>
                  </a:lnTo>
                  <a:lnTo>
                    <a:pt x="150" y="34"/>
                  </a:lnTo>
                  <a:lnTo>
                    <a:pt x="165" y="31"/>
                  </a:lnTo>
                  <a:lnTo>
                    <a:pt x="180" y="30"/>
                  </a:lnTo>
                  <a:lnTo>
                    <a:pt x="180" y="30"/>
                  </a:lnTo>
                  <a:close/>
                  <a:moveTo>
                    <a:pt x="180" y="361"/>
                  </a:moveTo>
                  <a:lnTo>
                    <a:pt x="199" y="360"/>
                  </a:lnTo>
                  <a:lnTo>
                    <a:pt x="216" y="358"/>
                  </a:lnTo>
                  <a:lnTo>
                    <a:pt x="234" y="354"/>
                  </a:lnTo>
                  <a:lnTo>
                    <a:pt x="251" y="347"/>
                  </a:lnTo>
                  <a:lnTo>
                    <a:pt x="267" y="340"/>
                  </a:lnTo>
                  <a:lnTo>
                    <a:pt x="281" y="330"/>
                  </a:lnTo>
                  <a:lnTo>
                    <a:pt x="295" y="321"/>
                  </a:lnTo>
                  <a:lnTo>
                    <a:pt x="307" y="309"/>
                  </a:lnTo>
                  <a:lnTo>
                    <a:pt x="319" y="296"/>
                  </a:lnTo>
                  <a:lnTo>
                    <a:pt x="330" y="282"/>
                  </a:lnTo>
                  <a:lnTo>
                    <a:pt x="339" y="267"/>
                  </a:lnTo>
                  <a:lnTo>
                    <a:pt x="346" y="251"/>
                  </a:lnTo>
                  <a:lnTo>
                    <a:pt x="352" y="235"/>
                  </a:lnTo>
                  <a:lnTo>
                    <a:pt x="357" y="218"/>
                  </a:lnTo>
                  <a:lnTo>
                    <a:pt x="360" y="200"/>
                  </a:lnTo>
                  <a:lnTo>
                    <a:pt x="361" y="181"/>
                  </a:lnTo>
                  <a:lnTo>
                    <a:pt x="360" y="163"/>
                  </a:lnTo>
                  <a:lnTo>
                    <a:pt x="357" y="145"/>
                  </a:lnTo>
                  <a:lnTo>
                    <a:pt x="352" y="128"/>
                  </a:lnTo>
                  <a:lnTo>
                    <a:pt x="346" y="111"/>
                  </a:lnTo>
                  <a:lnTo>
                    <a:pt x="339" y="96"/>
                  </a:lnTo>
                  <a:lnTo>
                    <a:pt x="330" y="81"/>
                  </a:lnTo>
                  <a:lnTo>
                    <a:pt x="319" y="67"/>
                  </a:lnTo>
                  <a:lnTo>
                    <a:pt x="307" y="54"/>
                  </a:lnTo>
                  <a:lnTo>
                    <a:pt x="295" y="42"/>
                  </a:lnTo>
                  <a:lnTo>
                    <a:pt x="281" y="31"/>
                  </a:lnTo>
                  <a:lnTo>
                    <a:pt x="267" y="23"/>
                  </a:lnTo>
                  <a:lnTo>
                    <a:pt x="251" y="15"/>
                  </a:lnTo>
                  <a:lnTo>
                    <a:pt x="234" y="9"/>
                  </a:lnTo>
                  <a:lnTo>
                    <a:pt x="216" y="5"/>
                  </a:lnTo>
                  <a:lnTo>
                    <a:pt x="199" y="1"/>
                  </a:lnTo>
                  <a:lnTo>
                    <a:pt x="180" y="0"/>
                  </a:lnTo>
                  <a:lnTo>
                    <a:pt x="162" y="1"/>
                  </a:lnTo>
                  <a:lnTo>
                    <a:pt x="144" y="5"/>
                  </a:lnTo>
                  <a:lnTo>
                    <a:pt x="126" y="9"/>
                  </a:lnTo>
                  <a:lnTo>
                    <a:pt x="110" y="15"/>
                  </a:lnTo>
                  <a:lnTo>
                    <a:pt x="94" y="23"/>
                  </a:lnTo>
                  <a:lnTo>
                    <a:pt x="79" y="31"/>
                  </a:lnTo>
                  <a:lnTo>
                    <a:pt x="65" y="42"/>
                  </a:lnTo>
                  <a:lnTo>
                    <a:pt x="53" y="54"/>
                  </a:lnTo>
                  <a:lnTo>
                    <a:pt x="41" y="67"/>
                  </a:lnTo>
                  <a:lnTo>
                    <a:pt x="31" y="81"/>
                  </a:lnTo>
                  <a:lnTo>
                    <a:pt x="21" y="96"/>
                  </a:lnTo>
                  <a:lnTo>
                    <a:pt x="14" y="111"/>
                  </a:lnTo>
                  <a:lnTo>
                    <a:pt x="8" y="128"/>
                  </a:lnTo>
                  <a:lnTo>
                    <a:pt x="3" y="145"/>
                  </a:lnTo>
                  <a:lnTo>
                    <a:pt x="1" y="163"/>
                  </a:lnTo>
                  <a:lnTo>
                    <a:pt x="0" y="181"/>
                  </a:lnTo>
                  <a:lnTo>
                    <a:pt x="1" y="200"/>
                  </a:lnTo>
                  <a:lnTo>
                    <a:pt x="3" y="218"/>
                  </a:lnTo>
                  <a:lnTo>
                    <a:pt x="8" y="235"/>
                  </a:lnTo>
                  <a:lnTo>
                    <a:pt x="14" y="251"/>
                  </a:lnTo>
                  <a:lnTo>
                    <a:pt x="21" y="267"/>
                  </a:lnTo>
                  <a:lnTo>
                    <a:pt x="31" y="282"/>
                  </a:lnTo>
                  <a:lnTo>
                    <a:pt x="41" y="296"/>
                  </a:lnTo>
                  <a:lnTo>
                    <a:pt x="53" y="309"/>
                  </a:lnTo>
                  <a:lnTo>
                    <a:pt x="65" y="321"/>
                  </a:lnTo>
                  <a:lnTo>
                    <a:pt x="79" y="330"/>
                  </a:lnTo>
                  <a:lnTo>
                    <a:pt x="94" y="340"/>
                  </a:lnTo>
                  <a:lnTo>
                    <a:pt x="110" y="347"/>
                  </a:lnTo>
                  <a:lnTo>
                    <a:pt x="126" y="354"/>
                  </a:lnTo>
                  <a:lnTo>
                    <a:pt x="144" y="358"/>
                  </a:lnTo>
                  <a:lnTo>
                    <a:pt x="162" y="360"/>
                  </a:lnTo>
                  <a:lnTo>
                    <a:pt x="180" y="3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13" name="Group 312"/>
          <p:cNvGrpSpPr/>
          <p:nvPr/>
        </p:nvGrpSpPr>
        <p:grpSpPr>
          <a:xfrm>
            <a:off x="7188616" y="5420448"/>
            <a:ext cx="285750" cy="285750"/>
            <a:chOff x="9882188" y="1354138"/>
            <a:chExt cx="285750" cy="285750"/>
          </a:xfrm>
          <a:solidFill>
            <a:srgbClr val="3B3939"/>
          </a:solidFill>
        </p:grpSpPr>
        <p:sp>
          <p:nvSpPr>
            <p:cNvPr id="314" name="Freeform 186"/>
            <p:cNvSpPr>
              <a:spLocks noEditPoints="1"/>
            </p:cNvSpPr>
            <p:nvPr/>
          </p:nvSpPr>
          <p:spPr bwMode="auto">
            <a:xfrm>
              <a:off x="9891713" y="1482725"/>
              <a:ext cx="133350" cy="157163"/>
            </a:xfrm>
            <a:custGeom>
              <a:avLst/>
              <a:gdLst>
                <a:gd name="T0" fmla="*/ 89 w 421"/>
                <a:gd name="T1" fmla="*/ 454 h 496"/>
                <a:gd name="T2" fmla="*/ 30 w 421"/>
                <a:gd name="T3" fmla="*/ 392 h 496"/>
                <a:gd name="T4" fmla="*/ 145 w 421"/>
                <a:gd name="T5" fmla="*/ 416 h 496"/>
                <a:gd name="T6" fmla="*/ 253 w 421"/>
                <a:gd name="T7" fmla="*/ 418 h 496"/>
                <a:gd name="T8" fmla="*/ 373 w 421"/>
                <a:gd name="T9" fmla="*/ 399 h 496"/>
                <a:gd name="T10" fmla="*/ 355 w 421"/>
                <a:gd name="T11" fmla="*/ 448 h 496"/>
                <a:gd name="T12" fmla="*/ 211 w 421"/>
                <a:gd name="T13" fmla="*/ 466 h 496"/>
                <a:gd name="T14" fmla="*/ 302 w 421"/>
                <a:gd name="T15" fmla="*/ 36 h 496"/>
                <a:gd name="T16" fmla="*/ 389 w 421"/>
                <a:gd name="T17" fmla="*/ 60 h 496"/>
                <a:gd name="T18" fmla="*/ 302 w 421"/>
                <a:gd name="T19" fmla="*/ 83 h 496"/>
                <a:gd name="T20" fmla="*/ 148 w 421"/>
                <a:gd name="T21" fmla="*/ 86 h 496"/>
                <a:gd name="T22" fmla="*/ 43 w 421"/>
                <a:gd name="T23" fmla="*/ 64 h 496"/>
                <a:gd name="T24" fmla="*/ 95 w 421"/>
                <a:gd name="T25" fmla="*/ 39 h 496"/>
                <a:gd name="T26" fmla="*/ 391 w 421"/>
                <a:gd name="T27" fmla="*/ 132 h 496"/>
                <a:gd name="T28" fmla="*/ 306 w 421"/>
                <a:gd name="T29" fmla="*/ 157 h 496"/>
                <a:gd name="T30" fmla="*/ 145 w 421"/>
                <a:gd name="T31" fmla="*/ 161 h 496"/>
                <a:gd name="T32" fmla="*/ 37 w 421"/>
                <a:gd name="T33" fmla="*/ 137 h 496"/>
                <a:gd name="T34" fmla="*/ 94 w 421"/>
                <a:gd name="T35" fmla="*/ 109 h 496"/>
                <a:gd name="T36" fmla="*/ 211 w 421"/>
                <a:gd name="T37" fmla="*/ 120 h 496"/>
                <a:gd name="T38" fmla="*/ 327 w 421"/>
                <a:gd name="T39" fmla="*/ 109 h 496"/>
                <a:gd name="T40" fmla="*/ 391 w 421"/>
                <a:gd name="T41" fmla="*/ 207 h 496"/>
                <a:gd name="T42" fmla="*/ 306 w 421"/>
                <a:gd name="T43" fmla="*/ 233 h 496"/>
                <a:gd name="T44" fmla="*/ 145 w 421"/>
                <a:gd name="T45" fmla="*/ 236 h 496"/>
                <a:gd name="T46" fmla="*/ 37 w 421"/>
                <a:gd name="T47" fmla="*/ 212 h 496"/>
                <a:gd name="T48" fmla="*/ 94 w 421"/>
                <a:gd name="T49" fmla="*/ 184 h 496"/>
                <a:gd name="T50" fmla="*/ 211 w 421"/>
                <a:gd name="T51" fmla="*/ 195 h 496"/>
                <a:gd name="T52" fmla="*/ 327 w 421"/>
                <a:gd name="T53" fmla="*/ 184 h 496"/>
                <a:gd name="T54" fmla="*/ 391 w 421"/>
                <a:gd name="T55" fmla="*/ 282 h 496"/>
                <a:gd name="T56" fmla="*/ 306 w 421"/>
                <a:gd name="T57" fmla="*/ 308 h 496"/>
                <a:gd name="T58" fmla="*/ 145 w 421"/>
                <a:gd name="T59" fmla="*/ 311 h 496"/>
                <a:gd name="T60" fmla="*/ 37 w 421"/>
                <a:gd name="T61" fmla="*/ 288 h 496"/>
                <a:gd name="T62" fmla="*/ 94 w 421"/>
                <a:gd name="T63" fmla="*/ 260 h 496"/>
                <a:gd name="T64" fmla="*/ 211 w 421"/>
                <a:gd name="T65" fmla="*/ 270 h 496"/>
                <a:gd name="T66" fmla="*/ 327 w 421"/>
                <a:gd name="T67" fmla="*/ 260 h 496"/>
                <a:gd name="T68" fmla="*/ 391 w 421"/>
                <a:gd name="T69" fmla="*/ 357 h 496"/>
                <a:gd name="T70" fmla="*/ 306 w 421"/>
                <a:gd name="T71" fmla="*/ 383 h 496"/>
                <a:gd name="T72" fmla="*/ 145 w 421"/>
                <a:gd name="T73" fmla="*/ 386 h 496"/>
                <a:gd name="T74" fmla="*/ 37 w 421"/>
                <a:gd name="T75" fmla="*/ 363 h 496"/>
                <a:gd name="T76" fmla="*/ 94 w 421"/>
                <a:gd name="T77" fmla="*/ 335 h 496"/>
                <a:gd name="T78" fmla="*/ 211 w 421"/>
                <a:gd name="T79" fmla="*/ 344 h 496"/>
                <a:gd name="T80" fmla="*/ 327 w 421"/>
                <a:gd name="T81" fmla="*/ 335 h 496"/>
                <a:gd name="T82" fmla="*/ 211 w 421"/>
                <a:gd name="T83" fmla="*/ 0 h 496"/>
                <a:gd name="T84" fmla="*/ 64 w 421"/>
                <a:gd name="T85" fmla="*/ 16 h 496"/>
                <a:gd name="T86" fmla="*/ 6 w 421"/>
                <a:gd name="T87" fmla="*/ 43 h 496"/>
                <a:gd name="T88" fmla="*/ 0 w 421"/>
                <a:gd name="T89" fmla="*/ 135 h 496"/>
                <a:gd name="T90" fmla="*/ 1 w 421"/>
                <a:gd name="T91" fmla="*/ 440 h 496"/>
                <a:gd name="T92" fmla="*/ 24 w 421"/>
                <a:gd name="T93" fmla="*/ 463 h 496"/>
                <a:gd name="T94" fmla="*/ 114 w 421"/>
                <a:gd name="T95" fmla="*/ 488 h 496"/>
                <a:gd name="T96" fmla="*/ 273 w 421"/>
                <a:gd name="T97" fmla="*/ 492 h 496"/>
                <a:gd name="T98" fmla="*/ 387 w 421"/>
                <a:gd name="T99" fmla="*/ 469 h 496"/>
                <a:gd name="T100" fmla="*/ 420 w 421"/>
                <a:gd name="T101" fmla="*/ 443 h 496"/>
                <a:gd name="T102" fmla="*/ 421 w 421"/>
                <a:gd name="T103" fmla="*/ 210 h 496"/>
                <a:gd name="T104" fmla="*/ 418 w 421"/>
                <a:gd name="T105" fmla="*/ 48 h 496"/>
                <a:gd name="T106" fmla="*/ 373 w 421"/>
                <a:gd name="T107" fmla="*/ 20 h 496"/>
                <a:gd name="T108" fmla="*/ 240 w 421"/>
                <a:gd name="T109" fmla="*/ 0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21" h="496">
                  <a:moveTo>
                    <a:pt x="211" y="466"/>
                  </a:moveTo>
                  <a:lnTo>
                    <a:pt x="177" y="464"/>
                  </a:lnTo>
                  <a:lnTo>
                    <a:pt x="145" y="462"/>
                  </a:lnTo>
                  <a:lnTo>
                    <a:pt x="115" y="458"/>
                  </a:lnTo>
                  <a:lnTo>
                    <a:pt x="89" y="454"/>
                  </a:lnTo>
                  <a:lnTo>
                    <a:pt x="67" y="448"/>
                  </a:lnTo>
                  <a:lnTo>
                    <a:pt x="50" y="443"/>
                  </a:lnTo>
                  <a:lnTo>
                    <a:pt x="37" y="438"/>
                  </a:lnTo>
                  <a:lnTo>
                    <a:pt x="30" y="433"/>
                  </a:lnTo>
                  <a:lnTo>
                    <a:pt x="30" y="392"/>
                  </a:lnTo>
                  <a:lnTo>
                    <a:pt x="49" y="399"/>
                  </a:lnTo>
                  <a:lnTo>
                    <a:pt x="71" y="404"/>
                  </a:lnTo>
                  <a:lnTo>
                    <a:pt x="94" y="410"/>
                  </a:lnTo>
                  <a:lnTo>
                    <a:pt x="119" y="414"/>
                  </a:lnTo>
                  <a:lnTo>
                    <a:pt x="145" y="416"/>
                  </a:lnTo>
                  <a:lnTo>
                    <a:pt x="168" y="418"/>
                  </a:lnTo>
                  <a:lnTo>
                    <a:pt x="191" y="419"/>
                  </a:lnTo>
                  <a:lnTo>
                    <a:pt x="211" y="421"/>
                  </a:lnTo>
                  <a:lnTo>
                    <a:pt x="230" y="419"/>
                  </a:lnTo>
                  <a:lnTo>
                    <a:pt x="253" y="418"/>
                  </a:lnTo>
                  <a:lnTo>
                    <a:pt x="277" y="416"/>
                  </a:lnTo>
                  <a:lnTo>
                    <a:pt x="302" y="414"/>
                  </a:lnTo>
                  <a:lnTo>
                    <a:pt x="327" y="410"/>
                  </a:lnTo>
                  <a:lnTo>
                    <a:pt x="350" y="404"/>
                  </a:lnTo>
                  <a:lnTo>
                    <a:pt x="373" y="399"/>
                  </a:lnTo>
                  <a:lnTo>
                    <a:pt x="391" y="392"/>
                  </a:lnTo>
                  <a:lnTo>
                    <a:pt x="391" y="432"/>
                  </a:lnTo>
                  <a:lnTo>
                    <a:pt x="385" y="438"/>
                  </a:lnTo>
                  <a:lnTo>
                    <a:pt x="372" y="443"/>
                  </a:lnTo>
                  <a:lnTo>
                    <a:pt x="355" y="448"/>
                  </a:lnTo>
                  <a:lnTo>
                    <a:pt x="332" y="454"/>
                  </a:lnTo>
                  <a:lnTo>
                    <a:pt x="306" y="458"/>
                  </a:lnTo>
                  <a:lnTo>
                    <a:pt x="277" y="462"/>
                  </a:lnTo>
                  <a:lnTo>
                    <a:pt x="245" y="464"/>
                  </a:lnTo>
                  <a:lnTo>
                    <a:pt x="211" y="466"/>
                  </a:lnTo>
                  <a:lnTo>
                    <a:pt x="211" y="466"/>
                  </a:lnTo>
                  <a:close/>
                  <a:moveTo>
                    <a:pt x="211" y="30"/>
                  </a:moveTo>
                  <a:lnTo>
                    <a:pt x="243" y="30"/>
                  </a:lnTo>
                  <a:lnTo>
                    <a:pt x="274" y="32"/>
                  </a:lnTo>
                  <a:lnTo>
                    <a:pt x="302" y="36"/>
                  </a:lnTo>
                  <a:lnTo>
                    <a:pt x="327" y="39"/>
                  </a:lnTo>
                  <a:lnTo>
                    <a:pt x="348" y="45"/>
                  </a:lnTo>
                  <a:lnTo>
                    <a:pt x="365" y="50"/>
                  </a:lnTo>
                  <a:lnTo>
                    <a:pt x="379" y="54"/>
                  </a:lnTo>
                  <a:lnTo>
                    <a:pt x="389" y="60"/>
                  </a:lnTo>
                  <a:lnTo>
                    <a:pt x="379" y="64"/>
                  </a:lnTo>
                  <a:lnTo>
                    <a:pt x="365" y="69"/>
                  </a:lnTo>
                  <a:lnTo>
                    <a:pt x="348" y="75"/>
                  </a:lnTo>
                  <a:lnTo>
                    <a:pt x="327" y="79"/>
                  </a:lnTo>
                  <a:lnTo>
                    <a:pt x="302" y="83"/>
                  </a:lnTo>
                  <a:lnTo>
                    <a:pt x="274" y="86"/>
                  </a:lnTo>
                  <a:lnTo>
                    <a:pt x="243" y="88"/>
                  </a:lnTo>
                  <a:lnTo>
                    <a:pt x="211" y="90"/>
                  </a:lnTo>
                  <a:lnTo>
                    <a:pt x="178" y="88"/>
                  </a:lnTo>
                  <a:lnTo>
                    <a:pt x="148" y="86"/>
                  </a:lnTo>
                  <a:lnTo>
                    <a:pt x="120" y="83"/>
                  </a:lnTo>
                  <a:lnTo>
                    <a:pt x="95" y="79"/>
                  </a:lnTo>
                  <a:lnTo>
                    <a:pt x="74" y="75"/>
                  </a:lnTo>
                  <a:lnTo>
                    <a:pt x="56" y="69"/>
                  </a:lnTo>
                  <a:lnTo>
                    <a:pt x="43" y="64"/>
                  </a:lnTo>
                  <a:lnTo>
                    <a:pt x="33" y="60"/>
                  </a:lnTo>
                  <a:lnTo>
                    <a:pt x="43" y="54"/>
                  </a:lnTo>
                  <a:lnTo>
                    <a:pt x="56" y="50"/>
                  </a:lnTo>
                  <a:lnTo>
                    <a:pt x="74" y="45"/>
                  </a:lnTo>
                  <a:lnTo>
                    <a:pt x="95" y="39"/>
                  </a:lnTo>
                  <a:lnTo>
                    <a:pt x="120" y="36"/>
                  </a:lnTo>
                  <a:lnTo>
                    <a:pt x="148" y="32"/>
                  </a:lnTo>
                  <a:lnTo>
                    <a:pt x="178" y="30"/>
                  </a:lnTo>
                  <a:lnTo>
                    <a:pt x="211" y="30"/>
                  </a:lnTo>
                  <a:close/>
                  <a:moveTo>
                    <a:pt x="391" y="132"/>
                  </a:moveTo>
                  <a:lnTo>
                    <a:pt x="385" y="137"/>
                  </a:lnTo>
                  <a:lnTo>
                    <a:pt x="372" y="142"/>
                  </a:lnTo>
                  <a:lnTo>
                    <a:pt x="355" y="147"/>
                  </a:lnTo>
                  <a:lnTo>
                    <a:pt x="332" y="153"/>
                  </a:lnTo>
                  <a:lnTo>
                    <a:pt x="306" y="157"/>
                  </a:lnTo>
                  <a:lnTo>
                    <a:pt x="277" y="161"/>
                  </a:lnTo>
                  <a:lnTo>
                    <a:pt x="245" y="163"/>
                  </a:lnTo>
                  <a:lnTo>
                    <a:pt x="211" y="165"/>
                  </a:lnTo>
                  <a:lnTo>
                    <a:pt x="177" y="163"/>
                  </a:lnTo>
                  <a:lnTo>
                    <a:pt x="145" y="161"/>
                  </a:lnTo>
                  <a:lnTo>
                    <a:pt x="115" y="157"/>
                  </a:lnTo>
                  <a:lnTo>
                    <a:pt x="89" y="153"/>
                  </a:lnTo>
                  <a:lnTo>
                    <a:pt x="67" y="147"/>
                  </a:lnTo>
                  <a:lnTo>
                    <a:pt x="50" y="142"/>
                  </a:lnTo>
                  <a:lnTo>
                    <a:pt x="37" y="137"/>
                  </a:lnTo>
                  <a:lnTo>
                    <a:pt x="30" y="132"/>
                  </a:lnTo>
                  <a:lnTo>
                    <a:pt x="30" y="91"/>
                  </a:lnTo>
                  <a:lnTo>
                    <a:pt x="49" y="98"/>
                  </a:lnTo>
                  <a:lnTo>
                    <a:pt x="71" y="105"/>
                  </a:lnTo>
                  <a:lnTo>
                    <a:pt x="94" y="109"/>
                  </a:lnTo>
                  <a:lnTo>
                    <a:pt x="119" y="113"/>
                  </a:lnTo>
                  <a:lnTo>
                    <a:pt x="145" y="116"/>
                  </a:lnTo>
                  <a:lnTo>
                    <a:pt x="168" y="117"/>
                  </a:lnTo>
                  <a:lnTo>
                    <a:pt x="191" y="120"/>
                  </a:lnTo>
                  <a:lnTo>
                    <a:pt x="211" y="120"/>
                  </a:lnTo>
                  <a:lnTo>
                    <a:pt x="230" y="120"/>
                  </a:lnTo>
                  <a:lnTo>
                    <a:pt x="253" y="117"/>
                  </a:lnTo>
                  <a:lnTo>
                    <a:pt x="277" y="116"/>
                  </a:lnTo>
                  <a:lnTo>
                    <a:pt x="302" y="113"/>
                  </a:lnTo>
                  <a:lnTo>
                    <a:pt x="327" y="109"/>
                  </a:lnTo>
                  <a:lnTo>
                    <a:pt x="350" y="105"/>
                  </a:lnTo>
                  <a:lnTo>
                    <a:pt x="373" y="98"/>
                  </a:lnTo>
                  <a:lnTo>
                    <a:pt x="391" y="91"/>
                  </a:lnTo>
                  <a:lnTo>
                    <a:pt x="391" y="132"/>
                  </a:lnTo>
                  <a:close/>
                  <a:moveTo>
                    <a:pt x="391" y="207"/>
                  </a:moveTo>
                  <a:lnTo>
                    <a:pt x="385" y="212"/>
                  </a:lnTo>
                  <a:lnTo>
                    <a:pt x="372" y="217"/>
                  </a:lnTo>
                  <a:lnTo>
                    <a:pt x="355" y="222"/>
                  </a:lnTo>
                  <a:lnTo>
                    <a:pt x="332" y="228"/>
                  </a:lnTo>
                  <a:lnTo>
                    <a:pt x="306" y="233"/>
                  </a:lnTo>
                  <a:lnTo>
                    <a:pt x="277" y="236"/>
                  </a:lnTo>
                  <a:lnTo>
                    <a:pt x="245" y="238"/>
                  </a:lnTo>
                  <a:lnTo>
                    <a:pt x="211" y="240"/>
                  </a:lnTo>
                  <a:lnTo>
                    <a:pt x="177" y="238"/>
                  </a:lnTo>
                  <a:lnTo>
                    <a:pt x="145" y="236"/>
                  </a:lnTo>
                  <a:lnTo>
                    <a:pt x="115" y="233"/>
                  </a:lnTo>
                  <a:lnTo>
                    <a:pt x="89" y="228"/>
                  </a:lnTo>
                  <a:lnTo>
                    <a:pt x="67" y="222"/>
                  </a:lnTo>
                  <a:lnTo>
                    <a:pt x="50" y="217"/>
                  </a:lnTo>
                  <a:lnTo>
                    <a:pt x="37" y="212"/>
                  </a:lnTo>
                  <a:lnTo>
                    <a:pt x="30" y="207"/>
                  </a:lnTo>
                  <a:lnTo>
                    <a:pt x="30" y="166"/>
                  </a:lnTo>
                  <a:lnTo>
                    <a:pt x="49" y="173"/>
                  </a:lnTo>
                  <a:lnTo>
                    <a:pt x="71" y="180"/>
                  </a:lnTo>
                  <a:lnTo>
                    <a:pt x="94" y="184"/>
                  </a:lnTo>
                  <a:lnTo>
                    <a:pt x="119" y="188"/>
                  </a:lnTo>
                  <a:lnTo>
                    <a:pt x="145" y="191"/>
                  </a:lnTo>
                  <a:lnTo>
                    <a:pt x="168" y="193"/>
                  </a:lnTo>
                  <a:lnTo>
                    <a:pt x="191" y="195"/>
                  </a:lnTo>
                  <a:lnTo>
                    <a:pt x="211" y="195"/>
                  </a:lnTo>
                  <a:lnTo>
                    <a:pt x="230" y="195"/>
                  </a:lnTo>
                  <a:lnTo>
                    <a:pt x="253" y="193"/>
                  </a:lnTo>
                  <a:lnTo>
                    <a:pt x="277" y="191"/>
                  </a:lnTo>
                  <a:lnTo>
                    <a:pt x="302" y="188"/>
                  </a:lnTo>
                  <a:lnTo>
                    <a:pt x="327" y="184"/>
                  </a:lnTo>
                  <a:lnTo>
                    <a:pt x="350" y="180"/>
                  </a:lnTo>
                  <a:lnTo>
                    <a:pt x="373" y="173"/>
                  </a:lnTo>
                  <a:lnTo>
                    <a:pt x="391" y="167"/>
                  </a:lnTo>
                  <a:lnTo>
                    <a:pt x="391" y="207"/>
                  </a:lnTo>
                  <a:close/>
                  <a:moveTo>
                    <a:pt x="391" y="282"/>
                  </a:moveTo>
                  <a:lnTo>
                    <a:pt x="385" y="288"/>
                  </a:lnTo>
                  <a:lnTo>
                    <a:pt x="372" y="293"/>
                  </a:lnTo>
                  <a:lnTo>
                    <a:pt x="355" y="298"/>
                  </a:lnTo>
                  <a:lnTo>
                    <a:pt x="332" y="303"/>
                  </a:lnTo>
                  <a:lnTo>
                    <a:pt x="306" y="308"/>
                  </a:lnTo>
                  <a:lnTo>
                    <a:pt x="277" y="311"/>
                  </a:lnTo>
                  <a:lnTo>
                    <a:pt x="245" y="315"/>
                  </a:lnTo>
                  <a:lnTo>
                    <a:pt x="211" y="315"/>
                  </a:lnTo>
                  <a:lnTo>
                    <a:pt x="177" y="315"/>
                  </a:lnTo>
                  <a:lnTo>
                    <a:pt x="145" y="311"/>
                  </a:lnTo>
                  <a:lnTo>
                    <a:pt x="115" y="308"/>
                  </a:lnTo>
                  <a:lnTo>
                    <a:pt x="89" y="303"/>
                  </a:lnTo>
                  <a:lnTo>
                    <a:pt x="67" y="298"/>
                  </a:lnTo>
                  <a:lnTo>
                    <a:pt x="50" y="293"/>
                  </a:lnTo>
                  <a:lnTo>
                    <a:pt x="37" y="288"/>
                  </a:lnTo>
                  <a:lnTo>
                    <a:pt x="30" y="282"/>
                  </a:lnTo>
                  <a:lnTo>
                    <a:pt x="30" y="242"/>
                  </a:lnTo>
                  <a:lnTo>
                    <a:pt x="49" y="248"/>
                  </a:lnTo>
                  <a:lnTo>
                    <a:pt x="71" y="255"/>
                  </a:lnTo>
                  <a:lnTo>
                    <a:pt x="94" y="260"/>
                  </a:lnTo>
                  <a:lnTo>
                    <a:pt x="119" y="263"/>
                  </a:lnTo>
                  <a:lnTo>
                    <a:pt x="145" y="266"/>
                  </a:lnTo>
                  <a:lnTo>
                    <a:pt x="168" y="268"/>
                  </a:lnTo>
                  <a:lnTo>
                    <a:pt x="191" y="270"/>
                  </a:lnTo>
                  <a:lnTo>
                    <a:pt x="211" y="270"/>
                  </a:lnTo>
                  <a:lnTo>
                    <a:pt x="230" y="270"/>
                  </a:lnTo>
                  <a:lnTo>
                    <a:pt x="253" y="268"/>
                  </a:lnTo>
                  <a:lnTo>
                    <a:pt x="277" y="266"/>
                  </a:lnTo>
                  <a:lnTo>
                    <a:pt x="302" y="263"/>
                  </a:lnTo>
                  <a:lnTo>
                    <a:pt x="327" y="260"/>
                  </a:lnTo>
                  <a:lnTo>
                    <a:pt x="350" y="255"/>
                  </a:lnTo>
                  <a:lnTo>
                    <a:pt x="373" y="248"/>
                  </a:lnTo>
                  <a:lnTo>
                    <a:pt x="391" y="242"/>
                  </a:lnTo>
                  <a:lnTo>
                    <a:pt x="391" y="282"/>
                  </a:lnTo>
                  <a:close/>
                  <a:moveTo>
                    <a:pt x="391" y="357"/>
                  </a:moveTo>
                  <a:lnTo>
                    <a:pt x="385" y="363"/>
                  </a:lnTo>
                  <a:lnTo>
                    <a:pt x="372" y="368"/>
                  </a:lnTo>
                  <a:lnTo>
                    <a:pt x="355" y="373"/>
                  </a:lnTo>
                  <a:lnTo>
                    <a:pt x="332" y="379"/>
                  </a:lnTo>
                  <a:lnTo>
                    <a:pt x="306" y="383"/>
                  </a:lnTo>
                  <a:lnTo>
                    <a:pt x="277" y="386"/>
                  </a:lnTo>
                  <a:lnTo>
                    <a:pt x="245" y="389"/>
                  </a:lnTo>
                  <a:lnTo>
                    <a:pt x="211" y="391"/>
                  </a:lnTo>
                  <a:lnTo>
                    <a:pt x="177" y="389"/>
                  </a:lnTo>
                  <a:lnTo>
                    <a:pt x="145" y="386"/>
                  </a:lnTo>
                  <a:lnTo>
                    <a:pt x="115" y="383"/>
                  </a:lnTo>
                  <a:lnTo>
                    <a:pt x="89" y="379"/>
                  </a:lnTo>
                  <a:lnTo>
                    <a:pt x="67" y="373"/>
                  </a:lnTo>
                  <a:lnTo>
                    <a:pt x="50" y="368"/>
                  </a:lnTo>
                  <a:lnTo>
                    <a:pt x="37" y="363"/>
                  </a:lnTo>
                  <a:lnTo>
                    <a:pt x="30" y="357"/>
                  </a:lnTo>
                  <a:lnTo>
                    <a:pt x="30" y="317"/>
                  </a:lnTo>
                  <a:lnTo>
                    <a:pt x="49" y="324"/>
                  </a:lnTo>
                  <a:lnTo>
                    <a:pt x="71" y="329"/>
                  </a:lnTo>
                  <a:lnTo>
                    <a:pt x="94" y="335"/>
                  </a:lnTo>
                  <a:lnTo>
                    <a:pt x="119" y="338"/>
                  </a:lnTo>
                  <a:lnTo>
                    <a:pt x="145" y="341"/>
                  </a:lnTo>
                  <a:lnTo>
                    <a:pt x="168" y="343"/>
                  </a:lnTo>
                  <a:lnTo>
                    <a:pt x="191" y="344"/>
                  </a:lnTo>
                  <a:lnTo>
                    <a:pt x="211" y="344"/>
                  </a:lnTo>
                  <a:lnTo>
                    <a:pt x="230" y="344"/>
                  </a:lnTo>
                  <a:lnTo>
                    <a:pt x="253" y="343"/>
                  </a:lnTo>
                  <a:lnTo>
                    <a:pt x="277" y="341"/>
                  </a:lnTo>
                  <a:lnTo>
                    <a:pt x="302" y="338"/>
                  </a:lnTo>
                  <a:lnTo>
                    <a:pt x="327" y="335"/>
                  </a:lnTo>
                  <a:lnTo>
                    <a:pt x="350" y="329"/>
                  </a:lnTo>
                  <a:lnTo>
                    <a:pt x="373" y="324"/>
                  </a:lnTo>
                  <a:lnTo>
                    <a:pt x="391" y="317"/>
                  </a:lnTo>
                  <a:lnTo>
                    <a:pt x="391" y="357"/>
                  </a:lnTo>
                  <a:close/>
                  <a:moveTo>
                    <a:pt x="211" y="0"/>
                  </a:moveTo>
                  <a:lnTo>
                    <a:pt x="182" y="0"/>
                  </a:lnTo>
                  <a:lnTo>
                    <a:pt x="149" y="2"/>
                  </a:lnTo>
                  <a:lnTo>
                    <a:pt x="114" y="6"/>
                  </a:lnTo>
                  <a:lnTo>
                    <a:pt x="80" y="12"/>
                  </a:lnTo>
                  <a:lnTo>
                    <a:pt x="64" y="16"/>
                  </a:lnTo>
                  <a:lnTo>
                    <a:pt x="49" y="20"/>
                  </a:lnTo>
                  <a:lnTo>
                    <a:pt x="35" y="25"/>
                  </a:lnTo>
                  <a:lnTo>
                    <a:pt x="24" y="31"/>
                  </a:lnTo>
                  <a:lnTo>
                    <a:pt x="14" y="37"/>
                  </a:lnTo>
                  <a:lnTo>
                    <a:pt x="6" y="43"/>
                  </a:lnTo>
                  <a:lnTo>
                    <a:pt x="4" y="48"/>
                  </a:lnTo>
                  <a:lnTo>
                    <a:pt x="2" y="51"/>
                  </a:lnTo>
                  <a:lnTo>
                    <a:pt x="1" y="55"/>
                  </a:lnTo>
                  <a:lnTo>
                    <a:pt x="0" y="60"/>
                  </a:lnTo>
                  <a:lnTo>
                    <a:pt x="0" y="135"/>
                  </a:lnTo>
                  <a:lnTo>
                    <a:pt x="0" y="210"/>
                  </a:lnTo>
                  <a:lnTo>
                    <a:pt x="0" y="285"/>
                  </a:lnTo>
                  <a:lnTo>
                    <a:pt x="0" y="359"/>
                  </a:lnTo>
                  <a:lnTo>
                    <a:pt x="0" y="436"/>
                  </a:lnTo>
                  <a:lnTo>
                    <a:pt x="1" y="440"/>
                  </a:lnTo>
                  <a:lnTo>
                    <a:pt x="2" y="443"/>
                  </a:lnTo>
                  <a:lnTo>
                    <a:pt x="4" y="447"/>
                  </a:lnTo>
                  <a:lnTo>
                    <a:pt x="6" y="451"/>
                  </a:lnTo>
                  <a:lnTo>
                    <a:pt x="14" y="458"/>
                  </a:lnTo>
                  <a:lnTo>
                    <a:pt x="24" y="463"/>
                  </a:lnTo>
                  <a:lnTo>
                    <a:pt x="35" y="469"/>
                  </a:lnTo>
                  <a:lnTo>
                    <a:pt x="49" y="474"/>
                  </a:lnTo>
                  <a:lnTo>
                    <a:pt x="64" y="478"/>
                  </a:lnTo>
                  <a:lnTo>
                    <a:pt x="80" y="483"/>
                  </a:lnTo>
                  <a:lnTo>
                    <a:pt x="114" y="488"/>
                  </a:lnTo>
                  <a:lnTo>
                    <a:pt x="149" y="492"/>
                  </a:lnTo>
                  <a:lnTo>
                    <a:pt x="182" y="494"/>
                  </a:lnTo>
                  <a:lnTo>
                    <a:pt x="211" y="496"/>
                  </a:lnTo>
                  <a:lnTo>
                    <a:pt x="240" y="494"/>
                  </a:lnTo>
                  <a:lnTo>
                    <a:pt x="273" y="492"/>
                  </a:lnTo>
                  <a:lnTo>
                    <a:pt x="307" y="488"/>
                  </a:lnTo>
                  <a:lnTo>
                    <a:pt x="342" y="483"/>
                  </a:lnTo>
                  <a:lnTo>
                    <a:pt x="358" y="478"/>
                  </a:lnTo>
                  <a:lnTo>
                    <a:pt x="373" y="474"/>
                  </a:lnTo>
                  <a:lnTo>
                    <a:pt x="387" y="469"/>
                  </a:lnTo>
                  <a:lnTo>
                    <a:pt x="398" y="463"/>
                  </a:lnTo>
                  <a:lnTo>
                    <a:pt x="408" y="458"/>
                  </a:lnTo>
                  <a:lnTo>
                    <a:pt x="416" y="451"/>
                  </a:lnTo>
                  <a:lnTo>
                    <a:pt x="418" y="447"/>
                  </a:lnTo>
                  <a:lnTo>
                    <a:pt x="420" y="443"/>
                  </a:lnTo>
                  <a:lnTo>
                    <a:pt x="421" y="440"/>
                  </a:lnTo>
                  <a:lnTo>
                    <a:pt x="421" y="436"/>
                  </a:lnTo>
                  <a:lnTo>
                    <a:pt x="421" y="359"/>
                  </a:lnTo>
                  <a:lnTo>
                    <a:pt x="421" y="285"/>
                  </a:lnTo>
                  <a:lnTo>
                    <a:pt x="421" y="210"/>
                  </a:lnTo>
                  <a:lnTo>
                    <a:pt x="421" y="135"/>
                  </a:lnTo>
                  <a:lnTo>
                    <a:pt x="421" y="60"/>
                  </a:lnTo>
                  <a:lnTo>
                    <a:pt x="421" y="55"/>
                  </a:lnTo>
                  <a:lnTo>
                    <a:pt x="420" y="51"/>
                  </a:lnTo>
                  <a:lnTo>
                    <a:pt x="418" y="48"/>
                  </a:lnTo>
                  <a:lnTo>
                    <a:pt x="416" y="43"/>
                  </a:lnTo>
                  <a:lnTo>
                    <a:pt x="408" y="37"/>
                  </a:lnTo>
                  <a:lnTo>
                    <a:pt x="398" y="31"/>
                  </a:lnTo>
                  <a:lnTo>
                    <a:pt x="387" y="25"/>
                  </a:lnTo>
                  <a:lnTo>
                    <a:pt x="373" y="20"/>
                  </a:lnTo>
                  <a:lnTo>
                    <a:pt x="358" y="16"/>
                  </a:lnTo>
                  <a:lnTo>
                    <a:pt x="342" y="12"/>
                  </a:lnTo>
                  <a:lnTo>
                    <a:pt x="307" y="6"/>
                  </a:lnTo>
                  <a:lnTo>
                    <a:pt x="273" y="2"/>
                  </a:lnTo>
                  <a:lnTo>
                    <a:pt x="240" y="0"/>
                  </a:lnTo>
                  <a:lnTo>
                    <a:pt x="21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5" name="Freeform 187"/>
            <p:cNvSpPr>
              <a:spLocks/>
            </p:cNvSpPr>
            <p:nvPr/>
          </p:nvSpPr>
          <p:spPr bwMode="auto">
            <a:xfrm>
              <a:off x="9882188" y="1354138"/>
              <a:ext cx="285750" cy="180975"/>
            </a:xfrm>
            <a:custGeom>
              <a:avLst/>
              <a:gdLst>
                <a:gd name="T0" fmla="*/ 0 w 902"/>
                <a:gd name="T1" fmla="*/ 0 h 571"/>
                <a:gd name="T2" fmla="*/ 0 w 902"/>
                <a:gd name="T3" fmla="*/ 345 h 571"/>
                <a:gd name="T4" fmla="*/ 1 w 902"/>
                <a:gd name="T5" fmla="*/ 348 h 571"/>
                <a:gd name="T6" fmla="*/ 1 w 902"/>
                <a:gd name="T7" fmla="*/ 351 h 571"/>
                <a:gd name="T8" fmla="*/ 3 w 902"/>
                <a:gd name="T9" fmla="*/ 353 h 571"/>
                <a:gd name="T10" fmla="*/ 4 w 902"/>
                <a:gd name="T11" fmla="*/ 355 h 571"/>
                <a:gd name="T12" fmla="*/ 6 w 902"/>
                <a:gd name="T13" fmla="*/ 357 h 571"/>
                <a:gd name="T14" fmla="*/ 10 w 902"/>
                <a:gd name="T15" fmla="*/ 358 h 571"/>
                <a:gd name="T16" fmla="*/ 12 w 902"/>
                <a:gd name="T17" fmla="*/ 360 h 571"/>
                <a:gd name="T18" fmla="*/ 15 w 902"/>
                <a:gd name="T19" fmla="*/ 361 h 571"/>
                <a:gd name="T20" fmla="*/ 18 w 902"/>
                <a:gd name="T21" fmla="*/ 360 h 571"/>
                <a:gd name="T22" fmla="*/ 21 w 902"/>
                <a:gd name="T23" fmla="*/ 358 h 571"/>
                <a:gd name="T24" fmla="*/ 24 w 902"/>
                <a:gd name="T25" fmla="*/ 357 h 571"/>
                <a:gd name="T26" fmla="*/ 26 w 902"/>
                <a:gd name="T27" fmla="*/ 355 h 571"/>
                <a:gd name="T28" fmla="*/ 28 w 902"/>
                <a:gd name="T29" fmla="*/ 353 h 571"/>
                <a:gd name="T30" fmla="*/ 29 w 902"/>
                <a:gd name="T31" fmla="*/ 351 h 571"/>
                <a:gd name="T32" fmla="*/ 30 w 902"/>
                <a:gd name="T33" fmla="*/ 348 h 571"/>
                <a:gd name="T34" fmla="*/ 30 w 902"/>
                <a:gd name="T35" fmla="*/ 345 h 571"/>
                <a:gd name="T36" fmla="*/ 30 w 902"/>
                <a:gd name="T37" fmla="*/ 30 h 571"/>
                <a:gd name="T38" fmla="*/ 872 w 902"/>
                <a:gd name="T39" fmla="*/ 30 h 571"/>
                <a:gd name="T40" fmla="*/ 872 w 902"/>
                <a:gd name="T41" fmla="*/ 541 h 571"/>
                <a:gd name="T42" fmla="*/ 572 w 902"/>
                <a:gd name="T43" fmla="*/ 541 h 571"/>
                <a:gd name="T44" fmla="*/ 569 w 902"/>
                <a:gd name="T45" fmla="*/ 541 h 571"/>
                <a:gd name="T46" fmla="*/ 566 w 902"/>
                <a:gd name="T47" fmla="*/ 542 h 571"/>
                <a:gd name="T48" fmla="*/ 563 w 902"/>
                <a:gd name="T49" fmla="*/ 543 h 571"/>
                <a:gd name="T50" fmla="*/ 561 w 902"/>
                <a:gd name="T51" fmla="*/ 545 h 571"/>
                <a:gd name="T52" fmla="*/ 559 w 902"/>
                <a:gd name="T53" fmla="*/ 547 h 571"/>
                <a:gd name="T54" fmla="*/ 558 w 902"/>
                <a:gd name="T55" fmla="*/ 550 h 571"/>
                <a:gd name="T56" fmla="*/ 557 w 902"/>
                <a:gd name="T57" fmla="*/ 552 h 571"/>
                <a:gd name="T58" fmla="*/ 557 w 902"/>
                <a:gd name="T59" fmla="*/ 556 h 571"/>
                <a:gd name="T60" fmla="*/ 557 w 902"/>
                <a:gd name="T61" fmla="*/ 559 h 571"/>
                <a:gd name="T62" fmla="*/ 558 w 902"/>
                <a:gd name="T63" fmla="*/ 561 h 571"/>
                <a:gd name="T64" fmla="*/ 559 w 902"/>
                <a:gd name="T65" fmla="*/ 564 h 571"/>
                <a:gd name="T66" fmla="*/ 561 w 902"/>
                <a:gd name="T67" fmla="*/ 566 h 571"/>
                <a:gd name="T68" fmla="*/ 563 w 902"/>
                <a:gd name="T69" fmla="*/ 568 h 571"/>
                <a:gd name="T70" fmla="*/ 566 w 902"/>
                <a:gd name="T71" fmla="*/ 569 h 571"/>
                <a:gd name="T72" fmla="*/ 569 w 902"/>
                <a:gd name="T73" fmla="*/ 571 h 571"/>
                <a:gd name="T74" fmla="*/ 572 w 902"/>
                <a:gd name="T75" fmla="*/ 571 h 571"/>
                <a:gd name="T76" fmla="*/ 902 w 902"/>
                <a:gd name="T77" fmla="*/ 571 h 571"/>
                <a:gd name="T78" fmla="*/ 902 w 902"/>
                <a:gd name="T79" fmla="*/ 0 h 571"/>
                <a:gd name="T80" fmla="*/ 0 w 902"/>
                <a:gd name="T81" fmla="*/ 0 h 5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902" h="571">
                  <a:moveTo>
                    <a:pt x="0" y="0"/>
                  </a:moveTo>
                  <a:lnTo>
                    <a:pt x="0" y="345"/>
                  </a:lnTo>
                  <a:lnTo>
                    <a:pt x="1" y="348"/>
                  </a:lnTo>
                  <a:lnTo>
                    <a:pt x="1" y="351"/>
                  </a:lnTo>
                  <a:lnTo>
                    <a:pt x="3" y="353"/>
                  </a:lnTo>
                  <a:lnTo>
                    <a:pt x="4" y="355"/>
                  </a:lnTo>
                  <a:lnTo>
                    <a:pt x="6" y="357"/>
                  </a:lnTo>
                  <a:lnTo>
                    <a:pt x="10" y="358"/>
                  </a:lnTo>
                  <a:lnTo>
                    <a:pt x="12" y="360"/>
                  </a:lnTo>
                  <a:lnTo>
                    <a:pt x="15" y="361"/>
                  </a:lnTo>
                  <a:lnTo>
                    <a:pt x="18" y="360"/>
                  </a:lnTo>
                  <a:lnTo>
                    <a:pt x="21" y="358"/>
                  </a:lnTo>
                  <a:lnTo>
                    <a:pt x="24" y="357"/>
                  </a:lnTo>
                  <a:lnTo>
                    <a:pt x="26" y="355"/>
                  </a:lnTo>
                  <a:lnTo>
                    <a:pt x="28" y="353"/>
                  </a:lnTo>
                  <a:lnTo>
                    <a:pt x="29" y="351"/>
                  </a:lnTo>
                  <a:lnTo>
                    <a:pt x="30" y="348"/>
                  </a:lnTo>
                  <a:lnTo>
                    <a:pt x="30" y="345"/>
                  </a:lnTo>
                  <a:lnTo>
                    <a:pt x="30" y="30"/>
                  </a:lnTo>
                  <a:lnTo>
                    <a:pt x="872" y="30"/>
                  </a:lnTo>
                  <a:lnTo>
                    <a:pt x="872" y="541"/>
                  </a:lnTo>
                  <a:lnTo>
                    <a:pt x="572" y="541"/>
                  </a:lnTo>
                  <a:lnTo>
                    <a:pt x="569" y="541"/>
                  </a:lnTo>
                  <a:lnTo>
                    <a:pt x="566" y="542"/>
                  </a:lnTo>
                  <a:lnTo>
                    <a:pt x="563" y="543"/>
                  </a:lnTo>
                  <a:lnTo>
                    <a:pt x="561" y="545"/>
                  </a:lnTo>
                  <a:lnTo>
                    <a:pt x="559" y="547"/>
                  </a:lnTo>
                  <a:lnTo>
                    <a:pt x="558" y="550"/>
                  </a:lnTo>
                  <a:lnTo>
                    <a:pt x="557" y="552"/>
                  </a:lnTo>
                  <a:lnTo>
                    <a:pt x="557" y="556"/>
                  </a:lnTo>
                  <a:lnTo>
                    <a:pt x="557" y="559"/>
                  </a:lnTo>
                  <a:lnTo>
                    <a:pt x="558" y="561"/>
                  </a:lnTo>
                  <a:lnTo>
                    <a:pt x="559" y="564"/>
                  </a:lnTo>
                  <a:lnTo>
                    <a:pt x="561" y="566"/>
                  </a:lnTo>
                  <a:lnTo>
                    <a:pt x="563" y="568"/>
                  </a:lnTo>
                  <a:lnTo>
                    <a:pt x="566" y="569"/>
                  </a:lnTo>
                  <a:lnTo>
                    <a:pt x="569" y="571"/>
                  </a:lnTo>
                  <a:lnTo>
                    <a:pt x="572" y="571"/>
                  </a:lnTo>
                  <a:lnTo>
                    <a:pt x="902" y="571"/>
                  </a:lnTo>
                  <a:lnTo>
                    <a:pt x="90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6" name="Freeform 188"/>
            <p:cNvSpPr>
              <a:spLocks noEditPoints="1"/>
            </p:cNvSpPr>
            <p:nvPr/>
          </p:nvSpPr>
          <p:spPr bwMode="auto">
            <a:xfrm>
              <a:off x="9986963" y="1406525"/>
              <a:ext cx="76200" cy="76200"/>
            </a:xfrm>
            <a:custGeom>
              <a:avLst/>
              <a:gdLst>
                <a:gd name="T0" fmla="*/ 102 w 241"/>
                <a:gd name="T1" fmla="*/ 208 h 241"/>
                <a:gd name="T2" fmla="*/ 77 w 241"/>
                <a:gd name="T3" fmla="*/ 199 h 241"/>
                <a:gd name="T4" fmla="*/ 57 w 241"/>
                <a:gd name="T5" fmla="*/ 184 h 241"/>
                <a:gd name="T6" fmla="*/ 41 w 241"/>
                <a:gd name="T7" fmla="*/ 162 h 241"/>
                <a:gd name="T8" fmla="*/ 32 w 241"/>
                <a:gd name="T9" fmla="*/ 138 h 241"/>
                <a:gd name="T10" fmla="*/ 31 w 241"/>
                <a:gd name="T11" fmla="*/ 111 h 241"/>
                <a:gd name="T12" fmla="*/ 37 w 241"/>
                <a:gd name="T13" fmla="*/ 85 h 241"/>
                <a:gd name="T14" fmla="*/ 50 w 241"/>
                <a:gd name="T15" fmla="*/ 63 h 241"/>
                <a:gd name="T16" fmla="*/ 70 w 241"/>
                <a:gd name="T17" fmla="*/ 46 h 241"/>
                <a:gd name="T18" fmla="*/ 93 w 241"/>
                <a:gd name="T19" fmla="*/ 34 h 241"/>
                <a:gd name="T20" fmla="*/ 120 w 241"/>
                <a:gd name="T21" fmla="*/ 30 h 241"/>
                <a:gd name="T22" fmla="*/ 147 w 241"/>
                <a:gd name="T23" fmla="*/ 34 h 241"/>
                <a:gd name="T24" fmla="*/ 170 w 241"/>
                <a:gd name="T25" fmla="*/ 46 h 241"/>
                <a:gd name="T26" fmla="*/ 190 w 241"/>
                <a:gd name="T27" fmla="*/ 63 h 241"/>
                <a:gd name="T28" fmla="*/ 204 w 241"/>
                <a:gd name="T29" fmla="*/ 85 h 241"/>
                <a:gd name="T30" fmla="*/ 210 w 241"/>
                <a:gd name="T31" fmla="*/ 111 h 241"/>
                <a:gd name="T32" fmla="*/ 209 w 241"/>
                <a:gd name="T33" fmla="*/ 138 h 241"/>
                <a:gd name="T34" fmla="*/ 199 w 241"/>
                <a:gd name="T35" fmla="*/ 162 h 241"/>
                <a:gd name="T36" fmla="*/ 184 w 241"/>
                <a:gd name="T37" fmla="*/ 184 h 241"/>
                <a:gd name="T38" fmla="*/ 163 w 241"/>
                <a:gd name="T39" fmla="*/ 199 h 241"/>
                <a:gd name="T40" fmla="*/ 138 w 241"/>
                <a:gd name="T41" fmla="*/ 208 h 241"/>
                <a:gd name="T42" fmla="*/ 120 w 241"/>
                <a:gd name="T43" fmla="*/ 210 h 241"/>
                <a:gd name="T44" fmla="*/ 96 w 241"/>
                <a:gd name="T45" fmla="*/ 2 h 241"/>
                <a:gd name="T46" fmla="*/ 63 w 241"/>
                <a:gd name="T47" fmla="*/ 15 h 241"/>
                <a:gd name="T48" fmla="*/ 35 w 241"/>
                <a:gd name="T49" fmla="*/ 35 h 241"/>
                <a:gd name="T50" fmla="*/ 15 w 241"/>
                <a:gd name="T51" fmla="*/ 63 h 241"/>
                <a:gd name="T52" fmla="*/ 2 w 241"/>
                <a:gd name="T53" fmla="*/ 96 h 241"/>
                <a:gd name="T54" fmla="*/ 1 w 241"/>
                <a:gd name="T55" fmla="*/ 132 h 241"/>
                <a:gd name="T56" fmla="*/ 10 w 241"/>
                <a:gd name="T57" fmla="*/ 167 h 241"/>
                <a:gd name="T58" fmla="*/ 28 w 241"/>
                <a:gd name="T59" fmla="*/ 197 h 241"/>
                <a:gd name="T60" fmla="*/ 54 w 241"/>
                <a:gd name="T61" fmla="*/ 219 h 241"/>
                <a:gd name="T62" fmla="*/ 85 w 241"/>
                <a:gd name="T63" fmla="*/ 235 h 241"/>
                <a:gd name="T64" fmla="*/ 120 w 241"/>
                <a:gd name="T65" fmla="*/ 241 h 241"/>
                <a:gd name="T66" fmla="*/ 156 w 241"/>
                <a:gd name="T67" fmla="*/ 235 h 241"/>
                <a:gd name="T68" fmla="*/ 187 w 241"/>
                <a:gd name="T69" fmla="*/ 219 h 241"/>
                <a:gd name="T70" fmla="*/ 213 w 241"/>
                <a:gd name="T71" fmla="*/ 197 h 241"/>
                <a:gd name="T72" fmla="*/ 231 w 241"/>
                <a:gd name="T73" fmla="*/ 167 h 241"/>
                <a:gd name="T74" fmla="*/ 240 w 241"/>
                <a:gd name="T75" fmla="*/ 132 h 241"/>
                <a:gd name="T76" fmla="*/ 238 w 241"/>
                <a:gd name="T77" fmla="*/ 96 h 241"/>
                <a:gd name="T78" fmla="*/ 226 w 241"/>
                <a:gd name="T79" fmla="*/ 63 h 241"/>
                <a:gd name="T80" fmla="*/ 206 w 241"/>
                <a:gd name="T81" fmla="*/ 35 h 241"/>
                <a:gd name="T82" fmla="*/ 178 w 241"/>
                <a:gd name="T83" fmla="*/ 15 h 241"/>
                <a:gd name="T84" fmla="*/ 145 w 241"/>
                <a:gd name="T85" fmla="*/ 2 h 241"/>
                <a:gd name="T86" fmla="*/ 120 w 241"/>
                <a:gd name="T87" fmla="*/ 0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41" h="241">
                  <a:moveTo>
                    <a:pt x="120" y="210"/>
                  </a:moveTo>
                  <a:lnTo>
                    <a:pt x="111" y="210"/>
                  </a:lnTo>
                  <a:lnTo>
                    <a:pt x="102" y="208"/>
                  </a:lnTo>
                  <a:lnTo>
                    <a:pt x="93" y="206"/>
                  </a:lnTo>
                  <a:lnTo>
                    <a:pt x="86" y="203"/>
                  </a:lnTo>
                  <a:lnTo>
                    <a:pt x="77" y="199"/>
                  </a:lnTo>
                  <a:lnTo>
                    <a:pt x="70" y="195"/>
                  </a:lnTo>
                  <a:lnTo>
                    <a:pt x="63" y="189"/>
                  </a:lnTo>
                  <a:lnTo>
                    <a:pt x="57" y="184"/>
                  </a:lnTo>
                  <a:lnTo>
                    <a:pt x="50" y="177"/>
                  </a:lnTo>
                  <a:lnTo>
                    <a:pt x="46" y="170"/>
                  </a:lnTo>
                  <a:lnTo>
                    <a:pt x="41" y="162"/>
                  </a:lnTo>
                  <a:lnTo>
                    <a:pt x="37" y="155"/>
                  </a:lnTo>
                  <a:lnTo>
                    <a:pt x="34" y="146"/>
                  </a:lnTo>
                  <a:lnTo>
                    <a:pt x="32" y="138"/>
                  </a:lnTo>
                  <a:lnTo>
                    <a:pt x="31" y="129"/>
                  </a:lnTo>
                  <a:lnTo>
                    <a:pt x="30" y="120"/>
                  </a:lnTo>
                  <a:lnTo>
                    <a:pt x="31" y="111"/>
                  </a:lnTo>
                  <a:lnTo>
                    <a:pt x="32" y="101"/>
                  </a:lnTo>
                  <a:lnTo>
                    <a:pt x="34" y="93"/>
                  </a:lnTo>
                  <a:lnTo>
                    <a:pt x="37" y="85"/>
                  </a:lnTo>
                  <a:lnTo>
                    <a:pt x="41" y="77"/>
                  </a:lnTo>
                  <a:lnTo>
                    <a:pt x="46" y="69"/>
                  </a:lnTo>
                  <a:lnTo>
                    <a:pt x="50" y="63"/>
                  </a:lnTo>
                  <a:lnTo>
                    <a:pt x="57" y="56"/>
                  </a:lnTo>
                  <a:lnTo>
                    <a:pt x="63" y="50"/>
                  </a:lnTo>
                  <a:lnTo>
                    <a:pt x="70" y="46"/>
                  </a:lnTo>
                  <a:lnTo>
                    <a:pt x="77" y="40"/>
                  </a:lnTo>
                  <a:lnTo>
                    <a:pt x="86" y="37"/>
                  </a:lnTo>
                  <a:lnTo>
                    <a:pt x="93" y="34"/>
                  </a:lnTo>
                  <a:lnTo>
                    <a:pt x="102" y="32"/>
                  </a:lnTo>
                  <a:lnTo>
                    <a:pt x="111" y="31"/>
                  </a:lnTo>
                  <a:lnTo>
                    <a:pt x="120" y="30"/>
                  </a:lnTo>
                  <a:lnTo>
                    <a:pt x="130" y="31"/>
                  </a:lnTo>
                  <a:lnTo>
                    <a:pt x="138" y="32"/>
                  </a:lnTo>
                  <a:lnTo>
                    <a:pt x="147" y="34"/>
                  </a:lnTo>
                  <a:lnTo>
                    <a:pt x="155" y="37"/>
                  </a:lnTo>
                  <a:lnTo>
                    <a:pt x="163" y="40"/>
                  </a:lnTo>
                  <a:lnTo>
                    <a:pt x="170" y="46"/>
                  </a:lnTo>
                  <a:lnTo>
                    <a:pt x="178" y="50"/>
                  </a:lnTo>
                  <a:lnTo>
                    <a:pt x="184" y="56"/>
                  </a:lnTo>
                  <a:lnTo>
                    <a:pt x="190" y="63"/>
                  </a:lnTo>
                  <a:lnTo>
                    <a:pt x="195" y="69"/>
                  </a:lnTo>
                  <a:lnTo>
                    <a:pt x="199" y="77"/>
                  </a:lnTo>
                  <a:lnTo>
                    <a:pt x="204" y="85"/>
                  </a:lnTo>
                  <a:lnTo>
                    <a:pt x="207" y="93"/>
                  </a:lnTo>
                  <a:lnTo>
                    <a:pt x="209" y="101"/>
                  </a:lnTo>
                  <a:lnTo>
                    <a:pt x="210" y="111"/>
                  </a:lnTo>
                  <a:lnTo>
                    <a:pt x="211" y="120"/>
                  </a:lnTo>
                  <a:lnTo>
                    <a:pt x="210" y="129"/>
                  </a:lnTo>
                  <a:lnTo>
                    <a:pt x="209" y="138"/>
                  </a:lnTo>
                  <a:lnTo>
                    <a:pt x="207" y="146"/>
                  </a:lnTo>
                  <a:lnTo>
                    <a:pt x="204" y="155"/>
                  </a:lnTo>
                  <a:lnTo>
                    <a:pt x="199" y="162"/>
                  </a:lnTo>
                  <a:lnTo>
                    <a:pt x="195" y="170"/>
                  </a:lnTo>
                  <a:lnTo>
                    <a:pt x="190" y="177"/>
                  </a:lnTo>
                  <a:lnTo>
                    <a:pt x="184" y="184"/>
                  </a:lnTo>
                  <a:lnTo>
                    <a:pt x="178" y="189"/>
                  </a:lnTo>
                  <a:lnTo>
                    <a:pt x="170" y="195"/>
                  </a:lnTo>
                  <a:lnTo>
                    <a:pt x="163" y="199"/>
                  </a:lnTo>
                  <a:lnTo>
                    <a:pt x="155" y="203"/>
                  </a:lnTo>
                  <a:lnTo>
                    <a:pt x="147" y="206"/>
                  </a:lnTo>
                  <a:lnTo>
                    <a:pt x="138" y="208"/>
                  </a:lnTo>
                  <a:lnTo>
                    <a:pt x="130" y="210"/>
                  </a:lnTo>
                  <a:lnTo>
                    <a:pt x="120" y="211"/>
                  </a:lnTo>
                  <a:lnTo>
                    <a:pt x="120" y="210"/>
                  </a:lnTo>
                  <a:close/>
                  <a:moveTo>
                    <a:pt x="120" y="0"/>
                  </a:moveTo>
                  <a:lnTo>
                    <a:pt x="108" y="1"/>
                  </a:lnTo>
                  <a:lnTo>
                    <a:pt x="96" y="2"/>
                  </a:lnTo>
                  <a:lnTo>
                    <a:pt x="85" y="5"/>
                  </a:lnTo>
                  <a:lnTo>
                    <a:pt x="74" y="9"/>
                  </a:lnTo>
                  <a:lnTo>
                    <a:pt x="63" y="15"/>
                  </a:lnTo>
                  <a:lnTo>
                    <a:pt x="54" y="20"/>
                  </a:lnTo>
                  <a:lnTo>
                    <a:pt x="44" y="27"/>
                  </a:lnTo>
                  <a:lnTo>
                    <a:pt x="35" y="35"/>
                  </a:lnTo>
                  <a:lnTo>
                    <a:pt x="28" y="43"/>
                  </a:lnTo>
                  <a:lnTo>
                    <a:pt x="20" y="53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5" y="84"/>
                  </a:lnTo>
                  <a:lnTo>
                    <a:pt x="2" y="96"/>
                  </a:lnTo>
                  <a:lnTo>
                    <a:pt x="1" y="108"/>
                  </a:lnTo>
                  <a:lnTo>
                    <a:pt x="0" y="120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5" y="156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7"/>
                  </a:lnTo>
                  <a:lnTo>
                    <a:pt x="35" y="205"/>
                  </a:lnTo>
                  <a:lnTo>
                    <a:pt x="44" y="213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1"/>
                  </a:lnTo>
                  <a:lnTo>
                    <a:pt x="85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1"/>
                  </a:lnTo>
                  <a:lnTo>
                    <a:pt x="133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1"/>
                  </a:lnTo>
                  <a:lnTo>
                    <a:pt x="178" y="226"/>
                  </a:lnTo>
                  <a:lnTo>
                    <a:pt x="187" y="219"/>
                  </a:lnTo>
                  <a:lnTo>
                    <a:pt x="197" y="213"/>
                  </a:lnTo>
                  <a:lnTo>
                    <a:pt x="206" y="205"/>
                  </a:lnTo>
                  <a:lnTo>
                    <a:pt x="213" y="197"/>
                  </a:lnTo>
                  <a:lnTo>
                    <a:pt x="220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6" y="156"/>
                  </a:lnTo>
                  <a:lnTo>
                    <a:pt x="238" y="144"/>
                  </a:lnTo>
                  <a:lnTo>
                    <a:pt x="240" y="132"/>
                  </a:lnTo>
                  <a:lnTo>
                    <a:pt x="241" y="120"/>
                  </a:lnTo>
                  <a:lnTo>
                    <a:pt x="240" y="108"/>
                  </a:lnTo>
                  <a:lnTo>
                    <a:pt x="238" y="96"/>
                  </a:lnTo>
                  <a:lnTo>
                    <a:pt x="236" y="84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0" y="53"/>
                  </a:lnTo>
                  <a:lnTo>
                    <a:pt x="213" y="43"/>
                  </a:lnTo>
                  <a:lnTo>
                    <a:pt x="206" y="35"/>
                  </a:lnTo>
                  <a:lnTo>
                    <a:pt x="197" y="27"/>
                  </a:lnTo>
                  <a:lnTo>
                    <a:pt x="187" y="20"/>
                  </a:lnTo>
                  <a:lnTo>
                    <a:pt x="178" y="15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3" y="1"/>
                  </a:lnTo>
                  <a:lnTo>
                    <a:pt x="120" y="0"/>
                  </a:lnTo>
                  <a:lnTo>
                    <a:pt x="12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7" name="Freeform 189"/>
            <p:cNvSpPr>
              <a:spLocks noEditPoints="1"/>
            </p:cNvSpPr>
            <p:nvPr/>
          </p:nvSpPr>
          <p:spPr bwMode="auto">
            <a:xfrm>
              <a:off x="10091738" y="1458913"/>
              <a:ext cx="28575" cy="28575"/>
            </a:xfrm>
            <a:custGeom>
              <a:avLst/>
              <a:gdLst>
                <a:gd name="T0" fmla="*/ 30 w 90"/>
                <a:gd name="T1" fmla="*/ 42 h 91"/>
                <a:gd name="T2" fmla="*/ 32 w 90"/>
                <a:gd name="T3" fmla="*/ 37 h 91"/>
                <a:gd name="T4" fmla="*/ 36 w 90"/>
                <a:gd name="T5" fmla="*/ 33 h 91"/>
                <a:gd name="T6" fmla="*/ 42 w 90"/>
                <a:gd name="T7" fmla="*/ 31 h 91"/>
                <a:gd name="T8" fmla="*/ 48 w 90"/>
                <a:gd name="T9" fmla="*/ 31 h 91"/>
                <a:gd name="T10" fmla="*/ 54 w 90"/>
                <a:gd name="T11" fmla="*/ 33 h 91"/>
                <a:gd name="T12" fmla="*/ 58 w 90"/>
                <a:gd name="T13" fmla="*/ 37 h 91"/>
                <a:gd name="T14" fmla="*/ 60 w 90"/>
                <a:gd name="T15" fmla="*/ 42 h 91"/>
                <a:gd name="T16" fmla="*/ 60 w 90"/>
                <a:gd name="T17" fmla="*/ 48 h 91"/>
                <a:gd name="T18" fmla="*/ 58 w 90"/>
                <a:gd name="T19" fmla="*/ 53 h 91"/>
                <a:gd name="T20" fmla="*/ 54 w 90"/>
                <a:gd name="T21" fmla="*/ 57 h 91"/>
                <a:gd name="T22" fmla="*/ 48 w 90"/>
                <a:gd name="T23" fmla="*/ 60 h 91"/>
                <a:gd name="T24" fmla="*/ 42 w 90"/>
                <a:gd name="T25" fmla="*/ 60 h 91"/>
                <a:gd name="T26" fmla="*/ 36 w 90"/>
                <a:gd name="T27" fmla="*/ 57 h 91"/>
                <a:gd name="T28" fmla="*/ 32 w 90"/>
                <a:gd name="T29" fmla="*/ 53 h 91"/>
                <a:gd name="T30" fmla="*/ 30 w 90"/>
                <a:gd name="T31" fmla="*/ 48 h 91"/>
                <a:gd name="T32" fmla="*/ 30 w 90"/>
                <a:gd name="T33" fmla="*/ 45 h 91"/>
                <a:gd name="T34" fmla="*/ 89 w 90"/>
                <a:gd name="T35" fmla="*/ 36 h 91"/>
                <a:gd name="T36" fmla="*/ 83 w 90"/>
                <a:gd name="T37" fmla="*/ 20 h 91"/>
                <a:gd name="T38" fmla="*/ 70 w 90"/>
                <a:gd name="T39" fmla="*/ 8 h 91"/>
                <a:gd name="T40" fmla="*/ 54 w 90"/>
                <a:gd name="T41" fmla="*/ 1 h 91"/>
                <a:gd name="T42" fmla="*/ 35 w 90"/>
                <a:gd name="T43" fmla="*/ 1 h 91"/>
                <a:gd name="T44" fmla="*/ 19 w 90"/>
                <a:gd name="T45" fmla="*/ 8 h 91"/>
                <a:gd name="T46" fmla="*/ 8 w 90"/>
                <a:gd name="T47" fmla="*/ 20 h 91"/>
                <a:gd name="T48" fmla="*/ 1 w 90"/>
                <a:gd name="T49" fmla="*/ 36 h 91"/>
                <a:gd name="T50" fmla="*/ 1 w 90"/>
                <a:gd name="T51" fmla="*/ 54 h 91"/>
                <a:gd name="T52" fmla="*/ 8 w 90"/>
                <a:gd name="T53" fmla="*/ 70 h 91"/>
                <a:gd name="T54" fmla="*/ 19 w 90"/>
                <a:gd name="T55" fmla="*/ 82 h 91"/>
                <a:gd name="T56" fmla="*/ 35 w 90"/>
                <a:gd name="T57" fmla="*/ 89 h 91"/>
                <a:gd name="T58" fmla="*/ 54 w 90"/>
                <a:gd name="T59" fmla="*/ 89 h 91"/>
                <a:gd name="T60" fmla="*/ 70 w 90"/>
                <a:gd name="T61" fmla="*/ 82 h 91"/>
                <a:gd name="T62" fmla="*/ 83 w 90"/>
                <a:gd name="T63" fmla="*/ 70 h 91"/>
                <a:gd name="T64" fmla="*/ 89 w 90"/>
                <a:gd name="T65" fmla="*/ 54 h 91"/>
                <a:gd name="T66" fmla="*/ 90 w 90"/>
                <a:gd name="T67" fmla="*/ 45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90" h="91">
                  <a:moveTo>
                    <a:pt x="30" y="45"/>
                  </a:moveTo>
                  <a:lnTo>
                    <a:pt x="30" y="42"/>
                  </a:lnTo>
                  <a:lnTo>
                    <a:pt x="31" y="39"/>
                  </a:lnTo>
                  <a:lnTo>
                    <a:pt x="32" y="37"/>
                  </a:lnTo>
                  <a:lnTo>
                    <a:pt x="34" y="35"/>
                  </a:lnTo>
                  <a:lnTo>
                    <a:pt x="36" y="33"/>
                  </a:lnTo>
                  <a:lnTo>
                    <a:pt x="39" y="32"/>
                  </a:lnTo>
                  <a:lnTo>
                    <a:pt x="42" y="31"/>
                  </a:lnTo>
                  <a:lnTo>
                    <a:pt x="45" y="31"/>
                  </a:lnTo>
                  <a:lnTo>
                    <a:pt x="48" y="31"/>
                  </a:lnTo>
                  <a:lnTo>
                    <a:pt x="50" y="32"/>
                  </a:lnTo>
                  <a:lnTo>
                    <a:pt x="54" y="33"/>
                  </a:lnTo>
                  <a:lnTo>
                    <a:pt x="56" y="35"/>
                  </a:lnTo>
                  <a:lnTo>
                    <a:pt x="58" y="37"/>
                  </a:lnTo>
                  <a:lnTo>
                    <a:pt x="59" y="39"/>
                  </a:lnTo>
                  <a:lnTo>
                    <a:pt x="60" y="42"/>
                  </a:lnTo>
                  <a:lnTo>
                    <a:pt x="60" y="46"/>
                  </a:lnTo>
                  <a:lnTo>
                    <a:pt x="60" y="48"/>
                  </a:lnTo>
                  <a:lnTo>
                    <a:pt x="59" y="51"/>
                  </a:lnTo>
                  <a:lnTo>
                    <a:pt x="58" y="53"/>
                  </a:lnTo>
                  <a:lnTo>
                    <a:pt x="56" y="55"/>
                  </a:lnTo>
                  <a:lnTo>
                    <a:pt x="54" y="57"/>
                  </a:lnTo>
                  <a:lnTo>
                    <a:pt x="50" y="58"/>
                  </a:lnTo>
                  <a:lnTo>
                    <a:pt x="48" y="60"/>
                  </a:lnTo>
                  <a:lnTo>
                    <a:pt x="45" y="61"/>
                  </a:lnTo>
                  <a:lnTo>
                    <a:pt x="42" y="60"/>
                  </a:lnTo>
                  <a:lnTo>
                    <a:pt x="39" y="58"/>
                  </a:lnTo>
                  <a:lnTo>
                    <a:pt x="36" y="57"/>
                  </a:lnTo>
                  <a:lnTo>
                    <a:pt x="34" y="55"/>
                  </a:lnTo>
                  <a:lnTo>
                    <a:pt x="32" y="53"/>
                  </a:lnTo>
                  <a:lnTo>
                    <a:pt x="31" y="51"/>
                  </a:lnTo>
                  <a:lnTo>
                    <a:pt x="30" y="48"/>
                  </a:lnTo>
                  <a:lnTo>
                    <a:pt x="30" y="46"/>
                  </a:lnTo>
                  <a:lnTo>
                    <a:pt x="30" y="45"/>
                  </a:lnTo>
                  <a:close/>
                  <a:moveTo>
                    <a:pt x="90" y="45"/>
                  </a:moveTo>
                  <a:lnTo>
                    <a:pt x="89" y="36"/>
                  </a:lnTo>
                  <a:lnTo>
                    <a:pt x="87" y="27"/>
                  </a:lnTo>
                  <a:lnTo>
                    <a:pt x="83" y="20"/>
                  </a:lnTo>
                  <a:lnTo>
                    <a:pt x="77" y="13"/>
                  </a:lnTo>
                  <a:lnTo>
                    <a:pt x="70" y="8"/>
                  </a:lnTo>
                  <a:lnTo>
                    <a:pt x="62" y="4"/>
                  </a:lnTo>
                  <a:lnTo>
                    <a:pt x="54" y="1"/>
                  </a:lnTo>
                  <a:lnTo>
                    <a:pt x="45" y="0"/>
                  </a:lnTo>
                  <a:lnTo>
                    <a:pt x="35" y="1"/>
                  </a:lnTo>
                  <a:lnTo>
                    <a:pt x="28" y="4"/>
                  </a:lnTo>
                  <a:lnTo>
                    <a:pt x="19" y="8"/>
                  </a:lnTo>
                  <a:lnTo>
                    <a:pt x="13" y="13"/>
                  </a:lnTo>
                  <a:lnTo>
                    <a:pt x="8" y="20"/>
                  </a:lnTo>
                  <a:lnTo>
                    <a:pt x="3" y="27"/>
                  </a:lnTo>
                  <a:lnTo>
                    <a:pt x="1" y="36"/>
                  </a:lnTo>
                  <a:lnTo>
                    <a:pt x="0" y="46"/>
                  </a:lnTo>
                  <a:lnTo>
                    <a:pt x="1" y="54"/>
                  </a:lnTo>
                  <a:lnTo>
                    <a:pt x="3" y="63"/>
                  </a:lnTo>
                  <a:lnTo>
                    <a:pt x="8" y="70"/>
                  </a:lnTo>
                  <a:lnTo>
                    <a:pt x="13" y="77"/>
                  </a:lnTo>
                  <a:lnTo>
                    <a:pt x="19" y="82"/>
                  </a:lnTo>
                  <a:lnTo>
                    <a:pt x="28" y="86"/>
                  </a:lnTo>
                  <a:lnTo>
                    <a:pt x="35" y="89"/>
                  </a:lnTo>
                  <a:lnTo>
                    <a:pt x="45" y="91"/>
                  </a:lnTo>
                  <a:lnTo>
                    <a:pt x="54" y="89"/>
                  </a:lnTo>
                  <a:lnTo>
                    <a:pt x="62" y="86"/>
                  </a:lnTo>
                  <a:lnTo>
                    <a:pt x="70" y="82"/>
                  </a:lnTo>
                  <a:lnTo>
                    <a:pt x="77" y="77"/>
                  </a:lnTo>
                  <a:lnTo>
                    <a:pt x="83" y="70"/>
                  </a:lnTo>
                  <a:lnTo>
                    <a:pt x="87" y="63"/>
                  </a:lnTo>
                  <a:lnTo>
                    <a:pt x="89" y="54"/>
                  </a:lnTo>
                  <a:lnTo>
                    <a:pt x="90" y="46"/>
                  </a:lnTo>
                  <a:lnTo>
                    <a:pt x="90" y="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8" name="Freeform 190"/>
            <p:cNvSpPr>
              <a:spLocks noEditPoints="1"/>
            </p:cNvSpPr>
            <p:nvPr/>
          </p:nvSpPr>
          <p:spPr bwMode="auto">
            <a:xfrm>
              <a:off x="9929813" y="1401763"/>
              <a:ext cx="28575" cy="28575"/>
            </a:xfrm>
            <a:custGeom>
              <a:avLst/>
              <a:gdLst>
                <a:gd name="T0" fmla="*/ 59 w 90"/>
                <a:gd name="T1" fmla="*/ 48 h 90"/>
                <a:gd name="T2" fmla="*/ 57 w 90"/>
                <a:gd name="T3" fmla="*/ 53 h 90"/>
                <a:gd name="T4" fmla="*/ 54 w 90"/>
                <a:gd name="T5" fmla="*/ 57 h 90"/>
                <a:gd name="T6" fmla="*/ 48 w 90"/>
                <a:gd name="T7" fmla="*/ 60 h 90"/>
                <a:gd name="T8" fmla="*/ 42 w 90"/>
                <a:gd name="T9" fmla="*/ 60 h 90"/>
                <a:gd name="T10" fmla="*/ 36 w 90"/>
                <a:gd name="T11" fmla="*/ 57 h 90"/>
                <a:gd name="T12" fmla="*/ 32 w 90"/>
                <a:gd name="T13" fmla="*/ 53 h 90"/>
                <a:gd name="T14" fmla="*/ 30 w 90"/>
                <a:gd name="T15" fmla="*/ 48 h 90"/>
                <a:gd name="T16" fmla="*/ 30 w 90"/>
                <a:gd name="T17" fmla="*/ 41 h 90"/>
                <a:gd name="T18" fmla="*/ 32 w 90"/>
                <a:gd name="T19" fmla="*/ 36 h 90"/>
                <a:gd name="T20" fmla="*/ 36 w 90"/>
                <a:gd name="T21" fmla="*/ 32 h 90"/>
                <a:gd name="T22" fmla="*/ 42 w 90"/>
                <a:gd name="T23" fmla="*/ 30 h 90"/>
                <a:gd name="T24" fmla="*/ 48 w 90"/>
                <a:gd name="T25" fmla="*/ 30 h 90"/>
                <a:gd name="T26" fmla="*/ 54 w 90"/>
                <a:gd name="T27" fmla="*/ 32 h 90"/>
                <a:gd name="T28" fmla="*/ 57 w 90"/>
                <a:gd name="T29" fmla="*/ 36 h 90"/>
                <a:gd name="T30" fmla="*/ 59 w 90"/>
                <a:gd name="T31" fmla="*/ 41 h 90"/>
                <a:gd name="T32" fmla="*/ 60 w 90"/>
                <a:gd name="T33" fmla="*/ 45 h 90"/>
                <a:gd name="T34" fmla="*/ 0 w 90"/>
                <a:gd name="T35" fmla="*/ 54 h 90"/>
                <a:gd name="T36" fmla="*/ 8 w 90"/>
                <a:gd name="T37" fmla="*/ 70 h 90"/>
                <a:gd name="T38" fmla="*/ 19 w 90"/>
                <a:gd name="T39" fmla="*/ 82 h 90"/>
                <a:gd name="T40" fmla="*/ 35 w 90"/>
                <a:gd name="T41" fmla="*/ 88 h 90"/>
                <a:gd name="T42" fmla="*/ 54 w 90"/>
                <a:gd name="T43" fmla="*/ 88 h 90"/>
                <a:gd name="T44" fmla="*/ 70 w 90"/>
                <a:gd name="T45" fmla="*/ 82 h 90"/>
                <a:gd name="T46" fmla="*/ 83 w 90"/>
                <a:gd name="T47" fmla="*/ 70 h 90"/>
                <a:gd name="T48" fmla="*/ 89 w 90"/>
                <a:gd name="T49" fmla="*/ 54 h 90"/>
                <a:gd name="T50" fmla="*/ 89 w 90"/>
                <a:gd name="T51" fmla="*/ 36 h 90"/>
                <a:gd name="T52" fmla="*/ 83 w 90"/>
                <a:gd name="T53" fmla="*/ 20 h 90"/>
                <a:gd name="T54" fmla="*/ 70 w 90"/>
                <a:gd name="T55" fmla="*/ 7 h 90"/>
                <a:gd name="T56" fmla="*/ 54 w 90"/>
                <a:gd name="T57" fmla="*/ 1 h 90"/>
                <a:gd name="T58" fmla="*/ 35 w 90"/>
                <a:gd name="T59" fmla="*/ 1 h 90"/>
                <a:gd name="T60" fmla="*/ 19 w 90"/>
                <a:gd name="T61" fmla="*/ 7 h 90"/>
                <a:gd name="T62" fmla="*/ 8 w 90"/>
                <a:gd name="T63" fmla="*/ 20 h 90"/>
                <a:gd name="T64" fmla="*/ 0 w 90"/>
                <a:gd name="T65" fmla="*/ 36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90" h="90">
                  <a:moveTo>
                    <a:pt x="60" y="45"/>
                  </a:moveTo>
                  <a:lnTo>
                    <a:pt x="59" y="48"/>
                  </a:lnTo>
                  <a:lnTo>
                    <a:pt x="59" y="51"/>
                  </a:lnTo>
                  <a:lnTo>
                    <a:pt x="57" y="53"/>
                  </a:lnTo>
                  <a:lnTo>
                    <a:pt x="56" y="55"/>
                  </a:lnTo>
                  <a:lnTo>
                    <a:pt x="54" y="57"/>
                  </a:lnTo>
                  <a:lnTo>
                    <a:pt x="50" y="58"/>
                  </a:lnTo>
                  <a:lnTo>
                    <a:pt x="48" y="60"/>
                  </a:lnTo>
                  <a:lnTo>
                    <a:pt x="45" y="60"/>
                  </a:lnTo>
                  <a:lnTo>
                    <a:pt x="42" y="60"/>
                  </a:lnTo>
                  <a:lnTo>
                    <a:pt x="39" y="58"/>
                  </a:lnTo>
                  <a:lnTo>
                    <a:pt x="36" y="57"/>
                  </a:lnTo>
                  <a:lnTo>
                    <a:pt x="34" y="55"/>
                  </a:lnTo>
                  <a:lnTo>
                    <a:pt x="32" y="53"/>
                  </a:lnTo>
                  <a:lnTo>
                    <a:pt x="31" y="51"/>
                  </a:lnTo>
                  <a:lnTo>
                    <a:pt x="30" y="48"/>
                  </a:lnTo>
                  <a:lnTo>
                    <a:pt x="30" y="45"/>
                  </a:lnTo>
                  <a:lnTo>
                    <a:pt x="30" y="41"/>
                  </a:lnTo>
                  <a:lnTo>
                    <a:pt x="31" y="39"/>
                  </a:lnTo>
                  <a:lnTo>
                    <a:pt x="32" y="36"/>
                  </a:lnTo>
                  <a:lnTo>
                    <a:pt x="34" y="34"/>
                  </a:lnTo>
                  <a:lnTo>
                    <a:pt x="36" y="32"/>
                  </a:lnTo>
                  <a:lnTo>
                    <a:pt x="39" y="31"/>
                  </a:lnTo>
                  <a:lnTo>
                    <a:pt x="42" y="30"/>
                  </a:lnTo>
                  <a:lnTo>
                    <a:pt x="45" y="30"/>
                  </a:lnTo>
                  <a:lnTo>
                    <a:pt x="48" y="30"/>
                  </a:lnTo>
                  <a:lnTo>
                    <a:pt x="50" y="31"/>
                  </a:lnTo>
                  <a:lnTo>
                    <a:pt x="54" y="32"/>
                  </a:lnTo>
                  <a:lnTo>
                    <a:pt x="56" y="34"/>
                  </a:lnTo>
                  <a:lnTo>
                    <a:pt x="57" y="36"/>
                  </a:lnTo>
                  <a:lnTo>
                    <a:pt x="59" y="39"/>
                  </a:lnTo>
                  <a:lnTo>
                    <a:pt x="59" y="41"/>
                  </a:lnTo>
                  <a:lnTo>
                    <a:pt x="60" y="45"/>
                  </a:lnTo>
                  <a:lnTo>
                    <a:pt x="60" y="45"/>
                  </a:lnTo>
                  <a:close/>
                  <a:moveTo>
                    <a:pt x="0" y="45"/>
                  </a:moveTo>
                  <a:lnTo>
                    <a:pt x="0" y="54"/>
                  </a:lnTo>
                  <a:lnTo>
                    <a:pt x="3" y="62"/>
                  </a:lnTo>
                  <a:lnTo>
                    <a:pt x="8" y="70"/>
                  </a:lnTo>
                  <a:lnTo>
                    <a:pt x="13" y="77"/>
                  </a:lnTo>
                  <a:lnTo>
                    <a:pt x="19" y="82"/>
                  </a:lnTo>
                  <a:lnTo>
                    <a:pt x="27" y="86"/>
                  </a:lnTo>
                  <a:lnTo>
                    <a:pt x="35" y="88"/>
                  </a:lnTo>
                  <a:lnTo>
                    <a:pt x="45" y="90"/>
                  </a:lnTo>
                  <a:lnTo>
                    <a:pt x="54" y="88"/>
                  </a:lnTo>
                  <a:lnTo>
                    <a:pt x="62" y="86"/>
                  </a:lnTo>
                  <a:lnTo>
                    <a:pt x="70" y="82"/>
                  </a:lnTo>
                  <a:lnTo>
                    <a:pt x="76" y="77"/>
                  </a:lnTo>
                  <a:lnTo>
                    <a:pt x="83" y="70"/>
                  </a:lnTo>
                  <a:lnTo>
                    <a:pt x="87" y="62"/>
                  </a:lnTo>
                  <a:lnTo>
                    <a:pt x="89" y="54"/>
                  </a:lnTo>
                  <a:lnTo>
                    <a:pt x="90" y="45"/>
                  </a:lnTo>
                  <a:lnTo>
                    <a:pt x="89" y="36"/>
                  </a:lnTo>
                  <a:lnTo>
                    <a:pt x="87" y="27"/>
                  </a:lnTo>
                  <a:lnTo>
                    <a:pt x="83" y="20"/>
                  </a:lnTo>
                  <a:lnTo>
                    <a:pt x="76" y="12"/>
                  </a:lnTo>
                  <a:lnTo>
                    <a:pt x="70" y="7"/>
                  </a:lnTo>
                  <a:lnTo>
                    <a:pt x="62" y="3"/>
                  </a:lnTo>
                  <a:lnTo>
                    <a:pt x="54" y="1"/>
                  </a:lnTo>
                  <a:lnTo>
                    <a:pt x="45" y="0"/>
                  </a:lnTo>
                  <a:lnTo>
                    <a:pt x="35" y="1"/>
                  </a:lnTo>
                  <a:lnTo>
                    <a:pt x="27" y="3"/>
                  </a:lnTo>
                  <a:lnTo>
                    <a:pt x="19" y="7"/>
                  </a:lnTo>
                  <a:lnTo>
                    <a:pt x="13" y="12"/>
                  </a:lnTo>
                  <a:lnTo>
                    <a:pt x="8" y="20"/>
                  </a:lnTo>
                  <a:lnTo>
                    <a:pt x="3" y="27"/>
                  </a:lnTo>
                  <a:lnTo>
                    <a:pt x="0" y="36"/>
                  </a:lnTo>
                  <a:lnTo>
                    <a:pt x="0" y="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9" name="Freeform 191"/>
            <p:cNvSpPr>
              <a:spLocks/>
            </p:cNvSpPr>
            <p:nvPr/>
          </p:nvSpPr>
          <p:spPr bwMode="auto">
            <a:xfrm>
              <a:off x="9901238" y="1373188"/>
              <a:ext cx="247650" cy="142875"/>
            </a:xfrm>
            <a:custGeom>
              <a:avLst/>
              <a:gdLst>
                <a:gd name="T0" fmla="*/ 498 w 782"/>
                <a:gd name="T1" fmla="*/ 441 h 451"/>
                <a:gd name="T2" fmla="*/ 503 w 782"/>
                <a:gd name="T3" fmla="*/ 447 h 451"/>
                <a:gd name="T4" fmla="*/ 512 w 782"/>
                <a:gd name="T5" fmla="*/ 451 h 451"/>
                <a:gd name="T6" fmla="*/ 710 w 782"/>
                <a:gd name="T7" fmla="*/ 448 h 451"/>
                <a:gd name="T8" fmla="*/ 735 w 782"/>
                <a:gd name="T9" fmla="*/ 440 h 451"/>
                <a:gd name="T10" fmla="*/ 756 w 782"/>
                <a:gd name="T11" fmla="*/ 424 h 451"/>
                <a:gd name="T12" fmla="*/ 771 w 782"/>
                <a:gd name="T13" fmla="*/ 403 h 451"/>
                <a:gd name="T14" fmla="*/ 781 w 782"/>
                <a:gd name="T15" fmla="*/ 379 h 451"/>
                <a:gd name="T16" fmla="*/ 782 w 782"/>
                <a:gd name="T17" fmla="*/ 90 h 451"/>
                <a:gd name="T18" fmla="*/ 779 w 782"/>
                <a:gd name="T19" fmla="*/ 63 h 451"/>
                <a:gd name="T20" fmla="*/ 767 w 782"/>
                <a:gd name="T21" fmla="*/ 39 h 451"/>
                <a:gd name="T22" fmla="*/ 750 w 782"/>
                <a:gd name="T23" fmla="*/ 20 h 451"/>
                <a:gd name="T24" fmla="*/ 727 w 782"/>
                <a:gd name="T25" fmla="*/ 6 h 451"/>
                <a:gd name="T26" fmla="*/ 702 w 782"/>
                <a:gd name="T27" fmla="*/ 0 h 451"/>
                <a:gd name="T28" fmla="*/ 81 w 782"/>
                <a:gd name="T29" fmla="*/ 0 h 451"/>
                <a:gd name="T30" fmla="*/ 56 w 782"/>
                <a:gd name="T31" fmla="*/ 6 h 451"/>
                <a:gd name="T32" fmla="*/ 33 w 782"/>
                <a:gd name="T33" fmla="*/ 20 h 451"/>
                <a:gd name="T34" fmla="*/ 16 w 782"/>
                <a:gd name="T35" fmla="*/ 39 h 451"/>
                <a:gd name="T36" fmla="*/ 4 w 782"/>
                <a:gd name="T37" fmla="*/ 63 h 451"/>
                <a:gd name="T38" fmla="*/ 0 w 782"/>
                <a:gd name="T39" fmla="*/ 90 h 451"/>
                <a:gd name="T40" fmla="*/ 2 w 782"/>
                <a:gd name="T41" fmla="*/ 291 h 451"/>
                <a:gd name="T42" fmla="*/ 7 w 782"/>
                <a:gd name="T43" fmla="*/ 297 h 451"/>
                <a:gd name="T44" fmla="*/ 15 w 782"/>
                <a:gd name="T45" fmla="*/ 301 h 451"/>
                <a:gd name="T46" fmla="*/ 24 w 782"/>
                <a:gd name="T47" fmla="*/ 297 h 451"/>
                <a:gd name="T48" fmla="*/ 29 w 782"/>
                <a:gd name="T49" fmla="*/ 291 h 451"/>
                <a:gd name="T50" fmla="*/ 30 w 782"/>
                <a:gd name="T51" fmla="*/ 90 h 451"/>
                <a:gd name="T52" fmla="*/ 33 w 782"/>
                <a:gd name="T53" fmla="*/ 71 h 451"/>
                <a:gd name="T54" fmla="*/ 41 w 782"/>
                <a:gd name="T55" fmla="*/ 55 h 451"/>
                <a:gd name="T56" fmla="*/ 52 w 782"/>
                <a:gd name="T57" fmla="*/ 43 h 451"/>
                <a:gd name="T58" fmla="*/ 67 w 782"/>
                <a:gd name="T59" fmla="*/ 34 h 451"/>
                <a:gd name="T60" fmla="*/ 85 w 782"/>
                <a:gd name="T61" fmla="*/ 30 h 451"/>
                <a:gd name="T62" fmla="*/ 698 w 782"/>
                <a:gd name="T63" fmla="*/ 30 h 451"/>
                <a:gd name="T64" fmla="*/ 716 w 782"/>
                <a:gd name="T65" fmla="*/ 34 h 451"/>
                <a:gd name="T66" fmla="*/ 731 w 782"/>
                <a:gd name="T67" fmla="*/ 43 h 451"/>
                <a:gd name="T68" fmla="*/ 742 w 782"/>
                <a:gd name="T69" fmla="*/ 55 h 451"/>
                <a:gd name="T70" fmla="*/ 750 w 782"/>
                <a:gd name="T71" fmla="*/ 71 h 451"/>
                <a:gd name="T72" fmla="*/ 752 w 782"/>
                <a:gd name="T73" fmla="*/ 90 h 451"/>
                <a:gd name="T74" fmla="*/ 751 w 782"/>
                <a:gd name="T75" fmla="*/ 372 h 451"/>
                <a:gd name="T76" fmla="*/ 744 w 782"/>
                <a:gd name="T77" fmla="*/ 389 h 451"/>
                <a:gd name="T78" fmla="*/ 735 w 782"/>
                <a:gd name="T79" fmla="*/ 403 h 451"/>
                <a:gd name="T80" fmla="*/ 721 w 782"/>
                <a:gd name="T81" fmla="*/ 413 h 451"/>
                <a:gd name="T82" fmla="*/ 704 w 782"/>
                <a:gd name="T83" fmla="*/ 419 h 451"/>
                <a:gd name="T84" fmla="*/ 512 w 782"/>
                <a:gd name="T85" fmla="*/ 421 h 451"/>
                <a:gd name="T86" fmla="*/ 503 w 782"/>
                <a:gd name="T87" fmla="*/ 423 h 451"/>
                <a:gd name="T88" fmla="*/ 498 w 782"/>
                <a:gd name="T89" fmla="*/ 429 h 451"/>
                <a:gd name="T90" fmla="*/ 497 w 782"/>
                <a:gd name="T91" fmla="*/ 436 h 4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782" h="451">
                  <a:moveTo>
                    <a:pt x="497" y="436"/>
                  </a:moveTo>
                  <a:lnTo>
                    <a:pt x="497" y="439"/>
                  </a:lnTo>
                  <a:lnTo>
                    <a:pt x="498" y="441"/>
                  </a:lnTo>
                  <a:lnTo>
                    <a:pt x="499" y="444"/>
                  </a:lnTo>
                  <a:lnTo>
                    <a:pt x="501" y="446"/>
                  </a:lnTo>
                  <a:lnTo>
                    <a:pt x="503" y="447"/>
                  </a:lnTo>
                  <a:lnTo>
                    <a:pt x="506" y="449"/>
                  </a:lnTo>
                  <a:lnTo>
                    <a:pt x="509" y="451"/>
                  </a:lnTo>
                  <a:lnTo>
                    <a:pt x="512" y="451"/>
                  </a:lnTo>
                  <a:lnTo>
                    <a:pt x="692" y="451"/>
                  </a:lnTo>
                  <a:lnTo>
                    <a:pt x="702" y="449"/>
                  </a:lnTo>
                  <a:lnTo>
                    <a:pt x="710" y="448"/>
                  </a:lnTo>
                  <a:lnTo>
                    <a:pt x="719" y="446"/>
                  </a:lnTo>
                  <a:lnTo>
                    <a:pt x="727" y="443"/>
                  </a:lnTo>
                  <a:lnTo>
                    <a:pt x="735" y="440"/>
                  </a:lnTo>
                  <a:lnTo>
                    <a:pt x="742" y="436"/>
                  </a:lnTo>
                  <a:lnTo>
                    <a:pt x="750" y="430"/>
                  </a:lnTo>
                  <a:lnTo>
                    <a:pt x="756" y="424"/>
                  </a:lnTo>
                  <a:lnTo>
                    <a:pt x="762" y="417"/>
                  </a:lnTo>
                  <a:lnTo>
                    <a:pt x="767" y="411"/>
                  </a:lnTo>
                  <a:lnTo>
                    <a:pt x="771" y="403"/>
                  </a:lnTo>
                  <a:lnTo>
                    <a:pt x="776" y="396"/>
                  </a:lnTo>
                  <a:lnTo>
                    <a:pt x="779" y="387"/>
                  </a:lnTo>
                  <a:lnTo>
                    <a:pt x="781" y="379"/>
                  </a:lnTo>
                  <a:lnTo>
                    <a:pt x="782" y="369"/>
                  </a:lnTo>
                  <a:lnTo>
                    <a:pt x="782" y="361"/>
                  </a:lnTo>
                  <a:lnTo>
                    <a:pt x="782" y="90"/>
                  </a:lnTo>
                  <a:lnTo>
                    <a:pt x="782" y="80"/>
                  </a:lnTo>
                  <a:lnTo>
                    <a:pt x="781" y="71"/>
                  </a:lnTo>
                  <a:lnTo>
                    <a:pt x="779" y="63"/>
                  </a:lnTo>
                  <a:lnTo>
                    <a:pt x="776" y="54"/>
                  </a:lnTo>
                  <a:lnTo>
                    <a:pt x="771" y="47"/>
                  </a:lnTo>
                  <a:lnTo>
                    <a:pt x="767" y="39"/>
                  </a:lnTo>
                  <a:lnTo>
                    <a:pt x="762" y="32"/>
                  </a:lnTo>
                  <a:lnTo>
                    <a:pt x="756" y="25"/>
                  </a:lnTo>
                  <a:lnTo>
                    <a:pt x="750" y="20"/>
                  </a:lnTo>
                  <a:lnTo>
                    <a:pt x="742" y="15"/>
                  </a:lnTo>
                  <a:lnTo>
                    <a:pt x="735" y="10"/>
                  </a:lnTo>
                  <a:lnTo>
                    <a:pt x="727" y="6"/>
                  </a:lnTo>
                  <a:lnTo>
                    <a:pt x="719" y="4"/>
                  </a:lnTo>
                  <a:lnTo>
                    <a:pt x="710" y="1"/>
                  </a:lnTo>
                  <a:lnTo>
                    <a:pt x="702" y="0"/>
                  </a:lnTo>
                  <a:lnTo>
                    <a:pt x="692" y="0"/>
                  </a:lnTo>
                  <a:lnTo>
                    <a:pt x="91" y="0"/>
                  </a:lnTo>
                  <a:lnTo>
                    <a:pt x="81" y="0"/>
                  </a:lnTo>
                  <a:lnTo>
                    <a:pt x="72" y="1"/>
                  </a:lnTo>
                  <a:lnTo>
                    <a:pt x="63" y="4"/>
                  </a:lnTo>
                  <a:lnTo>
                    <a:pt x="56" y="6"/>
                  </a:lnTo>
                  <a:lnTo>
                    <a:pt x="47" y="10"/>
                  </a:lnTo>
                  <a:lnTo>
                    <a:pt x="40" y="15"/>
                  </a:lnTo>
                  <a:lnTo>
                    <a:pt x="33" y="20"/>
                  </a:lnTo>
                  <a:lnTo>
                    <a:pt x="27" y="25"/>
                  </a:lnTo>
                  <a:lnTo>
                    <a:pt x="20" y="32"/>
                  </a:lnTo>
                  <a:lnTo>
                    <a:pt x="16" y="39"/>
                  </a:lnTo>
                  <a:lnTo>
                    <a:pt x="11" y="47"/>
                  </a:lnTo>
                  <a:lnTo>
                    <a:pt x="7" y="54"/>
                  </a:lnTo>
                  <a:lnTo>
                    <a:pt x="4" y="63"/>
                  </a:lnTo>
                  <a:lnTo>
                    <a:pt x="2" y="71"/>
                  </a:lnTo>
                  <a:lnTo>
                    <a:pt x="1" y="80"/>
                  </a:lnTo>
                  <a:lnTo>
                    <a:pt x="0" y="90"/>
                  </a:lnTo>
                  <a:lnTo>
                    <a:pt x="0" y="285"/>
                  </a:lnTo>
                  <a:lnTo>
                    <a:pt x="1" y="288"/>
                  </a:lnTo>
                  <a:lnTo>
                    <a:pt x="2" y="291"/>
                  </a:lnTo>
                  <a:lnTo>
                    <a:pt x="3" y="293"/>
                  </a:lnTo>
                  <a:lnTo>
                    <a:pt x="5" y="295"/>
                  </a:lnTo>
                  <a:lnTo>
                    <a:pt x="7" y="297"/>
                  </a:lnTo>
                  <a:lnTo>
                    <a:pt x="10" y="298"/>
                  </a:lnTo>
                  <a:lnTo>
                    <a:pt x="13" y="300"/>
                  </a:lnTo>
                  <a:lnTo>
                    <a:pt x="15" y="301"/>
                  </a:lnTo>
                  <a:lnTo>
                    <a:pt x="18" y="300"/>
                  </a:lnTo>
                  <a:lnTo>
                    <a:pt x="21" y="298"/>
                  </a:lnTo>
                  <a:lnTo>
                    <a:pt x="24" y="297"/>
                  </a:lnTo>
                  <a:lnTo>
                    <a:pt x="26" y="295"/>
                  </a:lnTo>
                  <a:lnTo>
                    <a:pt x="28" y="293"/>
                  </a:lnTo>
                  <a:lnTo>
                    <a:pt x="29" y="291"/>
                  </a:lnTo>
                  <a:lnTo>
                    <a:pt x="30" y="288"/>
                  </a:lnTo>
                  <a:lnTo>
                    <a:pt x="30" y="285"/>
                  </a:lnTo>
                  <a:lnTo>
                    <a:pt x="30" y="90"/>
                  </a:lnTo>
                  <a:lnTo>
                    <a:pt x="31" y="83"/>
                  </a:lnTo>
                  <a:lnTo>
                    <a:pt x="32" y="78"/>
                  </a:lnTo>
                  <a:lnTo>
                    <a:pt x="33" y="71"/>
                  </a:lnTo>
                  <a:lnTo>
                    <a:pt x="35" y="66"/>
                  </a:lnTo>
                  <a:lnTo>
                    <a:pt x="37" y="61"/>
                  </a:lnTo>
                  <a:lnTo>
                    <a:pt x="41" y="55"/>
                  </a:lnTo>
                  <a:lnTo>
                    <a:pt x="44" y="51"/>
                  </a:lnTo>
                  <a:lnTo>
                    <a:pt x="48" y="47"/>
                  </a:lnTo>
                  <a:lnTo>
                    <a:pt x="52" y="43"/>
                  </a:lnTo>
                  <a:lnTo>
                    <a:pt x="57" y="39"/>
                  </a:lnTo>
                  <a:lnTo>
                    <a:pt x="62" y="37"/>
                  </a:lnTo>
                  <a:lnTo>
                    <a:pt x="67" y="34"/>
                  </a:lnTo>
                  <a:lnTo>
                    <a:pt x="73" y="32"/>
                  </a:lnTo>
                  <a:lnTo>
                    <a:pt x="78" y="31"/>
                  </a:lnTo>
                  <a:lnTo>
                    <a:pt x="85" y="30"/>
                  </a:lnTo>
                  <a:lnTo>
                    <a:pt x="91" y="30"/>
                  </a:lnTo>
                  <a:lnTo>
                    <a:pt x="692" y="30"/>
                  </a:lnTo>
                  <a:lnTo>
                    <a:pt x="698" y="30"/>
                  </a:lnTo>
                  <a:lnTo>
                    <a:pt x="704" y="31"/>
                  </a:lnTo>
                  <a:lnTo>
                    <a:pt x="710" y="32"/>
                  </a:lnTo>
                  <a:lnTo>
                    <a:pt x="716" y="34"/>
                  </a:lnTo>
                  <a:lnTo>
                    <a:pt x="721" y="37"/>
                  </a:lnTo>
                  <a:lnTo>
                    <a:pt x="726" y="39"/>
                  </a:lnTo>
                  <a:lnTo>
                    <a:pt x="731" y="43"/>
                  </a:lnTo>
                  <a:lnTo>
                    <a:pt x="735" y="47"/>
                  </a:lnTo>
                  <a:lnTo>
                    <a:pt x="738" y="51"/>
                  </a:lnTo>
                  <a:lnTo>
                    <a:pt x="742" y="55"/>
                  </a:lnTo>
                  <a:lnTo>
                    <a:pt x="744" y="61"/>
                  </a:lnTo>
                  <a:lnTo>
                    <a:pt x="748" y="66"/>
                  </a:lnTo>
                  <a:lnTo>
                    <a:pt x="750" y="71"/>
                  </a:lnTo>
                  <a:lnTo>
                    <a:pt x="751" y="78"/>
                  </a:lnTo>
                  <a:lnTo>
                    <a:pt x="752" y="83"/>
                  </a:lnTo>
                  <a:lnTo>
                    <a:pt x="752" y="90"/>
                  </a:lnTo>
                  <a:lnTo>
                    <a:pt x="752" y="361"/>
                  </a:lnTo>
                  <a:lnTo>
                    <a:pt x="752" y="366"/>
                  </a:lnTo>
                  <a:lnTo>
                    <a:pt x="751" y="372"/>
                  </a:lnTo>
                  <a:lnTo>
                    <a:pt x="750" y="379"/>
                  </a:lnTo>
                  <a:lnTo>
                    <a:pt x="748" y="384"/>
                  </a:lnTo>
                  <a:lnTo>
                    <a:pt x="744" y="389"/>
                  </a:lnTo>
                  <a:lnTo>
                    <a:pt x="742" y="394"/>
                  </a:lnTo>
                  <a:lnTo>
                    <a:pt x="738" y="399"/>
                  </a:lnTo>
                  <a:lnTo>
                    <a:pt x="735" y="403"/>
                  </a:lnTo>
                  <a:lnTo>
                    <a:pt x="731" y="407"/>
                  </a:lnTo>
                  <a:lnTo>
                    <a:pt x="726" y="410"/>
                  </a:lnTo>
                  <a:lnTo>
                    <a:pt x="721" y="413"/>
                  </a:lnTo>
                  <a:lnTo>
                    <a:pt x="716" y="415"/>
                  </a:lnTo>
                  <a:lnTo>
                    <a:pt x="710" y="417"/>
                  </a:lnTo>
                  <a:lnTo>
                    <a:pt x="704" y="419"/>
                  </a:lnTo>
                  <a:lnTo>
                    <a:pt x="698" y="421"/>
                  </a:lnTo>
                  <a:lnTo>
                    <a:pt x="692" y="421"/>
                  </a:lnTo>
                  <a:lnTo>
                    <a:pt x="512" y="421"/>
                  </a:lnTo>
                  <a:lnTo>
                    <a:pt x="509" y="421"/>
                  </a:lnTo>
                  <a:lnTo>
                    <a:pt x="506" y="422"/>
                  </a:lnTo>
                  <a:lnTo>
                    <a:pt x="503" y="423"/>
                  </a:lnTo>
                  <a:lnTo>
                    <a:pt x="501" y="425"/>
                  </a:lnTo>
                  <a:lnTo>
                    <a:pt x="499" y="427"/>
                  </a:lnTo>
                  <a:lnTo>
                    <a:pt x="498" y="429"/>
                  </a:lnTo>
                  <a:lnTo>
                    <a:pt x="497" y="432"/>
                  </a:lnTo>
                  <a:lnTo>
                    <a:pt x="497" y="436"/>
                  </a:lnTo>
                  <a:lnTo>
                    <a:pt x="497" y="4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20" name="Group 319"/>
          <p:cNvGrpSpPr/>
          <p:nvPr/>
        </p:nvGrpSpPr>
        <p:grpSpPr>
          <a:xfrm>
            <a:off x="5808574" y="3478515"/>
            <a:ext cx="574852" cy="405594"/>
            <a:chOff x="8164513" y="2584450"/>
            <a:chExt cx="285750" cy="201613"/>
          </a:xfrm>
        </p:grpSpPr>
        <p:sp>
          <p:nvSpPr>
            <p:cNvPr id="321" name="Freeform 106"/>
            <p:cNvSpPr>
              <a:spLocks noEditPoints="1"/>
            </p:cNvSpPr>
            <p:nvPr/>
          </p:nvSpPr>
          <p:spPr bwMode="auto">
            <a:xfrm>
              <a:off x="8164513" y="2584450"/>
              <a:ext cx="285750" cy="201613"/>
            </a:xfrm>
            <a:custGeom>
              <a:avLst/>
              <a:gdLst>
                <a:gd name="T0" fmla="*/ 806 w 902"/>
                <a:gd name="T1" fmla="*/ 508 h 631"/>
                <a:gd name="T2" fmla="*/ 872 w 902"/>
                <a:gd name="T3" fmla="*/ 481 h 631"/>
                <a:gd name="T4" fmla="*/ 709 w 902"/>
                <a:gd name="T5" fmla="*/ 600 h 631"/>
                <a:gd name="T6" fmla="*/ 683 w 902"/>
                <a:gd name="T7" fmla="*/ 587 h 631"/>
                <a:gd name="T8" fmla="*/ 666 w 902"/>
                <a:gd name="T9" fmla="*/ 565 h 631"/>
                <a:gd name="T10" fmla="*/ 661 w 902"/>
                <a:gd name="T11" fmla="*/ 535 h 631"/>
                <a:gd name="T12" fmla="*/ 672 w 902"/>
                <a:gd name="T13" fmla="*/ 508 h 631"/>
                <a:gd name="T14" fmla="*/ 693 w 902"/>
                <a:gd name="T15" fmla="*/ 489 h 631"/>
                <a:gd name="T16" fmla="*/ 721 w 902"/>
                <a:gd name="T17" fmla="*/ 481 h 631"/>
                <a:gd name="T18" fmla="*/ 750 w 902"/>
                <a:gd name="T19" fmla="*/ 489 h 631"/>
                <a:gd name="T20" fmla="*/ 771 w 902"/>
                <a:gd name="T21" fmla="*/ 508 h 631"/>
                <a:gd name="T22" fmla="*/ 781 w 902"/>
                <a:gd name="T23" fmla="*/ 535 h 631"/>
                <a:gd name="T24" fmla="*/ 777 w 902"/>
                <a:gd name="T25" fmla="*/ 565 h 631"/>
                <a:gd name="T26" fmla="*/ 760 w 902"/>
                <a:gd name="T27" fmla="*/ 587 h 631"/>
                <a:gd name="T28" fmla="*/ 734 w 902"/>
                <a:gd name="T29" fmla="*/ 600 h 631"/>
                <a:gd name="T30" fmla="*/ 269 w 902"/>
                <a:gd name="T31" fmla="*/ 524 h 631"/>
                <a:gd name="T32" fmla="*/ 252 w 902"/>
                <a:gd name="T33" fmla="*/ 488 h 631"/>
                <a:gd name="T34" fmla="*/ 641 w 902"/>
                <a:gd name="T35" fmla="*/ 501 h 631"/>
                <a:gd name="T36" fmla="*/ 631 w 902"/>
                <a:gd name="T37" fmla="*/ 541 h 631"/>
                <a:gd name="T38" fmla="*/ 162 w 902"/>
                <a:gd name="T39" fmla="*/ 599 h 631"/>
                <a:gd name="T40" fmla="*/ 137 w 902"/>
                <a:gd name="T41" fmla="*/ 584 h 631"/>
                <a:gd name="T42" fmla="*/ 122 w 902"/>
                <a:gd name="T43" fmla="*/ 560 h 631"/>
                <a:gd name="T44" fmla="*/ 121 w 902"/>
                <a:gd name="T45" fmla="*/ 530 h 631"/>
                <a:gd name="T46" fmla="*/ 134 w 902"/>
                <a:gd name="T47" fmla="*/ 503 h 631"/>
                <a:gd name="T48" fmla="*/ 156 w 902"/>
                <a:gd name="T49" fmla="*/ 486 h 631"/>
                <a:gd name="T50" fmla="*/ 186 w 902"/>
                <a:gd name="T51" fmla="*/ 481 h 631"/>
                <a:gd name="T52" fmla="*/ 213 w 902"/>
                <a:gd name="T53" fmla="*/ 491 h 631"/>
                <a:gd name="T54" fmla="*/ 232 w 902"/>
                <a:gd name="T55" fmla="*/ 512 h 631"/>
                <a:gd name="T56" fmla="*/ 240 w 902"/>
                <a:gd name="T57" fmla="*/ 541 h 631"/>
                <a:gd name="T58" fmla="*/ 232 w 902"/>
                <a:gd name="T59" fmla="*/ 570 h 631"/>
                <a:gd name="T60" fmla="*/ 213 w 902"/>
                <a:gd name="T61" fmla="*/ 591 h 631"/>
                <a:gd name="T62" fmla="*/ 186 w 902"/>
                <a:gd name="T63" fmla="*/ 601 h 631"/>
                <a:gd name="T64" fmla="*/ 108 w 902"/>
                <a:gd name="T65" fmla="*/ 488 h 631"/>
                <a:gd name="T66" fmla="*/ 91 w 902"/>
                <a:gd name="T67" fmla="*/ 524 h 631"/>
                <a:gd name="T68" fmla="*/ 117 w 902"/>
                <a:gd name="T69" fmla="*/ 265 h 631"/>
                <a:gd name="T70" fmla="*/ 30 w 902"/>
                <a:gd name="T71" fmla="*/ 451 h 631"/>
                <a:gd name="T72" fmla="*/ 872 w 902"/>
                <a:gd name="T73" fmla="*/ 451 h 631"/>
                <a:gd name="T74" fmla="*/ 887 w 902"/>
                <a:gd name="T75" fmla="*/ 0 h 631"/>
                <a:gd name="T76" fmla="*/ 365 w 902"/>
                <a:gd name="T77" fmla="*/ 5 h 631"/>
                <a:gd name="T78" fmla="*/ 361 w 902"/>
                <a:gd name="T79" fmla="*/ 90 h 631"/>
                <a:gd name="T80" fmla="*/ 182 w 902"/>
                <a:gd name="T81" fmla="*/ 98 h 631"/>
                <a:gd name="T82" fmla="*/ 0 w 902"/>
                <a:gd name="T83" fmla="*/ 327 h 631"/>
                <a:gd name="T84" fmla="*/ 2 w 902"/>
                <a:gd name="T85" fmla="*/ 565 h 631"/>
                <a:gd name="T86" fmla="*/ 15 w 902"/>
                <a:gd name="T87" fmla="*/ 571 h 631"/>
                <a:gd name="T88" fmla="*/ 128 w 902"/>
                <a:gd name="T89" fmla="*/ 614 h 631"/>
                <a:gd name="T90" fmla="*/ 172 w 902"/>
                <a:gd name="T91" fmla="*/ 631 h 631"/>
                <a:gd name="T92" fmla="*/ 208 w 902"/>
                <a:gd name="T93" fmla="*/ 627 h 631"/>
                <a:gd name="T94" fmla="*/ 259 w 902"/>
                <a:gd name="T95" fmla="*/ 584 h 631"/>
                <a:gd name="T96" fmla="*/ 659 w 902"/>
                <a:gd name="T97" fmla="*/ 606 h 631"/>
                <a:gd name="T98" fmla="*/ 707 w 902"/>
                <a:gd name="T99" fmla="*/ 630 h 631"/>
                <a:gd name="T100" fmla="*/ 742 w 902"/>
                <a:gd name="T101" fmla="*/ 629 h 631"/>
                <a:gd name="T102" fmla="*/ 793 w 902"/>
                <a:gd name="T103" fmla="*/ 596 h 631"/>
                <a:gd name="T104" fmla="*/ 892 w 902"/>
                <a:gd name="T105" fmla="*/ 570 h 631"/>
                <a:gd name="T106" fmla="*/ 901 w 902"/>
                <a:gd name="T107" fmla="*/ 560 h 631"/>
                <a:gd name="T108" fmla="*/ 899 w 902"/>
                <a:gd name="T109" fmla="*/ 7 h 631"/>
                <a:gd name="T110" fmla="*/ 887 w 902"/>
                <a:gd name="T111" fmla="*/ 0 h 6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902" h="631">
                  <a:moveTo>
                    <a:pt x="812" y="541"/>
                  </a:moveTo>
                  <a:lnTo>
                    <a:pt x="811" y="533"/>
                  </a:lnTo>
                  <a:lnTo>
                    <a:pt x="810" y="524"/>
                  </a:lnTo>
                  <a:lnTo>
                    <a:pt x="808" y="517"/>
                  </a:lnTo>
                  <a:lnTo>
                    <a:pt x="806" y="508"/>
                  </a:lnTo>
                  <a:lnTo>
                    <a:pt x="802" y="501"/>
                  </a:lnTo>
                  <a:lnTo>
                    <a:pt x="798" y="494"/>
                  </a:lnTo>
                  <a:lnTo>
                    <a:pt x="794" y="488"/>
                  </a:lnTo>
                  <a:lnTo>
                    <a:pt x="788" y="481"/>
                  </a:lnTo>
                  <a:lnTo>
                    <a:pt x="872" y="481"/>
                  </a:lnTo>
                  <a:lnTo>
                    <a:pt x="872" y="541"/>
                  </a:lnTo>
                  <a:lnTo>
                    <a:pt x="812" y="541"/>
                  </a:lnTo>
                  <a:close/>
                  <a:moveTo>
                    <a:pt x="721" y="601"/>
                  </a:moveTo>
                  <a:lnTo>
                    <a:pt x="716" y="601"/>
                  </a:lnTo>
                  <a:lnTo>
                    <a:pt x="709" y="600"/>
                  </a:lnTo>
                  <a:lnTo>
                    <a:pt x="704" y="599"/>
                  </a:lnTo>
                  <a:lnTo>
                    <a:pt x="697" y="597"/>
                  </a:lnTo>
                  <a:lnTo>
                    <a:pt x="693" y="594"/>
                  </a:lnTo>
                  <a:lnTo>
                    <a:pt x="688" y="591"/>
                  </a:lnTo>
                  <a:lnTo>
                    <a:pt x="683" y="587"/>
                  </a:lnTo>
                  <a:lnTo>
                    <a:pt x="679" y="584"/>
                  </a:lnTo>
                  <a:lnTo>
                    <a:pt x="675" y="580"/>
                  </a:lnTo>
                  <a:lnTo>
                    <a:pt x="672" y="575"/>
                  </a:lnTo>
                  <a:lnTo>
                    <a:pt x="668" y="570"/>
                  </a:lnTo>
                  <a:lnTo>
                    <a:pt x="666" y="565"/>
                  </a:lnTo>
                  <a:lnTo>
                    <a:pt x="664" y="560"/>
                  </a:lnTo>
                  <a:lnTo>
                    <a:pt x="662" y="553"/>
                  </a:lnTo>
                  <a:lnTo>
                    <a:pt x="661" y="548"/>
                  </a:lnTo>
                  <a:lnTo>
                    <a:pt x="661" y="541"/>
                  </a:lnTo>
                  <a:lnTo>
                    <a:pt x="661" y="535"/>
                  </a:lnTo>
                  <a:lnTo>
                    <a:pt x="662" y="530"/>
                  </a:lnTo>
                  <a:lnTo>
                    <a:pt x="664" y="523"/>
                  </a:lnTo>
                  <a:lnTo>
                    <a:pt x="666" y="518"/>
                  </a:lnTo>
                  <a:lnTo>
                    <a:pt x="668" y="512"/>
                  </a:lnTo>
                  <a:lnTo>
                    <a:pt x="672" y="508"/>
                  </a:lnTo>
                  <a:lnTo>
                    <a:pt x="675" y="503"/>
                  </a:lnTo>
                  <a:lnTo>
                    <a:pt x="679" y="499"/>
                  </a:lnTo>
                  <a:lnTo>
                    <a:pt x="683" y="495"/>
                  </a:lnTo>
                  <a:lnTo>
                    <a:pt x="688" y="491"/>
                  </a:lnTo>
                  <a:lnTo>
                    <a:pt x="693" y="489"/>
                  </a:lnTo>
                  <a:lnTo>
                    <a:pt x="697" y="486"/>
                  </a:lnTo>
                  <a:lnTo>
                    <a:pt x="704" y="484"/>
                  </a:lnTo>
                  <a:lnTo>
                    <a:pt x="709" y="482"/>
                  </a:lnTo>
                  <a:lnTo>
                    <a:pt x="716" y="481"/>
                  </a:lnTo>
                  <a:lnTo>
                    <a:pt x="721" y="481"/>
                  </a:lnTo>
                  <a:lnTo>
                    <a:pt x="727" y="481"/>
                  </a:lnTo>
                  <a:lnTo>
                    <a:pt x="734" y="482"/>
                  </a:lnTo>
                  <a:lnTo>
                    <a:pt x="739" y="484"/>
                  </a:lnTo>
                  <a:lnTo>
                    <a:pt x="745" y="486"/>
                  </a:lnTo>
                  <a:lnTo>
                    <a:pt x="750" y="489"/>
                  </a:lnTo>
                  <a:lnTo>
                    <a:pt x="755" y="491"/>
                  </a:lnTo>
                  <a:lnTo>
                    <a:pt x="760" y="495"/>
                  </a:lnTo>
                  <a:lnTo>
                    <a:pt x="764" y="499"/>
                  </a:lnTo>
                  <a:lnTo>
                    <a:pt x="768" y="503"/>
                  </a:lnTo>
                  <a:lnTo>
                    <a:pt x="771" y="508"/>
                  </a:lnTo>
                  <a:lnTo>
                    <a:pt x="775" y="512"/>
                  </a:lnTo>
                  <a:lnTo>
                    <a:pt x="777" y="518"/>
                  </a:lnTo>
                  <a:lnTo>
                    <a:pt x="779" y="523"/>
                  </a:lnTo>
                  <a:lnTo>
                    <a:pt x="780" y="530"/>
                  </a:lnTo>
                  <a:lnTo>
                    <a:pt x="781" y="535"/>
                  </a:lnTo>
                  <a:lnTo>
                    <a:pt x="781" y="541"/>
                  </a:lnTo>
                  <a:lnTo>
                    <a:pt x="781" y="548"/>
                  </a:lnTo>
                  <a:lnTo>
                    <a:pt x="780" y="553"/>
                  </a:lnTo>
                  <a:lnTo>
                    <a:pt x="779" y="560"/>
                  </a:lnTo>
                  <a:lnTo>
                    <a:pt x="777" y="565"/>
                  </a:lnTo>
                  <a:lnTo>
                    <a:pt x="775" y="570"/>
                  </a:lnTo>
                  <a:lnTo>
                    <a:pt x="771" y="575"/>
                  </a:lnTo>
                  <a:lnTo>
                    <a:pt x="768" y="580"/>
                  </a:lnTo>
                  <a:lnTo>
                    <a:pt x="764" y="584"/>
                  </a:lnTo>
                  <a:lnTo>
                    <a:pt x="760" y="587"/>
                  </a:lnTo>
                  <a:lnTo>
                    <a:pt x="755" y="591"/>
                  </a:lnTo>
                  <a:lnTo>
                    <a:pt x="750" y="594"/>
                  </a:lnTo>
                  <a:lnTo>
                    <a:pt x="745" y="597"/>
                  </a:lnTo>
                  <a:lnTo>
                    <a:pt x="739" y="599"/>
                  </a:lnTo>
                  <a:lnTo>
                    <a:pt x="734" y="600"/>
                  </a:lnTo>
                  <a:lnTo>
                    <a:pt x="727" y="601"/>
                  </a:lnTo>
                  <a:lnTo>
                    <a:pt x="721" y="601"/>
                  </a:lnTo>
                  <a:close/>
                  <a:moveTo>
                    <a:pt x="270" y="541"/>
                  </a:moveTo>
                  <a:lnTo>
                    <a:pt x="270" y="533"/>
                  </a:lnTo>
                  <a:lnTo>
                    <a:pt x="269" y="524"/>
                  </a:lnTo>
                  <a:lnTo>
                    <a:pt x="267" y="517"/>
                  </a:lnTo>
                  <a:lnTo>
                    <a:pt x="264" y="508"/>
                  </a:lnTo>
                  <a:lnTo>
                    <a:pt x="260" y="501"/>
                  </a:lnTo>
                  <a:lnTo>
                    <a:pt x="257" y="494"/>
                  </a:lnTo>
                  <a:lnTo>
                    <a:pt x="252" y="488"/>
                  </a:lnTo>
                  <a:lnTo>
                    <a:pt x="247" y="481"/>
                  </a:lnTo>
                  <a:lnTo>
                    <a:pt x="655" y="481"/>
                  </a:lnTo>
                  <a:lnTo>
                    <a:pt x="649" y="488"/>
                  </a:lnTo>
                  <a:lnTo>
                    <a:pt x="645" y="494"/>
                  </a:lnTo>
                  <a:lnTo>
                    <a:pt x="641" y="501"/>
                  </a:lnTo>
                  <a:lnTo>
                    <a:pt x="637" y="508"/>
                  </a:lnTo>
                  <a:lnTo>
                    <a:pt x="634" y="517"/>
                  </a:lnTo>
                  <a:lnTo>
                    <a:pt x="633" y="524"/>
                  </a:lnTo>
                  <a:lnTo>
                    <a:pt x="632" y="533"/>
                  </a:lnTo>
                  <a:lnTo>
                    <a:pt x="631" y="541"/>
                  </a:lnTo>
                  <a:lnTo>
                    <a:pt x="270" y="541"/>
                  </a:lnTo>
                  <a:close/>
                  <a:moveTo>
                    <a:pt x="180" y="601"/>
                  </a:moveTo>
                  <a:lnTo>
                    <a:pt x="174" y="601"/>
                  </a:lnTo>
                  <a:lnTo>
                    <a:pt x="168" y="600"/>
                  </a:lnTo>
                  <a:lnTo>
                    <a:pt x="162" y="599"/>
                  </a:lnTo>
                  <a:lnTo>
                    <a:pt x="156" y="597"/>
                  </a:lnTo>
                  <a:lnTo>
                    <a:pt x="151" y="594"/>
                  </a:lnTo>
                  <a:lnTo>
                    <a:pt x="147" y="591"/>
                  </a:lnTo>
                  <a:lnTo>
                    <a:pt x="141" y="587"/>
                  </a:lnTo>
                  <a:lnTo>
                    <a:pt x="137" y="584"/>
                  </a:lnTo>
                  <a:lnTo>
                    <a:pt x="134" y="580"/>
                  </a:lnTo>
                  <a:lnTo>
                    <a:pt x="131" y="575"/>
                  </a:lnTo>
                  <a:lnTo>
                    <a:pt x="128" y="570"/>
                  </a:lnTo>
                  <a:lnTo>
                    <a:pt x="124" y="565"/>
                  </a:lnTo>
                  <a:lnTo>
                    <a:pt x="122" y="560"/>
                  </a:lnTo>
                  <a:lnTo>
                    <a:pt x="121" y="553"/>
                  </a:lnTo>
                  <a:lnTo>
                    <a:pt x="120" y="548"/>
                  </a:lnTo>
                  <a:lnTo>
                    <a:pt x="120" y="541"/>
                  </a:lnTo>
                  <a:lnTo>
                    <a:pt x="120" y="535"/>
                  </a:lnTo>
                  <a:lnTo>
                    <a:pt x="121" y="530"/>
                  </a:lnTo>
                  <a:lnTo>
                    <a:pt x="122" y="523"/>
                  </a:lnTo>
                  <a:lnTo>
                    <a:pt x="124" y="518"/>
                  </a:lnTo>
                  <a:lnTo>
                    <a:pt x="128" y="512"/>
                  </a:lnTo>
                  <a:lnTo>
                    <a:pt x="131" y="508"/>
                  </a:lnTo>
                  <a:lnTo>
                    <a:pt x="134" y="503"/>
                  </a:lnTo>
                  <a:lnTo>
                    <a:pt x="137" y="499"/>
                  </a:lnTo>
                  <a:lnTo>
                    <a:pt x="141" y="495"/>
                  </a:lnTo>
                  <a:lnTo>
                    <a:pt x="147" y="491"/>
                  </a:lnTo>
                  <a:lnTo>
                    <a:pt x="151" y="489"/>
                  </a:lnTo>
                  <a:lnTo>
                    <a:pt x="156" y="486"/>
                  </a:lnTo>
                  <a:lnTo>
                    <a:pt x="162" y="484"/>
                  </a:lnTo>
                  <a:lnTo>
                    <a:pt x="168" y="482"/>
                  </a:lnTo>
                  <a:lnTo>
                    <a:pt x="174" y="481"/>
                  </a:lnTo>
                  <a:lnTo>
                    <a:pt x="180" y="481"/>
                  </a:lnTo>
                  <a:lnTo>
                    <a:pt x="186" y="481"/>
                  </a:lnTo>
                  <a:lnTo>
                    <a:pt x="192" y="482"/>
                  </a:lnTo>
                  <a:lnTo>
                    <a:pt x="198" y="484"/>
                  </a:lnTo>
                  <a:lnTo>
                    <a:pt x="204" y="486"/>
                  </a:lnTo>
                  <a:lnTo>
                    <a:pt x="209" y="489"/>
                  </a:lnTo>
                  <a:lnTo>
                    <a:pt x="213" y="491"/>
                  </a:lnTo>
                  <a:lnTo>
                    <a:pt x="219" y="495"/>
                  </a:lnTo>
                  <a:lnTo>
                    <a:pt x="223" y="499"/>
                  </a:lnTo>
                  <a:lnTo>
                    <a:pt x="226" y="503"/>
                  </a:lnTo>
                  <a:lnTo>
                    <a:pt x="230" y="508"/>
                  </a:lnTo>
                  <a:lnTo>
                    <a:pt x="232" y="512"/>
                  </a:lnTo>
                  <a:lnTo>
                    <a:pt x="236" y="518"/>
                  </a:lnTo>
                  <a:lnTo>
                    <a:pt x="238" y="523"/>
                  </a:lnTo>
                  <a:lnTo>
                    <a:pt x="239" y="530"/>
                  </a:lnTo>
                  <a:lnTo>
                    <a:pt x="240" y="535"/>
                  </a:lnTo>
                  <a:lnTo>
                    <a:pt x="240" y="541"/>
                  </a:lnTo>
                  <a:lnTo>
                    <a:pt x="240" y="548"/>
                  </a:lnTo>
                  <a:lnTo>
                    <a:pt x="239" y="553"/>
                  </a:lnTo>
                  <a:lnTo>
                    <a:pt x="238" y="560"/>
                  </a:lnTo>
                  <a:lnTo>
                    <a:pt x="236" y="565"/>
                  </a:lnTo>
                  <a:lnTo>
                    <a:pt x="232" y="570"/>
                  </a:lnTo>
                  <a:lnTo>
                    <a:pt x="230" y="575"/>
                  </a:lnTo>
                  <a:lnTo>
                    <a:pt x="226" y="580"/>
                  </a:lnTo>
                  <a:lnTo>
                    <a:pt x="223" y="584"/>
                  </a:lnTo>
                  <a:lnTo>
                    <a:pt x="219" y="587"/>
                  </a:lnTo>
                  <a:lnTo>
                    <a:pt x="213" y="591"/>
                  </a:lnTo>
                  <a:lnTo>
                    <a:pt x="209" y="594"/>
                  </a:lnTo>
                  <a:lnTo>
                    <a:pt x="204" y="597"/>
                  </a:lnTo>
                  <a:lnTo>
                    <a:pt x="198" y="599"/>
                  </a:lnTo>
                  <a:lnTo>
                    <a:pt x="192" y="600"/>
                  </a:lnTo>
                  <a:lnTo>
                    <a:pt x="186" y="601"/>
                  </a:lnTo>
                  <a:lnTo>
                    <a:pt x="180" y="601"/>
                  </a:lnTo>
                  <a:close/>
                  <a:moveTo>
                    <a:pt x="30" y="541"/>
                  </a:moveTo>
                  <a:lnTo>
                    <a:pt x="30" y="481"/>
                  </a:lnTo>
                  <a:lnTo>
                    <a:pt x="113" y="481"/>
                  </a:lnTo>
                  <a:lnTo>
                    <a:pt x="108" y="488"/>
                  </a:lnTo>
                  <a:lnTo>
                    <a:pt x="103" y="494"/>
                  </a:lnTo>
                  <a:lnTo>
                    <a:pt x="100" y="501"/>
                  </a:lnTo>
                  <a:lnTo>
                    <a:pt x="96" y="508"/>
                  </a:lnTo>
                  <a:lnTo>
                    <a:pt x="93" y="517"/>
                  </a:lnTo>
                  <a:lnTo>
                    <a:pt x="91" y="524"/>
                  </a:lnTo>
                  <a:lnTo>
                    <a:pt x="90" y="533"/>
                  </a:lnTo>
                  <a:lnTo>
                    <a:pt x="90" y="541"/>
                  </a:lnTo>
                  <a:lnTo>
                    <a:pt x="30" y="541"/>
                  </a:lnTo>
                  <a:close/>
                  <a:moveTo>
                    <a:pt x="115" y="267"/>
                  </a:moveTo>
                  <a:lnTo>
                    <a:pt x="117" y="265"/>
                  </a:lnTo>
                  <a:lnTo>
                    <a:pt x="118" y="264"/>
                  </a:lnTo>
                  <a:lnTo>
                    <a:pt x="204" y="120"/>
                  </a:lnTo>
                  <a:lnTo>
                    <a:pt x="361" y="120"/>
                  </a:lnTo>
                  <a:lnTo>
                    <a:pt x="361" y="451"/>
                  </a:lnTo>
                  <a:lnTo>
                    <a:pt x="30" y="451"/>
                  </a:lnTo>
                  <a:lnTo>
                    <a:pt x="30" y="338"/>
                  </a:lnTo>
                  <a:lnTo>
                    <a:pt x="115" y="267"/>
                  </a:lnTo>
                  <a:close/>
                  <a:moveTo>
                    <a:pt x="391" y="30"/>
                  </a:moveTo>
                  <a:lnTo>
                    <a:pt x="872" y="30"/>
                  </a:lnTo>
                  <a:lnTo>
                    <a:pt x="872" y="451"/>
                  </a:lnTo>
                  <a:lnTo>
                    <a:pt x="391" y="451"/>
                  </a:lnTo>
                  <a:lnTo>
                    <a:pt x="391" y="105"/>
                  </a:lnTo>
                  <a:lnTo>
                    <a:pt x="391" y="90"/>
                  </a:lnTo>
                  <a:lnTo>
                    <a:pt x="391" y="30"/>
                  </a:lnTo>
                  <a:close/>
                  <a:moveTo>
                    <a:pt x="887" y="0"/>
                  </a:moveTo>
                  <a:lnTo>
                    <a:pt x="376" y="0"/>
                  </a:lnTo>
                  <a:lnTo>
                    <a:pt x="373" y="0"/>
                  </a:lnTo>
                  <a:lnTo>
                    <a:pt x="370" y="1"/>
                  </a:lnTo>
                  <a:lnTo>
                    <a:pt x="367" y="3"/>
                  </a:lnTo>
                  <a:lnTo>
                    <a:pt x="365" y="5"/>
                  </a:lnTo>
                  <a:lnTo>
                    <a:pt x="363" y="7"/>
                  </a:lnTo>
                  <a:lnTo>
                    <a:pt x="362" y="9"/>
                  </a:lnTo>
                  <a:lnTo>
                    <a:pt x="361" y="12"/>
                  </a:lnTo>
                  <a:lnTo>
                    <a:pt x="360" y="15"/>
                  </a:lnTo>
                  <a:lnTo>
                    <a:pt x="361" y="90"/>
                  </a:lnTo>
                  <a:lnTo>
                    <a:pt x="195" y="90"/>
                  </a:lnTo>
                  <a:lnTo>
                    <a:pt x="192" y="90"/>
                  </a:lnTo>
                  <a:lnTo>
                    <a:pt x="187" y="93"/>
                  </a:lnTo>
                  <a:lnTo>
                    <a:pt x="184" y="95"/>
                  </a:lnTo>
                  <a:lnTo>
                    <a:pt x="182" y="98"/>
                  </a:lnTo>
                  <a:lnTo>
                    <a:pt x="93" y="246"/>
                  </a:lnTo>
                  <a:lnTo>
                    <a:pt x="5" y="320"/>
                  </a:lnTo>
                  <a:lnTo>
                    <a:pt x="3" y="322"/>
                  </a:lnTo>
                  <a:lnTo>
                    <a:pt x="1" y="324"/>
                  </a:lnTo>
                  <a:lnTo>
                    <a:pt x="0" y="327"/>
                  </a:lnTo>
                  <a:lnTo>
                    <a:pt x="0" y="330"/>
                  </a:lnTo>
                  <a:lnTo>
                    <a:pt x="0" y="556"/>
                  </a:lnTo>
                  <a:lnTo>
                    <a:pt x="0" y="560"/>
                  </a:lnTo>
                  <a:lnTo>
                    <a:pt x="1" y="562"/>
                  </a:lnTo>
                  <a:lnTo>
                    <a:pt x="2" y="565"/>
                  </a:lnTo>
                  <a:lnTo>
                    <a:pt x="4" y="567"/>
                  </a:lnTo>
                  <a:lnTo>
                    <a:pt x="6" y="569"/>
                  </a:lnTo>
                  <a:lnTo>
                    <a:pt x="9" y="570"/>
                  </a:lnTo>
                  <a:lnTo>
                    <a:pt x="12" y="571"/>
                  </a:lnTo>
                  <a:lnTo>
                    <a:pt x="15" y="571"/>
                  </a:lnTo>
                  <a:lnTo>
                    <a:pt x="95" y="571"/>
                  </a:lnTo>
                  <a:lnTo>
                    <a:pt x="101" y="584"/>
                  </a:lnTo>
                  <a:lnTo>
                    <a:pt x="108" y="596"/>
                  </a:lnTo>
                  <a:lnTo>
                    <a:pt x="117" y="606"/>
                  </a:lnTo>
                  <a:lnTo>
                    <a:pt x="128" y="614"/>
                  </a:lnTo>
                  <a:lnTo>
                    <a:pt x="139" y="622"/>
                  </a:lnTo>
                  <a:lnTo>
                    <a:pt x="152" y="627"/>
                  </a:lnTo>
                  <a:lnTo>
                    <a:pt x="159" y="629"/>
                  </a:lnTo>
                  <a:lnTo>
                    <a:pt x="166" y="630"/>
                  </a:lnTo>
                  <a:lnTo>
                    <a:pt x="172" y="631"/>
                  </a:lnTo>
                  <a:lnTo>
                    <a:pt x="180" y="631"/>
                  </a:lnTo>
                  <a:lnTo>
                    <a:pt x="187" y="631"/>
                  </a:lnTo>
                  <a:lnTo>
                    <a:pt x="195" y="630"/>
                  </a:lnTo>
                  <a:lnTo>
                    <a:pt x="201" y="629"/>
                  </a:lnTo>
                  <a:lnTo>
                    <a:pt x="208" y="627"/>
                  </a:lnTo>
                  <a:lnTo>
                    <a:pt x="221" y="622"/>
                  </a:lnTo>
                  <a:lnTo>
                    <a:pt x="232" y="614"/>
                  </a:lnTo>
                  <a:lnTo>
                    <a:pt x="243" y="606"/>
                  </a:lnTo>
                  <a:lnTo>
                    <a:pt x="252" y="596"/>
                  </a:lnTo>
                  <a:lnTo>
                    <a:pt x="259" y="584"/>
                  </a:lnTo>
                  <a:lnTo>
                    <a:pt x="265" y="571"/>
                  </a:lnTo>
                  <a:lnTo>
                    <a:pt x="636" y="571"/>
                  </a:lnTo>
                  <a:lnTo>
                    <a:pt x="642" y="584"/>
                  </a:lnTo>
                  <a:lnTo>
                    <a:pt x="649" y="596"/>
                  </a:lnTo>
                  <a:lnTo>
                    <a:pt x="659" y="606"/>
                  </a:lnTo>
                  <a:lnTo>
                    <a:pt x="668" y="614"/>
                  </a:lnTo>
                  <a:lnTo>
                    <a:pt x="680" y="622"/>
                  </a:lnTo>
                  <a:lnTo>
                    <a:pt x="693" y="627"/>
                  </a:lnTo>
                  <a:lnTo>
                    <a:pt x="700" y="629"/>
                  </a:lnTo>
                  <a:lnTo>
                    <a:pt x="707" y="630"/>
                  </a:lnTo>
                  <a:lnTo>
                    <a:pt x="715" y="631"/>
                  </a:lnTo>
                  <a:lnTo>
                    <a:pt x="721" y="631"/>
                  </a:lnTo>
                  <a:lnTo>
                    <a:pt x="728" y="631"/>
                  </a:lnTo>
                  <a:lnTo>
                    <a:pt x="736" y="630"/>
                  </a:lnTo>
                  <a:lnTo>
                    <a:pt x="742" y="629"/>
                  </a:lnTo>
                  <a:lnTo>
                    <a:pt x="750" y="627"/>
                  </a:lnTo>
                  <a:lnTo>
                    <a:pt x="762" y="622"/>
                  </a:lnTo>
                  <a:lnTo>
                    <a:pt x="773" y="614"/>
                  </a:lnTo>
                  <a:lnTo>
                    <a:pt x="784" y="606"/>
                  </a:lnTo>
                  <a:lnTo>
                    <a:pt x="793" y="596"/>
                  </a:lnTo>
                  <a:lnTo>
                    <a:pt x="800" y="584"/>
                  </a:lnTo>
                  <a:lnTo>
                    <a:pt x="807" y="571"/>
                  </a:lnTo>
                  <a:lnTo>
                    <a:pt x="887" y="571"/>
                  </a:lnTo>
                  <a:lnTo>
                    <a:pt x="890" y="571"/>
                  </a:lnTo>
                  <a:lnTo>
                    <a:pt x="892" y="570"/>
                  </a:lnTo>
                  <a:lnTo>
                    <a:pt x="896" y="569"/>
                  </a:lnTo>
                  <a:lnTo>
                    <a:pt x="898" y="567"/>
                  </a:lnTo>
                  <a:lnTo>
                    <a:pt x="899" y="565"/>
                  </a:lnTo>
                  <a:lnTo>
                    <a:pt x="901" y="562"/>
                  </a:lnTo>
                  <a:lnTo>
                    <a:pt x="901" y="560"/>
                  </a:lnTo>
                  <a:lnTo>
                    <a:pt x="902" y="556"/>
                  </a:lnTo>
                  <a:lnTo>
                    <a:pt x="902" y="15"/>
                  </a:lnTo>
                  <a:lnTo>
                    <a:pt x="901" y="12"/>
                  </a:lnTo>
                  <a:lnTo>
                    <a:pt x="901" y="9"/>
                  </a:lnTo>
                  <a:lnTo>
                    <a:pt x="899" y="7"/>
                  </a:lnTo>
                  <a:lnTo>
                    <a:pt x="898" y="5"/>
                  </a:lnTo>
                  <a:lnTo>
                    <a:pt x="896" y="3"/>
                  </a:lnTo>
                  <a:lnTo>
                    <a:pt x="892" y="1"/>
                  </a:lnTo>
                  <a:lnTo>
                    <a:pt x="890" y="0"/>
                  </a:lnTo>
                  <a:lnTo>
                    <a:pt x="887" y="0"/>
                  </a:lnTo>
                  <a:lnTo>
                    <a:pt x="887" y="0"/>
                  </a:lnTo>
                  <a:close/>
                </a:path>
              </a:pathLst>
            </a:custGeom>
            <a:solidFill>
              <a:srgbClr val="2422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2" name="Freeform 107"/>
            <p:cNvSpPr>
              <a:spLocks/>
            </p:cNvSpPr>
            <p:nvPr/>
          </p:nvSpPr>
          <p:spPr bwMode="auto">
            <a:xfrm>
              <a:off x="8216900" y="2632075"/>
              <a:ext cx="38100" cy="47625"/>
            </a:xfrm>
            <a:custGeom>
              <a:avLst/>
              <a:gdLst>
                <a:gd name="T0" fmla="*/ 9 w 120"/>
                <a:gd name="T1" fmla="*/ 149 h 150"/>
                <a:gd name="T2" fmla="*/ 12 w 120"/>
                <a:gd name="T3" fmla="*/ 150 h 150"/>
                <a:gd name="T4" fmla="*/ 15 w 120"/>
                <a:gd name="T5" fmla="*/ 150 h 150"/>
                <a:gd name="T6" fmla="*/ 19 w 120"/>
                <a:gd name="T7" fmla="*/ 150 h 150"/>
                <a:gd name="T8" fmla="*/ 22 w 120"/>
                <a:gd name="T9" fmla="*/ 148 h 150"/>
                <a:gd name="T10" fmla="*/ 26 w 120"/>
                <a:gd name="T11" fmla="*/ 146 h 150"/>
                <a:gd name="T12" fmla="*/ 29 w 120"/>
                <a:gd name="T13" fmla="*/ 143 h 150"/>
                <a:gd name="T14" fmla="*/ 85 w 120"/>
                <a:gd name="T15" fmla="*/ 30 h 150"/>
                <a:gd name="T16" fmla="*/ 105 w 120"/>
                <a:gd name="T17" fmla="*/ 30 h 150"/>
                <a:gd name="T18" fmla="*/ 108 w 120"/>
                <a:gd name="T19" fmla="*/ 30 h 150"/>
                <a:gd name="T20" fmla="*/ 111 w 120"/>
                <a:gd name="T21" fmla="*/ 29 h 150"/>
                <a:gd name="T22" fmla="*/ 114 w 120"/>
                <a:gd name="T23" fmla="*/ 28 h 150"/>
                <a:gd name="T24" fmla="*/ 116 w 120"/>
                <a:gd name="T25" fmla="*/ 26 h 150"/>
                <a:gd name="T26" fmla="*/ 118 w 120"/>
                <a:gd name="T27" fmla="*/ 24 h 150"/>
                <a:gd name="T28" fmla="*/ 119 w 120"/>
                <a:gd name="T29" fmla="*/ 22 h 150"/>
                <a:gd name="T30" fmla="*/ 120 w 120"/>
                <a:gd name="T31" fmla="*/ 19 h 150"/>
                <a:gd name="T32" fmla="*/ 120 w 120"/>
                <a:gd name="T33" fmla="*/ 15 h 150"/>
                <a:gd name="T34" fmla="*/ 120 w 120"/>
                <a:gd name="T35" fmla="*/ 12 h 150"/>
                <a:gd name="T36" fmla="*/ 119 w 120"/>
                <a:gd name="T37" fmla="*/ 10 h 150"/>
                <a:gd name="T38" fmla="*/ 118 w 120"/>
                <a:gd name="T39" fmla="*/ 7 h 150"/>
                <a:gd name="T40" fmla="*/ 116 w 120"/>
                <a:gd name="T41" fmla="*/ 5 h 150"/>
                <a:gd name="T42" fmla="*/ 114 w 120"/>
                <a:gd name="T43" fmla="*/ 3 h 150"/>
                <a:gd name="T44" fmla="*/ 111 w 120"/>
                <a:gd name="T45" fmla="*/ 1 h 150"/>
                <a:gd name="T46" fmla="*/ 108 w 120"/>
                <a:gd name="T47" fmla="*/ 0 h 150"/>
                <a:gd name="T48" fmla="*/ 105 w 120"/>
                <a:gd name="T49" fmla="*/ 0 h 150"/>
                <a:gd name="T50" fmla="*/ 75 w 120"/>
                <a:gd name="T51" fmla="*/ 0 h 150"/>
                <a:gd name="T52" fmla="*/ 71 w 120"/>
                <a:gd name="T53" fmla="*/ 1 h 150"/>
                <a:gd name="T54" fmla="*/ 67 w 120"/>
                <a:gd name="T55" fmla="*/ 3 h 150"/>
                <a:gd name="T56" fmla="*/ 64 w 120"/>
                <a:gd name="T57" fmla="*/ 6 h 150"/>
                <a:gd name="T58" fmla="*/ 62 w 120"/>
                <a:gd name="T59" fmla="*/ 9 h 150"/>
                <a:gd name="T60" fmla="*/ 1 w 120"/>
                <a:gd name="T61" fmla="*/ 129 h 150"/>
                <a:gd name="T62" fmla="*/ 0 w 120"/>
                <a:gd name="T63" fmla="*/ 132 h 150"/>
                <a:gd name="T64" fmla="*/ 0 w 120"/>
                <a:gd name="T65" fmla="*/ 134 h 150"/>
                <a:gd name="T66" fmla="*/ 0 w 120"/>
                <a:gd name="T67" fmla="*/ 137 h 150"/>
                <a:gd name="T68" fmla="*/ 1 w 120"/>
                <a:gd name="T69" fmla="*/ 141 h 150"/>
                <a:gd name="T70" fmla="*/ 2 w 120"/>
                <a:gd name="T71" fmla="*/ 143 h 150"/>
                <a:gd name="T72" fmla="*/ 3 w 120"/>
                <a:gd name="T73" fmla="*/ 145 h 150"/>
                <a:gd name="T74" fmla="*/ 5 w 120"/>
                <a:gd name="T75" fmla="*/ 147 h 150"/>
                <a:gd name="T76" fmla="*/ 9 w 120"/>
                <a:gd name="T77" fmla="*/ 149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20" h="150">
                  <a:moveTo>
                    <a:pt x="9" y="149"/>
                  </a:moveTo>
                  <a:lnTo>
                    <a:pt x="12" y="150"/>
                  </a:lnTo>
                  <a:lnTo>
                    <a:pt x="15" y="150"/>
                  </a:lnTo>
                  <a:lnTo>
                    <a:pt x="19" y="150"/>
                  </a:lnTo>
                  <a:lnTo>
                    <a:pt x="22" y="148"/>
                  </a:lnTo>
                  <a:lnTo>
                    <a:pt x="26" y="146"/>
                  </a:lnTo>
                  <a:lnTo>
                    <a:pt x="29" y="143"/>
                  </a:lnTo>
                  <a:lnTo>
                    <a:pt x="85" y="30"/>
                  </a:lnTo>
                  <a:lnTo>
                    <a:pt x="105" y="30"/>
                  </a:lnTo>
                  <a:lnTo>
                    <a:pt x="108" y="30"/>
                  </a:lnTo>
                  <a:lnTo>
                    <a:pt x="111" y="29"/>
                  </a:lnTo>
                  <a:lnTo>
                    <a:pt x="114" y="28"/>
                  </a:lnTo>
                  <a:lnTo>
                    <a:pt x="116" y="26"/>
                  </a:lnTo>
                  <a:lnTo>
                    <a:pt x="118" y="24"/>
                  </a:lnTo>
                  <a:lnTo>
                    <a:pt x="119" y="22"/>
                  </a:lnTo>
                  <a:lnTo>
                    <a:pt x="120" y="19"/>
                  </a:lnTo>
                  <a:lnTo>
                    <a:pt x="120" y="15"/>
                  </a:lnTo>
                  <a:lnTo>
                    <a:pt x="120" y="12"/>
                  </a:lnTo>
                  <a:lnTo>
                    <a:pt x="119" y="10"/>
                  </a:lnTo>
                  <a:lnTo>
                    <a:pt x="118" y="7"/>
                  </a:lnTo>
                  <a:lnTo>
                    <a:pt x="116" y="5"/>
                  </a:lnTo>
                  <a:lnTo>
                    <a:pt x="114" y="3"/>
                  </a:lnTo>
                  <a:lnTo>
                    <a:pt x="111" y="1"/>
                  </a:lnTo>
                  <a:lnTo>
                    <a:pt x="108" y="0"/>
                  </a:lnTo>
                  <a:lnTo>
                    <a:pt x="105" y="0"/>
                  </a:lnTo>
                  <a:lnTo>
                    <a:pt x="75" y="0"/>
                  </a:lnTo>
                  <a:lnTo>
                    <a:pt x="71" y="1"/>
                  </a:lnTo>
                  <a:lnTo>
                    <a:pt x="67" y="3"/>
                  </a:lnTo>
                  <a:lnTo>
                    <a:pt x="64" y="6"/>
                  </a:lnTo>
                  <a:lnTo>
                    <a:pt x="62" y="9"/>
                  </a:lnTo>
                  <a:lnTo>
                    <a:pt x="1" y="129"/>
                  </a:lnTo>
                  <a:lnTo>
                    <a:pt x="0" y="132"/>
                  </a:lnTo>
                  <a:lnTo>
                    <a:pt x="0" y="134"/>
                  </a:lnTo>
                  <a:lnTo>
                    <a:pt x="0" y="137"/>
                  </a:lnTo>
                  <a:lnTo>
                    <a:pt x="1" y="141"/>
                  </a:lnTo>
                  <a:lnTo>
                    <a:pt x="2" y="143"/>
                  </a:lnTo>
                  <a:lnTo>
                    <a:pt x="3" y="145"/>
                  </a:lnTo>
                  <a:lnTo>
                    <a:pt x="5" y="147"/>
                  </a:lnTo>
                  <a:lnTo>
                    <a:pt x="9" y="149"/>
                  </a:lnTo>
                  <a:close/>
                </a:path>
              </a:pathLst>
            </a:custGeom>
            <a:solidFill>
              <a:srgbClr val="2422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30680460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Rectangle 102"/>
          <p:cNvSpPr/>
          <p:nvPr/>
        </p:nvSpPr>
        <p:spPr>
          <a:xfrm>
            <a:off x="12344400" y="0"/>
            <a:ext cx="469900" cy="469900"/>
          </a:xfrm>
          <a:prstGeom prst="rect">
            <a:avLst/>
          </a:pr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4" name="Rectangle 103"/>
          <p:cNvSpPr/>
          <p:nvPr/>
        </p:nvSpPr>
        <p:spPr>
          <a:xfrm>
            <a:off x="12344400" y="649557"/>
            <a:ext cx="469900" cy="469900"/>
          </a:xfrm>
          <a:prstGeom prst="rect">
            <a:avLst/>
          </a:prstGeom>
          <a:solidFill>
            <a:srgbClr val="AFAB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5" name="Rectangle 104"/>
          <p:cNvSpPr/>
          <p:nvPr/>
        </p:nvSpPr>
        <p:spPr>
          <a:xfrm>
            <a:off x="12344400" y="1299114"/>
            <a:ext cx="469900" cy="469900"/>
          </a:xfrm>
          <a:prstGeom prst="rect">
            <a:avLst/>
          </a:prstGeom>
          <a:solidFill>
            <a:srgbClr val="7671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7" name="Rectangle 106"/>
          <p:cNvSpPr/>
          <p:nvPr/>
        </p:nvSpPr>
        <p:spPr>
          <a:xfrm>
            <a:off x="12966699" y="0"/>
            <a:ext cx="469900" cy="469900"/>
          </a:xfrm>
          <a:prstGeom prst="rect">
            <a:avLst/>
          </a:prstGeom>
          <a:solidFill>
            <a:srgbClr val="E878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8" name="Rectangle 107"/>
          <p:cNvSpPr/>
          <p:nvPr/>
        </p:nvSpPr>
        <p:spPr>
          <a:xfrm>
            <a:off x="12966699" y="649557"/>
            <a:ext cx="469900" cy="469900"/>
          </a:xfrm>
          <a:prstGeom prst="rect">
            <a:avLst/>
          </a:prstGeom>
          <a:solidFill>
            <a:srgbClr val="E258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9" name="Rectangle 108"/>
          <p:cNvSpPr/>
          <p:nvPr/>
        </p:nvSpPr>
        <p:spPr>
          <a:xfrm>
            <a:off x="12966699" y="1299114"/>
            <a:ext cx="469900" cy="469900"/>
          </a:xfrm>
          <a:prstGeom prst="rect">
            <a:avLst/>
          </a:prstGeom>
          <a:solidFill>
            <a:srgbClr val="D63E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0" name="Rectangle 109"/>
          <p:cNvSpPr/>
          <p:nvPr/>
        </p:nvSpPr>
        <p:spPr>
          <a:xfrm>
            <a:off x="13588998" y="0"/>
            <a:ext cx="469900" cy="469900"/>
          </a:xfrm>
          <a:prstGeom prst="rect">
            <a:avLst/>
          </a:prstGeom>
          <a:solidFill>
            <a:srgbClr val="8EDC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1" name="Rectangle 110"/>
          <p:cNvSpPr/>
          <p:nvPr/>
        </p:nvSpPr>
        <p:spPr>
          <a:xfrm>
            <a:off x="13588998" y="649557"/>
            <a:ext cx="469900" cy="469900"/>
          </a:xfrm>
          <a:prstGeom prst="rect">
            <a:avLst/>
          </a:prstGeom>
          <a:solidFill>
            <a:srgbClr val="78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2" name="Rectangle 111"/>
          <p:cNvSpPr/>
          <p:nvPr/>
        </p:nvSpPr>
        <p:spPr>
          <a:xfrm>
            <a:off x="13588998" y="1299114"/>
            <a:ext cx="469900" cy="469900"/>
          </a:xfrm>
          <a:prstGeom prst="rect">
            <a:avLst/>
          </a:prstGeom>
          <a:solidFill>
            <a:srgbClr val="4CC7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3" name="Rectangle 112"/>
          <p:cNvSpPr/>
          <p:nvPr/>
        </p:nvSpPr>
        <p:spPr>
          <a:xfrm>
            <a:off x="14211297" y="0"/>
            <a:ext cx="469900" cy="469900"/>
          </a:xfrm>
          <a:prstGeom prst="rect">
            <a:avLst/>
          </a:prstGeom>
          <a:solidFill>
            <a:srgbClr val="5553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4" name="Rectangle 113"/>
          <p:cNvSpPr/>
          <p:nvPr/>
        </p:nvSpPr>
        <p:spPr>
          <a:xfrm>
            <a:off x="14211297" y="649557"/>
            <a:ext cx="469900" cy="469900"/>
          </a:xfrm>
          <a:prstGeom prst="rect">
            <a:avLst/>
          </a:prstGeom>
          <a:solidFill>
            <a:srgbClr val="3B39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5" name="Rectangle 114"/>
          <p:cNvSpPr/>
          <p:nvPr/>
        </p:nvSpPr>
        <p:spPr>
          <a:xfrm>
            <a:off x="14211297" y="1299114"/>
            <a:ext cx="469900" cy="469900"/>
          </a:xfrm>
          <a:prstGeom prst="rect">
            <a:avLst/>
          </a:prstGeom>
          <a:solidFill>
            <a:srgbClr val="2523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0" name="Text Placeholder 119"/>
          <p:cNvSpPr>
            <a:spLocks noGrp="1"/>
          </p:cNvSpPr>
          <p:nvPr>
            <p:ph type="body" sz="quarter" idx="13"/>
          </p:nvPr>
        </p:nvSpPr>
        <p:spPr>
          <a:xfrm>
            <a:off x="3107788" y="360971"/>
            <a:ext cx="5976424" cy="535531"/>
          </a:xfrm>
        </p:spPr>
        <p:txBody>
          <a:bodyPr/>
          <a:lstStyle/>
          <a:p>
            <a:r>
              <a:rPr lang="en-US" sz="3200" dirty="0"/>
              <a:t>PowerPoint Presentation</a:t>
            </a:r>
          </a:p>
        </p:txBody>
      </p:sp>
      <p:sp>
        <p:nvSpPr>
          <p:cNvPr id="116" name="Date Placeholder 11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E1B330-CB56-448E-9C70-830A2B9C05C8}" type="datetime1">
              <a:rPr lang="en-US" smtClean="0"/>
              <a:t>11/15/2018</a:t>
            </a:fld>
            <a:endParaRPr lang="en-US"/>
          </a:p>
        </p:txBody>
      </p:sp>
      <p:sp>
        <p:nvSpPr>
          <p:cNvPr id="117" name="Slide Number Placeholder 1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06E70-9524-410D-AE9B-78D656EAA14D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>
          <a:xfrm>
            <a:off x="1857375" y="1014880"/>
            <a:ext cx="8380505" cy="400110"/>
          </a:xfrm>
        </p:spPr>
        <p:txBody>
          <a:bodyPr/>
          <a:lstStyle/>
          <a:p>
            <a:r>
              <a:rPr lang="en-US" dirty="0"/>
              <a:t>Lorem Ipsum is simply dummy text of the printing and typesetting industry. Lorem Ipsum has been the industry's standard dummy text ever since the 1500s, when an unknown printer took a galley of type and scrambled it to make a type specimen book. </a:t>
            </a:r>
          </a:p>
        </p:txBody>
      </p:sp>
      <p:grpSp>
        <p:nvGrpSpPr>
          <p:cNvPr id="121" name="Group 120"/>
          <p:cNvGrpSpPr/>
          <p:nvPr/>
        </p:nvGrpSpPr>
        <p:grpSpPr>
          <a:xfrm>
            <a:off x="2268632" y="1620410"/>
            <a:ext cx="7654736" cy="4835249"/>
            <a:chOff x="744632" y="1603158"/>
            <a:chExt cx="7654736" cy="4835249"/>
          </a:xfrm>
        </p:grpSpPr>
        <p:grpSp>
          <p:nvGrpSpPr>
            <p:cNvPr id="136" name="Group 135"/>
            <p:cNvGrpSpPr/>
            <p:nvPr/>
          </p:nvGrpSpPr>
          <p:grpSpPr>
            <a:xfrm>
              <a:off x="2965919" y="2839741"/>
              <a:ext cx="3115790" cy="3064314"/>
              <a:chOff x="2787370" y="2311543"/>
              <a:chExt cx="3427369" cy="3370745"/>
            </a:xfrm>
          </p:grpSpPr>
          <p:sp>
            <p:nvSpPr>
              <p:cNvPr id="239" name="Freeform 52"/>
              <p:cNvSpPr>
                <a:spLocks/>
              </p:cNvSpPr>
              <p:nvPr/>
            </p:nvSpPr>
            <p:spPr bwMode="auto">
              <a:xfrm>
                <a:off x="3276995" y="3360737"/>
                <a:ext cx="1247708" cy="2321551"/>
              </a:xfrm>
              <a:custGeom>
                <a:avLst/>
                <a:gdLst>
                  <a:gd name="T0" fmla="*/ 792 w 792"/>
                  <a:gd name="T1" fmla="*/ 1302 h 1474"/>
                  <a:gd name="T2" fmla="*/ 149 w 792"/>
                  <a:gd name="T3" fmla="*/ 1185 h 1474"/>
                  <a:gd name="T4" fmla="*/ 29 w 792"/>
                  <a:gd name="T5" fmla="*/ 717 h 1474"/>
                  <a:gd name="T6" fmla="*/ 179 w 792"/>
                  <a:gd name="T7" fmla="*/ 73 h 1474"/>
                  <a:gd name="T8" fmla="*/ 608 w 792"/>
                  <a:gd name="T9" fmla="*/ 33 h 1474"/>
                  <a:gd name="T10" fmla="*/ 239 w 792"/>
                  <a:gd name="T11" fmla="*/ 966 h 1474"/>
                  <a:gd name="T12" fmla="*/ 758 w 792"/>
                  <a:gd name="T13" fmla="*/ 1290 h 1474"/>
                  <a:gd name="T14" fmla="*/ 792 w 792"/>
                  <a:gd name="T15" fmla="*/ 1302 h 14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92" h="1474">
                    <a:moveTo>
                      <a:pt x="792" y="1302"/>
                    </a:moveTo>
                    <a:cubicBezTo>
                      <a:pt x="792" y="1302"/>
                      <a:pt x="365" y="1459"/>
                      <a:pt x="149" y="1185"/>
                    </a:cubicBezTo>
                    <a:cubicBezTo>
                      <a:pt x="52" y="1062"/>
                      <a:pt x="54" y="905"/>
                      <a:pt x="29" y="717"/>
                    </a:cubicBezTo>
                    <a:cubicBezTo>
                      <a:pt x="0" y="495"/>
                      <a:pt x="95" y="219"/>
                      <a:pt x="179" y="73"/>
                    </a:cubicBezTo>
                    <a:cubicBezTo>
                      <a:pt x="179" y="73"/>
                      <a:pt x="352" y="0"/>
                      <a:pt x="608" y="33"/>
                    </a:cubicBezTo>
                    <a:cubicBezTo>
                      <a:pt x="608" y="33"/>
                      <a:pt x="216" y="534"/>
                      <a:pt x="239" y="966"/>
                    </a:cubicBezTo>
                    <a:cubicBezTo>
                      <a:pt x="239" y="966"/>
                      <a:pt x="232" y="1474"/>
                      <a:pt x="758" y="1290"/>
                    </a:cubicBezTo>
                    <a:lnTo>
                      <a:pt x="792" y="1302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grpSp>
            <p:nvGrpSpPr>
              <p:cNvPr id="240" name="Group 239"/>
              <p:cNvGrpSpPr/>
              <p:nvPr/>
            </p:nvGrpSpPr>
            <p:grpSpPr>
              <a:xfrm>
                <a:off x="2983887" y="2566680"/>
                <a:ext cx="2930416" cy="3007025"/>
                <a:chOff x="2983887" y="2297131"/>
                <a:chExt cx="2930416" cy="3007025"/>
              </a:xfrm>
            </p:grpSpPr>
            <p:sp>
              <p:nvSpPr>
                <p:cNvPr id="256" name="Freeform 45"/>
                <p:cNvSpPr>
                  <a:spLocks/>
                </p:cNvSpPr>
                <p:nvPr/>
              </p:nvSpPr>
              <p:spPr bwMode="auto">
                <a:xfrm>
                  <a:off x="2983887" y="3338331"/>
                  <a:ext cx="408354" cy="836025"/>
                </a:xfrm>
                <a:custGeom>
                  <a:avLst/>
                  <a:gdLst>
                    <a:gd name="T0" fmla="*/ 215 w 259"/>
                    <a:gd name="T1" fmla="*/ 0 h 531"/>
                    <a:gd name="T2" fmla="*/ 218 w 259"/>
                    <a:gd name="T3" fmla="*/ 531 h 531"/>
                    <a:gd name="T4" fmla="*/ 259 w 259"/>
                    <a:gd name="T5" fmla="*/ 199 h 531"/>
                    <a:gd name="T6" fmla="*/ 215 w 259"/>
                    <a:gd name="T7" fmla="*/ 0 h 5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59" h="531">
                      <a:moveTo>
                        <a:pt x="215" y="0"/>
                      </a:moveTo>
                      <a:cubicBezTo>
                        <a:pt x="106" y="87"/>
                        <a:pt x="0" y="257"/>
                        <a:pt x="218" y="531"/>
                      </a:cubicBezTo>
                      <a:cubicBezTo>
                        <a:pt x="202" y="384"/>
                        <a:pt x="259" y="199"/>
                        <a:pt x="259" y="199"/>
                      </a:cubicBezTo>
                      <a:cubicBezTo>
                        <a:pt x="207" y="139"/>
                        <a:pt x="215" y="0"/>
                        <a:pt x="215" y="0"/>
                      </a:cubicBezTo>
                      <a:close/>
                    </a:path>
                  </a:pathLst>
                </a:custGeom>
                <a:solidFill>
                  <a:srgbClr val="AFABAB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257" name="Freeform 46"/>
                <p:cNvSpPr>
                  <a:spLocks/>
                </p:cNvSpPr>
                <p:nvPr/>
              </p:nvSpPr>
              <p:spPr bwMode="auto">
                <a:xfrm>
                  <a:off x="3699337" y="4878482"/>
                  <a:ext cx="774739" cy="425674"/>
                </a:xfrm>
                <a:custGeom>
                  <a:avLst/>
                  <a:gdLst>
                    <a:gd name="T0" fmla="*/ 0 w 492"/>
                    <a:gd name="T1" fmla="*/ 0 h 270"/>
                    <a:gd name="T2" fmla="*/ 492 w 492"/>
                    <a:gd name="T3" fmla="*/ 155 h 270"/>
                    <a:gd name="T4" fmla="*/ 208 w 492"/>
                    <a:gd name="T5" fmla="*/ 11 h 270"/>
                    <a:gd name="T6" fmla="*/ 0 w 492"/>
                    <a:gd name="T7" fmla="*/ 0 h 2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92" h="270">
                      <a:moveTo>
                        <a:pt x="0" y="0"/>
                      </a:moveTo>
                      <a:cubicBezTo>
                        <a:pt x="47" y="132"/>
                        <a:pt x="161" y="270"/>
                        <a:pt x="492" y="155"/>
                      </a:cubicBezTo>
                      <a:cubicBezTo>
                        <a:pt x="362" y="106"/>
                        <a:pt x="208" y="11"/>
                        <a:pt x="208" y="11"/>
                      </a:cubicBezTo>
                      <a:cubicBezTo>
                        <a:pt x="134" y="40"/>
                        <a:pt x="1" y="0"/>
                        <a:pt x="0" y="0"/>
                      </a:cubicBezTo>
                      <a:close/>
                    </a:path>
                  </a:pathLst>
                </a:custGeom>
                <a:solidFill>
                  <a:schemeClr val="accent3">
                    <a:lumMod val="75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258" name="Freeform 47"/>
                <p:cNvSpPr>
                  <a:spLocks/>
                </p:cNvSpPr>
                <p:nvPr/>
              </p:nvSpPr>
              <p:spPr bwMode="auto">
                <a:xfrm>
                  <a:off x="3869206" y="2297131"/>
                  <a:ext cx="798720" cy="645505"/>
                </a:xfrm>
                <a:custGeom>
                  <a:avLst/>
                  <a:gdLst>
                    <a:gd name="T0" fmla="*/ 507 w 507"/>
                    <a:gd name="T1" fmla="*/ 133 h 410"/>
                    <a:gd name="T2" fmla="*/ 0 w 507"/>
                    <a:gd name="T3" fmla="*/ 304 h 410"/>
                    <a:gd name="T4" fmla="*/ 328 w 507"/>
                    <a:gd name="T5" fmla="*/ 239 h 410"/>
                    <a:gd name="T6" fmla="*/ 507 w 507"/>
                    <a:gd name="T7" fmla="*/ 133 h 4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07" h="410">
                      <a:moveTo>
                        <a:pt x="507" y="133"/>
                      </a:moveTo>
                      <a:cubicBezTo>
                        <a:pt x="384" y="53"/>
                        <a:pt x="200" y="0"/>
                        <a:pt x="0" y="304"/>
                      </a:cubicBezTo>
                      <a:cubicBezTo>
                        <a:pt x="238" y="410"/>
                        <a:pt x="328" y="239"/>
                        <a:pt x="328" y="239"/>
                      </a:cubicBezTo>
                      <a:cubicBezTo>
                        <a:pt x="369" y="171"/>
                        <a:pt x="507" y="133"/>
                        <a:pt x="507" y="133"/>
                      </a:cubicBezTo>
                      <a:close/>
                    </a:path>
                  </a:pathLst>
                </a:custGeom>
                <a:solidFill>
                  <a:srgbClr val="252323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259" name="Freeform 48"/>
                <p:cNvSpPr>
                  <a:spLocks/>
                </p:cNvSpPr>
                <p:nvPr/>
              </p:nvSpPr>
              <p:spPr bwMode="auto">
                <a:xfrm>
                  <a:off x="5374051" y="2868692"/>
                  <a:ext cx="540252" cy="648835"/>
                </a:xfrm>
                <a:custGeom>
                  <a:avLst/>
                  <a:gdLst>
                    <a:gd name="T0" fmla="*/ 309 w 343"/>
                    <a:gd name="T1" fmla="*/ 412 h 412"/>
                    <a:gd name="T2" fmla="*/ 0 w 343"/>
                    <a:gd name="T3" fmla="*/ 0 h 412"/>
                    <a:gd name="T4" fmla="*/ 159 w 343"/>
                    <a:gd name="T5" fmla="*/ 289 h 412"/>
                    <a:gd name="T6" fmla="*/ 309 w 343"/>
                    <a:gd name="T7" fmla="*/ 412 h 4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43" h="412">
                      <a:moveTo>
                        <a:pt x="309" y="412"/>
                      </a:moveTo>
                      <a:cubicBezTo>
                        <a:pt x="343" y="306"/>
                        <a:pt x="336" y="98"/>
                        <a:pt x="0" y="0"/>
                      </a:cubicBezTo>
                      <a:cubicBezTo>
                        <a:pt x="46" y="153"/>
                        <a:pt x="56" y="215"/>
                        <a:pt x="159" y="289"/>
                      </a:cubicBezTo>
                      <a:cubicBezTo>
                        <a:pt x="237" y="308"/>
                        <a:pt x="309" y="411"/>
                        <a:pt x="309" y="412"/>
                      </a:cubicBezTo>
                      <a:close/>
                    </a:path>
                  </a:pathLst>
                </a:custGeom>
                <a:solidFill>
                  <a:srgbClr val="76717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260" name="Freeform 49"/>
                <p:cNvSpPr>
                  <a:spLocks/>
                </p:cNvSpPr>
                <p:nvPr/>
              </p:nvSpPr>
              <p:spPr bwMode="auto">
                <a:xfrm>
                  <a:off x="5271463" y="4355550"/>
                  <a:ext cx="482296" cy="634845"/>
                </a:xfrm>
                <a:custGeom>
                  <a:avLst/>
                  <a:gdLst>
                    <a:gd name="T0" fmla="*/ 0 w 306"/>
                    <a:gd name="T1" fmla="*/ 403 h 403"/>
                    <a:gd name="T2" fmla="*/ 294 w 306"/>
                    <a:gd name="T3" fmla="*/ 0 h 403"/>
                    <a:gd name="T4" fmla="*/ 78 w 306"/>
                    <a:gd name="T5" fmla="*/ 219 h 403"/>
                    <a:gd name="T6" fmla="*/ 0 w 306"/>
                    <a:gd name="T7" fmla="*/ 403 h 4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06" h="403">
                      <a:moveTo>
                        <a:pt x="0" y="403"/>
                      </a:moveTo>
                      <a:cubicBezTo>
                        <a:pt x="140" y="398"/>
                        <a:pt x="306" y="350"/>
                        <a:pt x="294" y="0"/>
                      </a:cubicBezTo>
                      <a:cubicBezTo>
                        <a:pt x="228" y="64"/>
                        <a:pt x="78" y="219"/>
                        <a:pt x="78" y="219"/>
                      </a:cubicBezTo>
                      <a:cubicBezTo>
                        <a:pt x="84" y="298"/>
                        <a:pt x="0" y="403"/>
                        <a:pt x="0" y="403"/>
                      </a:cubicBezTo>
                      <a:close/>
                    </a:path>
                  </a:pathLst>
                </a:custGeom>
                <a:solidFill>
                  <a:schemeClr val="accent2">
                    <a:lumMod val="75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41" name="Freeform 51"/>
              <p:cNvSpPr>
                <a:spLocks/>
              </p:cNvSpPr>
              <p:nvPr/>
            </p:nvSpPr>
            <p:spPr bwMode="auto">
              <a:xfrm>
                <a:off x="2787370" y="2925737"/>
                <a:ext cx="2348863" cy="1576789"/>
              </a:xfrm>
              <a:custGeom>
                <a:avLst/>
                <a:gdLst>
                  <a:gd name="T0" fmla="*/ 341 w 1491"/>
                  <a:gd name="T1" fmla="*/ 1001 h 1001"/>
                  <a:gd name="T2" fmla="*/ 235 w 1491"/>
                  <a:gd name="T3" fmla="*/ 356 h 1001"/>
                  <a:gd name="T4" fmla="*/ 665 w 1491"/>
                  <a:gd name="T5" fmla="*/ 80 h 1001"/>
                  <a:gd name="T6" fmla="*/ 1324 w 1491"/>
                  <a:gd name="T7" fmla="*/ 30 h 1001"/>
                  <a:gd name="T8" fmla="*/ 1491 w 1491"/>
                  <a:gd name="T9" fmla="*/ 412 h 1001"/>
                  <a:gd name="T10" fmla="*/ 473 w 1491"/>
                  <a:gd name="T11" fmla="*/ 360 h 1001"/>
                  <a:gd name="T12" fmla="*/ 347 w 1491"/>
                  <a:gd name="T13" fmla="*/ 966 h 1001"/>
                  <a:gd name="T14" fmla="*/ 341 w 1491"/>
                  <a:gd name="T15" fmla="*/ 1001 h 10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91" h="1001">
                    <a:moveTo>
                      <a:pt x="341" y="1001"/>
                    </a:moveTo>
                    <a:cubicBezTo>
                      <a:pt x="341" y="1001"/>
                      <a:pt x="48" y="651"/>
                      <a:pt x="235" y="356"/>
                    </a:cubicBezTo>
                    <a:cubicBezTo>
                      <a:pt x="319" y="225"/>
                      <a:pt x="482" y="135"/>
                      <a:pt x="665" y="80"/>
                    </a:cubicBezTo>
                    <a:cubicBezTo>
                      <a:pt x="891" y="13"/>
                      <a:pt x="1158" y="0"/>
                      <a:pt x="1324" y="30"/>
                    </a:cubicBezTo>
                    <a:cubicBezTo>
                      <a:pt x="1324" y="30"/>
                      <a:pt x="1462" y="194"/>
                      <a:pt x="1491" y="412"/>
                    </a:cubicBezTo>
                    <a:cubicBezTo>
                      <a:pt x="1491" y="412"/>
                      <a:pt x="847" y="221"/>
                      <a:pt x="473" y="360"/>
                    </a:cubicBezTo>
                    <a:cubicBezTo>
                      <a:pt x="473" y="360"/>
                      <a:pt x="0" y="531"/>
                      <a:pt x="347" y="966"/>
                    </a:cubicBezTo>
                    <a:lnTo>
                      <a:pt x="341" y="1001"/>
                    </a:lnTo>
                    <a:close/>
                  </a:path>
                </a:pathLst>
              </a:custGeom>
              <a:solidFill>
                <a:srgbClr val="E7E6E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grpSp>
            <p:nvGrpSpPr>
              <p:cNvPr id="242" name="Group 241"/>
              <p:cNvGrpSpPr/>
              <p:nvPr/>
            </p:nvGrpSpPr>
            <p:grpSpPr>
              <a:xfrm>
                <a:off x="3636052" y="2311543"/>
                <a:ext cx="2578687" cy="3225522"/>
                <a:chOff x="3636052" y="2311543"/>
                <a:chExt cx="2578687" cy="3225522"/>
              </a:xfrm>
            </p:grpSpPr>
            <p:sp>
              <p:nvSpPr>
                <p:cNvPr id="243" name="Line 50"/>
                <p:cNvSpPr>
                  <a:spLocks noChangeShapeType="1"/>
                </p:cNvSpPr>
                <p:nvPr/>
              </p:nvSpPr>
              <p:spPr bwMode="auto">
                <a:xfrm>
                  <a:off x="5033645" y="4497863"/>
                  <a:ext cx="0" cy="0"/>
                </a:xfrm>
                <a:prstGeom prst="line">
                  <a:avLst/>
                </a:prstGeom>
                <a:noFill/>
                <a:ln w="14288" cap="flat">
                  <a:solidFill>
                    <a:srgbClr val="ED1C24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244" name="Line 54"/>
                <p:cNvSpPr>
                  <a:spLocks noChangeShapeType="1"/>
                </p:cNvSpPr>
                <p:nvPr/>
              </p:nvSpPr>
              <p:spPr bwMode="auto">
                <a:xfrm>
                  <a:off x="3953142" y="4113492"/>
                  <a:ext cx="0" cy="0"/>
                </a:xfrm>
                <a:prstGeom prst="line">
                  <a:avLst/>
                </a:prstGeom>
                <a:noFill/>
                <a:ln w="14288" cap="flat">
                  <a:solidFill>
                    <a:srgbClr val="ED1C24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245" name="Freeform 56"/>
                <p:cNvSpPr>
                  <a:spLocks/>
                </p:cNvSpPr>
                <p:nvPr/>
              </p:nvSpPr>
              <p:spPr bwMode="auto">
                <a:xfrm>
                  <a:off x="3636052" y="4208086"/>
                  <a:ext cx="2206972" cy="1328979"/>
                </a:xfrm>
                <a:custGeom>
                  <a:avLst/>
                  <a:gdLst>
                    <a:gd name="T0" fmla="*/ 1353 w 1401"/>
                    <a:gd name="T1" fmla="*/ 229 h 844"/>
                    <a:gd name="T2" fmla="*/ 1075 w 1401"/>
                    <a:gd name="T3" fmla="*/ 789 h 844"/>
                    <a:gd name="T4" fmla="*/ 551 w 1401"/>
                    <a:gd name="T5" fmla="*/ 761 h 844"/>
                    <a:gd name="T6" fmla="*/ 9 w 1401"/>
                    <a:gd name="T7" fmla="*/ 419 h 844"/>
                    <a:gd name="T8" fmla="*/ 88 w 1401"/>
                    <a:gd name="T9" fmla="*/ 0 h 844"/>
                    <a:gd name="T10" fmla="*/ 863 w 1401"/>
                    <a:gd name="T11" fmla="*/ 641 h 844"/>
                    <a:gd name="T12" fmla="*/ 1329 w 1401"/>
                    <a:gd name="T13" fmla="*/ 260 h 844"/>
                    <a:gd name="T14" fmla="*/ 1353 w 1401"/>
                    <a:gd name="T15" fmla="*/ 229 h 8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401" h="844">
                      <a:moveTo>
                        <a:pt x="1353" y="229"/>
                      </a:moveTo>
                      <a:cubicBezTo>
                        <a:pt x="1353" y="229"/>
                        <a:pt x="1401" y="664"/>
                        <a:pt x="1075" y="789"/>
                      </a:cubicBezTo>
                      <a:cubicBezTo>
                        <a:pt x="929" y="844"/>
                        <a:pt x="730" y="826"/>
                        <a:pt x="551" y="761"/>
                      </a:cubicBezTo>
                      <a:cubicBezTo>
                        <a:pt x="329" y="680"/>
                        <a:pt x="123" y="543"/>
                        <a:pt x="9" y="419"/>
                      </a:cubicBezTo>
                      <a:cubicBezTo>
                        <a:pt x="9" y="419"/>
                        <a:pt x="0" y="167"/>
                        <a:pt x="88" y="0"/>
                      </a:cubicBezTo>
                      <a:cubicBezTo>
                        <a:pt x="88" y="0"/>
                        <a:pt x="480" y="528"/>
                        <a:pt x="863" y="641"/>
                      </a:cubicBezTo>
                      <a:cubicBezTo>
                        <a:pt x="863" y="641"/>
                        <a:pt x="1347" y="817"/>
                        <a:pt x="1329" y="260"/>
                      </a:cubicBezTo>
                      <a:lnTo>
                        <a:pt x="1353" y="229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246" name="Freeform 55"/>
                <p:cNvSpPr>
                  <a:spLocks/>
                </p:cNvSpPr>
                <p:nvPr/>
              </p:nvSpPr>
              <p:spPr bwMode="auto">
                <a:xfrm>
                  <a:off x="4425446" y="3078287"/>
                  <a:ext cx="1789293" cy="2142355"/>
                </a:xfrm>
                <a:custGeom>
                  <a:avLst/>
                  <a:gdLst>
                    <a:gd name="T0" fmla="*/ 575 w 1136"/>
                    <a:gd name="T1" fmla="*/ 0 h 1360"/>
                    <a:gd name="T2" fmla="*/ 1047 w 1136"/>
                    <a:gd name="T3" fmla="*/ 496 h 1360"/>
                    <a:gd name="T4" fmla="*/ 847 w 1136"/>
                    <a:gd name="T5" fmla="*/ 962 h 1360"/>
                    <a:gd name="T6" fmla="*/ 368 w 1136"/>
                    <a:gd name="T7" fmla="*/ 1360 h 1360"/>
                    <a:gd name="T8" fmla="*/ 0 w 1136"/>
                    <a:gd name="T9" fmla="*/ 1149 h 1360"/>
                    <a:gd name="T10" fmla="*/ 833 w 1136"/>
                    <a:gd name="T11" fmla="*/ 612 h 1360"/>
                    <a:gd name="T12" fmla="*/ 602 w 1136"/>
                    <a:gd name="T13" fmla="*/ 43 h 1360"/>
                    <a:gd name="T14" fmla="*/ 575 w 1136"/>
                    <a:gd name="T15" fmla="*/ 0 h 13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136" h="1360">
                      <a:moveTo>
                        <a:pt x="575" y="0"/>
                      </a:moveTo>
                      <a:cubicBezTo>
                        <a:pt x="575" y="0"/>
                        <a:pt x="1043" y="109"/>
                        <a:pt x="1047" y="496"/>
                      </a:cubicBezTo>
                      <a:cubicBezTo>
                        <a:pt x="1049" y="651"/>
                        <a:pt x="965" y="812"/>
                        <a:pt x="847" y="962"/>
                      </a:cubicBezTo>
                      <a:cubicBezTo>
                        <a:pt x="702" y="1147"/>
                        <a:pt x="521" y="1290"/>
                        <a:pt x="368" y="1360"/>
                      </a:cubicBezTo>
                      <a:cubicBezTo>
                        <a:pt x="368" y="1360"/>
                        <a:pt x="118" y="1311"/>
                        <a:pt x="0" y="1149"/>
                      </a:cubicBezTo>
                      <a:cubicBezTo>
                        <a:pt x="0" y="1149"/>
                        <a:pt x="614" y="959"/>
                        <a:pt x="833" y="612"/>
                      </a:cubicBezTo>
                      <a:cubicBezTo>
                        <a:pt x="833" y="612"/>
                        <a:pt x="1136" y="198"/>
                        <a:pt x="602" y="43"/>
                      </a:cubicBezTo>
                      <a:lnTo>
                        <a:pt x="575" y="0"/>
                      </a:lnTo>
                      <a:close/>
                    </a:path>
                  </a:pathLst>
                </a:custGeom>
                <a:solidFill>
                  <a:srgbClr val="AFABAB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247" name="Freeform 53"/>
                <p:cNvSpPr>
                  <a:spLocks/>
                </p:cNvSpPr>
                <p:nvPr/>
              </p:nvSpPr>
              <p:spPr bwMode="auto">
                <a:xfrm>
                  <a:off x="3815914" y="2311543"/>
                  <a:ext cx="1925188" cy="2190985"/>
                </a:xfrm>
                <a:custGeom>
                  <a:avLst/>
                  <a:gdLst>
                    <a:gd name="T0" fmla="*/ 0 w 1222"/>
                    <a:gd name="T1" fmla="*/ 477 h 1391"/>
                    <a:gd name="T2" fmla="*/ 578 w 1222"/>
                    <a:gd name="T3" fmla="*/ 178 h 1391"/>
                    <a:gd name="T4" fmla="*/ 974 w 1222"/>
                    <a:gd name="T5" fmla="*/ 500 h 1391"/>
                    <a:gd name="T6" fmla="*/ 1222 w 1222"/>
                    <a:gd name="T7" fmla="*/ 1099 h 1391"/>
                    <a:gd name="T8" fmla="*/ 918 w 1222"/>
                    <a:gd name="T9" fmla="*/ 1391 h 1391"/>
                    <a:gd name="T10" fmla="*/ 648 w 1222"/>
                    <a:gd name="T11" fmla="*/ 405 h 1391"/>
                    <a:gd name="T12" fmla="*/ 37 w 1222"/>
                    <a:gd name="T13" fmla="*/ 466 h 1391"/>
                    <a:gd name="T14" fmla="*/ 0 w 1222"/>
                    <a:gd name="T15" fmla="*/ 477 h 13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222" h="1391">
                      <a:moveTo>
                        <a:pt x="0" y="477"/>
                      </a:moveTo>
                      <a:cubicBezTo>
                        <a:pt x="0" y="477"/>
                        <a:pt x="239" y="92"/>
                        <a:pt x="578" y="178"/>
                      </a:cubicBezTo>
                      <a:cubicBezTo>
                        <a:pt x="729" y="216"/>
                        <a:pt x="866" y="344"/>
                        <a:pt x="974" y="500"/>
                      </a:cubicBezTo>
                      <a:cubicBezTo>
                        <a:pt x="1109" y="694"/>
                        <a:pt x="1200" y="932"/>
                        <a:pt x="1222" y="1099"/>
                      </a:cubicBezTo>
                      <a:cubicBezTo>
                        <a:pt x="1222" y="1099"/>
                        <a:pt x="1133" y="1325"/>
                        <a:pt x="918" y="1391"/>
                      </a:cubicBezTo>
                      <a:cubicBezTo>
                        <a:pt x="918" y="1391"/>
                        <a:pt x="896" y="717"/>
                        <a:pt x="648" y="405"/>
                      </a:cubicBezTo>
                      <a:cubicBezTo>
                        <a:pt x="648" y="405"/>
                        <a:pt x="342" y="0"/>
                        <a:pt x="37" y="466"/>
                      </a:cubicBezTo>
                      <a:lnTo>
                        <a:pt x="0" y="477"/>
                      </a:lnTo>
                      <a:close/>
                    </a:path>
                  </a:pathLst>
                </a:custGeom>
                <a:solidFill>
                  <a:srgbClr val="3B3939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grpSp>
              <p:nvGrpSpPr>
                <p:cNvPr id="248" name="Group 247"/>
                <p:cNvGrpSpPr/>
                <p:nvPr/>
              </p:nvGrpSpPr>
              <p:grpSpPr>
                <a:xfrm>
                  <a:off x="4025025" y="3788303"/>
                  <a:ext cx="1038598" cy="652674"/>
                  <a:chOff x="3984374" y="3463997"/>
                  <a:chExt cx="1038598" cy="652674"/>
                </a:xfrm>
              </p:grpSpPr>
              <p:sp>
                <p:nvSpPr>
                  <p:cNvPr id="249" name="TextBox 248"/>
                  <p:cNvSpPr txBox="1"/>
                  <p:nvPr/>
                </p:nvSpPr>
                <p:spPr>
                  <a:xfrm>
                    <a:off x="3984374" y="3778116"/>
                    <a:ext cx="1038598" cy="338555"/>
                  </a:xfrm>
                  <a:prstGeom prst="rect">
                    <a:avLst/>
                  </a:prstGeom>
                  <a:noFill/>
                  <a:ln w="6350">
                    <a:noFill/>
                    <a:prstDash val="dash"/>
                  </a:ln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000" b="1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ea typeface="+mn-ea"/>
                        <a:cs typeface="+mn-cs"/>
                      </a:rPr>
                      <a:t>INDUSTRY BEST PRACTICE</a:t>
                    </a:r>
                  </a:p>
                </p:txBody>
              </p:sp>
              <p:grpSp>
                <p:nvGrpSpPr>
                  <p:cNvPr id="250" name="Group 249"/>
                  <p:cNvGrpSpPr>
                    <a:grpSpLocks noChangeAspect="1"/>
                  </p:cNvGrpSpPr>
                  <p:nvPr/>
                </p:nvGrpSpPr>
                <p:grpSpPr>
                  <a:xfrm>
                    <a:off x="4360903" y="3463997"/>
                    <a:ext cx="285538" cy="288000"/>
                    <a:chOff x="4386263" y="3243263"/>
                    <a:chExt cx="368301" cy="371476"/>
                  </a:xfrm>
                  <a:solidFill>
                    <a:schemeClr val="tx1">
                      <a:lumMod val="65000"/>
                      <a:lumOff val="35000"/>
                    </a:schemeClr>
                  </a:solidFill>
                </p:grpSpPr>
                <p:sp>
                  <p:nvSpPr>
                    <p:cNvPr id="251" name="Freeform 67"/>
                    <p:cNvSpPr>
                      <a:spLocks/>
                    </p:cNvSpPr>
                    <p:nvPr/>
                  </p:nvSpPr>
                  <p:spPr bwMode="auto">
                    <a:xfrm>
                      <a:off x="4386263" y="3455988"/>
                      <a:ext cx="147638" cy="158750"/>
                    </a:xfrm>
                    <a:custGeom>
                      <a:avLst/>
                      <a:gdLst>
                        <a:gd name="T0" fmla="*/ 23 w 38"/>
                        <a:gd name="T1" fmla="*/ 41 h 41"/>
                        <a:gd name="T2" fmla="*/ 23 w 38"/>
                        <a:gd name="T3" fmla="*/ 41 h 41"/>
                        <a:gd name="T4" fmla="*/ 21 w 38"/>
                        <a:gd name="T5" fmla="*/ 40 h 41"/>
                        <a:gd name="T6" fmla="*/ 16 w 38"/>
                        <a:gd name="T7" fmla="*/ 27 h 41"/>
                        <a:gd name="T8" fmla="*/ 2 w 38"/>
                        <a:gd name="T9" fmla="*/ 29 h 41"/>
                        <a:gd name="T10" fmla="*/ 0 w 38"/>
                        <a:gd name="T11" fmla="*/ 28 h 41"/>
                        <a:gd name="T12" fmla="*/ 0 w 38"/>
                        <a:gd name="T13" fmla="*/ 26 h 41"/>
                        <a:gd name="T14" fmla="*/ 15 w 38"/>
                        <a:gd name="T15" fmla="*/ 0 h 41"/>
                        <a:gd name="T16" fmla="*/ 19 w 38"/>
                        <a:gd name="T17" fmla="*/ 2 h 41"/>
                        <a:gd name="T18" fmla="*/ 6 w 38"/>
                        <a:gd name="T19" fmla="*/ 24 h 41"/>
                        <a:gd name="T20" fmla="*/ 17 w 38"/>
                        <a:gd name="T21" fmla="*/ 22 h 41"/>
                        <a:gd name="T22" fmla="*/ 19 w 38"/>
                        <a:gd name="T23" fmla="*/ 24 h 41"/>
                        <a:gd name="T24" fmla="*/ 23 w 38"/>
                        <a:gd name="T25" fmla="*/ 34 h 41"/>
                        <a:gd name="T26" fmla="*/ 34 w 38"/>
                        <a:gd name="T27" fmla="*/ 16 h 41"/>
                        <a:gd name="T28" fmla="*/ 38 w 38"/>
                        <a:gd name="T29" fmla="*/ 18 h 41"/>
                        <a:gd name="T30" fmla="*/ 24 w 38"/>
                        <a:gd name="T31" fmla="*/ 40 h 41"/>
                        <a:gd name="T32" fmla="*/ 23 w 38"/>
                        <a:gd name="T33" fmla="*/ 41 h 4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</a:cxnLst>
                      <a:rect l="0" t="0" r="r" b="b"/>
                      <a:pathLst>
                        <a:path w="38" h="41">
                          <a:moveTo>
                            <a:pt x="23" y="41"/>
                          </a:moveTo>
                          <a:cubicBezTo>
                            <a:pt x="23" y="41"/>
                            <a:pt x="23" y="41"/>
                            <a:pt x="23" y="41"/>
                          </a:cubicBezTo>
                          <a:cubicBezTo>
                            <a:pt x="22" y="41"/>
                            <a:pt x="21" y="40"/>
                            <a:pt x="21" y="40"/>
                          </a:cubicBezTo>
                          <a:cubicBezTo>
                            <a:pt x="16" y="27"/>
                            <a:pt x="16" y="27"/>
                            <a:pt x="16" y="27"/>
                          </a:cubicBezTo>
                          <a:cubicBezTo>
                            <a:pt x="2" y="29"/>
                            <a:pt x="2" y="29"/>
                            <a:pt x="2" y="29"/>
                          </a:cubicBezTo>
                          <a:cubicBezTo>
                            <a:pt x="2" y="29"/>
                            <a:pt x="1" y="29"/>
                            <a:pt x="0" y="28"/>
                          </a:cubicBezTo>
                          <a:cubicBezTo>
                            <a:pt x="0" y="27"/>
                            <a:pt x="0" y="27"/>
                            <a:pt x="0" y="26"/>
                          </a:cubicBezTo>
                          <a:cubicBezTo>
                            <a:pt x="15" y="0"/>
                            <a:pt x="15" y="0"/>
                            <a:pt x="15" y="0"/>
                          </a:cubicBezTo>
                          <a:cubicBezTo>
                            <a:pt x="19" y="2"/>
                            <a:pt x="19" y="2"/>
                            <a:pt x="19" y="2"/>
                          </a:cubicBezTo>
                          <a:cubicBezTo>
                            <a:pt x="6" y="24"/>
                            <a:pt x="6" y="24"/>
                            <a:pt x="6" y="24"/>
                          </a:cubicBezTo>
                          <a:cubicBezTo>
                            <a:pt x="17" y="22"/>
                            <a:pt x="17" y="22"/>
                            <a:pt x="17" y="22"/>
                          </a:cubicBezTo>
                          <a:cubicBezTo>
                            <a:pt x="18" y="22"/>
                            <a:pt x="19" y="23"/>
                            <a:pt x="19" y="24"/>
                          </a:cubicBezTo>
                          <a:cubicBezTo>
                            <a:pt x="23" y="34"/>
                            <a:pt x="23" y="34"/>
                            <a:pt x="23" y="34"/>
                          </a:cubicBezTo>
                          <a:cubicBezTo>
                            <a:pt x="34" y="16"/>
                            <a:pt x="34" y="16"/>
                            <a:pt x="34" y="16"/>
                          </a:cubicBezTo>
                          <a:cubicBezTo>
                            <a:pt x="38" y="18"/>
                            <a:pt x="38" y="18"/>
                            <a:pt x="38" y="18"/>
                          </a:cubicBezTo>
                          <a:cubicBezTo>
                            <a:pt x="24" y="40"/>
                            <a:pt x="24" y="40"/>
                            <a:pt x="24" y="40"/>
                          </a:cubicBezTo>
                          <a:cubicBezTo>
                            <a:pt x="24" y="41"/>
                            <a:pt x="23" y="41"/>
                            <a:pt x="23" y="41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52" name="Freeform 68"/>
                    <p:cNvSpPr>
                      <a:spLocks/>
                    </p:cNvSpPr>
                    <p:nvPr/>
                  </p:nvSpPr>
                  <p:spPr bwMode="auto">
                    <a:xfrm>
                      <a:off x="4610101" y="3460751"/>
                      <a:ext cx="144463" cy="153988"/>
                    </a:xfrm>
                    <a:custGeom>
                      <a:avLst/>
                      <a:gdLst>
                        <a:gd name="T0" fmla="*/ 15 w 37"/>
                        <a:gd name="T1" fmla="*/ 40 h 40"/>
                        <a:gd name="T2" fmla="*/ 13 w 37"/>
                        <a:gd name="T3" fmla="*/ 39 h 40"/>
                        <a:gd name="T4" fmla="*/ 0 w 37"/>
                        <a:gd name="T5" fmla="*/ 17 h 40"/>
                        <a:gd name="T6" fmla="*/ 3 w 37"/>
                        <a:gd name="T7" fmla="*/ 15 h 40"/>
                        <a:gd name="T8" fmla="*/ 14 w 37"/>
                        <a:gd name="T9" fmla="*/ 33 h 40"/>
                        <a:gd name="T10" fmla="*/ 18 w 37"/>
                        <a:gd name="T11" fmla="*/ 23 h 40"/>
                        <a:gd name="T12" fmla="*/ 20 w 37"/>
                        <a:gd name="T13" fmla="*/ 21 h 40"/>
                        <a:gd name="T14" fmla="*/ 31 w 37"/>
                        <a:gd name="T15" fmla="*/ 23 h 40"/>
                        <a:gd name="T16" fmla="*/ 19 w 37"/>
                        <a:gd name="T17" fmla="*/ 2 h 40"/>
                        <a:gd name="T18" fmla="*/ 22 w 37"/>
                        <a:gd name="T19" fmla="*/ 0 h 40"/>
                        <a:gd name="T20" fmla="*/ 37 w 37"/>
                        <a:gd name="T21" fmla="*/ 25 h 40"/>
                        <a:gd name="T22" fmla="*/ 37 w 37"/>
                        <a:gd name="T23" fmla="*/ 27 h 40"/>
                        <a:gd name="T24" fmla="*/ 35 w 37"/>
                        <a:gd name="T25" fmla="*/ 28 h 40"/>
                        <a:gd name="T26" fmla="*/ 21 w 37"/>
                        <a:gd name="T27" fmla="*/ 26 h 40"/>
                        <a:gd name="T28" fmla="*/ 16 w 37"/>
                        <a:gd name="T29" fmla="*/ 39 h 40"/>
                        <a:gd name="T30" fmla="*/ 15 w 37"/>
                        <a:gd name="T31" fmla="*/ 40 h 40"/>
                        <a:gd name="T32" fmla="*/ 15 w 37"/>
                        <a:gd name="T33" fmla="*/ 40 h 4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</a:cxnLst>
                      <a:rect l="0" t="0" r="r" b="b"/>
                      <a:pathLst>
                        <a:path w="37" h="40">
                          <a:moveTo>
                            <a:pt x="15" y="40"/>
                          </a:moveTo>
                          <a:cubicBezTo>
                            <a:pt x="14" y="40"/>
                            <a:pt x="13" y="40"/>
                            <a:pt x="13" y="39"/>
                          </a:cubicBezTo>
                          <a:cubicBezTo>
                            <a:pt x="0" y="17"/>
                            <a:pt x="0" y="17"/>
                            <a:pt x="0" y="17"/>
                          </a:cubicBezTo>
                          <a:cubicBezTo>
                            <a:pt x="3" y="15"/>
                            <a:pt x="3" y="15"/>
                            <a:pt x="3" y="15"/>
                          </a:cubicBezTo>
                          <a:cubicBezTo>
                            <a:pt x="14" y="33"/>
                            <a:pt x="14" y="33"/>
                            <a:pt x="14" y="33"/>
                          </a:cubicBezTo>
                          <a:cubicBezTo>
                            <a:pt x="18" y="23"/>
                            <a:pt x="18" y="23"/>
                            <a:pt x="18" y="23"/>
                          </a:cubicBezTo>
                          <a:cubicBezTo>
                            <a:pt x="18" y="22"/>
                            <a:pt x="19" y="21"/>
                            <a:pt x="20" y="21"/>
                          </a:cubicBezTo>
                          <a:cubicBezTo>
                            <a:pt x="31" y="23"/>
                            <a:pt x="31" y="23"/>
                            <a:pt x="31" y="23"/>
                          </a:cubicBezTo>
                          <a:cubicBezTo>
                            <a:pt x="19" y="2"/>
                            <a:pt x="19" y="2"/>
                            <a:pt x="19" y="2"/>
                          </a:cubicBezTo>
                          <a:cubicBezTo>
                            <a:pt x="22" y="0"/>
                            <a:pt x="22" y="0"/>
                            <a:pt x="22" y="0"/>
                          </a:cubicBezTo>
                          <a:cubicBezTo>
                            <a:pt x="37" y="25"/>
                            <a:pt x="37" y="25"/>
                            <a:pt x="37" y="25"/>
                          </a:cubicBezTo>
                          <a:cubicBezTo>
                            <a:pt x="37" y="26"/>
                            <a:pt x="37" y="26"/>
                            <a:pt x="37" y="27"/>
                          </a:cubicBezTo>
                          <a:cubicBezTo>
                            <a:pt x="37" y="28"/>
                            <a:pt x="36" y="28"/>
                            <a:pt x="35" y="28"/>
                          </a:cubicBezTo>
                          <a:cubicBezTo>
                            <a:pt x="21" y="26"/>
                            <a:pt x="21" y="26"/>
                            <a:pt x="21" y="26"/>
                          </a:cubicBezTo>
                          <a:cubicBezTo>
                            <a:pt x="16" y="39"/>
                            <a:pt x="16" y="39"/>
                            <a:pt x="16" y="39"/>
                          </a:cubicBezTo>
                          <a:cubicBezTo>
                            <a:pt x="16" y="39"/>
                            <a:pt x="16" y="40"/>
                            <a:pt x="15" y="40"/>
                          </a:cubicBezTo>
                          <a:cubicBezTo>
                            <a:pt x="15" y="40"/>
                            <a:pt x="15" y="40"/>
                            <a:pt x="15" y="40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53" name="Freeform 69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4424363" y="3243263"/>
                      <a:ext cx="295275" cy="293688"/>
                    </a:xfrm>
                    <a:custGeom>
                      <a:avLst/>
                      <a:gdLst>
                        <a:gd name="T0" fmla="*/ 38 w 76"/>
                        <a:gd name="T1" fmla="*/ 76 h 76"/>
                        <a:gd name="T2" fmla="*/ 0 w 76"/>
                        <a:gd name="T3" fmla="*/ 38 h 76"/>
                        <a:gd name="T4" fmla="*/ 38 w 76"/>
                        <a:gd name="T5" fmla="*/ 0 h 76"/>
                        <a:gd name="T6" fmla="*/ 76 w 76"/>
                        <a:gd name="T7" fmla="*/ 38 h 76"/>
                        <a:gd name="T8" fmla="*/ 38 w 76"/>
                        <a:gd name="T9" fmla="*/ 76 h 76"/>
                        <a:gd name="T10" fmla="*/ 38 w 76"/>
                        <a:gd name="T11" fmla="*/ 4 h 76"/>
                        <a:gd name="T12" fmla="*/ 4 w 76"/>
                        <a:gd name="T13" fmla="*/ 38 h 76"/>
                        <a:gd name="T14" fmla="*/ 38 w 76"/>
                        <a:gd name="T15" fmla="*/ 72 h 76"/>
                        <a:gd name="T16" fmla="*/ 72 w 76"/>
                        <a:gd name="T17" fmla="*/ 38 h 76"/>
                        <a:gd name="T18" fmla="*/ 38 w 76"/>
                        <a:gd name="T19" fmla="*/ 4 h 7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76" h="76">
                          <a:moveTo>
                            <a:pt x="38" y="76"/>
                          </a:moveTo>
                          <a:cubicBezTo>
                            <a:pt x="17" y="76"/>
                            <a:pt x="0" y="59"/>
                            <a:pt x="0" y="38"/>
                          </a:cubicBezTo>
                          <a:cubicBezTo>
                            <a:pt x="0" y="17"/>
                            <a:pt x="17" y="0"/>
                            <a:pt x="38" y="0"/>
                          </a:cubicBezTo>
                          <a:cubicBezTo>
                            <a:pt x="59" y="0"/>
                            <a:pt x="76" y="17"/>
                            <a:pt x="76" y="38"/>
                          </a:cubicBezTo>
                          <a:cubicBezTo>
                            <a:pt x="76" y="59"/>
                            <a:pt x="59" y="76"/>
                            <a:pt x="38" y="76"/>
                          </a:cubicBezTo>
                          <a:close/>
                          <a:moveTo>
                            <a:pt x="38" y="4"/>
                          </a:moveTo>
                          <a:cubicBezTo>
                            <a:pt x="19" y="4"/>
                            <a:pt x="4" y="19"/>
                            <a:pt x="4" y="38"/>
                          </a:cubicBezTo>
                          <a:cubicBezTo>
                            <a:pt x="4" y="57"/>
                            <a:pt x="19" y="72"/>
                            <a:pt x="38" y="72"/>
                          </a:cubicBezTo>
                          <a:cubicBezTo>
                            <a:pt x="57" y="72"/>
                            <a:pt x="72" y="57"/>
                            <a:pt x="72" y="38"/>
                          </a:cubicBezTo>
                          <a:cubicBezTo>
                            <a:pt x="72" y="19"/>
                            <a:pt x="57" y="4"/>
                            <a:pt x="38" y="4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55" name="Freeform 70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4494213" y="3305176"/>
                      <a:ext cx="155575" cy="155575"/>
                    </a:xfrm>
                    <a:custGeom>
                      <a:avLst/>
                      <a:gdLst>
                        <a:gd name="T0" fmla="*/ 32 w 40"/>
                        <a:gd name="T1" fmla="*/ 40 h 40"/>
                        <a:gd name="T2" fmla="*/ 31 w 40"/>
                        <a:gd name="T3" fmla="*/ 40 h 40"/>
                        <a:gd name="T4" fmla="*/ 20 w 40"/>
                        <a:gd name="T5" fmla="*/ 33 h 40"/>
                        <a:gd name="T6" fmla="*/ 9 w 40"/>
                        <a:gd name="T7" fmla="*/ 40 h 40"/>
                        <a:gd name="T8" fmla="*/ 7 w 40"/>
                        <a:gd name="T9" fmla="*/ 40 h 40"/>
                        <a:gd name="T10" fmla="*/ 6 w 40"/>
                        <a:gd name="T11" fmla="*/ 37 h 40"/>
                        <a:gd name="T12" fmla="*/ 10 w 40"/>
                        <a:gd name="T13" fmla="*/ 25 h 40"/>
                        <a:gd name="T14" fmla="*/ 1 w 40"/>
                        <a:gd name="T15" fmla="*/ 15 h 40"/>
                        <a:gd name="T16" fmla="*/ 0 w 40"/>
                        <a:gd name="T17" fmla="*/ 13 h 40"/>
                        <a:gd name="T18" fmla="*/ 2 w 40"/>
                        <a:gd name="T19" fmla="*/ 12 h 40"/>
                        <a:gd name="T20" fmla="*/ 13 w 40"/>
                        <a:gd name="T21" fmla="*/ 12 h 40"/>
                        <a:gd name="T22" fmla="*/ 18 w 40"/>
                        <a:gd name="T23" fmla="*/ 1 h 40"/>
                        <a:gd name="T24" fmla="*/ 22 w 40"/>
                        <a:gd name="T25" fmla="*/ 1 h 40"/>
                        <a:gd name="T26" fmla="*/ 27 w 40"/>
                        <a:gd name="T27" fmla="*/ 12 h 40"/>
                        <a:gd name="T28" fmla="*/ 38 w 40"/>
                        <a:gd name="T29" fmla="*/ 12 h 40"/>
                        <a:gd name="T30" fmla="*/ 40 w 40"/>
                        <a:gd name="T31" fmla="*/ 13 h 40"/>
                        <a:gd name="T32" fmla="*/ 39 w 40"/>
                        <a:gd name="T33" fmla="*/ 15 h 40"/>
                        <a:gd name="T34" fmla="*/ 30 w 40"/>
                        <a:gd name="T35" fmla="*/ 25 h 40"/>
                        <a:gd name="T36" fmla="*/ 34 w 40"/>
                        <a:gd name="T37" fmla="*/ 37 h 40"/>
                        <a:gd name="T38" fmla="*/ 33 w 40"/>
                        <a:gd name="T39" fmla="*/ 40 h 40"/>
                        <a:gd name="T40" fmla="*/ 32 w 40"/>
                        <a:gd name="T41" fmla="*/ 40 h 40"/>
                        <a:gd name="T42" fmla="*/ 20 w 40"/>
                        <a:gd name="T43" fmla="*/ 28 h 40"/>
                        <a:gd name="T44" fmla="*/ 21 w 40"/>
                        <a:gd name="T45" fmla="*/ 29 h 40"/>
                        <a:gd name="T46" fmla="*/ 29 w 40"/>
                        <a:gd name="T47" fmla="*/ 34 h 40"/>
                        <a:gd name="T48" fmla="*/ 26 w 40"/>
                        <a:gd name="T49" fmla="*/ 25 h 40"/>
                        <a:gd name="T50" fmla="*/ 27 w 40"/>
                        <a:gd name="T51" fmla="*/ 23 h 40"/>
                        <a:gd name="T52" fmla="*/ 33 w 40"/>
                        <a:gd name="T53" fmla="*/ 16 h 40"/>
                        <a:gd name="T54" fmla="*/ 26 w 40"/>
                        <a:gd name="T55" fmla="*/ 16 h 40"/>
                        <a:gd name="T56" fmla="*/ 24 w 40"/>
                        <a:gd name="T57" fmla="*/ 15 h 40"/>
                        <a:gd name="T58" fmla="*/ 20 w 40"/>
                        <a:gd name="T59" fmla="*/ 6 h 40"/>
                        <a:gd name="T60" fmla="*/ 16 w 40"/>
                        <a:gd name="T61" fmla="*/ 15 h 40"/>
                        <a:gd name="T62" fmla="*/ 14 w 40"/>
                        <a:gd name="T63" fmla="*/ 16 h 40"/>
                        <a:gd name="T64" fmla="*/ 7 w 40"/>
                        <a:gd name="T65" fmla="*/ 16 h 40"/>
                        <a:gd name="T66" fmla="*/ 13 w 40"/>
                        <a:gd name="T67" fmla="*/ 23 h 40"/>
                        <a:gd name="T68" fmla="*/ 14 w 40"/>
                        <a:gd name="T69" fmla="*/ 25 h 40"/>
                        <a:gd name="T70" fmla="*/ 11 w 40"/>
                        <a:gd name="T71" fmla="*/ 34 h 40"/>
                        <a:gd name="T72" fmla="*/ 19 w 40"/>
                        <a:gd name="T73" fmla="*/ 29 h 40"/>
                        <a:gd name="T74" fmla="*/ 20 w 40"/>
                        <a:gd name="T75" fmla="*/ 28 h 4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</a:cxnLst>
                      <a:rect l="0" t="0" r="r" b="b"/>
                      <a:pathLst>
                        <a:path w="40" h="40">
                          <a:moveTo>
                            <a:pt x="32" y="40"/>
                          </a:moveTo>
                          <a:cubicBezTo>
                            <a:pt x="32" y="40"/>
                            <a:pt x="31" y="40"/>
                            <a:pt x="31" y="40"/>
                          </a:cubicBezTo>
                          <a:cubicBezTo>
                            <a:pt x="20" y="33"/>
                            <a:pt x="20" y="33"/>
                            <a:pt x="20" y="33"/>
                          </a:cubicBezTo>
                          <a:cubicBezTo>
                            <a:pt x="9" y="40"/>
                            <a:pt x="9" y="40"/>
                            <a:pt x="9" y="40"/>
                          </a:cubicBezTo>
                          <a:cubicBezTo>
                            <a:pt x="8" y="40"/>
                            <a:pt x="7" y="40"/>
                            <a:pt x="7" y="40"/>
                          </a:cubicBezTo>
                          <a:cubicBezTo>
                            <a:pt x="6" y="39"/>
                            <a:pt x="6" y="38"/>
                            <a:pt x="6" y="37"/>
                          </a:cubicBezTo>
                          <a:cubicBezTo>
                            <a:pt x="10" y="25"/>
                            <a:pt x="10" y="25"/>
                            <a:pt x="10" y="25"/>
                          </a:cubicBezTo>
                          <a:cubicBezTo>
                            <a:pt x="1" y="15"/>
                            <a:pt x="1" y="15"/>
                            <a:pt x="1" y="15"/>
                          </a:cubicBezTo>
                          <a:cubicBezTo>
                            <a:pt x="0" y="15"/>
                            <a:pt x="0" y="14"/>
                            <a:pt x="0" y="13"/>
                          </a:cubicBezTo>
                          <a:cubicBezTo>
                            <a:pt x="0" y="12"/>
                            <a:pt x="1" y="12"/>
                            <a:pt x="2" y="12"/>
                          </a:cubicBezTo>
                          <a:cubicBezTo>
                            <a:pt x="13" y="12"/>
                            <a:pt x="13" y="12"/>
                            <a:pt x="13" y="12"/>
                          </a:cubicBezTo>
                          <a:cubicBezTo>
                            <a:pt x="18" y="1"/>
                            <a:pt x="18" y="1"/>
                            <a:pt x="18" y="1"/>
                          </a:cubicBezTo>
                          <a:cubicBezTo>
                            <a:pt x="19" y="0"/>
                            <a:pt x="21" y="0"/>
                            <a:pt x="22" y="1"/>
                          </a:cubicBezTo>
                          <a:cubicBezTo>
                            <a:pt x="27" y="12"/>
                            <a:pt x="27" y="12"/>
                            <a:pt x="27" y="12"/>
                          </a:cubicBezTo>
                          <a:cubicBezTo>
                            <a:pt x="38" y="12"/>
                            <a:pt x="38" y="12"/>
                            <a:pt x="38" y="12"/>
                          </a:cubicBezTo>
                          <a:cubicBezTo>
                            <a:pt x="39" y="12"/>
                            <a:pt x="40" y="12"/>
                            <a:pt x="40" y="13"/>
                          </a:cubicBezTo>
                          <a:cubicBezTo>
                            <a:pt x="40" y="14"/>
                            <a:pt x="40" y="15"/>
                            <a:pt x="39" y="15"/>
                          </a:cubicBezTo>
                          <a:cubicBezTo>
                            <a:pt x="30" y="25"/>
                            <a:pt x="30" y="25"/>
                            <a:pt x="30" y="25"/>
                          </a:cubicBezTo>
                          <a:cubicBezTo>
                            <a:pt x="34" y="37"/>
                            <a:pt x="34" y="37"/>
                            <a:pt x="34" y="37"/>
                          </a:cubicBezTo>
                          <a:cubicBezTo>
                            <a:pt x="34" y="38"/>
                            <a:pt x="34" y="39"/>
                            <a:pt x="33" y="40"/>
                          </a:cubicBezTo>
                          <a:cubicBezTo>
                            <a:pt x="33" y="40"/>
                            <a:pt x="32" y="40"/>
                            <a:pt x="32" y="40"/>
                          </a:cubicBezTo>
                          <a:close/>
                          <a:moveTo>
                            <a:pt x="20" y="28"/>
                          </a:moveTo>
                          <a:cubicBezTo>
                            <a:pt x="20" y="28"/>
                            <a:pt x="21" y="29"/>
                            <a:pt x="21" y="29"/>
                          </a:cubicBezTo>
                          <a:cubicBezTo>
                            <a:pt x="29" y="34"/>
                            <a:pt x="29" y="34"/>
                            <a:pt x="29" y="34"/>
                          </a:cubicBezTo>
                          <a:cubicBezTo>
                            <a:pt x="26" y="25"/>
                            <a:pt x="26" y="25"/>
                            <a:pt x="26" y="25"/>
                          </a:cubicBezTo>
                          <a:cubicBezTo>
                            <a:pt x="26" y="24"/>
                            <a:pt x="26" y="23"/>
                            <a:pt x="27" y="23"/>
                          </a:cubicBezTo>
                          <a:cubicBezTo>
                            <a:pt x="33" y="16"/>
                            <a:pt x="33" y="16"/>
                            <a:pt x="33" y="16"/>
                          </a:cubicBezTo>
                          <a:cubicBezTo>
                            <a:pt x="26" y="16"/>
                            <a:pt x="26" y="16"/>
                            <a:pt x="26" y="16"/>
                          </a:cubicBezTo>
                          <a:cubicBezTo>
                            <a:pt x="25" y="16"/>
                            <a:pt x="25" y="16"/>
                            <a:pt x="24" y="15"/>
                          </a:cubicBezTo>
                          <a:cubicBezTo>
                            <a:pt x="20" y="6"/>
                            <a:pt x="20" y="6"/>
                            <a:pt x="20" y="6"/>
                          </a:cubicBezTo>
                          <a:cubicBezTo>
                            <a:pt x="16" y="15"/>
                            <a:pt x="16" y="15"/>
                            <a:pt x="16" y="15"/>
                          </a:cubicBezTo>
                          <a:cubicBezTo>
                            <a:pt x="15" y="16"/>
                            <a:pt x="15" y="16"/>
                            <a:pt x="14" y="16"/>
                          </a:cubicBezTo>
                          <a:cubicBezTo>
                            <a:pt x="7" y="16"/>
                            <a:pt x="7" y="16"/>
                            <a:pt x="7" y="16"/>
                          </a:cubicBezTo>
                          <a:cubicBezTo>
                            <a:pt x="13" y="23"/>
                            <a:pt x="13" y="23"/>
                            <a:pt x="13" y="23"/>
                          </a:cubicBezTo>
                          <a:cubicBezTo>
                            <a:pt x="14" y="23"/>
                            <a:pt x="14" y="24"/>
                            <a:pt x="14" y="25"/>
                          </a:cubicBezTo>
                          <a:cubicBezTo>
                            <a:pt x="11" y="34"/>
                            <a:pt x="11" y="34"/>
                            <a:pt x="11" y="34"/>
                          </a:cubicBezTo>
                          <a:cubicBezTo>
                            <a:pt x="19" y="29"/>
                            <a:pt x="19" y="29"/>
                            <a:pt x="19" y="29"/>
                          </a:cubicBezTo>
                          <a:cubicBezTo>
                            <a:pt x="19" y="29"/>
                            <a:pt x="20" y="28"/>
                            <a:pt x="20" y="28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p:txBody>
                </p:sp>
              </p:grpSp>
            </p:grpSp>
          </p:grpSp>
        </p:grpSp>
        <p:grpSp>
          <p:nvGrpSpPr>
            <p:cNvPr id="137" name="Group 136"/>
            <p:cNvGrpSpPr/>
            <p:nvPr/>
          </p:nvGrpSpPr>
          <p:grpSpPr>
            <a:xfrm>
              <a:off x="2505488" y="3490913"/>
              <a:ext cx="539768" cy="539768"/>
              <a:chOff x="2456649" y="2890030"/>
              <a:chExt cx="593745" cy="593745"/>
            </a:xfrm>
          </p:grpSpPr>
          <p:grpSp>
            <p:nvGrpSpPr>
              <p:cNvPr id="225" name="Group 224"/>
              <p:cNvGrpSpPr/>
              <p:nvPr/>
            </p:nvGrpSpPr>
            <p:grpSpPr>
              <a:xfrm>
                <a:off x="2456649" y="2890030"/>
                <a:ext cx="593745" cy="593745"/>
                <a:chOff x="2439588" y="2833628"/>
                <a:chExt cx="405535" cy="405535"/>
              </a:xfrm>
            </p:grpSpPr>
            <p:sp>
              <p:nvSpPr>
                <p:cNvPr id="237" name="Oval 236"/>
                <p:cNvSpPr/>
                <p:nvPr/>
              </p:nvSpPr>
              <p:spPr>
                <a:xfrm>
                  <a:off x="2439588" y="2833628"/>
                  <a:ext cx="405535" cy="405535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  <a:effectLst>
                  <a:outerShdw blurRad="38100" dist="25400" dir="5400000" algn="t" rotWithShape="0">
                    <a:prstClr val="black">
                      <a:alpha val="3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238" name="Oval 237"/>
                <p:cNvSpPr/>
                <p:nvPr/>
              </p:nvSpPr>
              <p:spPr>
                <a:xfrm>
                  <a:off x="2474779" y="2868816"/>
                  <a:ext cx="335153" cy="335152"/>
                </a:xfrm>
                <a:prstGeom prst="ellipse">
                  <a:avLst/>
                </a:prstGeom>
                <a:solidFill>
                  <a:srgbClr val="78D2D2"/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226" name="Group 225"/>
              <p:cNvGrpSpPr>
                <a:grpSpLocks noChangeAspect="1"/>
              </p:cNvGrpSpPr>
              <p:nvPr/>
            </p:nvGrpSpPr>
            <p:grpSpPr>
              <a:xfrm>
                <a:off x="2590234" y="3043153"/>
                <a:ext cx="326574" cy="287496"/>
                <a:chOff x="1362075" y="1844675"/>
                <a:chExt cx="371475" cy="327025"/>
              </a:xfrm>
              <a:solidFill>
                <a:schemeClr val="bg1"/>
              </a:solidFill>
            </p:grpSpPr>
            <p:sp>
              <p:nvSpPr>
                <p:cNvPr id="227" name="Freeform 74"/>
                <p:cNvSpPr>
                  <a:spLocks noEditPoints="1"/>
                </p:cNvSpPr>
                <p:nvPr/>
              </p:nvSpPr>
              <p:spPr bwMode="auto">
                <a:xfrm>
                  <a:off x="1362075" y="1844675"/>
                  <a:ext cx="371475" cy="295275"/>
                </a:xfrm>
                <a:custGeom>
                  <a:avLst/>
                  <a:gdLst>
                    <a:gd name="T0" fmla="*/ 88 w 96"/>
                    <a:gd name="T1" fmla="*/ 76 h 76"/>
                    <a:gd name="T2" fmla="*/ 8 w 96"/>
                    <a:gd name="T3" fmla="*/ 76 h 76"/>
                    <a:gd name="T4" fmla="*/ 0 w 96"/>
                    <a:gd name="T5" fmla="*/ 68 h 76"/>
                    <a:gd name="T6" fmla="*/ 0 w 96"/>
                    <a:gd name="T7" fmla="*/ 8 h 76"/>
                    <a:gd name="T8" fmla="*/ 8 w 96"/>
                    <a:gd name="T9" fmla="*/ 0 h 76"/>
                    <a:gd name="T10" fmla="*/ 88 w 96"/>
                    <a:gd name="T11" fmla="*/ 0 h 76"/>
                    <a:gd name="T12" fmla="*/ 96 w 96"/>
                    <a:gd name="T13" fmla="*/ 8 h 76"/>
                    <a:gd name="T14" fmla="*/ 96 w 96"/>
                    <a:gd name="T15" fmla="*/ 68 h 76"/>
                    <a:gd name="T16" fmla="*/ 88 w 96"/>
                    <a:gd name="T17" fmla="*/ 76 h 76"/>
                    <a:gd name="T18" fmla="*/ 8 w 96"/>
                    <a:gd name="T19" fmla="*/ 4 h 76"/>
                    <a:gd name="T20" fmla="*/ 4 w 96"/>
                    <a:gd name="T21" fmla="*/ 8 h 76"/>
                    <a:gd name="T22" fmla="*/ 4 w 96"/>
                    <a:gd name="T23" fmla="*/ 68 h 76"/>
                    <a:gd name="T24" fmla="*/ 8 w 96"/>
                    <a:gd name="T25" fmla="*/ 72 h 76"/>
                    <a:gd name="T26" fmla="*/ 88 w 96"/>
                    <a:gd name="T27" fmla="*/ 72 h 76"/>
                    <a:gd name="T28" fmla="*/ 92 w 96"/>
                    <a:gd name="T29" fmla="*/ 68 h 76"/>
                    <a:gd name="T30" fmla="*/ 92 w 96"/>
                    <a:gd name="T31" fmla="*/ 8 h 76"/>
                    <a:gd name="T32" fmla="*/ 88 w 96"/>
                    <a:gd name="T33" fmla="*/ 4 h 76"/>
                    <a:gd name="T34" fmla="*/ 8 w 96"/>
                    <a:gd name="T35" fmla="*/ 4 h 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96" h="76">
                      <a:moveTo>
                        <a:pt x="88" y="76"/>
                      </a:moveTo>
                      <a:cubicBezTo>
                        <a:pt x="8" y="76"/>
                        <a:pt x="8" y="76"/>
                        <a:pt x="8" y="76"/>
                      </a:cubicBezTo>
                      <a:cubicBezTo>
                        <a:pt x="4" y="76"/>
                        <a:pt x="0" y="72"/>
                        <a:pt x="0" y="68"/>
                      </a:cubicBezTo>
                      <a:cubicBezTo>
                        <a:pt x="0" y="8"/>
                        <a:pt x="0" y="8"/>
                        <a:pt x="0" y="8"/>
                      </a:cubicBezTo>
                      <a:cubicBezTo>
                        <a:pt x="0" y="4"/>
                        <a:pt x="4" y="0"/>
                        <a:pt x="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92" y="0"/>
                        <a:pt x="96" y="4"/>
                        <a:pt x="96" y="8"/>
                      </a:cubicBezTo>
                      <a:cubicBezTo>
                        <a:pt x="96" y="68"/>
                        <a:pt x="96" y="68"/>
                        <a:pt x="96" y="68"/>
                      </a:cubicBezTo>
                      <a:cubicBezTo>
                        <a:pt x="96" y="72"/>
                        <a:pt x="92" y="76"/>
                        <a:pt x="88" y="76"/>
                      </a:cubicBezTo>
                      <a:close/>
                      <a:moveTo>
                        <a:pt x="8" y="4"/>
                      </a:moveTo>
                      <a:cubicBezTo>
                        <a:pt x="6" y="4"/>
                        <a:pt x="4" y="6"/>
                        <a:pt x="4" y="8"/>
                      </a:cubicBezTo>
                      <a:cubicBezTo>
                        <a:pt x="4" y="68"/>
                        <a:pt x="4" y="68"/>
                        <a:pt x="4" y="68"/>
                      </a:cubicBezTo>
                      <a:cubicBezTo>
                        <a:pt x="4" y="70"/>
                        <a:pt x="6" y="72"/>
                        <a:pt x="8" y="72"/>
                      </a:cubicBezTo>
                      <a:cubicBezTo>
                        <a:pt x="88" y="72"/>
                        <a:pt x="88" y="72"/>
                        <a:pt x="88" y="72"/>
                      </a:cubicBezTo>
                      <a:cubicBezTo>
                        <a:pt x="90" y="72"/>
                        <a:pt x="92" y="70"/>
                        <a:pt x="92" y="68"/>
                      </a:cubicBezTo>
                      <a:cubicBezTo>
                        <a:pt x="92" y="8"/>
                        <a:pt x="92" y="8"/>
                        <a:pt x="92" y="8"/>
                      </a:cubicBezTo>
                      <a:cubicBezTo>
                        <a:pt x="92" y="6"/>
                        <a:pt x="90" y="4"/>
                        <a:pt x="88" y="4"/>
                      </a:cubicBezTo>
                      <a:lnTo>
                        <a:pt x="8" y="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229" name="Freeform 75"/>
                <p:cNvSpPr>
                  <a:spLocks/>
                </p:cNvSpPr>
                <p:nvPr/>
              </p:nvSpPr>
              <p:spPr bwMode="auto">
                <a:xfrm>
                  <a:off x="1431925" y="2155825"/>
                  <a:ext cx="231775" cy="15875"/>
                </a:xfrm>
                <a:custGeom>
                  <a:avLst/>
                  <a:gdLst>
                    <a:gd name="T0" fmla="*/ 58 w 60"/>
                    <a:gd name="T1" fmla="*/ 4 h 4"/>
                    <a:gd name="T2" fmla="*/ 2 w 60"/>
                    <a:gd name="T3" fmla="*/ 4 h 4"/>
                    <a:gd name="T4" fmla="*/ 0 w 60"/>
                    <a:gd name="T5" fmla="*/ 2 h 4"/>
                    <a:gd name="T6" fmla="*/ 2 w 60"/>
                    <a:gd name="T7" fmla="*/ 0 h 4"/>
                    <a:gd name="T8" fmla="*/ 58 w 60"/>
                    <a:gd name="T9" fmla="*/ 0 h 4"/>
                    <a:gd name="T10" fmla="*/ 60 w 60"/>
                    <a:gd name="T11" fmla="*/ 2 h 4"/>
                    <a:gd name="T12" fmla="*/ 58 w 60"/>
                    <a:gd name="T13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60" h="4">
                      <a:moveTo>
                        <a:pt x="58" y="4"/>
                      </a:moveTo>
                      <a:cubicBezTo>
                        <a:pt x="2" y="4"/>
                        <a:pt x="2" y="4"/>
                        <a:pt x="2" y="4"/>
                      </a:cubicBezTo>
                      <a:cubicBezTo>
                        <a:pt x="1" y="4"/>
                        <a:pt x="0" y="3"/>
                        <a:pt x="0" y="2"/>
                      </a:cubicBezTo>
                      <a:cubicBezTo>
                        <a:pt x="0" y="1"/>
                        <a:pt x="1" y="0"/>
                        <a:pt x="2" y="0"/>
                      </a:cubicBezTo>
                      <a:cubicBezTo>
                        <a:pt x="58" y="0"/>
                        <a:pt x="58" y="0"/>
                        <a:pt x="58" y="0"/>
                      </a:cubicBezTo>
                      <a:cubicBezTo>
                        <a:pt x="59" y="0"/>
                        <a:pt x="60" y="1"/>
                        <a:pt x="60" y="2"/>
                      </a:cubicBezTo>
                      <a:cubicBezTo>
                        <a:pt x="60" y="3"/>
                        <a:pt x="59" y="4"/>
                        <a:pt x="58" y="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230" name="Freeform 76"/>
                <p:cNvSpPr>
                  <a:spLocks/>
                </p:cNvSpPr>
                <p:nvPr/>
              </p:nvSpPr>
              <p:spPr bwMode="auto">
                <a:xfrm>
                  <a:off x="1531938" y="2124075"/>
                  <a:ext cx="15875" cy="47625"/>
                </a:xfrm>
                <a:custGeom>
                  <a:avLst/>
                  <a:gdLst>
                    <a:gd name="T0" fmla="*/ 2 w 4"/>
                    <a:gd name="T1" fmla="*/ 12 h 12"/>
                    <a:gd name="T2" fmla="*/ 0 w 4"/>
                    <a:gd name="T3" fmla="*/ 10 h 12"/>
                    <a:gd name="T4" fmla="*/ 0 w 4"/>
                    <a:gd name="T5" fmla="*/ 2 h 12"/>
                    <a:gd name="T6" fmla="*/ 2 w 4"/>
                    <a:gd name="T7" fmla="*/ 0 h 12"/>
                    <a:gd name="T8" fmla="*/ 4 w 4"/>
                    <a:gd name="T9" fmla="*/ 2 h 12"/>
                    <a:gd name="T10" fmla="*/ 4 w 4"/>
                    <a:gd name="T11" fmla="*/ 10 h 12"/>
                    <a:gd name="T12" fmla="*/ 2 w 4"/>
                    <a:gd name="T13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" h="12">
                      <a:moveTo>
                        <a:pt x="2" y="12"/>
                      </a:moveTo>
                      <a:cubicBezTo>
                        <a:pt x="1" y="12"/>
                        <a:pt x="0" y="11"/>
                        <a:pt x="0" y="10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1" y="0"/>
                        <a:pt x="2" y="0"/>
                      </a:cubicBezTo>
                      <a:cubicBezTo>
                        <a:pt x="3" y="0"/>
                        <a:pt x="4" y="1"/>
                        <a:pt x="4" y="2"/>
                      </a:cubicBezTo>
                      <a:cubicBezTo>
                        <a:pt x="4" y="10"/>
                        <a:pt x="4" y="10"/>
                        <a:pt x="4" y="10"/>
                      </a:cubicBezTo>
                      <a:cubicBezTo>
                        <a:pt x="4" y="11"/>
                        <a:pt x="3" y="12"/>
                        <a:pt x="2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231" name="Oval 77"/>
                <p:cNvSpPr>
                  <a:spLocks noChangeArrowheads="1"/>
                </p:cNvSpPr>
                <p:nvPr/>
              </p:nvSpPr>
              <p:spPr bwMode="auto">
                <a:xfrm>
                  <a:off x="1531938" y="2085975"/>
                  <a:ext cx="31750" cy="30163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232" name="Rectangle 78"/>
                <p:cNvSpPr>
                  <a:spLocks noChangeArrowheads="1"/>
                </p:cNvSpPr>
                <p:nvPr/>
              </p:nvSpPr>
              <p:spPr bwMode="auto">
                <a:xfrm>
                  <a:off x="1370013" y="2062163"/>
                  <a:ext cx="355600" cy="15875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233" name="Freeform 79"/>
                <p:cNvSpPr>
                  <a:spLocks noEditPoints="1"/>
                </p:cNvSpPr>
                <p:nvPr/>
              </p:nvSpPr>
              <p:spPr bwMode="auto">
                <a:xfrm>
                  <a:off x="1455738" y="1968500"/>
                  <a:ext cx="61913" cy="77788"/>
                </a:xfrm>
                <a:custGeom>
                  <a:avLst/>
                  <a:gdLst>
                    <a:gd name="T0" fmla="*/ 14 w 16"/>
                    <a:gd name="T1" fmla="*/ 20 h 20"/>
                    <a:gd name="T2" fmla="*/ 2 w 16"/>
                    <a:gd name="T3" fmla="*/ 20 h 20"/>
                    <a:gd name="T4" fmla="*/ 0 w 16"/>
                    <a:gd name="T5" fmla="*/ 18 h 20"/>
                    <a:gd name="T6" fmla="*/ 0 w 16"/>
                    <a:gd name="T7" fmla="*/ 2 h 20"/>
                    <a:gd name="T8" fmla="*/ 2 w 16"/>
                    <a:gd name="T9" fmla="*/ 0 h 20"/>
                    <a:gd name="T10" fmla="*/ 14 w 16"/>
                    <a:gd name="T11" fmla="*/ 0 h 20"/>
                    <a:gd name="T12" fmla="*/ 16 w 16"/>
                    <a:gd name="T13" fmla="*/ 2 h 20"/>
                    <a:gd name="T14" fmla="*/ 16 w 16"/>
                    <a:gd name="T15" fmla="*/ 18 h 20"/>
                    <a:gd name="T16" fmla="*/ 14 w 16"/>
                    <a:gd name="T17" fmla="*/ 20 h 20"/>
                    <a:gd name="T18" fmla="*/ 4 w 16"/>
                    <a:gd name="T19" fmla="*/ 16 h 20"/>
                    <a:gd name="T20" fmla="*/ 12 w 16"/>
                    <a:gd name="T21" fmla="*/ 16 h 20"/>
                    <a:gd name="T22" fmla="*/ 12 w 16"/>
                    <a:gd name="T23" fmla="*/ 4 h 20"/>
                    <a:gd name="T24" fmla="*/ 4 w 16"/>
                    <a:gd name="T25" fmla="*/ 4 h 20"/>
                    <a:gd name="T26" fmla="*/ 4 w 16"/>
                    <a:gd name="T27" fmla="*/ 16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6" h="20">
                      <a:moveTo>
                        <a:pt x="14" y="20"/>
                      </a:moveTo>
                      <a:cubicBezTo>
                        <a:pt x="2" y="20"/>
                        <a:pt x="2" y="20"/>
                        <a:pt x="2" y="20"/>
                      </a:cubicBezTo>
                      <a:cubicBezTo>
                        <a:pt x="1" y="20"/>
                        <a:pt x="0" y="19"/>
                        <a:pt x="0" y="18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1" y="0"/>
                        <a:pt x="2" y="0"/>
                      </a:cubicBezTo>
                      <a:cubicBezTo>
                        <a:pt x="14" y="0"/>
                        <a:pt x="14" y="0"/>
                        <a:pt x="14" y="0"/>
                      </a:cubicBezTo>
                      <a:cubicBezTo>
                        <a:pt x="15" y="0"/>
                        <a:pt x="16" y="1"/>
                        <a:pt x="16" y="2"/>
                      </a:cubicBezTo>
                      <a:cubicBezTo>
                        <a:pt x="16" y="18"/>
                        <a:pt x="16" y="18"/>
                        <a:pt x="16" y="18"/>
                      </a:cubicBezTo>
                      <a:cubicBezTo>
                        <a:pt x="16" y="19"/>
                        <a:pt x="15" y="20"/>
                        <a:pt x="14" y="20"/>
                      </a:cubicBezTo>
                      <a:close/>
                      <a:moveTo>
                        <a:pt x="4" y="16"/>
                      </a:moveTo>
                      <a:cubicBezTo>
                        <a:pt x="12" y="16"/>
                        <a:pt x="12" y="16"/>
                        <a:pt x="12" y="16"/>
                      </a:cubicBezTo>
                      <a:cubicBezTo>
                        <a:pt x="12" y="4"/>
                        <a:pt x="12" y="4"/>
                        <a:pt x="12" y="4"/>
                      </a:cubicBezTo>
                      <a:cubicBezTo>
                        <a:pt x="4" y="4"/>
                        <a:pt x="4" y="4"/>
                        <a:pt x="4" y="4"/>
                      </a:cubicBezTo>
                      <a:lnTo>
                        <a:pt x="4" y="1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234" name="Freeform 80"/>
                <p:cNvSpPr>
                  <a:spLocks noEditPoints="1"/>
                </p:cNvSpPr>
                <p:nvPr/>
              </p:nvSpPr>
              <p:spPr bwMode="auto">
                <a:xfrm>
                  <a:off x="1531938" y="1922463"/>
                  <a:ext cx="61913" cy="123825"/>
                </a:xfrm>
                <a:custGeom>
                  <a:avLst/>
                  <a:gdLst>
                    <a:gd name="T0" fmla="*/ 14 w 16"/>
                    <a:gd name="T1" fmla="*/ 32 h 32"/>
                    <a:gd name="T2" fmla="*/ 2 w 16"/>
                    <a:gd name="T3" fmla="*/ 32 h 32"/>
                    <a:gd name="T4" fmla="*/ 0 w 16"/>
                    <a:gd name="T5" fmla="*/ 30 h 32"/>
                    <a:gd name="T6" fmla="*/ 0 w 16"/>
                    <a:gd name="T7" fmla="*/ 2 h 32"/>
                    <a:gd name="T8" fmla="*/ 2 w 16"/>
                    <a:gd name="T9" fmla="*/ 0 h 32"/>
                    <a:gd name="T10" fmla="*/ 14 w 16"/>
                    <a:gd name="T11" fmla="*/ 0 h 32"/>
                    <a:gd name="T12" fmla="*/ 16 w 16"/>
                    <a:gd name="T13" fmla="*/ 2 h 32"/>
                    <a:gd name="T14" fmla="*/ 16 w 16"/>
                    <a:gd name="T15" fmla="*/ 30 h 32"/>
                    <a:gd name="T16" fmla="*/ 14 w 16"/>
                    <a:gd name="T17" fmla="*/ 32 h 32"/>
                    <a:gd name="T18" fmla="*/ 4 w 16"/>
                    <a:gd name="T19" fmla="*/ 28 h 32"/>
                    <a:gd name="T20" fmla="*/ 12 w 16"/>
                    <a:gd name="T21" fmla="*/ 28 h 32"/>
                    <a:gd name="T22" fmla="*/ 12 w 16"/>
                    <a:gd name="T23" fmla="*/ 4 h 32"/>
                    <a:gd name="T24" fmla="*/ 4 w 16"/>
                    <a:gd name="T25" fmla="*/ 4 h 32"/>
                    <a:gd name="T26" fmla="*/ 4 w 16"/>
                    <a:gd name="T27" fmla="*/ 28 h 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6" h="32">
                      <a:moveTo>
                        <a:pt x="14" y="32"/>
                      </a:moveTo>
                      <a:cubicBezTo>
                        <a:pt x="2" y="32"/>
                        <a:pt x="2" y="32"/>
                        <a:pt x="2" y="32"/>
                      </a:cubicBezTo>
                      <a:cubicBezTo>
                        <a:pt x="1" y="32"/>
                        <a:pt x="0" y="31"/>
                        <a:pt x="0" y="30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1" y="0"/>
                        <a:pt x="2" y="0"/>
                      </a:cubicBezTo>
                      <a:cubicBezTo>
                        <a:pt x="14" y="0"/>
                        <a:pt x="14" y="0"/>
                        <a:pt x="14" y="0"/>
                      </a:cubicBezTo>
                      <a:cubicBezTo>
                        <a:pt x="15" y="0"/>
                        <a:pt x="16" y="1"/>
                        <a:pt x="16" y="2"/>
                      </a:cubicBezTo>
                      <a:cubicBezTo>
                        <a:pt x="16" y="30"/>
                        <a:pt x="16" y="30"/>
                        <a:pt x="16" y="30"/>
                      </a:cubicBezTo>
                      <a:cubicBezTo>
                        <a:pt x="16" y="31"/>
                        <a:pt x="15" y="32"/>
                        <a:pt x="14" y="32"/>
                      </a:cubicBezTo>
                      <a:close/>
                      <a:moveTo>
                        <a:pt x="4" y="28"/>
                      </a:moveTo>
                      <a:cubicBezTo>
                        <a:pt x="12" y="28"/>
                        <a:pt x="12" y="28"/>
                        <a:pt x="12" y="28"/>
                      </a:cubicBezTo>
                      <a:cubicBezTo>
                        <a:pt x="12" y="4"/>
                        <a:pt x="12" y="4"/>
                        <a:pt x="12" y="4"/>
                      </a:cubicBezTo>
                      <a:cubicBezTo>
                        <a:pt x="4" y="4"/>
                        <a:pt x="4" y="4"/>
                        <a:pt x="4" y="4"/>
                      </a:cubicBezTo>
                      <a:lnTo>
                        <a:pt x="4" y="2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235" name="Freeform 81"/>
                <p:cNvSpPr>
                  <a:spLocks noEditPoints="1"/>
                </p:cNvSpPr>
                <p:nvPr/>
              </p:nvSpPr>
              <p:spPr bwMode="auto">
                <a:xfrm>
                  <a:off x="1609725" y="1890713"/>
                  <a:ext cx="61913" cy="155575"/>
                </a:xfrm>
                <a:custGeom>
                  <a:avLst/>
                  <a:gdLst>
                    <a:gd name="T0" fmla="*/ 14 w 16"/>
                    <a:gd name="T1" fmla="*/ 40 h 40"/>
                    <a:gd name="T2" fmla="*/ 2 w 16"/>
                    <a:gd name="T3" fmla="*/ 40 h 40"/>
                    <a:gd name="T4" fmla="*/ 0 w 16"/>
                    <a:gd name="T5" fmla="*/ 38 h 40"/>
                    <a:gd name="T6" fmla="*/ 0 w 16"/>
                    <a:gd name="T7" fmla="*/ 2 h 40"/>
                    <a:gd name="T8" fmla="*/ 2 w 16"/>
                    <a:gd name="T9" fmla="*/ 0 h 40"/>
                    <a:gd name="T10" fmla="*/ 14 w 16"/>
                    <a:gd name="T11" fmla="*/ 0 h 40"/>
                    <a:gd name="T12" fmla="*/ 16 w 16"/>
                    <a:gd name="T13" fmla="*/ 2 h 40"/>
                    <a:gd name="T14" fmla="*/ 16 w 16"/>
                    <a:gd name="T15" fmla="*/ 38 h 40"/>
                    <a:gd name="T16" fmla="*/ 14 w 16"/>
                    <a:gd name="T17" fmla="*/ 40 h 40"/>
                    <a:gd name="T18" fmla="*/ 4 w 16"/>
                    <a:gd name="T19" fmla="*/ 36 h 40"/>
                    <a:gd name="T20" fmla="*/ 12 w 16"/>
                    <a:gd name="T21" fmla="*/ 36 h 40"/>
                    <a:gd name="T22" fmla="*/ 12 w 16"/>
                    <a:gd name="T23" fmla="*/ 4 h 40"/>
                    <a:gd name="T24" fmla="*/ 4 w 16"/>
                    <a:gd name="T25" fmla="*/ 4 h 40"/>
                    <a:gd name="T26" fmla="*/ 4 w 16"/>
                    <a:gd name="T27" fmla="*/ 36 h 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6" h="40">
                      <a:moveTo>
                        <a:pt x="14" y="40"/>
                      </a:moveTo>
                      <a:cubicBezTo>
                        <a:pt x="2" y="40"/>
                        <a:pt x="2" y="40"/>
                        <a:pt x="2" y="40"/>
                      </a:cubicBezTo>
                      <a:cubicBezTo>
                        <a:pt x="1" y="40"/>
                        <a:pt x="0" y="39"/>
                        <a:pt x="0" y="38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1" y="0"/>
                        <a:pt x="2" y="0"/>
                      </a:cubicBezTo>
                      <a:cubicBezTo>
                        <a:pt x="14" y="0"/>
                        <a:pt x="14" y="0"/>
                        <a:pt x="14" y="0"/>
                      </a:cubicBezTo>
                      <a:cubicBezTo>
                        <a:pt x="15" y="0"/>
                        <a:pt x="16" y="1"/>
                        <a:pt x="16" y="2"/>
                      </a:cubicBezTo>
                      <a:cubicBezTo>
                        <a:pt x="16" y="38"/>
                        <a:pt x="16" y="38"/>
                        <a:pt x="16" y="38"/>
                      </a:cubicBezTo>
                      <a:cubicBezTo>
                        <a:pt x="16" y="39"/>
                        <a:pt x="15" y="40"/>
                        <a:pt x="14" y="40"/>
                      </a:cubicBezTo>
                      <a:close/>
                      <a:moveTo>
                        <a:pt x="4" y="36"/>
                      </a:moveTo>
                      <a:cubicBezTo>
                        <a:pt x="12" y="36"/>
                        <a:pt x="12" y="36"/>
                        <a:pt x="12" y="36"/>
                      </a:cubicBezTo>
                      <a:cubicBezTo>
                        <a:pt x="12" y="4"/>
                        <a:pt x="12" y="4"/>
                        <a:pt x="12" y="4"/>
                      </a:cubicBezTo>
                      <a:cubicBezTo>
                        <a:pt x="4" y="4"/>
                        <a:pt x="4" y="4"/>
                        <a:pt x="4" y="4"/>
                      </a:cubicBezTo>
                      <a:lnTo>
                        <a:pt x="4" y="3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236" name="Rectangle 82"/>
                <p:cNvSpPr>
                  <a:spLocks noChangeArrowheads="1"/>
                </p:cNvSpPr>
                <p:nvPr/>
              </p:nvSpPr>
              <p:spPr bwMode="auto">
                <a:xfrm>
                  <a:off x="1423988" y="1890713"/>
                  <a:ext cx="15875" cy="155575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138" name="Freeform 86"/>
            <p:cNvSpPr>
              <a:spLocks/>
            </p:cNvSpPr>
            <p:nvPr/>
          </p:nvSpPr>
          <p:spPr bwMode="auto">
            <a:xfrm>
              <a:off x="2653652" y="4244641"/>
              <a:ext cx="413573" cy="1353347"/>
            </a:xfrm>
            <a:custGeom>
              <a:avLst/>
              <a:gdLst>
                <a:gd name="T0" fmla="*/ 289 w 289"/>
                <a:gd name="T1" fmla="*/ 945 h 945"/>
                <a:gd name="T2" fmla="*/ 0 w 289"/>
                <a:gd name="T3" fmla="*/ 127 h 945"/>
                <a:gd name="T4" fmla="*/ 6 w 289"/>
                <a:gd name="T5" fmla="*/ 0 h 9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89" h="945">
                  <a:moveTo>
                    <a:pt x="289" y="945"/>
                  </a:moveTo>
                  <a:cubicBezTo>
                    <a:pt x="108" y="721"/>
                    <a:pt x="0" y="437"/>
                    <a:pt x="0" y="127"/>
                  </a:cubicBezTo>
                  <a:cubicBezTo>
                    <a:pt x="0" y="84"/>
                    <a:pt x="2" y="42"/>
                    <a:pt x="6" y="0"/>
                  </a:cubicBezTo>
                </a:path>
              </a:pathLst>
            </a:custGeom>
            <a:noFill/>
            <a:ln w="12700" cap="flat">
              <a:solidFill>
                <a:schemeClr val="tx1">
                  <a:lumMod val="65000"/>
                  <a:lumOff val="35000"/>
                </a:schemeClr>
              </a:solidFill>
              <a:prstDash val="solid"/>
              <a:miter lim="800000"/>
              <a:headEnd/>
              <a:tailEnd type="oval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9" name="Freeform 87"/>
            <p:cNvSpPr>
              <a:spLocks/>
            </p:cNvSpPr>
            <p:nvPr/>
          </p:nvSpPr>
          <p:spPr bwMode="auto">
            <a:xfrm>
              <a:off x="3789010" y="6144776"/>
              <a:ext cx="1396339" cy="150775"/>
            </a:xfrm>
            <a:custGeom>
              <a:avLst/>
              <a:gdLst>
                <a:gd name="T0" fmla="*/ 975 w 975"/>
                <a:gd name="T1" fmla="*/ 21 h 105"/>
                <a:gd name="T2" fmla="*/ 513 w 975"/>
                <a:gd name="T3" fmla="*/ 105 h 105"/>
                <a:gd name="T4" fmla="*/ 0 w 975"/>
                <a:gd name="T5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75" h="105">
                  <a:moveTo>
                    <a:pt x="975" y="21"/>
                  </a:moveTo>
                  <a:cubicBezTo>
                    <a:pt x="831" y="76"/>
                    <a:pt x="676" y="105"/>
                    <a:pt x="513" y="105"/>
                  </a:cubicBezTo>
                  <a:cubicBezTo>
                    <a:pt x="331" y="105"/>
                    <a:pt x="157" y="68"/>
                    <a:pt x="0" y="0"/>
                  </a:cubicBezTo>
                </a:path>
              </a:pathLst>
            </a:custGeom>
            <a:noFill/>
            <a:ln w="12700" cap="flat">
              <a:solidFill>
                <a:schemeClr val="tx1">
                  <a:lumMod val="65000"/>
                  <a:lumOff val="35000"/>
                </a:schemeClr>
              </a:solidFill>
              <a:prstDash val="solid"/>
              <a:miter lim="800000"/>
              <a:headEnd/>
              <a:tailEnd type="oval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0" name="Freeform 88"/>
            <p:cNvSpPr>
              <a:spLocks/>
            </p:cNvSpPr>
            <p:nvPr/>
          </p:nvSpPr>
          <p:spPr bwMode="auto">
            <a:xfrm>
              <a:off x="5925906" y="4342131"/>
              <a:ext cx="468070" cy="1321860"/>
            </a:xfrm>
            <a:custGeom>
              <a:avLst/>
              <a:gdLst>
                <a:gd name="T0" fmla="*/ 326 w 327"/>
                <a:gd name="T1" fmla="*/ 0 h 923"/>
                <a:gd name="T2" fmla="*/ 327 w 327"/>
                <a:gd name="T3" fmla="*/ 59 h 923"/>
                <a:gd name="T4" fmla="*/ 0 w 327"/>
                <a:gd name="T5" fmla="*/ 923 h 9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27" h="923">
                  <a:moveTo>
                    <a:pt x="326" y="0"/>
                  </a:moveTo>
                  <a:cubicBezTo>
                    <a:pt x="327" y="19"/>
                    <a:pt x="327" y="39"/>
                    <a:pt x="327" y="59"/>
                  </a:cubicBezTo>
                  <a:cubicBezTo>
                    <a:pt x="327" y="390"/>
                    <a:pt x="204" y="693"/>
                    <a:pt x="0" y="923"/>
                  </a:cubicBezTo>
                </a:path>
              </a:pathLst>
            </a:custGeom>
            <a:noFill/>
            <a:ln w="12700" cap="flat">
              <a:solidFill>
                <a:schemeClr val="tx1">
                  <a:lumMod val="65000"/>
                  <a:lumOff val="35000"/>
                </a:schemeClr>
              </a:solidFill>
              <a:prstDash val="solid"/>
              <a:miter lim="800000"/>
              <a:headEnd/>
              <a:tailEnd type="oval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1" name="Freeform 89"/>
            <p:cNvSpPr>
              <a:spLocks/>
            </p:cNvSpPr>
            <p:nvPr/>
          </p:nvSpPr>
          <p:spPr bwMode="auto">
            <a:xfrm>
              <a:off x="5010958" y="2620624"/>
              <a:ext cx="1129908" cy="864689"/>
            </a:xfrm>
            <a:custGeom>
              <a:avLst/>
              <a:gdLst>
                <a:gd name="T0" fmla="*/ 0 w 789"/>
                <a:gd name="T1" fmla="*/ 0 h 604"/>
                <a:gd name="T2" fmla="*/ 789 w 789"/>
                <a:gd name="T3" fmla="*/ 604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89" h="604">
                  <a:moveTo>
                    <a:pt x="0" y="0"/>
                  </a:moveTo>
                  <a:cubicBezTo>
                    <a:pt x="335" y="90"/>
                    <a:pt x="618" y="311"/>
                    <a:pt x="789" y="604"/>
                  </a:cubicBezTo>
                </a:path>
              </a:pathLst>
            </a:custGeom>
            <a:noFill/>
            <a:ln w="12700" cap="flat">
              <a:solidFill>
                <a:schemeClr val="tx1">
                  <a:lumMod val="65000"/>
                  <a:lumOff val="35000"/>
                </a:schemeClr>
              </a:solidFill>
              <a:prstDash val="solid"/>
              <a:miter lim="800000"/>
              <a:headEnd/>
              <a:tailEnd type="oval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2" name="Freeform 90"/>
            <p:cNvSpPr>
              <a:spLocks/>
            </p:cNvSpPr>
            <p:nvPr/>
          </p:nvSpPr>
          <p:spPr bwMode="auto">
            <a:xfrm>
              <a:off x="2957020" y="2600643"/>
              <a:ext cx="1161395" cy="804742"/>
            </a:xfrm>
            <a:custGeom>
              <a:avLst/>
              <a:gdLst>
                <a:gd name="T0" fmla="*/ 0 w 811"/>
                <a:gd name="T1" fmla="*/ 562 h 562"/>
                <a:gd name="T2" fmla="*/ 811 w 811"/>
                <a:gd name="T3" fmla="*/ 0 h 5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811" h="562">
                  <a:moveTo>
                    <a:pt x="0" y="562"/>
                  </a:moveTo>
                  <a:cubicBezTo>
                    <a:pt x="184" y="281"/>
                    <a:pt x="473" y="75"/>
                    <a:pt x="811" y="0"/>
                  </a:cubicBezTo>
                </a:path>
              </a:pathLst>
            </a:custGeom>
            <a:noFill/>
            <a:ln w="12700" cap="flat">
              <a:solidFill>
                <a:schemeClr val="tx1">
                  <a:lumMod val="65000"/>
                  <a:lumOff val="35000"/>
                </a:schemeClr>
              </a:solidFill>
              <a:prstDash val="solid"/>
              <a:miter lim="800000"/>
              <a:headEnd/>
              <a:tailEnd type="oval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143" name="Group 142"/>
            <p:cNvGrpSpPr/>
            <p:nvPr/>
          </p:nvGrpSpPr>
          <p:grpSpPr>
            <a:xfrm>
              <a:off x="4291268" y="2218523"/>
              <a:ext cx="539768" cy="539768"/>
              <a:chOff x="2439588" y="2833628"/>
              <a:chExt cx="405535" cy="405535"/>
            </a:xfrm>
          </p:grpSpPr>
          <p:sp>
            <p:nvSpPr>
              <p:cNvPr id="223" name="Oval 222"/>
              <p:cNvSpPr/>
              <p:nvPr/>
            </p:nvSpPr>
            <p:spPr>
              <a:xfrm>
                <a:off x="2439588" y="2833628"/>
                <a:ext cx="405535" cy="405535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38100" dist="25400" dir="5400000" algn="t" rotWithShape="0">
                  <a:prstClr val="black">
                    <a:alpha val="3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24" name="Oval 223"/>
              <p:cNvSpPr/>
              <p:nvPr/>
            </p:nvSpPr>
            <p:spPr>
              <a:xfrm>
                <a:off x="2474779" y="2868819"/>
                <a:ext cx="335153" cy="335153"/>
              </a:xfrm>
              <a:prstGeom prst="ellipse">
                <a:avLst/>
              </a:prstGeom>
              <a:solidFill>
                <a:srgbClr val="3B3939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144" name="Group 143"/>
            <p:cNvGrpSpPr/>
            <p:nvPr/>
          </p:nvGrpSpPr>
          <p:grpSpPr>
            <a:xfrm>
              <a:off x="6028023" y="3635988"/>
              <a:ext cx="539768" cy="539768"/>
              <a:chOff x="2439588" y="2833628"/>
              <a:chExt cx="405535" cy="405535"/>
            </a:xfrm>
          </p:grpSpPr>
          <p:sp>
            <p:nvSpPr>
              <p:cNvPr id="221" name="Oval 220"/>
              <p:cNvSpPr/>
              <p:nvPr/>
            </p:nvSpPr>
            <p:spPr>
              <a:xfrm>
                <a:off x="2439588" y="2833628"/>
                <a:ext cx="405535" cy="405535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38100" dist="25400" dir="5400000" algn="t" rotWithShape="0">
                  <a:prstClr val="black">
                    <a:alpha val="3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22" name="Oval 221"/>
              <p:cNvSpPr/>
              <p:nvPr/>
            </p:nvSpPr>
            <p:spPr>
              <a:xfrm>
                <a:off x="2474779" y="2868819"/>
                <a:ext cx="335153" cy="335153"/>
              </a:xfrm>
              <a:prstGeom prst="ellipse">
                <a:avLst/>
              </a:prstGeom>
              <a:solidFill>
                <a:srgbClr val="E2583D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145" name="Group 144"/>
            <p:cNvGrpSpPr/>
            <p:nvPr/>
          </p:nvGrpSpPr>
          <p:grpSpPr>
            <a:xfrm>
              <a:off x="3099542" y="5643044"/>
              <a:ext cx="539768" cy="539768"/>
              <a:chOff x="2439588" y="2833628"/>
              <a:chExt cx="405535" cy="405535"/>
            </a:xfrm>
          </p:grpSpPr>
          <p:sp>
            <p:nvSpPr>
              <p:cNvPr id="219" name="Oval 218"/>
              <p:cNvSpPr/>
              <p:nvPr/>
            </p:nvSpPr>
            <p:spPr>
              <a:xfrm>
                <a:off x="2439588" y="2833628"/>
                <a:ext cx="405535" cy="405535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38100" dist="25400" dir="5400000" algn="t" rotWithShape="0">
                  <a:prstClr val="black">
                    <a:alpha val="3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20" name="Oval 219"/>
              <p:cNvSpPr/>
              <p:nvPr/>
            </p:nvSpPr>
            <p:spPr>
              <a:xfrm>
                <a:off x="2474779" y="2868819"/>
                <a:ext cx="335153" cy="335153"/>
              </a:xfrm>
              <a:prstGeom prst="ellipse">
                <a:avLst/>
              </a:prstGeom>
              <a:solidFill>
                <a:srgbClr val="E2583D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146" name="Group 145"/>
            <p:cNvGrpSpPr/>
            <p:nvPr/>
          </p:nvGrpSpPr>
          <p:grpSpPr>
            <a:xfrm>
              <a:off x="5298905" y="5773807"/>
              <a:ext cx="539768" cy="539768"/>
              <a:chOff x="2439588" y="2833628"/>
              <a:chExt cx="405535" cy="405535"/>
            </a:xfrm>
          </p:grpSpPr>
          <p:sp>
            <p:nvSpPr>
              <p:cNvPr id="217" name="Oval 216"/>
              <p:cNvSpPr/>
              <p:nvPr/>
            </p:nvSpPr>
            <p:spPr>
              <a:xfrm>
                <a:off x="2439588" y="2833628"/>
                <a:ext cx="405535" cy="405535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38100" dist="25400" dir="5400000" algn="t" rotWithShape="0">
                  <a:prstClr val="black">
                    <a:alpha val="3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18" name="Oval 217"/>
              <p:cNvSpPr/>
              <p:nvPr/>
            </p:nvSpPr>
            <p:spPr>
              <a:xfrm>
                <a:off x="2474779" y="2868819"/>
                <a:ext cx="335153" cy="335153"/>
              </a:xfrm>
              <a:prstGeom prst="ellipse">
                <a:avLst/>
              </a:prstGeom>
              <a:solidFill>
                <a:srgbClr val="78D2D2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147" name="Group 146"/>
            <p:cNvGrpSpPr/>
            <p:nvPr/>
          </p:nvGrpSpPr>
          <p:grpSpPr>
            <a:xfrm>
              <a:off x="3540827" y="1603158"/>
              <a:ext cx="2040650" cy="627923"/>
              <a:chOff x="3680594" y="1211495"/>
              <a:chExt cx="2040650" cy="627923"/>
            </a:xfrm>
          </p:grpSpPr>
          <p:sp>
            <p:nvSpPr>
              <p:cNvPr id="215" name="TextBox 214"/>
              <p:cNvSpPr txBox="1"/>
              <p:nvPr/>
            </p:nvSpPr>
            <p:spPr>
              <a:xfrm>
                <a:off x="3680594" y="1211495"/>
                <a:ext cx="2040650" cy="153888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ea typeface="+mn-ea"/>
                    <a:cs typeface="+mn-cs"/>
                  </a:rPr>
                  <a:t>PREPARE FOR RE ENGINEERING</a:t>
                </a:r>
              </a:p>
            </p:txBody>
          </p:sp>
          <p:sp>
            <p:nvSpPr>
              <p:cNvPr id="216" name="TextBox 215"/>
              <p:cNvSpPr txBox="1"/>
              <p:nvPr/>
            </p:nvSpPr>
            <p:spPr>
              <a:xfrm>
                <a:off x="3779557" y="1377753"/>
                <a:ext cx="1842724" cy="461665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ea typeface="+mn-ea"/>
                    <a:cs typeface="+mn-cs"/>
                  </a:rPr>
                  <a:t>Lorem </a:t>
                </a:r>
                <a:r>
                  <a:rPr kumimoji="0" lang="en-US" sz="1000" b="0" i="0" u="none" strike="noStrike" kern="1200" cap="none" spc="0" normalizeH="0" baseline="0" noProof="0" dirty="0" err="1">
                    <a:ln>
                      <a:noFill/>
                    </a:ln>
                    <a:effectLst/>
                    <a:uLnTx/>
                    <a:uFillTx/>
                    <a:ea typeface="+mn-ea"/>
                    <a:cs typeface="+mn-cs"/>
                  </a:rPr>
                  <a:t>Ipsum</a:t>
                </a: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ea typeface="+mn-ea"/>
                    <a:cs typeface="+mn-cs"/>
                  </a:rPr>
                  <a:t> is simply dummy text of the printing and typesetting industry</a:t>
                </a:r>
              </a:p>
            </p:txBody>
          </p:sp>
        </p:grpSp>
        <p:grpSp>
          <p:nvGrpSpPr>
            <p:cNvPr id="148" name="Group 147"/>
            <p:cNvGrpSpPr/>
            <p:nvPr/>
          </p:nvGrpSpPr>
          <p:grpSpPr>
            <a:xfrm>
              <a:off x="744632" y="3519970"/>
              <a:ext cx="1643274" cy="635543"/>
              <a:chOff x="921999" y="2968954"/>
              <a:chExt cx="1643274" cy="635543"/>
            </a:xfrm>
          </p:grpSpPr>
          <p:sp>
            <p:nvSpPr>
              <p:cNvPr id="213" name="TextBox 212"/>
              <p:cNvSpPr txBox="1"/>
              <p:nvPr/>
            </p:nvSpPr>
            <p:spPr>
              <a:xfrm>
                <a:off x="1627441" y="2968954"/>
                <a:ext cx="937832" cy="153888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ea typeface="+mn-ea"/>
                    <a:cs typeface="+mn-cs"/>
                  </a:rPr>
                  <a:t>MONITORING</a:t>
                </a:r>
              </a:p>
            </p:txBody>
          </p:sp>
          <p:sp>
            <p:nvSpPr>
              <p:cNvPr id="214" name="TextBox 213"/>
              <p:cNvSpPr txBox="1"/>
              <p:nvPr/>
            </p:nvSpPr>
            <p:spPr>
              <a:xfrm>
                <a:off x="921999" y="3142832"/>
                <a:ext cx="1643274" cy="461665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ea typeface="+mn-ea"/>
                    <a:cs typeface="+mn-cs"/>
                  </a:rPr>
                  <a:t>Lorem </a:t>
                </a:r>
                <a:r>
                  <a:rPr kumimoji="0" lang="en-US" sz="1000" b="0" i="0" u="none" strike="noStrike" kern="1200" cap="none" spc="0" normalizeH="0" baseline="0" noProof="0" dirty="0" err="1">
                    <a:ln>
                      <a:noFill/>
                    </a:ln>
                    <a:effectLst/>
                    <a:uLnTx/>
                    <a:uFillTx/>
                    <a:ea typeface="+mn-ea"/>
                    <a:cs typeface="+mn-cs"/>
                  </a:rPr>
                  <a:t>Ipsum</a:t>
                </a: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ea typeface="+mn-ea"/>
                    <a:cs typeface="+mn-cs"/>
                  </a:rPr>
                  <a:t> is simply dummy text of the printing and typesetting industry</a:t>
                </a:r>
              </a:p>
            </p:txBody>
          </p:sp>
        </p:grpSp>
        <p:grpSp>
          <p:nvGrpSpPr>
            <p:cNvPr id="149" name="Group 148"/>
            <p:cNvGrpSpPr/>
            <p:nvPr/>
          </p:nvGrpSpPr>
          <p:grpSpPr>
            <a:xfrm>
              <a:off x="1011843" y="5672101"/>
              <a:ext cx="1996197" cy="635543"/>
              <a:chOff x="569076" y="2968954"/>
              <a:chExt cx="1996197" cy="635543"/>
            </a:xfrm>
          </p:grpSpPr>
          <p:sp>
            <p:nvSpPr>
              <p:cNvPr id="180" name="TextBox 179"/>
              <p:cNvSpPr txBox="1"/>
              <p:nvPr/>
            </p:nvSpPr>
            <p:spPr>
              <a:xfrm>
                <a:off x="569076" y="2968954"/>
                <a:ext cx="1996197" cy="153888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ea typeface="+mn-ea"/>
                    <a:cs typeface="+mn-cs"/>
                  </a:rPr>
                  <a:t>IMPLEMENT RE ENGINEERING</a:t>
                </a:r>
              </a:p>
            </p:txBody>
          </p:sp>
          <p:sp>
            <p:nvSpPr>
              <p:cNvPr id="181" name="TextBox 180"/>
              <p:cNvSpPr txBox="1"/>
              <p:nvPr/>
            </p:nvSpPr>
            <p:spPr>
              <a:xfrm>
                <a:off x="916066" y="3142832"/>
                <a:ext cx="1649207" cy="461665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ea typeface="+mn-ea"/>
                    <a:cs typeface="+mn-cs"/>
                  </a:rPr>
                  <a:t>Lorem </a:t>
                </a:r>
                <a:r>
                  <a:rPr kumimoji="0" lang="en-US" sz="1000" b="0" i="0" u="none" strike="noStrike" kern="1200" cap="none" spc="0" normalizeH="0" baseline="0" noProof="0" dirty="0" err="1">
                    <a:ln>
                      <a:noFill/>
                    </a:ln>
                    <a:effectLst/>
                    <a:uLnTx/>
                    <a:uFillTx/>
                    <a:ea typeface="+mn-ea"/>
                    <a:cs typeface="+mn-cs"/>
                  </a:rPr>
                  <a:t>Ipsum</a:t>
                </a: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ea typeface="+mn-ea"/>
                    <a:cs typeface="+mn-cs"/>
                  </a:rPr>
                  <a:t> is simply dummy text of the printing and typesetting industry</a:t>
                </a:r>
              </a:p>
            </p:txBody>
          </p:sp>
        </p:grpSp>
        <p:grpSp>
          <p:nvGrpSpPr>
            <p:cNvPr id="150" name="Group 149"/>
            <p:cNvGrpSpPr/>
            <p:nvPr/>
          </p:nvGrpSpPr>
          <p:grpSpPr>
            <a:xfrm>
              <a:off x="6671119" y="3665045"/>
              <a:ext cx="1728249" cy="635543"/>
              <a:chOff x="6811521" y="2995238"/>
              <a:chExt cx="1728249" cy="635543"/>
            </a:xfrm>
          </p:grpSpPr>
          <p:sp>
            <p:nvSpPr>
              <p:cNvPr id="178" name="TextBox 177"/>
              <p:cNvSpPr txBox="1"/>
              <p:nvPr/>
            </p:nvSpPr>
            <p:spPr>
              <a:xfrm>
                <a:off x="6811522" y="2995238"/>
                <a:ext cx="1413700" cy="153888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ea typeface="+mn-ea"/>
                    <a:cs typeface="+mn-cs"/>
                  </a:rPr>
                  <a:t>ANALYZE</a:t>
                </a:r>
              </a:p>
            </p:txBody>
          </p:sp>
          <p:sp>
            <p:nvSpPr>
              <p:cNvPr id="179" name="TextBox 178"/>
              <p:cNvSpPr txBox="1"/>
              <p:nvPr/>
            </p:nvSpPr>
            <p:spPr>
              <a:xfrm>
                <a:off x="6811521" y="3169116"/>
                <a:ext cx="1728249" cy="461665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ea typeface="+mn-ea"/>
                    <a:cs typeface="+mn-cs"/>
                  </a:rPr>
                  <a:t>Lorem </a:t>
                </a:r>
                <a:r>
                  <a:rPr kumimoji="0" lang="en-US" sz="1000" b="0" i="0" u="none" strike="noStrike" kern="1200" cap="none" spc="0" normalizeH="0" baseline="0" noProof="0" dirty="0" err="1">
                    <a:ln>
                      <a:noFill/>
                    </a:ln>
                    <a:effectLst/>
                    <a:uLnTx/>
                    <a:uFillTx/>
                    <a:ea typeface="+mn-ea"/>
                    <a:cs typeface="+mn-cs"/>
                  </a:rPr>
                  <a:t>Ipsum</a:t>
                </a: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ea typeface="+mn-ea"/>
                    <a:cs typeface="+mn-cs"/>
                  </a:rPr>
                  <a:t> is simply dummy text of the printing and typesetting industry</a:t>
                </a:r>
              </a:p>
            </p:txBody>
          </p:sp>
        </p:grpSp>
        <p:grpSp>
          <p:nvGrpSpPr>
            <p:cNvPr id="151" name="Group 150"/>
            <p:cNvGrpSpPr/>
            <p:nvPr/>
          </p:nvGrpSpPr>
          <p:grpSpPr>
            <a:xfrm>
              <a:off x="5949124" y="5802864"/>
              <a:ext cx="1659828" cy="635543"/>
              <a:chOff x="6811522" y="2995238"/>
              <a:chExt cx="1659828" cy="635543"/>
            </a:xfrm>
          </p:grpSpPr>
          <p:sp>
            <p:nvSpPr>
              <p:cNvPr id="176" name="TextBox 175"/>
              <p:cNvSpPr txBox="1"/>
              <p:nvPr/>
            </p:nvSpPr>
            <p:spPr>
              <a:xfrm>
                <a:off x="6811522" y="2995238"/>
                <a:ext cx="937832" cy="153888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ea typeface="+mn-ea"/>
                    <a:cs typeface="+mn-cs"/>
                  </a:rPr>
                  <a:t>DESIGN To-Be</a:t>
                </a:r>
              </a:p>
            </p:txBody>
          </p:sp>
          <p:sp>
            <p:nvSpPr>
              <p:cNvPr id="177" name="TextBox 176"/>
              <p:cNvSpPr txBox="1"/>
              <p:nvPr/>
            </p:nvSpPr>
            <p:spPr>
              <a:xfrm>
                <a:off x="6811522" y="3169116"/>
                <a:ext cx="1659828" cy="461665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ea typeface="+mn-ea"/>
                    <a:cs typeface="+mn-cs"/>
                  </a:rPr>
                  <a:t>Lorem </a:t>
                </a:r>
                <a:r>
                  <a:rPr kumimoji="0" lang="en-US" sz="1000" b="0" i="0" u="none" strike="noStrike" kern="1200" cap="none" spc="0" normalizeH="0" baseline="0" noProof="0" dirty="0" err="1">
                    <a:ln>
                      <a:noFill/>
                    </a:ln>
                    <a:effectLst/>
                    <a:uLnTx/>
                    <a:uFillTx/>
                    <a:ea typeface="+mn-ea"/>
                    <a:cs typeface="+mn-cs"/>
                  </a:rPr>
                  <a:t>Ipsum</a:t>
                </a: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ea typeface="+mn-ea"/>
                    <a:cs typeface="+mn-cs"/>
                  </a:rPr>
                  <a:t> is simply dummy text of the printing and typesetting industry</a:t>
                </a:r>
              </a:p>
            </p:txBody>
          </p:sp>
        </p:grpSp>
        <p:grpSp>
          <p:nvGrpSpPr>
            <p:cNvPr id="152" name="Group 151"/>
            <p:cNvGrpSpPr>
              <a:grpSpLocks noChangeAspect="1"/>
            </p:cNvGrpSpPr>
            <p:nvPr/>
          </p:nvGrpSpPr>
          <p:grpSpPr>
            <a:xfrm>
              <a:off x="4429752" y="2357007"/>
              <a:ext cx="262801" cy="262800"/>
              <a:chOff x="6445250" y="1803400"/>
              <a:chExt cx="371476" cy="371475"/>
            </a:xfrm>
            <a:solidFill>
              <a:schemeClr val="bg1"/>
            </a:solidFill>
          </p:grpSpPr>
          <p:sp>
            <p:nvSpPr>
              <p:cNvPr id="172" name="Freeform 94"/>
              <p:cNvSpPr>
                <a:spLocks noEditPoints="1"/>
              </p:cNvSpPr>
              <p:nvPr/>
            </p:nvSpPr>
            <p:spPr bwMode="auto">
              <a:xfrm>
                <a:off x="6523038" y="1989138"/>
                <a:ext cx="107950" cy="107950"/>
              </a:xfrm>
              <a:custGeom>
                <a:avLst/>
                <a:gdLst>
                  <a:gd name="T0" fmla="*/ 14 w 28"/>
                  <a:gd name="T1" fmla="*/ 28 h 28"/>
                  <a:gd name="T2" fmla="*/ 0 w 28"/>
                  <a:gd name="T3" fmla="*/ 14 h 28"/>
                  <a:gd name="T4" fmla="*/ 14 w 28"/>
                  <a:gd name="T5" fmla="*/ 0 h 28"/>
                  <a:gd name="T6" fmla="*/ 28 w 28"/>
                  <a:gd name="T7" fmla="*/ 14 h 28"/>
                  <a:gd name="T8" fmla="*/ 14 w 28"/>
                  <a:gd name="T9" fmla="*/ 28 h 28"/>
                  <a:gd name="T10" fmla="*/ 14 w 28"/>
                  <a:gd name="T11" fmla="*/ 4 h 28"/>
                  <a:gd name="T12" fmla="*/ 4 w 28"/>
                  <a:gd name="T13" fmla="*/ 14 h 28"/>
                  <a:gd name="T14" fmla="*/ 14 w 28"/>
                  <a:gd name="T15" fmla="*/ 24 h 28"/>
                  <a:gd name="T16" fmla="*/ 24 w 28"/>
                  <a:gd name="T17" fmla="*/ 14 h 28"/>
                  <a:gd name="T18" fmla="*/ 14 w 28"/>
                  <a:gd name="T19" fmla="*/ 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" h="28">
                    <a:moveTo>
                      <a:pt x="14" y="28"/>
                    </a:moveTo>
                    <a:cubicBezTo>
                      <a:pt x="6" y="28"/>
                      <a:pt x="0" y="22"/>
                      <a:pt x="0" y="14"/>
                    </a:cubicBezTo>
                    <a:cubicBezTo>
                      <a:pt x="0" y="6"/>
                      <a:pt x="6" y="0"/>
                      <a:pt x="14" y="0"/>
                    </a:cubicBezTo>
                    <a:cubicBezTo>
                      <a:pt x="22" y="0"/>
                      <a:pt x="28" y="6"/>
                      <a:pt x="28" y="14"/>
                    </a:cubicBezTo>
                    <a:cubicBezTo>
                      <a:pt x="28" y="22"/>
                      <a:pt x="22" y="28"/>
                      <a:pt x="14" y="28"/>
                    </a:cubicBezTo>
                    <a:close/>
                    <a:moveTo>
                      <a:pt x="14" y="4"/>
                    </a:moveTo>
                    <a:cubicBezTo>
                      <a:pt x="8" y="4"/>
                      <a:pt x="4" y="8"/>
                      <a:pt x="4" y="14"/>
                    </a:cubicBezTo>
                    <a:cubicBezTo>
                      <a:pt x="4" y="20"/>
                      <a:pt x="8" y="24"/>
                      <a:pt x="14" y="24"/>
                    </a:cubicBezTo>
                    <a:cubicBezTo>
                      <a:pt x="20" y="24"/>
                      <a:pt x="24" y="20"/>
                      <a:pt x="24" y="14"/>
                    </a:cubicBezTo>
                    <a:cubicBezTo>
                      <a:pt x="24" y="8"/>
                      <a:pt x="20" y="4"/>
                      <a:pt x="14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73" name="Freeform 95"/>
              <p:cNvSpPr>
                <a:spLocks noEditPoints="1"/>
              </p:cNvSpPr>
              <p:nvPr/>
            </p:nvSpPr>
            <p:spPr bwMode="auto">
              <a:xfrm>
                <a:off x="6445250" y="1911350"/>
                <a:ext cx="263525" cy="263525"/>
              </a:xfrm>
              <a:custGeom>
                <a:avLst/>
                <a:gdLst>
                  <a:gd name="T0" fmla="*/ 26 w 68"/>
                  <a:gd name="T1" fmla="*/ 68 h 68"/>
                  <a:gd name="T2" fmla="*/ 24 w 68"/>
                  <a:gd name="T3" fmla="*/ 60 h 68"/>
                  <a:gd name="T4" fmla="*/ 11 w 68"/>
                  <a:gd name="T5" fmla="*/ 59 h 68"/>
                  <a:gd name="T6" fmla="*/ 1 w 68"/>
                  <a:gd name="T7" fmla="*/ 44 h 68"/>
                  <a:gd name="T8" fmla="*/ 1 w 68"/>
                  <a:gd name="T9" fmla="*/ 41 h 68"/>
                  <a:gd name="T10" fmla="*/ 6 w 68"/>
                  <a:gd name="T11" fmla="*/ 30 h 68"/>
                  <a:gd name="T12" fmla="*/ 1 w 68"/>
                  <a:gd name="T13" fmla="*/ 24 h 68"/>
                  <a:gd name="T14" fmla="*/ 10 w 68"/>
                  <a:gd name="T15" fmla="*/ 9 h 68"/>
                  <a:gd name="T16" fmla="*/ 16 w 68"/>
                  <a:gd name="T17" fmla="*/ 12 h 68"/>
                  <a:gd name="T18" fmla="*/ 24 w 68"/>
                  <a:gd name="T19" fmla="*/ 2 h 68"/>
                  <a:gd name="T20" fmla="*/ 42 w 68"/>
                  <a:gd name="T21" fmla="*/ 0 h 68"/>
                  <a:gd name="T22" fmla="*/ 44 w 68"/>
                  <a:gd name="T23" fmla="*/ 8 h 68"/>
                  <a:gd name="T24" fmla="*/ 57 w 68"/>
                  <a:gd name="T25" fmla="*/ 9 h 68"/>
                  <a:gd name="T26" fmla="*/ 67 w 68"/>
                  <a:gd name="T27" fmla="*/ 24 h 68"/>
                  <a:gd name="T28" fmla="*/ 62 w 68"/>
                  <a:gd name="T29" fmla="*/ 30 h 68"/>
                  <a:gd name="T30" fmla="*/ 67 w 68"/>
                  <a:gd name="T31" fmla="*/ 41 h 68"/>
                  <a:gd name="T32" fmla="*/ 67 w 68"/>
                  <a:gd name="T33" fmla="*/ 44 h 68"/>
                  <a:gd name="T34" fmla="*/ 58 w 68"/>
                  <a:gd name="T35" fmla="*/ 59 h 68"/>
                  <a:gd name="T36" fmla="*/ 52 w 68"/>
                  <a:gd name="T37" fmla="*/ 56 h 68"/>
                  <a:gd name="T38" fmla="*/ 44 w 68"/>
                  <a:gd name="T39" fmla="*/ 66 h 68"/>
                  <a:gd name="T40" fmla="*/ 28 w 68"/>
                  <a:gd name="T41" fmla="*/ 64 h 68"/>
                  <a:gd name="T42" fmla="*/ 40 w 68"/>
                  <a:gd name="T43" fmla="*/ 59 h 68"/>
                  <a:gd name="T44" fmla="*/ 50 w 68"/>
                  <a:gd name="T45" fmla="*/ 52 h 68"/>
                  <a:gd name="T46" fmla="*/ 57 w 68"/>
                  <a:gd name="T47" fmla="*/ 54 h 68"/>
                  <a:gd name="T48" fmla="*/ 58 w 68"/>
                  <a:gd name="T49" fmla="*/ 41 h 68"/>
                  <a:gd name="T50" fmla="*/ 57 w 68"/>
                  <a:gd name="T51" fmla="*/ 29 h 68"/>
                  <a:gd name="T52" fmla="*/ 63 w 68"/>
                  <a:gd name="T53" fmla="*/ 24 h 68"/>
                  <a:gd name="T54" fmla="*/ 52 w 68"/>
                  <a:gd name="T55" fmla="*/ 16 h 68"/>
                  <a:gd name="T56" fmla="*/ 41 w 68"/>
                  <a:gd name="T57" fmla="*/ 11 h 68"/>
                  <a:gd name="T58" fmla="*/ 40 w 68"/>
                  <a:gd name="T59" fmla="*/ 4 h 68"/>
                  <a:gd name="T60" fmla="*/ 28 w 68"/>
                  <a:gd name="T61" fmla="*/ 9 h 68"/>
                  <a:gd name="T62" fmla="*/ 18 w 68"/>
                  <a:gd name="T63" fmla="*/ 16 h 68"/>
                  <a:gd name="T64" fmla="*/ 11 w 68"/>
                  <a:gd name="T65" fmla="*/ 14 h 68"/>
                  <a:gd name="T66" fmla="*/ 10 w 68"/>
                  <a:gd name="T67" fmla="*/ 27 h 68"/>
                  <a:gd name="T68" fmla="*/ 11 w 68"/>
                  <a:gd name="T69" fmla="*/ 39 h 68"/>
                  <a:gd name="T70" fmla="*/ 5 w 68"/>
                  <a:gd name="T71" fmla="*/ 44 h 68"/>
                  <a:gd name="T72" fmla="*/ 16 w 68"/>
                  <a:gd name="T73" fmla="*/ 52 h 68"/>
                  <a:gd name="T74" fmla="*/ 27 w 68"/>
                  <a:gd name="T75" fmla="*/ 57 h 68"/>
                  <a:gd name="T76" fmla="*/ 28 w 68"/>
                  <a:gd name="T77" fmla="*/ 64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68" h="68">
                    <a:moveTo>
                      <a:pt x="42" y="68"/>
                    </a:moveTo>
                    <a:cubicBezTo>
                      <a:pt x="26" y="68"/>
                      <a:pt x="26" y="68"/>
                      <a:pt x="26" y="68"/>
                    </a:cubicBezTo>
                    <a:cubicBezTo>
                      <a:pt x="25" y="68"/>
                      <a:pt x="24" y="67"/>
                      <a:pt x="24" y="66"/>
                    </a:cubicBezTo>
                    <a:cubicBezTo>
                      <a:pt x="24" y="60"/>
                      <a:pt x="24" y="60"/>
                      <a:pt x="24" y="60"/>
                    </a:cubicBezTo>
                    <a:cubicBezTo>
                      <a:pt x="21" y="59"/>
                      <a:pt x="19" y="58"/>
                      <a:pt x="16" y="56"/>
                    </a:cubicBezTo>
                    <a:cubicBezTo>
                      <a:pt x="11" y="59"/>
                      <a:pt x="11" y="59"/>
                      <a:pt x="11" y="59"/>
                    </a:cubicBezTo>
                    <a:cubicBezTo>
                      <a:pt x="10" y="59"/>
                      <a:pt x="9" y="59"/>
                      <a:pt x="9" y="58"/>
                    </a:cubicBezTo>
                    <a:cubicBezTo>
                      <a:pt x="1" y="44"/>
                      <a:pt x="1" y="44"/>
                      <a:pt x="1" y="44"/>
                    </a:cubicBezTo>
                    <a:cubicBezTo>
                      <a:pt x="0" y="44"/>
                      <a:pt x="0" y="43"/>
                      <a:pt x="0" y="43"/>
                    </a:cubicBezTo>
                    <a:cubicBezTo>
                      <a:pt x="0" y="42"/>
                      <a:pt x="1" y="42"/>
                      <a:pt x="1" y="41"/>
                    </a:cubicBezTo>
                    <a:cubicBezTo>
                      <a:pt x="6" y="38"/>
                      <a:pt x="6" y="38"/>
                      <a:pt x="6" y="38"/>
                    </a:cubicBezTo>
                    <a:cubicBezTo>
                      <a:pt x="6" y="35"/>
                      <a:pt x="6" y="33"/>
                      <a:pt x="6" y="30"/>
                    </a:cubicBezTo>
                    <a:cubicBezTo>
                      <a:pt x="1" y="27"/>
                      <a:pt x="1" y="27"/>
                      <a:pt x="1" y="27"/>
                    </a:cubicBezTo>
                    <a:cubicBezTo>
                      <a:pt x="0" y="26"/>
                      <a:pt x="0" y="25"/>
                      <a:pt x="1" y="24"/>
                    </a:cubicBezTo>
                    <a:cubicBezTo>
                      <a:pt x="9" y="10"/>
                      <a:pt x="9" y="10"/>
                      <a:pt x="9" y="10"/>
                    </a:cubicBezTo>
                    <a:cubicBezTo>
                      <a:pt x="9" y="10"/>
                      <a:pt x="9" y="9"/>
                      <a:pt x="10" y="9"/>
                    </a:cubicBezTo>
                    <a:cubicBezTo>
                      <a:pt x="10" y="9"/>
                      <a:pt x="11" y="9"/>
                      <a:pt x="11" y="9"/>
                    </a:cubicBezTo>
                    <a:cubicBezTo>
                      <a:pt x="16" y="12"/>
                      <a:pt x="16" y="12"/>
                      <a:pt x="16" y="12"/>
                    </a:cubicBezTo>
                    <a:cubicBezTo>
                      <a:pt x="19" y="10"/>
                      <a:pt x="21" y="9"/>
                      <a:pt x="24" y="8"/>
                    </a:cubicBezTo>
                    <a:cubicBezTo>
                      <a:pt x="24" y="2"/>
                      <a:pt x="24" y="2"/>
                      <a:pt x="24" y="2"/>
                    </a:cubicBezTo>
                    <a:cubicBezTo>
                      <a:pt x="24" y="1"/>
                      <a:pt x="25" y="0"/>
                      <a:pt x="26" y="0"/>
                    </a:cubicBezTo>
                    <a:cubicBezTo>
                      <a:pt x="42" y="0"/>
                      <a:pt x="42" y="0"/>
                      <a:pt x="42" y="0"/>
                    </a:cubicBezTo>
                    <a:cubicBezTo>
                      <a:pt x="43" y="0"/>
                      <a:pt x="44" y="1"/>
                      <a:pt x="44" y="2"/>
                    </a:cubicBezTo>
                    <a:cubicBezTo>
                      <a:pt x="44" y="8"/>
                      <a:pt x="44" y="8"/>
                      <a:pt x="44" y="8"/>
                    </a:cubicBezTo>
                    <a:cubicBezTo>
                      <a:pt x="47" y="9"/>
                      <a:pt x="49" y="10"/>
                      <a:pt x="52" y="12"/>
                    </a:cubicBezTo>
                    <a:cubicBezTo>
                      <a:pt x="57" y="9"/>
                      <a:pt x="57" y="9"/>
                      <a:pt x="57" y="9"/>
                    </a:cubicBezTo>
                    <a:cubicBezTo>
                      <a:pt x="58" y="9"/>
                      <a:pt x="59" y="9"/>
                      <a:pt x="59" y="10"/>
                    </a:cubicBezTo>
                    <a:cubicBezTo>
                      <a:pt x="67" y="24"/>
                      <a:pt x="67" y="24"/>
                      <a:pt x="67" y="24"/>
                    </a:cubicBezTo>
                    <a:cubicBezTo>
                      <a:pt x="68" y="25"/>
                      <a:pt x="68" y="26"/>
                      <a:pt x="67" y="27"/>
                    </a:cubicBezTo>
                    <a:cubicBezTo>
                      <a:pt x="62" y="30"/>
                      <a:pt x="62" y="30"/>
                      <a:pt x="62" y="30"/>
                    </a:cubicBezTo>
                    <a:cubicBezTo>
                      <a:pt x="62" y="33"/>
                      <a:pt x="62" y="35"/>
                      <a:pt x="62" y="38"/>
                    </a:cubicBezTo>
                    <a:cubicBezTo>
                      <a:pt x="67" y="41"/>
                      <a:pt x="67" y="41"/>
                      <a:pt x="67" y="41"/>
                    </a:cubicBezTo>
                    <a:cubicBezTo>
                      <a:pt x="67" y="42"/>
                      <a:pt x="68" y="42"/>
                      <a:pt x="68" y="43"/>
                    </a:cubicBezTo>
                    <a:cubicBezTo>
                      <a:pt x="68" y="43"/>
                      <a:pt x="68" y="44"/>
                      <a:pt x="67" y="44"/>
                    </a:cubicBezTo>
                    <a:cubicBezTo>
                      <a:pt x="59" y="58"/>
                      <a:pt x="59" y="58"/>
                      <a:pt x="59" y="58"/>
                    </a:cubicBezTo>
                    <a:cubicBezTo>
                      <a:pt x="59" y="58"/>
                      <a:pt x="59" y="59"/>
                      <a:pt x="58" y="59"/>
                    </a:cubicBezTo>
                    <a:cubicBezTo>
                      <a:pt x="58" y="59"/>
                      <a:pt x="57" y="59"/>
                      <a:pt x="57" y="59"/>
                    </a:cubicBezTo>
                    <a:cubicBezTo>
                      <a:pt x="52" y="56"/>
                      <a:pt x="52" y="56"/>
                      <a:pt x="52" y="56"/>
                    </a:cubicBezTo>
                    <a:cubicBezTo>
                      <a:pt x="49" y="58"/>
                      <a:pt x="47" y="59"/>
                      <a:pt x="44" y="60"/>
                    </a:cubicBezTo>
                    <a:cubicBezTo>
                      <a:pt x="44" y="66"/>
                      <a:pt x="44" y="66"/>
                      <a:pt x="44" y="66"/>
                    </a:cubicBezTo>
                    <a:cubicBezTo>
                      <a:pt x="44" y="67"/>
                      <a:pt x="43" y="68"/>
                      <a:pt x="42" y="68"/>
                    </a:cubicBezTo>
                    <a:close/>
                    <a:moveTo>
                      <a:pt x="28" y="64"/>
                    </a:moveTo>
                    <a:cubicBezTo>
                      <a:pt x="40" y="64"/>
                      <a:pt x="40" y="64"/>
                      <a:pt x="40" y="64"/>
                    </a:cubicBezTo>
                    <a:cubicBezTo>
                      <a:pt x="40" y="59"/>
                      <a:pt x="40" y="59"/>
                      <a:pt x="40" y="59"/>
                    </a:cubicBezTo>
                    <a:cubicBezTo>
                      <a:pt x="40" y="58"/>
                      <a:pt x="41" y="57"/>
                      <a:pt x="41" y="57"/>
                    </a:cubicBezTo>
                    <a:cubicBezTo>
                      <a:pt x="45" y="56"/>
                      <a:pt x="48" y="54"/>
                      <a:pt x="50" y="52"/>
                    </a:cubicBezTo>
                    <a:cubicBezTo>
                      <a:pt x="51" y="51"/>
                      <a:pt x="52" y="51"/>
                      <a:pt x="52" y="52"/>
                    </a:cubicBezTo>
                    <a:cubicBezTo>
                      <a:pt x="57" y="54"/>
                      <a:pt x="57" y="54"/>
                      <a:pt x="57" y="54"/>
                    </a:cubicBezTo>
                    <a:cubicBezTo>
                      <a:pt x="63" y="44"/>
                      <a:pt x="63" y="44"/>
                      <a:pt x="63" y="44"/>
                    </a:cubicBezTo>
                    <a:cubicBezTo>
                      <a:pt x="58" y="41"/>
                      <a:pt x="58" y="41"/>
                      <a:pt x="58" y="41"/>
                    </a:cubicBezTo>
                    <a:cubicBezTo>
                      <a:pt x="58" y="41"/>
                      <a:pt x="57" y="40"/>
                      <a:pt x="57" y="39"/>
                    </a:cubicBezTo>
                    <a:cubicBezTo>
                      <a:pt x="58" y="36"/>
                      <a:pt x="58" y="32"/>
                      <a:pt x="57" y="29"/>
                    </a:cubicBezTo>
                    <a:cubicBezTo>
                      <a:pt x="57" y="28"/>
                      <a:pt x="58" y="27"/>
                      <a:pt x="58" y="27"/>
                    </a:cubicBezTo>
                    <a:cubicBezTo>
                      <a:pt x="63" y="24"/>
                      <a:pt x="63" y="24"/>
                      <a:pt x="63" y="24"/>
                    </a:cubicBezTo>
                    <a:cubicBezTo>
                      <a:pt x="57" y="14"/>
                      <a:pt x="57" y="14"/>
                      <a:pt x="57" y="14"/>
                    </a:cubicBezTo>
                    <a:cubicBezTo>
                      <a:pt x="52" y="16"/>
                      <a:pt x="52" y="16"/>
                      <a:pt x="52" y="16"/>
                    </a:cubicBezTo>
                    <a:cubicBezTo>
                      <a:pt x="52" y="17"/>
                      <a:pt x="51" y="17"/>
                      <a:pt x="50" y="16"/>
                    </a:cubicBezTo>
                    <a:cubicBezTo>
                      <a:pt x="48" y="14"/>
                      <a:pt x="45" y="12"/>
                      <a:pt x="41" y="11"/>
                    </a:cubicBezTo>
                    <a:cubicBezTo>
                      <a:pt x="41" y="11"/>
                      <a:pt x="40" y="10"/>
                      <a:pt x="40" y="9"/>
                    </a:cubicBezTo>
                    <a:cubicBezTo>
                      <a:pt x="40" y="4"/>
                      <a:pt x="40" y="4"/>
                      <a:pt x="40" y="4"/>
                    </a:cubicBezTo>
                    <a:cubicBezTo>
                      <a:pt x="28" y="4"/>
                      <a:pt x="28" y="4"/>
                      <a:pt x="28" y="4"/>
                    </a:cubicBezTo>
                    <a:cubicBezTo>
                      <a:pt x="28" y="9"/>
                      <a:pt x="28" y="9"/>
                      <a:pt x="28" y="9"/>
                    </a:cubicBezTo>
                    <a:cubicBezTo>
                      <a:pt x="28" y="10"/>
                      <a:pt x="27" y="11"/>
                      <a:pt x="27" y="11"/>
                    </a:cubicBezTo>
                    <a:cubicBezTo>
                      <a:pt x="23" y="12"/>
                      <a:pt x="20" y="14"/>
                      <a:pt x="18" y="16"/>
                    </a:cubicBezTo>
                    <a:cubicBezTo>
                      <a:pt x="17" y="17"/>
                      <a:pt x="16" y="17"/>
                      <a:pt x="16" y="16"/>
                    </a:cubicBezTo>
                    <a:cubicBezTo>
                      <a:pt x="11" y="14"/>
                      <a:pt x="11" y="14"/>
                      <a:pt x="11" y="14"/>
                    </a:cubicBezTo>
                    <a:cubicBezTo>
                      <a:pt x="5" y="24"/>
                      <a:pt x="5" y="24"/>
                      <a:pt x="5" y="24"/>
                    </a:cubicBezTo>
                    <a:cubicBezTo>
                      <a:pt x="10" y="27"/>
                      <a:pt x="10" y="27"/>
                      <a:pt x="10" y="27"/>
                    </a:cubicBezTo>
                    <a:cubicBezTo>
                      <a:pt x="10" y="27"/>
                      <a:pt x="11" y="28"/>
                      <a:pt x="11" y="29"/>
                    </a:cubicBezTo>
                    <a:cubicBezTo>
                      <a:pt x="10" y="32"/>
                      <a:pt x="10" y="36"/>
                      <a:pt x="11" y="39"/>
                    </a:cubicBezTo>
                    <a:cubicBezTo>
                      <a:pt x="11" y="40"/>
                      <a:pt x="10" y="41"/>
                      <a:pt x="10" y="41"/>
                    </a:cubicBezTo>
                    <a:cubicBezTo>
                      <a:pt x="5" y="44"/>
                      <a:pt x="5" y="44"/>
                      <a:pt x="5" y="4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6" y="52"/>
                      <a:pt x="16" y="52"/>
                      <a:pt x="16" y="52"/>
                    </a:cubicBezTo>
                    <a:cubicBezTo>
                      <a:pt x="16" y="51"/>
                      <a:pt x="17" y="51"/>
                      <a:pt x="18" y="52"/>
                    </a:cubicBezTo>
                    <a:cubicBezTo>
                      <a:pt x="20" y="54"/>
                      <a:pt x="23" y="56"/>
                      <a:pt x="27" y="57"/>
                    </a:cubicBezTo>
                    <a:cubicBezTo>
                      <a:pt x="27" y="57"/>
                      <a:pt x="28" y="58"/>
                      <a:pt x="28" y="59"/>
                    </a:cubicBezTo>
                    <a:lnTo>
                      <a:pt x="28" y="6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74" name="Freeform 96"/>
              <p:cNvSpPr>
                <a:spLocks noEditPoints="1"/>
              </p:cNvSpPr>
              <p:nvPr/>
            </p:nvSpPr>
            <p:spPr bwMode="auto">
              <a:xfrm>
                <a:off x="6708775" y="1849438"/>
                <a:ext cx="61913" cy="61913"/>
              </a:xfrm>
              <a:custGeom>
                <a:avLst/>
                <a:gdLst>
                  <a:gd name="T0" fmla="*/ 8 w 16"/>
                  <a:gd name="T1" fmla="*/ 16 h 16"/>
                  <a:gd name="T2" fmla="*/ 0 w 16"/>
                  <a:gd name="T3" fmla="*/ 8 h 16"/>
                  <a:gd name="T4" fmla="*/ 8 w 16"/>
                  <a:gd name="T5" fmla="*/ 0 h 16"/>
                  <a:gd name="T6" fmla="*/ 16 w 16"/>
                  <a:gd name="T7" fmla="*/ 8 h 16"/>
                  <a:gd name="T8" fmla="*/ 8 w 16"/>
                  <a:gd name="T9" fmla="*/ 16 h 16"/>
                  <a:gd name="T10" fmla="*/ 8 w 16"/>
                  <a:gd name="T11" fmla="*/ 4 h 16"/>
                  <a:gd name="T12" fmla="*/ 4 w 16"/>
                  <a:gd name="T13" fmla="*/ 8 h 16"/>
                  <a:gd name="T14" fmla="*/ 8 w 16"/>
                  <a:gd name="T15" fmla="*/ 12 h 16"/>
                  <a:gd name="T16" fmla="*/ 12 w 16"/>
                  <a:gd name="T17" fmla="*/ 8 h 16"/>
                  <a:gd name="T18" fmla="*/ 8 w 16"/>
                  <a:gd name="T19" fmla="*/ 4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6" h="16">
                    <a:moveTo>
                      <a:pt x="8" y="16"/>
                    </a:moveTo>
                    <a:cubicBezTo>
                      <a:pt x="4" y="16"/>
                      <a:pt x="0" y="12"/>
                      <a:pt x="0" y="8"/>
                    </a:cubicBezTo>
                    <a:cubicBezTo>
                      <a:pt x="0" y="4"/>
                      <a:pt x="4" y="0"/>
                      <a:pt x="8" y="0"/>
                    </a:cubicBezTo>
                    <a:cubicBezTo>
                      <a:pt x="12" y="0"/>
                      <a:pt x="16" y="4"/>
                      <a:pt x="16" y="8"/>
                    </a:cubicBezTo>
                    <a:cubicBezTo>
                      <a:pt x="16" y="12"/>
                      <a:pt x="12" y="16"/>
                      <a:pt x="8" y="16"/>
                    </a:cubicBezTo>
                    <a:close/>
                    <a:moveTo>
                      <a:pt x="8" y="4"/>
                    </a:moveTo>
                    <a:cubicBezTo>
                      <a:pt x="6" y="4"/>
                      <a:pt x="4" y="6"/>
                      <a:pt x="4" y="8"/>
                    </a:cubicBezTo>
                    <a:cubicBezTo>
                      <a:pt x="4" y="10"/>
                      <a:pt x="6" y="12"/>
                      <a:pt x="8" y="12"/>
                    </a:cubicBezTo>
                    <a:cubicBezTo>
                      <a:pt x="10" y="12"/>
                      <a:pt x="12" y="10"/>
                      <a:pt x="12" y="8"/>
                    </a:cubicBezTo>
                    <a:cubicBezTo>
                      <a:pt x="12" y="6"/>
                      <a:pt x="10" y="4"/>
                      <a:pt x="8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75" name="Freeform 97"/>
              <p:cNvSpPr>
                <a:spLocks noEditPoints="1"/>
              </p:cNvSpPr>
              <p:nvPr/>
            </p:nvSpPr>
            <p:spPr bwMode="auto">
              <a:xfrm>
                <a:off x="6662738" y="1803400"/>
                <a:ext cx="153988" cy="155575"/>
              </a:xfrm>
              <a:custGeom>
                <a:avLst/>
                <a:gdLst>
                  <a:gd name="T0" fmla="*/ 16 w 40"/>
                  <a:gd name="T1" fmla="*/ 40 h 40"/>
                  <a:gd name="T2" fmla="*/ 14 w 40"/>
                  <a:gd name="T3" fmla="*/ 35 h 40"/>
                  <a:gd name="T4" fmla="*/ 7 w 40"/>
                  <a:gd name="T5" fmla="*/ 34 h 40"/>
                  <a:gd name="T6" fmla="*/ 5 w 40"/>
                  <a:gd name="T7" fmla="*/ 33 h 40"/>
                  <a:gd name="T8" fmla="*/ 1 w 40"/>
                  <a:gd name="T9" fmla="*/ 24 h 40"/>
                  <a:gd name="T10" fmla="*/ 4 w 40"/>
                  <a:gd name="T11" fmla="*/ 18 h 40"/>
                  <a:gd name="T12" fmla="*/ 0 w 40"/>
                  <a:gd name="T13" fmla="*/ 15 h 40"/>
                  <a:gd name="T14" fmla="*/ 5 w 40"/>
                  <a:gd name="T15" fmla="*/ 7 h 40"/>
                  <a:gd name="T16" fmla="*/ 7 w 40"/>
                  <a:gd name="T17" fmla="*/ 6 h 40"/>
                  <a:gd name="T18" fmla="*/ 14 w 40"/>
                  <a:gd name="T19" fmla="*/ 5 h 40"/>
                  <a:gd name="T20" fmla="*/ 16 w 40"/>
                  <a:gd name="T21" fmla="*/ 0 h 40"/>
                  <a:gd name="T22" fmla="*/ 26 w 40"/>
                  <a:gd name="T23" fmla="*/ 2 h 40"/>
                  <a:gd name="T24" fmla="*/ 30 w 40"/>
                  <a:gd name="T25" fmla="*/ 7 h 40"/>
                  <a:gd name="T26" fmla="*/ 34 w 40"/>
                  <a:gd name="T27" fmla="*/ 6 h 40"/>
                  <a:gd name="T28" fmla="*/ 39 w 40"/>
                  <a:gd name="T29" fmla="*/ 13 h 40"/>
                  <a:gd name="T30" fmla="*/ 36 w 40"/>
                  <a:gd name="T31" fmla="*/ 18 h 40"/>
                  <a:gd name="T32" fmla="*/ 39 w 40"/>
                  <a:gd name="T33" fmla="*/ 24 h 40"/>
                  <a:gd name="T34" fmla="*/ 35 w 40"/>
                  <a:gd name="T35" fmla="*/ 33 h 40"/>
                  <a:gd name="T36" fmla="*/ 33 w 40"/>
                  <a:gd name="T37" fmla="*/ 34 h 40"/>
                  <a:gd name="T38" fmla="*/ 26 w 40"/>
                  <a:gd name="T39" fmla="*/ 35 h 40"/>
                  <a:gd name="T40" fmla="*/ 24 w 40"/>
                  <a:gd name="T41" fmla="*/ 40 h 40"/>
                  <a:gd name="T42" fmla="*/ 22 w 40"/>
                  <a:gd name="T43" fmla="*/ 36 h 40"/>
                  <a:gd name="T44" fmla="*/ 23 w 40"/>
                  <a:gd name="T45" fmla="*/ 31 h 40"/>
                  <a:gd name="T46" fmla="*/ 31 w 40"/>
                  <a:gd name="T47" fmla="*/ 28 h 40"/>
                  <a:gd name="T48" fmla="*/ 35 w 40"/>
                  <a:gd name="T49" fmla="*/ 26 h 40"/>
                  <a:gd name="T50" fmla="*/ 32 w 40"/>
                  <a:gd name="T51" fmla="*/ 23 h 40"/>
                  <a:gd name="T52" fmla="*/ 33 w 40"/>
                  <a:gd name="T53" fmla="*/ 15 h 40"/>
                  <a:gd name="T54" fmla="*/ 33 w 40"/>
                  <a:gd name="T55" fmla="*/ 10 h 40"/>
                  <a:gd name="T56" fmla="*/ 28 w 40"/>
                  <a:gd name="T57" fmla="*/ 11 h 40"/>
                  <a:gd name="T58" fmla="*/ 22 w 40"/>
                  <a:gd name="T59" fmla="*/ 7 h 40"/>
                  <a:gd name="T60" fmla="*/ 18 w 40"/>
                  <a:gd name="T61" fmla="*/ 4 h 40"/>
                  <a:gd name="T62" fmla="*/ 17 w 40"/>
                  <a:gd name="T63" fmla="*/ 9 h 40"/>
                  <a:gd name="T64" fmla="*/ 9 w 40"/>
                  <a:gd name="T65" fmla="*/ 12 h 40"/>
                  <a:gd name="T66" fmla="*/ 5 w 40"/>
                  <a:gd name="T67" fmla="*/ 14 h 40"/>
                  <a:gd name="T68" fmla="*/ 8 w 40"/>
                  <a:gd name="T69" fmla="*/ 17 h 40"/>
                  <a:gd name="T70" fmla="*/ 7 w 40"/>
                  <a:gd name="T71" fmla="*/ 25 h 40"/>
                  <a:gd name="T72" fmla="*/ 7 w 40"/>
                  <a:gd name="T73" fmla="*/ 30 h 40"/>
                  <a:gd name="T74" fmla="*/ 12 w 40"/>
                  <a:gd name="T75" fmla="*/ 29 h 40"/>
                  <a:gd name="T76" fmla="*/ 18 w 40"/>
                  <a:gd name="T77" fmla="*/ 33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0" h="40">
                    <a:moveTo>
                      <a:pt x="24" y="40"/>
                    </a:moveTo>
                    <a:cubicBezTo>
                      <a:pt x="16" y="40"/>
                      <a:pt x="16" y="40"/>
                      <a:pt x="16" y="40"/>
                    </a:cubicBezTo>
                    <a:cubicBezTo>
                      <a:pt x="15" y="40"/>
                      <a:pt x="14" y="39"/>
                      <a:pt x="14" y="38"/>
                    </a:cubicBezTo>
                    <a:cubicBezTo>
                      <a:pt x="14" y="35"/>
                      <a:pt x="14" y="35"/>
                      <a:pt x="14" y="35"/>
                    </a:cubicBezTo>
                    <a:cubicBezTo>
                      <a:pt x="13" y="34"/>
                      <a:pt x="11" y="34"/>
                      <a:pt x="10" y="33"/>
                    </a:cubicBezTo>
                    <a:cubicBezTo>
                      <a:pt x="7" y="34"/>
                      <a:pt x="7" y="34"/>
                      <a:pt x="7" y="34"/>
                    </a:cubicBezTo>
                    <a:cubicBezTo>
                      <a:pt x="7" y="34"/>
                      <a:pt x="6" y="35"/>
                      <a:pt x="6" y="34"/>
                    </a:cubicBezTo>
                    <a:cubicBezTo>
                      <a:pt x="5" y="34"/>
                      <a:pt x="5" y="34"/>
                      <a:pt x="5" y="33"/>
                    </a:cubicBezTo>
                    <a:cubicBezTo>
                      <a:pt x="1" y="27"/>
                      <a:pt x="1" y="27"/>
                      <a:pt x="1" y="27"/>
                    </a:cubicBezTo>
                    <a:cubicBezTo>
                      <a:pt x="0" y="26"/>
                      <a:pt x="0" y="24"/>
                      <a:pt x="1" y="24"/>
                    </a:cubicBezTo>
                    <a:cubicBezTo>
                      <a:pt x="4" y="22"/>
                      <a:pt x="4" y="22"/>
                      <a:pt x="4" y="22"/>
                    </a:cubicBezTo>
                    <a:cubicBezTo>
                      <a:pt x="4" y="21"/>
                      <a:pt x="4" y="19"/>
                      <a:pt x="4" y="18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1" y="16"/>
                      <a:pt x="1" y="15"/>
                      <a:pt x="0" y="15"/>
                    </a:cubicBezTo>
                    <a:cubicBezTo>
                      <a:pt x="0" y="14"/>
                      <a:pt x="0" y="14"/>
                      <a:pt x="1" y="13"/>
                    </a:cubicBez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6" y="6"/>
                    </a:cubicBezTo>
                    <a:cubicBezTo>
                      <a:pt x="6" y="5"/>
                      <a:pt x="7" y="6"/>
                      <a:pt x="7" y="6"/>
                    </a:cubicBezTo>
                    <a:cubicBezTo>
                      <a:pt x="10" y="7"/>
                      <a:pt x="10" y="7"/>
                      <a:pt x="10" y="7"/>
                    </a:cubicBezTo>
                    <a:cubicBezTo>
                      <a:pt x="11" y="7"/>
                      <a:pt x="13" y="6"/>
                      <a:pt x="14" y="5"/>
                    </a:cubicBezTo>
                    <a:cubicBezTo>
                      <a:pt x="14" y="2"/>
                      <a:pt x="14" y="2"/>
                      <a:pt x="14" y="2"/>
                    </a:cubicBezTo>
                    <a:cubicBezTo>
                      <a:pt x="14" y="1"/>
                      <a:pt x="15" y="0"/>
                      <a:pt x="16" y="0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25" y="0"/>
                      <a:pt x="26" y="1"/>
                      <a:pt x="26" y="2"/>
                    </a:cubicBezTo>
                    <a:cubicBezTo>
                      <a:pt x="26" y="5"/>
                      <a:pt x="26" y="5"/>
                      <a:pt x="26" y="5"/>
                    </a:cubicBezTo>
                    <a:cubicBezTo>
                      <a:pt x="27" y="6"/>
                      <a:pt x="29" y="6"/>
                      <a:pt x="30" y="7"/>
                    </a:cubicBezTo>
                    <a:cubicBezTo>
                      <a:pt x="33" y="6"/>
                      <a:pt x="33" y="6"/>
                      <a:pt x="33" y="6"/>
                    </a:cubicBezTo>
                    <a:cubicBezTo>
                      <a:pt x="33" y="6"/>
                      <a:pt x="34" y="5"/>
                      <a:pt x="34" y="6"/>
                    </a:cubicBezTo>
                    <a:cubicBezTo>
                      <a:pt x="35" y="6"/>
                      <a:pt x="35" y="6"/>
                      <a:pt x="35" y="7"/>
                    </a:cubicBezTo>
                    <a:cubicBezTo>
                      <a:pt x="39" y="13"/>
                      <a:pt x="39" y="13"/>
                      <a:pt x="39" y="13"/>
                    </a:cubicBezTo>
                    <a:cubicBezTo>
                      <a:pt x="40" y="14"/>
                      <a:pt x="40" y="16"/>
                      <a:pt x="39" y="16"/>
                    </a:cubicBezTo>
                    <a:cubicBezTo>
                      <a:pt x="36" y="18"/>
                      <a:pt x="36" y="18"/>
                      <a:pt x="36" y="18"/>
                    </a:cubicBezTo>
                    <a:cubicBezTo>
                      <a:pt x="36" y="19"/>
                      <a:pt x="36" y="21"/>
                      <a:pt x="36" y="22"/>
                    </a:cubicBezTo>
                    <a:cubicBezTo>
                      <a:pt x="39" y="24"/>
                      <a:pt x="39" y="24"/>
                      <a:pt x="39" y="24"/>
                    </a:cubicBezTo>
                    <a:cubicBezTo>
                      <a:pt x="40" y="24"/>
                      <a:pt x="40" y="26"/>
                      <a:pt x="39" y="27"/>
                    </a:cubicBezTo>
                    <a:cubicBezTo>
                      <a:pt x="35" y="33"/>
                      <a:pt x="35" y="33"/>
                      <a:pt x="35" y="33"/>
                    </a:cubicBezTo>
                    <a:cubicBezTo>
                      <a:pt x="35" y="34"/>
                      <a:pt x="35" y="34"/>
                      <a:pt x="34" y="34"/>
                    </a:cubicBezTo>
                    <a:cubicBezTo>
                      <a:pt x="34" y="35"/>
                      <a:pt x="33" y="34"/>
                      <a:pt x="33" y="34"/>
                    </a:cubicBezTo>
                    <a:cubicBezTo>
                      <a:pt x="30" y="33"/>
                      <a:pt x="30" y="33"/>
                      <a:pt x="30" y="33"/>
                    </a:cubicBezTo>
                    <a:cubicBezTo>
                      <a:pt x="29" y="33"/>
                      <a:pt x="27" y="34"/>
                      <a:pt x="26" y="35"/>
                    </a:cubicBezTo>
                    <a:cubicBezTo>
                      <a:pt x="26" y="38"/>
                      <a:pt x="26" y="38"/>
                      <a:pt x="26" y="38"/>
                    </a:cubicBezTo>
                    <a:cubicBezTo>
                      <a:pt x="26" y="39"/>
                      <a:pt x="25" y="40"/>
                      <a:pt x="24" y="40"/>
                    </a:cubicBezTo>
                    <a:close/>
                    <a:moveTo>
                      <a:pt x="18" y="36"/>
                    </a:moveTo>
                    <a:cubicBezTo>
                      <a:pt x="22" y="36"/>
                      <a:pt x="22" y="36"/>
                      <a:pt x="22" y="36"/>
                    </a:cubicBezTo>
                    <a:cubicBezTo>
                      <a:pt x="22" y="33"/>
                      <a:pt x="22" y="33"/>
                      <a:pt x="22" y="33"/>
                    </a:cubicBezTo>
                    <a:cubicBezTo>
                      <a:pt x="22" y="32"/>
                      <a:pt x="23" y="32"/>
                      <a:pt x="23" y="31"/>
                    </a:cubicBezTo>
                    <a:cubicBezTo>
                      <a:pt x="25" y="31"/>
                      <a:pt x="27" y="30"/>
                      <a:pt x="28" y="29"/>
                    </a:cubicBezTo>
                    <a:cubicBezTo>
                      <a:pt x="29" y="28"/>
                      <a:pt x="30" y="28"/>
                      <a:pt x="31" y="28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3" y="25"/>
                      <a:pt x="33" y="25"/>
                    </a:cubicBezTo>
                    <a:cubicBezTo>
                      <a:pt x="32" y="25"/>
                      <a:pt x="31" y="24"/>
                      <a:pt x="32" y="23"/>
                    </a:cubicBezTo>
                    <a:cubicBezTo>
                      <a:pt x="32" y="21"/>
                      <a:pt x="32" y="19"/>
                      <a:pt x="32" y="17"/>
                    </a:cubicBezTo>
                    <a:cubicBezTo>
                      <a:pt x="31" y="16"/>
                      <a:pt x="32" y="15"/>
                      <a:pt x="33" y="15"/>
                    </a:cubicBezTo>
                    <a:cubicBezTo>
                      <a:pt x="35" y="14"/>
                      <a:pt x="35" y="14"/>
                      <a:pt x="35" y="14"/>
                    </a:cubicBezTo>
                    <a:cubicBezTo>
                      <a:pt x="33" y="10"/>
                      <a:pt x="33" y="10"/>
                      <a:pt x="33" y="10"/>
                    </a:cubicBezTo>
                    <a:cubicBezTo>
                      <a:pt x="31" y="12"/>
                      <a:pt x="31" y="12"/>
                      <a:pt x="31" y="12"/>
                    </a:cubicBezTo>
                    <a:cubicBezTo>
                      <a:pt x="30" y="12"/>
                      <a:pt x="29" y="12"/>
                      <a:pt x="28" y="11"/>
                    </a:cubicBezTo>
                    <a:cubicBezTo>
                      <a:pt x="27" y="10"/>
                      <a:pt x="25" y="9"/>
                      <a:pt x="23" y="9"/>
                    </a:cubicBezTo>
                    <a:cubicBezTo>
                      <a:pt x="23" y="8"/>
                      <a:pt x="22" y="8"/>
                      <a:pt x="22" y="7"/>
                    </a:cubicBezTo>
                    <a:cubicBezTo>
                      <a:pt x="22" y="4"/>
                      <a:pt x="22" y="4"/>
                      <a:pt x="22" y="4"/>
                    </a:cubicBezTo>
                    <a:cubicBezTo>
                      <a:pt x="18" y="4"/>
                      <a:pt x="18" y="4"/>
                      <a:pt x="18" y="4"/>
                    </a:cubicBezTo>
                    <a:cubicBezTo>
                      <a:pt x="18" y="7"/>
                      <a:pt x="18" y="7"/>
                      <a:pt x="18" y="7"/>
                    </a:cubicBezTo>
                    <a:cubicBezTo>
                      <a:pt x="18" y="8"/>
                      <a:pt x="17" y="8"/>
                      <a:pt x="17" y="9"/>
                    </a:cubicBezTo>
                    <a:cubicBezTo>
                      <a:pt x="15" y="9"/>
                      <a:pt x="13" y="10"/>
                      <a:pt x="12" y="11"/>
                    </a:cubicBezTo>
                    <a:cubicBezTo>
                      <a:pt x="11" y="12"/>
                      <a:pt x="10" y="12"/>
                      <a:pt x="9" y="12"/>
                    </a:cubicBezTo>
                    <a:cubicBezTo>
                      <a:pt x="7" y="10"/>
                      <a:pt x="7" y="10"/>
                      <a:pt x="7" y="10"/>
                    </a:cubicBezTo>
                    <a:cubicBezTo>
                      <a:pt x="5" y="14"/>
                      <a:pt x="5" y="14"/>
                      <a:pt x="5" y="14"/>
                    </a:cubicBezTo>
                    <a:cubicBezTo>
                      <a:pt x="7" y="15"/>
                      <a:pt x="7" y="15"/>
                      <a:pt x="7" y="15"/>
                    </a:cubicBezTo>
                    <a:cubicBezTo>
                      <a:pt x="8" y="15"/>
                      <a:pt x="9" y="16"/>
                      <a:pt x="8" y="17"/>
                    </a:cubicBezTo>
                    <a:cubicBezTo>
                      <a:pt x="8" y="19"/>
                      <a:pt x="8" y="21"/>
                      <a:pt x="8" y="23"/>
                    </a:cubicBezTo>
                    <a:cubicBezTo>
                      <a:pt x="9" y="24"/>
                      <a:pt x="8" y="24"/>
                      <a:pt x="7" y="25"/>
                    </a:cubicBezTo>
                    <a:cubicBezTo>
                      <a:pt x="5" y="26"/>
                      <a:pt x="5" y="26"/>
                      <a:pt x="5" y="26"/>
                    </a:cubicBezTo>
                    <a:cubicBezTo>
                      <a:pt x="7" y="30"/>
                      <a:pt x="7" y="30"/>
                      <a:pt x="7" y="30"/>
                    </a:cubicBezTo>
                    <a:cubicBezTo>
                      <a:pt x="9" y="28"/>
                      <a:pt x="9" y="28"/>
                      <a:pt x="9" y="28"/>
                    </a:cubicBezTo>
                    <a:cubicBezTo>
                      <a:pt x="10" y="28"/>
                      <a:pt x="11" y="28"/>
                      <a:pt x="12" y="29"/>
                    </a:cubicBezTo>
                    <a:cubicBezTo>
                      <a:pt x="13" y="30"/>
                      <a:pt x="15" y="31"/>
                      <a:pt x="17" y="31"/>
                    </a:cubicBezTo>
                    <a:cubicBezTo>
                      <a:pt x="17" y="32"/>
                      <a:pt x="18" y="33"/>
                      <a:pt x="18" y="33"/>
                    </a:cubicBezTo>
                    <a:lnTo>
                      <a:pt x="18" y="3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153" name="Group 152"/>
            <p:cNvGrpSpPr>
              <a:grpSpLocks noChangeAspect="1"/>
            </p:cNvGrpSpPr>
            <p:nvPr/>
          </p:nvGrpSpPr>
          <p:grpSpPr>
            <a:xfrm>
              <a:off x="6166507" y="3774472"/>
              <a:ext cx="262800" cy="262800"/>
              <a:chOff x="3903073" y="3496769"/>
              <a:chExt cx="360000" cy="360000"/>
            </a:xfrm>
          </p:grpSpPr>
          <p:sp>
            <p:nvSpPr>
              <p:cNvPr id="170" name="Freeform 79"/>
              <p:cNvSpPr>
                <a:spLocks noEditPoints="1"/>
              </p:cNvSpPr>
              <p:nvPr/>
            </p:nvSpPr>
            <p:spPr bwMode="auto">
              <a:xfrm>
                <a:off x="3903073" y="3496769"/>
                <a:ext cx="255385" cy="255385"/>
              </a:xfrm>
              <a:custGeom>
                <a:avLst/>
                <a:gdLst>
                  <a:gd name="T0" fmla="*/ 34 w 68"/>
                  <a:gd name="T1" fmla="*/ 68 h 68"/>
                  <a:gd name="T2" fmla="*/ 0 w 68"/>
                  <a:gd name="T3" fmla="*/ 34 h 68"/>
                  <a:gd name="T4" fmla="*/ 34 w 68"/>
                  <a:gd name="T5" fmla="*/ 0 h 68"/>
                  <a:gd name="T6" fmla="*/ 68 w 68"/>
                  <a:gd name="T7" fmla="*/ 34 h 68"/>
                  <a:gd name="T8" fmla="*/ 34 w 68"/>
                  <a:gd name="T9" fmla="*/ 68 h 68"/>
                  <a:gd name="T10" fmla="*/ 34 w 68"/>
                  <a:gd name="T11" fmla="*/ 4 h 68"/>
                  <a:gd name="T12" fmla="*/ 4 w 68"/>
                  <a:gd name="T13" fmla="*/ 34 h 68"/>
                  <a:gd name="T14" fmla="*/ 34 w 68"/>
                  <a:gd name="T15" fmla="*/ 64 h 68"/>
                  <a:gd name="T16" fmla="*/ 64 w 68"/>
                  <a:gd name="T17" fmla="*/ 34 h 68"/>
                  <a:gd name="T18" fmla="*/ 34 w 68"/>
                  <a:gd name="T19" fmla="*/ 4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8" h="68">
                    <a:moveTo>
                      <a:pt x="34" y="68"/>
                    </a:moveTo>
                    <a:cubicBezTo>
                      <a:pt x="15" y="68"/>
                      <a:pt x="0" y="53"/>
                      <a:pt x="0" y="34"/>
                    </a:cubicBezTo>
                    <a:cubicBezTo>
                      <a:pt x="0" y="15"/>
                      <a:pt x="15" y="0"/>
                      <a:pt x="34" y="0"/>
                    </a:cubicBezTo>
                    <a:cubicBezTo>
                      <a:pt x="53" y="0"/>
                      <a:pt x="68" y="15"/>
                      <a:pt x="68" y="34"/>
                    </a:cubicBezTo>
                    <a:cubicBezTo>
                      <a:pt x="68" y="53"/>
                      <a:pt x="53" y="68"/>
                      <a:pt x="34" y="68"/>
                    </a:cubicBezTo>
                    <a:close/>
                    <a:moveTo>
                      <a:pt x="34" y="4"/>
                    </a:moveTo>
                    <a:cubicBezTo>
                      <a:pt x="17" y="4"/>
                      <a:pt x="4" y="17"/>
                      <a:pt x="4" y="34"/>
                    </a:cubicBezTo>
                    <a:cubicBezTo>
                      <a:pt x="4" y="51"/>
                      <a:pt x="17" y="64"/>
                      <a:pt x="34" y="64"/>
                    </a:cubicBezTo>
                    <a:cubicBezTo>
                      <a:pt x="51" y="64"/>
                      <a:pt x="64" y="51"/>
                      <a:pt x="64" y="34"/>
                    </a:cubicBezTo>
                    <a:cubicBezTo>
                      <a:pt x="64" y="17"/>
                      <a:pt x="51" y="4"/>
                      <a:pt x="34" y="4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71" name="Freeform 80"/>
              <p:cNvSpPr>
                <a:spLocks/>
              </p:cNvSpPr>
              <p:nvPr/>
            </p:nvSpPr>
            <p:spPr bwMode="auto">
              <a:xfrm>
                <a:off x="4106150" y="3699846"/>
                <a:ext cx="156923" cy="156923"/>
              </a:xfrm>
              <a:custGeom>
                <a:avLst/>
                <a:gdLst>
                  <a:gd name="T0" fmla="*/ 40 w 42"/>
                  <a:gd name="T1" fmla="*/ 42 h 42"/>
                  <a:gd name="T2" fmla="*/ 39 w 42"/>
                  <a:gd name="T3" fmla="*/ 41 h 42"/>
                  <a:gd name="T4" fmla="*/ 1 w 42"/>
                  <a:gd name="T5" fmla="*/ 4 h 42"/>
                  <a:gd name="T6" fmla="*/ 1 w 42"/>
                  <a:gd name="T7" fmla="*/ 1 h 42"/>
                  <a:gd name="T8" fmla="*/ 4 w 42"/>
                  <a:gd name="T9" fmla="*/ 1 h 42"/>
                  <a:gd name="T10" fmla="*/ 41 w 42"/>
                  <a:gd name="T11" fmla="*/ 39 h 42"/>
                  <a:gd name="T12" fmla="*/ 41 w 42"/>
                  <a:gd name="T13" fmla="*/ 41 h 42"/>
                  <a:gd name="T14" fmla="*/ 40 w 42"/>
                  <a:gd name="T15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2" h="42">
                    <a:moveTo>
                      <a:pt x="40" y="42"/>
                    </a:moveTo>
                    <a:cubicBezTo>
                      <a:pt x="39" y="42"/>
                      <a:pt x="39" y="42"/>
                      <a:pt x="39" y="41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3" y="0"/>
                      <a:pt x="4" y="1"/>
                    </a:cubicBezTo>
                    <a:cubicBezTo>
                      <a:pt x="41" y="39"/>
                      <a:pt x="41" y="39"/>
                      <a:pt x="41" y="39"/>
                    </a:cubicBezTo>
                    <a:cubicBezTo>
                      <a:pt x="42" y="39"/>
                      <a:pt x="42" y="41"/>
                      <a:pt x="41" y="41"/>
                    </a:cubicBezTo>
                    <a:cubicBezTo>
                      <a:pt x="41" y="42"/>
                      <a:pt x="41" y="42"/>
                      <a:pt x="40" y="4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154" name="Group 153"/>
            <p:cNvGrpSpPr>
              <a:grpSpLocks noChangeAspect="1"/>
            </p:cNvGrpSpPr>
            <p:nvPr/>
          </p:nvGrpSpPr>
          <p:grpSpPr>
            <a:xfrm>
              <a:off x="5463220" y="5912291"/>
              <a:ext cx="211139" cy="262800"/>
              <a:chOff x="5653088" y="1797050"/>
              <a:chExt cx="298450" cy="371475"/>
            </a:xfrm>
            <a:solidFill>
              <a:schemeClr val="bg1"/>
            </a:solidFill>
          </p:grpSpPr>
          <p:sp>
            <p:nvSpPr>
              <p:cNvPr id="158" name="Freeform 84"/>
              <p:cNvSpPr>
                <a:spLocks/>
              </p:cNvSpPr>
              <p:nvPr/>
            </p:nvSpPr>
            <p:spPr bwMode="auto">
              <a:xfrm>
                <a:off x="5872163" y="1982788"/>
                <a:ext cx="79375" cy="107950"/>
              </a:xfrm>
              <a:custGeom>
                <a:avLst/>
                <a:gdLst>
                  <a:gd name="T0" fmla="*/ 6 w 20"/>
                  <a:gd name="T1" fmla="*/ 28 h 28"/>
                  <a:gd name="T2" fmla="*/ 2 w 20"/>
                  <a:gd name="T3" fmla="*/ 28 h 28"/>
                  <a:gd name="T4" fmla="*/ 0 w 20"/>
                  <a:gd name="T5" fmla="*/ 26 h 28"/>
                  <a:gd name="T6" fmla="*/ 2 w 20"/>
                  <a:gd name="T7" fmla="*/ 24 h 28"/>
                  <a:gd name="T8" fmla="*/ 6 w 20"/>
                  <a:gd name="T9" fmla="*/ 24 h 28"/>
                  <a:gd name="T10" fmla="*/ 16 w 20"/>
                  <a:gd name="T11" fmla="*/ 14 h 28"/>
                  <a:gd name="T12" fmla="*/ 6 w 20"/>
                  <a:gd name="T13" fmla="*/ 4 h 28"/>
                  <a:gd name="T14" fmla="*/ 2 w 20"/>
                  <a:gd name="T15" fmla="*/ 4 h 28"/>
                  <a:gd name="T16" fmla="*/ 0 w 20"/>
                  <a:gd name="T17" fmla="*/ 2 h 28"/>
                  <a:gd name="T18" fmla="*/ 2 w 20"/>
                  <a:gd name="T19" fmla="*/ 0 h 28"/>
                  <a:gd name="T20" fmla="*/ 6 w 20"/>
                  <a:gd name="T21" fmla="*/ 0 h 28"/>
                  <a:gd name="T22" fmla="*/ 20 w 20"/>
                  <a:gd name="T23" fmla="*/ 14 h 28"/>
                  <a:gd name="T24" fmla="*/ 6 w 20"/>
                  <a:gd name="T25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0" h="28">
                    <a:moveTo>
                      <a:pt x="6" y="28"/>
                    </a:moveTo>
                    <a:cubicBezTo>
                      <a:pt x="2" y="28"/>
                      <a:pt x="2" y="28"/>
                      <a:pt x="2" y="28"/>
                    </a:cubicBezTo>
                    <a:cubicBezTo>
                      <a:pt x="1" y="28"/>
                      <a:pt x="0" y="27"/>
                      <a:pt x="0" y="26"/>
                    </a:cubicBezTo>
                    <a:cubicBezTo>
                      <a:pt x="0" y="25"/>
                      <a:pt x="1" y="24"/>
                      <a:pt x="2" y="24"/>
                    </a:cubicBezTo>
                    <a:cubicBezTo>
                      <a:pt x="6" y="24"/>
                      <a:pt x="6" y="24"/>
                      <a:pt x="6" y="24"/>
                    </a:cubicBezTo>
                    <a:cubicBezTo>
                      <a:pt x="12" y="24"/>
                      <a:pt x="16" y="20"/>
                      <a:pt x="16" y="14"/>
                    </a:cubicBezTo>
                    <a:cubicBezTo>
                      <a:pt x="16" y="8"/>
                      <a:pt x="12" y="4"/>
                      <a:pt x="6" y="4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1" y="4"/>
                      <a:pt x="0" y="3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14" y="0"/>
                      <a:pt x="20" y="6"/>
                      <a:pt x="20" y="14"/>
                    </a:cubicBezTo>
                    <a:cubicBezTo>
                      <a:pt x="20" y="22"/>
                      <a:pt x="14" y="28"/>
                      <a:pt x="6" y="2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59" name="Freeform 85"/>
              <p:cNvSpPr>
                <a:spLocks noEditPoints="1"/>
              </p:cNvSpPr>
              <p:nvPr/>
            </p:nvSpPr>
            <p:spPr bwMode="auto">
              <a:xfrm>
                <a:off x="5668963" y="1952625"/>
                <a:ext cx="219075" cy="215900"/>
              </a:xfrm>
              <a:custGeom>
                <a:avLst/>
                <a:gdLst>
                  <a:gd name="T0" fmla="*/ 46 w 56"/>
                  <a:gd name="T1" fmla="*/ 56 h 56"/>
                  <a:gd name="T2" fmla="*/ 10 w 56"/>
                  <a:gd name="T3" fmla="*/ 56 h 56"/>
                  <a:gd name="T4" fmla="*/ 0 w 56"/>
                  <a:gd name="T5" fmla="*/ 46 h 56"/>
                  <a:gd name="T6" fmla="*/ 0 w 56"/>
                  <a:gd name="T7" fmla="*/ 2 h 56"/>
                  <a:gd name="T8" fmla="*/ 2 w 56"/>
                  <a:gd name="T9" fmla="*/ 0 h 56"/>
                  <a:gd name="T10" fmla="*/ 54 w 56"/>
                  <a:gd name="T11" fmla="*/ 0 h 56"/>
                  <a:gd name="T12" fmla="*/ 56 w 56"/>
                  <a:gd name="T13" fmla="*/ 2 h 56"/>
                  <a:gd name="T14" fmla="*/ 56 w 56"/>
                  <a:gd name="T15" fmla="*/ 46 h 56"/>
                  <a:gd name="T16" fmla="*/ 46 w 56"/>
                  <a:gd name="T17" fmla="*/ 56 h 56"/>
                  <a:gd name="T18" fmla="*/ 4 w 56"/>
                  <a:gd name="T19" fmla="*/ 4 h 56"/>
                  <a:gd name="T20" fmla="*/ 4 w 56"/>
                  <a:gd name="T21" fmla="*/ 46 h 56"/>
                  <a:gd name="T22" fmla="*/ 10 w 56"/>
                  <a:gd name="T23" fmla="*/ 52 h 56"/>
                  <a:gd name="T24" fmla="*/ 46 w 56"/>
                  <a:gd name="T25" fmla="*/ 52 h 56"/>
                  <a:gd name="T26" fmla="*/ 52 w 56"/>
                  <a:gd name="T27" fmla="*/ 46 h 56"/>
                  <a:gd name="T28" fmla="*/ 52 w 56"/>
                  <a:gd name="T29" fmla="*/ 4 h 56"/>
                  <a:gd name="T30" fmla="*/ 4 w 56"/>
                  <a:gd name="T31" fmla="*/ 4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6" h="56">
                    <a:moveTo>
                      <a:pt x="46" y="56"/>
                    </a:moveTo>
                    <a:cubicBezTo>
                      <a:pt x="10" y="56"/>
                      <a:pt x="10" y="56"/>
                      <a:pt x="10" y="56"/>
                    </a:cubicBezTo>
                    <a:cubicBezTo>
                      <a:pt x="4" y="56"/>
                      <a:pt x="0" y="52"/>
                      <a:pt x="0" y="46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55" y="0"/>
                      <a:pt x="56" y="1"/>
                      <a:pt x="56" y="2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52"/>
                      <a:pt x="52" y="56"/>
                      <a:pt x="46" y="56"/>
                    </a:cubicBezTo>
                    <a:close/>
                    <a:moveTo>
                      <a:pt x="4" y="4"/>
                    </a:moveTo>
                    <a:cubicBezTo>
                      <a:pt x="4" y="46"/>
                      <a:pt x="4" y="46"/>
                      <a:pt x="4" y="46"/>
                    </a:cubicBezTo>
                    <a:cubicBezTo>
                      <a:pt x="4" y="49"/>
                      <a:pt x="7" y="52"/>
                      <a:pt x="10" y="52"/>
                    </a:cubicBezTo>
                    <a:cubicBezTo>
                      <a:pt x="46" y="52"/>
                      <a:pt x="46" y="52"/>
                      <a:pt x="46" y="52"/>
                    </a:cubicBezTo>
                    <a:cubicBezTo>
                      <a:pt x="49" y="52"/>
                      <a:pt x="52" y="49"/>
                      <a:pt x="52" y="46"/>
                    </a:cubicBezTo>
                    <a:cubicBezTo>
                      <a:pt x="52" y="4"/>
                      <a:pt x="52" y="4"/>
                      <a:pt x="52" y="4"/>
                    </a:cubicBezTo>
                    <a:lnTo>
                      <a:pt x="4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60" name="Freeform 86"/>
              <p:cNvSpPr>
                <a:spLocks noEditPoints="1"/>
              </p:cNvSpPr>
              <p:nvPr/>
            </p:nvSpPr>
            <p:spPr bwMode="auto">
              <a:xfrm>
                <a:off x="5853113" y="1797050"/>
                <a:ext cx="74612" cy="104775"/>
              </a:xfrm>
              <a:custGeom>
                <a:avLst/>
                <a:gdLst>
                  <a:gd name="T0" fmla="*/ 10 w 19"/>
                  <a:gd name="T1" fmla="*/ 27 h 27"/>
                  <a:gd name="T2" fmla="*/ 10 w 19"/>
                  <a:gd name="T3" fmla="*/ 27 h 27"/>
                  <a:gd name="T4" fmla="*/ 6 w 19"/>
                  <a:gd name="T5" fmla="*/ 26 h 27"/>
                  <a:gd name="T6" fmla="*/ 1 w 19"/>
                  <a:gd name="T7" fmla="*/ 21 h 27"/>
                  <a:gd name="T8" fmla="*/ 1 w 19"/>
                  <a:gd name="T9" fmla="*/ 15 h 27"/>
                  <a:gd name="T10" fmla="*/ 3 w 19"/>
                  <a:gd name="T11" fmla="*/ 11 h 27"/>
                  <a:gd name="T12" fmla="*/ 5 w 19"/>
                  <a:gd name="T13" fmla="*/ 3 h 27"/>
                  <a:gd name="T14" fmla="*/ 5 w 19"/>
                  <a:gd name="T15" fmla="*/ 1 h 27"/>
                  <a:gd name="T16" fmla="*/ 7 w 19"/>
                  <a:gd name="T17" fmla="*/ 0 h 27"/>
                  <a:gd name="T18" fmla="*/ 19 w 19"/>
                  <a:gd name="T19" fmla="*/ 17 h 27"/>
                  <a:gd name="T20" fmla="*/ 10 w 19"/>
                  <a:gd name="T21" fmla="*/ 27 h 27"/>
                  <a:gd name="T22" fmla="*/ 10 w 19"/>
                  <a:gd name="T23" fmla="*/ 6 h 27"/>
                  <a:gd name="T24" fmla="*/ 7 w 19"/>
                  <a:gd name="T25" fmla="*/ 14 h 27"/>
                  <a:gd name="T26" fmla="*/ 5 w 19"/>
                  <a:gd name="T27" fmla="*/ 16 h 27"/>
                  <a:gd name="T28" fmla="*/ 5 w 19"/>
                  <a:gd name="T29" fmla="*/ 20 h 27"/>
                  <a:gd name="T30" fmla="*/ 7 w 19"/>
                  <a:gd name="T31" fmla="*/ 22 h 27"/>
                  <a:gd name="T32" fmla="*/ 10 w 19"/>
                  <a:gd name="T33" fmla="*/ 23 h 27"/>
                  <a:gd name="T34" fmla="*/ 15 w 19"/>
                  <a:gd name="T35" fmla="*/ 17 h 27"/>
                  <a:gd name="T36" fmla="*/ 10 w 19"/>
                  <a:gd name="T37" fmla="*/ 6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9" h="27">
                    <a:moveTo>
                      <a:pt x="10" y="27"/>
                    </a:moveTo>
                    <a:cubicBezTo>
                      <a:pt x="10" y="27"/>
                      <a:pt x="10" y="27"/>
                      <a:pt x="10" y="27"/>
                    </a:cubicBezTo>
                    <a:cubicBezTo>
                      <a:pt x="9" y="27"/>
                      <a:pt x="7" y="26"/>
                      <a:pt x="6" y="26"/>
                    </a:cubicBezTo>
                    <a:cubicBezTo>
                      <a:pt x="4" y="25"/>
                      <a:pt x="2" y="23"/>
                      <a:pt x="1" y="21"/>
                    </a:cubicBezTo>
                    <a:cubicBezTo>
                      <a:pt x="0" y="19"/>
                      <a:pt x="0" y="17"/>
                      <a:pt x="1" y="15"/>
                    </a:cubicBezTo>
                    <a:cubicBezTo>
                      <a:pt x="2" y="13"/>
                      <a:pt x="3" y="12"/>
                      <a:pt x="3" y="11"/>
                    </a:cubicBezTo>
                    <a:cubicBezTo>
                      <a:pt x="6" y="8"/>
                      <a:pt x="7" y="7"/>
                      <a:pt x="5" y="3"/>
                    </a:cubicBezTo>
                    <a:cubicBezTo>
                      <a:pt x="4" y="3"/>
                      <a:pt x="4" y="2"/>
                      <a:pt x="5" y="1"/>
                    </a:cubicBezTo>
                    <a:cubicBezTo>
                      <a:pt x="5" y="0"/>
                      <a:pt x="6" y="0"/>
                      <a:pt x="7" y="0"/>
                    </a:cubicBezTo>
                    <a:cubicBezTo>
                      <a:pt x="16" y="3"/>
                      <a:pt x="19" y="11"/>
                      <a:pt x="19" y="17"/>
                    </a:cubicBezTo>
                    <a:cubicBezTo>
                      <a:pt x="18" y="23"/>
                      <a:pt x="14" y="27"/>
                      <a:pt x="10" y="27"/>
                    </a:cubicBezTo>
                    <a:close/>
                    <a:moveTo>
                      <a:pt x="10" y="6"/>
                    </a:moveTo>
                    <a:cubicBezTo>
                      <a:pt x="10" y="9"/>
                      <a:pt x="8" y="12"/>
                      <a:pt x="7" y="14"/>
                    </a:cubicBezTo>
                    <a:cubicBezTo>
                      <a:pt x="6" y="15"/>
                      <a:pt x="5" y="15"/>
                      <a:pt x="5" y="16"/>
                    </a:cubicBezTo>
                    <a:cubicBezTo>
                      <a:pt x="4" y="17"/>
                      <a:pt x="4" y="19"/>
                      <a:pt x="5" y="20"/>
                    </a:cubicBezTo>
                    <a:cubicBezTo>
                      <a:pt x="5" y="21"/>
                      <a:pt x="6" y="22"/>
                      <a:pt x="7" y="22"/>
                    </a:cubicBezTo>
                    <a:cubicBezTo>
                      <a:pt x="8" y="22"/>
                      <a:pt x="9" y="23"/>
                      <a:pt x="10" y="23"/>
                    </a:cubicBezTo>
                    <a:cubicBezTo>
                      <a:pt x="13" y="23"/>
                      <a:pt x="14" y="19"/>
                      <a:pt x="15" y="17"/>
                    </a:cubicBezTo>
                    <a:cubicBezTo>
                      <a:pt x="15" y="13"/>
                      <a:pt x="14" y="8"/>
                      <a:pt x="10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61" name="Freeform 87"/>
              <p:cNvSpPr>
                <a:spLocks/>
              </p:cNvSpPr>
              <p:nvPr/>
            </p:nvSpPr>
            <p:spPr bwMode="auto">
              <a:xfrm>
                <a:off x="5826125" y="1878013"/>
                <a:ext cx="58737" cy="88900"/>
              </a:xfrm>
              <a:custGeom>
                <a:avLst/>
                <a:gdLst>
                  <a:gd name="T0" fmla="*/ 2 w 15"/>
                  <a:gd name="T1" fmla="*/ 23 h 23"/>
                  <a:gd name="T2" fmla="*/ 1 w 15"/>
                  <a:gd name="T3" fmla="*/ 23 h 23"/>
                  <a:gd name="T4" fmla="*/ 0 w 15"/>
                  <a:gd name="T5" fmla="*/ 20 h 23"/>
                  <a:gd name="T6" fmla="*/ 11 w 15"/>
                  <a:gd name="T7" fmla="*/ 1 h 23"/>
                  <a:gd name="T8" fmla="*/ 13 w 15"/>
                  <a:gd name="T9" fmla="*/ 1 h 23"/>
                  <a:gd name="T10" fmla="*/ 14 w 15"/>
                  <a:gd name="T11" fmla="*/ 3 h 23"/>
                  <a:gd name="T12" fmla="*/ 4 w 15"/>
                  <a:gd name="T13" fmla="*/ 22 h 23"/>
                  <a:gd name="T14" fmla="*/ 2 w 15"/>
                  <a:gd name="T15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" h="23">
                    <a:moveTo>
                      <a:pt x="2" y="23"/>
                    </a:moveTo>
                    <a:cubicBezTo>
                      <a:pt x="2" y="23"/>
                      <a:pt x="1" y="23"/>
                      <a:pt x="1" y="23"/>
                    </a:cubicBezTo>
                    <a:cubicBezTo>
                      <a:pt x="0" y="22"/>
                      <a:pt x="0" y="21"/>
                      <a:pt x="0" y="20"/>
                    </a:cubicBezTo>
                    <a:cubicBezTo>
                      <a:pt x="11" y="1"/>
                      <a:pt x="11" y="1"/>
                      <a:pt x="11" y="1"/>
                    </a:cubicBezTo>
                    <a:cubicBezTo>
                      <a:pt x="11" y="0"/>
                      <a:pt x="12" y="0"/>
                      <a:pt x="13" y="1"/>
                    </a:cubicBezTo>
                    <a:cubicBezTo>
                      <a:pt x="14" y="1"/>
                      <a:pt x="15" y="2"/>
                      <a:pt x="14" y="3"/>
                    </a:cubicBezTo>
                    <a:cubicBezTo>
                      <a:pt x="4" y="22"/>
                      <a:pt x="4" y="22"/>
                      <a:pt x="4" y="22"/>
                    </a:cubicBezTo>
                    <a:cubicBezTo>
                      <a:pt x="3" y="23"/>
                      <a:pt x="3" y="23"/>
                      <a:pt x="2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62" name="Freeform 88"/>
              <p:cNvSpPr>
                <a:spLocks/>
              </p:cNvSpPr>
              <p:nvPr/>
            </p:nvSpPr>
            <p:spPr bwMode="auto">
              <a:xfrm>
                <a:off x="5856288" y="1882775"/>
                <a:ext cx="44450" cy="84138"/>
              </a:xfrm>
              <a:custGeom>
                <a:avLst/>
                <a:gdLst>
                  <a:gd name="T0" fmla="*/ 2 w 11"/>
                  <a:gd name="T1" fmla="*/ 22 h 22"/>
                  <a:gd name="T2" fmla="*/ 1 w 11"/>
                  <a:gd name="T3" fmla="*/ 22 h 22"/>
                  <a:gd name="T4" fmla="*/ 0 w 11"/>
                  <a:gd name="T5" fmla="*/ 19 h 22"/>
                  <a:gd name="T6" fmla="*/ 7 w 11"/>
                  <a:gd name="T7" fmla="*/ 2 h 22"/>
                  <a:gd name="T8" fmla="*/ 9 w 11"/>
                  <a:gd name="T9" fmla="*/ 1 h 22"/>
                  <a:gd name="T10" fmla="*/ 10 w 11"/>
                  <a:gd name="T11" fmla="*/ 3 h 22"/>
                  <a:gd name="T12" fmla="*/ 4 w 11"/>
                  <a:gd name="T13" fmla="*/ 21 h 22"/>
                  <a:gd name="T14" fmla="*/ 2 w 11"/>
                  <a:gd name="T15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22">
                    <a:moveTo>
                      <a:pt x="2" y="22"/>
                    </a:moveTo>
                    <a:cubicBezTo>
                      <a:pt x="2" y="22"/>
                      <a:pt x="2" y="22"/>
                      <a:pt x="1" y="22"/>
                    </a:cubicBezTo>
                    <a:cubicBezTo>
                      <a:pt x="0" y="21"/>
                      <a:pt x="0" y="20"/>
                      <a:pt x="0" y="19"/>
                    </a:cubicBezTo>
                    <a:cubicBezTo>
                      <a:pt x="7" y="2"/>
                      <a:pt x="7" y="2"/>
                      <a:pt x="7" y="2"/>
                    </a:cubicBezTo>
                    <a:cubicBezTo>
                      <a:pt x="7" y="1"/>
                      <a:pt x="8" y="0"/>
                      <a:pt x="9" y="1"/>
                    </a:cubicBezTo>
                    <a:cubicBezTo>
                      <a:pt x="10" y="1"/>
                      <a:pt x="11" y="2"/>
                      <a:pt x="10" y="3"/>
                    </a:cubicBezTo>
                    <a:cubicBezTo>
                      <a:pt x="4" y="21"/>
                      <a:pt x="4" y="21"/>
                      <a:pt x="4" y="21"/>
                    </a:cubicBezTo>
                    <a:cubicBezTo>
                      <a:pt x="4" y="22"/>
                      <a:pt x="3" y="22"/>
                      <a:pt x="2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63" name="Freeform 89"/>
              <p:cNvSpPr>
                <a:spLocks noEditPoints="1"/>
              </p:cNvSpPr>
              <p:nvPr/>
            </p:nvSpPr>
            <p:spPr bwMode="auto">
              <a:xfrm>
                <a:off x="5653088" y="1858963"/>
                <a:ext cx="93662" cy="107950"/>
              </a:xfrm>
              <a:custGeom>
                <a:avLst/>
                <a:gdLst>
                  <a:gd name="T0" fmla="*/ 22 w 24"/>
                  <a:gd name="T1" fmla="*/ 28 h 28"/>
                  <a:gd name="T2" fmla="*/ 22 w 24"/>
                  <a:gd name="T3" fmla="*/ 28 h 28"/>
                  <a:gd name="T4" fmla="*/ 10 w 24"/>
                  <a:gd name="T5" fmla="*/ 28 h 28"/>
                  <a:gd name="T6" fmla="*/ 8 w 24"/>
                  <a:gd name="T7" fmla="*/ 27 h 28"/>
                  <a:gd name="T8" fmla="*/ 2 w 24"/>
                  <a:gd name="T9" fmla="*/ 15 h 28"/>
                  <a:gd name="T10" fmla="*/ 2 w 24"/>
                  <a:gd name="T11" fmla="*/ 14 h 28"/>
                  <a:gd name="T12" fmla="*/ 0 w 24"/>
                  <a:gd name="T13" fmla="*/ 2 h 28"/>
                  <a:gd name="T14" fmla="*/ 1 w 24"/>
                  <a:gd name="T15" fmla="*/ 0 h 28"/>
                  <a:gd name="T16" fmla="*/ 3 w 24"/>
                  <a:gd name="T17" fmla="*/ 0 h 28"/>
                  <a:gd name="T18" fmla="*/ 13 w 24"/>
                  <a:gd name="T19" fmla="*/ 6 h 28"/>
                  <a:gd name="T20" fmla="*/ 14 w 24"/>
                  <a:gd name="T21" fmla="*/ 7 h 28"/>
                  <a:gd name="T22" fmla="*/ 24 w 24"/>
                  <a:gd name="T23" fmla="*/ 25 h 28"/>
                  <a:gd name="T24" fmla="*/ 24 w 24"/>
                  <a:gd name="T25" fmla="*/ 26 h 28"/>
                  <a:gd name="T26" fmla="*/ 22 w 24"/>
                  <a:gd name="T27" fmla="*/ 28 h 28"/>
                  <a:gd name="T28" fmla="*/ 11 w 24"/>
                  <a:gd name="T29" fmla="*/ 24 h 28"/>
                  <a:gd name="T30" fmla="*/ 19 w 24"/>
                  <a:gd name="T31" fmla="*/ 24 h 28"/>
                  <a:gd name="T32" fmla="*/ 11 w 24"/>
                  <a:gd name="T33" fmla="*/ 9 h 28"/>
                  <a:gd name="T34" fmla="*/ 5 w 24"/>
                  <a:gd name="T35" fmla="*/ 6 h 28"/>
                  <a:gd name="T36" fmla="*/ 6 w 24"/>
                  <a:gd name="T37" fmla="*/ 13 h 28"/>
                  <a:gd name="T38" fmla="*/ 11 w 24"/>
                  <a:gd name="T39" fmla="*/ 2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4" h="28">
                    <a:moveTo>
                      <a:pt x="22" y="28"/>
                    </a:moveTo>
                    <a:cubicBezTo>
                      <a:pt x="22" y="28"/>
                      <a:pt x="22" y="28"/>
                      <a:pt x="22" y="28"/>
                    </a:cubicBezTo>
                    <a:cubicBezTo>
                      <a:pt x="10" y="28"/>
                      <a:pt x="10" y="28"/>
                      <a:pt x="10" y="28"/>
                    </a:cubicBezTo>
                    <a:cubicBezTo>
                      <a:pt x="9" y="28"/>
                      <a:pt x="9" y="28"/>
                      <a:pt x="8" y="27"/>
                    </a:cubicBezTo>
                    <a:cubicBezTo>
                      <a:pt x="2" y="15"/>
                      <a:pt x="2" y="15"/>
                      <a:pt x="2" y="15"/>
                    </a:cubicBezTo>
                    <a:cubicBezTo>
                      <a:pt x="2" y="15"/>
                      <a:pt x="2" y="15"/>
                      <a:pt x="2" y="14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2" y="0"/>
                      <a:pt x="3" y="0"/>
                    </a:cubicBezTo>
                    <a:cubicBezTo>
                      <a:pt x="13" y="6"/>
                      <a:pt x="13" y="6"/>
                      <a:pt x="13" y="6"/>
                    </a:cubicBezTo>
                    <a:cubicBezTo>
                      <a:pt x="13" y="6"/>
                      <a:pt x="14" y="7"/>
                      <a:pt x="14" y="7"/>
                    </a:cubicBezTo>
                    <a:cubicBezTo>
                      <a:pt x="24" y="25"/>
                      <a:pt x="24" y="25"/>
                      <a:pt x="24" y="25"/>
                    </a:cubicBezTo>
                    <a:cubicBezTo>
                      <a:pt x="24" y="25"/>
                      <a:pt x="24" y="25"/>
                      <a:pt x="24" y="26"/>
                    </a:cubicBezTo>
                    <a:cubicBezTo>
                      <a:pt x="24" y="27"/>
                      <a:pt x="23" y="28"/>
                      <a:pt x="22" y="28"/>
                    </a:cubicBezTo>
                    <a:close/>
                    <a:moveTo>
                      <a:pt x="11" y="24"/>
                    </a:moveTo>
                    <a:cubicBezTo>
                      <a:pt x="19" y="24"/>
                      <a:pt x="19" y="24"/>
                      <a:pt x="19" y="24"/>
                    </a:cubicBezTo>
                    <a:cubicBezTo>
                      <a:pt x="11" y="9"/>
                      <a:pt x="11" y="9"/>
                      <a:pt x="11" y="9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6" y="13"/>
                      <a:pt x="6" y="13"/>
                      <a:pt x="6" y="13"/>
                    </a:cubicBezTo>
                    <a:lnTo>
                      <a:pt x="11" y="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64" name="Freeform 90"/>
              <p:cNvSpPr>
                <a:spLocks/>
              </p:cNvSpPr>
              <p:nvPr/>
            </p:nvSpPr>
            <p:spPr bwMode="auto">
              <a:xfrm>
                <a:off x="5661025" y="1882775"/>
                <a:ext cx="47625" cy="38100"/>
              </a:xfrm>
              <a:custGeom>
                <a:avLst/>
                <a:gdLst>
                  <a:gd name="T0" fmla="*/ 2 w 12"/>
                  <a:gd name="T1" fmla="*/ 10 h 10"/>
                  <a:gd name="T2" fmla="*/ 0 w 12"/>
                  <a:gd name="T3" fmla="*/ 9 h 10"/>
                  <a:gd name="T4" fmla="*/ 1 w 12"/>
                  <a:gd name="T5" fmla="*/ 6 h 10"/>
                  <a:gd name="T6" fmla="*/ 9 w 12"/>
                  <a:gd name="T7" fmla="*/ 0 h 10"/>
                  <a:gd name="T8" fmla="*/ 12 w 12"/>
                  <a:gd name="T9" fmla="*/ 1 h 10"/>
                  <a:gd name="T10" fmla="*/ 11 w 12"/>
                  <a:gd name="T11" fmla="*/ 4 h 10"/>
                  <a:gd name="T12" fmla="*/ 3 w 12"/>
                  <a:gd name="T13" fmla="*/ 10 h 10"/>
                  <a:gd name="T14" fmla="*/ 2 w 12"/>
                  <a:gd name="T15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" h="10">
                    <a:moveTo>
                      <a:pt x="2" y="10"/>
                    </a:moveTo>
                    <a:cubicBezTo>
                      <a:pt x="1" y="10"/>
                      <a:pt x="1" y="10"/>
                      <a:pt x="0" y="9"/>
                    </a:cubicBezTo>
                    <a:cubicBezTo>
                      <a:pt x="0" y="8"/>
                      <a:pt x="0" y="7"/>
                      <a:pt x="1" y="6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10" y="0"/>
                      <a:pt x="11" y="0"/>
                      <a:pt x="12" y="1"/>
                    </a:cubicBezTo>
                    <a:cubicBezTo>
                      <a:pt x="12" y="2"/>
                      <a:pt x="12" y="3"/>
                      <a:pt x="11" y="4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3" y="10"/>
                      <a:pt x="2" y="10"/>
                      <a:pt x="2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65" name="Freeform 91"/>
              <p:cNvSpPr>
                <a:spLocks noEditPoints="1"/>
              </p:cNvSpPr>
              <p:nvPr/>
            </p:nvSpPr>
            <p:spPr bwMode="auto">
              <a:xfrm>
                <a:off x="5746750" y="1797050"/>
                <a:ext cx="79375" cy="169863"/>
              </a:xfrm>
              <a:custGeom>
                <a:avLst/>
                <a:gdLst>
                  <a:gd name="T0" fmla="*/ 18 w 20"/>
                  <a:gd name="T1" fmla="*/ 44 h 44"/>
                  <a:gd name="T2" fmla="*/ 2 w 20"/>
                  <a:gd name="T3" fmla="*/ 44 h 44"/>
                  <a:gd name="T4" fmla="*/ 0 w 20"/>
                  <a:gd name="T5" fmla="*/ 42 h 44"/>
                  <a:gd name="T6" fmla="*/ 0 w 20"/>
                  <a:gd name="T7" fmla="*/ 2 h 44"/>
                  <a:gd name="T8" fmla="*/ 2 w 20"/>
                  <a:gd name="T9" fmla="*/ 0 h 44"/>
                  <a:gd name="T10" fmla="*/ 18 w 20"/>
                  <a:gd name="T11" fmla="*/ 0 h 44"/>
                  <a:gd name="T12" fmla="*/ 20 w 20"/>
                  <a:gd name="T13" fmla="*/ 2 h 44"/>
                  <a:gd name="T14" fmla="*/ 20 w 20"/>
                  <a:gd name="T15" fmla="*/ 42 h 44"/>
                  <a:gd name="T16" fmla="*/ 18 w 20"/>
                  <a:gd name="T17" fmla="*/ 44 h 44"/>
                  <a:gd name="T18" fmla="*/ 4 w 20"/>
                  <a:gd name="T19" fmla="*/ 40 h 44"/>
                  <a:gd name="T20" fmla="*/ 16 w 20"/>
                  <a:gd name="T21" fmla="*/ 40 h 44"/>
                  <a:gd name="T22" fmla="*/ 16 w 20"/>
                  <a:gd name="T23" fmla="*/ 4 h 44"/>
                  <a:gd name="T24" fmla="*/ 4 w 20"/>
                  <a:gd name="T25" fmla="*/ 4 h 44"/>
                  <a:gd name="T26" fmla="*/ 4 w 20"/>
                  <a:gd name="T27" fmla="*/ 4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0" h="44">
                    <a:moveTo>
                      <a:pt x="18" y="44"/>
                    </a:moveTo>
                    <a:cubicBezTo>
                      <a:pt x="2" y="44"/>
                      <a:pt x="2" y="44"/>
                      <a:pt x="2" y="44"/>
                    </a:cubicBezTo>
                    <a:cubicBezTo>
                      <a:pt x="1" y="44"/>
                      <a:pt x="0" y="43"/>
                      <a:pt x="0" y="4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19" y="0"/>
                      <a:pt x="20" y="1"/>
                      <a:pt x="20" y="2"/>
                    </a:cubicBezTo>
                    <a:cubicBezTo>
                      <a:pt x="20" y="42"/>
                      <a:pt x="20" y="42"/>
                      <a:pt x="20" y="42"/>
                    </a:cubicBezTo>
                    <a:cubicBezTo>
                      <a:pt x="20" y="43"/>
                      <a:pt x="19" y="44"/>
                      <a:pt x="18" y="44"/>
                    </a:cubicBezTo>
                    <a:close/>
                    <a:moveTo>
                      <a:pt x="4" y="40"/>
                    </a:moveTo>
                    <a:cubicBezTo>
                      <a:pt x="16" y="40"/>
                      <a:pt x="16" y="40"/>
                      <a:pt x="16" y="40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4" y="4"/>
                      <a:pt x="4" y="4"/>
                      <a:pt x="4" y="4"/>
                    </a:cubicBezTo>
                    <a:lnTo>
                      <a:pt x="4" y="4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66" name="Freeform 92"/>
              <p:cNvSpPr>
                <a:spLocks/>
              </p:cNvSpPr>
              <p:nvPr/>
            </p:nvSpPr>
            <p:spPr bwMode="auto">
              <a:xfrm>
                <a:off x="5778500" y="1828800"/>
                <a:ext cx="47625" cy="14288"/>
              </a:xfrm>
              <a:custGeom>
                <a:avLst/>
                <a:gdLst>
                  <a:gd name="T0" fmla="*/ 10 w 12"/>
                  <a:gd name="T1" fmla="*/ 4 h 4"/>
                  <a:gd name="T2" fmla="*/ 2 w 12"/>
                  <a:gd name="T3" fmla="*/ 4 h 4"/>
                  <a:gd name="T4" fmla="*/ 0 w 12"/>
                  <a:gd name="T5" fmla="*/ 2 h 4"/>
                  <a:gd name="T6" fmla="*/ 2 w 12"/>
                  <a:gd name="T7" fmla="*/ 0 h 4"/>
                  <a:gd name="T8" fmla="*/ 10 w 12"/>
                  <a:gd name="T9" fmla="*/ 0 h 4"/>
                  <a:gd name="T10" fmla="*/ 12 w 12"/>
                  <a:gd name="T11" fmla="*/ 2 h 4"/>
                  <a:gd name="T12" fmla="*/ 10 w 12"/>
                  <a:gd name="T1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4">
                    <a:moveTo>
                      <a:pt x="10" y="4"/>
                    </a:moveTo>
                    <a:cubicBezTo>
                      <a:pt x="2" y="4"/>
                      <a:pt x="2" y="4"/>
                      <a:pt x="2" y="4"/>
                    </a:cubicBezTo>
                    <a:cubicBezTo>
                      <a:pt x="1" y="4"/>
                      <a:pt x="0" y="3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11" y="0"/>
                      <a:pt x="12" y="1"/>
                      <a:pt x="12" y="2"/>
                    </a:cubicBezTo>
                    <a:cubicBezTo>
                      <a:pt x="12" y="3"/>
                      <a:pt x="11" y="4"/>
                      <a:pt x="1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67" name="Freeform 93"/>
              <p:cNvSpPr>
                <a:spLocks/>
              </p:cNvSpPr>
              <p:nvPr/>
            </p:nvSpPr>
            <p:spPr bwMode="auto">
              <a:xfrm>
                <a:off x="5794375" y="1858963"/>
                <a:ext cx="31750" cy="15875"/>
              </a:xfrm>
              <a:custGeom>
                <a:avLst/>
                <a:gdLst>
                  <a:gd name="T0" fmla="*/ 6 w 8"/>
                  <a:gd name="T1" fmla="*/ 4 h 4"/>
                  <a:gd name="T2" fmla="*/ 2 w 8"/>
                  <a:gd name="T3" fmla="*/ 4 h 4"/>
                  <a:gd name="T4" fmla="*/ 0 w 8"/>
                  <a:gd name="T5" fmla="*/ 2 h 4"/>
                  <a:gd name="T6" fmla="*/ 2 w 8"/>
                  <a:gd name="T7" fmla="*/ 0 h 4"/>
                  <a:gd name="T8" fmla="*/ 6 w 8"/>
                  <a:gd name="T9" fmla="*/ 0 h 4"/>
                  <a:gd name="T10" fmla="*/ 8 w 8"/>
                  <a:gd name="T11" fmla="*/ 2 h 4"/>
                  <a:gd name="T12" fmla="*/ 6 w 8"/>
                  <a:gd name="T1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4">
                    <a:moveTo>
                      <a:pt x="6" y="4"/>
                    </a:moveTo>
                    <a:cubicBezTo>
                      <a:pt x="2" y="4"/>
                      <a:pt x="2" y="4"/>
                      <a:pt x="2" y="4"/>
                    </a:cubicBezTo>
                    <a:cubicBezTo>
                      <a:pt x="1" y="4"/>
                      <a:pt x="0" y="3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7" y="0"/>
                      <a:pt x="8" y="1"/>
                      <a:pt x="8" y="2"/>
                    </a:cubicBezTo>
                    <a:cubicBezTo>
                      <a:pt x="8" y="3"/>
                      <a:pt x="7" y="4"/>
                      <a:pt x="6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68" name="Freeform 94"/>
              <p:cNvSpPr>
                <a:spLocks/>
              </p:cNvSpPr>
              <p:nvPr/>
            </p:nvSpPr>
            <p:spPr bwMode="auto">
              <a:xfrm>
                <a:off x="5778500" y="1890713"/>
                <a:ext cx="47625" cy="14288"/>
              </a:xfrm>
              <a:custGeom>
                <a:avLst/>
                <a:gdLst>
                  <a:gd name="T0" fmla="*/ 10 w 12"/>
                  <a:gd name="T1" fmla="*/ 4 h 4"/>
                  <a:gd name="T2" fmla="*/ 2 w 12"/>
                  <a:gd name="T3" fmla="*/ 4 h 4"/>
                  <a:gd name="T4" fmla="*/ 0 w 12"/>
                  <a:gd name="T5" fmla="*/ 2 h 4"/>
                  <a:gd name="T6" fmla="*/ 2 w 12"/>
                  <a:gd name="T7" fmla="*/ 0 h 4"/>
                  <a:gd name="T8" fmla="*/ 10 w 12"/>
                  <a:gd name="T9" fmla="*/ 0 h 4"/>
                  <a:gd name="T10" fmla="*/ 12 w 12"/>
                  <a:gd name="T11" fmla="*/ 2 h 4"/>
                  <a:gd name="T12" fmla="*/ 10 w 12"/>
                  <a:gd name="T1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4">
                    <a:moveTo>
                      <a:pt x="10" y="4"/>
                    </a:moveTo>
                    <a:cubicBezTo>
                      <a:pt x="2" y="4"/>
                      <a:pt x="2" y="4"/>
                      <a:pt x="2" y="4"/>
                    </a:cubicBezTo>
                    <a:cubicBezTo>
                      <a:pt x="1" y="4"/>
                      <a:pt x="0" y="3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11" y="0"/>
                      <a:pt x="12" y="1"/>
                      <a:pt x="12" y="2"/>
                    </a:cubicBezTo>
                    <a:cubicBezTo>
                      <a:pt x="12" y="3"/>
                      <a:pt x="11" y="4"/>
                      <a:pt x="1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69" name="Freeform 95"/>
              <p:cNvSpPr>
                <a:spLocks/>
              </p:cNvSpPr>
              <p:nvPr/>
            </p:nvSpPr>
            <p:spPr bwMode="auto">
              <a:xfrm>
                <a:off x="5794375" y="1920875"/>
                <a:ext cx="31750" cy="15875"/>
              </a:xfrm>
              <a:custGeom>
                <a:avLst/>
                <a:gdLst>
                  <a:gd name="T0" fmla="*/ 6 w 8"/>
                  <a:gd name="T1" fmla="*/ 4 h 4"/>
                  <a:gd name="T2" fmla="*/ 2 w 8"/>
                  <a:gd name="T3" fmla="*/ 4 h 4"/>
                  <a:gd name="T4" fmla="*/ 0 w 8"/>
                  <a:gd name="T5" fmla="*/ 2 h 4"/>
                  <a:gd name="T6" fmla="*/ 2 w 8"/>
                  <a:gd name="T7" fmla="*/ 0 h 4"/>
                  <a:gd name="T8" fmla="*/ 6 w 8"/>
                  <a:gd name="T9" fmla="*/ 0 h 4"/>
                  <a:gd name="T10" fmla="*/ 8 w 8"/>
                  <a:gd name="T11" fmla="*/ 2 h 4"/>
                  <a:gd name="T12" fmla="*/ 6 w 8"/>
                  <a:gd name="T1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4">
                    <a:moveTo>
                      <a:pt x="6" y="4"/>
                    </a:moveTo>
                    <a:cubicBezTo>
                      <a:pt x="2" y="4"/>
                      <a:pt x="2" y="4"/>
                      <a:pt x="2" y="4"/>
                    </a:cubicBezTo>
                    <a:cubicBezTo>
                      <a:pt x="1" y="4"/>
                      <a:pt x="0" y="3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7" y="0"/>
                      <a:pt x="8" y="1"/>
                      <a:pt x="8" y="2"/>
                    </a:cubicBezTo>
                    <a:cubicBezTo>
                      <a:pt x="8" y="3"/>
                      <a:pt x="7" y="4"/>
                      <a:pt x="6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155" name="Group 154"/>
            <p:cNvGrpSpPr>
              <a:grpSpLocks noChangeAspect="1"/>
            </p:cNvGrpSpPr>
            <p:nvPr/>
          </p:nvGrpSpPr>
          <p:grpSpPr>
            <a:xfrm>
              <a:off x="3243426" y="5786928"/>
              <a:ext cx="252001" cy="252000"/>
              <a:chOff x="2182813" y="2376488"/>
              <a:chExt cx="371476" cy="371475"/>
            </a:xfrm>
            <a:solidFill>
              <a:schemeClr val="bg1"/>
            </a:solidFill>
          </p:grpSpPr>
          <p:sp>
            <p:nvSpPr>
              <p:cNvPr id="156" name="Freeform 101"/>
              <p:cNvSpPr>
                <a:spLocks/>
              </p:cNvSpPr>
              <p:nvPr/>
            </p:nvSpPr>
            <p:spPr bwMode="auto">
              <a:xfrm>
                <a:off x="2182813" y="2376488"/>
                <a:ext cx="371475" cy="371475"/>
              </a:xfrm>
              <a:custGeom>
                <a:avLst/>
                <a:gdLst>
                  <a:gd name="T0" fmla="*/ 42 w 96"/>
                  <a:gd name="T1" fmla="*/ 96 h 96"/>
                  <a:gd name="T2" fmla="*/ 40 w 96"/>
                  <a:gd name="T3" fmla="*/ 83 h 96"/>
                  <a:gd name="T4" fmla="*/ 23 w 96"/>
                  <a:gd name="T5" fmla="*/ 88 h 96"/>
                  <a:gd name="T6" fmla="*/ 8 w 96"/>
                  <a:gd name="T7" fmla="*/ 76 h 96"/>
                  <a:gd name="T8" fmla="*/ 8 w 96"/>
                  <a:gd name="T9" fmla="*/ 73 h 96"/>
                  <a:gd name="T10" fmla="*/ 13 w 96"/>
                  <a:gd name="T11" fmla="*/ 56 h 96"/>
                  <a:gd name="T12" fmla="*/ 0 w 96"/>
                  <a:gd name="T13" fmla="*/ 54 h 96"/>
                  <a:gd name="T14" fmla="*/ 2 w 96"/>
                  <a:gd name="T15" fmla="*/ 40 h 96"/>
                  <a:gd name="T16" fmla="*/ 17 w 96"/>
                  <a:gd name="T17" fmla="*/ 31 h 96"/>
                  <a:gd name="T18" fmla="*/ 8 w 96"/>
                  <a:gd name="T19" fmla="*/ 21 h 96"/>
                  <a:gd name="T20" fmla="*/ 20 w 96"/>
                  <a:gd name="T21" fmla="*/ 8 h 96"/>
                  <a:gd name="T22" fmla="*/ 31 w 96"/>
                  <a:gd name="T23" fmla="*/ 17 h 96"/>
                  <a:gd name="T24" fmla="*/ 40 w 96"/>
                  <a:gd name="T25" fmla="*/ 2 h 96"/>
                  <a:gd name="T26" fmla="*/ 54 w 96"/>
                  <a:gd name="T27" fmla="*/ 0 h 96"/>
                  <a:gd name="T28" fmla="*/ 56 w 96"/>
                  <a:gd name="T29" fmla="*/ 13 h 96"/>
                  <a:gd name="T30" fmla="*/ 67 w 96"/>
                  <a:gd name="T31" fmla="*/ 20 h 96"/>
                  <a:gd name="T32" fmla="*/ 54 w 96"/>
                  <a:gd name="T33" fmla="*/ 17 h 96"/>
                  <a:gd name="T34" fmla="*/ 52 w 96"/>
                  <a:gd name="T35" fmla="*/ 4 h 96"/>
                  <a:gd name="T36" fmla="*/ 44 w 96"/>
                  <a:gd name="T37" fmla="*/ 15 h 96"/>
                  <a:gd name="T38" fmla="*/ 31 w 96"/>
                  <a:gd name="T39" fmla="*/ 21 h 96"/>
                  <a:gd name="T40" fmla="*/ 21 w 96"/>
                  <a:gd name="T41" fmla="*/ 13 h 96"/>
                  <a:gd name="T42" fmla="*/ 20 w 96"/>
                  <a:gd name="T43" fmla="*/ 29 h 96"/>
                  <a:gd name="T44" fmla="*/ 17 w 96"/>
                  <a:gd name="T45" fmla="*/ 42 h 96"/>
                  <a:gd name="T46" fmla="*/ 4 w 96"/>
                  <a:gd name="T47" fmla="*/ 44 h 96"/>
                  <a:gd name="T48" fmla="*/ 15 w 96"/>
                  <a:gd name="T49" fmla="*/ 52 h 96"/>
                  <a:gd name="T50" fmla="*/ 21 w 96"/>
                  <a:gd name="T51" fmla="*/ 65 h 96"/>
                  <a:gd name="T52" fmla="*/ 13 w 96"/>
                  <a:gd name="T53" fmla="*/ 75 h 96"/>
                  <a:gd name="T54" fmla="*/ 29 w 96"/>
                  <a:gd name="T55" fmla="*/ 76 h 96"/>
                  <a:gd name="T56" fmla="*/ 42 w 96"/>
                  <a:gd name="T57" fmla="*/ 79 h 96"/>
                  <a:gd name="T58" fmla="*/ 44 w 96"/>
                  <a:gd name="T59" fmla="*/ 92 h 96"/>
                  <a:gd name="T60" fmla="*/ 52 w 96"/>
                  <a:gd name="T61" fmla="*/ 81 h 96"/>
                  <a:gd name="T62" fmla="*/ 65 w 96"/>
                  <a:gd name="T63" fmla="*/ 75 h 96"/>
                  <a:gd name="T64" fmla="*/ 75 w 96"/>
                  <a:gd name="T65" fmla="*/ 83 h 96"/>
                  <a:gd name="T66" fmla="*/ 76 w 96"/>
                  <a:gd name="T67" fmla="*/ 67 h 96"/>
                  <a:gd name="T68" fmla="*/ 79 w 96"/>
                  <a:gd name="T69" fmla="*/ 54 h 96"/>
                  <a:gd name="T70" fmla="*/ 92 w 96"/>
                  <a:gd name="T71" fmla="*/ 52 h 96"/>
                  <a:gd name="T72" fmla="*/ 81 w 96"/>
                  <a:gd name="T73" fmla="*/ 44 h 96"/>
                  <a:gd name="T74" fmla="*/ 77 w 96"/>
                  <a:gd name="T75" fmla="*/ 36 h 96"/>
                  <a:gd name="T76" fmla="*/ 81 w 96"/>
                  <a:gd name="T77" fmla="*/ 34 h 96"/>
                  <a:gd name="T78" fmla="*/ 94 w 96"/>
                  <a:gd name="T79" fmla="*/ 40 h 96"/>
                  <a:gd name="T80" fmla="*/ 96 w 96"/>
                  <a:gd name="T81" fmla="*/ 54 h 96"/>
                  <a:gd name="T82" fmla="*/ 83 w 96"/>
                  <a:gd name="T83" fmla="*/ 56 h 96"/>
                  <a:gd name="T84" fmla="*/ 88 w 96"/>
                  <a:gd name="T85" fmla="*/ 73 h 96"/>
                  <a:gd name="T86" fmla="*/ 76 w 96"/>
                  <a:gd name="T87" fmla="*/ 88 h 96"/>
                  <a:gd name="T88" fmla="*/ 65 w 96"/>
                  <a:gd name="T89" fmla="*/ 79 h 96"/>
                  <a:gd name="T90" fmla="*/ 56 w 96"/>
                  <a:gd name="T91" fmla="*/ 94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96" h="96">
                    <a:moveTo>
                      <a:pt x="54" y="96"/>
                    </a:moveTo>
                    <a:cubicBezTo>
                      <a:pt x="42" y="96"/>
                      <a:pt x="42" y="96"/>
                      <a:pt x="42" y="96"/>
                    </a:cubicBezTo>
                    <a:cubicBezTo>
                      <a:pt x="41" y="96"/>
                      <a:pt x="40" y="95"/>
                      <a:pt x="40" y="94"/>
                    </a:cubicBezTo>
                    <a:cubicBezTo>
                      <a:pt x="40" y="83"/>
                      <a:pt x="40" y="83"/>
                      <a:pt x="40" y="83"/>
                    </a:cubicBezTo>
                    <a:cubicBezTo>
                      <a:pt x="37" y="82"/>
                      <a:pt x="33" y="81"/>
                      <a:pt x="31" y="79"/>
                    </a:cubicBezTo>
                    <a:cubicBezTo>
                      <a:pt x="23" y="88"/>
                      <a:pt x="23" y="88"/>
                      <a:pt x="23" y="88"/>
                    </a:cubicBezTo>
                    <a:cubicBezTo>
                      <a:pt x="22" y="88"/>
                      <a:pt x="20" y="88"/>
                      <a:pt x="20" y="88"/>
                    </a:cubicBezTo>
                    <a:cubicBezTo>
                      <a:pt x="8" y="76"/>
                      <a:pt x="8" y="76"/>
                      <a:pt x="8" y="76"/>
                    </a:cubicBezTo>
                    <a:cubicBezTo>
                      <a:pt x="8" y="76"/>
                      <a:pt x="8" y="75"/>
                      <a:pt x="8" y="75"/>
                    </a:cubicBezTo>
                    <a:cubicBezTo>
                      <a:pt x="8" y="74"/>
                      <a:pt x="8" y="74"/>
                      <a:pt x="8" y="73"/>
                    </a:cubicBezTo>
                    <a:cubicBezTo>
                      <a:pt x="17" y="65"/>
                      <a:pt x="17" y="65"/>
                      <a:pt x="17" y="65"/>
                    </a:cubicBezTo>
                    <a:cubicBezTo>
                      <a:pt x="15" y="63"/>
                      <a:pt x="14" y="59"/>
                      <a:pt x="13" y="56"/>
                    </a:cubicBezTo>
                    <a:cubicBezTo>
                      <a:pt x="2" y="56"/>
                      <a:pt x="2" y="56"/>
                      <a:pt x="2" y="56"/>
                    </a:cubicBezTo>
                    <a:cubicBezTo>
                      <a:pt x="1" y="56"/>
                      <a:pt x="0" y="55"/>
                      <a:pt x="0" y="54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0" y="41"/>
                      <a:pt x="1" y="40"/>
                      <a:pt x="2" y="40"/>
                    </a:cubicBezTo>
                    <a:cubicBezTo>
                      <a:pt x="13" y="40"/>
                      <a:pt x="13" y="40"/>
                      <a:pt x="13" y="40"/>
                    </a:cubicBezTo>
                    <a:cubicBezTo>
                      <a:pt x="14" y="37"/>
                      <a:pt x="15" y="33"/>
                      <a:pt x="17" y="31"/>
                    </a:cubicBezTo>
                    <a:cubicBezTo>
                      <a:pt x="8" y="23"/>
                      <a:pt x="8" y="23"/>
                      <a:pt x="8" y="23"/>
                    </a:cubicBezTo>
                    <a:cubicBezTo>
                      <a:pt x="8" y="22"/>
                      <a:pt x="8" y="22"/>
                      <a:pt x="8" y="21"/>
                    </a:cubicBezTo>
                    <a:cubicBezTo>
                      <a:pt x="8" y="21"/>
                      <a:pt x="8" y="20"/>
                      <a:pt x="8" y="20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8"/>
                      <a:pt x="22" y="8"/>
                      <a:pt x="23" y="8"/>
                    </a:cubicBezTo>
                    <a:cubicBezTo>
                      <a:pt x="31" y="17"/>
                      <a:pt x="31" y="17"/>
                      <a:pt x="31" y="17"/>
                    </a:cubicBezTo>
                    <a:cubicBezTo>
                      <a:pt x="33" y="15"/>
                      <a:pt x="37" y="14"/>
                      <a:pt x="40" y="13"/>
                    </a:cubicBezTo>
                    <a:cubicBezTo>
                      <a:pt x="40" y="2"/>
                      <a:pt x="40" y="2"/>
                      <a:pt x="40" y="2"/>
                    </a:cubicBezTo>
                    <a:cubicBezTo>
                      <a:pt x="40" y="1"/>
                      <a:pt x="41" y="0"/>
                      <a:pt x="42" y="0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55" y="0"/>
                      <a:pt x="56" y="1"/>
                      <a:pt x="56" y="2"/>
                    </a:cubicBezTo>
                    <a:cubicBezTo>
                      <a:pt x="56" y="13"/>
                      <a:pt x="56" y="13"/>
                      <a:pt x="56" y="13"/>
                    </a:cubicBezTo>
                    <a:cubicBezTo>
                      <a:pt x="60" y="14"/>
                      <a:pt x="64" y="16"/>
                      <a:pt x="67" y="17"/>
                    </a:cubicBezTo>
                    <a:cubicBezTo>
                      <a:pt x="68" y="18"/>
                      <a:pt x="68" y="19"/>
                      <a:pt x="67" y="20"/>
                    </a:cubicBezTo>
                    <a:cubicBezTo>
                      <a:pt x="67" y="21"/>
                      <a:pt x="66" y="21"/>
                      <a:pt x="65" y="21"/>
                    </a:cubicBezTo>
                    <a:cubicBezTo>
                      <a:pt x="62" y="19"/>
                      <a:pt x="57" y="18"/>
                      <a:pt x="54" y="17"/>
                    </a:cubicBezTo>
                    <a:cubicBezTo>
                      <a:pt x="53" y="17"/>
                      <a:pt x="52" y="16"/>
                      <a:pt x="52" y="15"/>
                    </a:cubicBezTo>
                    <a:cubicBezTo>
                      <a:pt x="52" y="4"/>
                      <a:pt x="52" y="4"/>
                      <a:pt x="52" y="4"/>
                    </a:cubicBezTo>
                    <a:cubicBezTo>
                      <a:pt x="44" y="4"/>
                      <a:pt x="44" y="4"/>
                      <a:pt x="44" y="4"/>
                    </a:cubicBezTo>
                    <a:cubicBezTo>
                      <a:pt x="44" y="15"/>
                      <a:pt x="44" y="15"/>
                      <a:pt x="44" y="15"/>
                    </a:cubicBezTo>
                    <a:cubicBezTo>
                      <a:pt x="44" y="16"/>
                      <a:pt x="43" y="17"/>
                      <a:pt x="42" y="17"/>
                    </a:cubicBezTo>
                    <a:cubicBezTo>
                      <a:pt x="39" y="18"/>
                      <a:pt x="34" y="19"/>
                      <a:pt x="31" y="21"/>
                    </a:cubicBezTo>
                    <a:cubicBezTo>
                      <a:pt x="31" y="21"/>
                      <a:pt x="30" y="21"/>
                      <a:pt x="29" y="20"/>
                    </a:cubicBezTo>
                    <a:cubicBezTo>
                      <a:pt x="21" y="13"/>
                      <a:pt x="21" y="13"/>
                      <a:pt x="21" y="13"/>
                    </a:cubicBezTo>
                    <a:cubicBezTo>
                      <a:pt x="13" y="21"/>
                      <a:pt x="13" y="21"/>
                      <a:pt x="13" y="21"/>
                    </a:cubicBezTo>
                    <a:cubicBezTo>
                      <a:pt x="20" y="29"/>
                      <a:pt x="20" y="29"/>
                      <a:pt x="20" y="29"/>
                    </a:cubicBezTo>
                    <a:cubicBezTo>
                      <a:pt x="21" y="30"/>
                      <a:pt x="21" y="31"/>
                      <a:pt x="21" y="31"/>
                    </a:cubicBezTo>
                    <a:cubicBezTo>
                      <a:pt x="19" y="34"/>
                      <a:pt x="17" y="40"/>
                      <a:pt x="17" y="42"/>
                    </a:cubicBezTo>
                    <a:cubicBezTo>
                      <a:pt x="17" y="43"/>
                      <a:pt x="16" y="44"/>
                      <a:pt x="15" y="44"/>
                    </a:cubicBezTo>
                    <a:cubicBezTo>
                      <a:pt x="4" y="44"/>
                      <a:pt x="4" y="44"/>
                      <a:pt x="4" y="44"/>
                    </a:cubicBezTo>
                    <a:cubicBezTo>
                      <a:pt x="4" y="52"/>
                      <a:pt x="4" y="52"/>
                      <a:pt x="4" y="52"/>
                    </a:cubicBezTo>
                    <a:cubicBezTo>
                      <a:pt x="15" y="52"/>
                      <a:pt x="15" y="52"/>
                      <a:pt x="15" y="52"/>
                    </a:cubicBezTo>
                    <a:cubicBezTo>
                      <a:pt x="16" y="52"/>
                      <a:pt x="17" y="53"/>
                      <a:pt x="17" y="54"/>
                    </a:cubicBezTo>
                    <a:cubicBezTo>
                      <a:pt x="17" y="56"/>
                      <a:pt x="19" y="62"/>
                      <a:pt x="21" y="65"/>
                    </a:cubicBezTo>
                    <a:cubicBezTo>
                      <a:pt x="21" y="65"/>
                      <a:pt x="21" y="66"/>
                      <a:pt x="20" y="67"/>
                    </a:cubicBezTo>
                    <a:cubicBezTo>
                      <a:pt x="13" y="75"/>
                      <a:pt x="13" y="75"/>
                      <a:pt x="13" y="75"/>
                    </a:cubicBezTo>
                    <a:cubicBezTo>
                      <a:pt x="21" y="83"/>
                      <a:pt x="21" y="83"/>
                      <a:pt x="21" y="83"/>
                    </a:cubicBezTo>
                    <a:cubicBezTo>
                      <a:pt x="29" y="76"/>
                      <a:pt x="29" y="76"/>
                      <a:pt x="29" y="76"/>
                    </a:cubicBezTo>
                    <a:cubicBezTo>
                      <a:pt x="30" y="75"/>
                      <a:pt x="31" y="75"/>
                      <a:pt x="31" y="75"/>
                    </a:cubicBezTo>
                    <a:cubicBezTo>
                      <a:pt x="34" y="77"/>
                      <a:pt x="40" y="79"/>
                      <a:pt x="42" y="79"/>
                    </a:cubicBezTo>
                    <a:cubicBezTo>
                      <a:pt x="43" y="79"/>
                      <a:pt x="44" y="80"/>
                      <a:pt x="44" y="81"/>
                    </a:cubicBezTo>
                    <a:cubicBezTo>
                      <a:pt x="44" y="92"/>
                      <a:pt x="44" y="92"/>
                      <a:pt x="44" y="92"/>
                    </a:cubicBezTo>
                    <a:cubicBezTo>
                      <a:pt x="52" y="92"/>
                      <a:pt x="52" y="92"/>
                      <a:pt x="52" y="92"/>
                    </a:cubicBezTo>
                    <a:cubicBezTo>
                      <a:pt x="52" y="81"/>
                      <a:pt x="52" y="81"/>
                      <a:pt x="52" y="81"/>
                    </a:cubicBezTo>
                    <a:cubicBezTo>
                      <a:pt x="52" y="80"/>
                      <a:pt x="53" y="79"/>
                      <a:pt x="54" y="79"/>
                    </a:cubicBezTo>
                    <a:cubicBezTo>
                      <a:pt x="56" y="79"/>
                      <a:pt x="62" y="77"/>
                      <a:pt x="65" y="75"/>
                    </a:cubicBezTo>
                    <a:cubicBezTo>
                      <a:pt x="65" y="75"/>
                      <a:pt x="66" y="75"/>
                      <a:pt x="67" y="76"/>
                    </a:cubicBezTo>
                    <a:cubicBezTo>
                      <a:pt x="75" y="83"/>
                      <a:pt x="75" y="83"/>
                      <a:pt x="75" y="83"/>
                    </a:cubicBezTo>
                    <a:cubicBezTo>
                      <a:pt x="83" y="75"/>
                      <a:pt x="83" y="75"/>
                      <a:pt x="83" y="75"/>
                    </a:cubicBezTo>
                    <a:cubicBezTo>
                      <a:pt x="76" y="67"/>
                      <a:pt x="76" y="67"/>
                      <a:pt x="76" y="67"/>
                    </a:cubicBezTo>
                    <a:cubicBezTo>
                      <a:pt x="75" y="66"/>
                      <a:pt x="75" y="65"/>
                      <a:pt x="75" y="65"/>
                    </a:cubicBezTo>
                    <a:cubicBezTo>
                      <a:pt x="77" y="62"/>
                      <a:pt x="79" y="56"/>
                      <a:pt x="79" y="54"/>
                    </a:cubicBezTo>
                    <a:cubicBezTo>
                      <a:pt x="79" y="53"/>
                      <a:pt x="80" y="52"/>
                      <a:pt x="81" y="52"/>
                    </a:cubicBezTo>
                    <a:cubicBezTo>
                      <a:pt x="92" y="52"/>
                      <a:pt x="92" y="52"/>
                      <a:pt x="92" y="52"/>
                    </a:cubicBezTo>
                    <a:cubicBezTo>
                      <a:pt x="92" y="44"/>
                      <a:pt x="92" y="44"/>
                      <a:pt x="92" y="44"/>
                    </a:cubicBezTo>
                    <a:cubicBezTo>
                      <a:pt x="81" y="44"/>
                      <a:pt x="81" y="44"/>
                      <a:pt x="81" y="44"/>
                    </a:cubicBezTo>
                    <a:cubicBezTo>
                      <a:pt x="80" y="44"/>
                      <a:pt x="79" y="43"/>
                      <a:pt x="79" y="42"/>
                    </a:cubicBezTo>
                    <a:cubicBezTo>
                      <a:pt x="79" y="41"/>
                      <a:pt x="78" y="38"/>
                      <a:pt x="77" y="36"/>
                    </a:cubicBezTo>
                    <a:cubicBezTo>
                      <a:pt x="77" y="35"/>
                      <a:pt x="77" y="33"/>
                      <a:pt x="78" y="33"/>
                    </a:cubicBezTo>
                    <a:cubicBezTo>
                      <a:pt x="79" y="33"/>
                      <a:pt x="81" y="33"/>
                      <a:pt x="81" y="34"/>
                    </a:cubicBezTo>
                    <a:cubicBezTo>
                      <a:pt x="82" y="36"/>
                      <a:pt x="82" y="38"/>
                      <a:pt x="83" y="40"/>
                    </a:cubicBezTo>
                    <a:cubicBezTo>
                      <a:pt x="94" y="40"/>
                      <a:pt x="94" y="40"/>
                      <a:pt x="94" y="40"/>
                    </a:cubicBezTo>
                    <a:cubicBezTo>
                      <a:pt x="95" y="40"/>
                      <a:pt x="96" y="41"/>
                      <a:pt x="96" y="42"/>
                    </a:cubicBezTo>
                    <a:cubicBezTo>
                      <a:pt x="96" y="54"/>
                      <a:pt x="96" y="54"/>
                      <a:pt x="96" y="54"/>
                    </a:cubicBezTo>
                    <a:cubicBezTo>
                      <a:pt x="96" y="55"/>
                      <a:pt x="95" y="56"/>
                      <a:pt x="94" y="56"/>
                    </a:cubicBezTo>
                    <a:cubicBezTo>
                      <a:pt x="83" y="56"/>
                      <a:pt x="83" y="56"/>
                      <a:pt x="83" y="56"/>
                    </a:cubicBezTo>
                    <a:cubicBezTo>
                      <a:pt x="82" y="59"/>
                      <a:pt x="81" y="63"/>
                      <a:pt x="79" y="65"/>
                    </a:cubicBezTo>
                    <a:cubicBezTo>
                      <a:pt x="88" y="73"/>
                      <a:pt x="88" y="73"/>
                      <a:pt x="88" y="73"/>
                    </a:cubicBezTo>
                    <a:cubicBezTo>
                      <a:pt x="88" y="74"/>
                      <a:pt x="88" y="76"/>
                      <a:pt x="88" y="76"/>
                    </a:cubicBezTo>
                    <a:cubicBezTo>
                      <a:pt x="76" y="88"/>
                      <a:pt x="76" y="88"/>
                      <a:pt x="76" y="88"/>
                    </a:cubicBezTo>
                    <a:cubicBezTo>
                      <a:pt x="76" y="88"/>
                      <a:pt x="74" y="88"/>
                      <a:pt x="73" y="88"/>
                    </a:cubicBezTo>
                    <a:cubicBezTo>
                      <a:pt x="65" y="79"/>
                      <a:pt x="65" y="79"/>
                      <a:pt x="65" y="79"/>
                    </a:cubicBezTo>
                    <a:cubicBezTo>
                      <a:pt x="63" y="81"/>
                      <a:pt x="59" y="82"/>
                      <a:pt x="56" y="83"/>
                    </a:cubicBezTo>
                    <a:cubicBezTo>
                      <a:pt x="56" y="94"/>
                      <a:pt x="56" y="94"/>
                      <a:pt x="56" y="94"/>
                    </a:cubicBezTo>
                    <a:cubicBezTo>
                      <a:pt x="56" y="95"/>
                      <a:pt x="55" y="96"/>
                      <a:pt x="54" y="9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57" name="Freeform 102"/>
              <p:cNvSpPr>
                <a:spLocks/>
              </p:cNvSpPr>
              <p:nvPr/>
            </p:nvSpPr>
            <p:spPr bwMode="auto">
              <a:xfrm>
                <a:off x="2298701" y="2376488"/>
                <a:ext cx="255588" cy="231775"/>
              </a:xfrm>
              <a:custGeom>
                <a:avLst/>
                <a:gdLst>
                  <a:gd name="T0" fmla="*/ 18 w 66"/>
                  <a:gd name="T1" fmla="*/ 60 h 60"/>
                  <a:gd name="T2" fmla="*/ 17 w 66"/>
                  <a:gd name="T3" fmla="*/ 59 h 60"/>
                  <a:gd name="T4" fmla="*/ 1 w 66"/>
                  <a:gd name="T5" fmla="*/ 41 h 60"/>
                  <a:gd name="T6" fmla="*/ 1 w 66"/>
                  <a:gd name="T7" fmla="*/ 39 h 60"/>
                  <a:gd name="T8" fmla="*/ 3 w 66"/>
                  <a:gd name="T9" fmla="*/ 39 h 60"/>
                  <a:gd name="T10" fmla="*/ 18 w 66"/>
                  <a:gd name="T11" fmla="*/ 55 h 60"/>
                  <a:gd name="T12" fmla="*/ 62 w 66"/>
                  <a:gd name="T13" fmla="*/ 1 h 60"/>
                  <a:gd name="T14" fmla="*/ 65 w 66"/>
                  <a:gd name="T15" fmla="*/ 0 h 60"/>
                  <a:gd name="T16" fmla="*/ 66 w 66"/>
                  <a:gd name="T17" fmla="*/ 3 h 60"/>
                  <a:gd name="T18" fmla="*/ 20 w 66"/>
                  <a:gd name="T19" fmla="*/ 59 h 60"/>
                  <a:gd name="T20" fmla="*/ 18 w 66"/>
                  <a:gd name="T21" fmla="*/ 60 h 60"/>
                  <a:gd name="T22" fmla="*/ 18 w 66"/>
                  <a:gd name="T23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6" h="60">
                    <a:moveTo>
                      <a:pt x="18" y="60"/>
                    </a:moveTo>
                    <a:cubicBezTo>
                      <a:pt x="17" y="60"/>
                      <a:pt x="17" y="60"/>
                      <a:pt x="17" y="59"/>
                    </a:cubicBezTo>
                    <a:cubicBezTo>
                      <a:pt x="1" y="41"/>
                      <a:pt x="1" y="41"/>
                      <a:pt x="1" y="41"/>
                    </a:cubicBezTo>
                    <a:cubicBezTo>
                      <a:pt x="0" y="41"/>
                      <a:pt x="0" y="39"/>
                      <a:pt x="1" y="39"/>
                    </a:cubicBezTo>
                    <a:cubicBezTo>
                      <a:pt x="1" y="38"/>
                      <a:pt x="3" y="38"/>
                      <a:pt x="3" y="39"/>
                    </a:cubicBezTo>
                    <a:cubicBezTo>
                      <a:pt x="18" y="55"/>
                      <a:pt x="18" y="55"/>
                      <a:pt x="18" y="55"/>
                    </a:cubicBezTo>
                    <a:cubicBezTo>
                      <a:pt x="62" y="1"/>
                      <a:pt x="62" y="1"/>
                      <a:pt x="62" y="1"/>
                    </a:cubicBezTo>
                    <a:cubicBezTo>
                      <a:pt x="63" y="0"/>
                      <a:pt x="64" y="0"/>
                      <a:pt x="65" y="0"/>
                    </a:cubicBezTo>
                    <a:cubicBezTo>
                      <a:pt x="66" y="1"/>
                      <a:pt x="66" y="2"/>
                      <a:pt x="66" y="3"/>
                    </a:cubicBezTo>
                    <a:cubicBezTo>
                      <a:pt x="20" y="59"/>
                      <a:pt x="20" y="59"/>
                      <a:pt x="20" y="59"/>
                    </a:cubicBezTo>
                    <a:cubicBezTo>
                      <a:pt x="19" y="60"/>
                      <a:pt x="19" y="60"/>
                      <a:pt x="18" y="60"/>
                    </a:cubicBezTo>
                    <a:cubicBezTo>
                      <a:pt x="18" y="60"/>
                      <a:pt x="18" y="60"/>
                      <a:pt x="18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1175435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heme/theme1.xml><?xml version="1.0" encoding="utf-8"?>
<a:theme xmlns:a="http://schemas.openxmlformats.org/drawingml/2006/main" name="Office Theme">
  <a:themeElements>
    <a:clrScheme name="Custom 94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AFABAB"/>
      </a:accent1>
      <a:accent2>
        <a:srgbClr val="E2583D"/>
      </a:accent2>
      <a:accent3>
        <a:srgbClr val="78D2D2"/>
      </a:accent3>
      <a:accent4>
        <a:srgbClr val="3B3939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Modern 03">
      <a:majorFont>
        <a:latin typeface="Segoe UI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01</TotalTime>
  <Words>3187</Words>
  <Application>Microsoft Office PowerPoint</Application>
  <PresentationFormat>Widescreen</PresentationFormat>
  <Paragraphs>539</Paragraphs>
  <Slides>30</Slides>
  <Notes>16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30</vt:i4>
      </vt:variant>
    </vt:vector>
  </HeadingPairs>
  <TitlesOfParts>
    <vt:vector size="37" baseType="lpstr">
      <vt:lpstr>Arial</vt:lpstr>
      <vt:lpstr>Calibri</vt:lpstr>
      <vt:lpstr>Calibri Light</vt:lpstr>
      <vt:lpstr>Open Sans</vt:lpstr>
      <vt:lpstr>Open Sans Light</vt:lpstr>
      <vt:lpstr>Segoe UI</vt:lpstr>
      <vt:lpstr>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ugroho Ade</dc:creator>
  <cp:lastModifiedBy>vuzza ajeng</cp:lastModifiedBy>
  <cp:revision>68</cp:revision>
  <dcterms:created xsi:type="dcterms:W3CDTF">2017-04-19T06:29:38Z</dcterms:created>
  <dcterms:modified xsi:type="dcterms:W3CDTF">2018-11-15T01:37:02Z</dcterms:modified>
</cp:coreProperties>
</file>